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5" r:id="rId5"/>
    <p:sldMasterId id="2147483689" r:id="rId6"/>
    <p:sldMasterId id="2147483714" r:id="rId7"/>
    <p:sldMasterId id="2147483723" r:id="rId8"/>
    <p:sldMasterId id="2147483739" r:id="rId9"/>
    <p:sldMasterId id="2147483764" r:id="rId10"/>
    <p:sldMasterId id="2147483776" r:id="rId11"/>
  </p:sldMasterIdLst>
  <p:notesMasterIdLst>
    <p:notesMasterId r:id="rId32"/>
  </p:notesMasterIdLst>
  <p:handoutMasterIdLst>
    <p:handoutMasterId r:id="rId33"/>
  </p:handoutMasterIdLst>
  <p:sldIdLst>
    <p:sldId id="282" r:id="rId12"/>
    <p:sldId id="2145706418" r:id="rId13"/>
    <p:sldId id="2145706405" r:id="rId14"/>
    <p:sldId id="851" r:id="rId15"/>
    <p:sldId id="2147481494" r:id="rId16"/>
    <p:sldId id="987" r:id="rId17"/>
    <p:sldId id="2147349203" r:id="rId18"/>
    <p:sldId id="2145706409" r:id="rId19"/>
    <p:sldId id="2145706408" r:id="rId20"/>
    <p:sldId id="2145706417" r:id="rId21"/>
    <p:sldId id="2147349204" r:id="rId22"/>
    <p:sldId id="306" r:id="rId23"/>
    <p:sldId id="2147481495" r:id="rId24"/>
    <p:sldId id="2145706412" r:id="rId25"/>
    <p:sldId id="2145706414" r:id="rId26"/>
    <p:sldId id="2145706386" r:id="rId27"/>
    <p:sldId id="2147349205" r:id="rId28"/>
    <p:sldId id="2145706416" r:id="rId29"/>
    <p:sldId id="279" r:id="rId30"/>
    <p:sldId id="28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E6E6E6"/>
    <a:srgbClr val="4D9F8D"/>
    <a:srgbClr val="B2D6CE"/>
    <a:srgbClr val="CCE4DF"/>
    <a:srgbClr val="9BB7B5"/>
    <a:srgbClr val="618EB5"/>
    <a:srgbClr val="94BD57"/>
    <a:srgbClr val="EE7012"/>
    <a:srgbClr val="8081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727B77-8311-41A4-ACA2-76EB903EA9FC}" v="99" dt="2025-12-04T19:27:31.4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63" autoAdjust="0"/>
    <p:restoredTop sz="83639" autoAdjust="0"/>
  </p:normalViewPr>
  <p:slideViewPr>
    <p:cSldViewPr snapToGrid="0">
      <p:cViewPr>
        <p:scale>
          <a:sx n="73" d="100"/>
          <a:sy n="73" d="100"/>
        </p:scale>
        <p:origin x="600" y="28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3" d="100"/>
          <a:sy n="63"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5/10/relationships/revisionInfo" Target="revisionInfo.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ssler, Derek" userId="d0a839f9-cda2-4cba-bf81-8e69575eccaf" providerId="ADAL" clId="{E64D7A78-68CC-470B-AA9D-E7B086ADB0B6}"/>
    <pc:docChg chg="undo custSel addSld delSld modSld sldOrd">
      <pc:chgData name="Bressler, Derek" userId="d0a839f9-cda2-4cba-bf81-8e69575eccaf" providerId="ADAL" clId="{E64D7A78-68CC-470B-AA9D-E7B086ADB0B6}" dt="2025-12-04T19:27:45.280" v="1056" actId="1035"/>
      <pc:docMkLst>
        <pc:docMk/>
      </pc:docMkLst>
      <pc:sldChg chg="modSp mod modTransition">
        <pc:chgData name="Bressler, Derek" userId="d0a839f9-cda2-4cba-bf81-8e69575eccaf" providerId="ADAL" clId="{E64D7A78-68CC-470B-AA9D-E7B086ADB0B6}" dt="2025-12-04T16:06:42.220" v="752"/>
        <pc:sldMkLst>
          <pc:docMk/>
          <pc:sldMk cId="1631340933" sldId="282"/>
        </pc:sldMkLst>
        <pc:spChg chg="mod">
          <ac:chgData name="Bressler, Derek" userId="d0a839f9-cda2-4cba-bf81-8e69575eccaf" providerId="ADAL" clId="{E64D7A78-68CC-470B-AA9D-E7B086ADB0B6}" dt="2025-12-02T20:53:54.191" v="61" actId="122"/>
          <ac:spMkLst>
            <pc:docMk/>
            <pc:sldMk cId="1631340933" sldId="282"/>
            <ac:spMk id="18" creationId="{00000000-0000-0000-0000-000000000000}"/>
          </ac:spMkLst>
        </pc:spChg>
        <pc:spChg chg="mod">
          <ac:chgData name="Bressler, Derek" userId="d0a839f9-cda2-4cba-bf81-8e69575eccaf" providerId="ADAL" clId="{E64D7A78-68CC-470B-AA9D-E7B086ADB0B6}" dt="2025-12-02T20:54:30.447" v="116" actId="20577"/>
          <ac:spMkLst>
            <pc:docMk/>
            <pc:sldMk cId="1631340933" sldId="282"/>
            <ac:spMk id="19" creationId="{00000000-0000-0000-0000-000000000000}"/>
          </ac:spMkLst>
        </pc:spChg>
      </pc:sldChg>
      <pc:sldChg chg="addSp delSp modSp mod ord modTransition">
        <pc:chgData name="Bressler, Derek" userId="d0a839f9-cda2-4cba-bf81-8e69575eccaf" providerId="ADAL" clId="{E64D7A78-68CC-470B-AA9D-E7B086ADB0B6}" dt="2025-12-04T16:07:28.160" v="763"/>
        <pc:sldMkLst>
          <pc:docMk/>
          <pc:sldMk cId="3400745480" sldId="306"/>
        </pc:sldMkLst>
        <pc:spChg chg="mod">
          <ac:chgData name="Bressler, Derek" userId="d0a839f9-cda2-4cba-bf81-8e69575eccaf" providerId="ADAL" clId="{E64D7A78-68CC-470B-AA9D-E7B086ADB0B6}" dt="2025-12-02T22:09:36.654" v="501" actId="113"/>
          <ac:spMkLst>
            <pc:docMk/>
            <pc:sldMk cId="3400745480" sldId="306"/>
            <ac:spMk id="2" creationId="{3270B5AE-90F8-189A-5EA1-801A52A2E8D5}"/>
          </ac:spMkLst>
        </pc:spChg>
        <pc:spChg chg="mod">
          <ac:chgData name="Bressler, Derek" userId="d0a839f9-cda2-4cba-bf81-8e69575eccaf" providerId="ADAL" clId="{E64D7A78-68CC-470B-AA9D-E7B086ADB0B6}" dt="2025-12-02T22:04:35.334" v="467" actId="113"/>
          <ac:spMkLst>
            <pc:docMk/>
            <pc:sldMk cId="3400745480" sldId="306"/>
            <ac:spMk id="7" creationId="{FEE5B5C2-441C-4DC0-A66B-D442FD1A4E34}"/>
          </ac:spMkLst>
        </pc:spChg>
      </pc:sldChg>
      <pc:sldChg chg="delSp modSp mod modTransition">
        <pc:chgData name="Bressler, Derek" userId="d0a839f9-cda2-4cba-bf81-8e69575eccaf" providerId="ADAL" clId="{E64D7A78-68CC-470B-AA9D-E7B086ADB0B6}" dt="2025-12-04T16:15:27.495" v="847" actId="20577"/>
        <pc:sldMkLst>
          <pc:docMk/>
          <pc:sldMk cId="2352611487" sldId="851"/>
        </pc:sldMkLst>
        <pc:spChg chg="del">
          <ac:chgData name="Bressler, Derek" userId="d0a839f9-cda2-4cba-bf81-8e69575eccaf" providerId="ADAL" clId="{E64D7A78-68CC-470B-AA9D-E7B086ADB0B6}" dt="2025-12-03T14:30:38.320" v="706" actId="478"/>
          <ac:spMkLst>
            <pc:docMk/>
            <pc:sldMk cId="2352611487" sldId="851"/>
            <ac:spMk id="2" creationId="{8E98CE09-C0F3-7B30-2551-9A7656424A10}"/>
          </ac:spMkLst>
        </pc:spChg>
        <pc:spChg chg="mod">
          <ac:chgData name="Bressler, Derek" userId="d0a839f9-cda2-4cba-bf81-8e69575eccaf" providerId="ADAL" clId="{E64D7A78-68CC-470B-AA9D-E7B086ADB0B6}" dt="2025-12-04T16:15:27.495" v="847" actId="20577"/>
          <ac:spMkLst>
            <pc:docMk/>
            <pc:sldMk cId="2352611487" sldId="851"/>
            <ac:spMk id="5" creationId="{F73924CC-2A08-4827-A818-9B17C0165F33}"/>
          </ac:spMkLst>
        </pc:spChg>
      </pc:sldChg>
      <pc:sldChg chg="modTransition">
        <pc:chgData name="Bressler, Derek" userId="d0a839f9-cda2-4cba-bf81-8e69575eccaf" providerId="ADAL" clId="{E64D7A78-68CC-470B-AA9D-E7B086ADB0B6}" dt="2025-12-04T16:07:05.102" v="757"/>
        <pc:sldMkLst>
          <pc:docMk/>
          <pc:sldMk cId="542732649" sldId="987"/>
        </pc:sldMkLst>
      </pc:sldChg>
      <pc:sldChg chg="delSp add del mod">
        <pc:chgData name="Bressler, Derek" userId="d0a839f9-cda2-4cba-bf81-8e69575eccaf" providerId="ADAL" clId="{E64D7A78-68CC-470B-AA9D-E7B086ADB0B6}" dt="2025-12-02T20:55:55.738" v="155" actId="47"/>
        <pc:sldMkLst>
          <pc:docMk/>
          <pc:sldMk cId="637211149" sldId="6779"/>
        </pc:sldMkLst>
      </pc:sldChg>
      <pc:sldChg chg="add del modTransition">
        <pc:chgData name="Bressler, Derek" userId="d0a839f9-cda2-4cba-bf81-8e69575eccaf" providerId="ADAL" clId="{E64D7A78-68CC-470B-AA9D-E7B086ADB0B6}" dt="2025-12-04T16:14:07.979" v="836" actId="2696"/>
        <pc:sldMkLst>
          <pc:docMk/>
          <pc:sldMk cId="382321901" sldId="2134807943"/>
        </pc:sldMkLst>
      </pc:sldChg>
      <pc:sldChg chg="addSp delSp modSp mod ord modTransition">
        <pc:chgData name="Bressler, Derek" userId="d0a839f9-cda2-4cba-bf81-8e69575eccaf" providerId="ADAL" clId="{E64D7A78-68CC-470B-AA9D-E7B086ADB0B6}" dt="2025-12-04T16:07:38.354" v="766"/>
        <pc:sldMkLst>
          <pc:docMk/>
          <pc:sldMk cId="2254148488" sldId="2145706386"/>
        </pc:sldMkLst>
        <pc:spChg chg="del">
          <ac:chgData name="Bressler, Derek" userId="d0a839f9-cda2-4cba-bf81-8e69575eccaf" providerId="ADAL" clId="{E64D7A78-68CC-470B-AA9D-E7B086ADB0B6}" dt="2025-12-03T14:23:13.010" v="642" actId="478"/>
          <ac:spMkLst>
            <pc:docMk/>
            <pc:sldMk cId="2254148488" sldId="2145706386"/>
            <ac:spMk id="2" creationId="{F4BD675D-9C6D-9F3A-7084-7057A96CCFDC}"/>
          </ac:spMkLst>
        </pc:spChg>
        <pc:spChg chg="add mod">
          <ac:chgData name="Bressler, Derek" userId="d0a839f9-cda2-4cba-bf81-8e69575eccaf" providerId="ADAL" clId="{E64D7A78-68CC-470B-AA9D-E7B086ADB0B6}" dt="2025-12-03T14:25:58.311" v="688" actId="1035"/>
          <ac:spMkLst>
            <pc:docMk/>
            <pc:sldMk cId="2254148488" sldId="2145706386"/>
            <ac:spMk id="4" creationId="{F66C02F3-5CCB-ADD1-705F-DBB9494D4301}"/>
          </ac:spMkLst>
        </pc:spChg>
        <pc:spChg chg="add del mod">
          <ac:chgData name="Bressler, Derek" userId="d0a839f9-cda2-4cba-bf81-8e69575eccaf" providerId="ADAL" clId="{E64D7A78-68CC-470B-AA9D-E7B086ADB0B6}" dt="2025-12-03T14:23:16.583" v="643" actId="478"/>
          <ac:spMkLst>
            <pc:docMk/>
            <pc:sldMk cId="2254148488" sldId="2145706386"/>
            <ac:spMk id="6" creationId="{267ECBA5-6D7A-78B5-5E32-493B87606607}"/>
          </ac:spMkLst>
        </pc:spChg>
        <pc:spChg chg="del">
          <ac:chgData name="Bressler, Derek" userId="d0a839f9-cda2-4cba-bf81-8e69575eccaf" providerId="ADAL" clId="{E64D7A78-68CC-470B-AA9D-E7B086ADB0B6}" dt="2025-12-03T14:26:03.149" v="689" actId="478"/>
          <ac:spMkLst>
            <pc:docMk/>
            <pc:sldMk cId="2254148488" sldId="2145706386"/>
            <ac:spMk id="8" creationId="{B23C2D36-8061-4DA6-47F3-2D2B1E5CDC6C}"/>
          </ac:spMkLst>
        </pc:spChg>
        <pc:spChg chg="add mod">
          <ac:chgData name="Bressler, Derek" userId="d0a839f9-cda2-4cba-bf81-8e69575eccaf" providerId="ADAL" clId="{E64D7A78-68CC-470B-AA9D-E7B086ADB0B6}" dt="2025-12-03T14:28:19.592" v="695" actId="114"/>
          <ac:spMkLst>
            <pc:docMk/>
            <pc:sldMk cId="2254148488" sldId="2145706386"/>
            <ac:spMk id="9" creationId="{EE4EC7E6-97FD-1BAD-7993-89B9760C3837}"/>
          </ac:spMkLst>
        </pc:spChg>
        <pc:spChg chg="mod">
          <ac:chgData name="Bressler, Derek" userId="d0a839f9-cda2-4cba-bf81-8e69575eccaf" providerId="ADAL" clId="{E64D7A78-68CC-470B-AA9D-E7B086ADB0B6}" dt="2025-12-03T14:25:58.311" v="688" actId="1035"/>
          <ac:spMkLst>
            <pc:docMk/>
            <pc:sldMk cId="2254148488" sldId="2145706386"/>
            <ac:spMk id="11" creationId="{43D9C79A-409C-CB25-EFB1-0067727F56CD}"/>
          </ac:spMkLst>
        </pc:spChg>
        <pc:picChg chg="del">
          <ac:chgData name="Bressler, Derek" userId="d0a839f9-cda2-4cba-bf81-8e69575eccaf" providerId="ADAL" clId="{E64D7A78-68CC-470B-AA9D-E7B086ADB0B6}" dt="2025-12-03T14:22:28.255" v="636" actId="478"/>
          <ac:picMkLst>
            <pc:docMk/>
            <pc:sldMk cId="2254148488" sldId="2145706386"/>
            <ac:picMk id="7" creationId="{0D7E011A-9F72-9A7E-11DF-84286AB22EE0}"/>
          </ac:picMkLst>
        </pc:picChg>
        <pc:cxnChg chg="mod">
          <ac:chgData name="Bressler, Derek" userId="d0a839f9-cda2-4cba-bf81-8e69575eccaf" providerId="ADAL" clId="{E64D7A78-68CC-470B-AA9D-E7B086ADB0B6}" dt="2025-12-03T14:25:58.311" v="688" actId="1035"/>
          <ac:cxnSpMkLst>
            <pc:docMk/>
            <pc:sldMk cId="2254148488" sldId="2145706386"/>
            <ac:cxnSpMk id="10" creationId="{78980236-C260-00F8-56C4-58F409AAE7C6}"/>
          </ac:cxnSpMkLst>
        </pc:cxnChg>
      </pc:sldChg>
      <pc:sldChg chg="modTransition">
        <pc:chgData name="Bressler, Derek" userId="d0a839f9-cda2-4cba-bf81-8e69575eccaf" providerId="ADAL" clId="{E64D7A78-68CC-470B-AA9D-E7B086ADB0B6}" dt="2025-12-04T16:06:53.604" v="754"/>
        <pc:sldMkLst>
          <pc:docMk/>
          <pc:sldMk cId="225411436" sldId="2145706405"/>
        </pc:sldMkLst>
      </pc:sldChg>
      <pc:sldChg chg="addSp delSp modSp mod modTransition">
        <pc:chgData name="Bressler, Derek" userId="d0a839f9-cda2-4cba-bf81-8e69575eccaf" providerId="ADAL" clId="{E64D7A78-68CC-470B-AA9D-E7B086ADB0B6}" dt="2025-12-04T16:07:15.032" v="760"/>
        <pc:sldMkLst>
          <pc:docMk/>
          <pc:sldMk cId="510253140" sldId="2145706408"/>
        </pc:sldMkLst>
        <pc:spChg chg="mod">
          <ac:chgData name="Bressler, Derek" userId="d0a839f9-cda2-4cba-bf81-8e69575eccaf" providerId="ADAL" clId="{E64D7A78-68CC-470B-AA9D-E7B086ADB0B6}" dt="2025-12-02T21:00:51.611" v="229" actId="120"/>
          <ac:spMkLst>
            <pc:docMk/>
            <pc:sldMk cId="510253140" sldId="2145706408"/>
            <ac:spMk id="2" creationId="{00000000-0000-0000-0000-000000000000}"/>
          </ac:spMkLst>
        </pc:spChg>
        <pc:spChg chg="mod">
          <ac:chgData name="Bressler, Derek" userId="d0a839f9-cda2-4cba-bf81-8e69575eccaf" providerId="ADAL" clId="{E64D7A78-68CC-470B-AA9D-E7B086ADB0B6}" dt="2025-12-02T21:57:03.372" v="401" actId="1076"/>
          <ac:spMkLst>
            <pc:docMk/>
            <pc:sldMk cId="510253140" sldId="2145706408"/>
            <ac:spMk id="5" creationId="{CC1F7237-E427-EAB6-FA8C-344B96FA0F4F}"/>
          </ac:spMkLst>
        </pc:spChg>
        <pc:spChg chg="add mod">
          <ac:chgData name="Bressler, Derek" userId="d0a839f9-cda2-4cba-bf81-8e69575eccaf" providerId="ADAL" clId="{E64D7A78-68CC-470B-AA9D-E7B086ADB0B6}" dt="2025-12-02T21:46:39.949" v="321" actId="114"/>
          <ac:spMkLst>
            <pc:docMk/>
            <pc:sldMk cId="510253140" sldId="2145706408"/>
            <ac:spMk id="6" creationId="{F88643F9-FB6F-4026-2DB1-0850EED9D564}"/>
          </ac:spMkLst>
        </pc:spChg>
        <pc:picChg chg="add mod">
          <ac:chgData name="Bressler, Derek" userId="d0a839f9-cda2-4cba-bf81-8e69575eccaf" providerId="ADAL" clId="{E64D7A78-68CC-470B-AA9D-E7B086ADB0B6}" dt="2025-12-03T18:28:00.519" v="710" actId="1076"/>
          <ac:picMkLst>
            <pc:docMk/>
            <pc:sldMk cId="510253140" sldId="2145706408"/>
            <ac:picMk id="3" creationId="{7980A502-7DF7-3C54-BF93-61D42BAFF863}"/>
          </ac:picMkLst>
        </pc:picChg>
      </pc:sldChg>
      <pc:sldChg chg="delSp mod ord modTransition">
        <pc:chgData name="Bressler, Derek" userId="d0a839f9-cda2-4cba-bf81-8e69575eccaf" providerId="ADAL" clId="{E64D7A78-68CC-470B-AA9D-E7B086ADB0B6}" dt="2025-12-04T16:07:11.422" v="759"/>
        <pc:sldMkLst>
          <pc:docMk/>
          <pc:sldMk cId="3884571526" sldId="2145706409"/>
        </pc:sldMkLst>
        <pc:spChg chg="del">
          <ac:chgData name="Bressler, Derek" userId="d0a839f9-cda2-4cba-bf81-8e69575eccaf" providerId="ADAL" clId="{E64D7A78-68CC-470B-AA9D-E7B086ADB0B6}" dt="2025-12-03T14:30:47.797" v="707" actId="478"/>
          <ac:spMkLst>
            <pc:docMk/>
            <pc:sldMk cId="3884571526" sldId="2145706409"/>
            <ac:spMk id="2" creationId="{C91ABF4D-9E00-30B4-628C-6E90D1924AA7}"/>
          </ac:spMkLst>
        </pc:spChg>
      </pc:sldChg>
      <pc:sldChg chg="addSp delSp modSp mod ord modTransition">
        <pc:chgData name="Bressler, Derek" userId="d0a839f9-cda2-4cba-bf81-8e69575eccaf" providerId="ADAL" clId="{E64D7A78-68CC-470B-AA9D-E7B086ADB0B6}" dt="2025-12-04T16:07:31.825" v="764"/>
        <pc:sldMkLst>
          <pc:docMk/>
          <pc:sldMk cId="620165876" sldId="2145706412"/>
        </pc:sldMkLst>
        <pc:spChg chg="mod">
          <ac:chgData name="Bressler, Derek" userId="d0a839f9-cda2-4cba-bf81-8e69575eccaf" providerId="ADAL" clId="{E64D7A78-68CC-470B-AA9D-E7B086ADB0B6}" dt="2025-12-03T14:09:57.791" v="544" actId="20577"/>
          <ac:spMkLst>
            <pc:docMk/>
            <pc:sldMk cId="620165876" sldId="2145706412"/>
            <ac:spMk id="2" creationId="{00000000-0000-0000-0000-000000000000}"/>
          </ac:spMkLst>
        </pc:spChg>
        <pc:spChg chg="add">
          <ac:chgData name="Bressler, Derek" userId="d0a839f9-cda2-4cba-bf81-8e69575eccaf" providerId="ADAL" clId="{E64D7A78-68CC-470B-AA9D-E7B086ADB0B6}" dt="2025-12-03T14:08:30.090" v="505"/>
          <ac:spMkLst>
            <pc:docMk/>
            <pc:sldMk cId="620165876" sldId="2145706412"/>
            <ac:spMk id="3" creationId="{1C0DE541-E8A2-A3BD-512B-7D69D68E452A}"/>
          </ac:spMkLst>
        </pc:spChg>
        <pc:spChg chg="mod">
          <ac:chgData name="Bressler, Derek" userId="d0a839f9-cda2-4cba-bf81-8e69575eccaf" providerId="ADAL" clId="{E64D7A78-68CC-470B-AA9D-E7B086ADB0B6}" dt="2025-12-03T14:10:43.930" v="553" actId="14100"/>
          <ac:spMkLst>
            <pc:docMk/>
            <pc:sldMk cId="620165876" sldId="2145706412"/>
            <ac:spMk id="5" creationId="{CC1F7237-E427-EAB6-FA8C-344B96FA0F4F}"/>
          </ac:spMkLst>
        </pc:spChg>
        <pc:spChg chg="del">
          <ac:chgData name="Bressler, Derek" userId="d0a839f9-cda2-4cba-bf81-8e69575eccaf" providerId="ADAL" clId="{E64D7A78-68CC-470B-AA9D-E7B086ADB0B6}" dt="2025-12-03T14:26:11.389" v="691" actId="478"/>
          <ac:spMkLst>
            <pc:docMk/>
            <pc:sldMk cId="620165876" sldId="2145706412"/>
            <ac:spMk id="8" creationId="{14C9F3DC-8E96-5BA6-7189-FA44AC9B516C}"/>
          </ac:spMkLst>
        </pc:spChg>
        <pc:picChg chg="add mod modCrop">
          <ac:chgData name="Bressler, Derek" userId="d0a839f9-cda2-4cba-bf81-8e69575eccaf" providerId="ADAL" clId="{E64D7A78-68CC-470B-AA9D-E7B086ADB0B6}" dt="2025-12-03T18:33:28.726" v="736" actId="1076"/>
          <ac:picMkLst>
            <pc:docMk/>
            <pc:sldMk cId="620165876" sldId="2145706412"/>
            <ac:picMk id="3" creationId="{DEF5D006-B270-4E76-27E0-2F2AFF4BF0F0}"/>
          </ac:picMkLst>
        </pc:picChg>
        <pc:picChg chg="del">
          <ac:chgData name="Bressler, Derek" userId="d0a839f9-cda2-4cba-bf81-8e69575eccaf" providerId="ADAL" clId="{E64D7A78-68CC-470B-AA9D-E7B086ADB0B6}" dt="2025-12-03T14:09:26.504" v="507" actId="478"/>
          <ac:picMkLst>
            <pc:docMk/>
            <pc:sldMk cId="620165876" sldId="2145706412"/>
            <ac:picMk id="6" creationId="{8EC97929-6C55-9A30-288E-8D2C09FDD381}"/>
          </ac:picMkLst>
        </pc:picChg>
      </pc:sldChg>
      <pc:sldChg chg="addSp delSp modSp mod ord modTransition modAnim">
        <pc:chgData name="Bressler, Derek" userId="d0a839f9-cda2-4cba-bf81-8e69575eccaf" providerId="ADAL" clId="{E64D7A78-68CC-470B-AA9D-E7B086ADB0B6}" dt="2025-12-04T19:27:45.280" v="1056" actId="1035"/>
        <pc:sldMkLst>
          <pc:docMk/>
          <pc:sldMk cId="1703573642" sldId="2145706414"/>
        </pc:sldMkLst>
        <pc:spChg chg="mod">
          <ac:chgData name="Bressler, Derek" userId="d0a839f9-cda2-4cba-bf81-8e69575eccaf" providerId="ADAL" clId="{E64D7A78-68CC-470B-AA9D-E7B086ADB0B6}" dt="2025-12-04T18:16:20.278" v="1000" actId="20577"/>
          <ac:spMkLst>
            <pc:docMk/>
            <pc:sldMk cId="1703573642" sldId="2145706414"/>
            <ac:spMk id="2" creationId="{00000000-0000-0000-0000-000000000000}"/>
          </ac:spMkLst>
        </pc:spChg>
        <pc:spChg chg="add">
          <ac:chgData name="Bressler, Derek" userId="d0a839f9-cda2-4cba-bf81-8e69575eccaf" providerId="ADAL" clId="{E64D7A78-68CC-470B-AA9D-E7B086ADB0B6}" dt="2025-12-03T14:16:06.984" v="601"/>
          <ac:spMkLst>
            <pc:docMk/>
            <pc:sldMk cId="1703573642" sldId="2145706414"/>
            <ac:spMk id="3" creationId="{74D40ED1-2A50-B213-2B49-3737F69D1844}"/>
          </ac:spMkLst>
        </pc:spChg>
        <pc:spChg chg="mod">
          <ac:chgData name="Bressler, Derek" userId="d0a839f9-cda2-4cba-bf81-8e69575eccaf" providerId="ADAL" clId="{E64D7A78-68CC-470B-AA9D-E7B086ADB0B6}" dt="2025-12-04T19:27:31.449" v="1053" actId="255"/>
          <ac:spMkLst>
            <pc:docMk/>
            <pc:sldMk cId="1703573642" sldId="2145706414"/>
            <ac:spMk id="5" creationId="{CC1F7237-E427-EAB6-FA8C-344B96FA0F4F}"/>
          </ac:spMkLst>
        </pc:spChg>
        <pc:spChg chg="del">
          <ac:chgData name="Bressler, Derek" userId="d0a839f9-cda2-4cba-bf81-8e69575eccaf" providerId="ADAL" clId="{E64D7A78-68CC-470B-AA9D-E7B086ADB0B6}" dt="2025-12-03T14:26:09.232" v="690" actId="478"/>
          <ac:spMkLst>
            <pc:docMk/>
            <pc:sldMk cId="1703573642" sldId="2145706414"/>
            <ac:spMk id="8" creationId="{03D29D8A-86FE-7FE8-123E-60E5A9FC1331}"/>
          </ac:spMkLst>
        </pc:spChg>
        <pc:picChg chg="add del mod">
          <ac:chgData name="Bressler, Derek" userId="d0a839f9-cda2-4cba-bf81-8e69575eccaf" providerId="ADAL" clId="{E64D7A78-68CC-470B-AA9D-E7B086ADB0B6}" dt="2025-12-04T19:22:59.203" v="1023" actId="478"/>
          <ac:picMkLst>
            <pc:docMk/>
            <pc:sldMk cId="1703573642" sldId="2145706414"/>
            <ac:picMk id="3" creationId="{1E0808FA-8A60-0F9E-4B14-C89809F185AB}"/>
          </ac:picMkLst>
        </pc:picChg>
        <pc:picChg chg="add del mod">
          <ac:chgData name="Bressler, Derek" userId="d0a839f9-cda2-4cba-bf81-8e69575eccaf" providerId="ADAL" clId="{E64D7A78-68CC-470B-AA9D-E7B086ADB0B6}" dt="2025-12-03T18:36:43.166" v="740" actId="478"/>
          <ac:picMkLst>
            <pc:docMk/>
            <pc:sldMk cId="1703573642" sldId="2145706414"/>
            <ac:picMk id="3" creationId="{65D303FB-07A6-9C98-B77F-1D96E90CABAA}"/>
          </ac:picMkLst>
        </pc:picChg>
        <pc:picChg chg="del">
          <ac:chgData name="Bressler, Derek" userId="d0a839f9-cda2-4cba-bf81-8e69575eccaf" providerId="ADAL" clId="{E64D7A78-68CC-470B-AA9D-E7B086ADB0B6}" dt="2025-12-03T14:15:53.415" v="598" actId="478"/>
          <ac:picMkLst>
            <pc:docMk/>
            <pc:sldMk cId="1703573642" sldId="2145706414"/>
            <ac:picMk id="6" creationId="{131E7882-0B55-6AE3-9476-8E6B1ACCE8E5}"/>
          </ac:picMkLst>
        </pc:picChg>
        <pc:picChg chg="add del mod">
          <ac:chgData name="Bressler, Derek" userId="d0a839f9-cda2-4cba-bf81-8e69575eccaf" providerId="ADAL" clId="{E64D7A78-68CC-470B-AA9D-E7B086ADB0B6}" dt="2025-12-04T19:19:57.983" v="1001" actId="478"/>
          <ac:picMkLst>
            <pc:docMk/>
            <pc:sldMk cId="1703573642" sldId="2145706414"/>
            <ac:picMk id="6" creationId="{F4B0A52C-940B-9836-79F5-72273F5D3F1F}"/>
          </ac:picMkLst>
        </pc:picChg>
        <pc:picChg chg="add mod">
          <ac:chgData name="Bressler, Derek" userId="d0a839f9-cda2-4cba-bf81-8e69575eccaf" providerId="ADAL" clId="{E64D7A78-68CC-470B-AA9D-E7B086ADB0B6}" dt="2025-12-04T19:22:58.130" v="1022" actId="14100"/>
          <ac:picMkLst>
            <pc:docMk/>
            <pc:sldMk cId="1703573642" sldId="2145706414"/>
            <ac:picMk id="7" creationId="{984AEB8F-95D3-6853-3ED3-4FDC3D71F441}"/>
          </ac:picMkLst>
        </pc:picChg>
        <pc:picChg chg="add mod modCrop">
          <ac:chgData name="Bressler, Derek" userId="d0a839f9-cda2-4cba-bf81-8e69575eccaf" providerId="ADAL" clId="{E64D7A78-68CC-470B-AA9D-E7B086ADB0B6}" dt="2025-12-04T19:27:45.280" v="1056" actId="1035"/>
          <ac:picMkLst>
            <pc:docMk/>
            <pc:sldMk cId="1703573642" sldId="2145706414"/>
            <ac:picMk id="8" creationId="{381203BB-EF06-0057-9EFB-776326D68AFC}"/>
          </ac:picMkLst>
        </pc:picChg>
      </pc:sldChg>
      <pc:sldChg chg="del">
        <pc:chgData name="Bressler, Derek" userId="d0a839f9-cda2-4cba-bf81-8e69575eccaf" providerId="ADAL" clId="{E64D7A78-68CC-470B-AA9D-E7B086ADB0B6}" dt="2025-12-03T14:28:47.510" v="698" actId="2696"/>
        <pc:sldMkLst>
          <pc:docMk/>
          <pc:sldMk cId="3449113707" sldId="2145706415"/>
        </pc:sldMkLst>
      </pc:sldChg>
      <pc:sldChg chg="modSp modTransition">
        <pc:chgData name="Bressler, Derek" userId="d0a839f9-cda2-4cba-bf81-8e69575eccaf" providerId="ADAL" clId="{E64D7A78-68CC-470B-AA9D-E7B086ADB0B6}" dt="2025-12-04T16:07:45.718" v="768"/>
        <pc:sldMkLst>
          <pc:docMk/>
          <pc:sldMk cId="1811650934" sldId="2145706416"/>
        </pc:sldMkLst>
        <pc:spChg chg="mod">
          <ac:chgData name="Bressler, Derek" userId="d0a839f9-cda2-4cba-bf81-8e69575eccaf" providerId="ADAL" clId="{E64D7A78-68CC-470B-AA9D-E7B086ADB0B6}" dt="2025-12-03T14:31:33.006" v="708"/>
          <ac:spMkLst>
            <pc:docMk/>
            <pc:sldMk cId="1811650934" sldId="2145706416"/>
            <ac:spMk id="6" creationId="{5193104F-B731-9550-0063-6720ECE6E653}"/>
          </ac:spMkLst>
        </pc:spChg>
      </pc:sldChg>
      <pc:sldChg chg="addSp delSp modSp mod ord modTransition">
        <pc:chgData name="Bressler, Derek" userId="d0a839f9-cda2-4cba-bf81-8e69575eccaf" providerId="ADAL" clId="{E64D7A78-68CC-470B-AA9D-E7B086ADB0B6}" dt="2025-12-04T16:07:19.122" v="761"/>
        <pc:sldMkLst>
          <pc:docMk/>
          <pc:sldMk cId="2233154842" sldId="2145706417"/>
        </pc:sldMkLst>
        <pc:spChg chg="mod">
          <ac:chgData name="Bressler, Derek" userId="d0a839f9-cda2-4cba-bf81-8e69575eccaf" providerId="ADAL" clId="{E64D7A78-68CC-470B-AA9D-E7B086ADB0B6}" dt="2025-12-03T18:30:33.211" v="718" actId="20577"/>
          <ac:spMkLst>
            <pc:docMk/>
            <pc:sldMk cId="2233154842" sldId="2145706417"/>
            <ac:spMk id="2" creationId="{00000000-0000-0000-0000-000000000000}"/>
          </ac:spMkLst>
        </pc:spChg>
        <pc:spChg chg="mod">
          <ac:chgData name="Bressler, Derek" userId="d0a839f9-cda2-4cba-bf81-8e69575eccaf" providerId="ADAL" clId="{E64D7A78-68CC-470B-AA9D-E7B086ADB0B6}" dt="2025-12-02T21:50:20.306" v="341" actId="12"/>
          <ac:spMkLst>
            <pc:docMk/>
            <pc:sldMk cId="2233154842" sldId="2145706417"/>
            <ac:spMk id="5" creationId="{CC1F7237-E427-EAB6-FA8C-344B96FA0F4F}"/>
          </ac:spMkLst>
        </pc:spChg>
        <pc:picChg chg="add mod">
          <ac:chgData name="Bressler, Derek" userId="d0a839f9-cda2-4cba-bf81-8e69575eccaf" providerId="ADAL" clId="{E64D7A78-68CC-470B-AA9D-E7B086ADB0B6}" dt="2025-12-03T18:30:30.091" v="712" actId="1076"/>
          <ac:picMkLst>
            <pc:docMk/>
            <pc:sldMk cId="2233154842" sldId="2145706417"/>
            <ac:picMk id="3" creationId="{B21A84D2-AD91-EE23-83C7-2B60AE719781}"/>
          </ac:picMkLst>
        </pc:picChg>
        <pc:picChg chg="del">
          <ac:chgData name="Bressler, Derek" userId="d0a839f9-cda2-4cba-bf81-8e69575eccaf" providerId="ADAL" clId="{E64D7A78-68CC-470B-AA9D-E7B086ADB0B6}" dt="2025-12-03T14:04:56.344" v="502" actId="478"/>
          <ac:picMkLst>
            <pc:docMk/>
            <pc:sldMk cId="2233154842" sldId="2145706417"/>
            <ac:picMk id="7" creationId="{6775F40B-837B-38B5-BEAD-520BF730F0D6}"/>
          </ac:picMkLst>
        </pc:picChg>
      </pc:sldChg>
      <pc:sldChg chg="modSp mod modTransition">
        <pc:chgData name="Bressler, Derek" userId="d0a839f9-cda2-4cba-bf81-8e69575eccaf" providerId="ADAL" clId="{E64D7A78-68CC-470B-AA9D-E7B086ADB0B6}" dt="2025-12-04T18:13:09.208" v="989" actId="20577"/>
        <pc:sldMkLst>
          <pc:docMk/>
          <pc:sldMk cId="939517117" sldId="2145706418"/>
        </pc:sldMkLst>
        <pc:spChg chg="mod">
          <ac:chgData name="Bressler, Derek" userId="d0a839f9-cda2-4cba-bf81-8e69575eccaf" providerId="ADAL" clId="{E64D7A78-68CC-470B-AA9D-E7B086ADB0B6}" dt="2025-12-04T18:13:09.208" v="989" actId="20577"/>
          <ac:spMkLst>
            <pc:docMk/>
            <pc:sldMk cId="939517117" sldId="2145706418"/>
            <ac:spMk id="6" creationId="{5193104F-B731-9550-0063-6720ECE6E653}"/>
          </ac:spMkLst>
        </pc:spChg>
      </pc:sldChg>
      <pc:sldChg chg="addSp modSp add mod modTransition modAnim">
        <pc:chgData name="Bressler, Derek" userId="d0a839f9-cda2-4cba-bf81-8e69575eccaf" providerId="ADAL" clId="{E64D7A78-68CC-470B-AA9D-E7B086ADB0B6}" dt="2025-12-04T16:09:17.384" v="827"/>
        <pc:sldMkLst>
          <pc:docMk/>
          <pc:sldMk cId="1737844495" sldId="2147349203"/>
        </pc:sldMkLst>
        <pc:spChg chg="mod">
          <ac:chgData name="Bressler, Derek" userId="d0a839f9-cda2-4cba-bf81-8e69575eccaf" providerId="ADAL" clId="{E64D7A78-68CC-470B-AA9D-E7B086ADB0B6}" dt="2025-12-04T16:08:41.145" v="822" actId="20577"/>
          <ac:spMkLst>
            <pc:docMk/>
            <pc:sldMk cId="1737844495" sldId="2147349203"/>
            <ac:spMk id="2" creationId="{0D4E66CE-620C-ADDA-0D32-17058036EA6B}"/>
          </ac:spMkLst>
        </pc:spChg>
        <pc:spChg chg="add mod">
          <ac:chgData name="Bressler, Derek" userId="d0a839f9-cda2-4cba-bf81-8e69575eccaf" providerId="ADAL" clId="{E64D7A78-68CC-470B-AA9D-E7B086ADB0B6}" dt="2025-12-04T16:08:24.247" v="774"/>
          <ac:spMkLst>
            <pc:docMk/>
            <pc:sldMk cId="1737844495" sldId="2147349203"/>
            <ac:spMk id="4" creationId="{9DA44F46-6862-940B-AFC4-77EE9662AB6A}"/>
          </ac:spMkLst>
        </pc:spChg>
        <pc:picChg chg="mod">
          <ac:chgData name="Bressler, Derek" userId="d0a839f9-cda2-4cba-bf81-8e69575eccaf" providerId="ADAL" clId="{E64D7A78-68CC-470B-AA9D-E7B086ADB0B6}" dt="2025-12-02T20:59:46.834" v="183" actId="1076"/>
          <ac:picMkLst>
            <pc:docMk/>
            <pc:sldMk cId="1737844495" sldId="2147349203"/>
            <ac:picMk id="3" creationId="{D104A0E0-2349-CA16-4D0F-12D2862ECB3D}"/>
          </ac:picMkLst>
        </pc:picChg>
      </pc:sldChg>
      <pc:sldChg chg="addSp delSp modSp add mod ord modTransition">
        <pc:chgData name="Bressler, Derek" userId="d0a839f9-cda2-4cba-bf81-8e69575eccaf" providerId="ADAL" clId="{E64D7A78-68CC-470B-AA9D-E7B086ADB0B6}" dt="2025-12-04T16:07:24.185" v="762"/>
        <pc:sldMkLst>
          <pc:docMk/>
          <pc:sldMk cId="1680604454" sldId="2147349204"/>
        </pc:sldMkLst>
        <pc:spChg chg="mod">
          <ac:chgData name="Bressler, Derek" userId="d0a839f9-cda2-4cba-bf81-8e69575eccaf" providerId="ADAL" clId="{E64D7A78-68CC-470B-AA9D-E7B086ADB0B6}" dt="2025-12-02T21:57:59.539" v="460" actId="20577"/>
          <ac:spMkLst>
            <pc:docMk/>
            <pc:sldMk cId="1680604454" sldId="2147349204"/>
            <ac:spMk id="2" creationId="{E6E17D9B-A807-F4C9-309A-4754070FDEF7}"/>
          </ac:spMkLst>
        </pc:spChg>
        <pc:spChg chg="mod">
          <ac:chgData name="Bressler, Derek" userId="d0a839f9-cda2-4cba-bf81-8e69575eccaf" providerId="ADAL" clId="{E64D7A78-68CC-470B-AA9D-E7B086ADB0B6}" dt="2025-12-02T21:58:15.858" v="462" actId="1076"/>
          <ac:spMkLst>
            <pc:docMk/>
            <pc:sldMk cId="1680604454" sldId="2147349204"/>
            <ac:spMk id="5" creationId="{7EB0083D-F752-9950-AD26-06505B76591D}"/>
          </ac:spMkLst>
        </pc:spChg>
        <pc:picChg chg="add mod">
          <ac:chgData name="Bressler, Derek" userId="d0a839f9-cda2-4cba-bf81-8e69575eccaf" providerId="ADAL" clId="{E64D7A78-68CC-470B-AA9D-E7B086ADB0B6}" dt="2025-12-03T18:31:33.161" v="721" actId="1076"/>
          <ac:picMkLst>
            <pc:docMk/>
            <pc:sldMk cId="1680604454" sldId="2147349204"/>
            <ac:picMk id="3" creationId="{C051B95B-04BF-7A4E-74D6-198661F94A00}"/>
          </ac:picMkLst>
        </pc:picChg>
      </pc:sldChg>
      <pc:sldChg chg="delSp modSp new mod ord modTransition">
        <pc:chgData name="Bressler, Derek" userId="d0a839f9-cda2-4cba-bf81-8e69575eccaf" providerId="ADAL" clId="{E64D7A78-68CC-470B-AA9D-E7B086ADB0B6}" dt="2025-12-04T16:07:42.672" v="767"/>
        <pc:sldMkLst>
          <pc:docMk/>
          <pc:sldMk cId="2528547999" sldId="2147349205"/>
        </pc:sldMkLst>
        <pc:spChg chg="mod">
          <ac:chgData name="Bressler, Derek" userId="d0a839f9-cda2-4cba-bf81-8e69575eccaf" providerId="ADAL" clId="{E64D7A78-68CC-470B-AA9D-E7B086ADB0B6}" dt="2025-12-03T14:29:56.861" v="703" actId="122"/>
          <ac:spMkLst>
            <pc:docMk/>
            <pc:sldMk cId="2528547999" sldId="2147349205"/>
            <ac:spMk id="3" creationId="{FE81C5E5-CAE6-0522-A4B3-74E60CF66827}"/>
          </ac:spMkLst>
        </pc:spChg>
        <pc:spChg chg="del">
          <ac:chgData name="Bressler, Derek" userId="d0a839f9-cda2-4cba-bf81-8e69575eccaf" providerId="ADAL" clId="{E64D7A78-68CC-470B-AA9D-E7B086ADB0B6}" dt="2025-12-03T14:29:03.215" v="700" actId="478"/>
          <ac:spMkLst>
            <pc:docMk/>
            <pc:sldMk cId="2528547999" sldId="2147349205"/>
            <ac:spMk id="4" creationId="{AEA3F32C-BF06-F343-142C-4114CB1BC6FD}"/>
          </ac:spMkLst>
        </pc:spChg>
      </pc:sldChg>
      <pc:sldChg chg="addSp delSp modSp add mod">
        <pc:chgData name="Bressler, Derek" userId="d0a839f9-cda2-4cba-bf81-8e69575eccaf" providerId="ADAL" clId="{E64D7A78-68CC-470B-AA9D-E7B086ADB0B6}" dt="2025-12-04T16:13:59.149" v="835" actId="1076"/>
        <pc:sldMkLst>
          <pc:docMk/>
          <pc:sldMk cId="2724338865" sldId="2147481494"/>
        </pc:sldMkLst>
        <pc:spChg chg="mod">
          <ac:chgData name="Bressler, Derek" userId="d0a839f9-cda2-4cba-bf81-8e69575eccaf" providerId="ADAL" clId="{E64D7A78-68CC-470B-AA9D-E7B086ADB0B6}" dt="2025-12-04T16:11:50.428" v="829" actId="14100"/>
          <ac:spMkLst>
            <pc:docMk/>
            <pc:sldMk cId="2724338865" sldId="2147481494"/>
            <ac:spMk id="2" creationId="{6ACF175B-95FB-B23A-A11E-40E6401C9F90}"/>
          </ac:spMkLst>
        </pc:spChg>
        <pc:spChg chg="mod">
          <ac:chgData name="Bressler, Derek" userId="d0a839f9-cda2-4cba-bf81-8e69575eccaf" providerId="ADAL" clId="{E64D7A78-68CC-470B-AA9D-E7B086ADB0B6}" dt="2025-12-04T16:11:38.374" v="828"/>
          <ac:spMkLst>
            <pc:docMk/>
            <pc:sldMk cId="2724338865" sldId="2147481494"/>
            <ac:spMk id="3" creationId="{98F0F9C3-6CF0-583F-E866-A3DF1A5E79A2}"/>
          </ac:spMkLst>
        </pc:spChg>
        <pc:spChg chg="del">
          <ac:chgData name="Bressler, Derek" userId="d0a839f9-cda2-4cba-bf81-8e69575eccaf" providerId="ADAL" clId="{E64D7A78-68CC-470B-AA9D-E7B086ADB0B6}" dt="2025-12-04T16:12:35.162" v="832" actId="478"/>
          <ac:spMkLst>
            <pc:docMk/>
            <pc:sldMk cId="2724338865" sldId="2147481494"/>
            <ac:spMk id="46" creationId="{332B0EC7-4696-2192-6A06-A530E9A3EE7B}"/>
          </ac:spMkLst>
        </pc:spChg>
        <pc:spChg chg="mod">
          <ac:chgData name="Bressler, Derek" userId="d0a839f9-cda2-4cba-bf81-8e69575eccaf" providerId="ADAL" clId="{E64D7A78-68CC-470B-AA9D-E7B086ADB0B6}" dt="2025-12-04T16:13:42.120" v="834"/>
          <ac:spMkLst>
            <pc:docMk/>
            <pc:sldMk cId="2724338865" sldId="2147481494"/>
            <ac:spMk id="122" creationId="{0C63BA4B-CD21-00D6-ACCB-15838A3C435D}"/>
          </ac:spMkLst>
        </pc:spChg>
        <pc:spChg chg="mod">
          <ac:chgData name="Bressler, Derek" userId="d0a839f9-cda2-4cba-bf81-8e69575eccaf" providerId="ADAL" clId="{E64D7A78-68CC-470B-AA9D-E7B086ADB0B6}" dt="2025-12-04T16:13:42.120" v="834"/>
          <ac:spMkLst>
            <pc:docMk/>
            <pc:sldMk cId="2724338865" sldId="2147481494"/>
            <ac:spMk id="162" creationId="{BEE3DD61-42E4-D28D-3FA2-482CC64E0511}"/>
          </ac:spMkLst>
        </pc:spChg>
        <pc:spChg chg="mod">
          <ac:chgData name="Bressler, Derek" userId="d0a839f9-cda2-4cba-bf81-8e69575eccaf" providerId="ADAL" clId="{E64D7A78-68CC-470B-AA9D-E7B086ADB0B6}" dt="2025-12-04T16:13:42.120" v="834"/>
          <ac:spMkLst>
            <pc:docMk/>
            <pc:sldMk cId="2724338865" sldId="2147481494"/>
            <ac:spMk id="326" creationId="{4807332C-1C69-EED4-E904-C4D066875B84}"/>
          </ac:spMkLst>
        </pc:spChg>
        <pc:spChg chg="mod">
          <ac:chgData name="Bressler, Derek" userId="d0a839f9-cda2-4cba-bf81-8e69575eccaf" providerId="ADAL" clId="{E64D7A78-68CC-470B-AA9D-E7B086ADB0B6}" dt="2025-12-04T16:13:42.120" v="834"/>
          <ac:spMkLst>
            <pc:docMk/>
            <pc:sldMk cId="2724338865" sldId="2147481494"/>
            <ac:spMk id="394" creationId="{C011D38A-86F0-4F37-767E-095454F66024}"/>
          </ac:spMkLst>
        </pc:spChg>
        <pc:spChg chg="mod">
          <ac:chgData name="Bressler, Derek" userId="d0a839f9-cda2-4cba-bf81-8e69575eccaf" providerId="ADAL" clId="{E64D7A78-68CC-470B-AA9D-E7B086ADB0B6}" dt="2025-12-04T16:13:42.120" v="834"/>
          <ac:spMkLst>
            <pc:docMk/>
            <pc:sldMk cId="2724338865" sldId="2147481494"/>
            <ac:spMk id="401" creationId="{3E6FAAFC-7644-99B2-9BE6-8C1C9F6C28A9}"/>
          </ac:spMkLst>
        </pc:spChg>
        <pc:spChg chg="mod">
          <ac:chgData name="Bressler, Derek" userId="d0a839f9-cda2-4cba-bf81-8e69575eccaf" providerId="ADAL" clId="{E64D7A78-68CC-470B-AA9D-E7B086ADB0B6}" dt="2025-12-04T16:13:42.120" v="834"/>
          <ac:spMkLst>
            <pc:docMk/>
            <pc:sldMk cId="2724338865" sldId="2147481494"/>
            <ac:spMk id="430" creationId="{01183B29-AE70-9C11-13BC-BD3B584EE045}"/>
          </ac:spMkLst>
        </pc:spChg>
        <pc:spChg chg="mod">
          <ac:chgData name="Bressler, Derek" userId="d0a839f9-cda2-4cba-bf81-8e69575eccaf" providerId="ADAL" clId="{E64D7A78-68CC-470B-AA9D-E7B086ADB0B6}" dt="2025-12-04T16:13:42.120" v="834"/>
          <ac:spMkLst>
            <pc:docMk/>
            <pc:sldMk cId="2724338865" sldId="2147481494"/>
            <ac:spMk id="440" creationId="{8E83E506-F95D-1D92-FCE0-BDB12D5A7A6E}"/>
          </ac:spMkLst>
        </pc:spChg>
        <pc:spChg chg="mod">
          <ac:chgData name="Bressler, Derek" userId="d0a839f9-cda2-4cba-bf81-8e69575eccaf" providerId="ADAL" clId="{E64D7A78-68CC-470B-AA9D-E7B086ADB0B6}" dt="2025-12-04T16:13:42.120" v="834"/>
          <ac:spMkLst>
            <pc:docMk/>
            <pc:sldMk cId="2724338865" sldId="2147481494"/>
            <ac:spMk id="485" creationId="{72B7DE54-231B-33E5-3EE5-008D8E6F09F0}"/>
          </ac:spMkLst>
        </pc:spChg>
        <pc:spChg chg="mod">
          <ac:chgData name="Bressler, Derek" userId="d0a839f9-cda2-4cba-bf81-8e69575eccaf" providerId="ADAL" clId="{E64D7A78-68CC-470B-AA9D-E7B086ADB0B6}" dt="2025-12-04T16:13:42.120" v="834"/>
          <ac:spMkLst>
            <pc:docMk/>
            <pc:sldMk cId="2724338865" sldId="2147481494"/>
            <ac:spMk id="554" creationId="{83A46438-58C9-7465-3FFB-579E01602145}"/>
          </ac:spMkLst>
        </pc:spChg>
        <pc:spChg chg="mod">
          <ac:chgData name="Bressler, Derek" userId="d0a839f9-cda2-4cba-bf81-8e69575eccaf" providerId="ADAL" clId="{E64D7A78-68CC-470B-AA9D-E7B086ADB0B6}" dt="2025-12-04T16:13:42.120" v="834"/>
          <ac:spMkLst>
            <pc:docMk/>
            <pc:sldMk cId="2724338865" sldId="2147481494"/>
            <ac:spMk id="584" creationId="{41FDBB54-95B5-201D-6BB6-0AAAC3FAADB3}"/>
          </ac:spMkLst>
        </pc:spChg>
        <pc:spChg chg="mod">
          <ac:chgData name="Bressler, Derek" userId="d0a839f9-cda2-4cba-bf81-8e69575eccaf" providerId="ADAL" clId="{E64D7A78-68CC-470B-AA9D-E7B086ADB0B6}" dt="2025-12-04T16:13:59.149" v="835" actId="1076"/>
          <ac:spMkLst>
            <pc:docMk/>
            <pc:sldMk cId="2724338865" sldId="2147481494"/>
            <ac:spMk id="632" creationId="{100E35CE-F4F7-0E8F-6734-415001D5CE8A}"/>
          </ac:spMkLst>
        </pc:spChg>
        <pc:spChg chg="mod">
          <ac:chgData name="Bressler, Derek" userId="d0a839f9-cda2-4cba-bf81-8e69575eccaf" providerId="ADAL" clId="{E64D7A78-68CC-470B-AA9D-E7B086ADB0B6}" dt="2025-12-04T16:13:59.149" v="835" actId="1076"/>
          <ac:spMkLst>
            <pc:docMk/>
            <pc:sldMk cId="2724338865" sldId="2147481494"/>
            <ac:spMk id="649" creationId="{FB8FB512-73CD-109B-5BF3-586F860F9F61}"/>
          </ac:spMkLst>
        </pc:spChg>
        <pc:grpChg chg="mod">
          <ac:chgData name="Bressler, Derek" userId="d0a839f9-cda2-4cba-bf81-8e69575eccaf" providerId="ADAL" clId="{E64D7A78-68CC-470B-AA9D-E7B086ADB0B6}" dt="2025-12-04T16:13:59.149" v="835" actId="1076"/>
          <ac:grpSpMkLst>
            <pc:docMk/>
            <pc:sldMk cId="2724338865" sldId="2147481494"/>
            <ac:grpSpMk id="4" creationId="{EA877E38-782C-E1EC-DE95-8DDC3191D155}"/>
          </ac:grpSpMkLst>
        </pc:grpChg>
        <pc:grpChg chg="mod">
          <ac:chgData name="Bressler, Derek" userId="d0a839f9-cda2-4cba-bf81-8e69575eccaf" providerId="ADAL" clId="{E64D7A78-68CC-470B-AA9D-E7B086ADB0B6}" dt="2025-12-04T16:13:59.149" v="835" actId="1076"/>
          <ac:grpSpMkLst>
            <pc:docMk/>
            <pc:sldMk cId="2724338865" sldId="2147481494"/>
            <ac:grpSpMk id="633" creationId="{F49B611B-CA27-10D1-5E53-1EEE1F7011ED}"/>
          </ac:grpSpMkLst>
        </pc:grpChg>
        <pc:grpChg chg="mod">
          <ac:chgData name="Bressler, Derek" userId="d0a839f9-cda2-4cba-bf81-8e69575eccaf" providerId="ADAL" clId="{E64D7A78-68CC-470B-AA9D-E7B086ADB0B6}" dt="2025-12-04T16:13:59.149" v="835" actId="1076"/>
          <ac:grpSpMkLst>
            <pc:docMk/>
            <pc:sldMk cId="2724338865" sldId="2147481494"/>
            <ac:grpSpMk id="637" creationId="{0F196754-7F3B-35E4-55B3-45D40C785827}"/>
          </ac:grpSpMkLst>
        </pc:grpChg>
        <pc:grpChg chg="mod">
          <ac:chgData name="Bressler, Derek" userId="d0a839f9-cda2-4cba-bf81-8e69575eccaf" providerId="ADAL" clId="{E64D7A78-68CC-470B-AA9D-E7B086ADB0B6}" dt="2025-12-04T16:13:59.149" v="835" actId="1076"/>
          <ac:grpSpMkLst>
            <pc:docMk/>
            <pc:sldMk cId="2724338865" sldId="2147481494"/>
            <ac:grpSpMk id="641" creationId="{EE7B051D-950F-92E6-D444-0BA5AF4A01CB}"/>
          </ac:grpSpMkLst>
        </pc:grpChg>
        <pc:grpChg chg="mod">
          <ac:chgData name="Bressler, Derek" userId="d0a839f9-cda2-4cba-bf81-8e69575eccaf" providerId="ADAL" clId="{E64D7A78-68CC-470B-AA9D-E7B086ADB0B6}" dt="2025-12-04T16:13:59.149" v="835" actId="1076"/>
          <ac:grpSpMkLst>
            <pc:docMk/>
            <pc:sldMk cId="2724338865" sldId="2147481494"/>
            <ac:grpSpMk id="645" creationId="{FF092CBA-15EB-3D08-99FE-DE485163E8FB}"/>
          </ac:grpSpMkLst>
        </pc:grpChg>
        <pc:graphicFrameChg chg="del">
          <ac:chgData name="Bressler, Derek" userId="d0a839f9-cda2-4cba-bf81-8e69575eccaf" providerId="ADAL" clId="{E64D7A78-68CC-470B-AA9D-E7B086ADB0B6}" dt="2025-12-04T16:13:34.608" v="833" actId="478"/>
          <ac:graphicFrameMkLst>
            <pc:docMk/>
            <pc:sldMk cId="2724338865" sldId="2147481494"/>
            <ac:graphicFrameMk id="35" creationId="{44466D02-5DC4-43C2-FAA4-FEE9AADA43E9}"/>
          </ac:graphicFrameMkLst>
        </pc:graphicFrameChg>
      </pc:sldChg>
      <pc:sldChg chg="addSp delSp modSp add mod ord modAnim">
        <pc:chgData name="Bressler, Derek" userId="d0a839f9-cda2-4cba-bf81-8e69575eccaf" providerId="ADAL" clId="{E64D7A78-68CC-470B-AA9D-E7B086ADB0B6}" dt="2025-12-04T17:59:51.484" v="985" actId="1076"/>
        <pc:sldMkLst>
          <pc:docMk/>
          <pc:sldMk cId="956616296" sldId="2147481495"/>
        </pc:sldMkLst>
        <pc:spChg chg="mod">
          <ac:chgData name="Bressler, Derek" userId="d0a839f9-cda2-4cba-bf81-8e69575eccaf" providerId="ADAL" clId="{E64D7A78-68CC-470B-AA9D-E7B086ADB0B6}" dt="2025-12-04T17:46:20.525" v="934" actId="20577"/>
          <ac:spMkLst>
            <pc:docMk/>
            <pc:sldMk cId="956616296" sldId="2147481495"/>
            <ac:spMk id="2" creationId="{C5E1CF02-4A56-943D-A3BF-CC6212FF367D}"/>
          </ac:spMkLst>
        </pc:spChg>
        <pc:spChg chg="del">
          <ac:chgData name="Bressler, Derek" userId="d0a839f9-cda2-4cba-bf81-8e69575eccaf" providerId="ADAL" clId="{E64D7A78-68CC-470B-AA9D-E7B086ADB0B6}" dt="2025-12-04T17:46:26.540" v="935" actId="478"/>
          <ac:spMkLst>
            <pc:docMk/>
            <pc:sldMk cId="956616296" sldId="2147481495"/>
            <ac:spMk id="5" creationId="{51EFAB09-8888-3012-52C9-3DC5E0053CFB}"/>
          </ac:spMkLst>
        </pc:spChg>
        <pc:picChg chg="del">
          <ac:chgData name="Bressler, Derek" userId="d0a839f9-cda2-4cba-bf81-8e69575eccaf" providerId="ADAL" clId="{E64D7A78-68CC-470B-AA9D-E7B086ADB0B6}" dt="2025-12-04T17:46:26.540" v="935" actId="478"/>
          <ac:picMkLst>
            <pc:docMk/>
            <pc:sldMk cId="956616296" sldId="2147481495"/>
            <ac:picMk id="3" creationId="{DF4763AD-A955-7116-2D95-6CA581B69E50}"/>
          </ac:picMkLst>
        </pc:picChg>
        <pc:picChg chg="add mod ord">
          <ac:chgData name="Bressler, Derek" userId="d0a839f9-cda2-4cba-bf81-8e69575eccaf" providerId="ADAL" clId="{E64D7A78-68CC-470B-AA9D-E7B086ADB0B6}" dt="2025-12-04T17:59:47.347" v="984" actId="1076"/>
          <ac:picMkLst>
            <pc:docMk/>
            <pc:sldMk cId="956616296" sldId="2147481495"/>
            <ac:picMk id="7" creationId="{BCA09AA7-B5FA-7487-ECD0-12691F5B8276}"/>
          </ac:picMkLst>
        </pc:picChg>
        <pc:picChg chg="add mod ord">
          <ac:chgData name="Bressler, Derek" userId="d0a839f9-cda2-4cba-bf81-8e69575eccaf" providerId="ADAL" clId="{E64D7A78-68CC-470B-AA9D-E7B086ADB0B6}" dt="2025-12-04T17:59:41.345" v="983" actId="1076"/>
          <ac:picMkLst>
            <pc:docMk/>
            <pc:sldMk cId="956616296" sldId="2147481495"/>
            <ac:picMk id="9" creationId="{D935FB9B-A261-8FFE-7C97-09B5A33D2D2B}"/>
          </ac:picMkLst>
        </pc:picChg>
        <pc:picChg chg="add mod ord">
          <ac:chgData name="Bressler, Derek" userId="d0a839f9-cda2-4cba-bf81-8e69575eccaf" providerId="ADAL" clId="{E64D7A78-68CC-470B-AA9D-E7B086ADB0B6}" dt="2025-12-04T17:58:05.917" v="973" actId="14100"/>
          <ac:picMkLst>
            <pc:docMk/>
            <pc:sldMk cId="956616296" sldId="2147481495"/>
            <ac:picMk id="11" creationId="{17E40B32-A217-2408-7DF5-68E27C92AAB2}"/>
          </ac:picMkLst>
        </pc:picChg>
        <pc:picChg chg="add mod ord">
          <ac:chgData name="Bressler, Derek" userId="d0a839f9-cda2-4cba-bf81-8e69575eccaf" providerId="ADAL" clId="{E64D7A78-68CC-470B-AA9D-E7B086ADB0B6}" dt="2025-12-04T17:58:18.642" v="976" actId="1076"/>
          <ac:picMkLst>
            <pc:docMk/>
            <pc:sldMk cId="956616296" sldId="2147481495"/>
            <ac:picMk id="14" creationId="{9C2790EE-46DF-F3FD-73D9-877D5C8AC556}"/>
          </ac:picMkLst>
        </pc:picChg>
        <pc:picChg chg="add mod ord">
          <ac:chgData name="Bressler, Derek" userId="d0a839f9-cda2-4cba-bf81-8e69575eccaf" providerId="ADAL" clId="{E64D7A78-68CC-470B-AA9D-E7B086ADB0B6}" dt="2025-12-04T17:59:51.484" v="985" actId="1076"/>
          <ac:picMkLst>
            <pc:docMk/>
            <pc:sldMk cId="956616296" sldId="2147481495"/>
            <ac:picMk id="16" creationId="{FE87AD86-D846-E623-CED9-0E6669B74B7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file:///C:\Users\ShemaitisS\AppData\Local\Microsoft\Windows\INetCache\Content.Outlook\Q6TDVWQL\Item%203%20-%20Investor%20Relations%20Charts%20Q4%20202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1"/>
          <c:order val="0"/>
          <c:tx>
            <c:strRef>
              <c:f>'34. Sales and EBITDA'!$N$5:$O$5</c:f>
              <c:strCache>
                <c:ptCount val="1"/>
                <c:pt idx="0">
                  <c:v>Sales</c:v>
                </c:pt>
              </c:strCache>
            </c:strRef>
          </c:tx>
          <c:dPt>
            <c:idx val="0"/>
            <c:bubble3D val="0"/>
            <c:spPr>
              <a:solidFill>
                <a:sysClr val="windowText" lastClr="000000">
                  <a:lumMod val="75000"/>
                  <a:lumOff val="25000"/>
                </a:sysClr>
              </a:solidFill>
              <a:ln w="19050">
                <a:solidFill>
                  <a:schemeClr val="lt1"/>
                </a:solidFill>
              </a:ln>
              <a:effectLst/>
            </c:spPr>
            <c:extLst>
              <c:ext xmlns:c16="http://schemas.microsoft.com/office/drawing/2014/chart" uri="{C3380CC4-5D6E-409C-BE32-E72D297353CC}">
                <c16:uniqueId val="{00000001-2869-4ADD-B86E-6A2191ADC48A}"/>
              </c:ext>
            </c:extLst>
          </c:dPt>
          <c:dPt>
            <c:idx val="1"/>
            <c:bubble3D val="0"/>
            <c:spPr>
              <a:solidFill>
                <a:sysClr val="windowText" lastClr="000000">
                  <a:lumMod val="50000"/>
                  <a:lumOff val="50000"/>
                </a:sysClr>
              </a:solidFill>
              <a:ln w="19050">
                <a:solidFill>
                  <a:schemeClr val="lt1"/>
                </a:solidFill>
              </a:ln>
              <a:effectLst/>
            </c:spPr>
            <c:extLst>
              <c:ext xmlns:c16="http://schemas.microsoft.com/office/drawing/2014/chart" uri="{C3380CC4-5D6E-409C-BE32-E72D297353CC}">
                <c16:uniqueId val="{00000003-2869-4ADD-B86E-6A2191ADC48A}"/>
              </c:ext>
            </c:extLst>
          </c:dPt>
          <c:dPt>
            <c:idx val="2"/>
            <c:bubble3D val="0"/>
            <c:spPr>
              <a:solidFill>
                <a:srgbClr val="E8E8E8">
                  <a:lumMod val="75000"/>
                </a:srgbClr>
              </a:solidFill>
              <a:ln w="19050">
                <a:solidFill>
                  <a:schemeClr val="lt1"/>
                </a:solidFill>
              </a:ln>
              <a:effectLst/>
            </c:spPr>
            <c:extLst>
              <c:ext xmlns:c16="http://schemas.microsoft.com/office/drawing/2014/chart" uri="{C3380CC4-5D6E-409C-BE32-E72D297353CC}">
                <c16:uniqueId val="{00000005-2869-4ADD-B86E-6A2191ADC48A}"/>
              </c:ext>
            </c:extLst>
          </c:dPt>
          <c:dLbls>
            <c:dLbl>
              <c:idx val="0"/>
              <c:layout>
                <c:manualLayout>
                  <c:x val="-4.979978206505465E-3"/>
                  <c:y val="6.9519194304287759E-3"/>
                </c:manualLayout>
              </c:layout>
              <c:tx>
                <c:rich>
                  <a:bodyPr/>
                  <a:lstStyle/>
                  <a:p>
                    <a:r>
                      <a:rPr lang="en-US" sz="1100">
                        <a:solidFill>
                          <a:schemeClr val="bg1"/>
                        </a:solidFill>
                      </a:rPr>
                      <a:t>Pharma</a:t>
                    </a:r>
                  </a:p>
                  <a:p>
                    <a:fld id="{0FA95C69-A680-42C7-B829-05193C0B31BF}" type="VALUE">
                      <a:rPr lang="en-US" sz="1100">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1453497477322975"/>
                      <c:h val="9.2599566813310191E-2"/>
                    </c:manualLayout>
                  </c15:layout>
                  <c15:dlblFieldTable/>
                  <c15:showDataLabelsRange val="0"/>
                </c:ext>
                <c:ext xmlns:c16="http://schemas.microsoft.com/office/drawing/2014/chart" uri="{C3380CC4-5D6E-409C-BE32-E72D297353CC}">
                  <c16:uniqueId val="{00000001-2869-4ADD-B86E-6A2191ADC48A}"/>
                </c:ext>
              </c:extLst>
            </c:dLbl>
            <c:dLbl>
              <c:idx val="1"/>
              <c:layout>
                <c:manualLayout>
                  <c:x val="-4.3431060629247672E-3"/>
                  <c:y val="-1.9482494326874069E-2"/>
                </c:manualLayout>
              </c:layout>
              <c:tx>
                <c:rich>
                  <a:bodyPr/>
                  <a:lstStyle/>
                  <a:p>
                    <a:r>
                      <a:rPr lang="en-US"/>
                      <a:t>Beauty</a:t>
                    </a:r>
                  </a:p>
                  <a:p>
                    <a:fld id="{0869A93D-BDA1-4662-8748-B045556BEC85}"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869-4ADD-B86E-6A2191ADC48A}"/>
                </c:ext>
              </c:extLst>
            </c:dLbl>
            <c:dLbl>
              <c:idx val="2"/>
              <c:layout>
                <c:manualLayout>
                  <c:x val="4.3431060629247672E-3"/>
                  <c:y val="4.8706235817185172E-3"/>
                </c:manualLayout>
              </c:layout>
              <c:tx>
                <c:rich>
                  <a:bodyPr/>
                  <a:lstStyle/>
                  <a:p>
                    <a:r>
                      <a:rPr lang="en-US"/>
                      <a:t>Closures</a:t>
                    </a:r>
                  </a:p>
                  <a:p>
                    <a:fld id="{5E85A1FA-B724-48C3-8D3E-34B70D54D685}"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869-4ADD-B86E-6A2191ADC48A}"/>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34. Sales and EBITDA'!$L$6:$L$13</c:f>
              <c:strCache>
                <c:ptCount val="8"/>
                <c:pt idx="0">
                  <c:v>Proprietary Drug Delivery Systems</c:v>
                </c:pt>
                <c:pt idx="1">
                  <c:v>Injectables</c:v>
                </c:pt>
                <c:pt idx="2">
                  <c:v>Active Material Science Solutions</c:v>
                </c:pt>
                <c:pt idx="3">
                  <c:v>Beauty</c:v>
                </c:pt>
                <c:pt idx="4">
                  <c:v>Personal Care</c:v>
                </c:pt>
                <c:pt idx="5">
                  <c:v>Home Care</c:v>
                </c:pt>
                <c:pt idx="6">
                  <c:v>Food</c:v>
                </c:pt>
                <c:pt idx="7">
                  <c:v>Beverage</c:v>
                </c:pt>
              </c:strCache>
            </c:strRef>
          </c:cat>
          <c:val>
            <c:numRef>
              <c:f>'34. Sales and EBITDA'!$O$6:$O$8</c:f>
              <c:numCache>
                <c:formatCode>0%</c:formatCode>
                <c:ptCount val="3"/>
                <c:pt idx="0">
                  <c:v>0.45861078626471924</c:v>
                </c:pt>
                <c:pt idx="1">
                  <c:v>0.34210651178238793</c:v>
                </c:pt>
                <c:pt idx="2">
                  <c:v>0.19928270195289277</c:v>
                </c:pt>
              </c:numCache>
            </c:numRef>
          </c:val>
          <c:extLst>
            <c:ext xmlns:c16="http://schemas.microsoft.com/office/drawing/2014/chart" uri="{C3380CC4-5D6E-409C-BE32-E72D297353CC}">
              <c16:uniqueId val="{00000006-2869-4ADD-B86E-6A2191ADC48A}"/>
            </c:ext>
          </c:extLst>
        </c:ser>
        <c:ser>
          <c:idx val="0"/>
          <c:order val="1"/>
          <c:tx>
            <c:strRef>
              <c:f>'34. Sales and EBITDA'!$L$5:$M$5</c:f>
              <c:strCache>
                <c:ptCount val="1"/>
                <c:pt idx="0">
                  <c:v>Sales</c:v>
                </c:pt>
              </c:strCache>
            </c:strRef>
          </c:tx>
          <c:dPt>
            <c:idx val="0"/>
            <c:bubble3D val="0"/>
            <c:spPr>
              <a:solidFill>
                <a:srgbClr val="275543"/>
              </a:solidFill>
              <a:ln w="19050">
                <a:solidFill>
                  <a:schemeClr val="lt1"/>
                </a:solidFill>
              </a:ln>
              <a:effectLst/>
            </c:spPr>
            <c:extLst>
              <c:ext xmlns:c16="http://schemas.microsoft.com/office/drawing/2014/chart" uri="{C3380CC4-5D6E-409C-BE32-E72D297353CC}">
                <c16:uniqueId val="{00000008-2869-4ADD-B86E-6A2191ADC48A}"/>
              </c:ext>
            </c:extLst>
          </c:dPt>
          <c:dPt>
            <c:idx val="1"/>
            <c:bubble3D val="0"/>
            <c:spPr>
              <a:solidFill>
                <a:srgbClr val="34715A"/>
              </a:solidFill>
              <a:ln w="19050">
                <a:solidFill>
                  <a:schemeClr val="lt1"/>
                </a:solidFill>
              </a:ln>
              <a:effectLst/>
            </c:spPr>
            <c:extLst>
              <c:ext xmlns:c16="http://schemas.microsoft.com/office/drawing/2014/chart" uri="{C3380CC4-5D6E-409C-BE32-E72D297353CC}">
                <c16:uniqueId val="{0000000A-2869-4ADD-B86E-6A2191ADC48A}"/>
              </c:ext>
            </c:extLst>
          </c:dPt>
          <c:dPt>
            <c:idx val="2"/>
            <c:bubble3D val="0"/>
            <c:spPr>
              <a:solidFill>
                <a:srgbClr val="669A8C"/>
              </a:solidFill>
              <a:ln w="19050">
                <a:solidFill>
                  <a:schemeClr val="lt1"/>
                </a:solidFill>
              </a:ln>
              <a:effectLst/>
            </c:spPr>
            <c:extLst>
              <c:ext xmlns:c16="http://schemas.microsoft.com/office/drawing/2014/chart" uri="{C3380CC4-5D6E-409C-BE32-E72D297353CC}">
                <c16:uniqueId val="{0000000C-2869-4ADD-B86E-6A2191ADC48A}"/>
              </c:ext>
            </c:extLst>
          </c:dPt>
          <c:dPt>
            <c:idx val="3"/>
            <c:bubble3D val="0"/>
            <c:spPr>
              <a:solidFill>
                <a:srgbClr val="83C7AD"/>
              </a:solidFill>
              <a:ln w="19050">
                <a:solidFill>
                  <a:schemeClr val="lt1"/>
                </a:solidFill>
              </a:ln>
              <a:effectLst/>
            </c:spPr>
            <c:extLst>
              <c:ext xmlns:c16="http://schemas.microsoft.com/office/drawing/2014/chart" uri="{C3380CC4-5D6E-409C-BE32-E72D297353CC}">
                <c16:uniqueId val="{0000000E-2869-4ADD-B86E-6A2191ADC48A}"/>
              </c:ext>
            </c:extLst>
          </c:dPt>
          <c:dPt>
            <c:idx val="4"/>
            <c:bubble3D val="0"/>
            <c:spPr>
              <a:solidFill>
                <a:srgbClr val="D0E9E0"/>
              </a:solidFill>
              <a:ln w="19050">
                <a:solidFill>
                  <a:schemeClr val="lt1"/>
                </a:solidFill>
              </a:ln>
              <a:effectLst/>
            </c:spPr>
            <c:extLst>
              <c:ext xmlns:c16="http://schemas.microsoft.com/office/drawing/2014/chart" uri="{C3380CC4-5D6E-409C-BE32-E72D297353CC}">
                <c16:uniqueId val="{00000010-2869-4ADD-B86E-6A2191ADC48A}"/>
              </c:ext>
            </c:extLst>
          </c:dPt>
          <c:dPt>
            <c:idx val="5"/>
            <c:bubble3D val="0"/>
            <c:spPr>
              <a:solidFill>
                <a:srgbClr val="E3F2DA"/>
              </a:solidFill>
              <a:ln w="19050">
                <a:solidFill>
                  <a:schemeClr val="lt1"/>
                </a:solidFill>
              </a:ln>
              <a:effectLst/>
            </c:spPr>
            <c:extLst>
              <c:ext xmlns:c16="http://schemas.microsoft.com/office/drawing/2014/chart" uri="{C3380CC4-5D6E-409C-BE32-E72D297353CC}">
                <c16:uniqueId val="{00000012-2869-4ADD-B86E-6A2191ADC48A}"/>
              </c:ext>
            </c:extLst>
          </c:dPt>
          <c:dPt>
            <c:idx val="6"/>
            <c:bubble3D val="0"/>
            <c:spPr>
              <a:solidFill>
                <a:srgbClr val="AAD88F"/>
              </a:solidFill>
              <a:ln w="19050">
                <a:solidFill>
                  <a:schemeClr val="lt1"/>
                </a:solidFill>
              </a:ln>
              <a:effectLst/>
            </c:spPr>
            <c:extLst>
              <c:ext xmlns:c16="http://schemas.microsoft.com/office/drawing/2014/chart" uri="{C3380CC4-5D6E-409C-BE32-E72D297353CC}">
                <c16:uniqueId val="{00000014-2869-4ADD-B86E-6A2191ADC48A}"/>
              </c:ext>
            </c:extLst>
          </c:dPt>
          <c:dPt>
            <c:idx val="7"/>
            <c:bubble3D val="0"/>
            <c:spPr>
              <a:solidFill>
                <a:srgbClr val="72BE44"/>
              </a:solidFill>
              <a:ln w="19050">
                <a:solidFill>
                  <a:schemeClr val="lt1"/>
                </a:solidFill>
              </a:ln>
              <a:effectLst/>
            </c:spPr>
            <c:extLst>
              <c:ext xmlns:c16="http://schemas.microsoft.com/office/drawing/2014/chart" uri="{C3380CC4-5D6E-409C-BE32-E72D297353CC}">
                <c16:uniqueId val="{00000016-2869-4ADD-B86E-6A2191ADC48A}"/>
              </c:ext>
            </c:extLst>
          </c:dPt>
          <c:dLbls>
            <c:dLbl>
              <c:idx val="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8-2869-4ADD-B86E-6A2191ADC48A}"/>
                </c:ext>
              </c:extLst>
            </c:dLbl>
            <c:dLbl>
              <c:idx val="1"/>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A-2869-4ADD-B86E-6A2191ADC48A}"/>
                </c:ext>
              </c:extLst>
            </c:dLbl>
            <c:dLbl>
              <c:idx val="2"/>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C-2869-4ADD-B86E-6A2191ADC48A}"/>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34. Sales and EBITDA'!$L$6:$L$13</c:f>
              <c:strCache>
                <c:ptCount val="8"/>
                <c:pt idx="0">
                  <c:v>Proprietary Drug Delivery Systems</c:v>
                </c:pt>
                <c:pt idx="1">
                  <c:v>Injectables</c:v>
                </c:pt>
                <c:pt idx="2">
                  <c:v>Active Material Science Solutions</c:v>
                </c:pt>
                <c:pt idx="3">
                  <c:v>Beauty</c:v>
                </c:pt>
                <c:pt idx="4">
                  <c:v>Personal Care</c:v>
                </c:pt>
                <c:pt idx="5">
                  <c:v>Home Care</c:v>
                </c:pt>
                <c:pt idx="6">
                  <c:v>Food</c:v>
                </c:pt>
                <c:pt idx="7">
                  <c:v>Beverage</c:v>
                </c:pt>
              </c:strCache>
            </c:strRef>
          </c:cat>
          <c:val>
            <c:numRef>
              <c:f>'34. Sales and EBITDA'!$M$6:$M$13</c:f>
              <c:numCache>
                <c:formatCode>0%</c:formatCode>
                <c:ptCount val="8"/>
                <c:pt idx="0">
                  <c:v>0.33</c:v>
                </c:pt>
                <c:pt idx="1">
                  <c:v>0.08</c:v>
                </c:pt>
                <c:pt idx="2">
                  <c:v>0.05</c:v>
                </c:pt>
                <c:pt idx="3">
                  <c:v>0.21</c:v>
                </c:pt>
                <c:pt idx="4">
                  <c:v>0.15</c:v>
                </c:pt>
                <c:pt idx="5">
                  <c:v>0.03</c:v>
                </c:pt>
                <c:pt idx="6">
                  <c:v>0.11</c:v>
                </c:pt>
                <c:pt idx="7">
                  <c:v>0.04</c:v>
                </c:pt>
              </c:numCache>
            </c:numRef>
          </c:val>
          <c:extLst>
            <c:ext xmlns:c16="http://schemas.microsoft.com/office/drawing/2014/chart" uri="{C3380CC4-5D6E-409C-BE32-E72D297353CC}">
              <c16:uniqueId val="{00000017-2869-4ADD-B86E-6A2191ADC48A}"/>
            </c:ext>
          </c:extLst>
        </c:ser>
        <c:dLbls>
          <c:showLegendKey val="0"/>
          <c:showVal val="1"/>
          <c:showCatName val="0"/>
          <c:showSerName val="0"/>
          <c:showPercent val="0"/>
          <c:showBubbleSize val="0"/>
          <c:showLeaderLines val="1"/>
        </c:dLbls>
        <c:firstSliceAng val="0"/>
        <c:holeSize val="33"/>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7796</cdr:x>
      <cdr:y>0.46073</cdr:y>
    </cdr:from>
    <cdr:to>
      <cdr:x>0.62152</cdr:x>
      <cdr:y>0.54216</cdr:y>
    </cdr:to>
    <cdr:sp macro="" textlink="">
      <cdr:nvSpPr>
        <cdr:cNvPr id="2" name="Rectangle 1">
          <a:extLst xmlns:a="http://schemas.openxmlformats.org/drawingml/2006/main">
            <a:ext uri="{FF2B5EF4-FFF2-40B4-BE49-F238E27FC236}">
              <a16:creationId xmlns:a16="http://schemas.microsoft.com/office/drawing/2014/main" id="{C4597FAE-527A-D4F9-A871-7591D9C4D7E2}"/>
            </a:ext>
          </a:extLst>
        </cdr:cNvPr>
        <cdr:cNvSpPr/>
      </cdr:nvSpPr>
      <cdr:spPr>
        <a:xfrm xmlns:a="http://schemas.openxmlformats.org/drawingml/2006/main">
          <a:off x="1563863" y="2104182"/>
          <a:ext cx="1007775" cy="371907"/>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ctr"/>
          <a:fld id="{B041D328-2050-4D80-A35B-55E41FADE79D}" type="TxLink">
            <a:rPr lang="en-US" sz="2400" b="1" i="0" u="none" strike="noStrike" kern="1200" smtClean="0">
              <a:solidFill>
                <a:srgbClr val="000000"/>
              </a:solidFill>
              <a:latin typeface="Arial" panose="020B0604020202020204" pitchFamily="34" charset="0"/>
              <a:cs typeface="Arial" panose="020B0604020202020204" pitchFamily="34" charset="0"/>
            </a:rPr>
            <a:pPr algn="ctr"/>
            <a:t>$3.6B</a:t>
          </a:fld>
          <a:r>
            <a:rPr lang="en-US" sz="2400" b="1" kern="1200" baseline="30000" dirty="0">
              <a:solidFill>
                <a:srgbClr val="000000"/>
              </a:solidFill>
              <a:latin typeface="Arial" panose="020B0604020202020204" pitchFamily="34" charset="0"/>
              <a:cs typeface="Arial" panose="020B0604020202020204" pitchFamily="34" charset="0"/>
            </a:rPr>
            <a:t>1</a:t>
          </a:r>
          <a:endParaRPr lang="en-US" sz="2400" b="1" kern="1200" baseline="300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9F32FA7-E938-4373-9025-2FE524F8C357}" type="datetimeFigureOut">
              <a:rPr lang="en-US" smtClean="0"/>
              <a:t>12/4/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F6AD44-4105-48C4-B2DA-09BC0616735F}" type="slidenum">
              <a:rPr lang="en-US" smtClean="0"/>
              <a:t>‹#›</a:t>
            </a:fld>
            <a:endParaRPr lang="en-US"/>
          </a:p>
        </p:txBody>
      </p:sp>
    </p:spTree>
    <p:extLst>
      <p:ext uri="{BB962C8B-B14F-4D97-AF65-F5344CB8AC3E}">
        <p14:creationId xmlns:p14="http://schemas.microsoft.com/office/powerpoint/2010/main" val="378594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6ED7E0-119F-4823-A29A-3D09FE1A5217}" type="datetimeFigureOut">
              <a:rPr lang="en-US" smtClean="0"/>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295D3E-9D67-40D4-8856-07777222B5B7}" type="slidenum">
              <a:rPr lang="en-US" smtClean="0"/>
              <a:t>‹#›</a:t>
            </a:fld>
            <a:endParaRPr lang="en-US"/>
          </a:p>
        </p:txBody>
      </p:sp>
    </p:spTree>
    <p:extLst>
      <p:ext uri="{BB962C8B-B14F-4D97-AF65-F5344CB8AC3E}">
        <p14:creationId xmlns:p14="http://schemas.microsoft.com/office/powerpoint/2010/main" val="4291893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FR" dirty="0"/>
              <a:t>Our </a:t>
            </a:r>
            <a:r>
              <a:rPr lang="fr-FR" dirty="0" err="1"/>
              <a:t>products</a:t>
            </a:r>
            <a:r>
              <a:rPr lang="fr-FR" dirty="0"/>
              <a:t> and solutions</a:t>
            </a:r>
            <a:r>
              <a:rPr lang="fr-FR" baseline="0" dirty="0"/>
              <a:t> are </a:t>
            </a:r>
            <a:r>
              <a:rPr lang="fr-FR" baseline="0" dirty="0" err="1"/>
              <a:t>everywhere</a:t>
            </a:r>
            <a:r>
              <a:rPr lang="fr-FR" baseline="0" dirty="0"/>
              <a:t> and part of </a:t>
            </a:r>
            <a:r>
              <a:rPr lang="fr-FR" baseline="0" dirty="0" err="1"/>
              <a:t>our</a:t>
            </a:r>
            <a:r>
              <a:rPr lang="fr-FR" baseline="0" dirty="0"/>
              <a:t> </a:t>
            </a:r>
            <a:r>
              <a:rPr lang="fr-FR" baseline="0" dirty="0" err="1"/>
              <a:t>daily</a:t>
            </a:r>
            <a:r>
              <a:rPr lang="fr-FR" baseline="0" dirty="0"/>
              <a:t> </a:t>
            </a:r>
            <a:r>
              <a:rPr lang="fr-FR" baseline="0" dirty="0" err="1"/>
              <a:t>lives</a:t>
            </a:r>
            <a:r>
              <a:rPr lang="fr-FR" baseline="0" dirty="0"/>
              <a:t>. </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You should feel proud about working for Aptar as you’re </a:t>
            </a:r>
            <a:r>
              <a:rPr lang="en-US" sz="1200" kern="1200" dirty="0">
                <a:solidFill>
                  <a:schemeClr val="tx1"/>
                </a:solidFill>
                <a:effectLst/>
                <a:latin typeface="+mn-lt"/>
                <a:ea typeface="+mn-ea"/>
                <a:cs typeface="+mn-cs"/>
              </a:rPr>
              <a:t>truly making a difference in the lives, looks, health and homes of millions of people around the world. </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defTabSz="914377"/>
            <a:endParaRPr lang="en-US" dirty="0"/>
          </a:p>
          <a:p>
            <a:endParaRPr lang="en-US" dirty="0"/>
          </a:p>
        </p:txBody>
      </p:sp>
    </p:spTree>
    <p:extLst>
      <p:ext uri="{BB962C8B-B14F-4D97-AF65-F5344CB8AC3E}">
        <p14:creationId xmlns:p14="http://schemas.microsoft.com/office/powerpoint/2010/main" val="2984948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36036-B9A6-4E42-BBAD-60CA1BBC50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309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0089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7304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8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D301F-3A46-75C1-632D-B40533C544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422B23-1AF5-7EFD-6DCB-FF21CED676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715B98-FB5E-04B8-D2DF-B254FC1478B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830A71-7BD4-8EC9-9829-77DF6A9F3B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7300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464D8-BE50-D30A-40C7-2118667D3E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5B6275-65A5-F745-9197-598808C5E5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7A309D-23CB-A844-9B98-DEA8A72028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AD0161-D9B3-3693-1C03-FFBE8E2104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3522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340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3593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Wordpress</a:t>
            </a:r>
            <a:r>
              <a:rPr lang="en-US" dirty="0"/>
              <a:t> is the most used Content Management system in the world and as a technology does not have a company providing enterprise support (community support).  For these reasons hackers target </a:t>
            </a:r>
            <a:r>
              <a:rPr lang="en-US" dirty="0" err="1"/>
              <a:t>wordPress</a:t>
            </a:r>
            <a:r>
              <a:rPr lang="en-US" dirty="0"/>
              <a:t> more than any other technology.  It is a suitable technology for basic websites / online catalogs but is risky to use in more </a:t>
            </a:r>
            <a:r>
              <a:rPr lang="en-US"/>
              <a:t>complex scenario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5230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7.xml"/><Relationship Id="rId5" Type="http://schemas.openxmlformats.org/officeDocument/2006/relationships/image" Target="../media/image25.png"/><Relationship Id="rId4" Type="http://schemas.openxmlformats.org/officeDocument/2006/relationships/image" Target="../media/image2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1"/>
          <p:cNvSpPr>
            <a:spLocks noGrp="1"/>
          </p:cNvSpPr>
          <p:nvPr>
            <p:ph type="ctrTitle"/>
          </p:nvPr>
        </p:nvSpPr>
        <p:spPr>
          <a:xfrm>
            <a:off x="3260436" y="249909"/>
            <a:ext cx="8460510" cy="1588127"/>
          </a:xfrm>
        </p:spPr>
        <p:txBody>
          <a:bodyPr anchor="ctr" anchorCtr="0">
            <a:noAutofit/>
          </a:bodyPr>
          <a:lstStyle>
            <a:lvl1pPr algn="l">
              <a:defRPr sz="3200" b="1">
                <a:solidFill>
                  <a:schemeClr val="bg2"/>
                </a:solidFill>
              </a:defRPr>
            </a:lvl1pPr>
          </a:lstStyle>
          <a:p>
            <a:r>
              <a:rPr lang="en-US"/>
              <a:t>Click to edit Master title style</a:t>
            </a:r>
            <a:endParaRPr lang="en-US" dirty="0"/>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uthor Name and Title and Dat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8020" y="2231010"/>
            <a:ext cx="1611290" cy="438300"/>
          </a:xfrm>
          <a:prstGeom prst="rect">
            <a:avLst/>
          </a:prstGeom>
        </p:spPr>
      </p:pic>
    </p:spTree>
    <p:extLst>
      <p:ext uri="{BB962C8B-B14F-4D97-AF65-F5344CB8AC3E}">
        <p14:creationId xmlns:p14="http://schemas.microsoft.com/office/powerpoint/2010/main" val="24552631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H">
    <p:spTree>
      <p:nvGrpSpPr>
        <p:cNvPr id="1" name=""/>
        <p:cNvGrpSpPr/>
        <p:nvPr/>
      </p:nvGrpSpPr>
      <p:grpSpPr>
        <a:xfrm>
          <a:off x="0" y="0"/>
          <a:ext cx="0" cy="0"/>
          <a:chOff x="0" y="0"/>
          <a:chExt cx="0" cy="0"/>
        </a:xfrm>
      </p:grpSpPr>
      <p:sp>
        <p:nvSpPr>
          <p:cNvPr id="8" name="Rectangle 7"/>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pic>
        <p:nvPicPr>
          <p:cNvPr id="7" name="Picture 6" descr="abh_logo_rgb_cg10_2603_midre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537"/>
          </a:xfrm>
          <a:prstGeom prst="rect">
            <a:avLst/>
          </a:prstGeom>
        </p:spPr>
      </p:pic>
    </p:spTree>
    <p:extLst>
      <p:ext uri="{BB962C8B-B14F-4D97-AF65-F5344CB8AC3E}">
        <p14:creationId xmlns:p14="http://schemas.microsoft.com/office/powerpoint/2010/main" val="4668058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B">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2"/>
                </a:solidFill>
              </a:defRPr>
            </a:lvl1pPr>
          </a:lstStyle>
          <a:p>
            <a:pPr lvl="0"/>
            <a:r>
              <a:rPr lang="en-US" dirty="0"/>
              <a:t>Click to edit subtitle styles</a:t>
            </a:r>
          </a:p>
        </p:txBody>
      </p:sp>
      <p:pic>
        <p:nvPicPr>
          <p:cNvPr id="8" name="Image 11" descr="afb_logo_rgb_cg10_18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268"/>
          </a:xfrm>
          <a:prstGeom prst="rect">
            <a:avLst/>
          </a:prstGeom>
          <a:solidFill>
            <a:schemeClr val="bg1"/>
          </a:solidFill>
        </p:spPr>
      </p:pic>
    </p:spTree>
    <p:extLst>
      <p:ext uri="{BB962C8B-B14F-4D97-AF65-F5344CB8AC3E}">
        <p14:creationId xmlns:p14="http://schemas.microsoft.com/office/powerpoint/2010/main" val="9148606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arma">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3"/>
                </a:solidFill>
              </a:defRPr>
            </a:lvl1pPr>
          </a:lstStyle>
          <a:p>
            <a:pPr lvl="0"/>
            <a:r>
              <a:rPr lang="en-US" dirty="0"/>
              <a:t>Click to edit subtitle styles</a:t>
            </a:r>
          </a:p>
        </p:txBody>
      </p:sp>
      <p:pic>
        <p:nvPicPr>
          <p:cNvPr id="8" name="Picture 7" descr="aph_logo_rgb_cg10_660"/>
          <p:cNvPicPr>
            <a:picLocks noChangeAspect="1" noChangeArrowheads="1"/>
          </p:cNvPicPr>
          <p:nvPr userDrawn="1"/>
        </p:nvPicPr>
        <p:blipFill>
          <a:blip r:embed="rId2" cstate="print"/>
          <a:srcRect/>
          <a:stretch>
            <a:fillRect/>
          </a:stretch>
        </p:blipFill>
        <p:spPr bwMode="auto">
          <a:xfrm>
            <a:off x="10731310" y="415682"/>
            <a:ext cx="1113265" cy="397117"/>
          </a:xfrm>
          <a:prstGeom prst="rect">
            <a:avLst/>
          </a:prstGeom>
          <a:noFill/>
          <a:ln w="9525">
            <a:noFill/>
            <a:miter lim="800000"/>
            <a:headEnd/>
            <a:tailEnd/>
          </a:ln>
        </p:spPr>
      </p:pic>
    </p:spTree>
    <p:extLst>
      <p:ext uri="{BB962C8B-B14F-4D97-AF65-F5344CB8AC3E}">
        <p14:creationId xmlns:p14="http://schemas.microsoft.com/office/powerpoint/2010/main" val="190997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SP">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A0EF59-B0B5-42D4-A9D4-7F370AAB2E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6440" y="402250"/>
            <a:ext cx="1142871" cy="410121"/>
          </a:xfrm>
          <a:prstGeom prst="rect">
            <a:avLst/>
          </a:prstGeom>
        </p:spPr>
      </p:pic>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rgbClr val="3773C2"/>
                </a:solidFill>
              </a:defRPr>
            </a:lvl1pPr>
          </a:lstStyle>
          <a:p>
            <a:pPr lvl="0"/>
            <a:r>
              <a:rPr lang="en-US" dirty="0"/>
              <a:t>Click to edit subtitle styles</a:t>
            </a:r>
          </a:p>
        </p:txBody>
      </p:sp>
    </p:spTree>
    <p:extLst>
      <p:ext uri="{BB962C8B-B14F-4D97-AF65-F5344CB8AC3E}">
        <p14:creationId xmlns:p14="http://schemas.microsoft.com/office/powerpoint/2010/main" val="15649493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16724913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ubtitle and Side-by-Side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sp>
        <p:nvSpPr>
          <p:cNvPr id="7"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980871"/>
            <a:ext cx="5652000" cy="4094108"/>
          </a:xfrm>
        </p:spPr>
        <p:txBody>
          <a:bodyPr/>
          <a:lstStyle/>
          <a:p>
            <a:pPr lvl="0"/>
            <a:r>
              <a:rPr lang="en-US" dirty="0"/>
              <a:t>Click to edit Master text styles</a:t>
            </a:r>
          </a:p>
          <a:p>
            <a:pPr lvl="1"/>
            <a:r>
              <a:rPr lang="en-US"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E67D38F7-007B-4219-812C-1916B26A96B6}"/>
              </a:ext>
            </a:extLst>
          </p:cNvPr>
          <p:cNvSpPr>
            <a:spLocks noGrp="1"/>
          </p:cNvSpPr>
          <p:nvPr>
            <p:ph sz="half" idx="14"/>
          </p:nvPr>
        </p:nvSpPr>
        <p:spPr>
          <a:xfrm>
            <a:off x="6170518" y="1980870"/>
            <a:ext cx="5652000" cy="4090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5"/>
          </p:nvPr>
        </p:nvSpPr>
        <p:spPr>
          <a:xfrm>
            <a:off x="365085" y="1526290"/>
            <a:ext cx="5652000" cy="454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noProof="0" dirty="0"/>
              <a:t>styles</a:t>
            </a:r>
          </a:p>
        </p:txBody>
      </p:sp>
      <p:sp>
        <p:nvSpPr>
          <p:cNvPr id="10" name="Text Placeholder 2"/>
          <p:cNvSpPr>
            <a:spLocks noGrp="1"/>
          </p:cNvSpPr>
          <p:nvPr>
            <p:ph type="body" idx="16"/>
          </p:nvPr>
        </p:nvSpPr>
        <p:spPr>
          <a:xfrm>
            <a:off x="6170518" y="1526290"/>
            <a:ext cx="5652000" cy="454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46797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Main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88952" cy="6668655"/>
          </a:xfrm>
          <a:prstGeom prst="rect">
            <a:avLst/>
          </a:prstGeom>
        </p:spPr>
      </p:pic>
      <p:sp>
        <p:nvSpPr>
          <p:cNvPr id="2" name="Title 1"/>
          <p:cNvSpPr>
            <a:spLocks noGrp="1"/>
          </p:cNvSpPr>
          <p:nvPr>
            <p:ph type="ctrTitle"/>
          </p:nvPr>
        </p:nvSpPr>
        <p:spPr>
          <a:xfrm>
            <a:off x="3260436" y="249909"/>
            <a:ext cx="8460510" cy="1588127"/>
          </a:xfrm>
        </p:spPr>
        <p:txBody>
          <a:bodyPr anchor="ctr" anchorCtr="0">
            <a:noAutofit/>
          </a:bodyPr>
          <a:lstStyle>
            <a:lvl1pPr algn="l">
              <a:defRPr sz="3200" b="1">
                <a:solidFill>
                  <a:schemeClr val="bg2"/>
                </a:solidFill>
              </a:defRPr>
            </a:lvl1pPr>
          </a:lstStyle>
          <a:p>
            <a:r>
              <a:rPr lang="en-US" dirty="0"/>
              <a:t>Click to edit Master title styl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uthor Name and Title and Dat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58020" y="2231010"/>
            <a:ext cx="1611290" cy="438300"/>
          </a:xfrm>
          <a:prstGeom prst="rect">
            <a:avLst/>
          </a:prstGeom>
        </p:spPr>
      </p:pic>
    </p:spTree>
    <p:extLst>
      <p:ext uri="{BB962C8B-B14F-4D97-AF65-F5344CB8AC3E}">
        <p14:creationId xmlns:p14="http://schemas.microsoft.com/office/powerpoint/2010/main" val="94816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rgbClr val="117F6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088C167-AC0D-45DC-B6F5-9F52C63A3863}" type="datetime1">
              <a:rPr lang="en-US" smtClean="0"/>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00792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3E577FC-EC70-4564-A941-EB108AC03D55}" type="datetime1">
              <a:rPr lang="en-US" smtClean="0"/>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pic>
        <p:nvPicPr>
          <p:cNvPr id="7" name="Picture 6">
            <a:extLst>
              <a:ext uri="{FF2B5EF4-FFF2-40B4-BE49-F238E27FC236}">
                <a16:creationId xmlns:a16="http://schemas.microsoft.com/office/drawing/2014/main" id="{87CA9E1A-8F4B-4DB7-9A95-9AC639E1D4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52373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1C6EA9-8B7A-4FCD-93DD-EEC550D4A9CE}" type="datetime1">
              <a:rPr lang="en-US" smtClean="0"/>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36393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087" y="325521"/>
            <a:ext cx="9217152" cy="549228"/>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8269959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EB4C6AA8-FB5D-47F0-AEA6-1254F248DB35}" type="datetime1">
              <a:rPr lang="en-US" smtClean="0"/>
              <a:t>12/4/2025</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pic>
        <p:nvPicPr>
          <p:cNvPr id="11" name="Picture 10">
            <a:extLst>
              <a:ext uri="{FF2B5EF4-FFF2-40B4-BE49-F238E27FC236}">
                <a16:creationId xmlns:a16="http://schemas.microsoft.com/office/drawing/2014/main" id="{59620C65-4D49-4386-8C3A-A45E73D34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08067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0"/>
          </p:nvPr>
        </p:nvSpPr>
        <p:spPr/>
        <p:txBody>
          <a:bodyPr/>
          <a:lstStyle/>
          <a:p>
            <a:fld id="{0D76D171-5A13-46D0-A019-4F7347568DB8}" type="datetime1">
              <a:rPr lang="en-US" smtClean="0"/>
              <a:t>12/4/2025</a:t>
            </a:fld>
            <a:endParaRPr lang="en-US" dirty="0"/>
          </a:p>
        </p:txBody>
      </p:sp>
      <p:sp>
        <p:nvSpPr>
          <p:cNvPr id="11" name="Footer Placeholder 10"/>
          <p:cNvSpPr>
            <a:spLocks noGrp="1"/>
          </p:cNvSpPr>
          <p:nvPr>
            <p:ph type="ftr" sz="quarter" idx="11"/>
          </p:nvPr>
        </p:nvSpPr>
        <p:spPr/>
        <p:txBody>
          <a:bodyPr/>
          <a:lstStyle/>
          <a:p>
            <a:endParaRPr lang="en-US" dirty="0"/>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dirty="0"/>
          </a:p>
        </p:txBody>
      </p:sp>
      <p:pic>
        <p:nvPicPr>
          <p:cNvPr id="13" name="Picture 12">
            <a:extLst>
              <a:ext uri="{FF2B5EF4-FFF2-40B4-BE49-F238E27FC236}">
                <a16:creationId xmlns:a16="http://schemas.microsoft.com/office/drawing/2014/main" id="{484937A6-4177-4135-9BB5-D70FEC1666F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22336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3B86C15D-667E-4950-AD8A-293AF37B7177}" type="datetime1">
              <a:rPr lang="en-US" smtClean="0"/>
              <a:t>12/4/2025</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dirty="0"/>
          </a:p>
        </p:txBody>
      </p:sp>
      <p:pic>
        <p:nvPicPr>
          <p:cNvPr id="9" name="Picture 8">
            <a:extLst>
              <a:ext uri="{FF2B5EF4-FFF2-40B4-BE49-F238E27FC236}">
                <a16:creationId xmlns:a16="http://schemas.microsoft.com/office/drawing/2014/main" id="{5D79E9A4-AAE0-4D11-9DD4-2022F1384C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01985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82545C9-FAA6-4054-BACA-E2AB1FF3E82A}" type="datetime1">
              <a:rPr lang="en-US" smtClean="0"/>
              <a:t>12/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dirty="0"/>
          </a:p>
        </p:txBody>
      </p:sp>
      <p:pic>
        <p:nvPicPr>
          <p:cNvPr id="8" name="Picture 7">
            <a:extLst>
              <a:ext uri="{FF2B5EF4-FFF2-40B4-BE49-F238E27FC236}">
                <a16:creationId xmlns:a16="http://schemas.microsoft.com/office/drawing/2014/main" id="{8473038C-C3A7-479B-8E32-500D43507D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59707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en-US"/>
              <a:t>Click to edit Master title style</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p:txBody>
          <a:bodyPr/>
          <a:lstStyle/>
          <a:p>
            <a:fld id="{33A24995-C3CC-45D6-B807-73E73F91750B}" type="datetime1">
              <a:rPr lang="en-US" smtClean="0"/>
              <a:t>12/4/2025</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pic>
        <p:nvPicPr>
          <p:cNvPr id="12" name="Picture 11">
            <a:extLst>
              <a:ext uri="{FF2B5EF4-FFF2-40B4-BE49-F238E27FC236}">
                <a16:creationId xmlns:a16="http://schemas.microsoft.com/office/drawing/2014/main" id="{4CB7D535-4BE8-47DF-9CE1-B07E4764A0E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12281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p:txBody>
          <a:bodyPr/>
          <a:lstStyle/>
          <a:p>
            <a:fld id="{CD95264D-70DC-480C-B666-AC066C1A0347}" type="datetime1">
              <a:rPr lang="en-US" smtClean="0"/>
              <a:t>12/4/2025</a:t>
            </a:fld>
            <a:endParaRPr lang="en-US" dirty="0"/>
          </a:p>
        </p:txBody>
      </p:sp>
      <p:sp>
        <p:nvSpPr>
          <p:cNvPr id="9" name="Footer Placeholder 8"/>
          <p:cNvSpPr>
            <a:spLocks noGrp="1"/>
          </p:cNvSpPr>
          <p:nvPr>
            <p:ph type="ftr" sz="quarter" idx="11"/>
          </p:nvPr>
        </p:nvSpPr>
        <p:spPr>
          <a:xfrm>
            <a:off x="3499101" y="6356350"/>
            <a:ext cx="5911517" cy="365125"/>
          </a:xfrm>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18321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77CF55B-E607-4D20-AC1F-A238DAA57871}" type="datetime1">
              <a:rPr lang="en-US" smtClean="0"/>
              <a:t>12/4/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11510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4119C7D-C376-4CE4-A334-F034396467CB}" type="datetime1">
              <a:rPr lang="en-US" smtClean="0"/>
              <a:t>12/4/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404524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Main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rgbClr val="3471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uthor Name and Title and Date</a:t>
            </a:r>
          </a:p>
        </p:txBody>
      </p:sp>
      <p:pic>
        <p:nvPicPr>
          <p:cNvPr id="42" name="Picture 4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8020" y="2231010"/>
            <a:ext cx="1611290" cy="438300"/>
          </a:xfrm>
          <a:prstGeom prst="rect">
            <a:avLst/>
          </a:prstGeom>
        </p:spPr>
      </p:pic>
      <p:sp>
        <p:nvSpPr>
          <p:cNvPr id="8" name="Title 1"/>
          <p:cNvSpPr>
            <a:spLocks noGrp="1"/>
          </p:cNvSpPr>
          <p:nvPr>
            <p:ph type="ctrTitle"/>
          </p:nvPr>
        </p:nvSpPr>
        <p:spPr>
          <a:xfrm>
            <a:off x="3260436" y="249909"/>
            <a:ext cx="8460510" cy="1588127"/>
          </a:xfrm>
        </p:spPr>
        <p:txBody>
          <a:bodyPr anchor="ctr" anchorCtr="0">
            <a:noAutofit/>
          </a:bodyPr>
          <a:lstStyle>
            <a:lvl1pPr algn="l">
              <a:defRPr sz="3200" b="1" baseline="0">
                <a:solidFill>
                  <a:srgbClr val="34715A"/>
                </a:solidFill>
              </a:defRPr>
            </a:lvl1pPr>
          </a:lstStyle>
          <a:p>
            <a:endParaRPr lang="en-US" noProof="0" dirty="0"/>
          </a:p>
        </p:txBody>
      </p:sp>
    </p:spTree>
    <p:extLst>
      <p:ext uri="{BB962C8B-B14F-4D97-AF65-F5344CB8AC3E}">
        <p14:creationId xmlns:p14="http://schemas.microsoft.com/office/powerpoint/2010/main" val="11870004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sp>
        <p:nvSpPr>
          <p:cNvPr id="7"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530061"/>
            <a:ext cx="11457432" cy="4544918"/>
          </a:xfrm>
        </p:spPr>
        <p:txBody>
          <a:bodyPr/>
          <a:lstStyle/>
          <a:p>
            <a:pPr lvl="0"/>
            <a:r>
              <a:rPr lang="en-US" dirty="0"/>
              <a:t>Click to edit Master text styles</a:t>
            </a:r>
          </a:p>
          <a:p>
            <a:pPr lvl="1"/>
            <a:r>
              <a:rPr lang="en-US" dirty="0"/>
              <a:t>Second </a:t>
            </a:r>
            <a:r>
              <a:rPr lang="en-US" noProof="0"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594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head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087" y="325521"/>
            <a:ext cx="9217152" cy="549228"/>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152411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Side-by-Side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sp>
        <p:nvSpPr>
          <p:cNvPr id="7"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980871"/>
            <a:ext cx="5652000" cy="4094108"/>
          </a:xfrm>
        </p:spPr>
        <p:txBody>
          <a:bodyPr/>
          <a:lstStyle/>
          <a:p>
            <a:pPr lvl="0"/>
            <a:r>
              <a:rPr lang="en-US" dirty="0"/>
              <a:t>Click to edit Master text styles</a:t>
            </a:r>
          </a:p>
          <a:p>
            <a:pPr lvl="1"/>
            <a:r>
              <a:rPr lang="en-US"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E67D38F7-007B-4219-812C-1916B26A96B6}"/>
              </a:ext>
            </a:extLst>
          </p:cNvPr>
          <p:cNvSpPr>
            <a:spLocks noGrp="1"/>
          </p:cNvSpPr>
          <p:nvPr>
            <p:ph sz="half" idx="14"/>
          </p:nvPr>
        </p:nvSpPr>
        <p:spPr>
          <a:xfrm>
            <a:off x="6170518" y="1980870"/>
            <a:ext cx="5652000" cy="4090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5"/>
          </p:nvPr>
        </p:nvSpPr>
        <p:spPr>
          <a:xfrm>
            <a:off x="365085" y="1526290"/>
            <a:ext cx="5652000" cy="454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noProof="0" dirty="0"/>
              <a:t>styles</a:t>
            </a:r>
          </a:p>
        </p:txBody>
      </p:sp>
      <p:sp>
        <p:nvSpPr>
          <p:cNvPr id="10" name="Text Placeholder 2"/>
          <p:cNvSpPr>
            <a:spLocks noGrp="1"/>
          </p:cNvSpPr>
          <p:nvPr>
            <p:ph type="body" idx="16"/>
          </p:nvPr>
        </p:nvSpPr>
        <p:spPr>
          <a:xfrm>
            <a:off x="6170518" y="1526290"/>
            <a:ext cx="5652000" cy="454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7550432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dirty="0"/>
          </a:p>
        </p:txBody>
      </p:sp>
      <p:sp>
        <p:nvSpPr>
          <p:cNvPr id="4"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6" y="1217023"/>
            <a:ext cx="11457432" cy="45449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091129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8" name="Freeform 17"/>
          <p:cNvSpPr/>
          <p:nvPr userDrawn="1"/>
        </p:nvSpPr>
        <p:spPr>
          <a:xfrm>
            <a:off x="0" y="914304"/>
            <a:ext cx="2425380" cy="4105656"/>
          </a:xfrm>
          <a:custGeom>
            <a:avLst/>
            <a:gdLst>
              <a:gd name="connsiteX0" fmla="*/ 0 w 2425380"/>
              <a:gd name="connsiteY0" fmla="*/ 0 h 4105656"/>
              <a:gd name="connsiteX1" fmla="*/ 48748 w 2425380"/>
              <a:gd name="connsiteY1" fmla="*/ 0 h 4105656"/>
              <a:gd name="connsiteX2" fmla="*/ 803359 w 2425380"/>
              <a:gd name="connsiteY2" fmla="*/ 0 h 4105656"/>
              <a:gd name="connsiteX3" fmla="*/ 1169047 w 2425380"/>
              <a:gd name="connsiteY3" fmla="*/ 0 h 4105656"/>
              <a:gd name="connsiteX4" fmla="*/ 1822130 w 2425380"/>
              <a:gd name="connsiteY4" fmla="*/ 2143374 h 4105656"/>
              <a:gd name="connsiteX5" fmla="*/ 1812630 w 2425380"/>
              <a:gd name="connsiteY5" fmla="*/ 2143374 h 4105656"/>
              <a:gd name="connsiteX6" fmla="*/ 1812755 w 2425380"/>
              <a:gd name="connsiteY6" fmla="*/ 2143924 h 4105656"/>
              <a:gd name="connsiteX7" fmla="*/ 1826407 w 2425380"/>
              <a:gd name="connsiteY7" fmla="*/ 2143924 h 4105656"/>
              <a:gd name="connsiteX8" fmla="*/ 2425380 w 2425380"/>
              <a:gd name="connsiteY8" fmla="*/ 4105656 h 4105656"/>
              <a:gd name="connsiteX9" fmla="*/ 1432009 w 2425380"/>
              <a:gd name="connsiteY9" fmla="*/ 4105656 h 4105656"/>
              <a:gd name="connsiteX10" fmla="*/ 1397901 w 2425380"/>
              <a:gd name="connsiteY10" fmla="*/ 4105656 h 4105656"/>
              <a:gd name="connsiteX11" fmla="*/ 0 w 2425380"/>
              <a:gd name="connsiteY11" fmla="*/ 4105656 h 4105656"/>
              <a:gd name="connsiteX12" fmla="*/ 0 w 2425380"/>
              <a:gd name="connsiteY12" fmla="*/ 0 h 41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380" h="4105656">
                <a:moveTo>
                  <a:pt x="0" y="0"/>
                </a:moveTo>
                <a:lnTo>
                  <a:pt x="48748" y="0"/>
                </a:lnTo>
                <a:lnTo>
                  <a:pt x="803359" y="0"/>
                </a:lnTo>
                <a:lnTo>
                  <a:pt x="1169047" y="0"/>
                </a:lnTo>
                <a:lnTo>
                  <a:pt x="1822130" y="2143374"/>
                </a:lnTo>
                <a:lnTo>
                  <a:pt x="1812630" y="2143374"/>
                </a:lnTo>
                <a:lnTo>
                  <a:pt x="1812755" y="2143924"/>
                </a:lnTo>
                <a:lnTo>
                  <a:pt x="1826407" y="2143924"/>
                </a:lnTo>
                <a:lnTo>
                  <a:pt x="2425380" y="4105656"/>
                </a:lnTo>
                <a:lnTo>
                  <a:pt x="1432009" y="4105656"/>
                </a:lnTo>
                <a:lnTo>
                  <a:pt x="1397901" y="4105656"/>
                </a:lnTo>
                <a:lnTo>
                  <a:pt x="0" y="4105656"/>
                </a:lnTo>
                <a:lnTo>
                  <a:pt x="0" y="0"/>
                </a:lnTo>
                <a:close/>
              </a:path>
            </a:pathLst>
          </a:custGeom>
          <a:solidFill>
            <a:srgbClr val="33715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25"/>
          <p:cNvSpPr/>
          <p:nvPr userDrawn="1"/>
        </p:nvSpPr>
        <p:spPr>
          <a:xfrm>
            <a:off x="1280160" y="1253670"/>
            <a:ext cx="10911840" cy="4109097"/>
          </a:xfrm>
          <a:custGeom>
            <a:avLst/>
            <a:gdLst>
              <a:gd name="connsiteX0" fmla="*/ 0 w 10931195"/>
              <a:gd name="connsiteY0" fmla="*/ 0 h 4109097"/>
              <a:gd name="connsiteX1" fmla="*/ 2085427 w 10931195"/>
              <a:gd name="connsiteY1" fmla="*/ 0 h 4109097"/>
              <a:gd name="connsiteX2" fmla="*/ 2117715 w 10931195"/>
              <a:gd name="connsiteY2" fmla="*/ 0 h 4109097"/>
              <a:gd name="connsiteX3" fmla="*/ 8655527 w 10931195"/>
              <a:gd name="connsiteY3" fmla="*/ 0 h 4109097"/>
              <a:gd name="connsiteX4" fmla="*/ 10001943 w 10931195"/>
              <a:gd name="connsiteY4" fmla="*/ 0 h 4109097"/>
              <a:gd name="connsiteX5" fmla="*/ 10931195 w 10931195"/>
              <a:gd name="connsiteY5" fmla="*/ 0 h 4109097"/>
              <a:gd name="connsiteX6" fmla="*/ 10931195 w 10931195"/>
              <a:gd name="connsiteY6" fmla="*/ 3637756 h 4109097"/>
              <a:gd name="connsiteX7" fmla="*/ 10931195 w 10931195"/>
              <a:gd name="connsiteY7" fmla="*/ 4099075 h 4109097"/>
              <a:gd name="connsiteX8" fmla="*/ 10931195 w 10931195"/>
              <a:gd name="connsiteY8" fmla="*/ 4109097 h 4109097"/>
              <a:gd name="connsiteX9" fmla="*/ 10001943 w 10931195"/>
              <a:gd name="connsiteY9" fmla="*/ 4109097 h 4109097"/>
              <a:gd name="connsiteX10" fmla="*/ 8018313 w 10931195"/>
              <a:gd name="connsiteY10" fmla="*/ 4109097 h 4109097"/>
              <a:gd name="connsiteX11" fmla="*/ 3368296 w 10931195"/>
              <a:gd name="connsiteY11" fmla="*/ 4109097 h 4109097"/>
              <a:gd name="connsiteX12" fmla="*/ 2085427 w 10931195"/>
              <a:gd name="connsiteY12" fmla="*/ 4109097 h 4109097"/>
              <a:gd name="connsiteX13" fmla="*/ 1250582 w 10931195"/>
              <a:gd name="connsiteY13" fmla="*/ 4109097 h 41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31195" h="4109097">
                <a:moveTo>
                  <a:pt x="0" y="0"/>
                </a:moveTo>
                <a:lnTo>
                  <a:pt x="2085427" y="0"/>
                </a:lnTo>
                <a:lnTo>
                  <a:pt x="2117715" y="0"/>
                </a:lnTo>
                <a:lnTo>
                  <a:pt x="8655527" y="0"/>
                </a:lnTo>
                <a:lnTo>
                  <a:pt x="10001943" y="0"/>
                </a:lnTo>
                <a:lnTo>
                  <a:pt x="10931195" y="0"/>
                </a:lnTo>
                <a:lnTo>
                  <a:pt x="10931195" y="3637756"/>
                </a:lnTo>
                <a:lnTo>
                  <a:pt x="10931195" y="4099075"/>
                </a:lnTo>
                <a:lnTo>
                  <a:pt x="10931195" y="4109097"/>
                </a:lnTo>
                <a:lnTo>
                  <a:pt x="10001943" y="4109097"/>
                </a:lnTo>
                <a:lnTo>
                  <a:pt x="8018313" y="4109097"/>
                </a:lnTo>
                <a:lnTo>
                  <a:pt x="3368296" y="4109097"/>
                </a:lnTo>
                <a:lnTo>
                  <a:pt x="2085427" y="4109097"/>
                </a:lnTo>
                <a:lnTo>
                  <a:pt x="1250582" y="410909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658359" y="2431055"/>
            <a:ext cx="9201132" cy="1754326"/>
          </a:xfrm>
        </p:spPr>
        <p:txBody>
          <a:bodyPr anchor="ctr" anchorCtr="0">
            <a:noAutofit/>
          </a:bodyPr>
          <a:lstStyle>
            <a:lvl1pPr>
              <a:defRPr sz="4000" baseline="0">
                <a:solidFill>
                  <a:schemeClr val="tx1"/>
                </a:solidFill>
              </a:defRPr>
            </a:lvl1pPr>
          </a:lstStyle>
          <a:p>
            <a:r>
              <a:rPr lang="en-US" noProof="0" dirty="0"/>
              <a:t>Click</a:t>
            </a:r>
            <a:r>
              <a:rPr lang="en-US" dirty="0"/>
              <a:t> to edit Divider or Call Out</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cxnSp>
        <p:nvCxnSpPr>
          <p:cNvPr id="12" name="Straight Connector 11"/>
          <p:cNvCxnSpPr/>
          <p:nvPr userDrawn="1"/>
        </p:nvCxnSpPr>
        <p:spPr>
          <a:xfrm>
            <a:off x="1065098" y="603315"/>
            <a:ext cx="1558517" cy="5118755"/>
          </a:xfrm>
          <a:prstGeom prst="line">
            <a:avLst/>
          </a:prstGeom>
          <a:ln w="12700">
            <a:solidFill>
              <a:schemeClr val="tx2">
                <a:lumMod val="75000"/>
              </a:schemeClr>
            </a:solidFill>
          </a:ln>
          <a:effectLst>
            <a:outerShdw blurRad="76200" dist="25400" dir="10800000" algn="r" rotWithShape="0">
              <a:prstClr val="black">
                <a:alpha val="41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558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DARK">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3044"/>
          <a:stretch/>
        </p:blipFill>
        <p:spPr>
          <a:xfrm>
            <a:off x="0" y="0"/>
            <a:ext cx="12200313" cy="657629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4801" y="358962"/>
            <a:ext cx="1418705" cy="385913"/>
          </a:xfrm>
          <a:prstGeom prst="rect">
            <a:avLst/>
          </a:prstGeom>
        </p:spPr>
      </p:pic>
      <p:sp>
        <p:nvSpPr>
          <p:cNvPr id="2" name="Title 1"/>
          <p:cNvSpPr>
            <a:spLocks noGrp="1"/>
          </p:cNvSpPr>
          <p:nvPr>
            <p:ph type="title"/>
          </p:nvPr>
        </p:nvSpPr>
        <p:spPr/>
        <p:txBody>
          <a:bodyPr/>
          <a:lstStyle>
            <a:lvl1pPr>
              <a:defRPr>
                <a:solidFill>
                  <a:schemeClr val="bg1"/>
                </a:solidFill>
              </a:defRPr>
            </a:lvl1pPr>
          </a:lstStyle>
          <a:p>
            <a:endParaRPr lang="en-US" dirty="0"/>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dirty="0"/>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1"/>
                </a:solidFill>
              </a:defRPr>
            </a:lvl1pPr>
          </a:lstStyle>
          <a:p>
            <a:pPr lvl="0"/>
            <a:r>
              <a:rPr lang="en-US" dirty="0"/>
              <a:t>Click to edit subtitle styles</a:t>
            </a:r>
          </a:p>
        </p:txBody>
      </p:sp>
      <p:sp>
        <p:nvSpPr>
          <p:cNvPr id="9"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530061"/>
            <a:ext cx="11457432" cy="4544918"/>
          </a:xfrm>
        </p:spPr>
        <p:txBody>
          <a:bodyPr/>
          <a:lstStyle/>
          <a:p>
            <a:pPr lvl="0"/>
            <a:r>
              <a:rPr lang="en-US" dirty="0"/>
              <a:t>Click to edit Master text styles</a:t>
            </a:r>
          </a:p>
          <a:p>
            <a:pPr lvl="1"/>
            <a:r>
              <a:rPr lang="en-US" dirty="0"/>
              <a:t>Second </a:t>
            </a:r>
            <a:r>
              <a:rPr lang="en-US" noProof="0"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988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29380381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Aptar 1 - Title">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1700809"/>
            <a:ext cx="10363200" cy="1470025"/>
          </a:xfrm>
        </p:spPr>
        <p:txBody>
          <a:bodyPr/>
          <a:lstStyle>
            <a:lvl1pPr algn="ctr">
              <a:defRPr/>
            </a:lvl1pPr>
          </a:lstStyle>
          <a:p>
            <a:endParaRPr lang="en-US" dirty="0"/>
          </a:p>
        </p:txBody>
      </p:sp>
      <p:sp>
        <p:nvSpPr>
          <p:cNvPr id="3" name="Sottotitolo 2"/>
          <p:cNvSpPr>
            <a:spLocks noGrp="1"/>
          </p:cNvSpPr>
          <p:nvPr>
            <p:ph type="subTitle" idx="1"/>
          </p:nvPr>
        </p:nvSpPr>
        <p:spPr>
          <a:xfrm>
            <a:off x="1828800" y="3429000"/>
            <a:ext cx="8534400" cy="864096"/>
          </a:xfrm>
        </p:spPr>
        <p:txBody>
          <a:bodyPr/>
          <a:lstStyle>
            <a:lvl1pPr marL="0" indent="0" algn="ctr">
              <a:buNone/>
              <a:defRPr>
                <a:solidFill>
                  <a:srgbClr val="80818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egnaposto numero diapositiva 5"/>
          <p:cNvSpPr>
            <a:spLocks noGrp="1"/>
          </p:cNvSpPr>
          <p:nvPr>
            <p:ph type="sldNum" sz="quarter" idx="12"/>
          </p:nvPr>
        </p:nvSpPr>
        <p:spPr/>
        <p:txBody>
          <a:bodyPr/>
          <a:lstStyle>
            <a:lvl1pPr>
              <a:defRPr>
                <a:solidFill>
                  <a:srgbClr val="808183"/>
                </a:solidFill>
              </a:defRPr>
            </a:lvl1pPr>
          </a:lstStyle>
          <a:p>
            <a:fld id="{F56E6D05-F7FE-4190-9CD5-2FB80430E5E8}" type="slidenum">
              <a:rPr lang="en-US" smtClean="0"/>
              <a:pPr/>
              <a:t>‹#›</a:t>
            </a:fld>
            <a:endParaRPr lang="en-US"/>
          </a:p>
        </p:txBody>
      </p:sp>
    </p:spTree>
    <p:extLst>
      <p:ext uri="{BB962C8B-B14F-4D97-AF65-F5344CB8AC3E}">
        <p14:creationId xmlns:p14="http://schemas.microsoft.com/office/powerpoint/2010/main" val="20264977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Aptar 1 - Title and content">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endParaRPr lang="en-US" dirty="0"/>
          </a:p>
        </p:txBody>
      </p:sp>
      <p:sp>
        <p:nvSpPr>
          <p:cNvPr id="3" name="Segnaposto contenuto 2"/>
          <p:cNvSpPr>
            <a:spLocks noGrp="1"/>
          </p:cNvSpPr>
          <p:nvPr>
            <p:ph idx="1"/>
          </p:nvPr>
        </p:nvSpPr>
        <p:spPr/>
        <p:txBody>
          <a:bodyPr/>
          <a:lstStyle>
            <a:lvl1pPr marL="342900" indent="-342900">
              <a:buSzPct val="130000"/>
              <a:buFontTx/>
              <a:buBlip>
                <a:blip r:embed="rId2"/>
              </a:buBlip>
              <a:defRPr>
                <a:solidFill>
                  <a:srgbClr val="808183"/>
                </a:solidFill>
              </a:defRPr>
            </a:lvl1pPr>
            <a:lvl2pPr marL="742950" indent="-285750">
              <a:buFont typeface="Wingdings" pitchFamily="2" charset="2"/>
              <a:buChar char="¤"/>
              <a:defRPr baseline="0">
                <a:solidFill>
                  <a:srgbClr val="808183"/>
                </a:solidFill>
              </a:defRPr>
            </a:lvl2pPr>
            <a:lvl3pPr marL="1143000" indent="-228600">
              <a:buFont typeface="Wingdings" panose="05000000000000000000" pitchFamily="2" charset="2"/>
              <a:buChar char="q"/>
              <a:defRPr>
                <a:solidFill>
                  <a:srgbClr val="808183"/>
                </a:solidFill>
              </a:defRPr>
            </a:lvl3pPr>
            <a:lvl4pPr>
              <a:defRPr>
                <a:solidFill>
                  <a:srgbClr val="808183"/>
                </a:solidFill>
              </a:defRPr>
            </a:lvl4pPr>
            <a:lvl5pPr marL="2057400" indent="-228600">
              <a:buFont typeface="Wingdings" pitchFamily="2" charset="2"/>
              <a:buChar char="ü"/>
              <a:defRPr>
                <a:solidFill>
                  <a:srgbClr val="808183"/>
                </a:solidFill>
              </a:defRPr>
            </a:lvl5pPr>
          </a:lstStyle>
          <a:p>
            <a:pPr lvl="0"/>
            <a:endParaRPr lang="en-US" noProof="0" dirty="0"/>
          </a:p>
          <a:p>
            <a:pPr lvl="1"/>
            <a:endParaRPr lang="en-US" noProof="0" dirty="0"/>
          </a:p>
          <a:p>
            <a:pPr lvl="2"/>
            <a:endParaRPr lang="en-US" noProof="0" dirty="0"/>
          </a:p>
          <a:p>
            <a:pPr lvl="3"/>
            <a:endParaRPr lang="en-US" noProof="0" dirty="0"/>
          </a:p>
          <a:p>
            <a:pPr lvl="4"/>
            <a:endParaRPr lang="en-US" noProof="0" dirty="0"/>
          </a:p>
        </p:txBody>
      </p:sp>
      <p:sp>
        <p:nvSpPr>
          <p:cNvPr id="5" name="Segnaposto piè di pagina 4"/>
          <p:cNvSpPr>
            <a:spLocks noGrp="1"/>
          </p:cNvSpPr>
          <p:nvPr>
            <p:ph type="ftr" sz="quarter" idx="11"/>
          </p:nvPr>
        </p:nvSpPr>
        <p:spPr/>
        <p:txBody>
          <a:bodyPr/>
          <a:lstStyle/>
          <a:p>
            <a:r>
              <a:rPr lang="en-US"/>
              <a:t>Aptar IS New Organization – March 2019</a:t>
            </a:r>
            <a:endParaRPr lang="en-US" dirty="0"/>
          </a:p>
        </p:txBody>
      </p:sp>
      <p:sp>
        <p:nvSpPr>
          <p:cNvPr id="6" name="Segnaposto numero diapositiva 5"/>
          <p:cNvSpPr>
            <a:spLocks noGrp="1"/>
          </p:cNvSpPr>
          <p:nvPr>
            <p:ph type="sldNum" sz="quarter" idx="12"/>
          </p:nvPr>
        </p:nvSpPr>
        <p:spPr/>
        <p:txBody>
          <a:bodyPr/>
          <a:lstStyle/>
          <a:p>
            <a:fld id="{F56E6D05-F7FE-4190-9CD5-2FB80430E5E8}" type="slidenum">
              <a:rPr lang="en-US" smtClean="0"/>
              <a:t>‹#›</a:t>
            </a:fld>
            <a:endParaRPr lang="en-US" dirty="0"/>
          </a:p>
        </p:txBody>
      </p:sp>
    </p:spTree>
    <p:extLst>
      <p:ext uri="{BB962C8B-B14F-4D97-AF65-F5344CB8AC3E}">
        <p14:creationId xmlns:p14="http://schemas.microsoft.com/office/powerpoint/2010/main" val="18615230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ptar 1 - Two documents">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baseline="0"/>
            </a:lvl1pPr>
          </a:lstStyle>
          <a:p>
            <a:endParaRPr lang="en-US" noProof="0" dirty="0"/>
          </a:p>
        </p:txBody>
      </p:sp>
      <p:sp>
        <p:nvSpPr>
          <p:cNvPr id="6" name="Segnaposto piè di pagina 5"/>
          <p:cNvSpPr>
            <a:spLocks noGrp="1"/>
          </p:cNvSpPr>
          <p:nvPr>
            <p:ph type="ftr" sz="quarter" idx="11"/>
          </p:nvPr>
        </p:nvSpPr>
        <p:spPr/>
        <p:txBody>
          <a:bodyPr/>
          <a:lstStyle/>
          <a:p>
            <a:r>
              <a:rPr lang="en-US" noProof="0"/>
              <a:t>Aptar IS New Organization – March 2019</a:t>
            </a:r>
          </a:p>
        </p:txBody>
      </p:sp>
      <p:sp>
        <p:nvSpPr>
          <p:cNvPr id="7" name="Segnaposto numero diapositiva 6"/>
          <p:cNvSpPr>
            <a:spLocks noGrp="1"/>
          </p:cNvSpPr>
          <p:nvPr>
            <p:ph type="sldNum" sz="quarter" idx="12"/>
          </p:nvPr>
        </p:nvSpPr>
        <p:spPr/>
        <p:txBody>
          <a:bodyPr/>
          <a:lstStyle/>
          <a:p>
            <a:fld id="{F56E6D05-F7FE-4190-9CD5-2FB80430E5E8}" type="slidenum">
              <a:rPr lang="en-US" noProof="0" smtClean="0"/>
              <a:t>‹#›</a:t>
            </a:fld>
            <a:endParaRPr lang="en-US" noProof="0"/>
          </a:p>
        </p:txBody>
      </p:sp>
      <p:sp>
        <p:nvSpPr>
          <p:cNvPr id="15" name="Content Placeholder 14"/>
          <p:cNvSpPr>
            <a:spLocks noGrp="1"/>
          </p:cNvSpPr>
          <p:nvPr>
            <p:ph sz="quarter" idx="15"/>
          </p:nvPr>
        </p:nvSpPr>
        <p:spPr>
          <a:xfrm>
            <a:off x="624417" y="1124744"/>
            <a:ext cx="5376333" cy="5041106"/>
          </a:xfrm>
        </p:spPr>
        <p:txBody>
          <a:bodyPr/>
          <a:lstStyle>
            <a:lvl1pPr marL="342900" indent="-342900">
              <a:buSzPct val="130000"/>
              <a:buFontTx/>
              <a:buBlip>
                <a:blip r:embed="rId2"/>
              </a:buBlip>
              <a:defRPr/>
            </a:lvl1pPr>
            <a:lvl2pPr marL="742950" indent="-285750">
              <a:buFont typeface="Wingdings" panose="05000000000000000000" pitchFamily="2" charset="2"/>
              <a:buChar char="¤"/>
              <a:defRPr/>
            </a:lvl2pPr>
            <a:lvl3pPr marL="1143000" indent="-228600">
              <a:buFont typeface="Wingdings" panose="05000000000000000000" pitchFamily="2" charset="2"/>
              <a:buChar char="q"/>
              <a:defRPr/>
            </a:lvl3pPr>
            <a:lvl5pPr marL="2057400" indent="-228600">
              <a:buFont typeface="Wingdings" panose="05000000000000000000" pitchFamily="2" charset="2"/>
              <a:buChar char="ü"/>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
        <p:nvSpPr>
          <p:cNvPr id="8" name="Content Placeholder 14"/>
          <p:cNvSpPr>
            <a:spLocks noGrp="1"/>
          </p:cNvSpPr>
          <p:nvPr>
            <p:ph sz="quarter" idx="17"/>
          </p:nvPr>
        </p:nvSpPr>
        <p:spPr>
          <a:xfrm>
            <a:off x="6192275" y="1124744"/>
            <a:ext cx="5376333" cy="5041106"/>
          </a:xfrm>
        </p:spPr>
        <p:txBody>
          <a:bodyPr/>
          <a:lstStyle>
            <a:lvl1pPr marL="342900" indent="-342900">
              <a:buSzPct val="130000"/>
              <a:buFontTx/>
              <a:buBlip>
                <a:blip r:embed="rId2"/>
              </a:buBlip>
              <a:defRPr/>
            </a:lvl1pPr>
            <a:lvl2pPr marL="742950" indent="-285750">
              <a:buFont typeface="Wingdings" panose="05000000000000000000" pitchFamily="2" charset="2"/>
              <a:buChar char="¤"/>
              <a:defRPr/>
            </a:lvl2pPr>
            <a:lvl3pPr marL="1143000" indent="-228600">
              <a:buFont typeface="Wingdings" panose="05000000000000000000" pitchFamily="2" charset="2"/>
              <a:buChar char="q"/>
              <a:defRPr/>
            </a:lvl3pPr>
            <a:lvl5pPr marL="2057400" indent="-228600">
              <a:buFont typeface="Wingdings" panose="05000000000000000000" pitchFamily="2" charset="2"/>
              <a:buChar char="ü"/>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Tree>
    <p:extLst>
      <p:ext uri="{BB962C8B-B14F-4D97-AF65-F5344CB8AC3E}">
        <p14:creationId xmlns:p14="http://schemas.microsoft.com/office/powerpoint/2010/main" val="4143808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ptar 1 - Comparison">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en-US" noProof="0" dirty="0"/>
          </a:p>
        </p:txBody>
      </p:sp>
      <p:sp>
        <p:nvSpPr>
          <p:cNvPr id="3" name="Segnaposto testo 2"/>
          <p:cNvSpPr>
            <a:spLocks noGrp="1"/>
          </p:cNvSpPr>
          <p:nvPr>
            <p:ph type="body" idx="1"/>
          </p:nvPr>
        </p:nvSpPr>
        <p:spPr>
          <a:xfrm>
            <a:off x="609600" y="1052736"/>
            <a:ext cx="5386917" cy="720080"/>
          </a:xfrm>
        </p:spPr>
        <p:txBody>
          <a:bodyPr anchor="b">
            <a:no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noProof="0" dirty="0"/>
          </a:p>
        </p:txBody>
      </p:sp>
      <p:sp>
        <p:nvSpPr>
          <p:cNvPr id="5" name="Segnaposto testo 4"/>
          <p:cNvSpPr>
            <a:spLocks noGrp="1"/>
          </p:cNvSpPr>
          <p:nvPr>
            <p:ph type="body" sz="quarter" idx="3"/>
          </p:nvPr>
        </p:nvSpPr>
        <p:spPr>
          <a:xfrm>
            <a:off x="6193368" y="1052736"/>
            <a:ext cx="5389033" cy="720080"/>
          </a:xfrm>
        </p:spPr>
        <p:txBody>
          <a:bodyPr anchor="b">
            <a:no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noProof="0" dirty="0"/>
          </a:p>
        </p:txBody>
      </p:sp>
      <p:sp>
        <p:nvSpPr>
          <p:cNvPr id="8" name="Segnaposto piè di pagina 7"/>
          <p:cNvSpPr>
            <a:spLocks noGrp="1"/>
          </p:cNvSpPr>
          <p:nvPr>
            <p:ph type="ftr" sz="quarter" idx="11"/>
          </p:nvPr>
        </p:nvSpPr>
        <p:spPr/>
        <p:txBody>
          <a:bodyPr/>
          <a:lstStyle/>
          <a:p>
            <a:r>
              <a:rPr lang="en-US" noProof="0"/>
              <a:t>Aptar IS New Organization – March 2019</a:t>
            </a:r>
          </a:p>
        </p:txBody>
      </p:sp>
      <p:sp>
        <p:nvSpPr>
          <p:cNvPr id="9" name="Segnaposto numero diapositiva 8"/>
          <p:cNvSpPr>
            <a:spLocks noGrp="1"/>
          </p:cNvSpPr>
          <p:nvPr>
            <p:ph type="sldNum" sz="quarter" idx="12"/>
          </p:nvPr>
        </p:nvSpPr>
        <p:spPr/>
        <p:txBody>
          <a:bodyPr/>
          <a:lstStyle/>
          <a:p>
            <a:fld id="{F56E6D05-F7FE-4190-9CD5-2FB80430E5E8}" type="slidenum">
              <a:rPr lang="en-US" noProof="0" smtClean="0"/>
              <a:t>‹#›</a:t>
            </a:fld>
            <a:endParaRPr lang="en-US" noProof="0"/>
          </a:p>
        </p:txBody>
      </p:sp>
      <p:sp>
        <p:nvSpPr>
          <p:cNvPr id="10" name="Content Placeholder 9"/>
          <p:cNvSpPr>
            <a:spLocks noGrp="1"/>
          </p:cNvSpPr>
          <p:nvPr>
            <p:ph sz="quarter" idx="13"/>
          </p:nvPr>
        </p:nvSpPr>
        <p:spPr>
          <a:xfrm>
            <a:off x="624418" y="1844676"/>
            <a:ext cx="5375572" cy="4324113"/>
          </a:xfrm>
        </p:spPr>
        <p:txBody>
          <a:bodyPr/>
          <a:lstStyle>
            <a:lvl1pPr marL="342900" indent="-342900">
              <a:buFont typeface="Wingdings" panose="05000000000000000000" pitchFamily="2" charset="2"/>
              <a:buChar char="Ø"/>
              <a:defRPr/>
            </a:lvl1pPr>
            <a:lvl2pPr marL="742950" indent="-285750">
              <a:buFont typeface="Wingdings" panose="05000000000000000000" pitchFamily="2" charset="2"/>
              <a:buChar char="ü"/>
              <a:defRPr/>
            </a:lvl2pPr>
            <a:lvl3pPr marL="1143000" indent="-228600">
              <a:buFont typeface="Courier New" panose="02070309020205020404" pitchFamily="49" charset="0"/>
              <a:buChar char="o"/>
              <a:defRPr/>
            </a:lvl3pPr>
            <a:lvl5pPr marL="2057400" indent="-228600">
              <a:buFont typeface="Wingdings" panose="05000000000000000000" pitchFamily="2" charset="2"/>
              <a:buChar char="q"/>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
        <p:nvSpPr>
          <p:cNvPr id="11" name="Content Placeholder 9"/>
          <p:cNvSpPr>
            <a:spLocks noGrp="1"/>
          </p:cNvSpPr>
          <p:nvPr>
            <p:ph sz="quarter" idx="14"/>
          </p:nvPr>
        </p:nvSpPr>
        <p:spPr>
          <a:xfrm>
            <a:off x="6192011" y="1844825"/>
            <a:ext cx="5375572" cy="4324113"/>
          </a:xfrm>
        </p:spPr>
        <p:txBody>
          <a:bodyPr/>
          <a:lstStyle>
            <a:lvl1pPr marL="342900" indent="-342900">
              <a:buFont typeface="Wingdings" panose="05000000000000000000" pitchFamily="2" charset="2"/>
              <a:buChar char="Ø"/>
              <a:defRPr/>
            </a:lvl1pPr>
            <a:lvl2pPr marL="742950" indent="-285750">
              <a:buFont typeface="Wingdings" panose="05000000000000000000" pitchFamily="2" charset="2"/>
              <a:buChar char="ü"/>
              <a:defRPr/>
            </a:lvl2pPr>
            <a:lvl3pPr marL="1143000" indent="-228600">
              <a:buFont typeface="Courier New" panose="02070309020205020404" pitchFamily="49" charset="0"/>
              <a:buChar char="o"/>
              <a:defRPr/>
            </a:lvl3pPr>
            <a:lvl5pPr marL="2057400" indent="-228600">
              <a:buFont typeface="Wingdings" panose="05000000000000000000" pitchFamily="2" charset="2"/>
              <a:buChar char="q"/>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Tree>
    <p:extLst>
      <p:ext uri="{BB962C8B-B14F-4D97-AF65-F5344CB8AC3E}">
        <p14:creationId xmlns:p14="http://schemas.microsoft.com/office/powerpoint/2010/main" val="34288667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Aptar 1 - Title only">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endParaRPr lang="en-US" dirty="0"/>
          </a:p>
        </p:txBody>
      </p:sp>
      <p:sp>
        <p:nvSpPr>
          <p:cNvPr id="4" name="Segnaposto piè di pagina 3"/>
          <p:cNvSpPr>
            <a:spLocks noGrp="1"/>
          </p:cNvSpPr>
          <p:nvPr>
            <p:ph type="ftr" sz="quarter" idx="11"/>
          </p:nvPr>
        </p:nvSpPr>
        <p:spPr/>
        <p:txBody>
          <a:bodyPr/>
          <a:lstStyle>
            <a:lvl1pPr>
              <a:defRPr>
                <a:solidFill>
                  <a:srgbClr val="808183"/>
                </a:solidFill>
              </a:defRPr>
            </a:lvl1pPr>
          </a:lstStyle>
          <a:p>
            <a:r>
              <a:rPr lang="en-US"/>
              <a:t>Aptar IS New Organization – March 2019</a:t>
            </a:r>
            <a:endParaRPr lang="en-US" dirty="0"/>
          </a:p>
        </p:txBody>
      </p:sp>
      <p:sp>
        <p:nvSpPr>
          <p:cNvPr id="5" name="Segnaposto numero diapositiva 4"/>
          <p:cNvSpPr>
            <a:spLocks noGrp="1"/>
          </p:cNvSpPr>
          <p:nvPr>
            <p:ph type="sldNum" sz="quarter" idx="12"/>
          </p:nvPr>
        </p:nvSpPr>
        <p:spPr/>
        <p:txBody>
          <a:bodyPr/>
          <a:lstStyle/>
          <a:p>
            <a:fld id="{F56E6D05-F7FE-4190-9CD5-2FB80430E5E8}" type="slidenum">
              <a:rPr lang="en-US" smtClean="0"/>
              <a:t>‹#›</a:t>
            </a:fld>
            <a:endParaRPr lang="en-US"/>
          </a:p>
        </p:txBody>
      </p:sp>
    </p:spTree>
    <p:extLst>
      <p:ext uri="{BB962C8B-B14F-4D97-AF65-F5344CB8AC3E}">
        <p14:creationId xmlns:p14="http://schemas.microsoft.com/office/powerpoint/2010/main" val="1565329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8" name="Freeform 17"/>
          <p:cNvSpPr/>
          <p:nvPr userDrawn="1"/>
        </p:nvSpPr>
        <p:spPr>
          <a:xfrm>
            <a:off x="0" y="914304"/>
            <a:ext cx="2425380" cy="4105656"/>
          </a:xfrm>
          <a:custGeom>
            <a:avLst/>
            <a:gdLst>
              <a:gd name="connsiteX0" fmla="*/ 0 w 2425380"/>
              <a:gd name="connsiteY0" fmla="*/ 0 h 4105656"/>
              <a:gd name="connsiteX1" fmla="*/ 48748 w 2425380"/>
              <a:gd name="connsiteY1" fmla="*/ 0 h 4105656"/>
              <a:gd name="connsiteX2" fmla="*/ 803359 w 2425380"/>
              <a:gd name="connsiteY2" fmla="*/ 0 h 4105656"/>
              <a:gd name="connsiteX3" fmla="*/ 1169047 w 2425380"/>
              <a:gd name="connsiteY3" fmla="*/ 0 h 4105656"/>
              <a:gd name="connsiteX4" fmla="*/ 1822130 w 2425380"/>
              <a:gd name="connsiteY4" fmla="*/ 2143374 h 4105656"/>
              <a:gd name="connsiteX5" fmla="*/ 1812630 w 2425380"/>
              <a:gd name="connsiteY5" fmla="*/ 2143374 h 4105656"/>
              <a:gd name="connsiteX6" fmla="*/ 1812755 w 2425380"/>
              <a:gd name="connsiteY6" fmla="*/ 2143924 h 4105656"/>
              <a:gd name="connsiteX7" fmla="*/ 1826407 w 2425380"/>
              <a:gd name="connsiteY7" fmla="*/ 2143924 h 4105656"/>
              <a:gd name="connsiteX8" fmla="*/ 2425380 w 2425380"/>
              <a:gd name="connsiteY8" fmla="*/ 4105656 h 4105656"/>
              <a:gd name="connsiteX9" fmla="*/ 1432009 w 2425380"/>
              <a:gd name="connsiteY9" fmla="*/ 4105656 h 4105656"/>
              <a:gd name="connsiteX10" fmla="*/ 1397901 w 2425380"/>
              <a:gd name="connsiteY10" fmla="*/ 4105656 h 4105656"/>
              <a:gd name="connsiteX11" fmla="*/ 0 w 2425380"/>
              <a:gd name="connsiteY11" fmla="*/ 4105656 h 4105656"/>
              <a:gd name="connsiteX12" fmla="*/ 0 w 2425380"/>
              <a:gd name="connsiteY12" fmla="*/ 0 h 41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380" h="4105656">
                <a:moveTo>
                  <a:pt x="0" y="0"/>
                </a:moveTo>
                <a:lnTo>
                  <a:pt x="48748" y="0"/>
                </a:lnTo>
                <a:lnTo>
                  <a:pt x="803359" y="0"/>
                </a:lnTo>
                <a:lnTo>
                  <a:pt x="1169047" y="0"/>
                </a:lnTo>
                <a:lnTo>
                  <a:pt x="1822130" y="2143374"/>
                </a:lnTo>
                <a:lnTo>
                  <a:pt x="1812630" y="2143374"/>
                </a:lnTo>
                <a:lnTo>
                  <a:pt x="1812755" y="2143924"/>
                </a:lnTo>
                <a:lnTo>
                  <a:pt x="1826407" y="2143924"/>
                </a:lnTo>
                <a:lnTo>
                  <a:pt x="2425380" y="4105656"/>
                </a:lnTo>
                <a:lnTo>
                  <a:pt x="1432009" y="4105656"/>
                </a:lnTo>
                <a:lnTo>
                  <a:pt x="1397901" y="4105656"/>
                </a:lnTo>
                <a:lnTo>
                  <a:pt x="0" y="410565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6" name="Freeform 25"/>
          <p:cNvSpPr/>
          <p:nvPr userDrawn="1"/>
        </p:nvSpPr>
        <p:spPr>
          <a:xfrm>
            <a:off x="1280160" y="1253670"/>
            <a:ext cx="10911840" cy="4109097"/>
          </a:xfrm>
          <a:custGeom>
            <a:avLst/>
            <a:gdLst>
              <a:gd name="connsiteX0" fmla="*/ 0 w 10931195"/>
              <a:gd name="connsiteY0" fmla="*/ 0 h 4109097"/>
              <a:gd name="connsiteX1" fmla="*/ 2085427 w 10931195"/>
              <a:gd name="connsiteY1" fmla="*/ 0 h 4109097"/>
              <a:gd name="connsiteX2" fmla="*/ 2117715 w 10931195"/>
              <a:gd name="connsiteY2" fmla="*/ 0 h 4109097"/>
              <a:gd name="connsiteX3" fmla="*/ 8655527 w 10931195"/>
              <a:gd name="connsiteY3" fmla="*/ 0 h 4109097"/>
              <a:gd name="connsiteX4" fmla="*/ 10001943 w 10931195"/>
              <a:gd name="connsiteY4" fmla="*/ 0 h 4109097"/>
              <a:gd name="connsiteX5" fmla="*/ 10931195 w 10931195"/>
              <a:gd name="connsiteY5" fmla="*/ 0 h 4109097"/>
              <a:gd name="connsiteX6" fmla="*/ 10931195 w 10931195"/>
              <a:gd name="connsiteY6" fmla="*/ 3637756 h 4109097"/>
              <a:gd name="connsiteX7" fmla="*/ 10931195 w 10931195"/>
              <a:gd name="connsiteY7" fmla="*/ 4099075 h 4109097"/>
              <a:gd name="connsiteX8" fmla="*/ 10931195 w 10931195"/>
              <a:gd name="connsiteY8" fmla="*/ 4109097 h 4109097"/>
              <a:gd name="connsiteX9" fmla="*/ 10001943 w 10931195"/>
              <a:gd name="connsiteY9" fmla="*/ 4109097 h 4109097"/>
              <a:gd name="connsiteX10" fmla="*/ 8018313 w 10931195"/>
              <a:gd name="connsiteY10" fmla="*/ 4109097 h 4109097"/>
              <a:gd name="connsiteX11" fmla="*/ 3368296 w 10931195"/>
              <a:gd name="connsiteY11" fmla="*/ 4109097 h 4109097"/>
              <a:gd name="connsiteX12" fmla="*/ 2085427 w 10931195"/>
              <a:gd name="connsiteY12" fmla="*/ 4109097 h 4109097"/>
              <a:gd name="connsiteX13" fmla="*/ 1250582 w 10931195"/>
              <a:gd name="connsiteY13" fmla="*/ 4109097 h 41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31195" h="4109097">
                <a:moveTo>
                  <a:pt x="0" y="0"/>
                </a:moveTo>
                <a:lnTo>
                  <a:pt x="2085427" y="0"/>
                </a:lnTo>
                <a:lnTo>
                  <a:pt x="2117715" y="0"/>
                </a:lnTo>
                <a:lnTo>
                  <a:pt x="8655527" y="0"/>
                </a:lnTo>
                <a:lnTo>
                  <a:pt x="10001943" y="0"/>
                </a:lnTo>
                <a:lnTo>
                  <a:pt x="10931195" y="0"/>
                </a:lnTo>
                <a:lnTo>
                  <a:pt x="10931195" y="3637756"/>
                </a:lnTo>
                <a:lnTo>
                  <a:pt x="10931195" y="4099075"/>
                </a:lnTo>
                <a:lnTo>
                  <a:pt x="10931195" y="4109097"/>
                </a:lnTo>
                <a:lnTo>
                  <a:pt x="10001943" y="4109097"/>
                </a:lnTo>
                <a:lnTo>
                  <a:pt x="8018313" y="4109097"/>
                </a:lnTo>
                <a:lnTo>
                  <a:pt x="3368296" y="4109097"/>
                </a:lnTo>
                <a:lnTo>
                  <a:pt x="2085427" y="4109097"/>
                </a:lnTo>
                <a:lnTo>
                  <a:pt x="1250582" y="410909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 name="Title 1"/>
          <p:cNvSpPr>
            <a:spLocks noGrp="1"/>
          </p:cNvSpPr>
          <p:nvPr>
            <p:ph type="title" hasCustomPrompt="1"/>
          </p:nvPr>
        </p:nvSpPr>
        <p:spPr>
          <a:xfrm>
            <a:off x="2658359" y="2431055"/>
            <a:ext cx="9201132" cy="1754326"/>
          </a:xfrm>
        </p:spPr>
        <p:txBody>
          <a:bodyPr anchor="ctr" anchorCtr="0">
            <a:noAutofit/>
          </a:bodyPr>
          <a:lstStyle>
            <a:lvl1pPr>
              <a:defRPr sz="4000" baseline="0">
                <a:solidFill>
                  <a:schemeClr val="tx1"/>
                </a:solidFill>
              </a:defRPr>
            </a:lvl1pPr>
          </a:lstStyle>
          <a:p>
            <a:r>
              <a:rPr lang="en-US" dirty="0"/>
              <a:t>Click to edit Divider or Call Out</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cxnSp>
        <p:nvCxnSpPr>
          <p:cNvPr id="12" name="Straight Connector 11"/>
          <p:cNvCxnSpPr/>
          <p:nvPr userDrawn="1"/>
        </p:nvCxnSpPr>
        <p:spPr>
          <a:xfrm>
            <a:off x="1065098" y="603315"/>
            <a:ext cx="1558517" cy="5118755"/>
          </a:xfrm>
          <a:prstGeom prst="line">
            <a:avLst/>
          </a:prstGeom>
          <a:ln w="12700">
            <a:solidFill>
              <a:schemeClr val="tx2">
                <a:lumMod val="75000"/>
              </a:schemeClr>
            </a:solidFill>
          </a:ln>
          <a:effectLst>
            <a:outerShdw blurRad="76200" dist="25400" dir="10800000" algn="r" rotWithShape="0">
              <a:prstClr val="black">
                <a:alpha val="41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8712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Aptar 1 - Empty">
    <p:spTree>
      <p:nvGrpSpPr>
        <p:cNvPr id="1" name=""/>
        <p:cNvGrpSpPr/>
        <p:nvPr/>
      </p:nvGrpSpPr>
      <p:grpSpPr>
        <a:xfrm>
          <a:off x="0" y="0"/>
          <a:ext cx="0" cy="0"/>
          <a:chOff x="0" y="0"/>
          <a:chExt cx="0" cy="0"/>
        </a:xfrm>
      </p:grpSpPr>
      <p:sp>
        <p:nvSpPr>
          <p:cNvPr id="3" name="Segnaposto piè di pagina 2"/>
          <p:cNvSpPr>
            <a:spLocks noGrp="1"/>
          </p:cNvSpPr>
          <p:nvPr>
            <p:ph type="ftr" sz="quarter" idx="11"/>
          </p:nvPr>
        </p:nvSpPr>
        <p:spPr/>
        <p:txBody>
          <a:bodyPr/>
          <a:lstStyle>
            <a:lvl1pPr>
              <a:defRPr>
                <a:solidFill>
                  <a:srgbClr val="808183"/>
                </a:solidFill>
              </a:defRPr>
            </a:lvl1pPr>
          </a:lstStyle>
          <a:p>
            <a:r>
              <a:rPr lang="en-US"/>
              <a:t>Aptar IS New Organization – March 2019</a:t>
            </a:r>
            <a:endParaRPr lang="en-US" dirty="0"/>
          </a:p>
        </p:txBody>
      </p:sp>
      <p:sp>
        <p:nvSpPr>
          <p:cNvPr id="4" name="Segnaposto numero diapositiva 3"/>
          <p:cNvSpPr>
            <a:spLocks noGrp="1"/>
          </p:cNvSpPr>
          <p:nvPr>
            <p:ph type="sldNum" sz="quarter" idx="12"/>
          </p:nvPr>
        </p:nvSpPr>
        <p:spPr/>
        <p:txBody>
          <a:bodyPr/>
          <a:lstStyle/>
          <a:p>
            <a:fld id="{F56E6D05-F7FE-4190-9CD5-2FB80430E5E8}" type="slidenum">
              <a:rPr lang="en-US" smtClean="0"/>
              <a:t>‹#›</a:t>
            </a:fld>
            <a:endParaRPr lang="en-US"/>
          </a:p>
        </p:txBody>
      </p:sp>
    </p:spTree>
    <p:extLst>
      <p:ext uri="{BB962C8B-B14F-4D97-AF65-F5344CB8AC3E}">
        <p14:creationId xmlns:p14="http://schemas.microsoft.com/office/powerpoint/2010/main" val="34777071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ptar 1 - Comparison with capture">
    <p:spTree>
      <p:nvGrpSpPr>
        <p:cNvPr id="1" name=""/>
        <p:cNvGrpSpPr/>
        <p:nvPr/>
      </p:nvGrpSpPr>
      <p:grpSpPr>
        <a:xfrm>
          <a:off x="0" y="0"/>
          <a:ext cx="0" cy="0"/>
          <a:chOff x="0" y="0"/>
          <a:chExt cx="0" cy="0"/>
        </a:xfrm>
      </p:grpSpPr>
      <p:sp>
        <p:nvSpPr>
          <p:cNvPr id="2" name="Titolo 1"/>
          <p:cNvSpPr>
            <a:spLocks noGrp="1"/>
          </p:cNvSpPr>
          <p:nvPr>
            <p:ph type="title"/>
          </p:nvPr>
        </p:nvSpPr>
        <p:spPr>
          <a:xfrm>
            <a:off x="609601" y="1052736"/>
            <a:ext cx="4011084" cy="1162050"/>
          </a:xfrm>
        </p:spPr>
        <p:txBody>
          <a:bodyPr anchor="b">
            <a:noAutofit/>
          </a:bodyPr>
          <a:lstStyle>
            <a:lvl1pPr algn="l">
              <a:defRPr sz="2400" b="1"/>
            </a:lvl1pPr>
          </a:lstStyle>
          <a:p>
            <a:endParaRPr lang="en-US" noProof="0" dirty="0"/>
          </a:p>
        </p:txBody>
      </p:sp>
      <p:sp>
        <p:nvSpPr>
          <p:cNvPr id="4" name="Segnaposto testo 3"/>
          <p:cNvSpPr>
            <a:spLocks noGrp="1"/>
          </p:cNvSpPr>
          <p:nvPr>
            <p:ph type="body" sz="half" idx="2"/>
          </p:nvPr>
        </p:nvSpPr>
        <p:spPr>
          <a:xfrm>
            <a:off x="609601" y="2204864"/>
            <a:ext cx="4011084" cy="3921299"/>
          </a:xfrm>
        </p:spPr>
        <p:txBody>
          <a:bodyPr/>
          <a:lstStyle>
            <a:lvl1pPr marL="0" indent="0">
              <a:buNone/>
              <a:defRPr sz="1400">
                <a:solidFill>
                  <a:srgbClr val="808183"/>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en-US" noProof="0" dirty="0"/>
          </a:p>
        </p:txBody>
      </p:sp>
      <p:sp>
        <p:nvSpPr>
          <p:cNvPr id="6" name="Segnaposto piè di pagina 5"/>
          <p:cNvSpPr>
            <a:spLocks noGrp="1"/>
          </p:cNvSpPr>
          <p:nvPr>
            <p:ph type="ftr" sz="quarter" idx="11"/>
          </p:nvPr>
        </p:nvSpPr>
        <p:spPr/>
        <p:txBody>
          <a:bodyPr/>
          <a:lstStyle>
            <a:lvl1pPr>
              <a:defRPr>
                <a:solidFill>
                  <a:srgbClr val="808183"/>
                </a:solidFill>
              </a:defRPr>
            </a:lvl1pPr>
          </a:lstStyle>
          <a:p>
            <a:r>
              <a:rPr lang="en-US" noProof="0"/>
              <a:t>Aptar IS New Organization – March 2019</a:t>
            </a:r>
          </a:p>
        </p:txBody>
      </p:sp>
      <p:sp>
        <p:nvSpPr>
          <p:cNvPr id="7" name="Segnaposto numero diapositiva 6"/>
          <p:cNvSpPr>
            <a:spLocks noGrp="1"/>
          </p:cNvSpPr>
          <p:nvPr>
            <p:ph type="sldNum" sz="quarter" idx="12"/>
          </p:nvPr>
        </p:nvSpPr>
        <p:spPr/>
        <p:txBody>
          <a:bodyPr/>
          <a:lstStyle/>
          <a:p>
            <a:fld id="{F56E6D05-F7FE-4190-9CD5-2FB80430E5E8}" type="slidenum">
              <a:rPr lang="en-US" noProof="0" smtClean="0"/>
              <a:t>‹#›</a:t>
            </a:fld>
            <a:endParaRPr lang="en-US" noProof="0"/>
          </a:p>
        </p:txBody>
      </p:sp>
      <p:sp>
        <p:nvSpPr>
          <p:cNvPr id="8" name="Titolo 1"/>
          <p:cNvSpPr txBox="1">
            <a:spLocks/>
          </p:cNvSpPr>
          <p:nvPr userDrawn="1"/>
        </p:nvSpPr>
        <p:spPr>
          <a:xfrm>
            <a:off x="609600" y="116632"/>
            <a:ext cx="8366720" cy="63408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rgbClr val="34715A"/>
                </a:solidFill>
                <a:latin typeface="Helvetica" pitchFamily="34" charset="0"/>
                <a:ea typeface="+mj-ea"/>
                <a:cs typeface="+mj-cs"/>
              </a:defRPr>
            </a:lvl1pPr>
          </a:lstStyle>
          <a:p>
            <a:endParaRPr lang="en-US" sz="2400" noProof="0" dirty="0"/>
          </a:p>
        </p:txBody>
      </p:sp>
      <p:sp>
        <p:nvSpPr>
          <p:cNvPr id="9" name="Content Placeholder 8"/>
          <p:cNvSpPr>
            <a:spLocks noGrp="1"/>
          </p:cNvSpPr>
          <p:nvPr>
            <p:ph sz="quarter" idx="13"/>
          </p:nvPr>
        </p:nvSpPr>
        <p:spPr>
          <a:xfrm>
            <a:off x="4792133" y="1052736"/>
            <a:ext cx="6775451" cy="5113114"/>
          </a:xfrm>
        </p:spPr>
        <p:txBody>
          <a:bodyPr/>
          <a:lstStyle>
            <a:lvl1pPr marL="342900" indent="-342900">
              <a:buFont typeface="Wingdings" panose="05000000000000000000" pitchFamily="2" charset="2"/>
              <a:buChar char="Ø"/>
              <a:defRPr/>
            </a:lvl1pPr>
            <a:lvl2pPr marL="742950" indent="-285750">
              <a:buFont typeface="Wingdings" panose="05000000000000000000" pitchFamily="2" charset="2"/>
              <a:buChar char="ü"/>
              <a:defRPr/>
            </a:lvl2pPr>
            <a:lvl3pPr marL="1143000" indent="-228600">
              <a:buFont typeface="Courier New" panose="02070309020205020404" pitchFamily="49" charset="0"/>
              <a:buChar char="o"/>
              <a:defRPr/>
            </a:lvl3pPr>
            <a:lvl5pPr marL="2057400" indent="-228600">
              <a:buFont typeface="Wingdings" panose="05000000000000000000" pitchFamily="2" charset="2"/>
              <a:buChar char="q"/>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Tree>
    <p:extLst>
      <p:ext uri="{BB962C8B-B14F-4D97-AF65-F5344CB8AC3E}">
        <p14:creationId xmlns:p14="http://schemas.microsoft.com/office/powerpoint/2010/main" val="4058690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Aptar 1 - Image with caption">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716632"/>
          </a:xfrm>
        </p:spPr>
        <p:txBody>
          <a:bodyPr anchor="b">
            <a:noAutofit/>
          </a:bodyPr>
          <a:lstStyle>
            <a:lvl1pPr algn="l">
              <a:defRPr sz="2400" b="1"/>
            </a:lvl1pPr>
          </a:lstStyle>
          <a:p>
            <a:endParaRPr lang="en-US" dirty="0"/>
          </a:p>
        </p:txBody>
      </p:sp>
      <p:sp>
        <p:nvSpPr>
          <p:cNvPr id="3" name="Segnaposto immagine 2"/>
          <p:cNvSpPr>
            <a:spLocks noGrp="1"/>
          </p:cNvSpPr>
          <p:nvPr>
            <p:ph type="pic" idx="1"/>
          </p:nvPr>
        </p:nvSpPr>
        <p:spPr>
          <a:xfrm>
            <a:off x="2389717" y="1052736"/>
            <a:ext cx="7315200" cy="367483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Segnaposto testo 3"/>
          <p:cNvSpPr>
            <a:spLocks noGrp="1"/>
          </p:cNvSpPr>
          <p:nvPr>
            <p:ph type="body" sz="half" idx="2"/>
          </p:nvPr>
        </p:nvSpPr>
        <p:spPr>
          <a:xfrm>
            <a:off x="2389717" y="5517232"/>
            <a:ext cx="7315200" cy="6549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en-US" noProof="0" dirty="0"/>
          </a:p>
        </p:txBody>
      </p:sp>
      <p:sp>
        <p:nvSpPr>
          <p:cNvPr id="6" name="Segnaposto piè di pagina 5"/>
          <p:cNvSpPr>
            <a:spLocks noGrp="1"/>
          </p:cNvSpPr>
          <p:nvPr>
            <p:ph type="ftr" sz="quarter" idx="11"/>
          </p:nvPr>
        </p:nvSpPr>
        <p:spPr/>
        <p:txBody>
          <a:bodyPr/>
          <a:lstStyle>
            <a:lvl1pPr>
              <a:defRPr>
                <a:solidFill>
                  <a:srgbClr val="808183"/>
                </a:solidFill>
              </a:defRPr>
            </a:lvl1pPr>
          </a:lstStyle>
          <a:p>
            <a:r>
              <a:rPr lang="en-US"/>
              <a:t>Aptar IS New Organization – March 2019</a:t>
            </a:r>
            <a:endParaRPr lang="en-US" dirty="0"/>
          </a:p>
        </p:txBody>
      </p:sp>
      <p:sp>
        <p:nvSpPr>
          <p:cNvPr id="7" name="Segnaposto numero diapositiva 6"/>
          <p:cNvSpPr>
            <a:spLocks noGrp="1"/>
          </p:cNvSpPr>
          <p:nvPr>
            <p:ph type="sldNum" sz="quarter" idx="12"/>
          </p:nvPr>
        </p:nvSpPr>
        <p:spPr/>
        <p:txBody>
          <a:bodyPr/>
          <a:lstStyle/>
          <a:p>
            <a:fld id="{F56E6D05-F7FE-4190-9CD5-2FB80430E5E8}" type="slidenum">
              <a:rPr lang="en-US" smtClean="0"/>
              <a:t>‹#›</a:t>
            </a:fld>
            <a:endParaRPr lang="en-US" dirty="0"/>
          </a:p>
        </p:txBody>
      </p:sp>
      <p:sp>
        <p:nvSpPr>
          <p:cNvPr id="8" name="Titolo 1"/>
          <p:cNvSpPr txBox="1">
            <a:spLocks/>
          </p:cNvSpPr>
          <p:nvPr userDrawn="1"/>
        </p:nvSpPr>
        <p:spPr>
          <a:xfrm>
            <a:off x="609600" y="116632"/>
            <a:ext cx="8366720" cy="63408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rgbClr val="34715A"/>
                </a:solidFill>
                <a:latin typeface="Helvetica" pitchFamily="34" charset="0"/>
                <a:ea typeface="+mj-ea"/>
                <a:cs typeface="+mj-cs"/>
              </a:defRPr>
            </a:lvl1pPr>
          </a:lstStyle>
          <a:p>
            <a:endParaRPr lang="en-US" sz="2400" dirty="0"/>
          </a:p>
        </p:txBody>
      </p:sp>
    </p:spTree>
    <p:extLst>
      <p:ext uri="{BB962C8B-B14F-4D97-AF65-F5344CB8AC3E}">
        <p14:creationId xmlns:p14="http://schemas.microsoft.com/office/powerpoint/2010/main" val="22728683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1"/>
          <p:cNvSpPr>
            <a:spLocks noGrp="1"/>
          </p:cNvSpPr>
          <p:nvPr>
            <p:ph type="ctrTitle"/>
          </p:nvPr>
        </p:nvSpPr>
        <p:spPr>
          <a:xfrm>
            <a:off x="3260436" y="249909"/>
            <a:ext cx="8460510" cy="1588127"/>
          </a:xfrm>
        </p:spPr>
        <p:txBody>
          <a:bodyPr anchor="ctr" anchorCtr="0">
            <a:noAutofit/>
          </a:bodyPr>
          <a:lstStyle>
            <a:lvl1pPr algn="l">
              <a:defRPr sz="3200" b="1">
                <a:solidFill>
                  <a:schemeClr val="bg2"/>
                </a:solidFill>
              </a:defRPr>
            </a:lvl1pPr>
          </a:lstStyle>
          <a:p>
            <a:r>
              <a:rPr lang="en-US"/>
              <a:t>Click to edit Master title styl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uthor Name and Title and Dat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8020" y="2231010"/>
            <a:ext cx="1611290" cy="438300"/>
          </a:xfrm>
          <a:prstGeom prst="rect">
            <a:avLst/>
          </a:prstGeom>
        </p:spPr>
      </p:pic>
    </p:spTree>
    <p:extLst>
      <p:ext uri="{BB962C8B-B14F-4D97-AF65-F5344CB8AC3E}">
        <p14:creationId xmlns:p14="http://schemas.microsoft.com/office/powerpoint/2010/main" val="37240440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210106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ubhead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40538342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8" name="Freeform 17"/>
          <p:cNvSpPr/>
          <p:nvPr userDrawn="1"/>
        </p:nvSpPr>
        <p:spPr>
          <a:xfrm>
            <a:off x="0" y="914304"/>
            <a:ext cx="2425380" cy="4105656"/>
          </a:xfrm>
          <a:custGeom>
            <a:avLst/>
            <a:gdLst>
              <a:gd name="connsiteX0" fmla="*/ 0 w 2425380"/>
              <a:gd name="connsiteY0" fmla="*/ 0 h 4105656"/>
              <a:gd name="connsiteX1" fmla="*/ 48748 w 2425380"/>
              <a:gd name="connsiteY1" fmla="*/ 0 h 4105656"/>
              <a:gd name="connsiteX2" fmla="*/ 803359 w 2425380"/>
              <a:gd name="connsiteY2" fmla="*/ 0 h 4105656"/>
              <a:gd name="connsiteX3" fmla="*/ 1169047 w 2425380"/>
              <a:gd name="connsiteY3" fmla="*/ 0 h 4105656"/>
              <a:gd name="connsiteX4" fmla="*/ 1822130 w 2425380"/>
              <a:gd name="connsiteY4" fmla="*/ 2143374 h 4105656"/>
              <a:gd name="connsiteX5" fmla="*/ 1812630 w 2425380"/>
              <a:gd name="connsiteY5" fmla="*/ 2143374 h 4105656"/>
              <a:gd name="connsiteX6" fmla="*/ 1812755 w 2425380"/>
              <a:gd name="connsiteY6" fmla="*/ 2143924 h 4105656"/>
              <a:gd name="connsiteX7" fmla="*/ 1826407 w 2425380"/>
              <a:gd name="connsiteY7" fmla="*/ 2143924 h 4105656"/>
              <a:gd name="connsiteX8" fmla="*/ 2425380 w 2425380"/>
              <a:gd name="connsiteY8" fmla="*/ 4105656 h 4105656"/>
              <a:gd name="connsiteX9" fmla="*/ 1432009 w 2425380"/>
              <a:gd name="connsiteY9" fmla="*/ 4105656 h 4105656"/>
              <a:gd name="connsiteX10" fmla="*/ 1397901 w 2425380"/>
              <a:gd name="connsiteY10" fmla="*/ 4105656 h 4105656"/>
              <a:gd name="connsiteX11" fmla="*/ 0 w 2425380"/>
              <a:gd name="connsiteY11" fmla="*/ 4105656 h 4105656"/>
              <a:gd name="connsiteX12" fmla="*/ 0 w 2425380"/>
              <a:gd name="connsiteY12" fmla="*/ 0 h 41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380" h="4105656">
                <a:moveTo>
                  <a:pt x="0" y="0"/>
                </a:moveTo>
                <a:lnTo>
                  <a:pt x="48748" y="0"/>
                </a:lnTo>
                <a:lnTo>
                  <a:pt x="803359" y="0"/>
                </a:lnTo>
                <a:lnTo>
                  <a:pt x="1169047" y="0"/>
                </a:lnTo>
                <a:lnTo>
                  <a:pt x="1822130" y="2143374"/>
                </a:lnTo>
                <a:lnTo>
                  <a:pt x="1812630" y="2143374"/>
                </a:lnTo>
                <a:lnTo>
                  <a:pt x="1812755" y="2143924"/>
                </a:lnTo>
                <a:lnTo>
                  <a:pt x="1826407" y="2143924"/>
                </a:lnTo>
                <a:lnTo>
                  <a:pt x="2425380" y="4105656"/>
                </a:lnTo>
                <a:lnTo>
                  <a:pt x="1432009" y="4105656"/>
                </a:lnTo>
                <a:lnTo>
                  <a:pt x="1397901" y="4105656"/>
                </a:lnTo>
                <a:lnTo>
                  <a:pt x="0" y="410565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6" name="Freeform 25"/>
          <p:cNvSpPr/>
          <p:nvPr userDrawn="1"/>
        </p:nvSpPr>
        <p:spPr>
          <a:xfrm>
            <a:off x="1280160" y="1253670"/>
            <a:ext cx="10911840" cy="4109097"/>
          </a:xfrm>
          <a:custGeom>
            <a:avLst/>
            <a:gdLst>
              <a:gd name="connsiteX0" fmla="*/ 0 w 10931195"/>
              <a:gd name="connsiteY0" fmla="*/ 0 h 4109097"/>
              <a:gd name="connsiteX1" fmla="*/ 2085427 w 10931195"/>
              <a:gd name="connsiteY1" fmla="*/ 0 h 4109097"/>
              <a:gd name="connsiteX2" fmla="*/ 2117715 w 10931195"/>
              <a:gd name="connsiteY2" fmla="*/ 0 h 4109097"/>
              <a:gd name="connsiteX3" fmla="*/ 8655527 w 10931195"/>
              <a:gd name="connsiteY3" fmla="*/ 0 h 4109097"/>
              <a:gd name="connsiteX4" fmla="*/ 10001943 w 10931195"/>
              <a:gd name="connsiteY4" fmla="*/ 0 h 4109097"/>
              <a:gd name="connsiteX5" fmla="*/ 10931195 w 10931195"/>
              <a:gd name="connsiteY5" fmla="*/ 0 h 4109097"/>
              <a:gd name="connsiteX6" fmla="*/ 10931195 w 10931195"/>
              <a:gd name="connsiteY6" fmla="*/ 3637756 h 4109097"/>
              <a:gd name="connsiteX7" fmla="*/ 10931195 w 10931195"/>
              <a:gd name="connsiteY7" fmla="*/ 4099075 h 4109097"/>
              <a:gd name="connsiteX8" fmla="*/ 10931195 w 10931195"/>
              <a:gd name="connsiteY8" fmla="*/ 4109097 h 4109097"/>
              <a:gd name="connsiteX9" fmla="*/ 10001943 w 10931195"/>
              <a:gd name="connsiteY9" fmla="*/ 4109097 h 4109097"/>
              <a:gd name="connsiteX10" fmla="*/ 8018313 w 10931195"/>
              <a:gd name="connsiteY10" fmla="*/ 4109097 h 4109097"/>
              <a:gd name="connsiteX11" fmla="*/ 3368296 w 10931195"/>
              <a:gd name="connsiteY11" fmla="*/ 4109097 h 4109097"/>
              <a:gd name="connsiteX12" fmla="*/ 2085427 w 10931195"/>
              <a:gd name="connsiteY12" fmla="*/ 4109097 h 4109097"/>
              <a:gd name="connsiteX13" fmla="*/ 1250582 w 10931195"/>
              <a:gd name="connsiteY13" fmla="*/ 4109097 h 41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31195" h="4109097">
                <a:moveTo>
                  <a:pt x="0" y="0"/>
                </a:moveTo>
                <a:lnTo>
                  <a:pt x="2085427" y="0"/>
                </a:lnTo>
                <a:lnTo>
                  <a:pt x="2117715" y="0"/>
                </a:lnTo>
                <a:lnTo>
                  <a:pt x="8655527" y="0"/>
                </a:lnTo>
                <a:lnTo>
                  <a:pt x="10001943" y="0"/>
                </a:lnTo>
                <a:lnTo>
                  <a:pt x="10931195" y="0"/>
                </a:lnTo>
                <a:lnTo>
                  <a:pt x="10931195" y="3637756"/>
                </a:lnTo>
                <a:lnTo>
                  <a:pt x="10931195" y="4099075"/>
                </a:lnTo>
                <a:lnTo>
                  <a:pt x="10931195" y="4109097"/>
                </a:lnTo>
                <a:lnTo>
                  <a:pt x="10001943" y="4109097"/>
                </a:lnTo>
                <a:lnTo>
                  <a:pt x="8018313" y="4109097"/>
                </a:lnTo>
                <a:lnTo>
                  <a:pt x="3368296" y="4109097"/>
                </a:lnTo>
                <a:lnTo>
                  <a:pt x="2085427" y="4109097"/>
                </a:lnTo>
                <a:lnTo>
                  <a:pt x="1250582" y="410909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hasCustomPrompt="1"/>
          </p:nvPr>
        </p:nvSpPr>
        <p:spPr>
          <a:xfrm>
            <a:off x="2658359" y="2431055"/>
            <a:ext cx="9201132" cy="1754326"/>
          </a:xfrm>
        </p:spPr>
        <p:txBody>
          <a:bodyPr anchor="ctr" anchorCtr="0">
            <a:noAutofit/>
          </a:bodyPr>
          <a:lstStyle>
            <a:lvl1pPr>
              <a:defRPr sz="4000" baseline="0">
                <a:solidFill>
                  <a:schemeClr val="tx1"/>
                </a:solidFill>
              </a:defRPr>
            </a:lvl1pPr>
          </a:lstStyle>
          <a:p>
            <a:r>
              <a:rPr lang="en-US"/>
              <a:t>Click to edit Divider or Call Out</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cxnSp>
        <p:nvCxnSpPr>
          <p:cNvPr id="12" name="Straight Connector 11"/>
          <p:cNvCxnSpPr/>
          <p:nvPr userDrawn="1"/>
        </p:nvCxnSpPr>
        <p:spPr>
          <a:xfrm>
            <a:off x="1065098" y="603315"/>
            <a:ext cx="1558517" cy="5118755"/>
          </a:xfrm>
          <a:prstGeom prst="line">
            <a:avLst/>
          </a:prstGeom>
          <a:ln w="12700">
            <a:solidFill>
              <a:schemeClr val="tx2">
                <a:lumMod val="75000"/>
              </a:schemeClr>
            </a:solidFill>
          </a:ln>
          <a:effectLst>
            <a:outerShdw blurRad="76200" dist="25400" dir="10800000" algn="r" rotWithShape="0">
              <a:prstClr val="black">
                <a:alpha val="41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4933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ll Ou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2" y="1253670"/>
            <a:ext cx="12188953" cy="4105656"/>
          </a:xfrm>
          <a:prstGeom prst="rect">
            <a:avLst/>
          </a:prstGeom>
        </p:spPr>
      </p:pic>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9" name="Text Placeholder 18"/>
          <p:cNvSpPr>
            <a:spLocks noGrp="1"/>
          </p:cNvSpPr>
          <p:nvPr>
            <p:ph type="body" sz="quarter" idx="13" hasCustomPrompt="1"/>
          </p:nvPr>
        </p:nvSpPr>
        <p:spPr>
          <a:xfrm>
            <a:off x="365085" y="1735138"/>
            <a:ext cx="11134187" cy="3109912"/>
          </a:xfrm>
        </p:spPr>
        <p:txBody>
          <a:bodyPr anchor="ctr" anchorCtr="0"/>
          <a:lstStyle>
            <a:lvl1pPr marL="0" indent="0">
              <a:spcBef>
                <a:spcPts val="800"/>
              </a:spcBef>
              <a:buNone/>
              <a:defRPr sz="4000" b="1"/>
            </a:lvl1pPr>
          </a:lstStyle>
          <a:p>
            <a:pPr lvl="0"/>
            <a:r>
              <a:rPr lang="en-US"/>
              <a:t>Click to edit Call Out</a:t>
            </a:r>
          </a:p>
        </p:txBody>
      </p:sp>
      <p:sp>
        <p:nvSpPr>
          <p:cNvPr id="20" name="Title 19"/>
          <p:cNvSpPr>
            <a:spLocks noGrp="1"/>
          </p:cNvSpPr>
          <p:nvPr>
            <p:ph type="title"/>
          </p:nvPr>
        </p:nvSpPr>
        <p:spPr>
          <a:xfrm>
            <a:off x="365086" y="360069"/>
            <a:ext cx="9213023" cy="480131"/>
          </a:xfrm>
        </p:spPr>
        <p:txBody>
          <a:bodyPr/>
          <a:lstStyle/>
          <a:p>
            <a:r>
              <a:rPr lang="en-US"/>
              <a:t>Click to edit Master title style</a:t>
            </a:r>
          </a:p>
        </p:txBody>
      </p:sp>
    </p:spTree>
    <p:extLst>
      <p:ext uri="{BB962C8B-B14F-4D97-AF65-F5344CB8AC3E}">
        <p14:creationId xmlns:p14="http://schemas.microsoft.com/office/powerpoint/2010/main" val="16197007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1448586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086" y="325521"/>
            <a:ext cx="9217152" cy="548640"/>
          </a:xfrm>
        </p:spPr>
        <p:txBody>
          <a:bodyPr/>
          <a:lstStyle/>
          <a:p>
            <a:r>
              <a:rPr lang="en-US"/>
              <a:t>Click to edit Master title style</a:t>
            </a:r>
          </a:p>
        </p:txBody>
      </p:sp>
      <p:sp>
        <p:nvSpPr>
          <p:cNvPr id="3" name="Text Placeholder 2"/>
          <p:cNvSpPr>
            <a:spLocks noGrp="1"/>
          </p:cNvSpPr>
          <p:nvPr>
            <p:ph type="body" idx="1"/>
          </p:nvPr>
        </p:nvSpPr>
        <p:spPr>
          <a:xfrm>
            <a:off x="365085"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65085"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5534"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5534"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A75AEF7-7CA2-4665-9348-32CCD499C383}" type="slidenum">
              <a:rPr lang="en-US" smtClean="0"/>
              <a:t>‹#›</a:t>
            </a:fld>
            <a:endParaRPr lang="en-US"/>
          </a:p>
        </p:txBody>
      </p:sp>
      <p:sp>
        <p:nvSpPr>
          <p:cNvPr id="13"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1486033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ll Ou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2" y="1253670"/>
            <a:ext cx="12188953" cy="4105656"/>
          </a:xfrm>
          <a:prstGeom prst="rect">
            <a:avLst/>
          </a:prstGeom>
        </p:spPr>
      </p:pic>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9" name="Text Placeholder 18"/>
          <p:cNvSpPr>
            <a:spLocks noGrp="1"/>
          </p:cNvSpPr>
          <p:nvPr>
            <p:ph type="body" sz="quarter" idx="13" hasCustomPrompt="1"/>
          </p:nvPr>
        </p:nvSpPr>
        <p:spPr>
          <a:xfrm>
            <a:off x="365085" y="1735138"/>
            <a:ext cx="11134187" cy="3109912"/>
          </a:xfrm>
        </p:spPr>
        <p:txBody>
          <a:bodyPr anchor="ctr" anchorCtr="0"/>
          <a:lstStyle>
            <a:lvl1pPr marL="0" indent="0">
              <a:spcBef>
                <a:spcPts val="800"/>
              </a:spcBef>
              <a:buNone/>
              <a:defRPr sz="4000" b="1"/>
            </a:lvl1pPr>
          </a:lstStyle>
          <a:p>
            <a:pPr lvl="0"/>
            <a:r>
              <a:rPr lang="en-US" dirty="0"/>
              <a:t>Click to edit Call Out</a:t>
            </a:r>
          </a:p>
        </p:txBody>
      </p:sp>
      <p:sp>
        <p:nvSpPr>
          <p:cNvPr id="20" name="Title 19"/>
          <p:cNvSpPr>
            <a:spLocks noGrp="1"/>
          </p:cNvSpPr>
          <p:nvPr>
            <p:ph type="title"/>
          </p:nvPr>
        </p:nvSpPr>
        <p:spPr>
          <a:xfrm>
            <a:off x="365086" y="360069"/>
            <a:ext cx="9213023" cy="480131"/>
          </a:xfrm>
        </p:spPr>
        <p:txBody>
          <a:bodyPr/>
          <a:lstStyle/>
          <a:p>
            <a:r>
              <a:rPr lang="en-US"/>
              <a:t>Click to edit Master title style</a:t>
            </a:r>
          </a:p>
        </p:txBody>
      </p:sp>
    </p:spTree>
    <p:extLst>
      <p:ext uri="{BB962C8B-B14F-4D97-AF65-F5344CB8AC3E}">
        <p14:creationId xmlns:p14="http://schemas.microsoft.com/office/powerpoint/2010/main" val="4257896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13534923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rk_Title Only">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3044"/>
          <a:stretch/>
        </p:blipFill>
        <p:spPr>
          <a:xfrm>
            <a:off x="0" y="0"/>
            <a:ext cx="12200313" cy="657629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4801" y="358962"/>
            <a:ext cx="1418705" cy="385913"/>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1"/>
                </a:solidFill>
              </a:defRPr>
            </a:lvl1pPr>
          </a:lstStyle>
          <a:p>
            <a:pPr lvl="0"/>
            <a:r>
              <a:rPr lang="en-US"/>
              <a:t>Click to edit subtitle styles</a:t>
            </a:r>
          </a:p>
        </p:txBody>
      </p:sp>
    </p:spTree>
    <p:extLst>
      <p:ext uri="{BB962C8B-B14F-4D97-AF65-F5344CB8AC3E}">
        <p14:creationId xmlns:p14="http://schemas.microsoft.com/office/powerpoint/2010/main" val="38531415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H">
    <p:spTree>
      <p:nvGrpSpPr>
        <p:cNvPr id="1" name=""/>
        <p:cNvGrpSpPr/>
        <p:nvPr/>
      </p:nvGrpSpPr>
      <p:grpSpPr>
        <a:xfrm>
          <a:off x="0" y="0"/>
          <a:ext cx="0" cy="0"/>
          <a:chOff x="0" y="0"/>
          <a:chExt cx="0" cy="0"/>
        </a:xfrm>
      </p:grpSpPr>
      <p:sp>
        <p:nvSpPr>
          <p:cNvPr id="8" name="Rectangle 7"/>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a:t>Click to edit subtitle styles</a:t>
            </a:r>
          </a:p>
        </p:txBody>
      </p:sp>
      <p:pic>
        <p:nvPicPr>
          <p:cNvPr id="7" name="Picture 6" descr="abh_logo_rgb_cg10_2603_midre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537"/>
          </a:xfrm>
          <a:prstGeom prst="rect">
            <a:avLst/>
          </a:prstGeom>
        </p:spPr>
      </p:pic>
    </p:spTree>
    <p:extLst>
      <p:ext uri="{BB962C8B-B14F-4D97-AF65-F5344CB8AC3E}">
        <p14:creationId xmlns:p14="http://schemas.microsoft.com/office/powerpoint/2010/main" val="29214378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B">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2"/>
                </a:solidFill>
              </a:defRPr>
            </a:lvl1pPr>
          </a:lstStyle>
          <a:p>
            <a:pPr lvl="0"/>
            <a:r>
              <a:rPr lang="en-US"/>
              <a:t>Click to edit subtitle styles</a:t>
            </a:r>
          </a:p>
        </p:txBody>
      </p:sp>
      <p:pic>
        <p:nvPicPr>
          <p:cNvPr id="8" name="Image 11" descr="afb_logo_rgb_cg10_18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268"/>
          </a:xfrm>
          <a:prstGeom prst="rect">
            <a:avLst/>
          </a:prstGeom>
          <a:solidFill>
            <a:schemeClr val="bg1"/>
          </a:solidFill>
        </p:spPr>
      </p:pic>
    </p:spTree>
    <p:extLst>
      <p:ext uri="{BB962C8B-B14F-4D97-AF65-F5344CB8AC3E}">
        <p14:creationId xmlns:p14="http://schemas.microsoft.com/office/powerpoint/2010/main" val="9435768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Pharma">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3"/>
                </a:solidFill>
              </a:defRPr>
            </a:lvl1pPr>
          </a:lstStyle>
          <a:p>
            <a:pPr lvl="0"/>
            <a:r>
              <a:rPr lang="en-US"/>
              <a:t>Click to edit subtitle styles</a:t>
            </a:r>
          </a:p>
        </p:txBody>
      </p:sp>
      <p:pic>
        <p:nvPicPr>
          <p:cNvPr id="8" name="Picture 7" descr="aph_logo_rgb_cg10_660"/>
          <p:cNvPicPr>
            <a:picLocks noChangeAspect="1" noChangeArrowheads="1"/>
          </p:cNvPicPr>
          <p:nvPr userDrawn="1"/>
        </p:nvPicPr>
        <p:blipFill>
          <a:blip r:embed="rId2" cstate="print"/>
          <a:srcRect/>
          <a:stretch>
            <a:fillRect/>
          </a:stretch>
        </p:blipFill>
        <p:spPr bwMode="auto">
          <a:xfrm>
            <a:off x="10731310" y="415682"/>
            <a:ext cx="1113265" cy="397117"/>
          </a:xfrm>
          <a:prstGeom prst="rect">
            <a:avLst/>
          </a:prstGeom>
          <a:noFill/>
          <a:ln w="9525">
            <a:noFill/>
            <a:miter lim="800000"/>
            <a:headEnd/>
            <a:tailEnd/>
          </a:ln>
        </p:spPr>
      </p:pic>
    </p:spTree>
    <p:extLst>
      <p:ext uri="{BB962C8B-B14F-4D97-AF65-F5344CB8AC3E}">
        <p14:creationId xmlns:p14="http://schemas.microsoft.com/office/powerpoint/2010/main" val="30322708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SP">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A0EF59-B0B5-42D4-A9D4-7F370AAB2E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6440" y="402250"/>
            <a:ext cx="1142871" cy="410121"/>
          </a:xfrm>
          <a:prstGeom prst="rect">
            <a:avLst/>
          </a:prstGeom>
        </p:spPr>
      </p:pic>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rgbClr val="3773C2"/>
                </a:solidFill>
              </a:defRPr>
            </a:lvl1pPr>
          </a:lstStyle>
          <a:p>
            <a:pPr lvl="0"/>
            <a:r>
              <a:rPr lang="en-US"/>
              <a:t>Click to edit subtitle styles</a:t>
            </a:r>
          </a:p>
        </p:txBody>
      </p:sp>
    </p:spTree>
    <p:extLst>
      <p:ext uri="{BB962C8B-B14F-4D97-AF65-F5344CB8AC3E}">
        <p14:creationId xmlns:p14="http://schemas.microsoft.com/office/powerpoint/2010/main" val="7552585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3820903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45786-3A16-461E-BC52-033D18EEB2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111CE4-1C01-46C5-B55D-17E793647E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DB51E8-992F-4B33-9126-8FA06885F69A}"/>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5" name="Footer Placeholder 4">
            <a:extLst>
              <a:ext uri="{FF2B5EF4-FFF2-40B4-BE49-F238E27FC236}">
                <a16:creationId xmlns:a16="http://schemas.microsoft.com/office/drawing/2014/main" id="{74C6B9A0-2116-4A8B-810F-4294FAFDC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8B2AD2-864F-4861-AA40-C96FD7D70C3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4800367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AEAF7-A4E6-419B-91B6-4AE8279F88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BB7051-8C25-4E66-B1F2-512F859F5E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E66A21-DB94-4990-9525-A43040651299}"/>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5" name="Footer Placeholder 4">
            <a:extLst>
              <a:ext uri="{FF2B5EF4-FFF2-40B4-BE49-F238E27FC236}">
                <a16:creationId xmlns:a16="http://schemas.microsoft.com/office/drawing/2014/main" id="{3B7CBCC4-C302-4B7E-9A61-C98D696460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BCB294-94A9-4D00-A8D8-09DDDA3200BD}"/>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4767307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004A8-AF4E-468A-ACAF-CED1B060C5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F3C462C-9CCB-4E5D-955C-1FBD9FD60E0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2658C4-F46E-4F2C-BEE5-26697732D029}"/>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5" name="Footer Placeholder 4">
            <a:extLst>
              <a:ext uri="{FF2B5EF4-FFF2-40B4-BE49-F238E27FC236}">
                <a16:creationId xmlns:a16="http://schemas.microsoft.com/office/drawing/2014/main" id="{188A6139-109F-4D69-9F46-C0AFEE60FC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058350-01BD-4896-8606-FE1BD5AAFC2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4209878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6440197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EA2F6-DA04-4327-92E0-1A922FB34E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435803-04D4-42C3-AE1F-2322BAE631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9B5E366-960C-4E5B-9999-5AEFB641D89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1F1257-F4EE-4CD1-B311-A3DE874EC3CF}"/>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6" name="Footer Placeholder 5">
            <a:extLst>
              <a:ext uri="{FF2B5EF4-FFF2-40B4-BE49-F238E27FC236}">
                <a16:creationId xmlns:a16="http://schemas.microsoft.com/office/drawing/2014/main" id="{1A158B52-D837-44E0-BBCE-33E1670812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26453B-079A-4F60-AEE0-E04A3E5976A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8138577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4FD5A-A8A6-4A03-813B-1891456080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49903B-3578-4BE1-AB35-7867FD9FDD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A6FF61-AA11-4E34-AF73-ED7D807C2B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45E658-7BEE-4AD2-A6F9-240AE12650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4BBB006-EA21-48E6-8185-1E58D0C750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64319C-ABDD-47FA-BC0B-27EFEC028855}"/>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8" name="Footer Placeholder 7">
            <a:extLst>
              <a:ext uri="{FF2B5EF4-FFF2-40B4-BE49-F238E27FC236}">
                <a16:creationId xmlns:a16="http://schemas.microsoft.com/office/drawing/2014/main" id="{6EC721C3-A720-42EE-A653-EE6978A321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76F3EF-0B05-4997-8FFA-CD994F8CCC86}"/>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19675285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F321E-5718-428A-B5C7-7682564B1A6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888BD41-2851-4F8F-BF63-2406574E407C}"/>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4" name="Footer Placeholder 3">
            <a:extLst>
              <a:ext uri="{FF2B5EF4-FFF2-40B4-BE49-F238E27FC236}">
                <a16:creationId xmlns:a16="http://schemas.microsoft.com/office/drawing/2014/main" id="{ED16E189-CFA4-4B13-AA5C-BA73F76321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62FEE9-5773-4255-BA5B-A2992FF1FCF7}"/>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36457703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DB5A66-F9B1-4AD5-8494-67D39397E5D3}"/>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3" name="Footer Placeholder 2">
            <a:extLst>
              <a:ext uri="{FF2B5EF4-FFF2-40B4-BE49-F238E27FC236}">
                <a16:creationId xmlns:a16="http://schemas.microsoft.com/office/drawing/2014/main" id="{CA8B4124-973D-4D47-A44E-45B69B63B0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46E033-4CEB-47F0-9A9A-D52003D827CA}"/>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31079602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37AE5-5713-49BC-AA34-B7FE7A3E5B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A89761A-4F21-4A4F-9B78-805E6FE7092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B2CB1EC-CF46-413B-84DD-FD208B33DF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4CF473-0BAF-499D-899C-05F376575BE4}"/>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6" name="Footer Placeholder 5">
            <a:extLst>
              <a:ext uri="{FF2B5EF4-FFF2-40B4-BE49-F238E27FC236}">
                <a16:creationId xmlns:a16="http://schemas.microsoft.com/office/drawing/2014/main" id="{79D53B72-E4A8-4DFB-A439-C6EFE0A32A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BC4665-B345-49B8-B687-262217044E01}"/>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8415754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E745C-007E-4440-9E83-0A08EB980A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09E8A0F-4EB4-4504-A79B-27CDB0EDE5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5CB67D5-435C-4B92-AFD0-09FF959801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DFE734-4268-463A-9D47-33E4D9FDA0E8}"/>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6" name="Footer Placeholder 5">
            <a:extLst>
              <a:ext uri="{FF2B5EF4-FFF2-40B4-BE49-F238E27FC236}">
                <a16:creationId xmlns:a16="http://schemas.microsoft.com/office/drawing/2014/main" id="{06EBCAC4-25D0-4A93-8BCB-57438E778F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76B04B-1209-4A1F-9D58-C7D67210BF56}"/>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41602163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06F9C-F7B8-4121-ACC6-9B2DF518DAA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0CE727B-D491-40CB-9F69-7D0505C99A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B0E08-F9E0-4430-B145-D24B41812D08}"/>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5" name="Footer Placeholder 4">
            <a:extLst>
              <a:ext uri="{FF2B5EF4-FFF2-40B4-BE49-F238E27FC236}">
                <a16:creationId xmlns:a16="http://schemas.microsoft.com/office/drawing/2014/main" id="{49071558-D91B-467F-9D5C-DD5BA84949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0686D-4702-4CEC-8748-9579F990C7C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965585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B314D4-9F98-47AF-BD3A-B55F5C73A49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9B89AC3-B21A-406A-BFF4-1BDDECD370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37C159-668E-4664-B230-FEFFB1885CF6}"/>
              </a:ext>
            </a:extLst>
          </p:cNvPr>
          <p:cNvSpPr>
            <a:spLocks noGrp="1"/>
          </p:cNvSpPr>
          <p:nvPr>
            <p:ph type="dt" sz="half" idx="10"/>
          </p:nvPr>
        </p:nvSpPr>
        <p:spPr/>
        <p:txBody>
          <a:bodyPr/>
          <a:lstStyle/>
          <a:p>
            <a:fld id="{C6D9FA3A-6752-4581-93CC-DC3B624B0C48}" type="datetimeFigureOut">
              <a:rPr lang="en-US" smtClean="0"/>
              <a:t>12/4/2025</a:t>
            </a:fld>
            <a:endParaRPr lang="en-US"/>
          </a:p>
        </p:txBody>
      </p:sp>
      <p:sp>
        <p:nvSpPr>
          <p:cNvPr id="5" name="Footer Placeholder 4">
            <a:extLst>
              <a:ext uri="{FF2B5EF4-FFF2-40B4-BE49-F238E27FC236}">
                <a16:creationId xmlns:a16="http://schemas.microsoft.com/office/drawing/2014/main" id="{AFA67ADD-6605-4D59-824E-62269A3640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BB52FA-75B3-4FFB-A095-371993E90947}"/>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11546703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Main Title Slide">
    <p:spTree>
      <p:nvGrpSpPr>
        <p:cNvPr id="1" name=""/>
        <p:cNvGrpSpPr/>
        <p:nvPr/>
      </p:nvGrpSpPr>
      <p:grpSpPr>
        <a:xfrm>
          <a:off x="0" y="0"/>
          <a:ext cx="0" cy="0"/>
          <a:chOff x="0" y="0"/>
          <a:chExt cx="0" cy="0"/>
        </a:xfrm>
      </p:grpSpPr>
      <p:sp>
        <p:nvSpPr>
          <p:cNvPr id="7" name="Rectangle 6"/>
          <p:cNvSpPr/>
          <p:nvPr userDrawn="1"/>
        </p:nvSpPr>
        <p:spPr>
          <a:xfrm>
            <a:off x="-1" y="5278056"/>
            <a:ext cx="4143737" cy="1370394"/>
          </a:xfrm>
          <a:prstGeom prst="rect">
            <a:avLst/>
          </a:prstGeom>
          <a:solidFill>
            <a:srgbClr val="CCE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99345" y="0"/>
            <a:ext cx="8192655" cy="6622473"/>
          </a:xfrm>
          <a:prstGeom prst="rect">
            <a:avLst/>
          </a:prstGeom>
        </p:spPr>
      </p:pic>
      <p:sp>
        <p:nvSpPr>
          <p:cNvPr id="2" name="Title 1"/>
          <p:cNvSpPr>
            <a:spLocks noGrp="1"/>
          </p:cNvSpPr>
          <p:nvPr>
            <p:ph type="ctrTitle"/>
          </p:nvPr>
        </p:nvSpPr>
        <p:spPr>
          <a:xfrm>
            <a:off x="471054" y="1367509"/>
            <a:ext cx="3169701" cy="1588127"/>
          </a:xfrm>
        </p:spPr>
        <p:txBody>
          <a:bodyPr anchor="b" anchorCtr="0">
            <a:noAutofit/>
          </a:bodyPr>
          <a:lstStyle>
            <a:lvl1pPr algn="l">
              <a:defRPr sz="3600" b="1">
                <a:solidFill>
                  <a:schemeClr val="tx1"/>
                </a:solidFill>
              </a:defRPr>
            </a:lvl1pPr>
          </a:lstStyle>
          <a:p>
            <a:r>
              <a:rPr lang="en-US"/>
              <a:t>Click to edit Master title style</a:t>
            </a:r>
          </a:p>
        </p:txBody>
      </p:sp>
      <p:sp>
        <p:nvSpPr>
          <p:cNvPr id="12" name="Rectangle 11"/>
          <p:cNvSpPr/>
          <p:nvPr userDrawn="1"/>
        </p:nvSpPr>
        <p:spPr>
          <a:xfrm>
            <a:off x="3715474" y="4676173"/>
            <a:ext cx="3014892" cy="868099"/>
          </a:xfrm>
          <a:prstGeom prst="rect">
            <a:avLst/>
          </a:prstGeom>
          <a:solidFill>
            <a:srgbClr val="AC70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6728460" y="4676173"/>
            <a:ext cx="2727960" cy="868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9456421" y="4676173"/>
            <a:ext cx="2735580" cy="868099"/>
          </a:xfrm>
          <a:prstGeom prst="rect">
            <a:avLst/>
          </a:prstGeom>
          <a:solidFill>
            <a:srgbClr val="1B7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p:cNvSpPr/>
          <p:nvPr userDrawn="1"/>
        </p:nvSpPr>
        <p:spPr>
          <a:xfrm>
            <a:off x="1" y="4676173"/>
            <a:ext cx="4305299" cy="868680"/>
          </a:xfrm>
          <a:prstGeom prst="homePlate">
            <a:avLst>
              <a:gd name="adj" fmla="val 34465"/>
            </a:avLst>
          </a:prstGeom>
          <a:solidFill>
            <a:srgbClr val="117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userDrawn="1"/>
        </p:nvSpPr>
        <p:spPr>
          <a:xfrm>
            <a:off x="471055" y="4817835"/>
            <a:ext cx="2891258" cy="584775"/>
          </a:xfrm>
          <a:prstGeom prst="rect">
            <a:avLst/>
          </a:prstGeom>
          <a:noFill/>
        </p:spPr>
        <p:txBody>
          <a:bodyPr wrap="square" rtlCol="0">
            <a:spAutoFit/>
          </a:bodyPr>
          <a:lstStyle/>
          <a:p>
            <a:r>
              <a:rPr lang="en-US" sz="1600" b="1">
                <a:solidFill>
                  <a:srgbClr val="9BCABF"/>
                </a:solidFill>
              </a:rPr>
              <a:t>Delivering solutions, </a:t>
            </a:r>
            <a:r>
              <a:rPr lang="en-US" sz="1600" b="1">
                <a:solidFill>
                  <a:schemeClr val="bg1"/>
                </a:solidFill>
              </a:rPr>
              <a:t>shaping the futur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userDrawn="1"/>
        </p:nvSpPr>
        <p:spPr>
          <a:xfrm>
            <a:off x="4525701" y="4925556"/>
            <a:ext cx="1858201" cy="369332"/>
          </a:xfrm>
          <a:prstGeom prst="rect">
            <a:avLst/>
          </a:prstGeom>
          <a:noFill/>
        </p:spPr>
        <p:txBody>
          <a:bodyPr wrap="none" rtlCol="0">
            <a:spAutoFit/>
          </a:bodyPr>
          <a:lstStyle/>
          <a:p>
            <a:r>
              <a:rPr lang="en-US" b="1">
                <a:solidFill>
                  <a:schemeClr val="bg1"/>
                </a:solidFill>
              </a:rPr>
              <a:t>Beauty + Home</a:t>
            </a:r>
          </a:p>
        </p:txBody>
      </p:sp>
      <p:sp>
        <p:nvSpPr>
          <p:cNvPr id="19" name="TextBox 18"/>
          <p:cNvSpPr txBox="1"/>
          <p:nvPr userDrawn="1"/>
        </p:nvSpPr>
        <p:spPr>
          <a:xfrm>
            <a:off x="7065650" y="4925556"/>
            <a:ext cx="2050561" cy="369332"/>
          </a:xfrm>
          <a:prstGeom prst="rect">
            <a:avLst/>
          </a:prstGeom>
          <a:noFill/>
        </p:spPr>
        <p:txBody>
          <a:bodyPr wrap="none" rtlCol="0">
            <a:spAutoFit/>
          </a:bodyPr>
          <a:lstStyle/>
          <a:p>
            <a:r>
              <a:rPr lang="en-US" b="1">
                <a:solidFill>
                  <a:schemeClr val="bg1"/>
                </a:solidFill>
              </a:rPr>
              <a:t>Food + Beverage</a:t>
            </a:r>
          </a:p>
        </p:txBody>
      </p:sp>
      <p:sp>
        <p:nvSpPr>
          <p:cNvPr id="20" name="TextBox 19"/>
          <p:cNvSpPr txBox="1"/>
          <p:nvPr userDrawn="1"/>
        </p:nvSpPr>
        <p:spPr>
          <a:xfrm>
            <a:off x="10314746" y="4925556"/>
            <a:ext cx="1031051" cy="369332"/>
          </a:xfrm>
          <a:prstGeom prst="rect">
            <a:avLst/>
          </a:prstGeom>
          <a:noFill/>
        </p:spPr>
        <p:txBody>
          <a:bodyPr wrap="none" rtlCol="0">
            <a:spAutoFit/>
          </a:bodyPr>
          <a:lstStyle/>
          <a:p>
            <a:r>
              <a:rPr lang="en-US" b="1">
                <a:solidFill>
                  <a:schemeClr val="bg1"/>
                </a:solidFill>
              </a:rPr>
              <a:t>Pharma</a:t>
            </a:r>
          </a:p>
        </p:txBody>
      </p:sp>
      <p:sp>
        <p:nvSpPr>
          <p:cNvPr id="3" name="Subtitle 2"/>
          <p:cNvSpPr>
            <a:spLocks noGrp="1"/>
          </p:cNvSpPr>
          <p:nvPr>
            <p:ph type="subTitle" idx="1"/>
          </p:nvPr>
        </p:nvSpPr>
        <p:spPr>
          <a:xfrm>
            <a:off x="472995" y="3509818"/>
            <a:ext cx="3147660" cy="739053"/>
          </a:xfrm>
        </p:spPr>
        <p:txBody>
          <a:bodyPr>
            <a:normAutofit/>
          </a:bodyPr>
          <a:lstStyle>
            <a:lvl1pPr marL="0" indent="0" algn="l">
              <a:spcBef>
                <a:spcPts val="4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25994" y="1371739"/>
            <a:ext cx="7307483" cy="2202734"/>
          </a:xfrm>
          <a:prstGeom prst="rect">
            <a:avLst/>
          </a:prstGeom>
        </p:spPr>
      </p:pic>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1054" y="437339"/>
            <a:ext cx="1697380" cy="473327"/>
          </a:xfrm>
          <a:prstGeom prst="rect">
            <a:avLst/>
          </a:prstGeom>
        </p:spPr>
      </p:pic>
    </p:spTree>
    <p:extLst>
      <p:ext uri="{BB962C8B-B14F-4D97-AF65-F5344CB8AC3E}">
        <p14:creationId xmlns:p14="http://schemas.microsoft.com/office/powerpoint/2010/main" val="16277257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Alt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1054" y="1367509"/>
            <a:ext cx="3169701" cy="1588127"/>
          </a:xfrm>
        </p:spPr>
        <p:txBody>
          <a:bodyPr anchor="b" anchorCtr="0">
            <a:noAutofit/>
          </a:bodyPr>
          <a:lstStyle>
            <a:lvl1pPr algn="l">
              <a:defRPr sz="3600" b="1">
                <a:solidFill>
                  <a:schemeClr val="tx1"/>
                </a:solidFill>
              </a:defRPr>
            </a:lvl1pPr>
          </a:lstStyle>
          <a:p>
            <a:r>
              <a:rPr lang="en-US"/>
              <a:t>Click to edit Master title style</a:t>
            </a:r>
          </a:p>
        </p:txBody>
      </p:sp>
      <p:sp>
        <p:nvSpPr>
          <p:cNvPr id="7" name="Rectangle 6"/>
          <p:cNvSpPr/>
          <p:nvPr userDrawn="1"/>
        </p:nvSpPr>
        <p:spPr>
          <a:xfrm>
            <a:off x="-1" y="5278056"/>
            <a:ext cx="4143737" cy="1370394"/>
          </a:xfrm>
          <a:prstGeom prst="rect">
            <a:avLst/>
          </a:prstGeom>
          <a:solidFill>
            <a:srgbClr val="CCE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99005" y="0"/>
            <a:ext cx="2735580" cy="662940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27712" y="0"/>
            <a:ext cx="2735580" cy="6629400"/>
          </a:xfrm>
          <a:prstGeom prst="rect">
            <a:avLst/>
          </a:prstGeom>
        </p:spPr>
      </p:pic>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flipH="1">
            <a:off x="9456420" y="0"/>
            <a:ext cx="2735580" cy="6629400"/>
          </a:xfrm>
          <a:prstGeom prst="rect">
            <a:avLst/>
          </a:prstGeom>
        </p:spPr>
      </p:pic>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b="-16893"/>
          <a:stretch/>
        </p:blipFill>
        <p:spPr>
          <a:xfrm>
            <a:off x="559975" y="410737"/>
            <a:ext cx="2949552" cy="549962"/>
          </a:xfrm>
          <a:prstGeom prst="rect">
            <a:avLst/>
          </a:prstGeom>
        </p:spPr>
      </p:pic>
      <p:sp>
        <p:nvSpPr>
          <p:cNvPr id="12" name="Rectangle 11"/>
          <p:cNvSpPr/>
          <p:nvPr userDrawn="1"/>
        </p:nvSpPr>
        <p:spPr>
          <a:xfrm>
            <a:off x="3715474" y="4676173"/>
            <a:ext cx="3014892" cy="868099"/>
          </a:xfrm>
          <a:prstGeom prst="rect">
            <a:avLst/>
          </a:prstGeom>
          <a:solidFill>
            <a:srgbClr val="AC70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6728460" y="4676173"/>
            <a:ext cx="2727960" cy="868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9456421" y="4676173"/>
            <a:ext cx="2735580" cy="868099"/>
          </a:xfrm>
          <a:prstGeom prst="rect">
            <a:avLst/>
          </a:prstGeom>
          <a:solidFill>
            <a:srgbClr val="1B7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p:cNvSpPr/>
          <p:nvPr userDrawn="1"/>
        </p:nvSpPr>
        <p:spPr>
          <a:xfrm>
            <a:off x="1" y="4676173"/>
            <a:ext cx="4305299" cy="868680"/>
          </a:xfrm>
          <a:prstGeom prst="homePlate">
            <a:avLst>
              <a:gd name="adj" fmla="val 34465"/>
            </a:avLst>
          </a:prstGeom>
          <a:solidFill>
            <a:srgbClr val="117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userDrawn="1"/>
        </p:nvSpPr>
        <p:spPr>
          <a:xfrm>
            <a:off x="471055" y="4817835"/>
            <a:ext cx="2891258" cy="584775"/>
          </a:xfrm>
          <a:prstGeom prst="rect">
            <a:avLst/>
          </a:prstGeom>
          <a:noFill/>
        </p:spPr>
        <p:txBody>
          <a:bodyPr wrap="square" rtlCol="0">
            <a:spAutoFit/>
          </a:bodyPr>
          <a:lstStyle/>
          <a:p>
            <a:r>
              <a:rPr lang="en-US" sz="1600" b="1">
                <a:solidFill>
                  <a:srgbClr val="9BCABF"/>
                </a:solidFill>
              </a:rPr>
              <a:t>Delivering solutions, </a:t>
            </a:r>
            <a:r>
              <a:rPr lang="en-US" sz="1600" b="1">
                <a:solidFill>
                  <a:schemeClr val="bg1"/>
                </a:solidFill>
              </a:rPr>
              <a:t>shaping the futur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userDrawn="1"/>
        </p:nvSpPr>
        <p:spPr>
          <a:xfrm>
            <a:off x="4525701" y="4925556"/>
            <a:ext cx="1922321" cy="369332"/>
          </a:xfrm>
          <a:prstGeom prst="rect">
            <a:avLst/>
          </a:prstGeom>
          <a:noFill/>
        </p:spPr>
        <p:txBody>
          <a:bodyPr wrap="none" rtlCol="0">
            <a:spAutoFit/>
          </a:bodyPr>
          <a:lstStyle/>
          <a:p>
            <a:r>
              <a:rPr lang="en-US" b="1">
                <a:solidFill>
                  <a:schemeClr val="bg1"/>
                </a:solidFill>
              </a:rPr>
              <a:t>Beauty + Health</a:t>
            </a:r>
          </a:p>
        </p:txBody>
      </p:sp>
      <p:sp>
        <p:nvSpPr>
          <p:cNvPr id="19" name="TextBox 18"/>
          <p:cNvSpPr txBox="1"/>
          <p:nvPr userDrawn="1"/>
        </p:nvSpPr>
        <p:spPr>
          <a:xfrm>
            <a:off x="7065650" y="4925556"/>
            <a:ext cx="2050561" cy="369332"/>
          </a:xfrm>
          <a:prstGeom prst="rect">
            <a:avLst/>
          </a:prstGeom>
          <a:noFill/>
        </p:spPr>
        <p:txBody>
          <a:bodyPr wrap="none" rtlCol="0">
            <a:spAutoFit/>
          </a:bodyPr>
          <a:lstStyle/>
          <a:p>
            <a:r>
              <a:rPr lang="en-US" b="1">
                <a:solidFill>
                  <a:schemeClr val="bg1"/>
                </a:solidFill>
              </a:rPr>
              <a:t>Food + Beverage</a:t>
            </a:r>
          </a:p>
        </p:txBody>
      </p:sp>
      <p:sp>
        <p:nvSpPr>
          <p:cNvPr id="20" name="TextBox 19"/>
          <p:cNvSpPr txBox="1"/>
          <p:nvPr userDrawn="1"/>
        </p:nvSpPr>
        <p:spPr>
          <a:xfrm>
            <a:off x="10314746" y="4925556"/>
            <a:ext cx="1031051" cy="369332"/>
          </a:xfrm>
          <a:prstGeom prst="rect">
            <a:avLst/>
          </a:prstGeom>
          <a:noFill/>
        </p:spPr>
        <p:txBody>
          <a:bodyPr wrap="none" rtlCol="0">
            <a:spAutoFit/>
          </a:bodyPr>
          <a:lstStyle/>
          <a:p>
            <a:r>
              <a:rPr lang="en-US" b="1">
                <a:solidFill>
                  <a:schemeClr val="bg1"/>
                </a:solidFill>
              </a:rPr>
              <a:t>Pharma</a:t>
            </a:r>
          </a:p>
        </p:txBody>
      </p:sp>
      <p:sp>
        <p:nvSpPr>
          <p:cNvPr id="3" name="Subtitle 2"/>
          <p:cNvSpPr>
            <a:spLocks noGrp="1"/>
          </p:cNvSpPr>
          <p:nvPr>
            <p:ph type="subTitle" idx="1"/>
          </p:nvPr>
        </p:nvSpPr>
        <p:spPr>
          <a:xfrm>
            <a:off x="472995" y="3509818"/>
            <a:ext cx="3147660" cy="739053"/>
          </a:xfrm>
        </p:spPr>
        <p:txBody>
          <a:bodyPr>
            <a:normAutofit/>
          </a:bodyPr>
          <a:lstStyle>
            <a:lvl1pPr marL="0" indent="0" algn="l">
              <a:spcBef>
                <a:spcPts val="4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01564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086" y="325521"/>
            <a:ext cx="9217152" cy="548640"/>
          </a:xfrm>
        </p:spPr>
        <p:txBody>
          <a:bodyPr/>
          <a:lstStyle/>
          <a:p>
            <a:r>
              <a:rPr lang="en-US"/>
              <a:t>Click to edit Master title style</a:t>
            </a:r>
          </a:p>
        </p:txBody>
      </p:sp>
      <p:sp>
        <p:nvSpPr>
          <p:cNvPr id="3" name="Text Placeholder 2"/>
          <p:cNvSpPr>
            <a:spLocks noGrp="1"/>
          </p:cNvSpPr>
          <p:nvPr>
            <p:ph type="body" idx="1"/>
          </p:nvPr>
        </p:nvSpPr>
        <p:spPr>
          <a:xfrm>
            <a:off x="365085"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65085"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5534"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5534"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A75AEF7-7CA2-4665-9348-32CCD499C383}" type="slidenum">
              <a:rPr lang="en-US" smtClean="0"/>
              <a:t>‹#›</a:t>
            </a:fld>
            <a:endParaRPr lang="en-US"/>
          </a:p>
        </p:txBody>
      </p:sp>
      <p:sp>
        <p:nvSpPr>
          <p:cNvPr id="13"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15999647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31163310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head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25695372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9213"/>
            <a:ext cx="12188952" cy="4471821"/>
          </a:xfrm>
          <a:prstGeom prst="rect">
            <a:avLst/>
          </a:prstGeom>
        </p:spPr>
      </p:pic>
      <p:sp>
        <p:nvSpPr>
          <p:cNvPr id="10" name="Rectangle 9"/>
          <p:cNvSpPr/>
          <p:nvPr userDrawn="1"/>
        </p:nvSpPr>
        <p:spPr>
          <a:xfrm>
            <a:off x="0" y="1339213"/>
            <a:ext cx="12192000" cy="4470400"/>
          </a:xfrm>
          <a:prstGeom prst="rect">
            <a:avLst/>
          </a:prstGeom>
          <a:solidFill>
            <a:schemeClr val="bg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9741" y="2697250"/>
            <a:ext cx="10515600" cy="1754326"/>
          </a:xfrm>
        </p:spPr>
        <p:txBody>
          <a:bodyPr anchor="ctr" anchorCtr="0">
            <a:noAutofit/>
          </a:bodyPr>
          <a:lstStyle>
            <a:lvl1pPr>
              <a:defRPr sz="4000">
                <a:solidFill>
                  <a:schemeClr val="bg1"/>
                </a:solidFill>
              </a:defRPr>
            </a:lvl1pPr>
          </a:lstStyle>
          <a:p>
            <a:r>
              <a:rPr lang="en-US"/>
              <a:t>Click to edit Divider</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42937225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9213"/>
            <a:ext cx="12188952" cy="4471821"/>
          </a:xfrm>
          <a:prstGeom prst="rect">
            <a:avLst/>
          </a:prstGeom>
        </p:spPr>
      </p:pic>
      <p:sp>
        <p:nvSpPr>
          <p:cNvPr id="7" name="Rectangle 6"/>
          <p:cNvSpPr/>
          <p:nvPr userDrawn="1"/>
        </p:nvSpPr>
        <p:spPr>
          <a:xfrm>
            <a:off x="0" y="1339213"/>
            <a:ext cx="12192000" cy="4470400"/>
          </a:xfrm>
          <a:prstGeom prst="rect">
            <a:avLst/>
          </a:prstGeom>
          <a:solidFill>
            <a:srgbClr val="4A4A4A">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9741" y="2697250"/>
            <a:ext cx="10515600" cy="1754326"/>
          </a:xfrm>
        </p:spPr>
        <p:txBody>
          <a:bodyPr anchor="ctr" anchorCtr="0">
            <a:noAutofit/>
          </a:bodyPr>
          <a:lstStyle>
            <a:lvl1pPr>
              <a:defRPr sz="4000">
                <a:solidFill>
                  <a:schemeClr val="bg1"/>
                </a:solidFill>
              </a:defRPr>
            </a:lvl1pPr>
          </a:lstStyle>
          <a:p>
            <a:r>
              <a:rPr lang="en-US"/>
              <a:t>Click to edit Divider</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34867575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9213"/>
            <a:ext cx="12188952" cy="4471821"/>
          </a:xfrm>
          <a:prstGeom prst="rect">
            <a:avLst/>
          </a:prstGeom>
        </p:spPr>
      </p:pic>
      <p:sp>
        <p:nvSpPr>
          <p:cNvPr id="9" name="Rectangle 8"/>
          <p:cNvSpPr/>
          <p:nvPr userDrawn="1"/>
        </p:nvSpPr>
        <p:spPr>
          <a:xfrm>
            <a:off x="0" y="1339213"/>
            <a:ext cx="12191999" cy="44714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9741" y="2697250"/>
            <a:ext cx="10515600" cy="1754326"/>
          </a:xfrm>
        </p:spPr>
        <p:txBody>
          <a:bodyPr anchor="ctr" anchorCtr="0">
            <a:noAutofit/>
          </a:bodyPr>
          <a:lstStyle>
            <a:lvl1pPr>
              <a:defRPr sz="4000">
                <a:solidFill>
                  <a:schemeClr val="tx1"/>
                </a:solidFill>
              </a:defRPr>
            </a:lvl1pPr>
          </a:lstStyle>
          <a:p>
            <a:r>
              <a:rPr lang="en-US"/>
              <a:t>Click to edit Divider</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2801023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27114699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086" y="325521"/>
            <a:ext cx="9217152" cy="548640"/>
          </a:xfrm>
        </p:spPr>
        <p:txBody>
          <a:bodyPr/>
          <a:lstStyle/>
          <a:p>
            <a:r>
              <a:rPr lang="en-US"/>
              <a:t>Click to edit Master title style</a:t>
            </a:r>
          </a:p>
        </p:txBody>
      </p:sp>
      <p:sp>
        <p:nvSpPr>
          <p:cNvPr id="3" name="Text Placeholder 2"/>
          <p:cNvSpPr>
            <a:spLocks noGrp="1"/>
          </p:cNvSpPr>
          <p:nvPr>
            <p:ph type="body" idx="1"/>
          </p:nvPr>
        </p:nvSpPr>
        <p:spPr>
          <a:xfrm>
            <a:off x="365085"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65085"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5534"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5534"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A75AEF7-7CA2-4665-9348-32CCD499C383}" type="slidenum">
              <a:rPr lang="en-US" smtClean="0"/>
              <a:t>‹#›</a:t>
            </a:fld>
            <a:endParaRPr lang="en-US"/>
          </a:p>
        </p:txBody>
      </p:sp>
      <p:sp>
        <p:nvSpPr>
          <p:cNvPr id="13"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40642612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4226016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14750723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62083-5F31-4FDC-8980-7309A0A093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1F36CD-C992-49AB-852F-4F59CD5B59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023FFD-A3C7-4CAD-9A63-D5E225D12A37}"/>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5" name="Footer Placeholder 4">
            <a:extLst>
              <a:ext uri="{FF2B5EF4-FFF2-40B4-BE49-F238E27FC236}">
                <a16:creationId xmlns:a16="http://schemas.microsoft.com/office/drawing/2014/main" id="{69AC118E-566A-4619-82E1-46129B0412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13F52E-A35D-4520-9F38-6F6A379D1D53}"/>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804560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19472306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F314B-F652-4B45-AE41-313C09977E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D1CEEE-DACB-4917-8F72-848C48955A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CB6615-0032-4A0E-B662-41F671EBAB06}"/>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5" name="Footer Placeholder 4">
            <a:extLst>
              <a:ext uri="{FF2B5EF4-FFF2-40B4-BE49-F238E27FC236}">
                <a16:creationId xmlns:a16="http://schemas.microsoft.com/office/drawing/2014/main" id="{0EE819F8-C6DD-41A1-BDCE-46CA9A840F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CDDFBC-FD73-4900-B334-6E4C48DCC1A6}"/>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3804542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09095-DE27-48DF-A3CD-2508E0D9B8C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FA23697-0034-4CD0-8E7C-0BC3061226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C0B3B9-7652-4716-97D2-B36E41D9689F}"/>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5" name="Footer Placeholder 4">
            <a:extLst>
              <a:ext uri="{FF2B5EF4-FFF2-40B4-BE49-F238E27FC236}">
                <a16:creationId xmlns:a16="http://schemas.microsoft.com/office/drawing/2014/main" id="{B8778DE6-6149-4196-8DFD-7599C1063C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CBBC3-0085-4A3F-8E9A-613ED2B99909}"/>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0928381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9EFDD-7717-4204-81BD-A6D6BAD7B8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CF0009-58DD-4079-9B3C-BD079DAE85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EE39FB-F64A-4880-B632-6CD765EB98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8C4BE66-6B27-4DE1-8C47-D50682C3BAB0}"/>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6" name="Footer Placeholder 5">
            <a:extLst>
              <a:ext uri="{FF2B5EF4-FFF2-40B4-BE49-F238E27FC236}">
                <a16:creationId xmlns:a16="http://schemas.microsoft.com/office/drawing/2014/main" id="{7C0440A6-CB5C-4C1D-8AD0-6568663276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010A57-DCC5-4FEC-8BB1-9D42C9F0A4E6}"/>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5976291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F8D4B-D18E-4ED3-B4DB-022B134F52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2BA22B3-0307-462D-A868-6221FB3B0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EDC494-670C-443F-8711-F3780E1DE9A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6824ECE-C76C-4FCB-92E0-1C2E9D15C2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02D52A-2A84-4DD3-B783-0D32E7D60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B25FA96-A919-4155-94B6-46A6A8A0A71C}"/>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8" name="Footer Placeholder 7">
            <a:extLst>
              <a:ext uri="{FF2B5EF4-FFF2-40B4-BE49-F238E27FC236}">
                <a16:creationId xmlns:a16="http://schemas.microsoft.com/office/drawing/2014/main" id="{7368C4C3-9944-4C2D-B85B-C45022570F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B1FA96-18DC-4D29-8AF7-2DFA416B2B1E}"/>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6334241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D0419-286B-43CC-AC0B-157BCBFFA1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2D49505-0BBF-4A8F-847D-AEFFE66ECB14}"/>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4" name="Footer Placeholder 3">
            <a:extLst>
              <a:ext uri="{FF2B5EF4-FFF2-40B4-BE49-F238E27FC236}">
                <a16:creationId xmlns:a16="http://schemas.microsoft.com/office/drawing/2014/main" id="{188B44E7-5DDF-4066-A99B-AB8CAEA3E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2BF114-5EEA-4857-969A-0F0698B48AA3}"/>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25067473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032006-237E-4100-A719-127D675DDCB4}"/>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3" name="Footer Placeholder 2">
            <a:extLst>
              <a:ext uri="{FF2B5EF4-FFF2-40B4-BE49-F238E27FC236}">
                <a16:creationId xmlns:a16="http://schemas.microsoft.com/office/drawing/2014/main" id="{B0C24BDA-9082-40F3-888B-4D87EE080B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EEC799-EF64-408B-9DBE-25134DC1F306}"/>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560868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A3F52-1801-48CA-82A1-529ACECDCE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1975180-5DB5-4E62-B723-64ACC00B9B0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B995B8-0996-4EF3-8838-F5002916D8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C90BD4-0C86-4698-9322-F405EE9C0064}"/>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6" name="Footer Placeholder 5">
            <a:extLst>
              <a:ext uri="{FF2B5EF4-FFF2-40B4-BE49-F238E27FC236}">
                <a16:creationId xmlns:a16="http://schemas.microsoft.com/office/drawing/2014/main" id="{091D1D31-ADAD-4A3A-9C31-65A01AE327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24267E-BAFA-43AC-8EE4-C821B2B7FAA4}"/>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9316846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6DBE6-0ABD-48FE-BD1E-C02C4DEE8C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A6AFCA-B209-417F-8692-CC917D4EDA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BBACDB-4D7C-43BC-9527-8E459B9B5A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8CDEE1-BD0B-4899-A0D8-09F8067C9C50}"/>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6" name="Footer Placeholder 5">
            <a:extLst>
              <a:ext uri="{FF2B5EF4-FFF2-40B4-BE49-F238E27FC236}">
                <a16:creationId xmlns:a16="http://schemas.microsoft.com/office/drawing/2014/main" id="{654F0EE5-14EB-4CB8-9193-020C722A81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DA0965-8D7C-4831-9016-7E1A6B4FA424}"/>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8257081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D76F9-BE88-4205-8AC2-7CA83ED8EE5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B47CC4-2D90-4488-AC75-8E60966D1C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F3D12C-A70B-4705-A5EC-A439F3AE9B08}"/>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5" name="Footer Placeholder 4">
            <a:extLst>
              <a:ext uri="{FF2B5EF4-FFF2-40B4-BE49-F238E27FC236}">
                <a16:creationId xmlns:a16="http://schemas.microsoft.com/office/drawing/2014/main" id="{8EF1E06C-348B-4402-A972-9364F89BB0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47FF0E-A78B-4CD6-BB5F-A9486EC38C94}"/>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8567751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802101-98CF-467C-AF0E-635DB7D45D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74A4DD-43E8-4D12-845A-AA9B11AB294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E7A64A-35DE-4899-A2A7-D9F791422B53}"/>
              </a:ext>
            </a:extLst>
          </p:cNvPr>
          <p:cNvSpPr>
            <a:spLocks noGrp="1"/>
          </p:cNvSpPr>
          <p:nvPr>
            <p:ph type="dt" sz="half" idx="10"/>
          </p:nvPr>
        </p:nvSpPr>
        <p:spPr/>
        <p:txBody>
          <a:bodyPr/>
          <a:lstStyle/>
          <a:p>
            <a:fld id="{99199758-BE5A-415D-ACA9-0EE89FA19588}" type="datetimeFigureOut">
              <a:rPr lang="en-US" smtClean="0"/>
              <a:t>12/4/2025</a:t>
            </a:fld>
            <a:endParaRPr lang="en-US"/>
          </a:p>
        </p:txBody>
      </p:sp>
      <p:sp>
        <p:nvSpPr>
          <p:cNvPr id="5" name="Footer Placeholder 4">
            <a:extLst>
              <a:ext uri="{FF2B5EF4-FFF2-40B4-BE49-F238E27FC236}">
                <a16:creationId xmlns:a16="http://schemas.microsoft.com/office/drawing/2014/main" id="{F35550C6-7F6D-441E-9D66-745305978D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7DDED3-1299-4673-B7BC-E112A550E93C}"/>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3359181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_Title Only">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3044"/>
          <a:stretch/>
        </p:blipFill>
        <p:spPr>
          <a:xfrm>
            <a:off x="0" y="0"/>
            <a:ext cx="12200313" cy="657629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4801" y="358962"/>
            <a:ext cx="1418705" cy="385913"/>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1"/>
                </a:solidFill>
              </a:defRPr>
            </a:lvl1pPr>
          </a:lstStyle>
          <a:p>
            <a:pPr lvl="0"/>
            <a:r>
              <a:rPr lang="en-US" dirty="0"/>
              <a:t>Click to edit subtitle styles</a:t>
            </a:r>
          </a:p>
        </p:txBody>
      </p:sp>
    </p:spTree>
    <p:extLst>
      <p:ext uri="{BB962C8B-B14F-4D97-AF65-F5344CB8AC3E}">
        <p14:creationId xmlns:p14="http://schemas.microsoft.com/office/powerpoint/2010/main" val="1961468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2.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11.emf"/><Relationship Id="rId5" Type="http://schemas.openxmlformats.org/officeDocument/2006/relationships/slideLayout" Target="../slideLayouts/slideLayout32.xml"/><Relationship Id="rId10" Type="http://schemas.openxmlformats.org/officeDocument/2006/relationships/oleObject" Target="../embeddings/oleObject1.bin"/><Relationship Id="rId4" Type="http://schemas.openxmlformats.org/officeDocument/2006/relationships/slideLayout" Target="../slideLayouts/slideLayout31.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13.jpeg"/><Relationship Id="rId4" Type="http://schemas.openxmlformats.org/officeDocument/2006/relationships/slideLayout" Target="../slideLayouts/slideLayout3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6" Type="http://schemas.openxmlformats.org/officeDocument/2006/relationships/image" Target="../media/image1.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5.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5.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6.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18.png"/><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7.jp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18.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17.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Placeholder 1"/>
          <p:cNvSpPr>
            <a:spLocks noGrp="1"/>
          </p:cNvSpPr>
          <p:nvPr>
            <p:ph type="title"/>
          </p:nvPr>
        </p:nvSpPr>
        <p:spPr>
          <a:xfrm>
            <a:off x="365086" y="360069"/>
            <a:ext cx="9213023" cy="480131"/>
          </a:xfrm>
          <a:prstGeom prst="rect">
            <a:avLst/>
          </a:prstGeom>
        </p:spPr>
        <p:txBody>
          <a:bodyPr vert="horz" lIns="91440" tIns="45720" rIns="91440" bIns="4572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365086" y="1530061"/>
            <a:ext cx="11457459" cy="48006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dirty="0"/>
          </a:p>
        </p:txBody>
      </p:sp>
      <p:pic>
        <p:nvPicPr>
          <p:cNvPr id="10" name="Picture 9"/>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740088921"/>
      </p:ext>
    </p:extLst>
  </p:cSld>
  <p:clrMap bg1="lt1" tx1="dk1" bg2="lt2" tx2="dk2" accent1="accent1" accent2="accent2" accent3="accent3" accent4="accent4" accent5="accent5" accent6="accent6" hlink="hlink" folHlink="folHlink"/>
  <p:sldLayoutIdLst>
    <p:sldLayoutId id="2147483665" r:id="rId1"/>
    <p:sldLayoutId id="2147483660" r:id="rId2"/>
    <p:sldLayoutId id="2147483650" r:id="rId3"/>
    <p:sldLayoutId id="2147483669" r:id="rId4"/>
    <p:sldLayoutId id="2147483673" r:id="rId5"/>
    <p:sldLayoutId id="2147483652" r:id="rId6"/>
    <p:sldLayoutId id="2147483653" r:id="rId7"/>
    <p:sldLayoutId id="2147483654" r:id="rId8"/>
    <p:sldLayoutId id="2147483670" r:id="rId9"/>
    <p:sldLayoutId id="2147483666" r:id="rId10"/>
    <p:sldLayoutId id="2147483667" r:id="rId11"/>
    <p:sldLayoutId id="2147483668" r:id="rId12"/>
    <p:sldLayoutId id="2147483672" r:id="rId13"/>
    <p:sldLayoutId id="2147483655" r:id="rId14"/>
    <p:sldLayoutId id="2147483788" r:id="rId15"/>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0D9FC23D-9038-41B6-8993-FCE15E6360A7}" type="datetime1">
              <a:rPr lang="en-US" smtClean="0"/>
              <a:t>12/4/2025</a:t>
            </a:fld>
            <a:endParaRPr lang="en-US" dirty="0"/>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36067957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8D9106-94F3-4389-81DF-C78DBD074814}"/>
              </a:ext>
            </a:extLst>
          </p:cNvPr>
          <p:cNvGraphicFramePr>
            <a:graphicFrameLocks noChangeAspect="1"/>
          </p:cNvGraphicFramePr>
          <p:nvPr userDrawn="1">
            <p:custDataLst>
              <p:tags r:id="rId9"/>
            </p:custDataLst>
            <p:extLst>
              <p:ext uri="{D42A27DB-BD31-4B8C-83A1-F6EECF244321}">
                <p14:modId xmlns:p14="http://schemas.microsoft.com/office/powerpoint/2010/main" val="314087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5" name="Object 4" hidden="1">
                        <a:extLst>
                          <a:ext uri="{FF2B5EF4-FFF2-40B4-BE49-F238E27FC236}">
                            <a16:creationId xmlns:a16="http://schemas.microsoft.com/office/drawing/2014/main" id="{D38D9106-94F3-4389-81DF-C78DBD07481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9BCABF"/>
              </a:solidFill>
            </a:endParaRPr>
          </a:p>
        </p:txBody>
      </p:sp>
      <p:sp>
        <p:nvSpPr>
          <p:cNvPr id="2" name="Title Placeholder 1"/>
          <p:cNvSpPr>
            <a:spLocks noGrp="1"/>
          </p:cNvSpPr>
          <p:nvPr>
            <p:ph type="title"/>
          </p:nvPr>
        </p:nvSpPr>
        <p:spPr>
          <a:xfrm>
            <a:off x="365086" y="325521"/>
            <a:ext cx="9213023" cy="549228"/>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365086" y="1530061"/>
            <a:ext cx="11457459" cy="4576449"/>
          </a:xfrm>
          <a:prstGeom prst="rect">
            <a:avLst/>
          </a:prstGeom>
        </p:spPr>
        <p:txBody>
          <a:bodyPr vert="horz" lIns="91440" tIns="45720" rIns="91440" bIns="45720" rtlCol="0">
            <a:normAutofit/>
          </a:bodyPr>
          <a:lstStyle/>
          <a:p>
            <a:pPr lvl="0"/>
            <a:r>
              <a:rPr lang="en-US" dirty="0"/>
              <a:t>Click to edit Master text styles</a:t>
            </a:r>
          </a:p>
          <a:p>
            <a:pPr lvl="1"/>
            <a:r>
              <a:rPr lang="en-US"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dirty="0"/>
          </a:p>
        </p:txBody>
      </p:sp>
      <p:pic>
        <p:nvPicPr>
          <p:cNvPr id="10" name="Picture 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60179" y="360217"/>
            <a:ext cx="1408085" cy="392655"/>
          </a:xfrm>
          <a:prstGeom prst="rect">
            <a:avLst/>
          </a:prstGeom>
        </p:spPr>
      </p:pic>
      <p:sp>
        <p:nvSpPr>
          <p:cNvPr id="11" name="TextBox 7">
            <a:extLst>
              <a:ext uri="{FF2B5EF4-FFF2-40B4-BE49-F238E27FC236}">
                <a16:creationId xmlns:a16="http://schemas.microsoft.com/office/drawing/2014/main" id="{4FFB704F-D7AD-4AF4-B92E-88BBB8B5535B}"/>
              </a:ext>
            </a:extLst>
          </p:cNvPr>
          <p:cNvSpPr txBox="1"/>
          <p:nvPr userDrawn="1"/>
        </p:nvSpPr>
        <p:spPr>
          <a:xfrm>
            <a:off x="5295899" y="6584483"/>
            <a:ext cx="1600203" cy="261611"/>
          </a:xfrm>
          <a:prstGeom prst="rect">
            <a:avLst/>
          </a:prstGeom>
          <a:noFill/>
        </p:spPr>
        <p:txBody>
          <a:bodyPr wrap="square" rtlCol="0">
            <a:spAutoFit/>
          </a:bodyPr>
          <a:lstStyle/>
          <a:p>
            <a:pPr algn="ctr"/>
            <a:r>
              <a:rPr lang="en-GB" sz="1100" b="0" dirty="0">
                <a:solidFill>
                  <a:schemeClr val="bg1"/>
                </a:solidFill>
              </a:rPr>
              <a:t>Confidential</a:t>
            </a:r>
            <a:endParaRPr lang="en-US" sz="1100" b="0" dirty="0">
              <a:solidFill>
                <a:schemeClr val="bg1"/>
              </a:solidFill>
            </a:endParaRPr>
          </a:p>
        </p:txBody>
      </p:sp>
    </p:spTree>
    <p:extLst>
      <p:ext uri="{BB962C8B-B14F-4D97-AF65-F5344CB8AC3E}">
        <p14:creationId xmlns:p14="http://schemas.microsoft.com/office/powerpoint/2010/main" val="334265383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79400" indent="-285750" algn="l" defTabSz="914400" rtl="0" eaLnBrk="1" latinLnBrk="0" hangingPunct="1">
        <a:lnSpc>
          <a:spcPct val="100000"/>
        </a:lnSpc>
        <a:spcBef>
          <a:spcPts val="600"/>
        </a:spcBef>
        <a:buClr>
          <a:schemeClr val="accent1"/>
        </a:buClr>
        <a:buSzPct val="80000"/>
        <a:buFont typeface="Wingdings" panose="05000000000000000000" pitchFamily="2" charset="2"/>
        <a:buChar char="l"/>
        <a:defRPr sz="2800" kern="1200">
          <a:solidFill>
            <a:schemeClr val="tx1"/>
          </a:solidFill>
          <a:latin typeface="+mn-lt"/>
          <a:ea typeface="+mn-ea"/>
          <a:cs typeface="+mn-cs"/>
        </a:defRPr>
      </a:lvl1pPr>
      <a:lvl2pPr marL="482600" indent="-184150" algn="l" defTabSz="914400" rtl="0" eaLnBrk="1" latinLnBrk="0" hangingPunct="1">
        <a:lnSpc>
          <a:spcPct val="100000"/>
        </a:lnSpc>
        <a:spcBef>
          <a:spcPts val="400"/>
        </a:spcBef>
        <a:buClr>
          <a:srgbClr val="7F7F7F"/>
        </a:buClr>
        <a:buSzPct val="100000"/>
        <a:buFont typeface="Webdings" panose="05030102010509060703" pitchFamily="18" charset="2"/>
        <a:buChar char="4"/>
        <a:defRPr sz="2400" kern="1200">
          <a:solidFill>
            <a:schemeClr val="tx1"/>
          </a:solidFill>
          <a:latin typeface="+mn-lt"/>
          <a:ea typeface="+mn-ea"/>
          <a:cs typeface="+mn-cs"/>
        </a:defRPr>
      </a:lvl2pPr>
      <a:lvl3pPr marL="810006" indent="-184150" algn="l" defTabSz="914400" rtl="0" eaLnBrk="1" latinLnBrk="0" hangingPunct="1">
        <a:lnSpc>
          <a:spcPct val="100000"/>
        </a:lnSpc>
        <a:spcBef>
          <a:spcPts val="300"/>
        </a:spcBef>
        <a:buClr>
          <a:schemeClr val="accent1"/>
        </a:buClr>
        <a:buSzPct val="100000"/>
        <a:buFont typeface="Wingdings" panose="05000000000000000000" pitchFamily="2" charset="2"/>
        <a:buChar char="ú"/>
        <a:defRPr sz="2000" kern="1200">
          <a:solidFill>
            <a:schemeClr val="tx1"/>
          </a:solidFill>
          <a:latin typeface="+mn-lt"/>
          <a:ea typeface="+mn-ea"/>
          <a:cs typeface="+mn-cs"/>
        </a:defRPr>
      </a:lvl3pPr>
      <a:lvl4pPr marL="810006" indent="-184150" algn="l" defTabSz="914400" rtl="0" eaLnBrk="1" latinLnBrk="0" hangingPunct="1">
        <a:lnSpc>
          <a:spcPct val="100000"/>
        </a:lnSpc>
        <a:spcBef>
          <a:spcPts val="300"/>
        </a:spcBef>
        <a:buClr>
          <a:schemeClr val="accent1"/>
        </a:buClr>
        <a:buSzPct val="100000"/>
        <a:buFont typeface="Wingdings" panose="05000000000000000000" pitchFamily="2" charset="2"/>
        <a:buChar char="ú"/>
        <a:defRPr sz="1800" kern="1200">
          <a:solidFill>
            <a:schemeClr val="tx1"/>
          </a:solidFill>
          <a:latin typeface="+mn-lt"/>
          <a:ea typeface="+mn-ea"/>
          <a:cs typeface="+mn-cs"/>
        </a:defRPr>
      </a:lvl4pPr>
      <a:lvl5pPr marL="810006" indent="-184150" algn="l" defTabSz="914400" rtl="0" eaLnBrk="1" latinLnBrk="0" hangingPunct="1">
        <a:lnSpc>
          <a:spcPct val="100000"/>
        </a:lnSpc>
        <a:spcBef>
          <a:spcPts val="300"/>
        </a:spcBef>
        <a:buClr>
          <a:schemeClr val="accent1"/>
        </a:buClr>
        <a:buSzPct val="100000"/>
        <a:buFont typeface="Wingdings" panose="05000000000000000000" pitchFamily="2" charset="2"/>
        <a:buChar char="ú"/>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116632"/>
            <a:ext cx="8366720" cy="634082"/>
          </a:xfrm>
          <a:prstGeom prst="rect">
            <a:avLst/>
          </a:prstGeom>
        </p:spPr>
        <p:txBody>
          <a:bodyPr vert="horz" lIns="91440" tIns="45720" rIns="91440" bIns="45720" rtlCol="0" anchor="ctr">
            <a:normAutofit/>
          </a:bodyPr>
          <a:lstStyle/>
          <a:p>
            <a:endParaRPr lang="en-US" noProof="0" dirty="0"/>
          </a:p>
        </p:txBody>
      </p:sp>
      <p:sp>
        <p:nvSpPr>
          <p:cNvPr id="3" name="Segnaposto testo 2"/>
          <p:cNvSpPr>
            <a:spLocks noGrp="1"/>
          </p:cNvSpPr>
          <p:nvPr>
            <p:ph type="body" idx="1"/>
          </p:nvPr>
        </p:nvSpPr>
        <p:spPr>
          <a:xfrm>
            <a:off x="609600" y="1124745"/>
            <a:ext cx="10972800" cy="5001419"/>
          </a:xfrm>
          <a:prstGeom prst="rect">
            <a:avLst/>
          </a:prstGeom>
        </p:spPr>
        <p:txBody>
          <a:bodyPr vert="horz" lIns="91440" tIns="45720" rIns="91440" bIns="45720" rtlCol="0">
            <a:normAutofit/>
          </a:bodyPr>
          <a:lstStyle/>
          <a:p>
            <a:pPr lvl="0"/>
            <a:endParaRPr lang="en-US" dirty="0"/>
          </a:p>
        </p:txBody>
      </p:sp>
      <p:sp>
        <p:nvSpPr>
          <p:cNvPr id="5" name="Segnaposto piè di pagina 4"/>
          <p:cNvSpPr>
            <a:spLocks noGrp="1"/>
          </p:cNvSpPr>
          <p:nvPr>
            <p:ph type="ftr" sz="quarter" idx="3"/>
          </p:nvPr>
        </p:nvSpPr>
        <p:spPr>
          <a:xfrm>
            <a:off x="623392" y="6356351"/>
            <a:ext cx="7872875" cy="365125"/>
          </a:xfrm>
          <a:prstGeom prst="rect">
            <a:avLst/>
          </a:prstGeom>
        </p:spPr>
        <p:txBody>
          <a:bodyPr vert="horz" lIns="91440" tIns="45720" rIns="91440" bIns="45720" rtlCol="0" anchor="ctr"/>
          <a:lstStyle>
            <a:lvl1pPr algn="l">
              <a:defRPr sz="1000" i="1">
                <a:solidFill>
                  <a:srgbClr val="808183"/>
                </a:solidFill>
                <a:latin typeface="Helvetica" pitchFamily="34" charset="0"/>
              </a:defRPr>
            </a:lvl1pPr>
          </a:lstStyle>
          <a:p>
            <a:r>
              <a:rPr lang="en-US"/>
              <a:t>Aptar IS New Organization – March 2019</a:t>
            </a:r>
            <a:endParaRPr lang="en-US" dirty="0"/>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rgbClr val="808183"/>
                </a:solidFill>
                <a:latin typeface="Helvetica" pitchFamily="34" charset="0"/>
              </a:defRPr>
            </a:lvl1pPr>
          </a:lstStyle>
          <a:p>
            <a:fld id="{F56E6D05-F7FE-4190-9CD5-2FB80430E5E8}" type="slidenum">
              <a:rPr lang="en-US" smtClean="0"/>
              <a:pPr/>
              <a:t>‹#›</a:t>
            </a:fld>
            <a:endParaRPr lang="en-US" dirty="0"/>
          </a:p>
        </p:txBody>
      </p:sp>
      <p:sp>
        <p:nvSpPr>
          <p:cNvPr id="8" name="Rectangle 9"/>
          <p:cNvSpPr>
            <a:spLocks noChangeArrowheads="1"/>
          </p:cNvSpPr>
          <p:nvPr userDrawn="1"/>
        </p:nvSpPr>
        <p:spPr bwMode="auto">
          <a:xfrm flipV="1">
            <a:off x="572222" y="908721"/>
            <a:ext cx="11092397" cy="45719"/>
          </a:xfrm>
          <a:prstGeom prst="rect">
            <a:avLst/>
          </a:prstGeom>
          <a:gradFill rotWithShape="1">
            <a:gsLst>
              <a:gs pos="0">
                <a:srgbClr val="34715A"/>
              </a:gs>
              <a:gs pos="100000">
                <a:srgbClr val="DEE5F4"/>
              </a:gs>
            </a:gsLst>
            <a:lin ang="10800000" scaled="1"/>
          </a:gradFill>
          <a:ln w="25400" algn="ctr">
            <a:noFill/>
            <a:miter lim="800000"/>
            <a:headEnd/>
            <a:tailEnd/>
          </a:ln>
        </p:spPr>
        <p:txBody>
          <a:bodyPr anchor="ctr"/>
          <a:lstStyle/>
          <a:p>
            <a:pPr fontAlgn="auto">
              <a:spcBef>
                <a:spcPts val="0"/>
              </a:spcBef>
              <a:spcAft>
                <a:spcPts val="0"/>
              </a:spcAft>
              <a:defRPr/>
            </a:pPr>
            <a:endParaRPr lang="en-US" sz="1800" dirty="0">
              <a:solidFill>
                <a:schemeClr val="lt1"/>
              </a:solidFill>
              <a:latin typeface="+mn-lt"/>
            </a:endParaRPr>
          </a:p>
        </p:txBody>
      </p:sp>
      <p:sp>
        <p:nvSpPr>
          <p:cNvPr id="9" name="Rectangle 9"/>
          <p:cNvSpPr>
            <a:spLocks noChangeArrowheads="1"/>
          </p:cNvSpPr>
          <p:nvPr userDrawn="1"/>
        </p:nvSpPr>
        <p:spPr bwMode="auto">
          <a:xfrm flipV="1">
            <a:off x="572222" y="6237313"/>
            <a:ext cx="11092397" cy="45719"/>
          </a:xfrm>
          <a:prstGeom prst="rect">
            <a:avLst/>
          </a:prstGeom>
          <a:gradFill rotWithShape="1">
            <a:gsLst>
              <a:gs pos="0">
                <a:srgbClr val="34715A"/>
              </a:gs>
              <a:gs pos="100000">
                <a:srgbClr val="DEE5F4"/>
              </a:gs>
            </a:gsLst>
            <a:lin ang="10800000" scaled="1"/>
          </a:gradFill>
          <a:ln w="25400" algn="ctr">
            <a:noFill/>
            <a:miter lim="800000"/>
            <a:headEnd/>
            <a:tailEnd/>
          </a:ln>
        </p:spPr>
        <p:txBody>
          <a:bodyPr anchor="ctr"/>
          <a:lstStyle/>
          <a:p>
            <a:pPr fontAlgn="auto">
              <a:spcBef>
                <a:spcPts val="0"/>
              </a:spcBef>
              <a:spcAft>
                <a:spcPts val="0"/>
              </a:spcAft>
              <a:defRPr/>
            </a:pPr>
            <a:endParaRPr lang="en-US" sz="1800" dirty="0">
              <a:solidFill>
                <a:schemeClr val="lt1"/>
              </a:solidFill>
              <a:latin typeface="+mn-lt"/>
            </a:endParaRPr>
          </a:p>
        </p:txBody>
      </p:sp>
      <p:pic>
        <p:nvPicPr>
          <p:cNvPr id="4" name="Picture 3"/>
          <p:cNvPicPr>
            <a:picLocks noChangeAspect="1"/>
          </p:cNvPicPr>
          <p:nvPr userDrawn="1"/>
        </p:nvPicPr>
        <p:blipFill rotWithShape="1">
          <a:blip r:embed="rId10" cstate="print">
            <a:extLst>
              <a:ext uri="{28A0092B-C50C-407E-A947-70E740481C1C}">
                <a14:useLocalDpi xmlns:a14="http://schemas.microsoft.com/office/drawing/2010/main" val="0"/>
              </a:ext>
            </a:extLst>
          </a:blip>
          <a:srcRect t="14289" b="14265"/>
          <a:stretch/>
        </p:blipFill>
        <p:spPr>
          <a:xfrm>
            <a:off x="8988941" y="142920"/>
            <a:ext cx="2695091" cy="621784"/>
          </a:xfrm>
          <a:prstGeom prst="rect">
            <a:avLst/>
          </a:prstGeom>
        </p:spPr>
      </p:pic>
    </p:spTree>
    <p:extLst>
      <p:ext uri="{BB962C8B-B14F-4D97-AF65-F5344CB8AC3E}">
        <p14:creationId xmlns:p14="http://schemas.microsoft.com/office/powerpoint/2010/main" val="82832103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dt="0"/>
  <p:txStyles>
    <p:titleStyle>
      <a:lvl1pPr algn="l" defTabSz="914400" rtl="0" eaLnBrk="1" latinLnBrk="0" hangingPunct="1">
        <a:spcBef>
          <a:spcPct val="0"/>
        </a:spcBef>
        <a:buNone/>
        <a:defRPr sz="2400" kern="1200">
          <a:solidFill>
            <a:srgbClr val="34715A"/>
          </a:solidFill>
          <a:latin typeface="Helvetica" pitchFamily="34" charset="0"/>
          <a:ea typeface="+mj-ea"/>
          <a:cs typeface="+mj-cs"/>
        </a:defRPr>
      </a:lvl1pPr>
    </p:titleStyle>
    <p:bodyStyle>
      <a:lvl1pPr marL="0" indent="0" algn="l" defTabSz="914400" rtl="0" eaLnBrk="1" latinLnBrk="0" hangingPunct="1">
        <a:spcBef>
          <a:spcPct val="20000"/>
        </a:spcBef>
        <a:buClr>
          <a:srgbClr val="34715A"/>
        </a:buClr>
        <a:buFont typeface="Wingdings" pitchFamily="2" charset="2"/>
        <a:buNone/>
        <a:defRPr sz="2200" kern="1200">
          <a:solidFill>
            <a:srgbClr val="808183"/>
          </a:solidFill>
          <a:latin typeface="Helvetica" pitchFamily="34" charset="0"/>
          <a:ea typeface="+mn-ea"/>
          <a:cs typeface="+mn-cs"/>
        </a:defRPr>
      </a:lvl1pPr>
      <a:lvl2pPr marL="742950" indent="-285750" algn="l" defTabSz="914400" rtl="0" eaLnBrk="1" latinLnBrk="0" hangingPunct="1">
        <a:spcBef>
          <a:spcPct val="20000"/>
        </a:spcBef>
        <a:buClr>
          <a:srgbClr val="34715A"/>
        </a:buClr>
        <a:buSzPct val="90000"/>
        <a:buFont typeface="Wingdings" pitchFamily="2" charset="2"/>
        <a:buChar char=""/>
        <a:defRPr sz="2000" kern="1200">
          <a:solidFill>
            <a:srgbClr val="808183"/>
          </a:solidFill>
          <a:latin typeface="Helvetica" pitchFamily="34" charset="0"/>
          <a:ea typeface="+mn-ea"/>
          <a:cs typeface="+mn-cs"/>
        </a:defRPr>
      </a:lvl2pPr>
      <a:lvl3pPr marL="1143000" indent="-228600" algn="l" defTabSz="914400" rtl="0" eaLnBrk="1" latinLnBrk="0" hangingPunct="1">
        <a:spcBef>
          <a:spcPct val="20000"/>
        </a:spcBef>
        <a:buClr>
          <a:srgbClr val="34715A"/>
        </a:buClr>
        <a:buSzPct val="90000"/>
        <a:buFont typeface="Wingdings" pitchFamily="2" charset="2"/>
        <a:buChar char="q"/>
        <a:defRPr sz="1800" kern="1200">
          <a:solidFill>
            <a:srgbClr val="808183"/>
          </a:solidFill>
          <a:latin typeface="Helvetica" pitchFamily="34" charset="0"/>
          <a:ea typeface="+mn-ea"/>
          <a:cs typeface="+mn-cs"/>
        </a:defRPr>
      </a:lvl3pPr>
      <a:lvl4pPr marL="1600200" indent="-228600" algn="l" defTabSz="914400" rtl="0" eaLnBrk="1" latinLnBrk="0" hangingPunct="1">
        <a:spcBef>
          <a:spcPct val="20000"/>
        </a:spcBef>
        <a:buClr>
          <a:srgbClr val="34715A"/>
        </a:buClr>
        <a:buSzPct val="90000"/>
        <a:buFont typeface="Wingdings" pitchFamily="2" charset="2"/>
        <a:buChar char="v"/>
        <a:defRPr sz="1600" kern="1200">
          <a:solidFill>
            <a:srgbClr val="808183"/>
          </a:solidFill>
          <a:latin typeface="Helvetica" pitchFamily="34" charset="0"/>
          <a:ea typeface="+mn-ea"/>
          <a:cs typeface="+mn-cs"/>
        </a:defRPr>
      </a:lvl4pPr>
      <a:lvl5pPr marL="2057400" indent="-228600" algn="l" defTabSz="914400" rtl="0" eaLnBrk="1" latinLnBrk="0" hangingPunct="1">
        <a:spcBef>
          <a:spcPct val="20000"/>
        </a:spcBef>
        <a:buClr>
          <a:srgbClr val="34715A"/>
        </a:buClr>
        <a:buSzPct val="90000"/>
        <a:buFont typeface="Wingdings" pitchFamily="2" charset="2"/>
        <a:buChar char="ü"/>
        <a:defRPr sz="1600" kern="1200">
          <a:solidFill>
            <a:srgbClr val="808183"/>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Placeholder 1"/>
          <p:cNvSpPr>
            <a:spLocks noGrp="1"/>
          </p:cNvSpPr>
          <p:nvPr>
            <p:ph type="title"/>
          </p:nvPr>
        </p:nvSpPr>
        <p:spPr>
          <a:xfrm>
            <a:off x="365086" y="360069"/>
            <a:ext cx="9213023" cy="480131"/>
          </a:xfrm>
          <a:prstGeom prst="rect">
            <a:avLst/>
          </a:prstGeom>
        </p:spPr>
        <p:txBody>
          <a:bodyPr vert="horz"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365086" y="1530061"/>
            <a:ext cx="11457459" cy="48006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a:p>
        </p:txBody>
      </p:sp>
      <p:pic>
        <p:nvPicPr>
          <p:cNvPr id="10" name="Picture 9"/>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72896910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775469-CD47-4799-B81E-92B6007A57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45D402E-D3E0-4A07-819D-F10B122B3A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2260D-2426-44B7-B53B-B48A18636A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D9FA3A-6752-4581-93CC-DC3B624B0C48}" type="datetimeFigureOut">
              <a:rPr lang="en-US" smtClean="0"/>
              <a:t>12/4/2025</a:t>
            </a:fld>
            <a:endParaRPr lang="en-US"/>
          </a:p>
        </p:txBody>
      </p:sp>
      <p:sp>
        <p:nvSpPr>
          <p:cNvPr id="5" name="Footer Placeholder 4">
            <a:extLst>
              <a:ext uri="{FF2B5EF4-FFF2-40B4-BE49-F238E27FC236}">
                <a16:creationId xmlns:a16="http://schemas.microsoft.com/office/drawing/2014/main" id="{935B0C48-6A63-46D9-AB02-A063425740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2402906-BE70-4003-832E-C36B174F26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686806-C613-48A7-9E3B-B170C565D43E}" type="slidenum">
              <a:rPr lang="en-US" smtClean="0"/>
              <a:t>‹#›</a:t>
            </a:fld>
            <a:endParaRPr lang="en-US"/>
          </a:p>
        </p:txBody>
      </p:sp>
    </p:spTree>
    <p:extLst>
      <p:ext uri="{BB962C8B-B14F-4D97-AF65-F5344CB8AC3E}">
        <p14:creationId xmlns:p14="http://schemas.microsoft.com/office/powerpoint/2010/main" val="359044700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Placeholder 1"/>
          <p:cNvSpPr>
            <a:spLocks noGrp="1"/>
          </p:cNvSpPr>
          <p:nvPr>
            <p:ph type="title"/>
          </p:nvPr>
        </p:nvSpPr>
        <p:spPr>
          <a:xfrm>
            <a:off x="365086" y="325521"/>
            <a:ext cx="9213023" cy="54922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65086" y="1530061"/>
            <a:ext cx="11457459"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a:p>
        </p:txBody>
      </p:sp>
      <p:pic>
        <p:nvPicPr>
          <p:cNvPr id="4" name="Picture 3"/>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0322495" y="390453"/>
            <a:ext cx="1500050" cy="418300"/>
          </a:xfrm>
          <a:prstGeom prst="rect">
            <a:avLst/>
          </a:prstGeom>
        </p:spPr>
      </p:pic>
      <p:grpSp>
        <p:nvGrpSpPr>
          <p:cNvPr id="5" name="Group 4">
            <a:extLst>
              <a:ext uri="{FF2B5EF4-FFF2-40B4-BE49-F238E27FC236}">
                <a16:creationId xmlns:a16="http://schemas.microsoft.com/office/drawing/2014/main" id="{78C90933-F963-B5A0-0279-B4C18BEA76B0}"/>
              </a:ext>
            </a:extLst>
          </p:cNvPr>
          <p:cNvGrpSpPr/>
          <p:nvPr userDrawn="1"/>
        </p:nvGrpSpPr>
        <p:grpSpPr>
          <a:xfrm>
            <a:off x="10381674" y="182138"/>
            <a:ext cx="1682804" cy="570734"/>
            <a:chOff x="10381674" y="182138"/>
            <a:chExt cx="1682804" cy="570734"/>
          </a:xfrm>
        </p:grpSpPr>
        <p:sp>
          <p:nvSpPr>
            <p:cNvPr id="7" name="Rectangle 6">
              <a:extLst>
                <a:ext uri="{FF2B5EF4-FFF2-40B4-BE49-F238E27FC236}">
                  <a16:creationId xmlns:a16="http://schemas.microsoft.com/office/drawing/2014/main" id="{3A7FBB2A-F412-D0A8-CE00-BEE4EF2A1123}"/>
                </a:ext>
              </a:extLst>
            </p:cNvPr>
            <p:cNvSpPr/>
            <p:nvPr userDrawn="1"/>
          </p:nvSpPr>
          <p:spPr>
            <a:xfrm>
              <a:off x="10381674" y="182138"/>
              <a:ext cx="1682804" cy="570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8" name="Picture 7" descr="A black text on a white background&#10;&#10;Description automatically generated">
              <a:extLst>
                <a:ext uri="{FF2B5EF4-FFF2-40B4-BE49-F238E27FC236}">
                  <a16:creationId xmlns:a16="http://schemas.microsoft.com/office/drawing/2014/main" id="{41745C33-986D-08DA-15F2-4E6B0E086AF9}"/>
                </a:ext>
              </a:extLst>
            </p:cNvPr>
            <p:cNvPicPr>
              <a:picLocks noChangeAspect="1"/>
            </p:cNvPicPr>
            <p:nvPr userDrawn="1"/>
          </p:nvPicPr>
          <p:blipFill>
            <a:blip r:embed="rId14"/>
            <a:stretch>
              <a:fillRect/>
            </a:stretch>
          </p:blipFill>
          <p:spPr>
            <a:xfrm>
              <a:off x="10914073" y="360069"/>
              <a:ext cx="912841" cy="254509"/>
            </a:xfrm>
            <a:prstGeom prst="rect">
              <a:avLst/>
            </a:prstGeom>
          </p:spPr>
        </p:pic>
      </p:grpSp>
      <p:pic>
        <p:nvPicPr>
          <p:cNvPr id="11" name="Picture 10">
            <a:extLst>
              <a:ext uri="{FF2B5EF4-FFF2-40B4-BE49-F238E27FC236}">
                <a16:creationId xmlns:a16="http://schemas.microsoft.com/office/drawing/2014/main" id="{10FC55BB-65A6-28B4-60B0-019B4BBAB4B2}"/>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12" name="Rectangle 11">
            <a:extLst>
              <a:ext uri="{FF2B5EF4-FFF2-40B4-BE49-F238E27FC236}">
                <a16:creationId xmlns:a16="http://schemas.microsoft.com/office/drawing/2014/main" id="{F862F08F-9B3B-400B-69A2-BD8F942EC628}"/>
              </a:ext>
            </a:extLst>
          </p:cNvPr>
          <p:cNvSpPr/>
          <p:nvPr userDrawn="1"/>
        </p:nvSpPr>
        <p:spPr>
          <a:xfrm>
            <a:off x="10141527" y="182137"/>
            <a:ext cx="1922951" cy="692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3" name="Picture 12" descr="A black text on a white background&#10;&#10;Description automatically generated">
            <a:extLst>
              <a:ext uri="{FF2B5EF4-FFF2-40B4-BE49-F238E27FC236}">
                <a16:creationId xmlns:a16="http://schemas.microsoft.com/office/drawing/2014/main" id="{48777977-5908-B173-8EEF-FB8ECB839FFE}"/>
              </a:ext>
            </a:extLst>
          </p:cNvPr>
          <p:cNvPicPr>
            <a:picLocks noChangeAspect="1"/>
          </p:cNvPicPr>
          <p:nvPr userDrawn="1"/>
        </p:nvPicPr>
        <p:blipFill>
          <a:blip r:embed="rId14"/>
          <a:stretch>
            <a:fillRect/>
          </a:stretch>
        </p:blipFill>
        <p:spPr>
          <a:xfrm>
            <a:off x="10914073" y="360069"/>
            <a:ext cx="912841" cy="254509"/>
          </a:xfrm>
          <a:prstGeom prst="rect">
            <a:avLst/>
          </a:prstGeom>
        </p:spPr>
      </p:pic>
    </p:spTree>
    <p:extLst>
      <p:ext uri="{BB962C8B-B14F-4D97-AF65-F5344CB8AC3E}">
        <p14:creationId xmlns:p14="http://schemas.microsoft.com/office/powerpoint/2010/main" val="353759433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BD2DE2-BBEF-4292-9047-B12EC2BB8A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9A08B3-649D-4F4A-942B-FC6C939E19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7B39F5-D114-4C55-A9F5-E71951C276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199758-BE5A-415D-ACA9-0EE89FA19588}" type="datetimeFigureOut">
              <a:rPr lang="en-US" smtClean="0"/>
              <a:t>12/4/2025</a:t>
            </a:fld>
            <a:endParaRPr lang="en-US"/>
          </a:p>
        </p:txBody>
      </p:sp>
      <p:sp>
        <p:nvSpPr>
          <p:cNvPr id="5" name="Footer Placeholder 4">
            <a:extLst>
              <a:ext uri="{FF2B5EF4-FFF2-40B4-BE49-F238E27FC236}">
                <a16:creationId xmlns:a16="http://schemas.microsoft.com/office/drawing/2014/main" id="{06140C17-C5E6-434B-9C3D-23ECF6C483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0D2201-E294-4204-B53E-429A26990C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668F02-086C-48B0-9125-41E5A69C8758}" type="slidenum">
              <a:rPr lang="en-US" smtClean="0"/>
              <a:t>‹#›</a:t>
            </a:fld>
            <a:endParaRPr lang="en-US"/>
          </a:p>
        </p:txBody>
      </p:sp>
      <p:pic>
        <p:nvPicPr>
          <p:cNvPr id="7" name="Picture 6">
            <a:extLst>
              <a:ext uri="{FF2B5EF4-FFF2-40B4-BE49-F238E27FC236}">
                <a16:creationId xmlns:a16="http://schemas.microsoft.com/office/drawing/2014/main" id="{668139DE-AF0F-43A1-845C-A667073C94D3}"/>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grpSp>
        <p:nvGrpSpPr>
          <p:cNvPr id="8" name="Group 7">
            <a:extLst>
              <a:ext uri="{FF2B5EF4-FFF2-40B4-BE49-F238E27FC236}">
                <a16:creationId xmlns:a16="http://schemas.microsoft.com/office/drawing/2014/main" id="{3F4EE731-3765-C08E-E165-EDDD1EC5A534}"/>
              </a:ext>
            </a:extLst>
          </p:cNvPr>
          <p:cNvGrpSpPr/>
          <p:nvPr userDrawn="1"/>
        </p:nvGrpSpPr>
        <p:grpSpPr>
          <a:xfrm>
            <a:off x="10141527" y="191374"/>
            <a:ext cx="1922951" cy="570734"/>
            <a:chOff x="10141527" y="182138"/>
            <a:chExt cx="1922951" cy="570734"/>
          </a:xfrm>
        </p:grpSpPr>
        <p:pic>
          <p:nvPicPr>
            <p:cNvPr id="9" name="Picture 8">
              <a:extLst>
                <a:ext uri="{FF2B5EF4-FFF2-40B4-BE49-F238E27FC236}">
                  <a16:creationId xmlns:a16="http://schemas.microsoft.com/office/drawing/2014/main" id="{7F433CEE-29F7-C23D-DA4A-F301A7B3664C}"/>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10" name="Rectangle 9">
              <a:extLst>
                <a:ext uri="{FF2B5EF4-FFF2-40B4-BE49-F238E27FC236}">
                  <a16:creationId xmlns:a16="http://schemas.microsoft.com/office/drawing/2014/main" id="{915F423A-6AA6-6A3F-A2DF-575CE70D8FC0}"/>
                </a:ext>
              </a:extLst>
            </p:cNvPr>
            <p:cNvSpPr/>
            <p:nvPr userDrawn="1"/>
          </p:nvSpPr>
          <p:spPr>
            <a:xfrm>
              <a:off x="10141527" y="182138"/>
              <a:ext cx="1922951" cy="570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1" name="Picture 10" descr="A black text on a white background&#10;&#10;Description automatically generated">
              <a:extLst>
                <a:ext uri="{FF2B5EF4-FFF2-40B4-BE49-F238E27FC236}">
                  <a16:creationId xmlns:a16="http://schemas.microsoft.com/office/drawing/2014/main" id="{230263F6-7BCF-FA6A-70D2-D66B018D9D90}"/>
                </a:ext>
              </a:extLst>
            </p:cNvPr>
            <p:cNvPicPr>
              <a:picLocks noChangeAspect="1"/>
            </p:cNvPicPr>
            <p:nvPr userDrawn="1"/>
          </p:nvPicPr>
          <p:blipFill>
            <a:blip r:embed="rId14"/>
            <a:stretch>
              <a:fillRect/>
            </a:stretch>
          </p:blipFill>
          <p:spPr>
            <a:xfrm>
              <a:off x="10914073" y="360069"/>
              <a:ext cx="912841" cy="254509"/>
            </a:xfrm>
            <a:prstGeom prst="rect">
              <a:avLst/>
            </a:prstGeom>
          </p:spPr>
        </p:pic>
      </p:grpSp>
    </p:spTree>
    <p:extLst>
      <p:ext uri="{BB962C8B-B14F-4D97-AF65-F5344CB8AC3E}">
        <p14:creationId xmlns:p14="http://schemas.microsoft.com/office/powerpoint/2010/main" val="105903762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4.xml"/><Relationship Id="rId4"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64.png"/></Relationships>
</file>

<file path=ppt/slides/_rels/slide1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18.png"/><Relationship Id="rId7"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4.xml"/><Relationship Id="rId4" Type="http://schemas.openxmlformats.org/officeDocument/2006/relationships/image" Target="../media/image71.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4.xml"/><Relationship Id="rId5" Type="http://schemas.openxmlformats.org/officeDocument/2006/relationships/image" Target="../media/image73.png"/><Relationship Id="rId4" Type="http://schemas.openxmlformats.org/officeDocument/2006/relationships/image" Target="../media/image7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hyperlink" Target="mailto:derek.bressler@aptar.com" TargetMode="External"/><Relationship Id="rId2" Type="http://schemas.openxmlformats.org/officeDocument/2006/relationships/hyperlink" Target="http://www.aptar.com/" TargetMode="External"/><Relationship Id="rId1" Type="http://schemas.openxmlformats.org/officeDocument/2006/relationships/slideLayout" Target="../slideLayouts/slideLayout30.xml"/><Relationship Id="rId5" Type="http://schemas.openxmlformats.org/officeDocument/2006/relationships/image" Target="../media/image28.jpeg"/><Relationship Id="rId4" Type="http://schemas.openxmlformats.org/officeDocument/2006/relationships/hyperlink" Target="http://www.linkedin.com/in/derek-bressler"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mailto:derek.bressler@aptar.com" TargetMode="External"/><Relationship Id="rId2" Type="http://schemas.openxmlformats.org/officeDocument/2006/relationships/hyperlink" Target="http://www.aptar.com/" TargetMode="External"/><Relationship Id="rId1" Type="http://schemas.openxmlformats.org/officeDocument/2006/relationships/slideLayout" Target="../slideLayouts/slideLayout15.xml"/><Relationship Id="rId5" Type="http://schemas.openxmlformats.org/officeDocument/2006/relationships/image" Target="../media/image28.jpeg"/><Relationship Id="rId4" Type="http://schemas.openxmlformats.org/officeDocument/2006/relationships/hyperlink" Target="http://www.linkedin.com/in/derek-bressl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jpg"/><Relationship Id="rId1" Type="http://schemas.openxmlformats.org/officeDocument/2006/relationships/slideLayout" Target="../slideLayouts/slideLayout8.xml"/><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13" Type="http://schemas.openxmlformats.org/officeDocument/2006/relationships/image" Target="../media/image37.jpe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notesSlide" Target="../notesSlides/notesSlide1.xml"/><Relationship Id="rId21" Type="http://schemas.openxmlformats.org/officeDocument/2006/relationships/image" Target="../media/image45.jpe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jpe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slideLayout" Target="../slideLayouts/slideLayout78.xml"/><Relationship Id="rId16" Type="http://schemas.openxmlformats.org/officeDocument/2006/relationships/image" Target="../media/image40.jpeg"/><Relationship Id="rId20" Type="http://schemas.openxmlformats.org/officeDocument/2006/relationships/image" Target="../media/image44.jpeg"/><Relationship Id="rId29" Type="http://schemas.openxmlformats.org/officeDocument/2006/relationships/image" Target="../media/image53.png"/><Relationship Id="rId1" Type="http://schemas.openxmlformats.org/officeDocument/2006/relationships/tags" Target="../tags/tag2.xml"/><Relationship Id="rId6" Type="http://schemas.openxmlformats.org/officeDocument/2006/relationships/image" Target="../media/image30.jpeg"/><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jpeg"/><Relationship Id="rId5" Type="http://schemas.openxmlformats.org/officeDocument/2006/relationships/image" Target="../media/image29.emf"/><Relationship Id="rId15" Type="http://schemas.openxmlformats.org/officeDocument/2006/relationships/image" Target="../media/image39.jpe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jpeg"/><Relationship Id="rId4" Type="http://schemas.openxmlformats.org/officeDocument/2006/relationships/oleObject" Target="../embeddings/oleObject2.bin"/><Relationship Id="rId9" Type="http://schemas.openxmlformats.org/officeDocument/2006/relationships/image" Target="../media/image33.jpeg"/><Relationship Id="rId14" Type="http://schemas.openxmlformats.org/officeDocument/2006/relationships/image" Target="../media/image38.jpeg"/><Relationship Id="rId22" Type="http://schemas.openxmlformats.org/officeDocument/2006/relationships/image" Target="../media/image46.jpeg"/><Relationship Id="rId27" Type="http://schemas.openxmlformats.org/officeDocument/2006/relationships/image" Target="../media/image51.jpeg"/><Relationship Id="rId30" Type="http://schemas.openxmlformats.org/officeDocument/2006/relationships/image" Target="../media/image54.png"/><Relationship Id="rId35" Type="http://schemas.openxmlformats.org/officeDocument/2006/relationships/image" Target="../media/image59.png"/><Relationship Id="rId8" Type="http://schemas.openxmlformats.org/officeDocument/2006/relationships/image" Target="../media/image32.png"/></Relationships>
</file>

<file path=ppt/slides/_rels/slide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4.xml"/><Relationship Id="rId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Slide Number Placeholder 7"/>
          <p:cNvSpPr>
            <a:spLocks noGrp="1"/>
          </p:cNvSpPr>
          <p:nvPr>
            <p:ph type="sldNum" sz="quarter" idx="12"/>
          </p:nvPr>
        </p:nvSpPr>
        <p:spPr/>
        <p:txBody>
          <a:bodyPr/>
          <a:lstStyle/>
          <a:p>
            <a:fld id="{12B6C35B-3386-41F6-9405-71C3AC13EAE0}" type="slidenum">
              <a:rPr lang="en-US" smtClean="0"/>
              <a:pPr/>
              <a:t>1</a:t>
            </a:fld>
            <a:endParaRPr lang="en-US" dirty="0"/>
          </a:p>
        </p:txBody>
      </p:sp>
      <p:sp>
        <p:nvSpPr>
          <p:cNvPr id="18" name="Title 1"/>
          <p:cNvSpPr txBox="1">
            <a:spLocks/>
          </p:cNvSpPr>
          <p:nvPr/>
        </p:nvSpPr>
        <p:spPr>
          <a:xfrm>
            <a:off x="3196046" y="851196"/>
            <a:ext cx="7892084" cy="8125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dirty="0">
                <a:solidFill>
                  <a:schemeClr val="bg2"/>
                </a:solidFill>
              </a:rPr>
              <a:t>Applying Lean UX Practices</a:t>
            </a:r>
          </a:p>
          <a:p>
            <a:pPr algn="ctr"/>
            <a:r>
              <a:rPr lang="en-US" sz="2400" b="0" i="1" dirty="0">
                <a:solidFill>
                  <a:schemeClr val="bg1">
                    <a:lumMod val="50000"/>
                  </a:schemeClr>
                </a:solidFill>
              </a:rPr>
              <a:t>From Resistance to Results</a:t>
            </a:r>
          </a:p>
        </p:txBody>
      </p:sp>
      <p:sp>
        <p:nvSpPr>
          <p:cNvPr id="19" name="Subtitle 3"/>
          <p:cNvSpPr txBox="1">
            <a:spLocks/>
          </p:cNvSpPr>
          <p:nvPr/>
        </p:nvSpPr>
        <p:spPr>
          <a:xfrm>
            <a:off x="4729709" y="5928169"/>
            <a:ext cx="7241310" cy="498765"/>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bg2"/>
                </a:solidFill>
              </a:rPr>
              <a:t>Derek Bressler | Head of Software Engineering &amp; CX | 12/04/2025</a:t>
            </a:r>
          </a:p>
        </p:txBody>
      </p:sp>
    </p:spTree>
    <p:extLst>
      <p:ext uri="{BB962C8B-B14F-4D97-AF65-F5344CB8AC3E}">
        <p14:creationId xmlns:p14="http://schemas.microsoft.com/office/powerpoint/2010/main" val="1631340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204540"/>
            <a:ext cx="9217152" cy="452432"/>
          </a:xfrm>
        </p:spPr>
        <p:txBody>
          <a:bodyPr>
            <a:normAutofit/>
          </a:bodyPr>
          <a:lstStyle/>
          <a:p>
            <a:r>
              <a:rPr lang="en-US" sz="2400" dirty="0"/>
              <a:t>Lean UX: Core Values</a:t>
            </a:r>
            <a:endParaRPr lang="en-US" sz="2600"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CC1F7237-E427-EAB6-FA8C-344B96FA0F4F}"/>
              </a:ext>
            </a:extLst>
          </p:cNvPr>
          <p:cNvSpPr txBox="1"/>
          <p:nvPr/>
        </p:nvSpPr>
        <p:spPr>
          <a:xfrm>
            <a:off x="132777" y="1034866"/>
            <a:ext cx="5963223" cy="5078313"/>
          </a:xfrm>
          <a:prstGeom prst="rect">
            <a:avLst/>
          </a:prstGeom>
          <a:noFill/>
        </p:spPr>
        <p:txBody>
          <a:bodyPr wrap="square">
            <a:spAutoFit/>
          </a:bodyPr>
          <a:lstStyle/>
          <a:p>
            <a:r>
              <a:rPr lang="en-US" b="1" dirty="0"/>
              <a:t>Focus on Outcomes, Not Outputs</a:t>
            </a:r>
            <a:endParaRPr lang="en-US" dirty="0"/>
          </a:p>
          <a:p>
            <a:pPr marL="285750" lvl="0" indent="-285750">
              <a:buFont typeface="Arial" panose="020B0604020202020204" pitchFamily="34" charset="0"/>
              <a:buChar char="•"/>
            </a:pPr>
            <a:r>
              <a:rPr lang="en-US" dirty="0"/>
              <a:t>Shift from “building features” to solving real user problems.</a:t>
            </a:r>
          </a:p>
          <a:p>
            <a:r>
              <a:rPr lang="en-US" b="1" dirty="0"/>
              <a:t>Collaborative &amp; Cross-Functional</a:t>
            </a:r>
            <a:endParaRPr lang="en-US" dirty="0"/>
          </a:p>
          <a:p>
            <a:pPr marL="285750" lvl="0" indent="-285750">
              <a:buFont typeface="Arial" panose="020B0604020202020204" pitchFamily="34" charset="0"/>
              <a:buChar char="•"/>
            </a:pPr>
            <a:r>
              <a:rPr lang="en-US" dirty="0"/>
              <a:t>Break down silos—design, dev, and business work together from day one.</a:t>
            </a:r>
          </a:p>
          <a:p>
            <a:r>
              <a:rPr lang="en-US" b="1" dirty="0"/>
              <a:t>Rapid Experimentation &amp; Iteration</a:t>
            </a:r>
            <a:endParaRPr lang="en-US" dirty="0"/>
          </a:p>
          <a:p>
            <a:pPr marL="285750" lvl="0" indent="-285750">
              <a:buFont typeface="Arial" panose="020B0604020202020204" pitchFamily="34" charset="0"/>
              <a:buChar char="•"/>
            </a:pPr>
            <a:r>
              <a:rPr lang="en-US" dirty="0"/>
              <a:t>Build MVPs and prototypes early, validate ideas quickly, and adapt based on feedback.</a:t>
            </a:r>
          </a:p>
          <a:p>
            <a:r>
              <a:rPr lang="en-US" b="1" dirty="0"/>
              <a:t>Continuous Learning</a:t>
            </a:r>
            <a:endParaRPr lang="en-US" dirty="0"/>
          </a:p>
          <a:p>
            <a:pPr marL="285750" lvl="0" indent="-285750">
              <a:buFont typeface="Arial" panose="020B0604020202020204" pitchFamily="34" charset="0"/>
              <a:buChar char="•"/>
            </a:pPr>
            <a:r>
              <a:rPr lang="en-US" dirty="0"/>
              <a:t>Treat every design as a hypothesis to test, not a final answer.</a:t>
            </a:r>
          </a:p>
          <a:p>
            <a:r>
              <a:rPr lang="en-US" b="1" dirty="0"/>
              <a:t>User-Centered &amp; Evidence-Driven</a:t>
            </a:r>
            <a:endParaRPr lang="en-US" dirty="0"/>
          </a:p>
          <a:p>
            <a:pPr marL="285750" lvl="0" indent="-285750">
              <a:buFont typeface="Arial" panose="020B0604020202020204" pitchFamily="34" charset="0"/>
              <a:buChar char="•"/>
            </a:pPr>
            <a:r>
              <a:rPr lang="en-US" dirty="0"/>
              <a:t>Decisions based on real user insights, not assumptions or lengthy specs.</a:t>
            </a:r>
          </a:p>
          <a:p>
            <a:r>
              <a:rPr lang="en-US" b="1" dirty="0"/>
              <a:t>Lightweight Documentation</a:t>
            </a:r>
            <a:endParaRPr lang="en-US" dirty="0"/>
          </a:p>
          <a:p>
            <a:pPr marL="285750" lvl="0" indent="-285750">
              <a:buFont typeface="Arial" panose="020B0604020202020204" pitchFamily="34" charset="0"/>
              <a:buChar char="•"/>
            </a:pPr>
            <a:r>
              <a:rPr lang="en-US" dirty="0"/>
              <a:t>Spend less time writing specs, more time creating and validating solutions visually.</a:t>
            </a:r>
          </a:p>
        </p:txBody>
      </p:sp>
      <p:pic>
        <p:nvPicPr>
          <p:cNvPr id="3" name="Picture 2">
            <a:extLst>
              <a:ext uri="{FF2B5EF4-FFF2-40B4-BE49-F238E27FC236}">
                <a16:creationId xmlns:a16="http://schemas.microsoft.com/office/drawing/2014/main" id="{B21A84D2-AD91-EE23-83C7-2B60AE719781}"/>
              </a:ext>
            </a:extLst>
          </p:cNvPr>
          <p:cNvPicPr>
            <a:picLocks noChangeAspect="1"/>
          </p:cNvPicPr>
          <p:nvPr/>
        </p:nvPicPr>
        <p:blipFill>
          <a:blip r:embed="rId4"/>
          <a:stretch>
            <a:fillRect/>
          </a:stretch>
        </p:blipFill>
        <p:spPr>
          <a:xfrm>
            <a:off x="6256019" y="1314648"/>
            <a:ext cx="5715000" cy="4724400"/>
          </a:xfrm>
          <a:prstGeom prst="rect">
            <a:avLst/>
          </a:prstGeom>
        </p:spPr>
      </p:pic>
    </p:spTree>
    <p:extLst>
      <p:ext uri="{BB962C8B-B14F-4D97-AF65-F5344CB8AC3E}">
        <p14:creationId xmlns:p14="http://schemas.microsoft.com/office/powerpoint/2010/main" val="22331548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C0D54-71D2-34B4-8AE8-1052D438EB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E17D9B-A807-F4C9-309A-4754070FDEF7}"/>
              </a:ext>
            </a:extLst>
          </p:cNvPr>
          <p:cNvSpPr>
            <a:spLocks noGrp="1"/>
          </p:cNvSpPr>
          <p:nvPr>
            <p:ph type="title"/>
          </p:nvPr>
        </p:nvSpPr>
        <p:spPr>
          <a:xfrm>
            <a:off x="323736" y="204540"/>
            <a:ext cx="9217152" cy="452432"/>
          </a:xfrm>
        </p:spPr>
        <p:txBody>
          <a:bodyPr/>
          <a:lstStyle/>
          <a:p>
            <a:r>
              <a:rPr lang="en-US" sz="2600" dirty="0"/>
              <a:t>Why Does it Work to Solve Problems?</a:t>
            </a:r>
          </a:p>
        </p:txBody>
      </p:sp>
      <p:sp>
        <p:nvSpPr>
          <p:cNvPr id="4" name="Slide Number Placeholder 3">
            <a:extLst>
              <a:ext uri="{FF2B5EF4-FFF2-40B4-BE49-F238E27FC236}">
                <a16:creationId xmlns:a16="http://schemas.microsoft.com/office/drawing/2014/main" id="{C83F8834-385A-5507-2ECD-DF0446F16B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EF71E3EE-5937-C8F4-C00B-338C2860FB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7EB0083D-F752-9950-AD26-06505B76591D}"/>
              </a:ext>
            </a:extLst>
          </p:cNvPr>
          <p:cNvSpPr txBox="1"/>
          <p:nvPr/>
        </p:nvSpPr>
        <p:spPr>
          <a:xfrm>
            <a:off x="6096000" y="1026314"/>
            <a:ext cx="5909553" cy="5078313"/>
          </a:xfrm>
          <a:prstGeom prst="rect">
            <a:avLst/>
          </a:prstGeom>
          <a:noFill/>
        </p:spPr>
        <p:txBody>
          <a:bodyPr wrap="square">
            <a:spAutoFit/>
          </a:bodyPr>
          <a:lstStyle/>
          <a:p>
            <a:r>
              <a:rPr lang="en-US" b="1" dirty="0"/>
              <a:t>Uncovers Root Causes:</a:t>
            </a:r>
            <a:endParaRPr lang="en-US" dirty="0"/>
          </a:p>
          <a:p>
            <a:pPr marL="285750" lvl="0" indent="-285750">
              <a:buFont typeface="Arial" panose="020B0604020202020204" pitchFamily="34" charset="0"/>
              <a:buChar char="•"/>
            </a:pPr>
            <a:r>
              <a:rPr lang="en-US" dirty="0"/>
              <a:t>Lean UX starts with research and discovery, ensuring we solve the real problem, not just symptoms.</a:t>
            </a:r>
          </a:p>
          <a:p>
            <a:r>
              <a:rPr lang="en-US" b="1" dirty="0"/>
              <a:t>Brings Broader Perspectives:</a:t>
            </a:r>
            <a:endParaRPr lang="en-US" dirty="0"/>
          </a:p>
          <a:p>
            <a:pPr marL="285750" lvl="0" indent="-285750">
              <a:buFont typeface="Arial" panose="020B0604020202020204" pitchFamily="34" charset="0"/>
              <a:buChar char="•"/>
            </a:pPr>
            <a:r>
              <a:rPr lang="en-US" dirty="0"/>
              <a:t>Continuous feedback loops involve multiple user types, preventing tunnel vision from key stakeholders.</a:t>
            </a:r>
          </a:p>
          <a:p>
            <a:r>
              <a:rPr lang="en-US" b="1" dirty="0"/>
              <a:t>Gives Developers Clear Direction:</a:t>
            </a:r>
            <a:endParaRPr lang="en-US" dirty="0"/>
          </a:p>
          <a:p>
            <a:pPr marL="285750" lvl="0" indent="-285750">
              <a:buFont typeface="Arial" panose="020B0604020202020204" pitchFamily="34" charset="0"/>
              <a:buChar char="•"/>
            </a:pPr>
            <a:r>
              <a:rPr lang="en-US" dirty="0"/>
              <a:t>Validated prototypes and iterative designs provide clarity and confidence, reducing guesswork.</a:t>
            </a:r>
          </a:p>
          <a:p>
            <a:r>
              <a:rPr lang="en-US" b="1" dirty="0"/>
              <a:t>Visualizes Solutions Early:</a:t>
            </a:r>
            <a:endParaRPr lang="en-US" dirty="0"/>
          </a:p>
          <a:p>
            <a:pPr marL="285750" lvl="0" indent="-285750">
              <a:buFont typeface="Arial" panose="020B0604020202020204" pitchFamily="34" charset="0"/>
              <a:buChar char="•"/>
            </a:pPr>
            <a:r>
              <a:rPr lang="en-US" dirty="0"/>
              <a:t>Users see wireframes and prototypes early, making feedback meaningful and actionable.</a:t>
            </a:r>
          </a:p>
          <a:p>
            <a:r>
              <a:rPr lang="en-US" b="1" dirty="0"/>
              <a:t>Reduces Risk of Failure:</a:t>
            </a:r>
            <a:endParaRPr lang="en-US" dirty="0"/>
          </a:p>
          <a:p>
            <a:pPr marL="285750" lvl="0" indent="-285750">
              <a:buFont typeface="Arial" panose="020B0604020202020204" pitchFamily="34" charset="0"/>
              <a:buChar char="•"/>
            </a:pPr>
            <a:r>
              <a:rPr lang="en-US" dirty="0"/>
              <a:t>Testing ideas before heavy investment means fewer surprises at launch and higher adoption rates.</a:t>
            </a:r>
          </a:p>
          <a:p>
            <a:r>
              <a:rPr lang="en-US" b="1" dirty="0"/>
              <a:t>Accelerates Learning &amp; Delivery:</a:t>
            </a:r>
            <a:endParaRPr lang="en-US" dirty="0"/>
          </a:p>
          <a:p>
            <a:pPr marL="285750" lvl="0" indent="-285750">
              <a:buFont typeface="Arial" panose="020B0604020202020204" pitchFamily="34" charset="0"/>
              <a:buChar char="•"/>
            </a:pPr>
            <a:r>
              <a:rPr lang="en-US" dirty="0"/>
              <a:t>Short cycles and MVPs allow teams to learn fast and adapt, instead of waiting months for feedback.</a:t>
            </a:r>
          </a:p>
        </p:txBody>
      </p:sp>
      <p:pic>
        <p:nvPicPr>
          <p:cNvPr id="3" name="Picture 2">
            <a:extLst>
              <a:ext uri="{FF2B5EF4-FFF2-40B4-BE49-F238E27FC236}">
                <a16:creationId xmlns:a16="http://schemas.microsoft.com/office/drawing/2014/main" id="{C051B95B-04BF-7A4E-74D6-198661F94A00}"/>
              </a:ext>
            </a:extLst>
          </p:cNvPr>
          <p:cNvPicPr>
            <a:picLocks noChangeAspect="1"/>
          </p:cNvPicPr>
          <p:nvPr/>
        </p:nvPicPr>
        <p:blipFill>
          <a:blip r:embed="rId4"/>
          <a:stretch>
            <a:fillRect/>
          </a:stretch>
        </p:blipFill>
        <p:spPr>
          <a:xfrm>
            <a:off x="1023811" y="657956"/>
            <a:ext cx="4152898" cy="5815028"/>
          </a:xfrm>
          <a:prstGeom prst="rect">
            <a:avLst/>
          </a:prstGeom>
        </p:spPr>
      </p:pic>
    </p:spTree>
    <p:extLst>
      <p:ext uri="{BB962C8B-B14F-4D97-AF65-F5344CB8AC3E}">
        <p14:creationId xmlns:p14="http://schemas.microsoft.com/office/powerpoint/2010/main" val="1680604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BFCBF0-8D8D-463D-BED9-0B838E89E398}"/>
              </a:ext>
            </a:extLst>
          </p:cNvPr>
          <p:cNvPicPr>
            <a:picLocks noChangeAspect="1"/>
          </p:cNvPicPr>
          <p:nvPr/>
        </p:nvPicPr>
        <p:blipFill>
          <a:blip r:embed="rId2"/>
          <a:stretch>
            <a:fillRect/>
          </a:stretch>
        </p:blipFill>
        <p:spPr>
          <a:xfrm>
            <a:off x="0" y="0"/>
            <a:ext cx="12212560" cy="6858000"/>
          </a:xfrm>
          <a:prstGeom prst="rect">
            <a:avLst/>
          </a:prstGeom>
        </p:spPr>
      </p:pic>
      <p:sp>
        <p:nvSpPr>
          <p:cNvPr id="7" name="Subtitle 2">
            <a:extLst>
              <a:ext uri="{FF2B5EF4-FFF2-40B4-BE49-F238E27FC236}">
                <a16:creationId xmlns:a16="http://schemas.microsoft.com/office/drawing/2014/main" id="{FEE5B5C2-441C-4DC0-A66B-D442FD1A4E34}"/>
              </a:ext>
            </a:extLst>
          </p:cNvPr>
          <p:cNvSpPr>
            <a:spLocks noGrp="1"/>
          </p:cNvSpPr>
          <p:nvPr>
            <p:ph type="subTitle" idx="1"/>
          </p:nvPr>
        </p:nvSpPr>
        <p:spPr>
          <a:xfrm>
            <a:off x="2857053" y="97780"/>
            <a:ext cx="6498454" cy="997582"/>
          </a:xfrm>
        </p:spPr>
        <p:txBody>
          <a:bodyPr>
            <a:noAutofit/>
          </a:bodyPr>
          <a:lstStyle/>
          <a:p>
            <a:pPr>
              <a:lnSpc>
                <a:spcPct val="100000"/>
              </a:lnSpc>
            </a:pPr>
            <a:r>
              <a:rPr lang="en-US" sz="3200" b="1" dirty="0">
                <a:solidFill>
                  <a:schemeClr val="bg1"/>
                </a:solidFill>
              </a:rPr>
              <a:t>Lean UX in Action: Aptar Distributor Portal</a:t>
            </a:r>
            <a:endParaRPr lang="en-US" sz="3200" b="1" dirty="0">
              <a:solidFill>
                <a:schemeClr val="bg1"/>
              </a:solidFill>
              <a:latin typeface="Gill Sans MT" panose="020B0502020104020203" pitchFamily="34" charset="0"/>
            </a:endParaRPr>
          </a:p>
        </p:txBody>
      </p:sp>
      <p:sp>
        <p:nvSpPr>
          <p:cNvPr id="2" name="TextBox 1">
            <a:extLst>
              <a:ext uri="{FF2B5EF4-FFF2-40B4-BE49-F238E27FC236}">
                <a16:creationId xmlns:a16="http://schemas.microsoft.com/office/drawing/2014/main" id="{3270B5AE-90F8-189A-5EA1-801A52A2E8D5}"/>
              </a:ext>
            </a:extLst>
          </p:cNvPr>
          <p:cNvSpPr txBox="1"/>
          <p:nvPr/>
        </p:nvSpPr>
        <p:spPr>
          <a:xfrm>
            <a:off x="526324" y="1391358"/>
            <a:ext cx="11564983" cy="5170646"/>
          </a:xfrm>
          <a:prstGeom prst="rect">
            <a:avLst/>
          </a:prstGeom>
          <a:noFill/>
        </p:spPr>
        <p:txBody>
          <a:bodyPr wrap="square" rtlCol="0">
            <a:spAutoFit/>
          </a:bodyPr>
          <a:lstStyle/>
          <a:p>
            <a:r>
              <a:rPr lang="en-US" sz="2200" b="1" dirty="0">
                <a:solidFill>
                  <a:schemeClr val="bg1"/>
                </a:solidFill>
              </a:rPr>
              <a:t>Project Goal: </a:t>
            </a:r>
            <a:r>
              <a:rPr lang="en-US" sz="2200" dirty="0">
                <a:solidFill>
                  <a:schemeClr val="bg1"/>
                </a:solidFill>
              </a:rPr>
              <a:t>Provide Aptar’s distribution customers </a:t>
            </a:r>
            <a:r>
              <a:rPr lang="en-US" sz="2200" b="1" dirty="0">
                <a:solidFill>
                  <a:schemeClr val="bg1"/>
                </a:solidFill>
              </a:rPr>
              <a:t>online self-service </a:t>
            </a:r>
            <a:r>
              <a:rPr lang="en-US" sz="2200" dirty="0">
                <a:solidFill>
                  <a:schemeClr val="bg1"/>
                </a:solidFill>
              </a:rPr>
              <a:t>access to pricing, engineering drawings, and stocking programs.</a:t>
            </a:r>
          </a:p>
          <a:p>
            <a:r>
              <a:rPr lang="en-US" sz="2200" b="1" dirty="0">
                <a:solidFill>
                  <a:schemeClr val="bg1"/>
                </a:solidFill>
              </a:rPr>
              <a:t>Total Timeline: </a:t>
            </a:r>
            <a:r>
              <a:rPr lang="en-US" sz="2200" dirty="0">
                <a:solidFill>
                  <a:schemeClr val="bg1"/>
                </a:solidFill>
              </a:rPr>
              <a:t>6 months from concept to launch.</a:t>
            </a:r>
          </a:p>
          <a:p>
            <a:endParaRPr lang="en-US" sz="2200" dirty="0">
              <a:solidFill>
                <a:schemeClr val="bg1"/>
              </a:solidFill>
            </a:endParaRPr>
          </a:p>
          <a:p>
            <a:r>
              <a:rPr lang="en-US" sz="2200" b="1" dirty="0">
                <a:solidFill>
                  <a:schemeClr val="bg1"/>
                </a:solidFill>
              </a:rPr>
              <a:t> Lean UX Phase (First 6 Weeks):</a:t>
            </a:r>
            <a:endParaRPr lang="en-US" sz="2200" dirty="0">
              <a:solidFill>
                <a:schemeClr val="bg1"/>
              </a:solidFill>
            </a:endParaRPr>
          </a:p>
          <a:p>
            <a:pPr marL="285750" lvl="0" indent="-285750">
              <a:buFont typeface="Arial" panose="020B0604020202020204" pitchFamily="34" charset="0"/>
              <a:buChar char="•"/>
            </a:pPr>
            <a:r>
              <a:rPr lang="en-US" sz="2200" b="1" dirty="0">
                <a:solidFill>
                  <a:schemeClr val="bg1"/>
                </a:solidFill>
              </a:rPr>
              <a:t>Workshops:</a:t>
            </a:r>
            <a:r>
              <a:rPr lang="en-US" sz="2200" dirty="0">
                <a:solidFill>
                  <a:schemeClr val="bg1"/>
                </a:solidFill>
              </a:rPr>
              <a:t> 1–2 per week to </a:t>
            </a:r>
            <a:r>
              <a:rPr lang="en-US" sz="2200" b="1" dirty="0">
                <a:solidFill>
                  <a:schemeClr val="bg1"/>
                </a:solidFill>
              </a:rPr>
              <a:t>deep dive into real problems</a:t>
            </a:r>
            <a:r>
              <a:rPr lang="en-US" sz="2200" dirty="0">
                <a:solidFill>
                  <a:schemeClr val="bg1"/>
                </a:solidFill>
              </a:rPr>
              <a:t>, not just perceived symptoms.</a:t>
            </a:r>
          </a:p>
          <a:p>
            <a:pPr marL="285750" lvl="0" indent="-285750">
              <a:buFont typeface="Arial" panose="020B0604020202020204" pitchFamily="34" charset="0"/>
              <a:buChar char="•"/>
            </a:pPr>
            <a:r>
              <a:rPr lang="en-US" sz="2200" b="1" dirty="0">
                <a:solidFill>
                  <a:schemeClr val="bg1"/>
                </a:solidFill>
              </a:rPr>
              <a:t>User Collaboration: </a:t>
            </a:r>
            <a:r>
              <a:rPr lang="en-US" sz="2200" dirty="0">
                <a:solidFill>
                  <a:schemeClr val="bg1"/>
                </a:solidFill>
              </a:rPr>
              <a:t>Direct engagement with distributors and internal teams.</a:t>
            </a:r>
          </a:p>
          <a:p>
            <a:pPr lvl="0"/>
            <a:r>
              <a:rPr lang="en-US" sz="2200" b="1" dirty="0">
                <a:solidFill>
                  <a:schemeClr val="bg1"/>
                </a:solidFill>
              </a:rPr>
              <a:t>Prototyping: </a:t>
            </a:r>
            <a:endParaRPr lang="en-US" sz="2200" dirty="0">
              <a:solidFill>
                <a:schemeClr val="bg1"/>
              </a:solidFill>
            </a:endParaRPr>
          </a:p>
          <a:p>
            <a:pPr marL="742950" lvl="1" indent="-285750">
              <a:buFont typeface="Arial" panose="020B0604020202020204" pitchFamily="34" charset="0"/>
              <a:buChar char="•"/>
            </a:pPr>
            <a:r>
              <a:rPr lang="en-US" sz="2200" dirty="0">
                <a:solidFill>
                  <a:schemeClr val="bg1"/>
                </a:solidFill>
              </a:rPr>
              <a:t>Weeks 4–6: Iterated </a:t>
            </a:r>
            <a:r>
              <a:rPr lang="en-US" sz="2200" b="1" dirty="0">
                <a:solidFill>
                  <a:schemeClr val="bg1"/>
                </a:solidFill>
              </a:rPr>
              <a:t>low-fidelity wireframes → high-fidelity mockups</a:t>
            </a:r>
            <a:r>
              <a:rPr lang="en-US" sz="2200" dirty="0">
                <a:solidFill>
                  <a:schemeClr val="bg1"/>
                </a:solidFill>
              </a:rPr>
              <a:t> with users.</a:t>
            </a:r>
          </a:p>
          <a:p>
            <a:pPr marL="742950" lvl="1" indent="-285750">
              <a:buFont typeface="Arial" panose="020B0604020202020204" pitchFamily="34" charset="0"/>
              <a:buChar char="•"/>
            </a:pPr>
            <a:r>
              <a:rPr lang="en-US" sz="2200" dirty="0">
                <a:solidFill>
                  <a:schemeClr val="bg1"/>
                </a:solidFill>
              </a:rPr>
              <a:t>Gathered feedback early and often.</a:t>
            </a:r>
          </a:p>
          <a:p>
            <a:r>
              <a:rPr lang="en-US" sz="2200" b="1" dirty="0">
                <a:solidFill>
                  <a:schemeClr val="bg1"/>
                </a:solidFill>
              </a:rPr>
              <a:t>Impact:</a:t>
            </a:r>
            <a:endParaRPr lang="en-US" sz="2200" dirty="0">
              <a:solidFill>
                <a:schemeClr val="bg1"/>
              </a:solidFill>
            </a:endParaRPr>
          </a:p>
          <a:p>
            <a:pPr marL="285750" lvl="0" indent="-285750">
              <a:buFont typeface="Arial" panose="020B0604020202020204" pitchFamily="34" charset="0"/>
              <a:buChar char="•"/>
            </a:pPr>
            <a:r>
              <a:rPr lang="en-US" sz="2200" dirty="0">
                <a:solidFill>
                  <a:schemeClr val="bg1"/>
                </a:solidFill>
              </a:rPr>
              <a:t>Entered </a:t>
            </a:r>
            <a:r>
              <a:rPr lang="en-US" sz="2200" b="1" dirty="0">
                <a:solidFill>
                  <a:schemeClr val="bg1"/>
                </a:solidFill>
              </a:rPr>
              <a:t>4.5-month development phase </a:t>
            </a:r>
            <a:r>
              <a:rPr lang="en-US" sz="2200" dirty="0">
                <a:solidFill>
                  <a:schemeClr val="bg1"/>
                </a:solidFill>
              </a:rPr>
              <a:t>with a </a:t>
            </a:r>
            <a:r>
              <a:rPr lang="en-US" sz="2200" b="1" dirty="0">
                <a:solidFill>
                  <a:schemeClr val="bg1"/>
                </a:solidFill>
              </a:rPr>
              <a:t>clear plan and shared understanding </a:t>
            </a:r>
            <a:r>
              <a:rPr lang="en-US" sz="2200" dirty="0">
                <a:solidFill>
                  <a:schemeClr val="bg1"/>
                </a:solidFill>
              </a:rPr>
              <a:t>between users and developers.</a:t>
            </a:r>
          </a:p>
          <a:p>
            <a:pPr marL="285750" lvl="0" indent="-285750">
              <a:buFont typeface="Arial" panose="020B0604020202020204" pitchFamily="34" charset="0"/>
              <a:buChar char="•"/>
            </a:pPr>
            <a:r>
              <a:rPr lang="en-US" sz="2200" dirty="0">
                <a:solidFill>
                  <a:schemeClr val="bg1"/>
                </a:solidFill>
              </a:rPr>
              <a:t>Addressed </a:t>
            </a:r>
            <a:r>
              <a:rPr lang="en-US" sz="2200" b="1" dirty="0">
                <a:solidFill>
                  <a:schemeClr val="bg1"/>
                </a:solidFill>
              </a:rPr>
              <a:t>true root causes </a:t>
            </a:r>
            <a:r>
              <a:rPr lang="en-US" sz="2200" dirty="0">
                <a:solidFill>
                  <a:schemeClr val="bg1"/>
                </a:solidFill>
              </a:rPr>
              <a:t>of servicing distributors, avoiding wasted effort on superficial fixes.</a:t>
            </a:r>
          </a:p>
          <a:p>
            <a:pPr marL="285750" lvl="0" indent="-285750">
              <a:buFont typeface="Arial" panose="020B0604020202020204" pitchFamily="34" charset="0"/>
              <a:buChar char="•"/>
            </a:pPr>
            <a:r>
              <a:rPr lang="en-US" sz="2200" dirty="0">
                <a:solidFill>
                  <a:schemeClr val="bg1"/>
                </a:solidFill>
              </a:rPr>
              <a:t>Delivered a solution that </a:t>
            </a:r>
            <a:r>
              <a:rPr lang="en-US" sz="2200" b="1" dirty="0">
                <a:solidFill>
                  <a:schemeClr val="bg1"/>
                </a:solidFill>
              </a:rPr>
              <a:t>met real user needs </a:t>
            </a:r>
            <a:r>
              <a:rPr lang="en-US" sz="2200" dirty="0">
                <a:solidFill>
                  <a:schemeClr val="bg1"/>
                </a:solidFill>
              </a:rPr>
              <a:t>and gained rapid adoption.</a:t>
            </a:r>
          </a:p>
        </p:txBody>
      </p:sp>
    </p:spTree>
    <p:extLst>
      <p:ext uri="{BB962C8B-B14F-4D97-AF65-F5344CB8AC3E}">
        <p14:creationId xmlns:p14="http://schemas.microsoft.com/office/powerpoint/2010/main" val="34007454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85699-5FBD-AE7B-062B-97BD3BFEDB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E1CF02-4A56-943D-A3BF-CC6212FF367D}"/>
              </a:ext>
            </a:extLst>
          </p:cNvPr>
          <p:cNvSpPr>
            <a:spLocks noGrp="1"/>
          </p:cNvSpPr>
          <p:nvPr>
            <p:ph type="title"/>
          </p:nvPr>
        </p:nvSpPr>
        <p:spPr>
          <a:xfrm>
            <a:off x="323736" y="204540"/>
            <a:ext cx="9217152" cy="452432"/>
          </a:xfrm>
        </p:spPr>
        <p:txBody>
          <a:bodyPr>
            <a:normAutofit/>
          </a:bodyPr>
          <a:lstStyle/>
          <a:p>
            <a:r>
              <a:rPr lang="en-US" sz="2600" dirty="0"/>
              <a:t>What Does it Actually Look Like?</a:t>
            </a:r>
          </a:p>
        </p:txBody>
      </p:sp>
      <p:sp>
        <p:nvSpPr>
          <p:cNvPr id="4" name="Slide Number Placeholder 3">
            <a:extLst>
              <a:ext uri="{FF2B5EF4-FFF2-40B4-BE49-F238E27FC236}">
                <a16:creationId xmlns:a16="http://schemas.microsoft.com/office/drawing/2014/main" id="{5DE03921-D451-5092-7835-9EC71DA40D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A28C8975-350D-B50C-4E46-A0509ED4EF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pic>
        <p:nvPicPr>
          <p:cNvPr id="9" name="Picture 8">
            <a:extLst>
              <a:ext uri="{FF2B5EF4-FFF2-40B4-BE49-F238E27FC236}">
                <a16:creationId xmlns:a16="http://schemas.microsoft.com/office/drawing/2014/main" id="{D935FB9B-A261-8FFE-7C97-09B5A33D2D2B}"/>
              </a:ext>
            </a:extLst>
          </p:cNvPr>
          <p:cNvPicPr>
            <a:picLocks noChangeAspect="1"/>
          </p:cNvPicPr>
          <p:nvPr/>
        </p:nvPicPr>
        <p:blipFill>
          <a:blip r:embed="rId4"/>
          <a:stretch>
            <a:fillRect/>
          </a:stretch>
        </p:blipFill>
        <p:spPr>
          <a:xfrm>
            <a:off x="323736" y="950663"/>
            <a:ext cx="11366272" cy="5452590"/>
          </a:xfrm>
          <a:prstGeom prst="rect">
            <a:avLst/>
          </a:prstGeom>
        </p:spPr>
      </p:pic>
      <p:pic>
        <p:nvPicPr>
          <p:cNvPr id="11" name="Picture 10">
            <a:extLst>
              <a:ext uri="{FF2B5EF4-FFF2-40B4-BE49-F238E27FC236}">
                <a16:creationId xmlns:a16="http://schemas.microsoft.com/office/drawing/2014/main" id="{17E40B32-A217-2408-7DF5-68E27C92AAB2}"/>
              </a:ext>
            </a:extLst>
          </p:cNvPr>
          <p:cNvPicPr>
            <a:picLocks noChangeAspect="1"/>
          </p:cNvPicPr>
          <p:nvPr/>
        </p:nvPicPr>
        <p:blipFill>
          <a:blip r:embed="rId5"/>
          <a:stretch>
            <a:fillRect/>
          </a:stretch>
        </p:blipFill>
        <p:spPr>
          <a:xfrm>
            <a:off x="1672936" y="672857"/>
            <a:ext cx="7647476" cy="5808300"/>
          </a:xfrm>
          <a:prstGeom prst="rect">
            <a:avLst/>
          </a:prstGeom>
        </p:spPr>
      </p:pic>
      <p:pic>
        <p:nvPicPr>
          <p:cNvPr id="14" name="Picture 13">
            <a:extLst>
              <a:ext uri="{FF2B5EF4-FFF2-40B4-BE49-F238E27FC236}">
                <a16:creationId xmlns:a16="http://schemas.microsoft.com/office/drawing/2014/main" id="{9C2790EE-46DF-F3FD-73D9-877D5C8AC556}"/>
              </a:ext>
            </a:extLst>
          </p:cNvPr>
          <p:cNvPicPr>
            <a:picLocks noChangeAspect="1"/>
          </p:cNvPicPr>
          <p:nvPr/>
        </p:nvPicPr>
        <p:blipFill>
          <a:blip r:embed="rId6"/>
          <a:stretch>
            <a:fillRect/>
          </a:stretch>
        </p:blipFill>
        <p:spPr>
          <a:xfrm>
            <a:off x="3826840" y="227448"/>
            <a:ext cx="4948106" cy="5934570"/>
          </a:xfrm>
          <a:prstGeom prst="rect">
            <a:avLst/>
          </a:prstGeom>
        </p:spPr>
      </p:pic>
      <p:pic>
        <p:nvPicPr>
          <p:cNvPr id="7" name="Picture 6">
            <a:extLst>
              <a:ext uri="{FF2B5EF4-FFF2-40B4-BE49-F238E27FC236}">
                <a16:creationId xmlns:a16="http://schemas.microsoft.com/office/drawing/2014/main" id="{BCA09AA7-B5FA-7487-ECD0-12691F5B8276}"/>
              </a:ext>
            </a:extLst>
          </p:cNvPr>
          <p:cNvPicPr>
            <a:picLocks noChangeAspect="1"/>
          </p:cNvPicPr>
          <p:nvPr/>
        </p:nvPicPr>
        <p:blipFill>
          <a:blip r:embed="rId7"/>
          <a:stretch>
            <a:fillRect/>
          </a:stretch>
        </p:blipFill>
        <p:spPr>
          <a:xfrm>
            <a:off x="838891" y="761780"/>
            <a:ext cx="11132128" cy="5630454"/>
          </a:xfrm>
          <a:prstGeom prst="rect">
            <a:avLst/>
          </a:prstGeom>
        </p:spPr>
      </p:pic>
      <p:pic>
        <p:nvPicPr>
          <p:cNvPr id="16" name="Picture 15">
            <a:extLst>
              <a:ext uri="{FF2B5EF4-FFF2-40B4-BE49-F238E27FC236}">
                <a16:creationId xmlns:a16="http://schemas.microsoft.com/office/drawing/2014/main" id="{FE87AD86-D846-E623-CED9-0E6669B74B78}"/>
              </a:ext>
            </a:extLst>
          </p:cNvPr>
          <p:cNvPicPr>
            <a:picLocks noChangeAspect="1"/>
          </p:cNvPicPr>
          <p:nvPr/>
        </p:nvPicPr>
        <p:blipFill>
          <a:blip r:embed="rId8"/>
          <a:stretch>
            <a:fillRect/>
          </a:stretch>
        </p:blipFill>
        <p:spPr>
          <a:xfrm>
            <a:off x="461583" y="950444"/>
            <a:ext cx="11509436" cy="5292042"/>
          </a:xfrm>
          <a:prstGeom prst="rect">
            <a:avLst/>
          </a:prstGeom>
        </p:spPr>
      </p:pic>
    </p:spTree>
    <p:extLst>
      <p:ext uri="{BB962C8B-B14F-4D97-AF65-F5344CB8AC3E}">
        <p14:creationId xmlns:p14="http://schemas.microsoft.com/office/powerpoint/2010/main" val="9566162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down)">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down)">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204540"/>
            <a:ext cx="9217152" cy="452432"/>
          </a:xfrm>
        </p:spPr>
        <p:txBody>
          <a:bodyPr>
            <a:normAutofit/>
          </a:bodyPr>
          <a:lstStyle/>
          <a:p>
            <a:r>
              <a:rPr lang="en-US" sz="2600" dirty="0"/>
              <a:t>Practical Tips for Lean UX Succes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CC1F7237-E427-EAB6-FA8C-344B96FA0F4F}"/>
              </a:ext>
            </a:extLst>
          </p:cNvPr>
          <p:cNvSpPr txBox="1"/>
          <p:nvPr/>
        </p:nvSpPr>
        <p:spPr>
          <a:xfrm>
            <a:off x="132777" y="805048"/>
            <a:ext cx="8166673" cy="5632311"/>
          </a:xfrm>
          <a:prstGeom prst="rect">
            <a:avLst/>
          </a:prstGeom>
          <a:noFill/>
        </p:spPr>
        <p:txBody>
          <a:bodyPr wrap="square">
            <a:spAutoFit/>
          </a:bodyPr>
          <a:lstStyle/>
          <a:p>
            <a:r>
              <a:rPr lang="en-US" b="1" dirty="0"/>
              <a:t>Start Small, Prove Value</a:t>
            </a:r>
            <a:endParaRPr lang="en-US" dirty="0"/>
          </a:p>
          <a:p>
            <a:pPr marL="285750" lvl="0" indent="-285750">
              <a:buFont typeface="Arial" panose="020B0604020202020204" pitchFamily="34" charset="0"/>
              <a:buChar char="•"/>
            </a:pPr>
            <a:r>
              <a:rPr lang="en-US" dirty="0"/>
              <a:t>Begin with a pilot project or a single feature to demonstrate impact.</a:t>
            </a:r>
          </a:p>
          <a:p>
            <a:r>
              <a:rPr lang="en-US" b="1" dirty="0"/>
              <a:t>Engage Stakeholders Early</a:t>
            </a:r>
            <a:endParaRPr lang="en-US" dirty="0"/>
          </a:p>
          <a:p>
            <a:pPr marL="285750" lvl="0" indent="-285750">
              <a:buFont typeface="Arial" panose="020B0604020202020204" pitchFamily="34" charset="0"/>
              <a:buChar char="•"/>
            </a:pPr>
            <a:r>
              <a:rPr lang="en-US" dirty="0"/>
              <a:t>Involve business, design, and development teams from day zero to build buy-in.</a:t>
            </a:r>
          </a:p>
          <a:p>
            <a:r>
              <a:rPr lang="en-US" b="1" dirty="0"/>
              <a:t>Define Clear Objectives</a:t>
            </a:r>
            <a:endParaRPr lang="en-US" dirty="0"/>
          </a:p>
          <a:p>
            <a:pPr marL="285750" lvl="0" indent="-285750">
              <a:buFont typeface="Arial" panose="020B0604020202020204" pitchFamily="34" charset="0"/>
              <a:buChar char="•"/>
            </a:pPr>
            <a:r>
              <a:rPr lang="en-US" dirty="0"/>
              <a:t>Know what you’re trying to learn or validate before starting research or prototyping.</a:t>
            </a:r>
          </a:p>
          <a:p>
            <a:r>
              <a:rPr lang="en-US" b="1" dirty="0"/>
              <a:t>Prioritize Collaboration</a:t>
            </a:r>
            <a:endParaRPr lang="en-US" dirty="0"/>
          </a:p>
          <a:p>
            <a:pPr marL="285750" lvl="0" indent="-285750">
              <a:buFont typeface="Arial" panose="020B0604020202020204" pitchFamily="34" charset="0"/>
              <a:buChar char="•"/>
            </a:pPr>
            <a:r>
              <a:rPr lang="en-US" dirty="0"/>
              <a:t>Use workshops and shared tools (Miro, MS Whiteboard) to break silos.</a:t>
            </a:r>
          </a:p>
          <a:p>
            <a:r>
              <a:rPr lang="en-US" b="1" dirty="0"/>
              <a:t>Prototype Quickly &amp; Iteratively</a:t>
            </a:r>
            <a:endParaRPr lang="en-US" dirty="0"/>
          </a:p>
          <a:p>
            <a:pPr marL="285750" lvl="0" indent="-285750">
              <a:buFont typeface="Arial" panose="020B0604020202020204" pitchFamily="34" charset="0"/>
              <a:buChar char="•"/>
            </a:pPr>
            <a:r>
              <a:rPr lang="en-US" dirty="0"/>
              <a:t>Start with low-fidelity wireframes, then refine based on feedback using tools like Figma.</a:t>
            </a:r>
          </a:p>
          <a:p>
            <a:r>
              <a:rPr lang="en-US" b="1" dirty="0"/>
              <a:t>Gather Feedback Early &amp; Often</a:t>
            </a:r>
            <a:endParaRPr lang="en-US" dirty="0"/>
          </a:p>
          <a:p>
            <a:pPr marL="285750" lvl="0" indent="-285750">
              <a:buFont typeface="Arial" panose="020B0604020202020204" pitchFamily="34" charset="0"/>
              <a:buChar char="•"/>
            </a:pPr>
            <a:r>
              <a:rPr lang="en-US" dirty="0"/>
              <a:t>Create feedback loops and share insights across teams to keep alignment.</a:t>
            </a:r>
          </a:p>
          <a:p>
            <a:r>
              <a:rPr lang="en-US" b="1" dirty="0"/>
              <a:t>Embrace Experimentation</a:t>
            </a:r>
            <a:endParaRPr lang="en-US" dirty="0"/>
          </a:p>
          <a:p>
            <a:pPr marL="285750" lvl="0" indent="-285750">
              <a:buFont typeface="Arial" panose="020B0604020202020204" pitchFamily="34" charset="0"/>
              <a:buChar char="•"/>
            </a:pPr>
            <a:r>
              <a:rPr lang="en-US" dirty="0"/>
              <a:t>Treat designs as hypotheses—test, learn, and iterate without fear of failure.</a:t>
            </a:r>
          </a:p>
          <a:p>
            <a:r>
              <a:rPr lang="en-US" b="1" dirty="0"/>
              <a:t>Measure &amp; Communicate Success</a:t>
            </a:r>
            <a:endParaRPr lang="en-US" dirty="0"/>
          </a:p>
          <a:p>
            <a:pPr marL="285750" lvl="0" indent="-285750">
              <a:buFont typeface="Arial" panose="020B0604020202020204" pitchFamily="34" charset="0"/>
              <a:buChar char="•"/>
            </a:pPr>
            <a:r>
              <a:rPr lang="en-US" dirty="0"/>
              <a:t>Track KPIs (NPS, error rates, time on task) and share results to reinforce value.</a:t>
            </a:r>
          </a:p>
        </p:txBody>
      </p:sp>
      <p:pic>
        <p:nvPicPr>
          <p:cNvPr id="3" name="Picture 2">
            <a:extLst>
              <a:ext uri="{FF2B5EF4-FFF2-40B4-BE49-F238E27FC236}">
                <a16:creationId xmlns:a16="http://schemas.microsoft.com/office/drawing/2014/main" id="{DEF5D006-B270-4E76-27E0-2F2AFF4BF0F0}"/>
              </a:ext>
            </a:extLst>
          </p:cNvPr>
          <p:cNvPicPr>
            <a:picLocks noChangeAspect="1"/>
          </p:cNvPicPr>
          <p:nvPr/>
        </p:nvPicPr>
        <p:blipFill>
          <a:blip r:embed="rId4"/>
          <a:srcRect l="15795" r="15463" b="2084"/>
          <a:stretch>
            <a:fillRect/>
          </a:stretch>
        </p:blipFill>
        <p:spPr>
          <a:xfrm>
            <a:off x="8465819" y="1130497"/>
            <a:ext cx="3505200" cy="5092702"/>
          </a:xfrm>
          <a:prstGeom prst="rect">
            <a:avLst/>
          </a:prstGeom>
        </p:spPr>
      </p:pic>
    </p:spTree>
    <p:extLst>
      <p:ext uri="{BB962C8B-B14F-4D97-AF65-F5344CB8AC3E}">
        <p14:creationId xmlns:p14="http://schemas.microsoft.com/office/powerpoint/2010/main" val="620165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142457"/>
            <a:ext cx="9217152" cy="452432"/>
          </a:xfrm>
        </p:spPr>
        <p:txBody>
          <a:bodyPr/>
          <a:lstStyle/>
          <a:p>
            <a:r>
              <a:rPr lang="en-US" sz="2600" dirty="0"/>
              <a:t>How to Win Buy-In for Lean UX</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CC1F7237-E427-EAB6-FA8C-344B96FA0F4F}"/>
              </a:ext>
            </a:extLst>
          </p:cNvPr>
          <p:cNvSpPr txBox="1"/>
          <p:nvPr/>
        </p:nvSpPr>
        <p:spPr>
          <a:xfrm>
            <a:off x="5245100" y="889337"/>
            <a:ext cx="6946900" cy="5632311"/>
          </a:xfrm>
          <a:prstGeom prst="rect">
            <a:avLst/>
          </a:prstGeom>
          <a:noFill/>
        </p:spPr>
        <p:txBody>
          <a:bodyPr wrap="square">
            <a:spAutoFit/>
          </a:bodyPr>
          <a:lstStyle/>
          <a:p>
            <a:pPr lvl="0"/>
            <a:r>
              <a:rPr lang="en-US" b="1" dirty="0"/>
              <a:t>Tie Lean UX to strategic priorities: </a:t>
            </a:r>
          </a:p>
          <a:p>
            <a:pPr marL="285750" lvl="0" indent="-285750">
              <a:buFont typeface="Arial" panose="020B0604020202020204" pitchFamily="34" charset="0"/>
              <a:buChar char="•"/>
            </a:pPr>
            <a:r>
              <a:rPr lang="en-US" dirty="0"/>
              <a:t>Customer-centricity, Operational excellence, Cost efficiency</a:t>
            </a:r>
          </a:p>
          <a:p>
            <a:r>
              <a:rPr lang="en-US" b="1" dirty="0"/>
              <a:t>Use Success Stories &amp; Case Studies</a:t>
            </a:r>
            <a:endParaRPr lang="en-US" dirty="0"/>
          </a:p>
          <a:p>
            <a:pPr marL="285750" lvl="0" indent="-285750">
              <a:buFont typeface="Arial" panose="020B0604020202020204" pitchFamily="34" charset="0"/>
              <a:buChar char="•"/>
            </a:pPr>
            <a:r>
              <a:rPr lang="en-US" dirty="0"/>
              <a:t>Real-world examples (like Aptar’s Distributor Portal) show tangible benefits.</a:t>
            </a:r>
          </a:p>
          <a:p>
            <a:r>
              <a:rPr lang="en-US" b="1" dirty="0"/>
              <a:t>Engage Stakeholders Early</a:t>
            </a:r>
            <a:endParaRPr lang="en-US" dirty="0"/>
          </a:p>
          <a:p>
            <a:pPr marL="285750" lvl="0" indent="-285750">
              <a:buFont typeface="Arial" panose="020B0604020202020204" pitchFamily="34" charset="0"/>
              <a:buChar char="•"/>
            </a:pPr>
            <a:r>
              <a:rPr lang="en-US" dirty="0"/>
              <a:t>Invite management to workshops—let them see the process and value firsthand.</a:t>
            </a:r>
          </a:p>
          <a:p>
            <a:r>
              <a:rPr lang="en-US" b="1" dirty="0"/>
              <a:t>Show Measurable Outcomes</a:t>
            </a:r>
            <a:endParaRPr lang="en-US" dirty="0"/>
          </a:p>
          <a:p>
            <a:pPr marL="285750" lvl="0" indent="-285750">
              <a:buFont typeface="Arial" panose="020B0604020202020204" pitchFamily="34" charset="0"/>
              <a:buChar char="•"/>
            </a:pPr>
            <a:r>
              <a:rPr lang="en-US" dirty="0"/>
              <a:t>Share KPIs from similar projects: Faster time-to-market, Higher adoption rates, Improved customer satisfaction (NPS)</a:t>
            </a:r>
          </a:p>
          <a:p>
            <a:r>
              <a:rPr lang="en-US" b="1" dirty="0"/>
              <a:t>Emphasize ROI, Not Just Cost</a:t>
            </a:r>
            <a:endParaRPr lang="en-US" dirty="0"/>
          </a:p>
          <a:p>
            <a:pPr marL="285750" lvl="0" indent="-285750">
              <a:buFont typeface="Arial" panose="020B0604020202020204" pitchFamily="34" charset="0"/>
              <a:buChar char="•"/>
            </a:pPr>
            <a:r>
              <a:rPr lang="en-US" dirty="0"/>
              <a:t>Upfront analysis prevents expensive rework and post-launch fixes.</a:t>
            </a:r>
          </a:p>
          <a:p>
            <a:pPr marL="285750" lvl="0" indent="-285750">
              <a:buFont typeface="Arial" panose="020B0604020202020204" pitchFamily="34" charset="0"/>
              <a:buChar char="•"/>
            </a:pPr>
            <a:r>
              <a:rPr lang="en-US" dirty="0"/>
              <a:t>Every dollar spent early saves multiples later.</a:t>
            </a:r>
          </a:p>
          <a:p>
            <a:r>
              <a:rPr lang="en-US" b="1" dirty="0"/>
              <a:t>Highlight the Cost of Failure</a:t>
            </a:r>
            <a:endParaRPr lang="en-US" dirty="0"/>
          </a:p>
          <a:p>
            <a:pPr marL="285750" lvl="0" indent="-285750">
              <a:buFont typeface="Arial" panose="020B0604020202020204" pitchFamily="34" charset="0"/>
              <a:buChar char="•"/>
            </a:pPr>
            <a:r>
              <a:rPr lang="en-US" dirty="0"/>
              <a:t>Traditional projects often waste months and millions on solutions that miss the mark.</a:t>
            </a:r>
          </a:p>
          <a:p>
            <a:pPr marL="285750" lvl="0" indent="-285750">
              <a:buFont typeface="Arial" panose="020B0604020202020204" pitchFamily="34" charset="0"/>
              <a:buChar char="•"/>
            </a:pPr>
            <a:r>
              <a:rPr lang="en-US" dirty="0"/>
              <a:t>Lean UX reduces risk by validating ideas before heavy investment.</a:t>
            </a:r>
          </a:p>
        </p:txBody>
      </p:sp>
      <p:pic>
        <p:nvPicPr>
          <p:cNvPr id="3" name="Picture 2">
            <a:extLst>
              <a:ext uri="{FF2B5EF4-FFF2-40B4-BE49-F238E27FC236}">
                <a16:creationId xmlns:a16="http://schemas.microsoft.com/office/drawing/2014/main" id="{1E0808FA-8A60-0F9E-4B14-C89809F185AB}"/>
              </a:ext>
            </a:extLst>
          </p:cNvPr>
          <p:cNvPicPr>
            <a:picLocks noChangeAspect="1"/>
          </p:cNvPicPr>
          <p:nvPr/>
        </p:nvPicPr>
        <p:blipFill>
          <a:blip r:embed="rId4"/>
          <a:stretch>
            <a:fillRect/>
          </a:stretch>
        </p:blipFill>
        <p:spPr>
          <a:xfrm>
            <a:off x="243026" y="1311780"/>
            <a:ext cx="4839638" cy="4839638"/>
          </a:xfrm>
          <a:prstGeom prst="rect">
            <a:avLst/>
          </a:prstGeom>
        </p:spPr>
      </p:pic>
      <p:pic>
        <p:nvPicPr>
          <p:cNvPr id="8" name="Picture 7">
            <a:extLst>
              <a:ext uri="{FF2B5EF4-FFF2-40B4-BE49-F238E27FC236}">
                <a16:creationId xmlns:a16="http://schemas.microsoft.com/office/drawing/2014/main" id="{381203BB-EF06-0057-9EFB-776326D68AFC}"/>
              </a:ext>
            </a:extLst>
          </p:cNvPr>
          <p:cNvPicPr>
            <a:picLocks noChangeAspect="1"/>
          </p:cNvPicPr>
          <p:nvPr/>
        </p:nvPicPr>
        <p:blipFill>
          <a:blip r:embed="rId5"/>
          <a:srcRect l="615" r="615"/>
          <a:stretch>
            <a:fillRect/>
          </a:stretch>
        </p:blipFill>
        <p:spPr>
          <a:xfrm>
            <a:off x="0" y="236162"/>
            <a:ext cx="12192000" cy="6264466"/>
          </a:xfrm>
          <a:prstGeom prst="rect">
            <a:avLst/>
          </a:prstGeom>
        </p:spPr>
      </p:pic>
    </p:spTree>
    <p:extLst>
      <p:ext uri="{BB962C8B-B14F-4D97-AF65-F5344CB8AC3E}">
        <p14:creationId xmlns:p14="http://schemas.microsoft.com/office/powerpoint/2010/main" val="1703573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A3F5C5-F3C2-219E-595F-1F358334FF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0" name="Straight Connector 9">
            <a:extLst>
              <a:ext uri="{FF2B5EF4-FFF2-40B4-BE49-F238E27FC236}">
                <a16:creationId xmlns:a16="http://schemas.microsoft.com/office/drawing/2014/main" id="{78980236-C260-00F8-56C4-58F409AAE7C6}"/>
              </a:ext>
            </a:extLst>
          </p:cNvPr>
          <p:cNvCxnSpPr/>
          <p:nvPr/>
        </p:nvCxnSpPr>
        <p:spPr>
          <a:xfrm>
            <a:off x="6096000" y="620591"/>
            <a:ext cx="0" cy="4745736"/>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3D9C79A-409C-CB25-EFB1-0067727F56CD}"/>
              </a:ext>
            </a:extLst>
          </p:cNvPr>
          <p:cNvSpPr txBox="1"/>
          <p:nvPr/>
        </p:nvSpPr>
        <p:spPr>
          <a:xfrm>
            <a:off x="214510" y="810006"/>
            <a:ext cx="5733661" cy="4431983"/>
          </a:xfrm>
          <a:prstGeom prst="rect">
            <a:avLst/>
          </a:prstGeom>
          <a:noFill/>
        </p:spPr>
        <p:txBody>
          <a:bodyPr wrap="square" rtlCol="0">
            <a:spAutoFit/>
          </a:bodyPr>
          <a:lstStyle/>
          <a:p>
            <a:r>
              <a:rPr lang="en-US" sz="2400" b="1" dirty="0"/>
              <a:t>Building a Lean UX Culture</a:t>
            </a:r>
          </a:p>
          <a:p>
            <a:endParaRPr lang="en-US" sz="2400" dirty="0"/>
          </a:p>
          <a:p>
            <a:pPr lvl="0"/>
            <a:r>
              <a:rPr lang="en-US" b="1" dirty="0"/>
              <a:t>Promote a User-Centered Mindset </a:t>
            </a:r>
            <a:endParaRPr lang="en-US" dirty="0"/>
          </a:p>
          <a:p>
            <a:pPr lvl="1"/>
            <a:r>
              <a:rPr lang="en-US" dirty="0"/>
              <a:t>Make user needs the foundation of every decision.</a:t>
            </a:r>
          </a:p>
          <a:p>
            <a:pPr lvl="0"/>
            <a:r>
              <a:rPr lang="en-US" b="1" dirty="0"/>
              <a:t>Encourage Cross-Functional Collaboration </a:t>
            </a:r>
            <a:endParaRPr lang="en-US" dirty="0"/>
          </a:p>
          <a:p>
            <a:pPr lvl="1"/>
            <a:r>
              <a:rPr lang="en-US" dirty="0"/>
              <a:t>Designers, developers, and business stakeholders work as one team.</a:t>
            </a:r>
          </a:p>
          <a:p>
            <a:pPr lvl="0"/>
            <a:r>
              <a:rPr lang="en-US" b="1" dirty="0"/>
              <a:t>Embrace Iteration &amp; Experimentation </a:t>
            </a:r>
            <a:endParaRPr lang="en-US" dirty="0"/>
          </a:p>
          <a:p>
            <a:pPr lvl="1"/>
            <a:r>
              <a:rPr lang="en-US" dirty="0"/>
              <a:t>Allow for failure—treat designs as hypotheses.</a:t>
            </a:r>
          </a:p>
          <a:p>
            <a:pPr lvl="0"/>
            <a:r>
              <a:rPr lang="en-US" b="1" dirty="0"/>
              <a:t>Provide Ongoing Training &amp; Support </a:t>
            </a:r>
            <a:endParaRPr lang="en-US" dirty="0"/>
          </a:p>
          <a:p>
            <a:pPr lvl="1"/>
            <a:r>
              <a:rPr lang="en-US" dirty="0"/>
              <a:t>Reinforce Lean UX principles through workshops and learning resources.</a:t>
            </a:r>
          </a:p>
          <a:p>
            <a:pPr lvl="0"/>
            <a:r>
              <a:rPr lang="en-US" b="1" dirty="0"/>
              <a:t>Celebrate Successes &amp; Learn from Failures </a:t>
            </a:r>
            <a:endParaRPr lang="en-US" dirty="0"/>
          </a:p>
          <a:p>
            <a:pPr lvl="1"/>
            <a:r>
              <a:rPr lang="en-US" dirty="0"/>
              <a:t>Share wins and lessons to strengthen adoption.</a:t>
            </a:r>
          </a:p>
        </p:txBody>
      </p:sp>
      <p:sp>
        <p:nvSpPr>
          <p:cNvPr id="4" name="TextBox 3">
            <a:extLst>
              <a:ext uri="{FF2B5EF4-FFF2-40B4-BE49-F238E27FC236}">
                <a16:creationId xmlns:a16="http://schemas.microsoft.com/office/drawing/2014/main" id="{F66C02F3-5CCB-ADD1-705F-DBB9494D4301}"/>
              </a:ext>
            </a:extLst>
          </p:cNvPr>
          <p:cNvSpPr txBox="1"/>
          <p:nvPr/>
        </p:nvSpPr>
        <p:spPr>
          <a:xfrm>
            <a:off x="6375789" y="810006"/>
            <a:ext cx="5733661" cy="4708981"/>
          </a:xfrm>
          <a:prstGeom prst="rect">
            <a:avLst/>
          </a:prstGeom>
          <a:noFill/>
        </p:spPr>
        <p:txBody>
          <a:bodyPr wrap="square" rtlCol="0">
            <a:spAutoFit/>
          </a:bodyPr>
          <a:lstStyle/>
          <a:p>
            <a:r>
              <a:rPr lang="en-US" sz="2400" b="1" dirty="0"/>
              <a:t>Tools &amp; Resources for Each Step</a:t>
            </a:r>
          </a:p>
          <a:p>
            <a:endParaRPr lang="en-US" sz="2400" b="1" dirty="0"/>
          </a:p>
          <a:p>
            <a:r>
              <a:rPr lang="en-US" b="1" dirty="0"/>
              <a:t>Think (Research &amp; Discovery):</a:t>
            </a:r>
            <a:r>
              <a:rPr lang="en-US" dirty="0"/>
              <a:t> </a:t>
            </a:r>
          </a:p>
          <a:p>
            <a:pPr lvl="1"/>
            <a:r>
              <a:rPr lang="en-US" i="1" dirty="0"/>
              <a:t>Tools:</a:t>
            </a:r>
            <a:r>
              <a:rPr lang="en-US" dirty="0"/>
              <a:t> Miro, MS Whiteboard for workshops</a:t>
            </a:r>
          </a:p>
          <a:p>
            <a:pPr lvl="1"/>
            <a:r>
              <a:rPr lang="en-US" i="1" dirty="0"/>
              <a:t>Resources:</a:t>
            </a:r>
            <a:r>
              <a:rPr lang="en-US" dirty="0"/>
              <a:t> Google UX Design Professional Course (Coursera)</a:t>
            </a:r>
          </a:p>
          <a:p>
            <a:r>
              <a:rPr lang="en-US" b="1" dirty="0"/>
              <a:t>Make (Design &amp; Prototype):</a:t>
            </a:r>
            <a:r>
              <a:rPr lang="en-US" dirty="0"/>
              <a:t> </a:t>
            </a:r>
          </a:p>
          <a:p>
            <a:pPr lvl="1"/>
            <a:r>
              <a:rPr lang="en-US" i="1" dirty="0"/>
              <a:t>Tools:</a:t>
            </a:r>
            <a:r>
              <a:rPr lang="en-US" dirty="0"/>
              <a:t> Figma, Sketch, Adobe XD for wireframes and mockups</a:t>
            </a:r>
          </a:p>
          <a:p>
            <a:r>
              <a:rPr lang="en-US" b="1" dirty="0"/>
              <a:t>Check (Validate &amp; Iterate):</a:t>
            </a:r>
            <a:r>
              <a:rPr lang="en-US" dirty="0"/>
              <a:t> </a:t>
            </a:r>
          </a:p>
          <a:p>
            <a:pPr lvl="1"/>
            <a:r>
              <a:rPr lang="en-US" i="1" dirty="0"/>
              <a:t>Tools:</a:t>
            </a:r>
            <a:r>
              <a:rPr lang="en-US" dirty="0"/>
              <a:t> </a:t>
            </a:r>
            <a:r>
              <a:rPr lang="en-US" dirty="0" err="1"/>
              <a:t>UserTesting</a:t>
            </a:r>
            <a:r>
              <a:rPr lang="en-US" dirty="0"/>
              <a:t>, Maze for usability testing</a:t>
            </a:r>
          </a:p>
          <a:p>
            <a:pPr lvl="1"/>
            <a:r>
              <a:rPr lang="en-US" i="1" dirty="0"/>
              <a:t>Metrics:</a:t>
            </a:r>
            <a:r>
              <a:rPr lang="en-US" dirty="0"/>
              <a:t> NPS, success/error rates, time on task</a:t>
            </a:r>
          </a:p>
          <a:p>
            <a:r>
              <a:rPr lang="en-US" b="1" dirty="0"/>
              <a:t>Collaboration &amp; Communication:</a:t>
            </a:r>
            <a:r>
              <a:rPr lang="en-US" dirty="0"/>
              <a:t> </a:t>
            </a:r>
          </a:p>
          <a:p>
            <a:pPr lvl="1"/>
            <a:r>
              <a:rPr lang="en-US" i="1" dirty="0"/>
              <a:t>Tools:</a:t>
            </a:r>
            <a:r>
              <a:rPr lang="en-US" dirty="0"/>
              <a:t> Teams, SharePoint for sharing insights and feedback loops</a:t>
            </a:r>
          </a:p>
          <a:p>
            <a:pPr lvl="1"/>
            <a:endParaRPr lang="en-US" dirty="0"/>
          </a:p>
        </p:txBody>
      </p:sp>
      <p:sp>
        <p:nvSpPr>
          <p:cNvPr id="9" name="TextBox 8">
            <a:extLst>
              <a:ext uri="{FF2B5EF4-FFF2-40B4-BE49-F238E27FC236}">
                <a16:creationId xmlns:a16="http://schemas.microsoft.com/office/drawing/2014/main" id="{EE4EC7E6-97FD-1BAD-7993-89B9760C3837}"/>
              </a:ext>
            </a:extLst>
          </p:cNvPr>
          <p:cNvSpPr txBox="1"/>
          <p:nvPr/>
        </p:nvSpPr>
        <p:spPr>
          <a:xfrm>
            <a:off x="727075" y="5791200"/>
            <a:ext cx="10737850" cy="369332"/>
          </a:xfrm>
          <a:prstGeom prst="rect">
            <a:avLst/>
          </a:prstGeom>
          <a:noFill/>
        </p:spPr>
        <p:txBody>
          <a:bodyPr wrap="square" rtlCol="0">
            <a:spAutoFit/>
          </a:bodyPr>
          <a:lstStyle/>
          <a:p>
            <a:pPr algn="ctr"/>
            <a:r>
              <a:rPr lang="en-US" i="1" dirty="0"/>
              <a:t>Mindset + Method + Tools = Lean UX that sticks.</a:t>
            </a:r>
          </a:p>
        </p:txBody>
      </p:sp>
    </p:spTree>
    <p:extLst>
      <p:ext uri="{BB962C8B-B14F-4D97-AF65-F5344CB8AC3E}">
        <p14:creationId xmlns:p14="http://schemas.microsoft.com/office/powerpoint/2010/main" val="2254148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448186-B0CB-63DF-318C-032E82B25FF9}"/>
              </a:ext>
            </a:extLst>
          </p:cNvPr>
          <p:cNvSpPr>
            <a:spLocks noGrp="1"/>
          </p:cNvSpPr>
          <p:nvPr>
            <p:ph type="sldNum" sz="quarter" idx="12"/>
          </p:nvPr>
        </p:nvSpPr>
        <p:spPr/>
        <p:txBody>
          <a:bodyPr/>
          <a:lstStyle/>
          <a:p>
            <a:fld id="{7A75AEF7-7CA2-4665-9348-32CCD499C383}" type="slidenum">
              <a:rPr lang="en-US" smtClean="0"/>
              <a:t>17</a:t>
            </a:fld>
            <a:endParaRPr lang="en-US"/>
          </a:p>
        </p:txBody>
      </p:sp>
      <p:sp>
        <p:nvSpPr>
          <p:cNvPr id="3" name="Text Placeholder 2">
            <a:extLst>
              <a:ext uri="{FF2B5EF4-FFF2-40B4-BE49-F238E27FC236}">
                <a16:creationId xmlns:a16="http://schemas.microsoft.com/office/drawing/2014/main" id="{FE81C5E5-CAE6-0522-A4B3-74E60CF66827}"/>
              </a:ext>
            </a:extLst>
          </p:cNvPr>
          <p:cNvSpPr>
            <a:spLocks noGrp="1"/>
          </p:cNvSpPr>
          <p:nvPr>
            <p:ph type="body" sz="quarter" idx="13"/>
          </p:nvPr>
        </p:nvSpPr>
        <p:spPr/>
        <p:txBody>
          <a:bodyPr/>
          <a:lstStyle/>
          <a:p>
            <a:pPr algn="ctr"/>
            <a:r>
              <a:rPr lang="en-US" i="1" dirty="0"/>
              <a:t>Lean UX isn’t just for tech companies—it’s a mindset that drives value, efficiency, and customer satisfaction.</a:t>
            </a:r>
          </a:p>
        </p:txBody>
      </p:sp>
    </p:spTree>
    <p:extLst>
      <p:ext uri="{BB962C8B-B14F-4D97-AF65-F5344CB8AC3E}">
        <p14:creationId xmlns:p14="http://schemas.microsoft.com/office/powerpoint/2010/main" val="25285479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8C68F8-9F45-1D89-2D78-1DCA32E3D79B}"/>
              </a:ext>
            </a:extLst>
          </p:cNvPr>
          <p:cNvSpPr/>
          <p:nvPr/>
        </p:nvSpPr>
        <p:spPr>
          <a:xfrm>
            <a:off x="0" y="886404"/>
            <a:ext cx="3611602" cy="53611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0" name="Right Triangle 9">
            <a:extLst>
              <a:ext uri="{FF2B5EF4-FFF2-40B4-BE49-F238E27FC236}">
                <a16:creationId xmlns:a16="http://schemas.microsoft.com/office/drawing/2014/main" id="{43B5FAB6-1542-CE7E-6A10-BEC8B77BDA24}"/>
              </a:ext>
            </a:extLst>
          </p:cNvPr>
          <p:cNvSpPr/>
          <p:nvPr/>
        </p:nvSpPr>
        <p:spPr>
          <a:xfrm rot="13500000">
            <a:off x="1706424" y="1671526"/>
            <a:ext cx="3790901" cy="3790901"/>
          </a:xfrm>
          <a:prstGeom prst="r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551D9C5-E811-80B5-7C3C-C15583F0B306}"/>
              </a:ext>
            </a:extLst>
          </p:cNvPr>
          <p:cNvSpPr>
            <a:spLocks noGrp="1"/>
          </p:cNvSpPr>
          <p:nvPr>
            <p:ph type="title"/>
          </p:nvPr>
        </p:nvSpPr>
        <p:spPr/>
        <p:txBody>
          <a:bodyPr/>
          <a:lstStyle/>
          <a:p>
            <a:r>
              <a:rPr lang="en-US" dirty="0"/>
              <a:t>Questions?  Feel Free to Reach Out!</a:t>
            </a:r>
          </a:p>
        </p:txBody>
      </p:sp>
      <p:sp>
        <p:nvSpPr>
          <p:cNvPr id="3" name="Slide Number Placeholder 2">
            <a:extLst>
              <a:ext uri="{FF2B5EF4-FFF2-40B4-BE49-F238E27FC236}">
                <a16:creationId xmlns:a16="http://schemas.microsoft.com/office/drawing/2014/main" id="{A68C390D-6DB1-1E1B-B4BE-646EE188AC55}"/>
              </a:ext>
            </a:extLst>
          </p:cNvPr>
          <p:cNvSpPr>
            <a:spLocks noGrp="1"/>
          </p:cNvSpPr>
          <p:nvPr>
            <p:ph type="sldNum" sz="quarter" idx="12"/>
          </p:nvPr>
        </p:nvSpPr>
        <p:spPr/>
        <p:txBody>
          <a:bodyPr/>
          <a:lstStyle/>
          <a:p>
            <a:fld id="{7A75AEF7-7CA2-4665-9348-32CCD499C383}" type="slidenum">
              <a:rPr lang="en-US" smtClean="0"/>
              <a:t>18</a:t>
            </a:fld>
            <a:endParaRPr lang="en-US" dirty="0"/>
          </a:p>
        </p:txBody>
      </p:sp>
      <p:sp>
        <p:nvSpPr>
          <p:cNvPr id="6" name="Content Placeholder 5">
            <a:extLst>
              <a:ext uri="{FF2B5EF4-FFF2-40B4-BE49-F238E27FC236}">
                <a16:creationId xmlns:a16="http://schemas.microsoft.com/office/drawing/2014/main" id="{5193104F-B731-9550-0063-6720ECE6E653}"/>
              </a:ext>
            </a:extLst>
          </p:cNvPr>
          <p:cNvSpPr>
            <a:spLocks noGrp="1"/>
          </p:cNvSpPr>
          <p:nvPr>
            <p:ph sz="half" idx="14"/>
          </p:nvPr>
        </p:nvSpPr>
        <p:spPr>
          <a:xfrm>
            <a:off x="613954" y="1843819"/>
            <a:ext cx="10964092" cy="4090338"/>
          </a:xfrm>
          <a:noFill/>
        </p:spPr>
        <p:txBody>
          <a:bodyPr/>
          <a:lstStyle/>
          <a:p>
            <a:r>
              <a:rPr lang="en-US" dirty="0"/>
              <a:t>Derek Bressler, Head of Software Engineering &amp; CX</a:t>
            </a:r>
          </a:p>
          <a:p>
            <a:endParaRPr lang="en-US" dirty="0"/>
          </a:p>
          <a:p>
            <a:r>
              <a:rPr lang="en-US" dirty="0" err="1"/>
              <a:t>Aptargroup</a:t>
            </a:r>
            <a:r>
              <a:rPr lang="en-US" dirty="0"/>
              <a:t>, Inc. – </a:t>
            </a:r>
            <a:r>
              <a:rPr lang="en-US" dirty="0">
                <a:hlinkClick r:id="rId2"/>
              </a:rPr>
              <a:t>www.aptar.com</a:t>
            </a:r>
            <a:r>
              <a:rPr lang="en-US" dirty="0"/>
              <a:t> </a:t>
            </a:r>
          </a:p>
          <a:p>
            <a:endParaRPr lang="en-US" dirty="0"/>
          </a:p>
          <a:p>
            <a:r>
              <a:rPr lang="en-US" dirty="0"/>
              <a:t>Email:  </a:t>
            </a:r>
            <a:r>
              <a:rPr lang="en-US" dirty="0">
                <a:hlinkClick r:id="rId3"/>
              </a:rPr>
              <a:t>derek.bressler@aptar.com</a:t>
            </a:r>
            <a:endParaRPr lang="en-US" dirty="0"/>
          </a:p>
          <a:p>
            <a:endParaRPr lang="en-US" dirty="0"/>
          </a:p>
          <a:p>
            <a:r>
              <a:rPr lang="en-US" dirty="0"/>
              <a:t>LinkedIn: </a:t>
            </a:r>
            <a:r>
              <a:rPr lang="en-US" dirty="0">
                <a:hlinkClick r:id="rId4"/>
              </a:rPr>
              <a:t>www.linkedin.com/in/derek-bressler</a:t>
            </a:r>
            <a:endParaRPr lang="en-US" dirty="0"/>
          </a:p>
          <a:p>
            <a:endParaRPr lang="en-US" dirty="0"/>
          </a:p>
        </p:txBody>
      </p:sp>
      <p:pic>
        <p:nvPicPr>
          <p:cNvPr id="1026" name="Picture 2" descr="profile image">
            <a:extLst>
              <a:ext uri="{FF2B5EF4-FFF2-40B4-BE49-F238E27FC236}">
                <a16:creationId xmlns:a16="http://schemas.microsoft.com/office/drawing/2014/main" id="{41B09B66-24BD-7B3D-CF9B-E892A901017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73292" y="2378774"/>
            <a:ext cx="3204754" cy="3204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650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9DC5A77-10C9-4ECF-B7EB-8D917F36A9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2FFE28B5-FB16-49A9-B851-3C35FAC0CA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10905976" cy="16511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2AD1E13-8B08-4759-807F-3000F8017208}"/>
              </a:ext>
            </a:extLst>
          </p:cNvPr>
          <p:cNvSpPr>
            <a:spLocks noGrp="1"/>
          </p:cNvSpPr>
          <p:nvPr>
            <p:ph type="title"/>
          </p:nvPr>
        </p:nvSpPr>
        <p:spPr>
          <a:xfrm>
            <a:off x="1600754" y="1087374"/>
            <a:ext cx="8983489" cy="1000978"/>
          </a:xfrm>
        </p:spPr>
        <p:txBody>
          <a:bodyPr>
            <a:normAutofit/>
          </a:bodyPr>
          <a:lstStyle/>
          <a:p>
            <a:r>
              <a:rPr lang="en-US" spc="-100" dirty="0"/>
              <a:t>Disclaimer</a:t>
            </a:r>
            <a:endParaRPr lang="en-US" dirty="0"/>
          </a:p>
        </p:txBody>
      </p:sp>
      <p:sp>
        <p:nvSpPr>
          <p:cNvPr id="13" name="Rectangle 12">
            <a:extLst>
              <a:ext uri="{FF2B5EF4-FFF2-40B4-BE49-F238E27FC236}">
                <a16:creationId xmlns:a16="http://schemas.microsoft.com/office/drawing/2014/main" id="{01014442-855A-4E0F-8D09-C314661A4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14533" y="758952"/>
            <a:ext cx="1185379" cy="1651133"/>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5" name="Rectangle 14">
            <a:extLst>
              <a:ext uri="{FF2B5EF4-FFF2-40B4-BE49-F238E27FC236}">
                <a16:creationId xmlns:a16="http://schemas.microsoft.com/office/drawing/2014/main" id="{9B1ABF09-86CF-414E-88A5-2B84CC7232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3" y="2526526"/>
            <a:ext cx="1169701" cy="3563378"/>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7" name="Rectangle 16">
            <a:extLst>
              <a:ext uri="{FF2B5EF4-FFF2-40B4-BE49-F238E27FC236}">
                <a16:creationId xmlns:a16="http://schemas.microsoft.com/office/drawing/2014/main" id="{3FE91770-CDBB-4D24-94E5-AD484F36CE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79019" y="2526526"/>
            <a:ext cx="10920893" cy="3563377"/>
          </a:xfrm>
          <a:prstGeom prst="rect">
            <a:avLst/>
          </a:prstGeom>
          <a:solidFill>
            <a:schemeClr val="bg2">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4A2A4C31-7B35-4922-B0A6-3C46A48EADF5}"/>
              </a:ext>
            </a:extLst>
          </p:cNvPr>
          <p:cNvSpPr>
            <a:spLocks noGrp="1"/>
          </p:cNvSpPr>
          <p:nvPr>
            <p:ph type="sldNum" sz="quarter" idx="12"/>
          </p:nvPr>
        </p:nvSpPr>
        <p:spPr>
          <a:xfrm>
            <a:off x="10634135" y="6356350"/>
            <a:ext cx="1530927"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FAB73BC-B049-4115-A692-8D63A059BFB8}" type="slidenum">
              <a:rPr kumimoji="0" lang="en-US" sz="1000" b="1" i="0" u="none" strike="noStrike" kern="1200" cap="none" spc="0" normalizeH="0" baseline="0" noProof="0" smtClean="0">
                <a:ln>
                  <a:noFill/>
                </a:ln>
                <a:solidFill>
                  <a:srgbClr val="FFFFFF">
                    <a:lumMod val="6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9</a:t>
            </a:fld>
            <a:endParaRPr kumimoji="0" lang="en-US" sz="1000" b="1" i="0" u="none" strike="noStrike" kern="1200" cap="none" spc="0" normalizeH="0" baseline="0" noProof="0" dirty="0">
              <a:ln>
                <a:noFill/>
              </a:ln>
              <a:solidFill>
                <a:srgbClr val="FFFFFF">
                  <a:lumMod val="65000"/>
                </a:srgbClr>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71859C11-073D-4A75-A7BA-5CEFBE134155}"/>
              </a:ext>
            </a:extLst>
          </p:cNvPr>
          <p:cNvSpPr/>
          <p:nvPr/>
        </p:nvSpPr>
        <p:spPr>
          <a:xfrm>
            <a:off x="1279019" y="2526526"/>
            <a:ext cx="10920893" cy="3572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Picture 22">
            <a:extLst>
              <a:ext uri="{FF2B5EF4-FFF2-40B4-BE49-F238E27FC236}">
                <a16:creationId xmlns:a16="http://schemas.microsoft.com/office/drawing/2014/main" id="{2A56E67B-31A0-4B4B-BC85-3A188C7F73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6" name="TextBox 5"/>
          <p:cNvSpPr txBox="1"/>
          <p:nvPr/>
        </p:nvSpPr>
        <p:spPr>
          <a:xfrm>
            <a:off x="1279018" y="2877053"/>
            <a:ext cx="9442515" cy="2862322"/>
          </a:xfrm>
          <a:prstGeom prst="rect">
            <a:avLst/>
          </a:prstGeom>
          <a:noFill/>
        </p:spPr>
        <p:txBody>
          <a:bodyPr wrap="square" rtlCol="0">
            <a:spAutoFit/>
          </a:bodyPr>
          <a:lstStyle/>
          <a:p>
            <a:r>
              <a:rPr lang="en-US" dirty="0"/>
              <a:t>This document, including all its sections, is protected by copyright.</a:t>
            </a:r>
          </a:p>
          <a:p>
            <a:endParaRPr lang="en-US" dirty="0"/>
          </a:p>
          <a:p>
            <a:r>
              <a:rPr lang="en-US" dirty="0"/>
              <a:t>Any use of the contents outside the narrow limits set by the copyright law is illegal and liable to prosecution if the author's permission has not been sought.</a:t>
            </a:r>
          </a:p>
          <a:p>
            <a:r>
              <a:rPr lang="en-US" dirty="0"/>
              <a:t>This applies in particular for reproducing, translating, microfilming, storing and processing the contents in electronic systems. </a:t>
            </a:r>
          </a:p>
          <a:p>
            <a:endParaRPr lang="en-US" dirty="0"/>
          </a:p>
          <a:p>
            <a:r>
              <a:rPr lang="en-US" dirty="0"/>
              <a:t>In addition, this document and any printed materials resulting from this document are confidential, should be used for internal use only and should not be shared with third parties without Aptar’s prior written consent.</a:t>
            </a:r>
          </a:p>
        </p:txBody>
      </p:sp>
    </p:spTree>
    <p:extLst>
      <p:ext uri="{BB962C8B-B14F-4D97-AF65-F5344CB8AC3E}">
        <p14:creationId xmlns:p14="http://schemas.microsoft.com/office/powerpoint/2010/main" val="226135033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8C68F8-9F45-1D89-2D78-1DCA32E3D79B}"/>
              </a:ext>
            </a:extLst>
          </p:cNvPr>
          <p:cNvSpPr/>
          <p:nvPr/>
        </p:nvSpPr>
        <p:spPr>
          <a:xfrm>
            <a:off x="0" y="886404"/>
            <a:ext cx="3611602" cy="53611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0" name="Right Triangle 9">
            <a:extLst>
              <a:ext uri="{FF2B5EF4-FFF2-40B4-BE49-F238E27FC236}">
                <a16:creationId xmlns:a16="http://schemas.microsoft.com/office/drawing/2014/main" id="{43B5FAB6-1542-CE7E-6A10-BEC8B77BDA24}"/>
              </a:ext>
            </a:extLst>
          </p:cNvPr>
          <p:cNvSpPr/>
          <p:nvPr/>
        </p:nvSpPr>
        <p:spPr>
          <a:xfrm rot="13500000">
            <a:off x="1706424" y="1671526"/>
            <a:ext cx="3790901" cy="3790901"/>
          </a:xfrm>
          <a:prstGeom prst="r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A68C390D-6DB1-1E1B-B4BE-646EE188AC55}"/>
              </a:ext>
            </a:extLst>
          </p:cNvPr>
          <p:cNvSpPr>
            <a:spLocks noGrp="1"/>
          </p:cNvSpPr>
          <p:nvPr>
            <p:ph type="sldNum" sz="quarter" idx="12"/>
          </p:nvPr>
        </p:nvSpPr>
        <p:spPr/>
        <p:txBody>
          <a:bodyPr/>
          <a:lstStyle/>
          <a:p>
            <a:fld id="{7A75AEF7-7CA2-4665-9348-32CCD499C383}" type="slidenum">
              <a:rPr lang="en-US" smtClean="0"/>
              <a:t>2</a:t>
            </a:fld>
            <a:endParaRPr lang="en-US" dirty="0"/>
          </a:p>
        </p:txBody>
      </p:sp>
      <p:sp>
        <p:nvSpPr>
          <p:cNvPr id="6" name="Content Placeholder 5">
            <a:extLst>
              <a:ext uri="{FF2B5EF4-FFF2-40B4-BE49-F238E27FC236}">
                <a16:creationId xmlns:a16="http://schemas.microsoft.com/office/drawing/2014/main" id="{5193104F-B731-9550-0063-6720ECE6E653}"/>
              </a:ext>
            </a:extLst>
          </p:cNvPr>
          <p:cNvSpPr>
            <a:spLocks noGrp="1"/>
          </p:cNvSpPr>
          <p:nvPr>
            <p:ph sz="half" idx="14"/>
          </p:nvPr>
        </p:nvSpPr>
        <p:spPr>
          <a:xfrm>
            <a:off x="664027" y="1383831"/>
            <a:ext cx="10964092" cy="4090338"/>
          </a:xfrm>
          <a:noFill/>
        </p:spPr>
        <p:txBody>
          <a:bodyPr/>
          <a:lstStyle/>
          <a:p>
            <a:r>
              <a:rPr lang="en-US" dirty="0"/>
              <a:t>Derek Bressler, Head of Software Engineering &amp; CX</a:t>
            </a:r>
          </a:p>
          <a:p>
            <a:endParaRPr lang="en-US" dirty="0"/>
          </a:p>
          <a:p>
            <a:r>
              <a:rPr lang="en-US" dirty="0" err="1"/>
              <a:t>Aptargroup</a:t>
            </a:r>
            <a:r>
              <a:rPr lang="en-US" dirty="0"/>
              <a:t>, Inc. – </a:t>
            </a:r>
            <a:r>
              <a:rPr lang="en-US" dirty="0">
                <a:hlinkClick r:id="rId2"/>
              </a:rPr>
              <a:t>aptar.com</a:t>
            </a:r>
            <a:r>
              <a:rPr lang="en-US" dirty="0"/>
              <a:t> </a:t>
            </a:r>
          </a:p>
          <a:p>
            <a:endParaRPr lang="en-US" dirty="0"/>
          </a:p>
          <a:p>
            <a:r>
              <a:rPr lang="en-US" dirty="0"/>
              <a:t>Email:  </a:t>
            </a:r>
            <a:r>
              <a:rPr lang="en-US" dirty="0">
                <a:hlinkClick r:id="rId3"/>
              </a:rPr>
              <a:t>derek.bressler@aptar.com</a:t>
            </a:r>
            <a:endParaRPr lang="en-US" dirty="0"/>
          </a:p>
          <a:p>
            <a:endParaRPr lang="en-US" dirty="0"/>
          </a:p>
          <a:p>
            <a:r>
              <a:rPr lang="en-US" dirty="0"/>
              <a:t>LinkedIn: </a:t>
            </a:r>
            <a:r>
              <a:rPr lang="en-US" dirty="0">
                <a:hlinkClick r:id="rId4"/>
              </a:rPr>
              <a:t>www.linkedin.com/in/derek-bressler</a:t>
            </a:r>
            <a:endParaRPr lang="en-US" dirty="0"/>
          </a:p>
          <a:p>
            <a:endParaRPr lang="en-US" dirty="0"/>
          </a:p>
        </p:txBody>
      </p:sp>
      <p:pic>
        <p:nvPicPr>
          <p:cNvPr id="1026" name="Picture 2" descr="profile image">
            <a:extLst>
              <a:ext uri="{FF2B5EF4-FFF2-40B4-BE49-F238E27FC236}">
                <a16:creationId xmlns:a16="http://schemas.microsoft.com/office/drawing/2014/main" id="{41B09B66-24BD-7B3D-CF9B-E892A901017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73292" y="2065265"/>
            <a:ext cx="3204754" cy="3204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517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Slide Number Placeholder 7"/>
          <p:cNvSpPr>
            <a:spLocks noGrp="1"/>
          </p:cNvSpPr>
          <p:nvPr>
            <p:ph type="sldNum" sz="quarter" idx="12"/>
          </p:nvPr>
        </p:nvSpPr>
        <p:spPr/>
        <p:txBody>
          <a:bodyPr/>
          <a:lstStyle/>
          <a:p>
            <a:fld id="{12B6C35B-3386-41F6-9405-71C3AC13EAE0}" type="slidenum">
              <a:rPr lang="en-US" smtClean="0"/>
              <a:pPr/>
              <a:t>20</a:t>
            </a:fld>
            <a:endParaRPr lang="en-US" dirty="0"/>
          </a:p>
        </p:txBody>
      </p:sp>
      <p:sp>
        <p:nvSpPr>
          <p:cNvPr id="8" name="Rectangle 7"/>
          <p:cNvSpPr/>
          <p:nvPr/>
        </p:nvSpPr>
        <p:spPr>
          <a:xfrm>
            <a:off x="10080703" y="147686"/>
            <a:ext cx="2029522" cy="8474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6" name="Group 5"/>
          <p:cNvGrpSpPr/>
          <p:nvPr/>
        </p:nvGrpSpPr>
        <p:grpSpPr>
          <a:xfrm>
            <a:off x="3694749" y="1280554"/>
            <a:ext cx="5424458" cy="584877"/>
            <a:chOff x="3365582" y="869008"/>
            <a:chExt cx="5424458" cy="584877"/>
          </a:xfrm>
        </p:grpSpPr>
        <p:sp>
          <p:nvSpPr>
            <p:cNvPr id="7" name="TextBox 6"/>
            <p:cNvSpPr txBox="1"/>
            <p:nvPr/>
          </p:nvSpPr>
          <p:spPr>
            <a:xfrm>
              <a:off x="3365582" y="869008"/>
              <a:ext cx="34821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4715A"/>
                  </a:solidFill>
                  <a:effectLst/>
                  <a:uLnTx/>
                  <a:uFillTx/>
                  <a:latin typeface="Arial" panose="020B0604020202020204"/>
                  <a:ea typeface="+mn-ea"/>
                  <a:cs typeface="+mn-cs"/>
                </a:rPr>
                <a:t>Follow us on:</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1552" y="886746"/>
              <a:ext cx="2848488" cy="567139"/>
            </a:xfrm>
            <a:prstGeom prst="rect">
              <a:avLst/>
            </a:prstGeom>
          </p:spPr>
        </p:pic>
      </p:gr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9506" y="1572993"/>
            <a:ext cx="1664022" cy="452644"/>
          </a:xfrm>
          <a:prstGeom prst="rect">
            <a:avLst/>
          </a:prstGeom>
        </p:spPr>
      </p:pic>
      <p:sp>
        <p:nvSpPr>
          <p:cNvPr id="11" name="TextBox 10"/>
          <p:cNvSpPr txBox="1"/>
          <p:nvPr/>
        </p:nvSpPr>
        <p:spPr>
          <a:xfrm>
            <a:off x="9831267" y="2160500"/>
            <a:ext cx="2550695" cy="1200329"/>
          </a:xfrm>
          <a:prstGeom prst="rect">
            <a:avLst/>
          </a:prstGeom>
          <a:noFill/>
        </p:spPr>
        <p:txBody>
          <a:bodyPr wrap="square" rtlCol="0">
            <a:spAutoFit/>
          </a:bodyPr>
          <a:lstStyle/>
          <a:p>
            <a:r>
              <a:rPr lang="en-US" sz="1200" dirty="0">
                <a:solidFill>
                  <a:schemeClr val="bg1"/>
                </a:solidFill>
              </a:rPr>
              <a:t>265 Exchange Drive</a:t>
            </a:r>
          </a:p>
          <a:p>
            <a:r>
              <a:rPr lang="en-US" sz="1200" dirty="0">
                <a:solidFill>
                  <a:schemeClr val="bg1"/>
                </a:solidFill>
              </a:rPr>
              <a:t>Suite 100</a:t>
            </a:r>
          </a:p>
          <a:p>
            <a:r>
              <a:rPr lang="en-US" sz="1200" dirty="0">
                <a:solidFill>
                  <a:schemeClr val="bg1"/>
                </a:solidFill>
              </a:rPr>
              <a:t>Crystal Lake, IL 60014</a:t>
            </a:r>
          </a:p>
          <a:p>
            <a:endParaRPr lang="en-US" sz="1200" dirty="0">
              <a:solidFill>
                <a:schemeClr val="bg1"/>
              </a:solidFill>
            </a:endParaRPr>
          </a:p>
          <a:p>
            <a:r>
              <a:rPr lang="en-US" sz="1200" dirty="0">
                <a:solidFill>
                  <a:schemeClr val="bg1"/>
                </a:solidFill>
              </a:rPr>
              <a:t>+1-815-477-0424</a:t>
            </a:r>
          </a:p>
          <a:p>
            <a:r>
              <a:rPr lang="en-US" sz="1200" b="1" dirty="0">
                <a:solidFill>
                  <a:schemeClr val="bg1"/>
                </a:solidFill>
              </a:rPr>
              <a:t>Aptar.com</a:t>
            </a:r>
          </a:p>
        </p:txBody>
      </p:sp>
    </p:spTree>
    <p:extLst>
      <p:ext uri="{BB962C8B-B14F-4D97-AF65-F5344CB8AC3E}">
        <p14:creationId xmlns:p14="http://schemas.microsoft.com/office/powerpoint/2010/main" val="260303349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86BF94-DA2A-B1F1-F669-78D009344CC7}"/>
              </a:ext>
            </a:extLst>
          </p:cNvPr>
          <p:cNvSpPr>
            <a:spLocks noGrp="1"/>
          </p:cNvSpPr>
          <p:nvPr>
            <p:ph type="sldNum" sz="quarter" idx="12"/>
          </p:nvPr>
        </p:nvSpPr>
        <p:spPr/>
        <p:txBody>
          <a:bodyPr/>
          <a:lstStyle/>
          <a:p>
            <a:fld id="{7A75AEF7-7CA2-4665-9348-32CCD499C383}" type="slidenum">
              <a:rPr lang="en-US" smtClean="0"/>
              <a:t>3</a:t>
            </a:fld>
            <a:endParaRPr lang="en-US"/>
          </a:p>
        </p:txBody>
      </p:sp>
      <p:sp>
        <p:nvSpPr>
          <p:cNvPr id="3" name="Text Placeholder 2">
            <a:extLst>
              <a:ext uri="{FF2B5EF4-FFF2-40B4-BE49-F238E27FC236}">
                <a16:creationId xmlns:a16="http://schemas.microsoft.com/office/drawing/2014/main" id="{B8C80E99-B1AC-60E3-A4D4-C0045918B639}"/>
              </a:ext>
            </a:extLst>
          </p:cNvPr>
          <p:cNvSpPr>
            <a:spLocks noGrp="1"/>
          </p:cNvSpPr>
          <p:nvPr>
            <p:ph type="body" sz="quarter" idx="13"/>
          </p:nvPr>
        </p:nvSpPr>
        <p:spPr/>
        <p:txBody>
          <a:bodyPr/>
          <a:lstStyle/>
          <a:p>
            <a:pPr algn="ctr"/>
            <a:r>
              <a:rPr lang="en-US" sz="6600" b="0" dirty="0"/>
              <a:t>An Introduction to Aptar</a:t>
            </a:r>
          </a:p>
        </p:txBody>
      </p:sp>
      <p:sp>
        <p:nvSpPr>
          <p:cNvPr id="4" name="TextBox 3">
            <a:extLst>
              <a:ext uri="{FF2B5EF4-FFF2-40B4-BE49-F238E27FC236}">
                <a16:creationId xmlns:a16="http://schemas.microsoft.com/office/drawing/2014/main" id="{C10B09D9-32AB-946D-41DE-753DE58C46BA}"/>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5411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73924CC-2A08-4827-A818-9B17C0165F33}"/>
              </a:ext>
            </a:extLst>
          </p:cNvPr>
          <p:cNvSpPr>
            <a:spLocks noGrp="1"/>
          </p:cNvSpPr>
          <p:nvPr>
            <p:ph idx="1"/>
          </p:nvPr>
        </p:nvSpPr>
        <p:spPr>
          <a:xfrm>
            <a:off x="2694595" y="5423475"/>
            <a:ext cx="6802811" cy="1162174"/>
          </a:xfrm>
        </p:spPr>
        <p:txBody>
          <a:bodyPr anchor="ctr">
            <a:noAutofit/>
          </a:bodyPr>
          <a:lstStyle/>
          <a:p>
            <a:pPr marL="0" indent="0" algn="ctr">
              <a:buNone/>
            </a:pPr>
            <a:r>
              <a:rPr lang="en-US" sz="2000" b="1" dirty="0">
                <a:solidFill>
                  <a:srgbClr val="000000"/>
                </a:solidFill>
                <a:latin typeface="Arial"/>
                <a:cs typeface="Arial"/>
              </a:rPr>
              <a:t>Over </a:t>
            </a:r>
            <a:r>
              <a:rPr lang="en-US" sz="2000" b="1" dirty="0">
                <a:solidFill>
                  <a:srgbClr val="34715A"/>
                </a:solidFill>
                <a:latin typeface="Arial"/>
                <a:cs typeface="Arial"/>
              </a:rPr>
              <a:t>13,000+</a:t>
            </a:r>
            <a:r>
              <a:rPr lang="en-US" sz="2000" b="1" dirty="0">
                <a:solidFill>
                  <a:srgbClr val="117F68"/>
                </a:solidFill>
                <a:latin typeface="Arial"/>
                <a:cs typeface="Arial"/>
              </a:rPr>
              <a:t> </a:t>
            </a:r>
            <a:r>
              <a:rPr lang="en-US" sz="2000" b="1" dirty="0">
                <a:solidFill>
                  <a:srgbClr val="000000"/>
                </a:solidFill>
                <a:latin typeface="Arial"/>
                <a:cs typeface="Arial"/>
              </a:rPr>
              <a:t>dedicated employees in </a:t>
            </a:r>
            <a:r>
              <a:rPr lang="en-US" sz="2000" b="1" dirty="0">
                <a:solidFill>
                  <a:srgbClr val="34715A"/>
                </a:solidFill>
                <a:latin typeface="Arial"/>
                <a:cs typeface="Arial"/>
              </a:rPr>
              <a:t>20+ countries</a:t>
            </a:r>
          </a:p>
          <a:p>
            <a:pPr marL="0" indent="0" algn="ctr">
              <a:buNone/>
            </a:pPr>
            <a:r>
              <a:rPr lang="en-US" sz="1600" dirty="0"/>
              <a:t>Europe: 62% 	Asia/LATAM: 20%		North America: 18%</a:t>
            </a:r>
          </a:p>
          <a:p>
            <a:pPr marL="0" indent="0">
              <a:buNone/>
            </a:pPr>
            <a:endParaRPr lang="en-US" sz="2000" dirty="0">
              <a:solidFill>
                <a:srgbClr val="34715A"/>
              </a:solidFill>
              <a:latin typeface="Arial"/>
              <a:cs typeface="Arial"/>
            </a:endParaRPr>
          </a:p>
        </p:txBody>
      </p:sp>
      <p:grpSp>
        <p:nvGrpSpPr>
          <p:cNvPr id="7" name="Group 6">
            <a:extLst>
              <a:ext uri="{FF2B5EF4-FFF2-40B4-BE49-F238E27FC236}">
                <a16:creationId xmlns:a16="http://schemas.microsoft.com/office/drawing/2014/main" id="{92CCA944-0B8C-481B-9D71-5C1E0AB6E956}"/>
              </a:ext>
            </a:extLst>
          </p:cNvPr>
          <p:cNvGrpSpPr/>
          <p:nvPr/>
        </p:nvGrpSpPr>
        <p:grpSpPr>
          <a:xfrm>
            <a:off x="1484018" y="1179884"/>
            <a:ext cx="9223964" cy="3843560"/>
            <a:chOff x="455695" y="1000107"/>
            <a:chExt cx="9584226" cy="5476185"/>
          </a:xfrm>
        </p:grpSpPr>
        <p:sp>
          <p:nvSpPr>
            <p:cNvPr id="8" name="Freeform 1683">
              <a:extLst>
                <a:ext uri="{FF2B5EF4-FFF2-40B4-BE49-F238E27FC236}">
                  <a16:creationId xmlns:a16="http://schemas.microsoft.com/office/drawing/2014/main" id="{B4B45EFF-1448-4987-B44D-8D9282D98AA0}"/>
                </a:ext>
              </a:extLst>
            </p:cNvPr>
            <p:cNvSpPr>
              <a:spLocks/>
            </p:cNvSpPr>
            <p:nvPr/>
          </p:nvSpPr>
          <p:spPr bwMode="auto">
            <a:xfrm>
              <a:off x="3133933" y="1000107"/>
              <a:ext cx="1705615" cy="1238690"/>
            </a:xfrm>
            <a:custGeom>
              <a:avLst/>
              <a:gdLst/>
              <a:ahLst/>
              <a:cxnLst>
                <a:cxn ang="0">
                  <a:pos x="1725" y="965"/>
                </a:cxn>
                <a:cxn ang="0">
                  <a:pos x="1506" y="1055"/>
                </a:cxn>
                <a:cxn ang="0">
                  <a:pos x="1386" y="1114"/>
                </a:cxn>
                <a:cxn ang="0">
                  <a:pos x="1267" y="1193"/>
                </a:cxn>
                <a:cxn ang="0">
                  <a:pos x="1239" y="1181"/>
                </a:cxn>
                <a:cxn ang="0">
                  <a:pos x="1217" y="1210"/>
                </a:cxn>
                <a:cxn ang="0">
                  <a:pos x="1145" y="1252"/>
                </a:cxn>
                <a:cxn ang="0">
                  <a:pos x="1105" y="1301"/>
                </a:cxn>
                <a:cxn ang="0">
                  <a:pos x="1083" y="1379"/>
                </a:cxn>
                <a:cxn ang="0">
                  <a:pos x="1076" y="1428"/>
                </a:cxn>
                <a:cxn ang="0">
                  <a:pos x="1029" y="1546"/>
                </a:cxn>
                <a:cxn ang="0">
                  <a:pos x="936" y="1501"/>
                </a:cxn>
                <a:cxn ang="0">
                  <a:pos x="879" y="1503"/>
                </a:cxn>
                <a:cxn ang="0">
                  <a:pos x="830" y="1454"/>
                </a:cxn>
                <a:cxn ang="0">
                  <a:pos x="785" y="1377"/>
                </a:cxn>
                <a:cxn ang="0">
                  <a:pos x="745" y="1301"/>
                </a:cxn>
                <a:cxn ang="0">
                  <a:pos x="797" y="1269"/>
                </a:cxn>
                <a:cxn ang="0">
                  <a:pos x="722" y="1249"/>
                </a:cxn>
                <a:cxn ang="0">
                  <a:pos x="706" y="1135"/>
                </a:cxn>
                <a:cxn ang="0">
                  <a:pos x="686" y="1048"/>
                </a:cxn>
                <a:cxn ang="0">
                  <a:pos x="767" y="968"/>
                </a:cxn>
                <a:cxn ang="0">
                  <a:pos x="646" y="899"/>
                </a:cxn>
                <a:cxn ang="0">
                  <a:pos x="719" y="865"/>
                </a:cxn>
                <a:cxn ang="0">
                  <a:pos x="618" y="857"/>
                </a:cxn>
                <a:cxn ang="0">
                  <a:pos x="635" y="768"/>
                </a:cxn>
                <a:cxn ang="0">
                  <a:pos x="576" y="674"/>
                </a:cxn>
                <a:cxn ang="0">
                  <a:pos x="464" y="559"/>
                </a:cxn>
                <a:cxn ang="0">
                  <a:pos x="287" y="538"/>
                </a:cxn>
                <a:cxn ang="0">
                  <a:pos x="215" y="557"/>
                </a:cxn>
                <a:cxn ang="0">
                  <a:pos x="74" y="472"/>
                </a:cxn>
                <a:cxn ang="0">
                  <a:pos x="67" y="432"/>
                </a:cxn>
                <a:cxn ang="0">
                  <a:pos x="163" y="334"/>
                </a:cxn>
                <a:cxn ang="0">
                  <a:pos x="193" y="246"/>
                </a:cxn>
                <a:cxn ang="0">
                  <a:pos x="421" y="131"/>
                </a:cxn>
                <a:cxn ang="0">
                  <a:pos x="741" y="131"/>
                </a:cxn>
                <a:cxn ang="0">
                  <a:pos x="814" y="87"/>
                </a:cxn>
                <a:cxn ang="0">
                  <a:pos x="1004" y="101"/>
                </a:cxn>
                <a:cxn ang="0">
                  <a:pos x="1084" y="63"/>
                </a:cxn>
                <a:cxn ang="0">
                  <a:pos x="1147" y="56"/>
                </a:cxn>
                <a:cxn ang="0">
                  <a:pos x="1269" y="16"/>
                </a:cxn>
                <a:cxn ang="0">
                  <a:pos x="1473" y="40"/>
                </a:cxn>
                <a:cxn ang="0">
                  <a:pos x="1685" y="51"/>
                </a:cxn>
                <a:cxn ang="0">
                  <a:pos x="1518" y="117"/>
                </a:cxn>
                <a:cxn ang="0">
                  <a:pos x="1647" y="148"/>
                </a:cxn>
                <a:cxn ang="0">
                  <a:pos x="1748" y="188"/>
                </a:cxn>
                <a:cxn ang="0">
                  <a:pos x="1904" y="162"/>
                </a:cxn>
                <a:cxn ang="0">
                  <a:pos x="2032" y="190"/>
                </a:cxn>
                <a:cxn ang="0">
                  <a:pos x="1920" y="228"/>
                </a:cxn>
                <a:cxn ang="0">
                  <a:pos x="1838" y="279"/>
                </a:cxn>
                <a:cxn ang="0">
                  <a:pos x="1887" y="322"/>
                </a:cxn>
                <a:cxn ang="0">
                  <a:pos x="1809" y="415"/>
                </a:cxn>
                <a:cxn ang="0">
                  <a:pos x="1911" y="460"/>
                </a:cxn>
                <a:cxn ang="0">
                  <a:pos x="1765" y="502"/>
                </a:cxn>
                <a:cxn ang="0">
                  <a:pos x="1880" y="570"/>
                </a:cxn>
                <a:cxn ang="0">
                  <a:pos x="1845" y="643"/>
                </a:cxn>
                <a:cxn ang="0">
                  <a:pos x="1788" y="684"/>
                </a:cxn>
                <a:cxn ang="0">
                  <a:pos x="1701" y="711"/>
                </a:cxn>
                <a:cxn ang="0">
                  <a:pos x="1743" y="812"/>
                </a:cxn>
                <a:cxn ang="0">
                  <a:pos x="1793" y="848"/>
                </a:cxn>
                <a:cxn ang="0">
                  <a:pos x="1701" y="869"/>
                </a:cxn>
                <a:cxn ang="0">
                  <a:pos x="1591" y="885"/>
                </a:cxn>
                <a:cxn ang="0">
                  <a:pos x="1595" y="932"/>
                </a:cxn>
              </a:cxnLst>
              <a:rect l="0" t="0" r="r" b="b"/>
              <a:pathLst>
                <a:path w="2126" h="1546">
                  <a:moveTo>
                    <a:pt x="1647" y="926"/>
                  </a:moveTo>
                  <a:lnTo>
                    <a:pt x="1647" y="926"/>
                  </a:lnTo>
                  <a:lnTo>
                    <a:pt x="1654" y="923"/>
                  </a:lnTo>
                  <a:lnTo>
                    <a:pt x="1659" y="921"/>
                  </a:lnTo>
                  <a:lnTo>
                    <a:pt x="1666" y="919"/>
                  </a:lnTo>
                  <a:lnTo>
                    <a:pt x="1671" y="919"/>
                  </a:lnTo>
                  <a:lnTo>
                    <a:pt x="1682" y="921"/>
                  </a:lnTo>
                  <a:lnTo>
                    <a:pt x="1692" y="926"/>
                  </a:lnTo>
                  <a:lnTo>
                    <a:pt x="1704" y="932"/>
                  </a:lnTo>
                  <a:lnTo>
                    <a:pt x="1715" y="937"/>
                  </a:lnTo>
                  <a:lnTo>
                    <a:pt x="1727" y="939"/>
                  </a:lnTo>
                  <a:lnTo>
                    <a:pt x="1741" y="940"/>
                  </a:lnTo>
                  <a:lnTo>
                    <a:pt x="1741" y="940"/>
                  </a:lnTo>
                  <a:lnTo>
                    <a:pt x="1765" y="937"/>
                  </a:lnTo>
                  <a:lnTo>
                    <a:pt x="1779" y="937"/>
                  </a:lnTo>
                  <a:lnTo>
                    <a:pt x="1781" y="937"/>
                  </a:lnTo>
                  <a:lnTo>
                    <a:pt x="1781" y="939"/>
                  </a:lnTo>
                  <a:lnTo>
                    <a:pt x="1769" y="946"/>
                  </a:lnTo>
                  <a:lnTo>
                    <a:pt x="1769" y="946"/>
                  </a:lnTo>
                  <a:lnTo>
                    <a:pt x="1760" y="951"/>
                  </a:lnTo>
                  <a:lnTo>
                    <a:pt x="1756" y="954"/>
                  </a:lnTo>
                  <a:lnTo>
                    <a:pt x="1753" y="958"/>
                  </a:lnTo>
                  <a:lnTo>
                    <a:pt x="1751" y="960"/>
                  </a:lnTo>
                  <a:lnTo>
                    <a:pt x="1749" y="961"/>
                  </a:lnTo>
                  <a:lnTo>
                    <a:pt x="1737" y="961"/>
                  </a:lnTo>
                  <a:lnTo>
                    <a:pt x="1737" y="961"/>
                  </a:lnTo>
                  <a:lnTo>
                    <a:pt x="1729" y="963"/>
                  </a:lnTo>
                  <a:lnTo>
                    <a:pt x="1725" y="965"/>
                  </a:lnTo>
                  <a:lnTo>
                    <a:pt x="1725" y="968"/>
                  </a:lnTo>
                  <a:lnTo>
                    <a:pt x="1725" y="970"/>
                  </a:lnTo>
                  <a:lnTo>
                    <a:pt x="1725" y="973"/>
                  </a:lnTo>
                  <a:lnTo>
                    <a:pt x="1725" y="977"/>
                  </a:lnTo>
                  <a:lnTo>
                    <a:pt x="1722" y="979"/>
                  </a:lnTo>
                  <a:lnTo>
                    <a:pt x="1715" y="980"/>
                  </a:lnTo>
                  <a:lnTo>
                    <a:pt x="1715" y="980"/>
                  </a:lnTo>
                  <a:lnTo>
                    <a:pt x="1706" y="982"/>
                  </a:lnTo>
                  <a:lnTo>
                    <a:pt x="1697" y="986"/>
                  </a:lnTo>
                  <a:lnTo>
                    <a:pt x="1683" y="993"/>
                  </a:lnTo>
                  <a:lnTo>
                    <a:pt x="1671" y="1003"/>
                  </a:lnTo>
                  <a:lnTo>
                    <a:pt x="1659" y="1015"/>
                  </a:lnTo>
                  <a:lnTo>
                    <a:pt x="1659" y="1015"/>
                  </a:lnTo>
                  <a:lnTo>
                    <a:pt x="1652" y="1020"/>
                  </a:lnTo>
                  <a:lnTo>
                    <a:pt x="1642" y="1024"/>
                  </a:lnTo>
                  <a:lnTo>
                    <a:pt x="1615" y="1031"/>
                  </a:lnTo>
                  <a:lnTo>
                    <a:pt x="1584" y="1036"/>
                  </a:lnTo>
                  <a:lnTo>
                    <a:pt x="1567" y="1041"/>
                  </a:lnTo>
                  <a:lnTo>
                    <a:pt x="1551" y="1047"/>
                  </a:lnTo>
                  <a:lnTo>
                    <a:pt x="1551" y="1047"/>
                  </a:lnTo>
                  <a:lnTo>
                    <a:pt x="1537" y="1050"/>
                  </a:lnTo>
                  <a:lnTo>
                    <a:pt x="1528" y="1052"/>
                  </a:lnTo>
                  <a:lnTo>
                    <a:pt x="1521" y="1052"/>
                  </a:lnTo>
                  <a:lnTo>
                    <a:pt x="1516" y="1050"/>
                  </a:lnTo>
                  <a:lnTo>
                    <a:pt x="1513" y="1048"/>
                  </a:lnTo>
                  <a:lnTo>
                    <a:pt x="1511" y="1048"/>
                  </a:lnTo>
                  <a:lnTo>
                    <a:pt x="1507" y="1050"/>
                  </a:lnTo>
                  <a:lnTo>
                    <a:pt x="1506" y="1055"/>
                  </a:lnTo>
                  <a:lnTo>
                    <a:pt x="1506" y="1055"/>
                  </a:lnTo>
                  <a:lnTo>
                    <a:pt x="1500" y="1060"/>
                  </a:lnTo>
                  <a:lnTo>
                    <a:pt x="1495" y="1064"/>
                  </a:lnTo>
                  <a:lnTo>
                    <a:pt x="1488" y="1067"/>
                  </a:lnTo>
                  <a:lnTo>
                    <a:pt x="1481" y="1069"/>
                  </a:lnTo>
                  <a:lnTo>
                    <a:pt x="1474" y="1069"/>
                  </a:lnTo>
                  <a:lnTo>
                    <a:pt x="1467" y="1067"/>
                  </a:lnTo>
                  <a:lnTo>
                    <a:pt x="1453" y="1064"/>
                  </a:lnTo>
                  <a:lnTo>
                    <a:pt x="1453" y="1064"/>
                  </a:lnTo>
                  <a:lnTo>
                    <a:pt x="1424" y="1045"/>
                  </a:lnTo>
                  <a:lnTo>
                    <a:pt x="1415" y="1040"/>
                  </a:lnTo>
                  <a:lnTo>
                    <a:pt x="1415" y="1041"/>
                  </a:lnTo>
                  <a:lnTo>
                    <a:pt x="1420" y="1048"/>
                  </a:lnTo>
                  <a:lnTo>
                    <a:pt x="1420" y="1048"/>
                  </a:lnTo>
                  <a:lnTo>
                    <a:pt x="1427" y="1057"/>
                  </a:lnTo>
                  <a:lnTo>
                    <a:pt x="1433" y="1062"/>
                  </a:lnTo>
                  <a:lnTo>
                    <a:pt x="1434" y="1067"/>
                  </a:lnTo>
                  <a:lnTo>
                    <a:pt x="1434" y="1071"/>
                  </a:lnTo>
                  <a:lnTo>
                    <a:pt x="1433" y="1074"/>
                  </a:lnTo>
                  <a:lnTo>
                    <a:pt x="1431" y="1076"/>
                  </a:lnTo>
                  <a:lnTo>
                    <a:pt x="1422" y="1078"/>
                  </a:lnTo>
                  <a:lnTo>
                    <a:pt x="1422" y="1078"/>
                  </a:lnTo>
                  <a:lnTo>
                    <a:pt x="1417" y="1078"/>
                  </a:lnTo>
                  <a:lnTo>
                    <a:pt x="1412" y="1080"/>
                  </a:lnTo>
                  <a:lnTo>
                    <a:pt x="1401" y="1088"/>
                  </a:lnTo>
                  <a:lnTo>
                    <a:pt x="1393" y="1101"/>
                  </a:lnTo>
                  <a:lnTo>
                    <a:pt x="1386" y="1114"/>
                  </a:lnTo>
                  <a:lnTo>
                    <a:pt x="1386" y="1114"/>
                  </a:lnTo>
                  <a:lnTo>
                    <a:pt x="1382" y="1123"/>
                  </a:lnTo>
                  <a:lnTo>
                    <a:pt x="1375" y="1134"/>
                  </a:lnTo>
                  <a:lnTo>
                    <a:pt x="1366" y="1142"/>
                  </a:lnTo>
                  <a:lnTo>
                    <a:pt x="1356" y="1153"/>
                  </a:lnTo>
                  <a:lnTo>
                    <a:pt x="1333" y="1170"/>
                  </a:lnTo>
                  <a:lnTo>
                    <a:pt x="1325" y="1175"/>
                  </a:lnTo>
                  <a:lnTo>
                    <a:pt x="1316" y="1179"/>
                  </a:lnTo>
                  <a:lnTo>
                    <a:pt x="1316" y="1179"/>
                  </a:lnTo>
                  <a:lnTo>
                    <a:pt x="1314" y="1177"/>
                  </a:lnTo>
                  <a:lnTo>
                    <a:pt x="1314" y="1177"/>
                  </a:lnTo>
                  <a:lnTo>
                    <a:pt x="1312" y="1175"/>
                  </a:lnTo>
                  <a:lnTo>
                    <a:pt x="1309" y="1174"/>
                  </a:lnTo>
                  <a:lnTo>
                    <a:pt x="1309" y="1174"/>
                  </a:lnTo>
                  <a:lnTo>
                    <a:pt x="1309" y="1175"/>
                  </a:lnTo>
                  <a:lnTo>
                    <a:pt x="1307" y="1175"/>
                  </a:lnTo>
                  <a:lnTo>
                    <a:pt x="1307" y="1179"/>
                  </a:lnTo>
                  <a:lnTo>
                    <a:pt x="1307" y="1182"/>
                  </a:lnTo>
                  <a:lnTo>
                    <a:pt x="1307" y="1184"/>
                  </a:lnTo>
                  <a:lnTo>
                    <a:pt x="1305" y="1186"/>
                  </a:lnTo>
                  <a:lnTo>
                    <a:pt x="1305" y="1186"/>
                  </a:lnTo>
                  <a:lnTo>
                    <a:pt x="1292" y="1193"/>
                  </a:lnTo>
                  <a:lnTo>
                    <a:pt x="1285" y="1195"/>
                  </a:lnTo>
                  <a:lnTo>
                    <a:pt x="1281" y="1195"/>
                  </a:lnTo>
                  <a:lnTo>
                    <a:pt x="1279" y="1193"/>
                  </a:lnTo>
                  <a:lnTo>
                    <a:pt x="1279" y="1193"/>
                  </a:lnTo>
                  <a:lnTo>
                    <a:pt x="1276" y="1193"/>
                  </a:lnTo>
                  <a:lnTo>
                    <a:pt x="1274" y="1193"/>
                  </a:lnTo>
                  <a:lnTo>
                    <a:pt x="1267" y="1193"/>
                  </a:lnTo>
                  <a:lnTo>
                    <a:pt x="1265" y="1196"/>
                  </a:lnTo>
                  <a:lnTo>
                    <a:pt x="1264" y="1198"/>
                  </a:lnTo>
                  <a:lnTo>
                    <a:pt x="1265" y="1200"/>
                  </a:lnTo>
                  <a:lnTo>
                    <a:pt x="1265" y="1200"/>
                  </a:lnTo>
                  <a:lnTo>
                    <a:pt x="1267" y="1202"/>
                  </a:lnTo>
                  <a:lnTo>
                    <a:pt x="1267" y="1205"/>
                  </a:lnTo>
                  <a:lnTo>
                    <a:pt x="1265" y="1207"/>
                  </a:lnTo>
                  <a:lnTo>
                    <a:pt x="1260" y="1203"/>
                  </a:lnTo>
                  <a:lnTo>
                    <a:pt x="1260" y="1203"/>
                  </a:lnTo>
                  <a:lnTo>
                    <a:pt x="1257" y="1202"/>
                  </a:lnTo>
                  <a:lnTo>
                    <a:pt x="1253" y="1202"/>
                  </a:lnTo>
                  <a:lnTo>
                    <a:pt x="1246" y="1210"/>
                  </a:lnTo>
                  <a:lnTo>
                    <a:pt x="1246" y="1210"/>
                  </a:lnTo>
                  <a:lnTo>
                    <a:pt x="1241" y="1215"/>
                  </a:lnTo>
                  <a:lnTo>
                    <a:pt x="1236" y="1217"/>
                  </a:lnTo>
                  <a:lnTo>
                    <a:pt x="1231" y="1217"/>
                  </a:lnTo>
                  <a:lnTo>
                    <a:pt x="1225" y="1215"/>
                  </a:lnTo>
                  <a:lnTo>
                    <a:pt x="1225" y="1215"/>
                  </a:lnTo>
                  <a:lnTo>
                    <a:pt x="1224" y="1214"/>
                  </a:lnTo>
                  <a:lnTo>
                    <a:pt x="1224" y="1212"/>
                  </a:lnTo>
                  <a:lnTo>
                    <a:pt x="1225" y="1207"/>
                  </a:lnTo>
                  <a:lnTo>
                    <a:pt x="1229" y="1200"/>
                  </a:lnTo>
                  <a:lnTo>
                    <a:pt x="1229" y="1195"/>
                  </a:lnTo>
                  <a:lnTo>
                    <a:pt x="1229" y="1195"/>
                  </a:lnTo>
                  <a:lnTo>
                    <a:pt x="1231" y="1189"/>
                  </a:lnTo>
                  <a:lnTo>
                    <a:pt x="1234" y="1188"/>
                  </a:lnTo>
                  <a:lnTo>
                    <a:pt x="1238" y="1184"/>
                  </a:lnTo>
                  <a:lnTo>
                    <a:pt x="1239" y="1181"/>
                  </a:lnTo>
                  <a:lnTo>
                    <a:pt x="1239" y="1181"/>
                  </a:lnTo>
                  <a:lnTo>
                    <a:pt x="1243" y="1177"/>
                  </a:lnTo>
                  <a:lnTo>
                    <a:pt x="1248" y="1174"/>
                  </a:lnTo>
                  <a:lnTo>
                    <a:pt x="1250" y="1170"/>
                  </a:lnTo>
                  <a:lnTo>
                    <a:pt x="1245" y="1170"/>
                  </a:lnTo>
                  <a:lnTo>
                    <a:pt x="1245" y="1170"/>
                  </a:lnTo>
                  <a:lnTo>
                    <a:pt x="1236" y="1170"/>
                  </a:lnTo>
                  <a:lnTo>
                    <a:pt x="1231" y="1168"/>
                  </a:lnTo>
                  <a:lnTo>
                    <a:pt x="1227" y="1168"/>
                  </a:lnTo>
                  <a:lnTo>
                    <a:pt x="1224" y="1168"/>
                  </a:lnTo>
                  <a:lnTo>
                    <a:pt x="1224" y="1168"/>
                  </a:lnTo>
                  <a:lnTo>
                    <a:pt x="1224" y="1170"/>
                  </a:lnTo>
                  <a:lnTo>
                    <a:pt x="1224" y="1172"/>
                  </a:lnTo>
                  <a:lnTo>
                    <a:pt x="1229" y="1174"/>
                  </a:lnTo>
                  <a:lnTo>
                    <a:pt x="1231" y="1175"/>
                  </a:lnTo>
                  <a:lnTo>
                    <a:pt x="1232" y="1179"/>
                  </a:lnTo>
                  <a:lnTo>
                    <a:pt x="1231" y="1181"/>
                  </a:lnTo>
                  <a:lnTo>
                    <a:pt x="1229" y="1184"/>
                  </a:lnTo>
                  <a:lnTo>
                    <a:pt x="1229" y="1184"/>
                  </a:lnTo>
                  <a:lnTo>
                    <a:pt x="1222" y="1188"/>
                  </a:lnTo>
                  <a:lnTo>
                    <a:pt x="1222" y="1191"/>
                  </a:lnTo>
                  <a:lnTo>
                    <a:pt x="1224" y="1193"/>
                  </a:lnTo>
                  <a:lnTo>
                    <a:pt x="1220" y="1198"/>
                  </a:lnTo>
                  <a:lnTo>
                    <a:pt x="1220" y="1198"/>
                  </a:lnTo>
                  <a:lnTo>
                    <a:pt x="1217" y="1202"/>
                  </a:lnTo>
                  <a:lnTo>
                    <a:pt x="1217" y="1203"/>
                  </a:lnTo>
                  <a:lnTo>
                    <a:pt x="1218" y="1207"/>
                  </a:lnTo>
                  <a:lnTo>
                    <a:pt x="1217" y="1210"/>
                  </a:lnTo>
                  <a:lnTo>
                    <a:pt x="1217" y="1210"/>
                  </a:lnTo>
                  <a:lnTo>
                    <a:pt x="1213" y="1215"/>
                  </a:lnTo>
                  <a:lnTo>
                    <a:pt x="1208" y="1215"/>
                  </a:lnTo>
                  <a:lnTo>
                    <a:pt x="1203" y="1215"/>
                  </a:lnTo>
                  <a:lnTo>
                    <a:pt x="1194" y="1217"/>
                  </a:lnTo>
                  <a:lnTo>
                    <a:pt x="1194" y="1217"/>
                  </a:lnTo>
                  <a:lnTo>
                    <a:pt x="1184" y="1217"/>
                  </a:lnTo>
                  <a:lnTo>
                    <a:pt x="1177" y="1217"/>
                  </a:lnTo>
                  <a:lnTo>
                    <a:pt x="1170" y="1217"/>
                  </a:lnTo>
                  <a:lnTo>
                    <a:pt x="1164" y="1217"/>
                  </a:lnTo>
                  <a:lnTo>
                    <a:pt x="1164" y="1217"/>
                  </a:lnTo>
                  <a:lnTo>
                    <a:pt x="1159" y="1221"/>
                  </a:lnTo>
                  <a:lnTo>
                    <a:pt x="1154" y="1221"/>
                  </a:lnTo>
                  <a:lnTo>
                    <a:pt x="1152" y="1221"/>
                  </a:lnTo>
                  <a:lnTo>
                    <a:pt x="1154" y="1222"/>
                  </a:lnTo>
                  <a:lnTo>
                    <a:pt x="1161" y="1226"/>
                  </a:lnTo>
                  <a:lnTo>
                    <a:pt x="1161" y="1226"/>
                  </a:lnTo>
                  <a:lnTo>
                    <a:pt x="1170" y="1231"/>
                  </a:lnTo>
                  <a:lnTo>
                    <a:pt x="1171" y="1235"/>
                  </a:lnTo>
                  <a:lnTo>
                    <a:pt x="1170" y="1235"/>
                  </a:lnTo>
                  <a:lnTo>
                    <a:pt x="1164" y="1235"/>
                  </a:lnTo>
                  <a:lnTo>
                    <a:pt x="1164" y="1235"/>
                  </a:lnTo>
                  <a:lnTo>
                    <a:pt x="1161" y="1235"/>
                  </a:lnTo>
                  <a:lnTo>
                    <a:pt x="1159" y="1236"/>
                  </a:lnTo>
                  <a:lnTo>
                    <a:pt x="1156" y="1243"/>
                  </a:lnTo>
                  <a:lnTo>
                    <a:pt x="1152" y="1247"/>
                  </a:lnTo>
                  <a:lnTo>
                    <a:pt x="1151" y="1250"/>
                  </a:lnTo>
                  <a:lnTo>
                    <a:pt x="1145" y="1252"/>
                  </a:lnTo>
                  <a:lnTo>
                    <a:pt x="1140" y="1250"/>
                  </a:lnTo>
                  <a:lnTo>
                    <a:pt x="1140" y="1250"/>
                  </a:lnTo>
                  <a:lnTo>
                    <a:pt x="1128" y="1249"/>
                  </a:lnTo>
                  <a:lnTo>
                    <a:pt x="1123" y="1249"/>
                  </a:lnTo>
                  <a:lnTo>
                    <a:pt x="1117" y="1249"/>
                  </a:lnTo>
                  <a:lnTo>
                    <a:pt x="1116" y="1252"/>
                  </a:lnTo>
                  <a:lnTo>
                    <a:pt x="1114" y="1255"/>
                  </a:lnTo>
                  <a:lnTo>
                    <a:pt x="1117" y="1259"/>
                  </a:lnTo>
                  <a:lnTo>
                    <a:pt x="1123" y="1266"/>
                  </a:lnTo>
                  <a:lnTo>
                    <a:pt x="1123" y="1266"/>
                  </a:lnTo>
                  <a:lnTo>
                    <a:pt x="1135" y="1278"/>
                  </a:lnTo>
                  <a:lnTo>
                    <a:pt x="1138" y="1287"/>
                  </a:lnTo>
                  <a:lnTo>
                    <a:pt x="1138" y="1289"/>
                  </a:lnTo>
                  <a:lnTo>
                    <a:pt x="1138" y="1290"/>
                  </a:lnTo>
                  <a:lnTo>
                    <a:pt x="1131" y="1290"/>
                  </a:lnTo>
                  <a:lnTo>
                    <a:pt x="1131" y="1290"/>
                  </a:lnTo>
                  <a:lnTo>
                    <a:pt x="1126" y="1290"/>
                  </a:lnTo>
                  <a:lnTo>
                    <a:pt x="1121" y="1292"/>
                  </a:lnTo>
                  <a:lnTo>
                    <a:pt x="1114" y="1294"/>
                  </a:lnTo>
                  <a:lnTo>
                    <a:pt x="1110" y="1294"/>
                  </a:lnTo>
                  <a:lnTo>
                    <a:pt x="1105" y="1292"/>
                  </a:lnTo>
                  <a:lnTo>
                    <a:pt x="1105" y="1292"/>
                  </a:lnTo>
                  <a:lnTo>
                    <a:pt x="1100" y="1292"/>
                  </a:lnTo>
                  <a:lnTo>
                    <a:pt x="1098" y="1292"/>
                  </a:lnTo>
                  <a:lnTo>
                    <a:pt x="1098" y="1294"/>
                  </a:lnTo>
                  <a:lnTo>
                    <a:pt x="1098" y="1296"/>
                  </a:lnTo>
                  <a:lnTo>
                    <a:pt x="1102" y="1299"/>
                  </a:lnTo>
                  <a:lnTo>
                    <a:pt x="1105" y="1301"/>
                  </a:lnTo>
                  <a:lnTo>
                    <a:pt x="1112" y="1303"/>
                  </a:lnTo>
                  <a:lnTo>
                    <a:pt x="1119" y="1304"/>
                  </a:lnTo>
                  <a:lnTo>
                    <a:pt x="1119" y="1304"/>
                  </a:lnTo>
                  <a:lnTo>
                    <a:pt x="1130" y="1304"/>
                  </a:lnTo>
                  <a:lnTo>
                    <a:pt x="1131" y="1306"/>
                  </a:lnTo>
                  <a:lnTo>
                    <a:pt x="1133" y="1308"/>
                  </a:lnTo>
                  <a:lnTo>
                    <a:pt x="1131" y="1313"/>
                  </a:lnTo>
                  <a:lnTo>
                    <a:pt x="1133" y="1323"/>
                  </a:lnTo>
                  <a:lnTo>
                    <a:pt x="1133" y="1323"/>
                  </a:lnTo>
                  <a:lnTo>
                    <a:pt x="1133" y="1329"/>
                  </a:lnTo>
                  <a:lnTo>
                    <a:pt x="1131" y="1332"/>
                  </a:lnTo>
                  <a:lnTo>
                    <a:pt x="1126" y="1339"/>
                  </a:lnTo>
                  <a:lnTo>
                    <a:pt x="1119" y="1344"/>
                  </a:lnTo>
                  <a:lnTo>
                    <a:pt x="1116" y="1350"/>
                  </a:lnTo>
                  <a:lnTo>
                    <a:pt x="1114" y="1355"/>
                  </a:lnTo>
                  <a:lnTo>
                    <a:pt x="1114" y="1355"/>
                  </a:lnTo>
                  <a:lnTo>
                    <a:pt x="1114" y="1358"/>
                  </a:lnTo>
                  <a:lnTo>
                    <a:pt x="1112" y="1360"/>
                  </a:lnTo>
                  <a:lnTo>
                    <a:pt x="1107" y="1356"/>
                  </a:lnTo>
                  <a:lnTo>
                    <a:pt x="1105" y="1356"/>
                  </a:lnTo>
                  <a:lnTo>
                    <a:pt x="1102" y="1355"/>
                  </a:lnTo>
                  <a:lnTo>
                    <a:pt x="1100" y="1358"/>
                  </a:lnTo>
                  <a:lnTo>
                    <a:pt x="1098" y="1363"/>
                  </a:lnTo>
                  <a:lnTo>
                    <a:pt x="1098" y="1363"/>
                  </a:lnTo>
                  <a:lnTo>
                    <a:pt x="1097" y="1370"/>
                  </a:lnTo>
                  <a:lnTo>
                    <a:pt x="1093" y="1374"/>
                  </a:lnTo>
                  <a:lnTo>
                    <a:pt x="1088" y="1377"/>
                  </a:lnTo>
                  <a:lnTo>
                    <a:pt x="1083" y="1379"/>
                  </a:lnTo>
                  <a:lnTo>
                    <a:pt x="1070" y="1381"/>
                  </a:lnTo>
                  <a:lnTo>
                    <a:pt x="1067" y="1383"/>
                  </a:lnTo>
                  <a:lnTo>
                    <a:pt x="1063" y="1386"/>
                  </a:lnTo>
                  <a:lnTo>
                    <a:pt x="1063" y="1386"/>
                  </a:lnTo>
                  <a:lnTo>
                    <a:pt x="1062" y="1388"/>
                  </a:lnTo>
                  <a:lnTo>
                    <a:pt x="1062" y="1390"/>
                  </a:lnTo>
                  <a:lnTo>
                    <a:pt x="1067" y="1391"/>
                  </a:lnTo>
                  <a:lnTo>
                    <a:pt x="1072" y="1395"/>
                  </a:lnTo>
                  <a:lnTo>
                    <a:pt x="1074" y="1397"/>
                  </a:lnTo>
                  <a:lnTo>
                    <a:pt x="1076" y="1402"/>
                  </a:lnTo>
                  <a:lnTo>
                    <a:pt x="1076" y="1402"/>
                  </a:lnTo>
                  <a:lnTo>
                    <a:pt x="1076" y="1405"/>
                  </a:lnTo>
                  <a:lnTo>
                    <a:pt x="1072" y="1405"/>
                  </a:lnTo>
                  <a:lnTo>
                    <a:pt x="1063" y="1403"/>
                  </a:lnTo>
                  <a:lnTo>
                    <a:pt x="1055" y="1400"/>
                  </a:lnTo>
                  <a:lnTo>
                    <a:pt x="1055" y="1402"/>
                  </a:lnTo>
                  <a:lnTo>
                    <a:pt x="1056" y="1407"/>
                  </a:lnTo>
                  <a:lnTo>
                    <a:pt x="1056" y="1407"/>
                  </a:lnTo>
                  <a:lnTo>
                    <a:pt x="1062" y="1410"/>
                  </a:lnTo>
                  <a:lnTo>
                    <a:pt x="1065" y="1412"/>
                  </a:lnTo>
                  <a:lnTo>
                    <a:pt x="1067" y="1412"/>
                  </a:lnTo>
                  <a:lnTo>
                    <a:pt x="1069" y="1412"/>
                  </a:lnTo>
                  <a:lnTo>
                    <a:pt x="1070" y="1410"/>
                  </a:lnTo>
                  <a:lnTo>
                    <a:pt x="1072" y="1412"/>
                  </a:lnTo>
                  <a:lnTo>
                    <a:pt x="1074" y="1414"/>
                  </a:lnTo>
                  <a:lnTo>
                    <a:pt x="1076" y="1419"/>
                  </a:lnTo>
                  <a:lnTo>
                    <a:pt x="1076" y="1419"/>
                  </a:lnTo>
                  <a:lnTo>
                    <a:pt x="1076" y="1428"/>
                  </a:lnTo>
                  <a:lnTo>
                    <a:pt x="1074" y="1437"/>
                  </a:lnTo>
                  <a:lnTo>
                    <a:pt x="1065" y="1459"/>
                  </a:lnTo>
                  <a:lnTo>
                    <a:pt x="1056" y="1480"/>
                  </a:lnTo>
                  <a:lnTo>
                    <a:pt x="1053" y="1489"/>
                  </a:lnTo>
                  <a:lnTo>
                    <a:pt x="1055" y="1496"/>
                  </a:lnTo>
                  <a:lnTo>
                    <a:pt x="1055" y="1496"/>
                  </a:lnTo>
                  <a:lnTo>
                    <a:pt x="1055" y="1501"/>
                  </a:lnTo>
                  <a:lnTo>
                    <a:pt x="1055" y="1504"/>
                  </a:lnTo>
                  <a:lnTo>
                    <a:pt x="1051" y="1506"/>
                  </a:lnTo>
                  <a:lnTo>
                    <a:pt x="1048" y="1508"/>
                  </a:lnTo>
                  <a:lnTo>
                    <a:pt x="1039" y="1513"/>
                  </a:lnTo>
                  <a:lnTo>
                    <a:pt x="1036" y="1515"/>
                  </a:lnTo>
                  <a:lnTo>
                    <a:pt x="1034" y="1518"/>
                  </a:lnTo>
                  <a:lnTo>
                    <a:pt x="1034" y="1518"/>
                  </a:lnTo>
                  <a:lnTo>
                    <a:pt x="1032" y="1520"/>
                  </a:lnTo>
                  <a:lnTo>
                    <a:pt x="1032" y="1520"/>
                  </a:lnTo>
                  <a:lnTo>
                    <a:pt x="1037" y="1518"/>
                  </a:lnTo>
                  <a:lnTo>
                    <a:pt x="1039" y="1518"/>
                  </a:lnTo>
                  <a:lnTo>
                    <a:pt x="1043" y="1520"/>
                  </a:lnTo>
                  <a:lnTo>
                    <a:pt x="1044" y="1522"/>
                  </a:lnTo>
                  <a:lnTo>
                    <a:pt x="1044" y="1529"/>
                  </a:lnTo>
                  <a:lnTo>
                    <a:pt x="1044" y="1529"/>
                  </a:lnTo>
                  <a:lnTo>
                    <a:pt x="1044" y="1534"/>
                  </a:lnTo>
                  <a:lnTo>
                    <a:pt x="1043" y="1539"/>
                  </a:lnTo>
                  <a:lnTo>
                    <a:pt x="1039" y="1543"/>
                  </a:lnTo>
                  <a:lnTo>
                    <a:pt x="1036" y="1545"/>
                  </a:lnTo>
                  <a:lnTo>
                    <a:pt x="1032" y="1546"/>
                  </a:lnTo>
                  <a:lnTo>
                    <a:pt x="1029" y="1546"/>
                  </a:lnTo>
                  <a:lnTo>
                    <a:pt x="1018" y="1541"/>
                  </a:lnTo>
                  <a:lnTo>
                    <a:pt x="1018" y="1541"/>
                  </a:lnTo>
                  <a:lnTo>
                    <a:pt x="1011" y="1534"/>
                  </a:lnTo>
                  <a:lnTo>
                    <a:pt x="1006" y="1531"/>
                  </a:lnTo>
                  <a:lnTo>
                    <a:pt x="1004" y="1531"/>
                  </a:lnTo>
                  <a:lnTo>
                    <a:pt x="1003" y="1531"/>
                  </a:lnTo>
                  <a:lnTo>
                    <a:pt x="994" y="1538"/>
                  </a:lnTo>
                  <a:lnTo>
                    <a:pt x="994" y="1538"/>
                  </a:lnTo>
                  <a:lnTo>
                    <a:pt x="990" y="1539"/>
                  </a:lnTo>
                  <a:lnTo>
                    <a:pt x="985" y="1541"/>
                  </a:lnTo>
                  <a:lnTo>
                    <a:pt x="982" y="1541"/>
                  </a:lnTo>
                  <a:lnTo>
                    <a:pt x="976" y="1539"/>
                  </a:lnTo>
                  <a:lnTo>
                    <a:pt x="973" y="1538"/>
                  </a:lnTo>
                  <a:lnTo>
                    <a:pt x="971" y="1534"/>
                  </a:lnTo>
                  <a:lnTo>
                    <a:pt x="973" y="1531"/>
                  </a:lnTo>
                  <a:lnTo>
                    <a:pt x="975" y="1525"/>
                  </a:lnTo>
                  <a:lnTo>
                    <a:pt x="975" y="1525"/>
                  </a:lnTo>
                  <a:lnTo>
                    <a:pt x="980" y="1518"/>
                  </a:lnTo>
                  <a:lnTo>
                    <a:pt x="980" y="1515"/>
                  </a:lnTo>
                  <a:lnTo>
                    <a:pt x="980" y="1513"/>
                  </a:lnTo>
                  <a:lnTo>
                    <a:pt x="975" y="1513"/>
                  </a:lnTo>
                  <a:lnTo>
                    <a:pt x="964" y="1513"/>
                  </a:lnTo>
                  <a:lnTo>
                    <a:pt x="957" y="1513"/>
                  </a:lnTo>
                  <a:lnTo>
                    <a:pt x="949" y="1511"/>
                  </a:lnTo>
                  <a:lnTo>
                    <a:pt x="949" y="1511"/>
                  </a:lnTo>
                  <a:lnTo>
                    <a:pt x="940" y="1506"/>
                  </a:lnTo>
                  <a:lnTo>
                    <a:pt x="936" y="1504"/>
                  </a:lnTo>
                  <a:lnTo>
                    <a:pt x="936" y="1501"/>
                  </a:lnTo>
                  <a:lnTo>
                    <a:pt x="938" y="1496"/>
                  </a:lnTo>
                  <a:lnTo>
                    <a:pt x="945" y="1487"/>
                  </a:lnTo>
                  <a:lnTo>
                    <a:pt x="945" y="1487"/>
                  </a:lnTo>
                  <a:lnTo>
                    <a:pt x="949" y="1484"/>
                  </a:lnTo>
                  <a:lnTo>
                    <a:pt x="949" y="1478"/>
                  </a:lnTo>
                  <a:lnTo>
                    <a:pt x="949" y="1475"/>
                  </a:lnTo>
                  <a:lnTo>
                    <a:pt x="947" y="1471"/>
                  </a:lnTo>
                  <a:lnTo>
                    <a:pt x="943" y="1468"/>
                  </a:lnTo>
                  <a:lnTo>
                    <a:pt x="942" y="1468"/>
                  </a:lnTo>
                  <a:lnTo>
                    <a:pt x="942" y="1470"/>
                  </a:lnTo>
                  <a:lnTo>
                    <a:pt x="942" y="1473"/>
                  </a:lnTo>
                  <a:lnTo>
                    <a:pt x="942" y="1473"/>
                  </a:lnTo>
                  <a:lnTo>
                    <a:pt x="942" y="1477"/>
                  </a:lnTo>
                  <a:lnTo>
                    <a:pt x="940" y="1478"/>
                  </a:lnTo>
                  <a:lnTo>
                    <a:pt x="935" y="1482"/>
                  </a:lnTo>
                  <a:lnTo>
                    <a:pt x="926" y="1485"/>
                  </a:lnTo>
                  <a:lnTo>
                    <a:pt x="917" y="1492"/>
                  </a:lnTo>
                  <a:lnTo>
                    <a:pt x="917" y="1492"/>
                  </a:lnTo>
                  <a:lnTo>
                    <a:pt x="914" y="1494"/>
                  </a:lnTo>
                  <a:lnTo>
                    <a:pt x="912" y="1494"/>
                  </a:lnTo>
                  <a:lnTo>
                    <a:pt x="908" y="1491"/>
                  </a:lnTo>
                  <a:lnTo>
                    <a:pt x="907" y="1491"/>
                  </a:lnTo>
                  <a:lnTo>
                    <a:pt x="903" y="1489"/>
                  </a:lnTo>
                  <a:lnTo>
                    <a:pt x="898" y="1491"/>
                  </a:lnTo>
                  <a:lnTo>
                    <a:pt x="891" y="1494"/>
                  </a:lnTo>
                  <a:lnTo>
                    <a:pt x="891" y="1494"/>
                  </a:lnTo>
                  <a:lnTo>
                    <a:pt x="884" y="1499"/>
                  </a:lnTo>
                  <a:lnTo>
                    <a:pt x="879" y="1503"/>
                  </a:lnTo>
                  <a:lnTo>
                    <a:pt x="874" y="1503"/>
                  </a:lnTo>
                  <a:lnTo>
                    <a:pt x="870" y="1503"/>
                  </a:lnTo>
                  <a:lnTo>
                    <a:pt x="867" y="1501"/>
                  </a:lnTo>
                  <a:lnTo>
                    <a:pt x="865" y="1498"/>
                  </a:lnTo>
                  <a:lnTo>
                    <a:pt x="861" y="1491"/>
                  </a:lnTo>
                  <a:lnTo>
                    <a:pt x="861" y="1491"/>
                  </a:lnTo>
                  <a:lnTo>
                    <a:pt x="861" y="1487"/>
                  </a:lnTo>
                  <a:lnTo>
                    <a:pt x="861" y="1484"/>
                  </a:lnTo>
                  <a:lnTo>
                    <a:pt x="865" y="1482"/>
                  </a:lnTo>
                  <a:lnTo>
                    <a:pt x="867" y="1482"/>
                  </a:lnTo>
                  <a:lnTo>
                    <a:pt x="868" y="1480"/>
                  </a:lnTo>
                  <a:lnTo>
                    <a:pt x="867" y="1478"/>
                  </a:lnTo>
                  <a:lnTo>
                    <a:pt x="867" y="1478"/>
                  </a:lnTo>
                  <a:lnTo>
                    <a:pt x="865" y="1477"/>
                  </a:lnTo>
                  <a:lnTo>
                    <a:pt x="861" y="1475"/>
                  </a:lnTo>
                  <a:lnTo>
                    <a:pt x="856" y="1475"/>
                  </a:lnTo>
                  <a:lnTo>
                    <a:pt x="853" y="1475"/>
                  </a:lnTo>
                  <a:lnTo>
                    <a:pt x="851" y="1473"/>
                  </a:lnTo>
                  <a:lnTo>
                    <a:pt x="851" y="1470"/>
                  </a:lnTo>
                  <a:lnTo>
                    <a:pt x="853" y="1466"/>
                  </a:lnTo>
                  <a:lnTo>
                    <a:pt x="853" y="1466"/>
                  </a:lnTo>
                  <a:lnTo>
                    <a:pt x="853" y="1463"/>
                  </a:lnTo>
                  <a:lnTo>
                    <a:pt x="851" y="1461"/>
                  </a:lnTo>
                  <a:lnTo>
                    <a:pt x="841" y="1461"/>
                  </a:lnTo>
                  <a:lnTo>
                    <a:pt x="832" y="1461"/>
                  </a:lnTo>
                  <a:lnTo>
                    <a:pt x="830" y="1459"/>
                  </a:lnTo>
                  <a:lnTo>
                    <a:pt x="830" y="1454"/>
                  </a:lnTo>
                  <a:lnTo>
                    <a:pt x="830" y="1454"/>
                  </a:lnTo>
                  <a:lnTo>
                    <a:pt x="834" y="1447"/>
                  </a:lnTo>
                  <a:lnTo>
                    <a:pt x="834" y="1442"/>
                  </a:lnTo>
                  <a:lnTo>
                    <a:pt x="832" y="1440"/>
                  </a:lnTo>
                  <a:lnTo>
                    <a:pt x="827" y="1442"/>
                  </a:lnTo>
                  <a:lnTo>
                    <a:pt x="827" y="1442"/>
                  </a:lnTo>
                  <a:lnTo>
                    <a:pt x="825" y="1442"/>
                  </a:lnTo>
                  <a:lnTo>
                    <a:pt x="823" y="1440"/>
                  </a:lnTo>
                  <a:lnTo>
                    <a:pt x="823" y="1435"/>
                  </a:lnTo>
                  <a:lnTo>
                    <a:pt x="821" y="1428"/>
                  </a:lnTo>
                  <a:lnTo>
                    <a:pt x="820" y="1426"/>
                  </a:lnTo>
                  <a:lnTo>
                    <a:pt x="816" y="1428"/>
                  </a:lnTo>
                  <a:lnTo>
                    <a:pt x="816" y="1428"/>
                  </a:lnTo>
                  <a:lnTo>
                    <a:pt x="813" y="1428"/>
                  </a:lnTo>
                  <a:lnTo>
                    <a:pt x="813" y="1426"/>
                  </a:lnTo>
                  <a:lnTo>
                    <a:pt x="813" y="1423"/>
                  </a:lnTo>
                  <a:lnTo>
                    <a:pt x="814" y="1419"/>
                  </a:lnTo>
                  <a:lnTo>
                    <a:pt x="813" y="1416"/>
                  </a:lnTo>
                  <a:lnTo>
                    <a:pt x="811" y="1412"/>
                  </a:lnTo>
                  <a:lnTo>
                    <a:pt x="806" y="1409"/>
                  </a:lnTo>
                  <a:lnTo>
                    <a:pt x="806" y="1409"/>
                  </a:lnTo>
                  <a:lnTo>
                    <a:pt x="797" y="1405"/>
                  </a:lnTo>
                  <a:lnTo>
                    <a:pt x="792" y="1402"/>
                  </a:lnTo>
                  <a:lnTo>
                    <a:pt x="790" y="1397"/>
                  </a:lnTo>
                  <a:lnTo>
                    <a:pt x="790" y="1391"/>
                  </a:lnTo>
                  <a:lnTo>
                    <a:pt x="790" y="1391"/>
                  </a:lnTo>
                  <a:lnTo>
                    <a:pt x="790" y="1386"/>
                  </a:lnTo>
                  <a:lnTo>
                    <a:pt x="788" y="1383"/>
                  </a:lnTo>
                  <a:lnTo>
                    <a:pt x="785" y="1377"/>
                  </a:lnTo>
                  <a:lnTo>
                    <a:pt x="781" y="1370"/>
                  </a:lnTo>
                  <a:lnTo>
                    <a:pt x="781" y="1369"/>
                  </a:lnTo>
                  <a:lnTo>
                    <a:pt x="781" y="1365"/>
                  </a:lnTo>
                  <a:lnTo>
                    <a:pt x="781" y="1365"/>
                  </a:lnTo>
                  <a:lnTo>
                    <a:pt x="781" y="1362"/>
                  </a:lnTo>
                  <a:lnTo>
                    <a:pt x="781" y="1360"/>
                  </a:lnTo>
                  <a:lnTo>
                    <a:pt x="776" y="1360"/>
                  </a:lnTo>
                  <a:lnTo>
                    <a:pt x="767" y="1358"/>
                  </a:lnTo>
                  <a:lnTo>
                    <a:pt x="764" y="1356"/>
                  </a:lnTo>
                  <a:lnTo>
                    <a:pt x="760" y="1351"/>
                  </a:lnTo>
                  <a:lnTo>
                    <a:pt x="760" y="1351"/>
                  </a:lnTo>
                  <a:lnTo>
                    <a:pt x="750" y="1334"/>
                  </a:lnTo>
                  <a:lnTo>
                    <a:pt x="748" y="1329"/>
                  </a:lnTo>
                  <a:lnTo>
                    <a:pt x="748" y="1325"/>
                  </a:lnTo>
                  <a:lnTo>
                    <a:pt x="748" y="1322"/>
                  </a:lnTo>
                  <a:lnTo>
                    <a:pt x="748" y="1322"/>
                  </a:lnTo>
                  <a:lnTo>
                    <a:pt x="750" y="1320"/>
                  </a:lnTo>
                  <a:lnTo>
                    <a:pt x="748" y="1318"/>
                  </a:lnTo>
                  <a:lnTo>
                    <a:pt x="747" y="1315"/>
                  </a:lnTo>
                  <a:lnTo>
                    <a:pt x="743" y="1311"/>
                  </a:lnTo>
                  <a:lnTo>
                    <a:pt x="745" y="1309"/>
                  </a:lnTo>
                  <a:lnTo>
                    <a:pt x="747" y="1309"/>
                  </a:lnTo>
                  <a:lnTo>
                    <a:pt x="747" y="1309"/>
                  </a:lnTo>
                  <a:lnTo>
                    <a:pt x="748" y="1308"/>
                  </a:lnTo>
                  <a:lnTo>
                    <a:pt x="748" y="1306"/>
                  </a:lnTo>
                  <a:lnTo>
                    <a:pt x="747" y="1303"/>
                  </a:lnTo>
                  <a:lnTo>
                    <a:pt x="745" y="1301"/>
                  </a:lnTo>
                  <a:lnTo>
                    <a:pt x="745" y="1301"/>
                  </a:lnTo>
                  <a:lnTo>
                    <a:pt x="755" y="1299"/>
                  </a:lnTo>
                  <a:lnTo>
                    <a:pt x="755" y="1299"/>
                  </a:lnTo>
                  <a:lnTo>
                    <a:pt x="762" y="1297"/>
                  </a:lnTo>
                  <a:lnTo>
                    <a:pt x="766" y="1297"/>
                  </a:lnTo>
                  <a:lnTo>
                    <a:pt x="767" y="1294"/>
                  </a:lnTo>
                  <a:lnTo>
                    <a:pt x="766" y="1292"/>
                  </a:lnTo>
                  <a:lnTo>
                    <a:pt x="766" y="1290"/>
                  </a:lnTo>
                  <a:lnTo>
                    <a:pt x="766" y="1289"/>
                  </a:lnTo>
                  <a:lnTo>
                    <a:pt x="769" y="1287"/>
                  </a:lnTo>
                  <a:lnTo>
                    <a:pt x="774" y="1287"/>
                  </a:lnTo>
                  <a:lnTo>
                    <a:pt x="774" y="1287"/>
                  </a:lnTo>
                  <a:lnTo>
                    <a:pt x="781" y="1287"/>
                  </a:lnTo>
                  <a:lnTo>
                    <a:pt x="783" y="1285"/>
                  </a:lnTo>
                  <a:lnTo>
                    <a:pt x="781" y="1283"/>
                  </a:lnTo>
                  <a:lnTo>
                    <a:pt x="780" y="1282"/>
                  </a:lnTo>
                  <a:lnTo>
                    <a:pt x="773" y="1278"/>
                  </a:lnTo>
                  <a:lnTo>
                    <a:pt x="773" y="1276"/>
                  </a:lnTo>
                  <a:lnTo>
                    <a:pt x="776" y="1273"/>
                  </a:lnTo>
                  <a:lnTo>
                    <a:pt x="776" y="1273"/>
                  </a:lnTo>
                  <a:lnTo>
                    <a:pt x="780" y="1273"/>
                  </a:lnTo>
                  <a:lnTo>
                    <a:pt x="785" y="1273"/>
                  </a:lnTo>
                  <a:lnTo>
                    <a:pt x="794" y="1280"/>
                  </a:lnTo>
                  <a:lnTo>
                    <a:pt x="801" y="1283"/>
                  </a:lnTo>
                  <a:lnTo>
                    <a:pt x="802" y="1283"/>
                  </a:lnTo>
                  <a:lnTo>
                    <a:pt x="802" y="1278"/>
                  </a:lnTo>
                  <a:lnTo>
                    <a:pt x="802" y="1278"/>
                  </a:lnTo>
                  <a:lnTo>
                    <a:pt x="801" y="1275"/>
                  </a:lnTo>
                  <a:lnTo>
                    <a:pt x="797" y="1269"/>
                  </a:lnTo>
                  <a:lnTo>
                    <a:pt x="794" y="1266"/>
                  </a:lnTo>
                  <a:lnTo>
                    <a:pt x="788" y="1264"/>
                  </a:lnTo>
                  <a:lnTo>
                    <a:pt x="785" y="1264"/>
                  </a:lnTo>
                  <a:lnTo>
                    <a:pt x="780" y="1266"/>
                  </a:lnTo>
                  <a:lnTo>
                    <a:pt x="774" y="1268"/>
                  </a:lnTo>
                  <a:lnTo>
                    <a:pt x="769" y="1271"/>
                  </a:lnTo>
                  <a:lnTo>
                    <a:pt x="769" y="1271"/>
                  </a:lnTo>
                  <a:lnTo>
                    <a:pt x="764" y="1273"/>
                  </a:lnTo>
                  <a:lnTo>
                    <a:pt x="762" y="1273"/>
                  </a:lnTo>
                  <a:lnTo>
                    <a:pt x="760" y="1268"/>
                  </a:lnTo>
                  <a:lnTo>
                    <a:pt x="759" y="1266"/>
                  </a:lnTo>
                  <a:lnTo>
                    <a:pt x="757" y="1266"/>
                  </a:lnTo>
                  <a:lnTo>
                    <a:pt x="748" y="1280"/>
                  </a:lnTo>
                  <a:lnTo>
                    <a:pt x="748" y="1280"/>
                  </a:lnTo>
                  <a:lnTo>
                    <a:pt x="743" y="1289"/>
                  </a:lnTo>
                  <a:lnTo>
                    <a:pt x="738" y="1294"/>
                  </a:lnTo>
                  <a:lnTo>
                    <a:pt x="733" y="1296"/>
                  </a:lnTo>
                  <a:lnTo>
                    <a:pt x="731" y="1294"/>
                  </a:lnTo>
                  <a:lnTo>
                    <a:pt x="729" y="1290"/>
                  </a:lnTo>
                  <a:lnTo>
                    <a:pt x="727" y="1285"/>
                  </a:lnTo>
                  <a:lnTo>
                    <a:pt x="727" y="1273"/>
                  </a:lnTo>
                  <a:lnTo>
                    <a:pt x="727" y="1273"/>
                  </a:lnTo>
                  <a:lnTo>
                    <a:pt x="727" y="1266"/>
                  </a:lnTo>
                  <a:lnTo>
                    <a:pt x="726" y="1262"/>
                  </a:lnTo>
                  <a:lnTo>
                    <a:pt x="724" y="1261"/>
                  </a:lnTo>
                  <a:lnTo>
                    <a:pt x="722" y="1254"/>
                  </a:lnTo>
                  <a:lnTo>
                    <a:pt x="722" y="1254"/>
                  </a:lnTo>
                  <a:lnTo>
                    <a:pt x="722" y="1249"/>
                  </a:lnTo>
                  <a:lnTo>
                    <a:pt x="720" y="1245"/>
                  </a:lnTo>
                  <a:lnTo>
                    <a:pt x="717" y="1240"/>
                  </a:lnTo>
                  <a:lnTo>
                    <a:pt x="713" y="1238"/>
                  </a:lnTo>
                  <a:lnTo>
                    <a:pt x="712" y="1235"/>
                  </a:lnTo>
                  <a:lnTo>
                    <a:pt x="712" y="1231"/>
                  </a:lnTo>
                  <a:lnTo>
                    <a:pt x="712" y="1231"/>
                  </a:lnTo>
                  <a:lnTo>
                    <a:pt x="712" y="1228"/>
                  </a:lnTo>
                  <a:lnTo>
                    <a:pt x="712" y="1224"/>
                  </a:lnTo>
                  <a:lnTo>
                    <a:pt x="708" y="1217"/>
                  </a:lnTo>
                  <a:lnTo>
                    <a:pt x="701" y="1214"/>
                  </a:lnTo>
                  <a:lnTo>
                    <a:pt x="693" y="1212"/>
                  </a:lnTo>
                  <a:lnTo>
                    <a:pt x="693" y="1212"/>
                  </a:lnTo>
                  <a:lnTo>
                    <a:pt x="691" y="1210"/>
                  </a:lnTo>
                  <a:lnTo>
                    <a:pt x="689" y="1210"/>
                  </a:lnTo>
                  <a:lnTo>
                    <a:pt x="689" y="1205"/>
                  </a:lnTo>
                  <a:lnTo>
                    <a:pt x="687" y="1200"/>
                  </a:lnTo>
                  <a:lnTo>
                    <a:pt x="684" y="1195"/>
                  </a:lnTo>
                  <a:lnTo>
                    <a:pt x="679" y="1191"/>
                  </a:lnTo>
                  <a:lnTo>
                    <a:pt x="679" y="1191"/>
                  </a:lnTo>
                  <a:lnTo>
                    <a:pt x="673" y="1184"/>
                  </a:lnTo>
                  <a:lnTo>
                    <a:pt x="672" y="1179"/>
                  </a:lnTo>
                  <a:lnTo>
                    <a:pt x="672" y="1172"/>
                  </a:lnTo>
                  <a:lnTo>
                    <a:pt x="675" y="1163"/>
                  </a:lnTo>
                  <a:lnTo>
                    <a:pt x="680" y="1156"/>
                  </a:lnTo>
                  <a:lnTo>
                    <a:pt x="687" y="1149"/>
                  </a:lnTo>
                  <a:lnTo>
                    <a:pt x="696" y="1142"/>
                  </a:lnTo>
                  <a:lnTo>
                    <a:pt x="706" y="1135"/>
                  </a:lnTo>
                  <a:lnTo>
                    <a:pt x="706" y="1135"/>
                  </a:lnTo>
                  <a:lnTo>
                    <a:pt x="686" y="1135"/>
                  </a:lnTo>
                  <a:lnTo>
                    <a:pt x="672" y="1134"/>
                  </a:lnTo>
                  <a:lnTo>
                    <a:pt x="666" y="1132"/>
                  </a:lnTo>
                  <a:lnTo>
                    <a:pt x="663" y="1128"/>
                  </a:lnTo>
                  <a:lnTo>
                    <a:pt x="663" y="1123"/>
                  </a:lnTo>
                  <a:lnTo>
                    <a:pt x="665" y="1118"/>
                  </a:lnTo>
                  <a:lnTo>
                    <a:pt x="665" y="1118"/>
                  </a:lnTo>
                  <a:lnTo>
                    <a:pt x="672" y="1097"/>
                  </a:lnTo>
                  <a:lnTo>
                    <a:pt x="673" y="1090"/>
                  </a:lnTo>
                  <a:lnTo>
                    <a:pt x="673" y="1085"/>
                  </a:lnTo>
                  <a:lnTo>
                    <a:pt x="673" y="1085"/>
                  </a:lnTo>
                  <a:lnTo>
                    <a:pt x="673" y="1081"/>
                  </a:lnTo>
                  <a:lnTo>
                    <a:pt x="677" y="1080"/>
                  </a:lnTo>
                  <a:lnTo>
                    <a:pt x="686" y="1074"/>
                  </a:lnTo>
                  <a:lnTo>
                    <a:pt x="689" y="1073"/>
                  </a:lnTo>
                  <a:lnTo>
                    <a:pt x="693" y="1069"/>
                  </a:lnTo>
                  <a:lnTo>
                    <a:pt x="693" y="1067"/>
                  </a:lnTo>
                  <a:lnTo>
                    <a:pt x="687" y="1064"/>
                  </a:lnTo>
                  <a:lnTo>
                    <a:pt x="687" y="1064"/>
                  </a:lnTo>
                  <a:lnTo>
                    <a:pt x="682" y="1059"/>
                  </a:lnTo>
                  <a:lnTo>
                    <a:pt x="682" y="1057"/>
                  </a:lnTo>
                  <a:lnTo>
                    <a:pt x="684" y="1057"/>
                  </a:lnTo>
                  <a:lnTo>
                    <a:pt x="686" y="1055"/>
                  </a:lnTo>
                  <a:lnTo>
                    <a:pt x="686" y="1055"/>
                  </a:lnTo>
                  <a:lnTo>
                    <a:pt x="686" y="1052"/>
                  </a:lnTo>
                  <a:lnTo>
                    <a:pt x="686" y="1052"/>
                  </a:lnTo>
                  <a:lnTo>
                    <a:pt x="684" y="1050"/>
                  </a:lnTo>
                  <a:lnTo>
                    <a:pt x="686" y="1048"/>
                  </a:lnTo>
                  <a:lnTo>
                    <a:pt x="693" y="1045"/>
                  </a:lnTo>
                  <a:lnTo>
                    <a:pt x="703" y="1043"/>
                  </a:lnTo>
                  <a:lnTo>
                    <a:pt x="708" y="1041"/>
                  </a:lnTo>
                  <a:lnTo>
                    <a:pt x="712" y="1038"/>
                  </a:lnTo>
                  <a:lnTo>
                    <a:pt x="712" y="1038"/>
                  </a:lnTo>
                  <a:lnTo>
                    <a:pt x="715" y="1036"/>
                  </a:lnTo>
                  <a:lnTo>
                    <a:pt x="720" y="1036"/>
                  </a:lnTo>
                  <a:lnTo>
                    <a:pt x="729" y="1038"/>
                  </a:lnTo>
                  <a:lnTo>
                    <a:pt x="740" y="1040"/>
                  </a:lnTo>
                  <a:lnTo>
                    <a:pt x="747" y="1040"/>
                  </a:lnTo>
                  <a:lnTo>
                    <a:pt x="754" y="1038"/>
                  </a:lnTo>
                  <a:lnTo>
                    <a:pt x="754" y="1038"/>
                  </a:lnTo>
                  <a:lnTo>
                    <a:pt x="762" y="1033"/>
                  </a:lnTo>
                  <a:lnTo>
                    <a:pt x="762" y="1031"/>
                  </a:lnTo>
                  <a:lnTo>
                    <a:pt x="762" y="1029"/>
                  </a:lnTo>
                  <a:lnTo>
                    <a:pt x="759" y="1024"/>
                  </a:lnTo>
                  <a:lnTo>
                    <a:pt x="759" y="1019"/>
                  </a:lnTo>
                  <a:lnTo>
                    <a:pt x="759" y="1013"/>
                  </a:lnTo>
                  <a:lnTo>
                    <a:pt x="759" y="1013"/>
                  </a:lnTo>
                  <a:lnTo>
                    <a:pt x="762" y="1000"/>
                  </a:lnTo>
                  <a:lnTo>
                    <a:pt x="767" y="987"/>
                  </a:lnTo>
                  <a:lnTo>
                    <a:pt x="773" y="975"/>
                  </a:lnTo>
                  <a:lnTo>
                    <a:pt x="774" y="970"/>
                  </a:lnTo>
                  <a:lnTo>
                    <a:pt x="774" y="965"/>
                  </a:lnTo>
                  <a:lnTo>
                    <a:pt x="774" y="965"/>
                  </a:lnTo>
                  <a:lnTo>
                    <a:pt x="773" y="963"/>
                  </a:lnTo>
                  <a:lnTo>
                    <a:pt x="773" y="963"/>
                  </a:lnTo>
                  <a:lnTo>
                    <a:pt x="767" y="968"/>
                  </a:lnTo>
                  <a:lnTo>
                    <a:pt x="766" y="972"/>
                  </a:lnTo>
                  <a:lnTo>
                    <a:pt x="762" y="975"/>
                  </a:lnTo>
                  <a:lnTo>
                    <a:pt x="759" y="975"/>
                  </a:lnTo>
                  <a:lnTo>
                    <a:pt x="757" y="973"/>
                  </a:lnTo>
                  <a:lnTo>
                    <a:pt x="757" y="973"/>
                  </a:lnTo>
                  <a:lnTo>
                    <a:pt x="754" y="968"/>
                  </a:lnTo>
                  <a:lnTo>
                    <a:pt x="755" y="963"/>
                  </a:lnTo>
                  <a:lnTo>
                    <a:pt x="757" y="956"/>
                  </a:lnTo>
                  <a:lnTo>
                    <a:pt x="755" y="953"/>
                  </a:lnTo>
                  <a:lnTo>
                    <a:pt x="754" y="951"/>
                  </a:lnTo>
                  <a:lnTo>
                    <a:pt x="747" y="947"/>
                  </a:lnTo>
                  <a:lnTo>
                    <a:pt x="734" y="946"/>
                  </a:lnTo>
                  <a:lnTo>
                    <a:pt x="734" y="946"/>
                  </a:lnTo>
                  <a:lnTo>
                    <a:pt x="724" y="944"/>
                  </a:lnTo>
                  <a:lnTo>
                    <a:pt x="717" y="942"/>
                  </a:lnTo>
                  <a:lnTo>
                    <a:pt x="713" y="937"/>
                  </a:lnTo>
                  <a:lnTo>
                    <a:pt x="710" y="933"/>
                  </a:lnTo>
                  <a:lnTo>
                    <a:pt x="705" y="930"/>
                  </a:lnTo>
                  <a:lnTo>
                    <a:pt x="700" y="926"/>
                  </a:lnTo>
                  <a:lnTo>
                    <a:pt x="693" y="923"/>
                  </a:lnTo>
                  <a:lnTo>
                    <a:pt x="680" y="921"/>
                  </a:lnTo>
                  <a:lnTo>
                    <a:pt x="680" y="921"/>
                  </a:lnTo>
                  <a:lnTo>
                    <a:pt x="666" y="919"/>
                  </a:lnTo>
                  <a:lnTo>
                    <a:pt x="653" y="913"/>
                  </a:lnTo>
                  <a:lnTo>
                    <a:pt x="647" y="909"/>
                  </a:lnTo>
                  <a:lnTo>
                    <a:pt x="644" y="906"/>
                  </a:lnTo>
                  <a:lnTo>
                    <a:pt x="644" y="902"/>
                  </a:lnTo>
                  <a:lnTo>
                    <a:pt x="646" y="899"/>
                  </a:lnTo>
                  <a:lnTo>
                    <a:pt x="646" y="899"/>
                  </a:lnTo>
                  <a:lnTo>
                    <a:pt x="651" y="897"/>
                  </a:lnTo>
                  <a:lnTo>
                    <a:pt x="659" y="895"/>
                  </a:lnTo>
                  <a:lnTo>
                    <a:pt x="682" y="895"/>
                  </a:lnTo>
                  <a:lnTo>
                    <a:pt x="705" y="899"/>
                  </a:lnTo>
                  <a:lnTo>
                    <a:pt x="715" y="900"/>
                  </a:lnTo>
                  <a:lnTo>
                    <a:pt x="724" y="906"/>
                  </a:lnTo>
                  <a:lnTo>
                    <a:pt x="724" y="906"/>
                  </a:lnTo>
                  <a:lnTo>
                    <a:pt x="738" y="913"/>
                  </a:lnTo>
                  <a:lnTo>
                    <a:pt x="752" y="916"/>
                  </a:lnTo>
                  <a:lnTo>
                    <a:pt x="760" y="918"/>
                  </a:lnTo>
                  <a:lnTo>
                    <a:pt x="762" y="916"/>
                  </a:lnTo>
                  <a:lnTo>
                    <a:pt x="760" y="914"/>
                  </a:lnTo>
                  <a:lnTo>
                    <a:pt x="760" y="914"/>
                  </a:lnTo>
                  <a:lnTo>
                    <a:pt x="757" y="909"/>
                  </a:lnTo>
                  <a:lnTo>
                    <a:pt x="754" y="904"/>
                  </a:lnTo>
                  <a:lnTo>
                    <a:pt x="755" y="899"/>
                  </a:lnTo>
                  <a:lnTo>
                    <a:pt x="760" y="892"/>
                  </a:lnTo>
                  <a:lnTo>
                    <a:pt x="760" y="892"/>
                  </a:lnTo>
                  <a:lnTo>
                    <a:pt x="760" y="892"/>
                  </a:lnTo>
                  <a:lnTo>
                    <a:pt x="760" y="890"/>
                  </a:lnTo>
                  <a:lnTo>
                    <a:pt x="754" y="888"/>
                  </a:lnTo>
                  <a:lnTo>
                    <a:pt x="738" y="883"/>
                  </a:lnTo>
                  <a:lnTo>
                    <a:pt x="727" y="879"/>
                  </a:lnTo>
                  <a:lnTo>
                    <a:pt x="722" y="876"/>
                  </a:lnTo>
                  <a:lnTo>
                    <a:pt x="717" y="871"/>
                  </a:lnTo>
                  <a:lnTo>
                    <a:pt x="717" y="869"/>
                  </a:lnTo>
                  <a:lnTo>
                    <a:pt x="719" y="865"/>
                  </a:lnTo>
                  <a:lnTo>
                    <a:pt x="719" y="865"/>
                  </a:lnTo>
                  <a:lnTo>
                    <a:pt x="722" y="860"/>
                  </a:lnTo>
                  <a:lnTo>
                    <a:pt x="720" y="859"/>
                  </a:lnTo>
                  <a:lnTo>
                    <a:pt x="717" y="857"/>
                  </a:lnTo>
                  <a:lnTo>
                    <a:pt x="712" y="855"/>
                  </a:lnTo>
                  <a:lnTo>
                    <a:pt x="708" y="855"/>
                  </a:lnTo>
                  <a:lnTo>
                    <a:pt x="705" y="853"/>
                  </a:lnTo>
                  <a:lnTo>
                    <a:pt x="706" y="850"/>
                  </a:lnTo>
                  <a:lnTo>
                    <a:pt x="712" y="846"/>
                  </a:lnTo>
                  <a:lnTo>
                    <a:pt x="712" y="846"/>
                  </a:lnTo>
                  <a:lnTo>
                    <a:pt x="712" y="845"/>
                  </a:lnTo>
                  <a:lnTo>
                    <a:pt x="712" y="845"/>
                  </a:lnTo>
                  <a:lnTo>
                    <a:pt x="710" y="841"/>
                  </a:lnTo>
                  <a:lnTo>
                    <a:pt x="705" y="838"/>
                  </a:lnTo>
                  <a:lnTo>
                    <a:pt x="696" y="836"/>
                  </a:lnTo>
                  <a:lnTo>
                    <a:pt x="687" y="834"/>
                  </a:lnTo>
                  <a:lnTo>
                    <a:pt x="679" y="836"/>
                  </a:lnTo>
                  <a:lnTo>
                    <a:pt x="672" y="841"/>
                  </a:lnTo>
                  <a:lnTo>
                    <a:pt x="668" y="845"/>
                  </a:lnTo>
                  <a:lnTo>
                    <a:pt x="665" y="848"/>
                  </a:lnTo>
                  <a:lnTo>
                    <a:pt x="665" y="848"/>
                  </a:lnTo>
                  <a:lnTo>
                    <a:pt x="659" y="857"/>
                  </a:lnTo>
                  <a:lnTo>
                    <a:pt x="654" y="860"/>
                  </a:lnTo>
                  <a:lnTo>
                    <a:pt x="647" y="860"/>
                  </a:lnTo>
                  <a:lnTo>
                    <a:pt x="642" y="860"/>
                  </a:lnTo>
                  <a:lnTo>
                    <a:pt x="630" y="857"/>
                  </a:lnTo>
                  <a:lnTo>
                    <a:pt x="623" y="855"/>
                  </a:lnTo>
                  <a:lnTo>
                    <a:pt x="618" y="857"/>
                  </a:lnTo>
                  <a:lnTo>
                    <a:pt x="618" y="857"/>
                  </a:lnTo>
                  <a:lnTo>
                    <a:pt x="614" y="859"/>
                  </a:lnTo>
                  <a:lnTo>
                    <a:pt x="611" y="859"/>
                  </a:lnTo>
                  <a:lnTo>
                    <a:pt x="607" y="855"/>
                  </a:lnTo>
                  <a:lnTo>
                    <a:pt x="606" y="853"/>
                  </a:lnTo>
                  <a:lnTo>
                    <a:pt x="600" y="845"/>
                  </a:lnTo>
                  <a:lnTo>
                    <a:pt x="595" y="838"/>
                  </a:lnTo>
                  <a:lnTo>
                    <a:pt x="595" y="838"/>
                  </a:lnTo>
                  <a:lnTo>
                    <a:pt x="593" y="836"/>
                  </a:lnTo>
                  <a:lnTo>
                    <a:pt x="597" y="834"/>
                  </a:lnTo>
                  <a:lnTo>
                    <a:pt x="607" y="832"/>
                  </a:lnTo>
                  <a:lnTo>
                    <a:pt x="612" y="831"/>
                  </a:lnTo>
                  <a:lnTo>
                    <a:pt x="616" y="829"/>
                  </a:lnTo>
                  <a:lnTo>
                    <a:pt x="616" y="825"/>
                  </a:lnTo>
                  <a:lnTo>
                    <a:pt x="614" y="820"/>
                  </a:lnTo>
                  <a:lnTo>
                    <a:pt x="614" y="820"/>
                  </a:lnTo>
                  <a:lnTo>
                    <a:pt x="604" y="808"/>
                  </a:lnTo>
                  <a:lnTo>
                    <a:pt x="602" y="803"/>
                  </a:lnTo>
                  <a:lnTo>
                    <a:pt x="600" y="798"/>
                  </a:lnTo>
                  <a:lnTo>
                    <a:pt x="600" y="792"/>
                  </a:lnTo>
                  <a:lnTo>
                    <a:pt x="604" y="789"/>
                  </a:lnTo>
                  <a:lnTo>
                    <a:pt x="609" y="785"/>
                  </a:lnTo>
                  <a:lnTo>
                    <a:pt x="616" y="784"/>
                  </a:lnTo>
                  <a:lnTo>
                    <a:pt x="616" y="784"/>
                  </a:lnTo>
                  <a:lnTo>
                    <a:pt x="623" y="782"/>
                  </a:lnTo>
                  <a:lnTo>
                    <a:pt x="630" y="778"/>
                  </a:lnTo>
                  <a:lnTo>
                    <a:pt x="633" y="773"/>
                  </a:lnTo>
                  <a:lnTo>
                    <a:pt x="635" y="768"/>
                  </a:lnTo>
                  <a:lnTo>
                    <a:pt x="635" y="763"/>
                  </a:lnTo>
                  <a:lnTo>
                    <a:pt x="633" y="758"/>
                  </a:lnTo>
                  <a:lnTo>
                    <a:pt x="626" y="752"/>
                  </a:lnTo>
                  <a:lnTo>
                    <a:pt x="618" y="749"/>
                  </a:lnTo>
                  <a:lnTo>
                    <a:pt x="618" y="749"/>
                  </a:lnTo>
                  <a:lnTo>
                    <a:pt x="611" y="747"/>
                  </a:lnTo>
                  <a:lnTo>
                    <a:pt x="607" y="744"/>
                  </a:lnTo>
                  <a:lnTo>
                    <a:pt x="609" y="738"/>
                  </a:lnTo>
                  <a:lnTo>
                    <a:pt x="611" y="735"/>
                  </a:lnTo>
                  <a:lnTo>
                    <a:pt x="614" y="730"/>
                  </a:lnTo>
                  <a:lnTo>
                    <a:pt x="616" y="724"/>
                  </a:lnTo>
                  <a:lnTo>
                    <a:pt x="614" y="721"/>
                  </a:lnTo>
                  <a:lnTo>
                    <a:pt x="607" y="716"/>
                  </a:lnTo>
                  <a:lnTo>
                    <a:pt x="607" y="716"/>
                  </a:lnTo>
                  <a:lnTo>
                    <a:pt x="597" y="712"/>
                  </a:lnTo>
                  <a:lnTo>
                    <a:pt x="592" y="707"/>
                  </a:lnTo>
                  <a:lnTo>
                    <a:pt x="592" y="704"/>
                  </a:lnTo>
                  <a:lnTo>
                    <a:pt x="593" y="702"/>
                  </a:lnTo>
                  <a:lnTo>
                    <a:pt x="595" y="698"/>
                  </a:lnTo>
                  <a:lnTo>
                    <a:pt x="597" y="695"/>
                  </a:lnTo>
                  <a:lnTo>
                    <a:pt x="597" y="691"/>
                  </a:lnTo>
                  <a:lnTo>
                    <a:pt x="592" y="688"/>
                  </a:lnTo>
                  <a:lnTo>
                    <a:pt x="592" y="688"/>
                  </a:lnTo>
                  <a:lnTo>
                    <a:pt x="586" y="684"/>
                  </a:lnTo>
                  <a:lnTo>
                    <a:pt x="585" y="681"/>
                  </a:lnTo>
                  <a:lnTo>
                    <a:pt x="581" y="676"/>
                  </a:lnTo>
                  <a:lnTo>
                    <a:pt x="579" y="674"/>
                  </a:lnTo>
                  <a:lnTo>
                    <a:pt x="576" y="674"/>
                  </a:lnTo>
                  <a:lnTo>
                    <a:pt x="558" y="679"/>
                  </a:lnTo>
                  <a:lnTo>
                    <a:pt x="558" y="679"/>
                  </a:lnTo>
                  <a:lnTo>
                    <a:pt x="550" y="681"/>
                  </a:lnTo>
                  <a:lnTo>
                    <a:pt x="546" y="681"/>
                  </a:lnTo>
                  <a:lnTo>
                    <a:pt x="546" y="679"/>
                  </a:lnTo>
                  <a:lnTo>
                    <a:pt x="550" y="676"/>
                  </a:lnTo>
                  <a:lnTo>
                    <a:pt x="560" y="665"/>
                  </a:lnTo>
                  <a:lnTo>
                    <a:pt x="565" y="658"/>
                  </a:lnTo>
                  <a:lnTo>
                    <a:pt x="569" y="653"/>
                  </a:lnTo>
                  <a:lnTo>
                    <a:pt x="569" y="653"/>
                  </a:lnTo>
                  <a:lnTo>
                    <a:pt x="569" y="650"/>
                  </a:lnTo>
                  <a:lnTo>
                    <a:pt x="567" y="646"/>
                  </a:lnTo>
                  <a:lnTo>
                    <a:pt x="560" y="639"/>
                  </a:lnTo>
                  <a:lnTo>
                    <a:pt x="532" y="622"/>
                  </a:lnTo>
                  <a:lnTo>
                    <a:pt x="518" y="613"/>
                  </a:lnTo>
                  <a:lnTo>
                    <a:pt x="506" y="604"/>
                  </a:lnTo>
                  <a:lnTo>
                    <a:pt x="503" y="601"/>
                  </a:lnTo>
                  <a:lnTo>
                    <a:pt x="501" y="597"/>
                  </a:lnTo>
                  <a:lnTo>
                    <a:pt x="501" y="594"/>
                  </a:lnTo>
                  <a:lnTo>
                    <a:pt x="503" y="592"/>
                  </a:lnTo>
                  <a:lnTo>
                    <a:pt x="503" y="592"/>
                  </a:lnTo>
                  <a:lnTo>
                    <a:pt x="508" y="587"/>
                  </a:lnTo>
                  <a:lnTo>
                    <a:pt x="510" y="583"/>
                  </a:lnTo>
                  <a:lnTo>
                    <a:pt x="508" y="580"/>
                  </a:lnTo>
                  <a:lnTo>
                    <a:pt x="503" y="576"/>
                  </a:lnTo>
                  <a:lnTo>
                    <a:pt x="487" y="570"/>
                  </a:lnTo>
                  <a:lnTo>
                    <a:pt x="464" y="559"/>
                  </a:lnTo>
                  <a:lnTo>
                    <a:pt x="464" y="559"/>
                  </a:lnTo>
                  <a:lnTo>
                    <a:pt x="454" y="554"/>
                  </a:lnTo>
                  <a:lnTo>
                    <a:pt x="445" y="552"/>
                  </a:lnTo>
                  <a:lnTo>
                    <a:pt x="440" y="552"/>
                  </a:lnTo>
                  <a:lnTo>
                    <a:pt x="435" y="552"/>
                  </a:lnTo>
                  <a:lnTo>
                    <a:pt x="430" y="552"/>
                  </a:lnTo>
                  <a:lnTo>
                    <a:pt x="424" y="550"/>
                  </a:lnTo>
                  <a:lnTo>
                    <a:pt x="421" y="545"/>
                  </a:lnTo>
                  <a:lnTo>
                    <a:pt x="421" y="545"/>
                  </a:lnTo>
                  <a:lnTo>
                    <a:pt x="414" y="542"/>
                  </a:lnTo>
                  <a:lnTo>
                    <a:pt x="407" y="540"/>
                  </a:lnTo>
                  <a:lnTo>
                    <a:pt x="388" y="538"/>
                  </a:lnTo>
                  <a:lnTo>
                    <a:pt x="367" y="536"/>
                  </a:lnTo>
                  <a:lnTo>
                    <a:pt x="355" y="535"/>
                  </a:lnTo>
                  <a:lnTo>
                    <a:pt x="344" y="533"/>
                  </a:lnTo>
                  <a:lnTo>
                    <a:pt x="344" y="533"/>
                  </a:lnTo>
                  <a:lnTo>
                    <a:pt x="336" y="531"/>
                  </a:lnTo>
                  <a:lnTo>
                    <a:pt x="330" y="531"/>
                  </a:lnTo>
                  <a:lnTo>
                    <a:pt x="325" y="535"/>
                  </a:lnTo>
                  <a:lnTo>
                    <a:pt x="322" y="538"/>
                  </a:lnTo>
                  <a:lnTo>
                    <a:pt x="320" y="542"/>
                  </a:lnTo>
                  <a:lnTo>
                    <a:pt x="316" y="543"/>
                  </a:lnTo>
                  <a:lnTo>
                    <a:pt x="311" y="543"/>
                  </a:lnTo>
                  <a:lnTo>
                    <a:pt x="306" y="540"/>
                  </a:lnTo>
                  <a:lnTo>
                    <a:pt x="306" y="540"/>
                  </a:lnTo>
                  <a:lnTo>
                    <a:pt x="299" y="535"/>
                  </a:lnTo>
                  <a:lnTo>
                    <a:pt x="294" y="533"/>
                  </a:lnTo>
                  <a:lnTo>
                    <a:pt x="290" y="535"/>
                  </a:lnTo>
                  <a:lnTo>
                    <a:pt x="287" y="538"/>
                  </a:lnTo>
                  <a:lnTo>
                    <a:pt x="283" y="542"/>
                  </a:lnTo>
                  <a:lnTo>
                    <a:pt x="278" y="545"/>
                  </a:lnTo>
                  <a:lnTo>
                    <a:pt x="271" y="549"/>
                  </a:lnTo>
                  <a:lnTo>
                    <a:pt x="261" y="549"/>
                  </a:lnTo>
                  <a:lnTo>
                    <a:pt x="261" y="549"/>
                  </a:lnTo>
                  <a:lnTo>
                    <a:pt x="252" y="547"/>
                  </a:lnTo>
                  <a:lnTo>
                    <a:pt x="249" y="545"/>
                  </a:lnTo>
                  <a:lnTo>
                    <a:pt x="247" y="542"/>
                  </a:lnTo>
                  <a:lnTo>
                    <a:pt x="249" y="538"/>
                  </a:lnTo>
                  <a:lnTo>
                    <a:pt x="250" y="536"/>
                  </a:lnTo>
                  <a:lnTo>
                    <a:pt x="249" y="535"/>
                  </a:lnTo>
                  <a:lnTo>
                    <a:pt x="245" y="535"/>
                  </a:lnTo>
                  <a:lnTo>
                    <a:pt x="236" y="538"/>
                  </a:lnTo>
                  <a:lnTo>
                    <a:pt x="236" y="538"/>
                  </a:lnTo>
                  <a:lnTo>
                    <a:pt x="228" y="542"/>
                  </a:lnTo>
                  <a:lnTo>
                    <a:pt x="221" y="542"/>
                  </a:lnTo>
                  <a:lnTo>
                    <a:pt x="217" y="542"/>
                  </a:lnTo>
                  <a:lnTo>
                    <a:pt x="215" y="538"/>
                  </a:lnTo>
                  <a:lnTo>
                    <a:pt x="210" y="535"/>
                  </a:lnTo>
                  <a:lnTo>
                    <a:pt x="207" y="533"/>
                  </a:lnTo>
                  <a:lnTo>
                    <a:pt x="202" y="535"/>
                  </a:lnTo>
                  <a:lnTo>
                    <a:pt x="202" y="535"/>
                  </a:lnTo>
                  <a:lnTo>
                    <a:pt x="198" y="535"/>
                  </a:lnTo>
                  <a:lnTo>
                    <a:pt x="198" y="538"/>
                  </a:lnTo>
                  <a:lnTo>
                    <a:pt x="200" y="542"/>
                  </a:lnTo>
                  <a:lnTo>
                    <a:pt x="210" y="552"/>
                  </a:lnTo>
                  <a:lnTo>
                    <a:pt x="215" y="556"/>
                  </a:lnTo>
                  <a:lnTo>
                    <a:pt x="215" y="557"/>
                  </a:lnTo>
                  <a:lnTo>
                    <a:pt x="215" y="559"/>
                  </a:lnTo>
                  <a:lnTo>
                    <a:pt x="210" y="557"/>
                  </a:lnTo>
                  <a:lnTo>
                    <a:pt x="196" y="554"/>
                  </a:lnTo>
                  <a:lnTo>
                    <a:pt x="196" y="554"/>
                  </a:lnTo>
                  <a:lnTo>
                    <a:pt x="158" y="543"/>
                  </a:lnTo>
                  <a:lnTo>
                    <a:pt x="127" y="535"/>
                  </a:lnTo>
                  <a:lnTo>
                    <a:pt x="118" y="529"/>
                  </a:lnTo>
                  <a:lnTo>
                    <a:pt x="116" y="528"/>
                  </a:lnTo>
                  <a:lnTo>
                    <a:pt x="114" y="526"/>
                  </a:lnTo>
                  <a:lnTo>
                    <a:pt x="114" y="523"/>
                  </a:lnTo>
                  <a:lnTo>
                    <a:pt x="118" y="521"/>
                  </a:lnTo>
                  <a:lnTo>
                    <a:pt x="128" y="517"/>
                  </a:lnTo>
                  <a:lnTo>
                    <a:pt x="128" y="517"/>
                  </a:lnTo>
                  <a:lnTo>
                    <a:pt x="139" y="512"/>
                  </a:lnTo>
                  <a:lnTo>
                    <a:pt x="141" y="512"/>
                  </a:lnTo>
                  <a:lnTo>
                    <a:pt x="141" y="510"/>
                  </a:lnTo>
                  <a:lnTo>
                    <a:pt x="134" y="507"/>
                  </a:lnTo>
                  <a:lnTo>
                    <a:pt x="121" y="505"/>
                  </a:lnTo>
                  <a:lnTo>
                    <a:pt x="88" y="500"/>
                  </a:lnTo>
                  <a:lnTo>
                    <a:pt x="73" y="496"/>
                  </a:lnTo>
                  <a:lnTo>
                    <a:pt x="61" y="491"/>
                  </a:lnTo>
                  <a:lnTo>
                    <a:pt x="61" y="491"/>
                  </a:lnTo>
                  <a:lnTo>
                    <a:pt x="55" y="488"/>
                  </a:lnTo>
                  <a:lnTo>
                    <a:pt x="54" y="486"/>
                  </a:lnTo>
                  <a:lnTo>
                    <a:pt x="54" y="482"/>
                  </a:lnTo>
                  <a:lnTo>
                    <a:pt x="54" y="481"/>
                  </a:lnTo>
                  <a:lnTo>
                    <a:pt x="62" y="475"/>
                  </a:lnTo>
                  <a:lnTo>
                    <a:pt x="74" y="472"/>
                  </a:lnTo>
                  <a:lnTo>
                    <a:pt x="92" y="467"/>
                  </a:lnTo>
                  <a:lnTo>
                    <a:pt x="111" y="465"/>
                  </a:lnTo>
                  <a:lnTo>
                    <a:pt x="151" y="460"/>
                  </a:lnTo>
                  <a:lnTo>
                    <a:pt x="151" y="460"/>
                  </a:lnTo>
                  <a:lnTo>
                    <a:pt x="217" y="456"/>
                  </a:lnTo>
                  <a:lnTo>
                    <a:pt x="228" y="455"/>
                  </a:lnTo>
                  <a:lnTo>
                    <a:pt x="235" y="453"/>
                  </a:lnTo>
                  <a:lnTo>
                    <a:pt x="238" y="449"/>
                  </a:lnTo>
                  <a:lnTo>
                    <a:pt x="236" y="444"/>
                  </a:lnTo>
                  <a:lnTo>
                    <a:pt x="236" y="444"/>
                  </a:lnTo>
                  <a:lnTo>
                    <a:pt x="233" y="441"/>
                  </a:lnTo>
                  <a:lnTo>
                    <a:pt x="226" y="439"/>
                  </a:lnTo>
                  <a:lnTo>
                    <a:pt x="217" y="441"/>
                  </a:lnTo>
                  <a:lnTo>
                    <a:pt x="207" y="442"/>
                  </a:lnTo>
                  <a:lnTo>
                    <a:pt x="182" y="448"/>
                  </a:lnTo>
                  <a:lnTo>
                    <a:pt x="167" y="449"/>
                  </a:lnTo>
                  <a:lnTo>
                    <a:pt x="153" y="449"/>
                  </a:lnTo>
                  <a:lnTo>
                    <a:pt x="153" y="449"/>
                  </a:lnTo>
                  <a:lnTo>
                    <a:pt x="127" y="449"/>
                  </a:lnTo>
                  <a:lnTo>
                    <a:pt x="108" y="448"/>
                  </a:lnTo>
                  <a:lnTo>
                    <a:pt x="101" y="446"/>
                  </a:lnTo>
                  <a:lnTo>
                    <a:pt x="94" y="444"/>
                  </a:lnTo>
                  <a:lnTo>
                    <a:pt x="88" y="441"/>
                  </a:lnTo>
                  <a:lnTo>
                    <a:pt x="85" y="435"/>
                  </a:lnTo>
                  <a:lnTo>
                    <a:pt x="85" y="435"/>
                  </a:lnTo>
                  <a:lnTo>
                    <a:pt x="80" y="432"/>
                  </a:lnTo>
                  <a:lnTo>
                    <a:pt x="76" y="430"/>
                  </a:lnTo>
                  <a:lnTo>
                    <a:pt x="67" y="432"/>
                  </a:lnTo>
                  <a:lnTo>
                    <a:pt x="59" y="432"/>
                  </a:lnTo>
                  <a:lnTo>
                    <a:pt x="54" y="430"/>
                  </a:lnTo>
                  <a:lnTo>
                    <a:pt x="50" y="427"/>
                  </a:lnTo>
                  <a:lnTo>
                    <a:pt x="50" y="427"/>
                  </a:lnTo>
                  <a:lnTo>
                    <a:pt x="45" y="423"/>
                  </a:lnTo>
                  <a:lnTo>
                    <a:pt x="41" y="422"/>
                  </a:lnTo>
                  <a:lnTo>
                    <a:pt x="33" y="422"/>
                  </a:lnTo>
                  <a:lnTo>
                    <a:pt x="24" y="418"/>
                  </a:lnTo>
                  <a:lnTo>
                    <a:pt x="17" y="416"/>
                  </a:lnTo>
                  <a:lnTo>
                    <a:pt x="10" y="409"/>
                  </a:lnTo>
                  <a:lnTo>
                    <a:pt x="10" y="409"/>
                  </a:lnTo>
                  <a:lnTo>
                    <a:pt x="3" y="402"/>
                  </a:lnTo>
                  <a:lnTo>
                    <a:pt x="0" y="397"/>
                  </a:lnTo>
                  <a:lnTo>
                    <a:pt x="0" y="390"/>
                  </a:lnTo>
                  <a:lnTo>
                    <a:pt x="5" y="383"/>
                  </a:lnTo>
                  <a:lnTo>
                    <a:pt x="13" y="378"/>
                  </a:lnTo>
                  <a:lnTo>
                    <a:pt x="27" y="373"/>
                  </a:lnTo>
                  <a:lnTo>
                    <a:pt x="48" y="368"/>
                  </a:lnTo>
                  <a:lnTo>
                    <a:pt x="73" y="362"/>
                  </a:lnTo>
                  <a:lnTo>
                    <a:pt x="73" y="362"/>
                  </a:lnTo>
                  <a:lnTo>
                    <a:pt x="97" y="359"/>
                  </a:lnTo>
                  <a:lnTo>
                    <a:pt x="113" y="355"/>
                  </a:lnTo>
                  <a:lnTo>
                    <a:pt x="123" y="350"/>
                  </a:lnTo>
                  <a:lnTo>
                    <a:pt x="130" y="347"/>
                  </a:lnTo>
                  <a:lnTo>
                    <a:pt x="135" y="343"/>
                  </a:lnTo>
                  <a:lnTo>
                    <a:pt x="141" y="340"/>
                  </a:lnTo>
                  <a:lnTo>
                    <a:pt x="149" y="338"/>
                  </a:lnTo>
                  <a:lnTo>
                    <a:pt x="163" y="334"/>
                  </a:lnTo>
                  <a:lnTo>
                    <a:pt x="163" y="334"/>
                  </a:lnTo>
                  <a:lnTo>
                    <a:pt x="179" y="333"/>
                  </a:lnTo>
                  <a:lnTo>
                    <a:pt x="195" y="333"/>
                  </a:lnTo>
                  <a:lnTo>
                    <a:pt x="221" y="334"/>
                  </a:lnTo>
                  <a:lnTo>
                    <a:pt x="233" y="334"/>
                  </a:lnTo>
                  <a:lnTo>
                    <a:pt x="243" y="334"/>
                  </a:lnTo>
                  <a:lnTo>
                    <a:pt x="252" y="329"/>
                  </a:lnTo>
                  <a:lnTo>
                    <a:pt x="261" y="322"/>
                  </a:lnTo>
                  <a:lnTo>
                    <a:pt x="261" y="322"/>
                  </a:lnTo>
                  <a:lnTo>
                    <a:pt x="269" y="314"/>
                  </a:lnTo>
                  <a:lnTo>
                    <a:pt x="275" y="303"/>
                  </a:lnTo>
                  <a:lnTo>
                    <a:pt x="276" y="293"/>
                  </a:lnTo>
                  <a:lnTo>
                    <a:pt x="278" y="284"/>
                  </a:lnTo>
                  <a:lnTo>
                    <a:pt x="276" y="277"/>
                  </a:lnTo>
                  <a:lnTo>
                    <a:pt x="275" y="270"/>
                  </a:lnTo>
                  <a:lnTo>
                    <a:pt x="269" y="267"/>
                  </a:lnTo>
                  <a:lnTo>
                    <a:pt x="262" y="267"/>
                  </a:lnTo>
                  <a:lnTo>
                    <a:pt x="262" y="267"/>
                  </a:lnTo>
                  <a:lnTo>
                    <a:pt x="243" y="268"/>
                  </a:lnTo>
                  <a:lnTo>
                    <a:pt x="222" y="268"/>
                  </a:lnTo>
                  <a:lnTo>
                    <a:pt x="212" y="267"/>
                  </a:lnTo>
                  <a:lnTo>
                    <a:pt x="203" y="265"/>
                  </a:lnTo>
                  <a:lnTo>
                    <a:pt x="196" y="261"/>
                  </a:lnTo>
                  <a:lnTo>
                    <a:pt x="191" y="258"/>
                  </a:lnTo>
                  <a:lnTo>
                    <a:pt x="191" y="258"/>
                  </a:lnTo>
                  <a:lnTo>
                    <a:pt x="189" y="254"/>
                  </a:lnTo>
                  <a:lnTo>
                    <a:pt x="189" y="253"/>
                  </a:lnTo>
                  <a:lnTo>
                    <a:pt x="193" y="246"/>
                  </a:lnTo>
                  <a:lnTo>
                    <a:pt x="202" y="240"/>
                  </a:lnTo>
                  <a:lnTo>
                    <a:pt x="212" y="235"/>
                  </a:lnTo>
                  <a:lnTo>
                    <a:pt x="238" y="221"/>
                  </a:lnTo>
                  <a:lnTo>
                    <a:pt x="264" y="207"/>
                  </a:lnTo>
                  <a:lnTo>
                    <a:pt x="264" y="207"/>
                  </a:lnTo>
                  <a:lnTo>
                    <a:pt x="276" y="200"/>
                  </a:lnTo>
                  <a:lnTo>
                    <a:pt x="290" y="193"/>
                  </a:lnTo>
                  <a:lnTo>
                    <a:pt x="304" y="188"/>
                  </a:lnTo>
                  <a:lnTo>
                    <a:pt x="320" y="185"/>
                  </a:lnTo>
                  <a:lnTo>
                    <a:pt x="336" y="183"/>
                  </a:lnTo>
                  <a:lnTo>
                    <a:pt x="353" y="183"/>
                  </a:lnTo>
                  <a:lnTo>
                    <a:pt x="370" y="185"/>
                  </a:lnTo>
                  <a:lnTo>
                    <a:pt x="388" y="188"/>
                  </a:lnTo>
                  <a:lnTo>
                    <a:pt x="388" y="188"/>
                  </a:lnTo>
                  <a:lnTo>
                    <a:pt x="398" y="192"/>
                  </a:lnTo>
                  <a:lnTo>
                    <a:pt x="405" y="190"/>
                  </a:lnTo>
                  <a:lnTo>
                    <a:pt x="412" y="186"/>
                  </a:lnTo>
                  <a:lnTo>
                    <a:pt x="416" y="183"/>
                  </a:lnTo>
                  <a:lnTo>
                    <a:pt x="417" y="176"/>
                  </a:lnTo>
                  <a:lnTo>
                    <a:pt x="417" y="169"/>
                  </a:lnTo>
                  <a:lnTo>
                    <a:pt x="414" y="162"/>
                  </a:lnTo>
                  <a:lnTo>
                    <a:pt x="409" y="153"/>
                  </a:lnTo>
                  <a:lnTo>
                    <a:pt x="409" y="153"/>
                  </a:lnTo>
                  <a:lnTo>
                    <a:pt x="405" y="148"/>
                  </a:lnTo>
                  <a:lnTo>
                    <a:pt x="405" y="145"/>
                  </a:lnTo>
                  <a:lnTo>
                    <a:pt x="405" y="141"/>
                  </a:lnTo>
                  <a:lnTo>
                    <a:pt x="410" y="136"/>
                  </a:lnTo>
                  <a:lnTo>
                    <a:pt x="421" y="131"/>
                  </a:lnTo>
                  <a:lnTo>
                    <a:pt x="437" y="126"/>
                  </a:lnTo>
                  <a:lnTo>
                    <a:pt x="458" y="122"/>
                  </a:lnTo>
                  <a:lnTo>
                    <a:pt x="485" y="117"/>
                  </a:lnTo>
                  <a:lnTo>
                    <a:pt x="522" y="113"/>
                  </a:lnTo>
                  <a:lnTo>
                    <a:pt x="522" y="113"/>
                  </a:lnTo>
                  <a:lnTo>
                    <a:pt x="557" y="108"/>
                  </a:lnTo>
                  <a:lnTo>
                    <a:pt x="585" y="103"/>
                  </a:lnTo>
                  <a:lnTo>
                    <a:pt x="625" y="94"/>
                  </a:lnTo>
                  <a:lnTo>
                    <a:pt x="637" y="92"/>
                  </a:lnTo>
                  <a:lnTo>
                    <a:pt x="649" y="94"/>
                  </a:lnTo>
                  <a:lnTo>
                    <a:pt x="658" y="99"/>
                  </a:lnTo>
                  <a:lnTo>
                    <a:pt x="668" y="108"/>
                  </a:lnTo>
                  <a:lnTo>
                    <a:pt x="668" y="108"/>
                  </a:lnTo>
                  <a:lnTo>
                    <a:pt x="672" y="115"/>
                  </a:lnTo>
                  <a:lnTo>
                    <a:pt x="673" y="120"/>
                  </a:lnTo>
                  <a:lnTo>
                    <a:pt x="675" y="134"/>
                  </a:lnTo>
                  <a:lnTo>
                    <a:pt x="675" y="146"/>
                  </a:lnTo>
                  <a:lnTo>
                    <a:pt x="672" y="157"/>
                  </a:lnTo>
                  <a:lnTo>
                    <a:pt x="670" y="166"/>
                  </a:lnTo>
                  <a:lnTo>
                    <a:pt x="680" y="150"/>
                  </a:lnTo>
                  <a:lnTo>
                    <a:pt x="680" y="150"/>
                  </a:lnTo>
                  <a:lnTo>
                    <a:pt x="687" y="141"/>
                  </a:lnTo>
                  <a:lnTo>
                    <a:pt x="694" y="136"/>
                  </a:lnTo>
                  <a:lnTo>
                    <a:pt x="701" y="132"/>
                  </a:lnTo>
                  <a:lnTo>
                    <a:pt x="708" y="129"/>
                  </a:lnTo>
                  <a:lnTo>
                    <a:pt x="717" y="129"/>
                  </a:lnTo>
                  <a:lnTo>
                    <a:pt x="726" y="129"/>
                  </a:lnTo>
                  <a:lnTo>
                    <a:pt x="741" y="131"/>
                  </a:lnTo>
                  <a:lnTo>
                    <a:pt x="754" y="134"/>
                  </a:lnTo>
                  <a:lnTo>
                    <a:pt x="764" y="139"/>
                  </a:lnTo>
                  <a:lnTo>
                    <a:pt x="771" y="139"/>
                  </a:lnTo>
                  <a:lnTo>
                    <a:pt x="771" y="139"/>
                  </a:lnTo>
                  <a:lnTo>
                    <a:pt x="771" y="138"/>
                  </a:lnTo>
                  <a:lnTo>
                    <a:pt x="771" y="138"/>
                  </a:lnTo>
                  <a:lnTo>
                    <a:pt x="767" y="134"/>
                  </a:lnTo>
                  <a:lnTo>
                    <a:pt x="767" y="131"/>
                  </a:lnTo>
                  <a:lnTo>
                    <a:pt x="771" y="129"/>
                  </a:lnTo>
                  <a:lnTo>
                    <a:pt x="773" y="127"/>
                  </a:lnTo>
                  <a:lnTo>
                    <a:pt x="783" y="127"/>
                  </a:lnTo>
                  <a:lnTo>
                    <a:pt x="794" y="129"/>
                  </a:lnTo>
                  <a:lnTo>
                    <a:pt x="802" y="131"/>
                  </a:lnTo>
                  <a:lnTo>
                    <a:pt x="807" y="131"/>
                  </a:lnTo>
                  <a:lnTo>
                    <a:pt x="809" y="129"/>
                  </a:lnTo>
                  <a:lnTo>
                    <a:pt x="807" y="127"/>
                  </a:lnTo>
                  <a:lnTo>
                    <a:pt x="795" y="120"/>
                  </a:lnTo>
                  <a:lnTo>
                    <a:pt x="795" y="120"/>
                  </a:lnTo>
                  <a:lnTo>
                    <a:pt x="771" y="103"/>
                  </a:lnTo>
                  <a:lnTo>
                    <a:pt x="764" y="96"/>
                  </a:lnTo>
                  <a:lnTo>
                    <a:pt x="760" y="92"/>
                  </a:lnTo>
                  <a:lnTo>
                    <a:pt x="760" y="91"/>
                  </a:lnTo>
                  <a:lnTo>
                    <a:pt x="762" y="89"/>
                  </a:lnTo>
                  <a:lnTo>
                    <a:pt x="769" y="85"/>
                  </a:lnTo>
                  <a:lnTo>
                    <a:pt x="780" y="85"/>
                  </a:lnTo>
                  <a:lnTo>
                    <a:pt x="797" y="85"/>
                  </a:lnTo>
                  <a:lnTo>
                    <a:pt x="797" y="85"/>
                  </a:lnTo>
                  <a:lnTo>
                    <a:pt x="814" y="87"/>
                  </a:lnTo>
                  <a:lnTo>
                    <a:pt x="830" y="91"/>
                  </a:lnTo>
                  <a:lnTo>
                    <a:pt x="858" y="98"/>
                  </a:lnTo>
                  <a:lnTo>
                    <a:pt x="884" y="108"/>
                  </a:lnTo>
                  <a:lnTo>
                    <a:pt x="900" y="112"/>
                  </a:lnTo>
                  <a:lnTo>
                    <a:pt x="915" y="115"/>
                  </a:lnTo>
                  <a:lnTo>
                    <a:pt x="915" y="115"/>
                  </a:lnTo>
                  <a:lnTo>
                    <a:pt x="931" y="119"/>
                  </a:lnTo>
                  <a:lnTo>
                    <a:pt x="943" y="122"/>
                  </a:lnTo>
                  <a:lnTo>
                    <a:pt x="952" y="127"/>
                  </a:lnTo>
                  <a:lnTo>
                    <a:pt x="959" y="132"/>
                  </a:lnTo>
                  <a:lnTo>
                    <a:pt x="964" y="136"/>
                  </a:lnTo>
                  <a:lnTo>
                    <a:pt x="969" y="139"/>
                  </a:lnTo>
                  <a:lnTo>
                    <a:pt x="976" y="143"/>
                  </a:lnTo>
                  <a:lnTo>
                    <a:pt x="985" y="143"/>
                  </a:lnTo>
                  <a:lnTo>
                    <a:pt x="985" y="143"/>
                  </a:lnTo>
                  <a:lnTo>
                    <a:pt x="990" y="141"/>
                  </a:lnTo>
                  <a:lnTo>
                    <a:pt x="992" y="139"/>
                  </a:lnTo>
                  <a:lnTo>
                    <a:pt x="994" y="138"/>
                  </a:lnTo>
                  <a:lnTo>
                    <a:pt x="994" y="134"/>
                  </a:lnTo>
                  <a:lnTo>
                    <a:pt x="994" y="129"/>
                  </a:lnTo>
                  <a:lnTo>
                    <a:pt x="992" y="122"/>
                  </a:lnTo>
                  <a:lnTo>
                    <a:pt x="989" y="115"/>
                  </a:lnTo>
                  <a:lnTo>
                    <a:pt x="990" y="108"/>
                  </a:lnTo>
                  <a:lnTo>
                    <a:pt x="992" y="106"/>
                  </a:lnTo>
                  <a:lnTo>
                    <a:pt x="994" y="105"/>
                  </a:lnTo>
                  <a:lnTo>
                    <a:pt x="999" y="103"/>
                  </a:lnTo>
                  <a:lnTo>
                    <a:pt x="1004" y="101"/>
                  </a:lnTo>
                  <a:lnTo>
                    <a:pt x="1004" y="101"/>
                  </a:lnTo>
                  <a:lnTo>
                    <a:pt x="1013" y="99"/>
                  </a:lnTo>
                  <a:lnTo>
                    <a:pt x="1016" y="98"/>
                  </a:lnTo>
                  <a:lnTo>
                    <a:pt x="1016" y="96"/>
                  </a:lnTo>
                  <a:lnTo>
                    <a:pt x="1013" y="92"/>
                  </a:lnTo>
                  <a:lnTo>
                    <a:pt x="999" y="87"/>
                  </a:lnTo>
                  <a:lnTo>
                    <a:pt x="982" y="80"/>
                  </a:lnTo>
                  <a:lnTo>
                    <a:pt x="962" y="73"/>
                  </a:lnTo>
                  <a:lnTo>
                    <a:pt x="950" y="68"/>
                  </a:lnTo>
                  <a:lnTo>
                    <a:pt x="949" y="66"/>
                  </a:lnTo>
                  <a:lnTo>
                    <a:pt x="950" y="65"/>
                  </a:lnTo>
                  <a:lnTo>
                    <a:pt x="966" y="65"/>
                  </a:lnTo>
                  <a:lnTo>
                    <a:pt x="966" y="65"/>
                  </a:lnTo>
                  <a:lnTo>
                    <a:pt x="1056" y="68"/>
                  </a:lnTo>
                  <a:lnTo>
                    <a:pt x="1090" y="72"/>
                  </a:lnTo>
                  <a:lnTo>
                    <a:pt x="1103" y="73"/>
                  </a:lnTo>
                  <a:lnTo>
                    <a:pt x="1116" y="77"/>
                  </a:lnTo>
                  <a:lnTo>
                    <a:pt x="1116" y="77"/>
                  </a:lnTo>
                  <a:lnTo>
                    <a:pt x="1128" y="79"/>
                  </a:lnTo>
                  <a:lnTo>
                    <a:pt x="1138" y="80"/>
                  </a:lnTo>
                  <a:lnTo>
                    <a:pt x="1154" y="80"/>
                  </a:lnTo>
                  <a:lnTo>
                    <a:pt x="1159" y="79"/>
                  </a:lnTo>
                  <a:lnTo>
                    <a:pt x="1159" y="77"/>
                  </a:lnTo>
                  <a:lnTo>
                    <a:pt x="1159" y="77"/>
                  </a:lnTo>
                  <a:lnTo>
                    <a:pt x="1154" y="73"/>
                  </a:lnTo>
                  <a:lnTo>
                    <a:pt x="1144" y="72"/>
                  </a:lnTo>
                  <a:lnTo>
                    <a:pt x="1144" y="72"/>
                  </a:lnTo>
                  <a:lnTo>
                    <a:pt x="1114" y="66"/>
                  </a:lnTo>
                  <a:lnTo>
                    <a:pt x="1084" y="63"/>
                  </a:lnTo>
                  <a:lnTo>
                    <a:pt x="1053" y="59"/>
                  </a:lnTo>
                  <a:lnTo>
                    <a:pt x="1018" y="58"/>
                  </a:lnTo>
                  <a:lnTo>
                    <a:pt x="1018" y="58"/>
                  </a:lnTo>
                  <a:lnTo>
                    <a:pt x="983" y="58"/>
                  </a:lnTo>
                  <a:lnTo>
                    <a:pt x="950" y="58"/>
                  </a:lnTo>
                  <a:lnTo>
                    <a:pt x="926" y="58"/>
                  </a:lnTo>
                  <a:lnTo>
                    <a:pt x="917" y="56"/>
                  </a:lnTo>
                  <a:lnTo>
                    <a:pt x="912" y="52"/>
                  </a:lnTo>
                  <a:lnTo>
                    <a:pt x="912" y="52"/>
                  </a:lnTo>
                  <a:lnTo>
                    <a:pt x="912" y="51"/>
                  </a:lnTo>
                  <a:lnTo>
                    <a:pt x="914" y="49"/>
                  </a:lnTo>
                  <a:lnTo>
                    <a:pt x="917" y="45"/>
                  </a:lnTo>
                  <a:lnTo>
                    <a:pt x="926" y="44"/>
                  </a:lnTo>
                  <a:lnTo>
                    <a:pt x="938" y="42"/>
                  </a:lnTo>
                  <a:lnTo>
                    <a:pt x="969" y="38"/>
                  </a:lnTo>
                  <a:lnTo>
                    <a:pt x="1006" y="33"/>
                  </a:lnTo>
                  <a:lnTo>
                    <a:pt x="1006" y="33"/>
                  </a:lnTo>
                  <a:lnTo>
                    <a:pt x="1023" y="32"/>
                  </a:lnTo>
                  <a:lnTo>
                    <a:pt x="1039" y="30"/>
                  </a:lnTo>
                  <a:lnTo>
                    <a:pt x="1055" y="32"/>
                  </a:lnTo>
                  <a:lnTo>
                    <a:pt x="1069" y="33"/>
                  </a:lnTo>
                  <a:lnTo>
                    <a:pt x="1081" y="35"/>
                  </a:lnTo>
                  <a:lnTo>
                    <a:pt x="1093" y="40"/>
                  </a:lnTo>
                  <a:lnTo>
                    <a:pt x="1112" y="49"/>
                  </a:lnTo>
                  <a:lnTo>
                    <a:pt x="1112" y="49"/>
                  </a:lnTo>
                  <a:lnTo>
                    <a:pt x="1123" y="52"/>
                  </a:lnTo>
                  <a:lnTo>
                    <a:pt x="1135" y="56"/>
                  </a:lnTo>
                  <a:lnTo>
                    <a:pt x="1147" y="56"/>
                  </a:lnTo>
                  <a:lnTo>
                    <a:pt x="1159" y="56"/>
                  </a:lnTo>
                  <a:lnTo>
                    <a:pt x="1180" y="52"/>
                  </a:lnTo>
                  <a:lnTo>
                    <a:pt x="1194" y="49"/>
                  </a:lnTo>
                  <a:lnTo>
                    <a:pt x="1194" y="49"/>
                  </a:lnTo>
                  <a:lnTo>
                    <a:pt x="1199" y="47"/>
                  </a:lnTo>
                  <a:lnTo>
                    <a:pt x="1208" y="45"/>
                  </a:lnTo>
                  <a:lnTo>
                    <a:pt x="1224" y="42"/>
                  </a:lnTo>
                  <a:lnTo>
                    <a:pt x="1229" y="42"/>
                  </a:lnTo>
                  <a:lnTo>
                    <a:pt x="1232" y="40"/>
                  </a:lnTo>
                  <a:lnTo>
                    <a:pt x="1229" y="38"/>
                  </a:lnTo>
                  <a:lnTo>
                    <a:pt x="1220" y="37"/>
                  </a:lnTo>
                  <a:lnTo>
                    <a:pt x="1220" y="37"/>
                  </a:lnTo>
                  <a:lnTo>
                    <a:pt x="1208" y="35"/>
                  </a:lnTo>
                  <a:lnTo>
                    <a:pt x="1199" y="32"/>
                  </a:lnTo>
                  <a:lnTo>
                    <a:pt x="1192" y="28"/>
                  </a:lnTo>
                  <a:lnTo>
                    <a:pt x="1189" y="25"/>
                  </a:lnTo>
                  <a:lnTo>
                    <a:pt x="1189" y="19"/>
                  </a:lnTo>
                  <a:lnTo>
                    <a:pt x="1191" y="18"/>
                  </a:lnTo>
                  <a:lnTo>
                    <a:pt x="1196" y="16"/>
                  </a:lnTo>
                  <a:lnTo>
                    <a:pt x="1204" y="14"/>
                  </a:lnTo>
                  <a:lnTo>
                    <a:pt x="1204" y="14"/>
                  </a:lnTo>
                  <a:lnTo>
                    <a:pt x="1218" y="14"/>
                  </a:lnTo>
                  <a:lnTo>
                    <a:pt x="1227" y="11"/>
                  </a:lnTo>
                  <a:lnTo>
                    <a:pt x="1238" y="11"/>
                  </a:lnTo>
                  <a:lnTo>
                    <a:pt x="1255" y="14"/>
                  </a:lnTo>
                  <a:lnTo>
                    <a:pt x="1255" y="14"/>
                  </a:lnTo>
                  <a:lnTo>
                    <a:pt x="1264" y="16"/>
                  </a:lnTo>
                  <a:lnTo>
                    <a:pt x="1269" y="16"/>
                  </a:lnTo>
                  <a:lnTo>
                    <a:pt x="1269" y="14"/>
                  </a:lnTo>
                  <a:lnTo>
                    <a:pt x="1269" y="12"/>
                  </a:lnTo>
                  <a:lnTo>
                    <a:pt x="1271" y="9"/>
                  </a:lnTo>
                  <a:lnTo>
                    <a:pt x="1278" y="7"/>
                  </a:lnTo>
                  <a:lnTo>
                    <a:pt x="1288" y="5"/>
                  </a:lnTo>
                  <a:lnTo>
                    <a:pt x="1309" y="5"/>
                  </a:lnTo>
                  <a:lnTo>
                    <a:pt x="1309" y="5"/>
                  </a:lnTo>
                  <a:lnTo>
                    <a:pt x="1332" y="5"/>
                  </a:lnTo>
                  <a:lnTo>
                    <a:pt x="1351" y="5"/>
                  </a:lnTo>
                  <a:lnTo>
                    <a:pt x="1387" y="2"/>
                  </a:lnTo>
                  <a:lnTo>
                    <a:pt x="1408" y="0"/>
                  </a:lnTo>
                  <a:lnTo>
                    <a:pt x="1434" y="0"/>
                  </a:lnTo>
                  <a:lnTo>
                    <a:pt x="1467" y="2"/>
                  </a:lnTo>
                  <a:lnTo>
                    <a:pt x="1507" y="5"/>
                  </a:lnTo>
                  <a:lnTo>
                    <a:pt x="1507" y="5"/>
                  </a:lnTo>
                  <a:lnTo>
                    <a:pt x="1565" y="11"/>
                  </a:lnTo>
                  <a:lnTo>
                    <a:pt x="1617" y="18"/>
                  </a:lnTo>
                  <a:lnTo>
                    <a:pt x="1638" y="21"/>
                  </a:lnTo>
                  <a:lnTo>
                    <a:pt x="1652" y="25"/>
                  </a:lnTo>
                  <a:lnTo>
                    <a:pt x="1655" y="25"/>
                  </a:lnTo>
                  <a:lnTo>
                    <a:pt x="1655" y="26"/>
                  </a:lnTo>
                  <a:lnTo>
                    <a:pt x="1654" y="28"/>
                  </a:lnTo>
                  <a:lnTo>
                    <a:pt x="1650" y="30"/>
                  </a:lnTo>
                  <a:lnTo>
                    <a:pt x="1650" y="30"/>
                  </a:lnTo>
                  <a:lnTo>
                    <a:pt x="1612" y="33"/>
                  </a:lnTo>
                  <a:lnTo>
                    <a:pt x="1561" y="35"/>
                  </a:lnTo>
                  <a:lnTo>
                    <a:pt x="1511" y="38"/>
                  </a:lnTo>
                  <a:lnTo>
                    <a:pt x="1473" y="40"/>
                  </a:lnTo>
                  <a:lnTo>
                    <a:pt x="1473" y="40"/>
                  </a:lnTo>
                  <a:lnTo>
                    <a:pt x="1417" y="45"/>
                  </a:lnTo>
                  <a:lnTo>
                    <a:pt x="1408" y="47"/>
                  </a:lnTo>
                  <a:lnTo>
                    <a:pt x="1406" y="49"/>
                  </a:lnTo>
                  <a:lnTo>
                    <a:pt x="1412" y="51"/>
                  </a:lnTo>
                  <a:lnTo>
                    <a:pt x="1427" y="52"/>
                  </a:lnTo>
                  <a:lnTo>
                    <a:pt x="1427" y="52"/>
                  </a:lnTo>
                  <a:lnTo>
                    <a:pt x="1445" y="52"/>
                  </a:lnTo>
                  <a:lnTo>
                    <a:pt x="1460" y="52"/>
                  </a:lnTo>
                  <a:lnTo>
                    <a:pt x="1487" y="47"/>
                  </a:lnTo>
                  <a:lnTo>
                    <a:pt x="1500" y="44"/>
                  </a:lnTo>
                  <a:lnTo>
                    <a:pt x="1518" y="42"/>
                  </a:lnTo>
                  <a:lnTo>
                    <a:pt x="1537" y="42"/>
                  </a:lnTo>
                  <a:lnTo>
                    <a:pt x="1561" y="44"/>
                  </a:lnTo>
                  <a:lnTo>
                    <a:pt x="1561" y="44"/>
                  </a:lnTo>
                  <a:lnTo>
                    <a:pt x="1586" y="44"/>
                  </a:lnTo>
                  <a:lnTo>
                    <a:pt x="1607" y="44"/>
                  </a:lnTo>
                  <a:lnTo>
                    <a:pt x="1626" y="42"/>
                  </a:lnTo>
                  <a:lnTo>
                    <a:pt x="1640" y="38"/>
                  </a:lnTo>
                  <a:lnTo>
                    <a:pt x="1654" y="37"/>
                  </a:lnTo>
                  <a:lnTo>
                    <a:pt x="1664" y="35"/>
                  </a:lnTo>
                  <a:lnTo>
                    <a:pt x="1673" y="37"/>
                  </a:lnTo>
                  <a:lnTo>
                    <a:pt x="1682" y="40"/>
                  </a:lnTo>
                  <a:lnTo>
                    <a:pt x="1682" y="40"/>
                  </a:lnTo>
                  <a:lnTo>
                    <a:pt x="1685" y="42"/>
                  </a:lnTo>
                  <a:lnTo>
                    <a:pt x="1687" y="45"/>
                  </a:lnTo>
                  <a:lnTo>
                    <a:pt x="1687" y="49"/>
                  </a:lnTo>
                  <a:lnTo>
                    <a:pt x="1685" y="51"/>
                  </a:lnTo>
                  <a:lnTo>
                    <a:pt x="1680" y="56"/>
                  </a:lnTo>
                  <a:lnTo>
                    <a:pt x="1673" y="59"/>
                  </a:lnTo>
                  <a:lnTo>
                    <a:pt x="1668" y="63"/>
                  </a:lnTo>
                  <a:lnTo>
                    <a:pt x="1666" y="65"/>
                  </a:lnTo>
                  <a:lnTo>
                    <a:pt x="1683" y="63"/>
                  </a:lnTo>
                  <a:lnTo>
                    <a:pt x="1683" y="63"/>
                  </a:lnTo>
                  <a:lnTo>
                    <a:pt x="1699" y="59"/>
                  </a:lnTo>
                  <a:lnTo>
                    <a:pt x="1715" y="59"/>
                  </a:lnTo>
                  <a:lnTo>
                    <a:pt x="1730" y="59"/>
                  </a:lnTo>
                  <a:lnTo>
                    <a:pt x="1744" y="63"/>
                  </a:lnTo>
                  <a:lnTo>
                    <a:pt x="1770" y="68"/>
                  </a:lnTo>
                  <a:lnTo>
                    <a:pt x="1795" y="73"/>
                  </a:lnTo>
                  <a:lnTo>
                    <a:pt x="1795" y="73"/>
                  </a:lnTo>
                  <a:lnTo>
                    <a:pt x="1802" y="77"/>
                  </a:lnTo>
                  <a:lnTo>
                    <a:pt x="1803" y="79"/>
                  </a:lnTo>
                  <a:lnTo>
                    <a:pt x="1803" y="80"/>
                  </a:lnTo>
                  <a:lnTo>
                    <a:pt x="1798" y="84"/>
                  </a:lnTo>
                  <a:lnTo>
                    <a:pt x="1788" y="89"/>
                  </a:lnTo>
                  <a:lnTo>
                    <a:pt x="1758" y="99"/>
                  </a:lnTo>
                  <a:lnTo>
                    <a:pt x="1727" y="106"/>
                  </a:lnTo>
                  <a:lnTo>
                    <a:pt x="1727" y="106"/>
                  </a:lnTo>
                  <a:lnTo>
                    <a:pt x="1702" y="112"/>
                  </a:lnTo>
                  <a:lnTo>
                    <a:pt x="1676" y="113"/>
                  </a:lnTo>
                  <a:lnTo>
                    <a:pt x="1622" y="113"/>
                  </a:lnTo>
                  <a:lnTo>
                    <a:pt x="1568" y="113"/>
                  </a:lnTo>
                  <a:lnTo>
                    <a:pt x="1542" y="113"/>
                  </a:lnTo>
                  <a:lnTo>
                    <a:pt x="1518" y="117"/>
                  </a:lnTo>
                  <a:lnTo>
                    <a:pt x="1518" y="117"/>
                  </a:lnTo>
                  <a:lnTo>
                    <a:pt x="1467" y="124"/>
                  </a:lnTo>
                  <a:lnTo>
                    <a:pt x="1424" y="132"/>
                  </a:lnTo>
                  <a:lnTo>
                    <a:pt x="1408" y="136"/>
                  </a:lnTo>
                  <a:lnTo>
                    <a:pt x="1398" y="141"/>
                  </a:lnTo>
                  <a:lnTo>
                    <a:pt x="1396" y="143"/>
                  </a:lnTo>
                  <a:lnTo>
                    <a:pt x="1394" y="146"/>
                  </a:lnTo>
                  <a:lnTo>
                    <a:pt x="1396" y="148"/>
                  </a:lnTo>
                  <a:lnTo>
                    <a:pt x="1399" y="152"/>
                  </a:lnTo>
                  <a:lnTo>
                    <a:pt x="1399" y="152"/>
                  </a:lnTo>
                  <a:lnTo>
                    <a:pt x="1403" y="152"/>
                  </a:lnTo>
                  <a:lnTo>
                    <a:pt x="1408" y="152"/>
                  </a:lnTo>
                  <a:lnTo>
                    <a:pt x="1424" y="150"/>
                  </a:lnTo>
                  <a:lnTo>
                    <a:pt x="1474" y="138"/>
                  </a:lnTo>
                  <a:lnTo>
                    <a:pt x="1506" y="132"/>
                  </a:lnTo>
                  <a:lnTo>
                    <a:pt x="1541" y="127"/>
                  </a:lnTo>
                  <a:lnTo>
                    <a:pt x="1577" y="122"/>
                  </a:lnTo>
                  <a:lnTo>
                    <a:pt x="1612" y="122"/>
                  </a:lnTo>
                  <a:lnTo>
                    <a:pt x="1612" y="122"/>
                  </a:lnTo>
                  <a:lnTo>
                    <a:pt x="1642" y="124"/>
                  </a:lnTo>
                  <a:lnTo>
                    <a:pt x="1661" y="126"/>
                  </a:lnTo>
                  <a:lnTo>
                    <a:pt x="1671" y="127"/>
                  </a:lnTo>
                  <a:lnTo>
                    <a:pt x="1675" y="129"/>
                  </a:lnTo>
                  <a:lnTo>
                    <a:pt x="1675" y="131"/>
                  </a:lnTo>
                  <a:lnTo>
                    <a:pt x="1675" y="132"/>
                  </a:lnTo>
                  <a:lnTo>
                    <a:pt x="1675" y="134"/>
                  </a:lnTo>
                  <a:lnTo>
                    <a:pt x="1668" y="139"/>
                  </a:lnTo>
                  <a:lnTo>
                    <a:pt x="1647" y="148"/>
                  </a:lnTo>
                  <a:lnTo>
                    <a:pt x="1647" y="148"/>
                  </a:lnTo>
                  <a:lnTo>
                    <a:pt x="1636" y="153"/>
                  </a:lnTo>
                  <a:lnTo>
                    <a:pt x="1633" y="157"/>
                  </a:lnTo>
                  <a:lnTo>
                    <a:pt x="1635" y="159"/>
                  </a:lnTo>
                  <a:lnTo>
                    <a:pt x="1642" y="159"/>
                  </a:lnTo>
                  <a:lnTo>
                    <a:pt x="1662" y="155"/>
                  </a:lnTo>
                  <a:lnTo>
                    <a:pt x="1689" y="150"/>
                  </a:lnTo>
                  <a:lnTo>
                    <a:pt x="1689" y="150"/>
                  </a:lnTo>
                  <a:lnTo>
                    <a:pt x="1699" y="146"/>
                  </a:lnTo>
                  <a:lnTo>
                    <a:pt x="1704" y="141"/>
                  </a:lnTo>
                  <a:lnTo>
                    <a:pt x="1708" y="136"/>
                  </a:lnTo>
                  <a:lnTo>
                    <a:pt x="1708" y="131"/>
                  </a:lnTo>
                  <a:lnTo>
                    <a:pt x="1711" y="127"/>
                  </a:lnTo>
                  <a:lnTo>
                    <a:pt x="1716" y="124"/>
                  </a:lnTo>
                  <a:lnTo>
                    <a:pt x="1727" y="120"/>
                  </a:lnTo>
                  <a:lnTo>
                    <a:pt x="1746" y="119"/>
                  </a:lnTo>
                  <a:lnTo>
                    <a:pt x="1746" y="119"/>
                  </a:lnTo>
                  <a:lnTo>
                    <a:pt x="1765" y="120"/>
                  </a:lnTo>
                  <a:lnTo>
                    <a:pt x="1772" y="122"/>
                  </a:lnTo>
                  <a:lnTo>
                    <a:pt x="1777" y="124"/>
                  </a:lnTo>
                  <a:lnTo>
                    <a:pt x="1783" y="127"/>
                  </a:lnTo>
                  <a:lnTo>
                    <a:pt x="1786" y="131"/>
                  </a:lnTo>
                  <a:lnTo>
                    <a:pt x="1788" y="136"/>
                  </a:lnTo>
                  <a:lnTo>
                    <a:pt x="1788" y="139"/>
                  </a:lnTo>
                  <a:lnTo>
                    <a:pt x="1786" y="145"/>
                  </a:lnTo>
                  <a:lnTo>
                    <a:pt x="1784" y="150"/>
                  </a:lnTo>
                  <a:lnTo>
                    <a:pt x="1776" y="162"/>
                  </a:lnTo>
                  <a:lnTo>
                    <a:pt x="1763" y="174"/>
                  </a:lnTo>
                  <a:lnTo>
                    <a:pt x="1748" y="188"/>
                  </a:lnTo>
                  <a:lnTo>
                    <a:pt x="1748" y="188"/>
                  </a:lnTo>
                  <a:lnTo>
                    <a:pt x="1734" y="199"/>
                  </a:lnTo>
                  <a:lnTo>
                    <a:pt x="1727" y="207"/>
                  </a:lnTo>
                  <a:lnTo>
                    <a:pt x="1725" y="211"/>
                  </a:lnTo>
                  <a:lnTo>
                    <a:pt x="1727" y="213"/>
                  </a:lnTo>
                  <a:lnTo>
                    <a:pt x="1729" y="213"/>
                  </a:lnTo>
                  <a:lnTo>
                    <a:pt x="1737" y="209"/>
                  </a:lnTo>
                  <a:lnTo>
                    <a:pt x="1749" y="204"/>
                  </a:lnTo>
                  <a:lnTo>
                    <a:pt x="1767" y="195"/>
                  </a:lnTo>
                  <a:lnTo>
                    <a:pt x="1786" y="183"/>
                  </a:lnTo>
                  <a:lnTo>
                    <a:pt x="1786" y="183"/>
                  </a:lnTo>
                  <a:lnTo>
                    <a:pt x="1805" y="171"/>
                  </a:lnTo>
                  <a:lnTo>
                    <a:pt x="1821" y="160"/>
                  </a:lnTo>
                  <a:lnTo>
                    <a:pt x="1835" y="153"/>
                  </a:lnTo>
                  <a:lnTo>
                    <a:pt x="1845" y="150"/>
                  </a:lnTo>
                  <a:lnTo>
                    <a:pt x="1852" y="148"/>
                  </a:lnTo>
                  <a:lnTo>
                    <a:pt x="1857" y="148"/>
                  </a:lnTo>
                  <a:lnTo>
                    <a:pt x="1857" y="150"/>
                  </a:lnTo>
                  <a:lnTo>
                    <a:pt x="1854" y="153"/>
                  </a:lnTo>
                  <a:lnTo>
                    <a:pt x="1854" y="153"/>
                  </a:lnTo>
                  <a:lnTo>
                    <a:pt x="1850" y="157"/>
                  </a:lnTo>
                  <a:lnTo>
                    <a:pt x="1850" y="159"/>
                  </a:lnTo>
                  <a:lnTo>
                    <a:pt x="1852" y="159"/>
                  </a:lnTo>
                  <a:lnTo>
                    <a:pt x="1863" y="160"/>
                  </a:lnTo>
                  <a:lnTo>
                    <a:pt x="1884" y="159"/>
                  </a:lnTo>
                  <a:lnTo>
                    <a:pt x="1894" y="159"/>
                  </a:lnTo>
                  <a:lnTo>
                    <a:pt x="1904" y="162"/>
                  </a:lnTo>
                  <a:lnTo>
                    <a:pt x="1904" y="162"/>
                  </a:lnTo>
                  <a:lnTo>
                    <a:pt x="1913" y="162"/>
                  </a:lnTo>
                  <a:lnTo>
                    <a:pt x="1918" y="160"/>
                  </a:lnTo>
                  <a:lnTo>
                    <a:pt x="1924" y="155"/>
                  </a:lnTo>
                  <a:lnTo>
                    <a:pt x="1927" y="150"/>
                  </a:lnTo>
                  <a:lnTo>
                    <a:pt x="1932" y="143"/>
                  </a:lnTo>
                  <a:lnTo>
                    <a:pt x="1941" y="136"/>
                  </a:lnTo>
                  <a:lnTo>
                    <a:pt x="1953" y="132"/>
                  </a:lnTo>
                  <a:lnTo>
                    <a:pt x="1971" y="129"/>
                  </a:lnTo>
                  <a:lnTo>
                    <a:pt x="1971" y="129"/>
                  </a:lnTo>
                  <a:lnTo>
                    <a:pt x="1995" y="129"/>
                  </a:lnTo>
                  <a:lnTo>
                    <a:pt x="2023" y="131"/>
                  </a:lnTo>
                  <a:lnTo>
                    <a:pt x="2051" y="134"/>
                  </a:lnTo>
                  <a:lnTo>
                    <a:pt x="2079" y="138"/>
                  </a:lnTo>
                  <a:lnTo>
                    <a:pt x="2101" y="143"/>
                  </a:lnTo>
                  <a:lnTo>
                    <a:pt x="2119" y="148"/>
                  </a:lnTo>
                  <a:lnTo>
                    <a:pt x="2124" y="152"/>
                  </a:lnTo>
                  <a:lnTo>
                    <a:pt x="2126" y="153"/>
                  </a:lnTo>
                  <a:lnTo>
                    <a:pt x="2126" y="157"/>
                  </a:lnTo>
                  <a:lnTo>
                    <a:pt x="2120" y="159"/>
                  </a:lnTo>
                  <a:lnTo>
                    <a:pt x="2120" y="159"/>
                  </a:lnTo>
                  <a:lnTo>
                    <a:pt x="2099" y="169"/>
                  </a:lnTo>
                  <a:lnTo>
                    <a:pt x="2082" y="180"/>
                  </a:lnTo>
                  <a:lnTo>
                    <a:pt x="2073" y="183"/>
                  </a:lnTo>
                  <a:lnTo>
                    <a:pt x="2065" y="186"/>
                  </a:lnTo>
                  <a:lnTo>
                    <a:pt x="2054" y="188"/>
                  </a:lnTo>
                  <a:lnTo>
                    <a:pt x="2044" y="188"/>
                  </a:lnTo>
                  <a:lnTo>
                    <a:pt x="2044" y="188"/>
                  </a:lnTo>
                  <a:lnTo>
                    <a:pt x="2032" y="190"/>
                  </a:lnTo>
                  <a:lnTo>
                    <a:pt x="2028" y="190"/>
                  </a:lnTo>
                  <a:lnTo>
                    <a:pt x="2028" y="192"/>
                  </a:lnTo>
                  <a:lnTo>
                    <a:pt x="2028" y="195"/>
                  </a:lnTo>
                  <a:lnTo>
                    <a:pt x="2033" y="199"/>
                  </a:lnTo>
                  <a:lnTo>
                    <a:pt x="2039" y="202"/>
                  </a:lnTo>
                  <a:lnTo>
                    <a:pt x="2040" y="206"/>
                  </a:lnTo>
                  <a:lnTo>
                    <a:pt x="2040" y="207"/>
                  </a:lnTo>
                  <a:lnTo>
                    <a:pt x="2039" y="209"/>
                  </a:lnTo>
                  <a:lnTo>
                    <a:pt x="2028" y="211"/>
                  </a:lnTo>
                  <a:lnTo>
                    <a:pt x="2028" y="211"/>
                  </a:lnTo>
                  <a:lnTo>
                    <a:pt x="2002" y="213"/>
                  </a:lnTo>
                  <a:lnTo>
                    <a:pt x="1981" y="216"/>
                  </a:lnTo>
                  <a:lnTo>
                    <a:pt x="1962" y="218"/>
                  </a:lnTo>
                  <a:lnTo>
                    <a:pt x="1953" y="216"/>
                  </a:lnTo>
                  <a:lnTo>
                    <a:pt x="1943" y="216"/>
                  </a:lnTo>
                  <a:lnTo>
                    <a:pt x="1943" y="216"/>
                  </a:lnTo>
                  <a:lnTo>
                    <a:pt x="1934" y="214"/>
                  </a:lnTo>
                  <a:lnTo>
                    <a:pt x="1927" y="214"/>
                  </a:lnTo>
                  <a:lnTo>
                    <a:pt x="1915" y="220"/>
                  </a:lnTo>
                  <a:lnTo>
                    <a:pt x="1908" y="221"/>
                  </a:lnTo>
                  <a:lnTo>
                    <a:pt x="1899" y="225"/>
                  </a:lnTo>
                  <a:lnTo>
                    <a:pt x="1887" y="225"/>
                  </a:lnTo>
                  <a:lnTo>
                    <a:pt x="1873" y="225"/>
                  </a:lnTo>
                  <a:lnTo>
                    <a:pt x="1873" y="225"/>
                  </a:lnTo>
                  <a:lnTo>
                    <a:pt x="1857" y="225"/>
                  </a:lnTo>
                  <a:lnTo>
                    <a:pt x="1875" y="227"/>
                  </a:lnTo>
                  <a:lnTo>
                    <a:pt x="1906" y="228"/>
                  </a:lnTo>
                  <a:lnTo>
                    <a:pt x="1920" y="228"/>
                  </a:lnTo>
                  <a:lnTo>
                    <a:pt x="1932" y="228"/>
                  </a:lnTo>
                  <a:lnTo>
                    <a:pt x="1932" y="228"/>
                  </a:lnTo>
                  <a:lnTo>
                    <a:pt x="1943" y="227"/>
                  </a:lnTo>
                  <a:lnTo>
                    <a:pt x="1955" y="227"/>
                  </a:lnTo>
                  <a:lnTo>
                    <a:pt x="1976" y="228"/>
                  </a:lnTo>
                  <a:lnTo>
                    <a:pt x="1985" y="230"/>
                  </a:lnTo>
                  <a:lnTo>
                    <a:pt x="1990" y="232"/>
                  </a:lnTo>
                  <a:lnTo>
                    <a:pt x="1990" y="233"/>
                  </a:lnTo>
                  <a:lnTo>
                    <a:pt x="1990" y="235"/>
                  </a:lnTo>
                  <a:lnTo>
                    <a:pt x="1985" y="239"/>
                  </a:lnTo>
                  <a:lnTo>
                    <a:pt x="1985" y="239"/>
                  </a:lnTo>
                  <a:lnTo>
                    <a:pt x="1964" y="247"/>
                  </a:lnTo>
                  <a:lnTo>
                    <a:pt x="1939" y="253"/>
                  </a:lnTo>
                  <a:lnTo>
                    <a:pt x="1927" y="254"/>
                  </a:lnTo>
                  <a:lnTo>
                    <a:pt x="1913" y="254"/>
                  </a:lnTo>
                  <a:lnTo>
                    <a:pt x="1899" y="253"/>
                  </a:lnTo>
                  <a:lnTo>
                    <a:pt x="1887" y="251"/>
                  </a:lnTo>
                  <a:lnTo>
                    <a:pt x="1887" y="251"/>
                  </a:lnTo>
                  <a:lnTo>
                    <a:pt x="1880" y="249"/>
                  </a:lnTo>
                  <a:lnTo>
                    <a:pt x="1873" y="251"/>
                  </a:lnTo>
                  <a:lnTo>
                    <a:pt x="1861" y="253"/>
                  </a:lnTo>
                  <a:lnTo>
                    <a:pt x="1849" y="260"/>
                  </a:lnTo>
                  <a:lnTo>
                    <a:pt x="1840" y="267"/>
                  </a:lnTo>
                  <a:lnTo>
                    <a:pt x="1835" y="274"/>
                  </a:lnTo>
                  <a:lnTo>
                    <a:pt x="1835" y="275"/>
                  </a:lnTo>
                  <a:lnTo>
                    <a:pt x="1835" y="277"/>
                  </a:lnTo>
                  <a:lnTo>
                    <a:pt x="1835" y="279"/>
                  </a:lnTo>
                  <a:lnTo>
                    <a:pt x="1838" y="279"/>
                  </a:lnTo>
                  <a:lnTo>
                    <a:pt x="1850" y="277"/>
                  </a:lnTo>
                  <a:lnTo>
                    <a:pt x="1850" y="277"/>
                  </a:lnTo>
                  <a:lnTo>
                    <a:pt x="1866" y="272"/>
                  </a:lnTo>
                  <a:lnTo>
                    <a:pt x="1882" y="267"/>
                  </a:lnTo>
                  <a:lnTo>
                    <a:pt x="1915" y="261"/>
                  </a:lnTo>
                  <a:lnTo>
                    <a:pt x="1929" y="261"/>
                  </a:lnTo>
                  <a:lnTo>
                    <a:pt x="1938" y="261"/>
                  </a:lnTo>
                  <a:lnTo>
                    <a:pt x="1941" y="263"/>
                  </a:lnTo>
                  <a:lnTo>
                    <a:pt x="1941" y="265"/>
                  </a:lnTo>
                  <a:lnTo>
                    <a:pt x="1941" y="267"/>
                  </a:lnTo>
                  <a:lnTo>
                    <a:pt x="1939" y="270"/>
                  </a:lnTo>
                  <a:lnTo>
                    <a:pt x="1939" y="270"/>
                  </a:lnTo>
                  <a:lnTo>
                    <a:pt x="1929" y="280"/>
                  </a:lnTo>
                  <a:lnTo>
                    <a:pt x="1918" y="286"/>
                  </a:lnTo>
                  <a:lnTo>
                    <a:pt x="1906" y="289"/>
                  </a:lnTo>
                  <a:lnTo>
                    <a:pt x="1889" y="291"/>
                  </a:lnTo>
                  <a:lnTo>
                    <a:pt x="1889" y="291"/>
                  </a:lnTo>
                  <a:lnTo>
                    <a:pt x="1878" y="293"/>
                  </a:lnTo>
                  <a:lnTo>
                    <a:pt x="1871" y="294"/>
                  </a:lnTo>
                  <a:lnTo>
                    <a:pt x="1868" y="298"/>
                  </a:lnTo>
                  <a:lnTo>
                    <a:pt x="1866" y="303"/>
                  </a:lnTo>
                  <a:lnTo>
                    <a:pt x="1866" y="308"/>
                  </a:lnTo>
                  <a:lnTo>
                    <a:pt x="1870" y="312"/>
                  </a:lnTo>
                  <a:lnTo>
                    <a:pt x="1873" y="315"/>
                  </a:lnTo>
                  <a:lnTo>
                    <a:pt x="1880" y="319"/>
                  </a:lnTo>
                  <a:lnTo>
                    <a:pt x="1880" y="319"/>
                  </a:lnTo>
                  <a:lnTo>
                    <a:pt x="1887" y="321"/>
                  </a:lnTo>
                  <a:lnTo>
                    <a:pt x="1887" y="322"/>
                  </a:lnTo>
                  <a:lnTo>
                    <a:pt x="1887" y="324"/>
                  </a:lnTo>
                  <a:lnTo>
                    <a:pt x="1885" y="327"/>
                  </a:lnTo>
                  <a:lnTo>
                    <a:pt x="1880" y="331"/>
                  </a:lnTo>
                  <a:lnTo>
                    <a:pt x="1868" y="341"/>
                  </a:lnTo>
                  <a:lnTo>
                    <a:pt x="1857" y="348"/>
                  </a:lnTo>
                  <a:lnTo>
                    <a:pt x="1857" y="348"/>
                  </a:lnTo>
                  <a:lnTo>
                    <a:pt x="1854" y="350"/>
                  </a:lnTo>
                  <a:lnTo>
                    <a:pt x="1849" y="352"/>
                  </a:lnTo>
                  <a:lnTo>
                    <a:pt x="1838" y="350"/>
                  </a:lnTo>
                  <a:lnTo>
                    <a:pt x="1831" y="352"/>
                  </a:lnTo>
                  <a:lnTo>
                    <a:pt x="1826" y="354"/>
                  </a:lnTo>
                  <a:lnTo>
                    <a:pt x="1819" y="361"/>
                  </a:lnTo>
                  <a:lnTo>
                    <a:pt x="1816" y="369"/>
                  </a:lnTo>
                  <a:lnTo>
                    <a:pt x="1816" y="369"/>
                  </a:lnTo>
                  <a:lnTo>
                    <a:pt x="1810" y="381"/>
                  </a:lnTo>
                  <a:lnTo>
                    <a:pt x="1805" y="394"/>
                  </a:lnTo>
                  <a:lnTo>
                    <a:pt x="1793" y="416"/>
                  </a:lnTo>
                  <a:lnTo>
                    <a:pt x="1788" y="425"/>
                  </a:lnTo>
                  <a:lnTo>
                    <a:pt x="1786" y="432"/>
                  </a:lnTo>
                  <a:lnTo>
                    <a:pt x="1786" y="435"/>
                  </a:lnTo>
                  <a:lnTo>
                    <a:pt x="1788" y="437"/>
                  </a:lnTo>
                  <a:lnTo>
                    <a:pt x="1790" y="437"/>
                  </a:lnTo>
                  <a:lnTo>
                    <a:pt x="1793" y="437"/>
                  </a:lnTo>
                  <a:lnTo>
                    <a:pt x="1793" y="437"/>
                  </a:lnTo>
                  <a:lnTo>
                    <a:pt x="1798" y="435"/>
                  </a:lnTo>
                  <a:lnTo>
                    <a:pt x="1802" y="430"/>
                  </a:lnTo>
                  <a:lnTo>
                    <a:pt x="1805" y="420"/>
                  </a:lnTo>
                  <a:lnTo>
                    <a:pt x="1809" y="415"/>
                  </a:lnTo>
                  <a:lnTo>
                    <a:pt x="1816" y="413"/>
                  </a:lnTo>
                  <a:lnTo>
                    <a:pt x="1828" y="413"/>
                  </a:lnTo>
                  <a:lnTo>
                    <a:pt x="1845" y="418"/>
                  </a:lnTo>
                  <a:lnTo>
                    <a:pt x="1845" y="418"/>
                  </a:lnTo>
                  <a:lnTo>
                    <a:pt x="1877" y="432"/>
                  </a:lnTo>
                  <a:lnTo>
                    <a:pt x="1887" y="435"/>
                  </a:lnTo>
                  <a:lnTo>
                    <a:pt x="1892" y="439"/>
                  </a:lnTo>
                  <a:lnTo>
                    <a:pt x="1892" y="442"/>
                  </a:lnTo>
                  <a:lnTo>
                    <a:pt x="1889" y="442"/>
                  </a:lnTo>
                  <a:lnTo>
                    <a:pt x="1866" y="439"/>
                  </a:lnTo>
                  <a:lnTo>
                    <a:pt x="1866" y="439"/>
                  </a:lnTo>
                  <a:lnTo>
                    <a:pt x="1842" y="434"/>
                  </a:lnTo>
                  <a:lnTo>
                    <a:pt x="1835" y="432"/>
                  </a:lnTo>
                  <a:lnTo>
                    <a:pt x="1830" y="434"/>
                  </a:lnTo>
                  <a:lnTo>
                    <a:pt x="1830" y="435"/>
                  </a:lnTo>
                  <a:lnTo>
                    <a:pt x="1830" y="435"/>
                  </a:lnTo>
                  <a:lnTo>
                    <a:pt x="1833" y="441"/>
                  </a:lnTo>
                  <a:lnTo>
                    <a:pt x="1856" y="455"/>
                  </a:lnTo>
                  <a:lnTo>
                    <a:pt x="1856" y="455"/>
                  </a:lnTo>
                  <a:lnTo>
                    <a:pt x="1870" y="462"/>
                  </a:lnTo>
                  <a:lnTo>
                    <a:pt x="1878" y="465"/>
                  </a:lnTo>
                  <a:lnTo>
                    <a:pt x="1885" y="463"/>
                  </a:lnTo>
                  <a:lnTo>
                    <a:pt x="1891" y="460"/>
                  </a:lnTo>
                  <a:lnTo>
                    <a:pt x="1894" y="456"/>
                  </a:lnTo>
                  <a:lnTo>
                    <a:pt x="1899" y="455"/>
                  </a:lnTo>
                  <a:lnTo>
                    <a:pt x="1903" y="455"/>
                  </a:lnTo>
                  <a:lnTo>
                    <a:pt x="1911" y="460"/>
                  </a:lnTo>
                  <a:lnTo>
                    <a:pt x="1911" y="460"/>
                  </a:lnTo>
                  <a:lnTo>
                    <a:pt x="1917" y="467"/>
                  </a:lnTo>
                  <a:lnTo>
                    <a:pt x="1922" y="475"/>
                  </a:lnTo>
                  <a:lnTo>
                    <a:pt x="1922" y="482"/>
                  </a:lnTo>
                  <a:lnTo>
                    <a:pt x="1920" y="489"/>
                  </a:lnTo>
                  <a:lnTo>
                    <a:pt x="1917" y="496"/>
                  </a:lnTo>
                  <a:lnTo>
                    <a:pt x="1911" y="500"/>
                  </a:lnTo>
                  <a:lnTo>
                    <a:pt x="1904" y="502"/>
                  </a:lnTo>
                  <a:lnTo>
                    <a:pt x="1896" y="498"/>
                  </a:lnTo>
                  <a:lnTo>
                    <a:pt x="1896" y="498"/>
                  </a:lnTo>
                  <a:lnTo>
                    <a:pt x="1877" y="491"/>
                  </a:lnTo>
                  <a:lnTo>
                    <a:pt x="1866" y="488"/>
                  </a:lnTo>
                  <a:lnTo>
                    <a:pt x="1856" y="486"/>
                  </a:lnTo>
                  <a:lnTo>
                    <a:pt x="1845" y="486"/>
                  </a:lnTo>
                  <a:lnTo>
                    <a:pt x="1835" y="488"/>
                  </a:lnTo>
                  <a:lnTo>
                    <a:pt x="1823" y="493"/>
                  </a:lnTo>
                  <a:lnTo>
                    <a:pt x="1812" y="498"/>
                  </a:lnTo>
                  <a:lnTo>
                    <a:pt x="1812" y="498"/>
                  </a:lnTo>
                  <a:lnTo>
                    <a:pt x="1803" y="505"/>
                  </a:lnTo>
                  <a:lnTo>
                    <a:pt x="1796" y="505"/>
                  </a:lnTo>
                  <a:lnTo>
                    <a:pt x="1791" y="503"/>
                  </a:lnTo>
                  <a:lnTo>
                    <a:pt x="1788" y="500"/>
                  </a:lnTo>
                  <a:lnTo>
                    <a:pt x="1784" y="496"/>
                  </a:lnTo>
                  <a:lnTo>
                    <a:pt x="1781" y="493"/>
                  </a:lnTo>
                  <a:lnTo>
                    <a:pt x="1776" y="491"/>
                  </a:lnTo>
                  <a:lnTo>
                    <a:pt x="1769" y="495"/>
                  </a:lnTo>
                  <a:lnTo>
                    <a:pt x="1769" y="495"/>
                  </a:lnTo>
                  <a:lnTo>
                    <a:pt x="1765" y="500"/>
                  </a:lnTo>
                  <a:lnTo>
                    <a:pt x="1765" y="502"/>
                  </a:lnTo>
                  <a:lnTo>
                    <a:pt x="1765" y="502"/>
                  </a:lnTo>
                  <a:lnTo>
                    <a:pt x="1769" y="505"/>
                  </a:lnTo>
                  <a:lnTo>
                    <a:pt x="1776" y="507"/>
                  </a:lnTo>
                  <a:lnTo>
                    <a:pt x="1783" y="509"/>
                  </a:lnTo>
                  <a:lnTo>
                    <a:pt x="1790" y="512"/>
                  </a:lnTo>
                  <a:lnTo>
                    <a:pt x="1795" y="517"/>
                  </a:lnTo>
                  <a:lnTo>
                    <a:pt x="1795" y="519"/>
                  </a:lnTo>
                  <a:lnTo>
                    <a:pt x="1795" y="523"/>
                  </a:lnTo>
                  <a:lnTo>
                    <a:pt x="1795" y="523"/>
                  </a:lnTo>
                  <a:lnTo>
                    <a:pt x="1796" y="526"/>
                  </a:lnTo>
                  <a:lnTo>
                    <a:pt x="1798" y="529"/>
                  </a:lnTo>
                  <a:lnTo>
                    <a:pt x="1805" y="531"/>
                  </a:lnTo>
                  <a:lnTo>
                    <a:pt x="1816" y="533"/>
                  </a:lnTo>
                  <a:lnTo>
                    <a:pt x="1826" y="533"/>
                  </a:lnTo>
                  <a:lnTo>
                    <a:pt x="1850" y="533"/>
                  </a:lnTo>
                  <a:lnTo>
                    <a:pt x="1859" y="535"/>
                  </a:lnTo>
                  <a:lnTo>
                    <a:pt x="1863" y="536"/>
                  </a:lnTo>
                  <a:lnTo>
                    <a:pt x="1864" y="540"/>
                  </a:lnTo>
                  <a:lnTo>
                    <a:pt x="1864" y="540"/>
                  </a:lnTo>
                  <a:lnTo>
                    <a:pt x="1866" y="543"/>
                  </a:lnTo>
                  <a:lnTo>
                    <a:pt x="1863" y="547"/>
                  </a:lnTo>
                  <a:lnTo>
                    <a:pt x="1856" y="550"/>
                  </a:lnTo>
                  <a:lnTo>
                    <a:pt x="1852" y="552"/>
                  </a:lnTo>
                  <a:lnTo>
                    <a:pt x="1852" y="554"/>
                  </a:lnTo>
                  <a:lnTo>
                    <a:pt x="1856" y="557"/>
                  </a:lnTo>
                  <a:lnTo>
                    <a:pt x="1866" y="563"/>
                  </a:lnTo>
                  <a:lnTo>
                    <a:pt x="1866" y="563"/>
                  </a:lnTo>
                  <a:lnTo>
                    <a:pt x="1880" y="570"/>
                  </a:lnTo>
                  <a:lnTo>
                    <a:pt x="1880" y="570"/>
                  </a:lnTo>
                  <a:lnTo>
                    <a:pt x="1878" y="571"/>
                  </a:lnTo>
                  <a:lnTo>
                    <a:pt x="1875" y="571"/>
                  </a:lnTo>
                  <a:lnTo>
                    <a:pt x="1871" y="573"/>
                  </a:lnTo>
                  <a:lnTo>
                    <a:pt x="1871" y="576"/>
                  </a:lnTo>
                  <a:lnTo>
                    <a:pt x="1877" y="582"/>
                  </a:lnTo>
                  <a:lnTo>
                    <a:pt x="1877" y="582"/>
                  </a:lnTo>
                  <a:lnTo>
                    <a:pt x="1880" y="590"/>
                  </a:lnTo>
                  <a:lnTo>
                    <a:pt x="1882" y="597"/>
                  </a:lnTo>
                  <a:lnTo>
                    <a:pt x="1880" y="603"/>
                  </a:lnTo>
                  <a:lnTo>
                    <a:pt x="1875" y="608"/>
                  </a:lnTo>
                  <a:lnTo>
                    <a:pt x="1870" y="611"/>
                  </a:lnTo>
                  <a:lnTo>
                    <a:pt x="1863" y="611"/>
                  </a:lnTo>
                  <a:lnTo>
                    <a:pt x="1857" y="610"/>
                  </a:lnTo>
                  <a:lnTo>
                    <a:pt x="1852" y="604"/>
                  </a:lnTo>
                  <a:lnTo>
                    <a:pt x="1852" y="604"/>
                  </a:lnTo>
                  <a:lnTo>
                    <a:pt x="1849" y="603"/>
                  </a:lnTo>
                  <a:lnTo>
                    <a:pt x="1847" y="601"/>
                  </a:lnTo>
                  <a:lnTo>
                    <a:pt x="1844" y="603"/>
                  </a:lnTo>
                  <a:lnTo>
                    <a:pt x="1840" y="604"/>
                  </a:lnTo>
                  <a:lnTo>
                    <a:pt x="1835" y="610"/>
                  </a:lnTo>
                  <a:lnTo>
                    <a:pt x="1831" y="617"/>
                  </a:lnTo>
                  <a:lnTo>
                    <a:pt x="1828" y="625"/>
                  </a:lnTo>
                  <a:lnTo>
                    <a:pt x="1830" y="634"/>
                  </a:lnTo>
                  <a:lnTo>
                    <a:pt x="1831" y="637"/>
                  </a:lnTo>
                  <a:lnTo>
                    <a:pt x="1835" y="639"/>
                  </a:lnTo>
                  <a:lnTo>
                    <a:pt x="1838" y="641"/>
                  </a:lnTo>
                  <a:lnTo>
                    <a:pt x="1845" y="643"/>
                  </a:lnTo>
                  <a:lnTo>
                    <a:pt x="1845" y="643"/>
                  </a:lnTo>
                  <a:lnTo>
                    <a:pt x="1857" y="644"/>
                  </a:lnTo>
                  <a:lnTo>
                    <a:pt x="1868" y="646"/>
                  </a:lnTo>
                  <a:lnTo>
                    <a:pt x="1877" y="648"/>
                  </a:lnTo>
                  <a:lnTo>
                    <a:pt x="1882" y="651"/>
                  </a:lnTo>
                  <a:lnTo>
                    <a:pt x="1885" y="655"/>
                  </a:lnTo>
                  <a:lnTo>
                    <a:pt x="1885" y="658"/>
                  </a:lnTo>
                  <a:lnTo>
                    <a:pt x="1882" y="662"/>
                  </a:lnTo>
                  <a:lnTo>
                    <a:pt x="1875" y="665"/>
                  </a:lnTo>
                  <a:lnTo>
                    <a:pt x="1875" y="665"/>
                  </a:lnTo>
                  <a:lnTo>
                    <a:pt x="1864" y="669"/>
                  </a:lnTo>
                  <a:lnTo>
                    <a:pt x="1857" y="669"/>
                  </a:lnTo>
                  <a:lnTo>
                    <a:pt x="1852" y="669"/>
                  </a:lnTo>
                  <a:lnTo>
                    <a:pt x="1847" y="665"/>
                  </a:lnTo>
                  <a:lnTo>
                    <a:pt x="1838" y="660"/>
                  </a:lnTo>
                  <a:lnTo>
                    <a:pt x="1831" y="657"/>
                  </a:lnTo>
                  <a:lnTo>
                    <a:pt x="1821" y="655"/>
                  </a:lnTo>
                  <a:lnTo>
                    <a:pt x="1821" y="655"/>
                  </a:lnTo>
                  <a:lnTo>
                    <a:pt x="1809" y="655"/>
                  </a:lnTo>
                  <a:lnTo>
                    <a:pt x="1798" y="658"/>
                  </a:lnTo>
                  <a:lnTo>
                    <a:pt x="1788" y="664"/>
                  </a:lnTo>
                  <a:lnTo>
                    <a:pt x="1781" y="669"/>
                  </a:lnTo>
                  <a:lnTo>
                    <a:pt x="1776" y="674"/>
                  </a:lnTo>
                  <a:lnTo>
                    <a:pt x="1776" y="679"/>
                  </a:lnTo>
                  <a:lnTo>
                    <a:pt x="1776" y="681"/>
                  </a:lnTo>
                  <a:lnTo>
                    <a:pt x="1779" y="683"/>
                  </a:lnTo>
                  <a:lnTo>
                    <a:pt x="1788" y="684"/>
                  </a:lnTo>
                  <a:lnTo>
                    <a:pt x="1788" y="684"/>
                  </a:lnTo>
                  <a:lnTo>
                    <a:pt x="1810" y="686"/>
                  </a:lnTo>
                  <a:lnTo>
                    <a:pt x="1821" y="686"/>
                  </a:lnTo>
                  <a:lnTo>
                    <a:pt x="1831" y="690"/>
                  </a:lnTo>
                  <a:lnTo>
                    <a:pt x="1838" y="693"/>
                  </a:lnTo>
                  <a:lnTo>
                    <a:pt x="1842" y="698"/>
                  </a:lnTo>
                  <a:lnTo>
                    <a:pt x="1844" y="700"/>
                  </a:lnTo>
                  <a:lnTo>
                    <a:pt x="1844" y="704"/>
                  </a:lnTo>
                  <a:lnTo>
                    <a:pt x="1838" y="712"/>
                  </a:lnTo>
                  <a:lnTo>
                    <a:pt x="1838" y="712"/>
                  </a:lnTo>
                  <a:lnTo>
                    <a:pt x="1833" y="719"/>
                  </a:lnTo>
                  <a:lnTo>
                    <a:pt x="1828" y="721"/>
                  </a:lnTo>
                  <a:lnTo>
                    <a:pt x="1824" y="721"/>
                  </a:lnTo>
                  <a:lnTo>
                    <a:pt x="1821" y="721"/>
                  </a:lnTo>
                  <a:lnTo>
                    <a:pt x="1816" y="719"/>
                  </a:lnTo>
                  <a:lnTo>
                    <a:pt x="1810" y="719"/>
                  </a:lnTo>
                  <a:lnTo>
                    <a:pt x="1802" y="721"/>
                  </a:lnTo>
                  <a:lnTo>
                    <a:pt x="1791" y="728"/>
                  </a:lnTo>
                  <a:lnTo>
                    <a:pt x="1791" y="728"/>
                  </a:lnTo>
                  <a:lnTo>
                    <a:pt x="1786" y="731"/>
                  </a:lnTo>
                  <a:lnTo>
                    <a:pt x="1779" y="733"/>
                  </a:lnTo>
                  <a:lnTo>
                    <a:pt x="1774" y="733"/>
                  </a:lnTo>
                  <a:lnTo>
                    <a:pt x="1767" y="733"/>
                  </a:lnTo>
                  <a:lnTo>
                    <a:pt x="1755" y="730"/>
                  </a:lnTo>
                  <a:lnTo>
                    <a:pt x="1743" y="724"/>
                  </a:lnTo>
                  <a:lnTo>
                    <a:pt x="1730" y="718"/>
                  </a:lnTo>
                  <a:lnTo>
                    <a:pt x="1718" y="712"/>
                  </a:lnTo>
                  <a:lnTo>
                    <a:pt x="1706" y="709"/>
                  </a:lnTo>
                  <a:lnTo>
                    <a:pt x="1701" y="711"/>
                  </a:lnTo>
                  <a:lnTo>
                    <a:pt x="1696" y="711"/>
                  </a:lnTo>
                  <a:lnTo>
                    <a:pt x="1696" y="711"/>
                  </a:lnTo>
                  <a:lnTo>
                    <a:pt x="1676" y="721"/>
                  </a:lnTo>
                  <a:lnTo>
                    <a:pt x="1664" y="730"/>
                  </a:lnTo>
                  <a:lnTo>
                    <a:pt x="1657" y="733"/>
                  </a:lnTo>
                  <a:lnTo>
                    <a:pt x="1650" y="735"/>
                  </a:lnTo>
                  <a:lnTo>
                    <a:pt x="1643" y="737"/>
                  </a:lnTo>
                  <a:lnTo>
                    <a:pt x="1635" y="737"/>
                  </a:lnTo>
                  <a:lnTo>
                    <a:pt x="1635" y="737"/>
                  </a:lnTo>
                  <a:lnTo>
                    <a:pt x="1655" y="742"/>
                  </a:lnTo>
                  <a:lnTo>
                    <a:pt x="1668" y="745"/>
                  </a:lnTo>
                  <a:lnTo>
                    <a:pt x="1673" y="751"/>
                  </a:lnTo>
                  <a:lnTo>
                    <a:pt x="1675" y="754"/>
                  </a:lnTo>
                  <a:lnTo>
                    <a:pt x="1675" y="758"/>
                  </a:lnTo>
                  <a:lnTo>
                    <a:pt x="1673" y="761"/>
                  </a:lnTo>
                  <a:lnTo>
                    <a:pt x="1676" y="766"/>
                  </a:lnTo>
                  <a:lnTo>
                    <a:pt x="1683" y="771"/>
                  </a:lnTo>
                  <a:lnTo>
                    <a:pt x="1683" y="771"/>
                  </a:lnTo>
                  <a:lnTo>
                    <a:pt x="1690" y="775"/>
                  </a:lnTo>
                  <a:lnTo>
                    <a:pt x="1692" y="780"/>
                  </a:lnTo>
                  <a:lnTo>
                    <a:pt x="1692" y="784"/>
                  </a:lnTo>
                  <a:lnTo>
                    <a:pt x="1692" y="785"/>
                  </a:lnTo>
                  <a:lnTo>
                    <a:pt x="1692" y="789"/>
                  </a:lnTo>
                  <a:lnTo>
                    <a:pt x="1697" y="794"/>
                  </a:lnTo>
                  <a:lnTo>
                    <a:pt x="1706" y="799"/>
                  </a:lnTo>
                  <a:lnTo>
                    <a:pt x="1723" y="806"/>
                  </a:lnTo>
                  <a:lnTo>
                    <a:pt x="1723" y="806"/>
                  </a:lnTo>
                  <a:lnTo>
                    <a:pt x="1743" y="812"/>
                  </a:lnTo>
                  <a:lnTo>
                    <a:pt x="1758" y="817"/>
                  </a:lnTo>
                  <a:lnTo>
                    <a:pt x="1763" y="818"/>
                  </a:lnTo>
                  <a:lnTo>
                    <a:pt x="1767" y="822"/>
                  </a:lnTo>
                  <a:lnTo>
                    <a:pt x="1769" y="825"/>
                  </a:lnTo>
                  <a:lnTo>
                    <a:pt x="1767" y="831"/>
                  </a:lnTo>
                  <a:lnTo>
                    <a:pt x="1767" y="831"/>
                  </a:lnTo>
                  <a:lnTo>
                    <a:pt x="1767" y="836"/>
                  </a:lnTo>
                  <a:lnTo>
                    <a:pt x="1770" y="836"/>
                  </a:lnTo>
                  <a:lnTo>
                    <a:pt x="1779" y="834"/>
                  </a:lnTo>
                  <a:lnTo>
                    <a:pt x="1788" y="831"/>
                  </a:lnTo>
                  <a:lnTo>
                    <a:pt x="1790" y="831"/>
                  </a:lnTo>
                  <a:lnTo>
                    <a:pt x="1788" y="832"/>
                  </a:lnTo>
                  <a:lnTo>
                    <a:pt x="1784" y="838"/>
                  </a:lnTo>
                  <a:lnTo>
                    <a:pt x="1784" y="838"/>
                  </a:lnTo>
                  <a:lnTo>
                    <a:pt x="1779" y="843"/>
                  </a:lnTo>
                  <a:lnTo>
                    <a:pt x="1776" y="845"/>
                  </a:lnTo>
                  <a:lnTo>
                    <a:pt x="1769" y="848"/>
                  </a:lnTo>
                  <a:lnTo>
                    <a:pt x="1767" y="848"/>
                  </a:lnTo>
                  <a:lnTo>
                    <a:pt x="1765" y="850"/>
                  </a:lnTo>
                  <a:lnTo>
                    <a:pt x="1767" y="857"/>
                  </a:lnTo>
                  <a:lnTo>
                    <a:pt x="1767" y="857"/>
                  </a:lnTo>
                  <a:lnTo>
                    <a:pt x="1769" y="860"/>
                  </a:lnTo>
                  <a:lnTo>
                    <a:pt x="1769" y="862"/>
                  </a:lnTo>
                  <a:lnTo>
                    <a:pt x="1774" y="860"/>
                  </a:lnTo>
                  <a:lnTo>
                    <a:pt x="1779" y="859"/>
                  </a:lnTo>
                  <a:lnTo>
                    <a:pt x="1784" y="853"/>
                  </a:lnTo>
                  <a:lnTo>
                    <a:pt x="1790" y="850"/>
                  </a:lnTo>
                  <a:lnTo>
                    <a:pt x="1793" y="848"/>
                  </a:lnTo>
                  <a:lnTo>
                    <a:pt x="1795" y="848"/>
                  </a:lnTo>
                  <a:lnTo>
                    <a:pt x="1796" y="850"/>
                  </a:lnTo>
                  <a:lnTo>
                    <a:pt x="1796" y="857"/>
                  </a:lnTo>
                  <a:lnTo>
                    <a:pt x="1796" y="857"/>
                  </a:lnTo>
                  <a:lnTo>
                    <a:pt x="1796" y="867"/>
                  </a:lnTo>
                  <a:lnTo>
                    <a:pt x="1798" y="878"/>
                  </a:lnTo>
                  <a:lnTo>
                    <a:pt x="1802" y="899"/>
                  </a:lnTo>
                  <a:lnTo>
                    <a:pt x="1803" y="907"/>
                  </a:lnTo>
                  <a:lnTo>
                    <a:pt x="1803" y="913"/>
                  </a:lnTo>
                  <a:lnTo>
                    <a:pt x="1800" y="918"/>
                  </a:lnTo>
                  <a:lnTo>
                    <a:pt x="1793" y="918"/>
                  </a:lnTo>
                  <a:lnTo>
                    <a:pt x="1793" y="918"/>
                  </a:lnTo>
                  <a:lnTo>
                    <a:pt x="1781" y="916"/>
                  </a:lnTo>
                  <a:lnTo>
                    <a:pt x="1772" y="914"/>
                  </a:lnTo>
                  <a:lnTo>
                    <a:pt x="1767" y="913"/>
                  </a:lnTo>
                  <a:lnTo>
                    <a:pt x="1760" y="916"/>
                  </a:lnTo>
                  <a:lnTo>
                    <a:pt x="1760" y="916"/>
                  </a:lnTo>
                  <a:lnTo>
                    <a:pt x="1755" y="918"/>
                  </a:lnTo>
                  <a:lnTo>
                    <a:pt x="1748" y="918"/>
                  </a:lnTo>
                  <a:lnTo>
                    <a:pt x="1739" y="916"/>
                  </a:lnTo>
                  <a:lnTo>
                    <a:pt x="1730" y="913"/>
                  </a:lnTo>
                  <a:lnTo>
                    <a:pt x="1722" y="909"/>
                  </a:lnTo>
                  <a:lnTo>
                    <a:pt x="1715" y="904"/>
                  </a:lnTo>
                  <a:lnTo>
                    <a:pt x="1709" y="897"/>
                  </a:lnTo>
                  <a:lnTo>
                    <a:pt x="1706" y="890"/>
                  </a:lnTo>
                  <a:lnTo>
                    <a:pt x="1706" y="890"/>
                  </a:lnTo>
                  <a:lnTo>
                    <a:pt x="1704" y="876"/>
                  </a:lnTo>
                  <a:lnTo>
                    <a:pt x="1701" y="869"/>
                  </a:lnTo>
                  <a:lnTo>
                    <a:pt x="1694" y="862"/>
                  </a:lnTo>
                  <a:lnTo>
                    <a:pt x="1682" y="859"/>
                  </a:lnTo>
                  <a:lnTo>
                    <a:pt x="1682" y="859"/>
                  </a:lnTo>
                  <a:lnTo>
                    <a:pt x="1669" y="853"/>
                  </a:lnTo>
                  <a:lnTo>
                    <a:pt x="1659" y="848"/>
                  </a:lnTo>
                  <a:lnTo>
                    <a:pt x="1647" y="845"/>
                  </a:lnTo>
                  <a:lnTo>
                    <a:pt x="1628" y="841"/>
                  </a:lnTo>
                  <a:lnTo>
                    <a:pt x="1628" y="841"/>
                  </a:lnTo>
                  <a:lnTo>
                    <a:pt x="1610" y="841"/>
                  </a:lnTo>
                  <a:lnTo>
                    <a:pt x="1605" y="841"/>
                  </a:lnTo>
                  <a:lnTo>
                    <a:pt x="1605" y="843"/>
                  </a:lnTo>
                  <a:lnTo>
                    <a:pt x="1607" y="845"/>
                  </a:lnTo>
                  <a:lnTo>
                    <a:pt x="1612" y="846"/>
                  </a:lnTo>
                  <a:lnTo>
                    <a:pt x="1631" y="852"/>
                  </a:lnTo>
                  <a:lnTo>
                    <a:pt x="1631" y="852"/>
                  </a:lnTo>
                  <a:lnTo>
                    <a:pt x="1643" y="853"/>
                  </a:lnTo>
                  <a:lnTo>
                    <a:pt x="1652" y="855"/>
                  </a:lnTo>
                  <a:lnTo>
                    <a:pt x="1659" y="859"/>
                  </a:lnTo>
                  <a:lnTo>
                    <a:pt x="1662" y="862"/>
                  </a:lnTo>
                  <a:lnTo>
                    <a:pt x="1662" y="867"/>
                  </a:lnTo>
                  <a:lnTo>
                    <a:pt x="1657" y="871"/>
                  </a:lnTo>
                  <a:lnTo>
                    <a:pt x="1650" y="874"/>
                  </a:lnTo>
                  <a:lnTo>
                    <a:pt x="1638" y="879"/>
                  </a:lnTo>
                  <a:lnTo>
                    <a:pt x="1638" y="879"/>
                  </a:lnTo>
                  <a:lnTo>
                    <a:pt x="1605" y="890"/>
                  </a:lnTo>
                  <a:lnTo>
                    <a:pt x="1601" y="890"/>
                  </a:lnTo>
                  <a:lnTo>
                    <a:pt x="1598" y="890"/>
                  </a:lnTo>
                  <a:lnTo>
                    <a:pt x="1591" y="885"/>
                  </a:lnTo>
                  <a:lnTo>
                    <a:pt x="1591" y="885"/>
                  </a:lnTo>
                  <a:lnTo>
                    <a:pt x="1586" y="879"/>
                  </a:lnTo>
                  <a:lnTo>
                    <a:pt x="1586" y="879"/>
                  </a:lnTo>
                  <a:lnTo>
                    <a:pt x="1584" y="881"/>
                  </a:lnTo>
                  <a:lnTo>
                    <a:pt x="1579" y="890"/>
                  </a:lnTo>
                  <a:lnTo>
                    <a:pt x="1570" y="904"/>
                  </a:lnTo>
                  <a:lnTo>
                    <a:pt x="1570" y="904"/>
                  </a:lnTo>
                  <a:lnTo>
                    <a:pt x="1567" y="911"/>
                  </a:lnTo>
                  <a:lnTo>
                    <a:pt x="1563" y="916"/>
                  </a:lnTo>
                  <a:lnTo>
                    <a:pt x="1565" y="919"/>
                  </a:lnTo>
                  <a:lnTo>
                    <a:pt x="1568" y="921"/>
                  </a:lnTo>
                  <a:lnTo>
                    <a:pt x="1581" y="919"/>
                  </a:lnTo>
                  <a:lnTo>
                    <a:pt x="1605" y="918"/>
                  </a:lnTo>
                  <a:lnTo>
                    <a:pt x="1605" y="918"/>
                  </a:lnTo>
                  <a:lnTo>
                    <a:pt x="1626" y="916"/>
                  </a:lnTo>
                  <a:lnTo>
                    <a:pt x="1631" y="916"/>
                  </a:lnTo>
                  <a:lnTo>
                    <a:pt x="1635" y="916"/>
                  </a:lnTo>
                  <a:lnTo>
                    <a:pt x="1635" y="918"/>
                  </a:lnTo>
                  <a:lnTo>
                    <a:pt x="1635" y="919"/>
                  </a:lnTo>
                  <a:lnTo>
                    <a:pt x="1628" y="925"/>
                  </a:lnTo>
                  <a:lnTo>
                    <a:pt x="1628" y="925"/>
                  </a:lnTo>
                  <a:lnTo>
                    <a:pt x="1624" y="926"/>
                  </a:lnTo>
                  <a:lnTo>
                    <a:pt x="1622" y="926"/>
                  </a:lnTo>
                  <a:lnTo>
                    <a:pt x="1617" y="925"/>
                  </a:lnTo>
                  <a:lnTo>
                    <a:pt x="1614" y="923"/>
                  </a:lnTo>
                  <a:lnTo>
                    <a:pt x="1608" y="925"/>
                  </a:lnTo>
                  <a:lnTo>
                    <a:pt x="1603" y="926"/>
                  </a:lnTo>
                  <a:lnTo>
                    <a:pt x="1595" y="932"/>
                  </a:lnTo>
                  <a:lnTo>
                    <a:pt x="1595" y="932"/>
                  </a:lnTo>
                  <a:lnTo>
                    <a:pt x="1588" y="939"/>
                  </a:lnTo>
                  <a:lnTo>
                    <a:pt x="1584" y="942"/>
                  </a:lnTo>
                  <a:lnTo>
                    <a:pt x="1584" y="946"/>
                  </a:lnTo>
                  <a:lnTo>
                    <a:pt x="1584" y="949"/>
                  </a:lnTo>
                  <a:lnTo>
                    <a:pt x="1588" y="949"/>
                  </a:lnTo>
                  <a:lnTo>
                    <a:pt x="1591" y="947"/>
                  </a:lnTo>
                  <a:lnTo>
                    <a:pt x="1596" y="946"/>
                  </a:lnTo>
                  <a:lnTo>
                    <a:pt x="1601" y="942"/>
                  </a:lnTo>
                  <a:lnTo>
                    <a:pt x="1601" y="942"/>
                  </a:lnTo>
                  <a:lnTo>
                    <a:pt x="1608" y="935"/>
                  </a:lnTo>
                  <a:lnTo>
                    <a:pt x="1614" y="933"/>
                  </a:lnTo>
                  <a:lnTo>
                    <a:pt x="1619" y="932"/>
                  </a:lnTo>
                  <a:lnTo>
                    <a:pt x="1624" y="932"/>
                  </a:lnTo>
                  <a:lnTo>
                    <a:pt x="1635" y="932"/>
                  </a:lnTo>
                  <a:lnTo>
                    <a:pt x="1642" y="930"/>
                  </a:lnTo>
                  <a:lnTo>
                    <a:pt x="1647" y="926"/>
                  </a:lnTo>
                  <a:lnTo>
                    <a:pt x="1647" y="9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 name="Freeform 1684">
              <a:extLst>
                <a:ext uri="{FF2B5EF4-FFF2-40B4-BE49-F238E27FC236}">
                  <a16:creationId xmlns:a16="http://schemas.microsoft.com/office/drawing/2014/main" id="{2FC04F67-C62C-4D14-B3F4-013DF6F5083F}"/>
                </a:ext>
              </a:extLst>
            </p:cNvPr>
            <p:cNvSpPr>
              <a:spLocks/>
            </p:cNvSpPr>
            <p:nvPr/>
          </p:nvSpPr>
          <p:spPr bwMode="auto">
            <a:xfrm>
              <a:off x="1889966" y="3340048"/>
              <a:ext cx="854569" cy="646656"/>
            </a:xfrm>
            <a:custGeom>
              <a:avLst/>
              <a:gdLst/>
              <a:ahLst/>
              <a:cxnLst>
                <a:cxn ang="0">
                  <a:pos x="911" y="700"/>
                </a:cxn>
                <a:cxn ang="0">
                  <a:pos x="930" y="721"/>
                </a:cxn>
                <a:cxn ang="0">
                  <a:pos x="880" y="782"/>
                </a:cxn>
                <a:cxn ang="0">
                  <a:pos x="873" y="806"/>
                </a:cxn>
                <a:cxn ang="0">
                  <a:pos x="798" y="737"/>
                </a:cxn>
                <a:cxn ang="0">
                  <a:pos x="721" y="758"/>
                </a:cxn>
                <a:cxn ang="0">
                  <a:pos x="547" y="674"/>
                </a:cxn>
                <a:cxn ang="0">
                  <a:pos x="483" y="643"/>
                </a:cxn>
                <a:cxn ang="0">
                  <a:pos x="408" y="575"/>
                </a:cxn>
                <a:cxn ang="0">
                  <a:pos x="418" y="510"/>
                </a:cxn>
                <a:cxn ang="0">
                  <a:pos x="385" y="436"/>
                </a:cxn>
                <a:cxn ang="0">
                  <a:pos x="305" y="341"/>
                </a:cxn>
                <a:cxn ang="0">
                  <a:pos x="272" y="305"/>
                </a:cxn>
                <a:cxn ang="0">
                  <a:pos x="262" y="268"/>
                </a:cxn>
                <a:cxn ang="0">
                  <a:pos x="216" y="220"/>
                </a:cxn>
                <a:cxn ang="0">
                  <a:pos x="150" y="108"/>
                </a:cxn>
                <a:cxn ang="0">
                  <a:pos x="110" y="54"/>
                </a:cxn>
                <a:cxn ang="0">
                  <a:pos x="79" y="51"/>
                </a:cxn>
                <a:cxn ang="0">
                  <a:pos x="114" y="150"/>
                </a:cxn>
                <a:cxn ang="0">
                  <a:pos x="173" y="242"/>
                </a:cxn>
                <a:cxn ang="0">
                  <a:pos x="216" y="336"/>
                </a:cxn>
                <a:cxn ang="0">
                  <a:pos x="230" y="382"/>
                </a:cxn>
                <a:cxn ang="0">
                  <a:pos x="256" y="394"/>
                </a:cxn>
                <a:cxn ang="0">
                  <a:pos x="262" y="439"/>
                </a:cxn>
                <a:cxn ang="0">
                  <a:pos x="199" y="382"/>
                </a:cxn>
                <a:cxn ang="0">
                  <a:pos x="173" y="333"/>
                </a:cxn>
                <a:cxn ang="0">
                  <a:pos x="152" y="282"/>
                </a:cxn>
                <a:cxn ang="0">
                  <a:pos x="77" y="223"/>
                </a:cxn>
                <a:cxn ang="0">
                  <a:pos x="103" y="207"/>
                </a:cxn>
                <a:cxn ang="0">
                  <a:pos x="53" y="136"/>
                </a:cxn>
                <a:cxn ang="0">
                  <a:pos x="0" y="9"/>
                </a:cxn>
                <a:cxn ang="0">
                  <a:pos x="371" y="44"/>
                </a:cxn>
                <a:cxn ang="0">
                  <a:pos x="446" y="141"/>
                </a:cxn>
                <a:cxn ang="0">
                  <a:pos x="495" y="164"/>
                </a:cxn>
                <a:cxn ang="0">
                  <a:pos x="530" y="127"/>
                </a:cxn>
                <a:cxn ang="0">
                  <a:pos x="596" y="209"/>
                </a:cxn>
                <a:cxn ang="0">
                  <a:pos x="648" y="294"/>
                </a:cxn>
                <a:cxn ang="0">
                  <a:pos x="693" y="312"/>
                </a:cxn>
                <a:cxn ang="0">
                  <a:pos x="686" y="355"/>
                </a:cxn>
                <a:cxn ang="0">
                  <a:pos x="676" y="453"/>
                </a:cxn>
                <a:cxn ang="0">
                  <a:pos x="688" y="505"/>
                </a:cxn>
                <a:cxn ang="0">
                  <a:pos x="709" y="552"/>
                </a:cxn>
                <a:cxn ang="0">
                  <a:pos x="760" y="625"/>
                </a:cxn>
                <a:cxn ang="0">
                  <a:pos x="798" y="651"/>
                </a:cxn>
                <a:cxn ang="0">
                  <a:pos x="859" y="629"/>
                </a:cxn>
                <a:cxn ang="0">
                  <a:pos x="887" y="636"/>
                </a:cxn>
                <a:cxn ang="0">
                  <a:pos x="902" y="624"/>
                </a:cxn>
                <a:cxn ang="0">
                  <a:pos x="923" y="601"/>
                </a:cxn>
                <a:cxn ang="0">
                  <a:pos x="935" y="570"/>
                </a:cxn>
                <a:cxn ang="0">
                  <a:pos x="941" y="524"/>
                </a:cxn>
                <a:cxn ang="0">
                  <a:pos x="996" y="505"/>
                </a:cxn>
                <a:cxn ang="0">
                  <a:pos x="1047" y="507"/>
                </a:cxn>
                <a:cxn ang="0">
                  <a:pos x="1045" y="502"/>
                </a:cxn>
                <a:cxn ang="0">
                  <a:pos x="1064" y="509"/>
                </a:cxn>
                <a:cxn ang="0">
                  <a:pos x="1049" y="547"/>
                </a:cxn>
                <a:cxn ang="0">
                  <a:pos x="1031" y="587"/>
                </a:cxn>
                <a:cxn ang="0">
                  <a:pos x="1033" y="601"/>
                </a:cxn>
                <a:cxn ang="0">
                  <a:pos x="1029" y="644"/>
                </a:cxn>
                <a:cxn ang="0">
                  <a:pos x="1019" y="629"/>
                </a:cxn>
                <a:cxn ang="0">
                  <a:pos x="1007" y="637"/>
                </a:cxn>
                <a:cxn ang="0">
                  <a:pos x="986" y="657"/>
                </a:cxn>
              </a:cxnLst>
              <a:rect l="0" t="0" r="r" b="b"/>
              <a:pathLst>
                <a:path w="1066" h="806">
                  <a:moveTo>
                    <a:pt x="981" y="665"/>
                  </a:moveTo>
                  <a:lnTo>
                    <a:pt x="918" y="665"/>
                  </a:lnTo>
                  <a:lnTo>
                    <a:pt x="918" y="690"/>
                  </a:lnTo>
                  <a:lnTo>
                    <a:pt x="901" y="690"/>
                  </a:lnTo>
                  <a:lnTo>
                    <a:pt x="901" y="690"/>
                  </a:lnTo>
                  <a:lnTo>
                    <a:pt x="906" y="691"/>
                  </a:lnTo>
                  <a:lnTo>
                    <a:pt x="908" y="695"/>
                  </a:lnTo>
                  <a:lnTo>
                    <a:pt x="911" y="700"/>
                  </a:lnTo>
                  <a:lnTo>
                    <a:pt x="911" y="700"/>
                  </a:lnTo>
                  <a:lnTo>
                    <a:pt x="915" y="704"/>
                  </a:lnTo>
                  <a:lnTo>
                    <a:pt x="920" y="707"/>
                  </a:lnTo>
                  <a:lnTo>
                    <a:pt x="925" y="711"/>
                  </a:lnTo>
                  <a:lnTo>
                    <a:pt x="927" y="712"/>
                  </a:lnTo>
                  <a:lnTo>
                    <a:pt x="928" y="718"/>
                  </a:lnTo>
                  <a:lnTo>
                    <a:pt x="928" y="718"/>
                  </a:lnTo>
                  <a:lnTo>
                    <a:pt x="930" y="721"/>
                  </a:lnTo>
                  <a:lnTo>
                    <a:pt x="932" y="723"/>
                  </a:lnTo>
                  <a:lnTo>
                    <a:pt x="935" y="725"/>
                  </a:lnTo>
                  <a:lnTo>
                    <a:pt x="937" y="725"/>
                  </a:lnTo>
                  <a:lnTo>
                    <a:pt x="937" y="726"/>
                  </a:lnTo>
                  <a:lnTo>
                    <a:pt x="935" y="738"/>
                  </a:lnTo>
                  <a:lnTo>
                    <a:pt x="892" y="738"/>
                  </a:lnTo>
                  <a:lnTo>
                    <a:pt x="874" y="775"/>
                  </a:lnTo>
                  <a:lnTo>
                    <a:pt x="880" y="782"/>
                  </a:lnTo>
                  <a:lnTo>
                    <a:pt x="880" y="782"/>
                  </a:lnTo>
                  <a:lnTo>
                    <a:pt x="876" y="787"/>
                  </a:lnTo>
                  <a:lnTo>
                    <a:pt x="876" y="791"/>
                  </a:lnTo>
                  <a:lnTo>
                    <a:pt x="876" y="796"/>
                  </a:lnTo>
                  <a:lnTo>
                    <a:pt x="876" y="796"/>
                  </a:lnTo>
                  <a:lnTo>
                    <a:pt x="876" y="799"/>
                  </a:lnTo>
                  <a:lnTo>
                    <a:pt x="876" y="803"/>
                  </a:lnTo>
                  <a:lnTo>
                    <a:pt x="873" y="806"/>
                  </a:lnTo>
                  <a:lnTo>
                    <a:pt x="873" y="806"/>
                  </a:lnTo>
                  <a:lnTo>
                    <a:pt x="862" y="794"/>
                  </a:lnTo>
                  <a:lnTo>
                    <a:pt x="854" y="784"/>
                  </a:lnTo>
                  <a:lnTo>
                    <a:pt x="840" y="765"/>
                  </a:lnTo>
                  <a:lnTo>
                    <a:pt x="831" y="756"/>
                  </a:lnTo>
                  <a:lnTo>
                    <a:pt x="822" y="747"/>
                  </a:lnTo>
                  <a:lnTo>
                    <a:pt x="812" y="742"/>
                  </a:lnTo>
                  <a:lnTo>
                    <a:pt x="798" y="737"/>
                  </a:lnTo>
                  <a:lnTo>
                    <a:pt x="798" y="737"/>
                  </a:lnTo>
                  <a:lnTo>
                    <a:pt x="784" y="737"/>
                  </a:lnTo>
                  <a:lnTo>
                    <a:pt x="772" y="738"/>
                  </a:lnTo>
                  <a:lnTo>
                    <a:pt x="761" y="744"/>
                  </a:lnTo>
                  <a:lnTo>
                    <a:pt x="753" y="749"/>
                  </a:lnTo>
                  <a:lnTo>
                    <a:pt x="744" y="754"/>
                  </a:lnTo>
                  <a:lnTo>
                    <a:pt x="733" y="758"/>
                  </a:lnTo>
                  <a:lnTo>
                    <a:pt x="721" y="758"/>
                  </a:lnTo>
                  <a:lnTo>
                    <a:pt x="706" y="754"/>
                  </a:lnTo>
                  <a:lnTo>
                    <a:pt x="706" y="754"/>
                  </a:lnTo>
                  <a:lnTo>
                    <a:pt x="664" y="738"/>
                  </a:lnTo>
                  <a:lnTo>
                    <a:pt x="619" y="718"/>
                  </a:lnTo>
                  <a:lnTo>
                    <a:pt x="596" y="705"/>
                  </a:lnTo>
                  <a:lnTo>
                    <a:pt x="577" y="695"/>
                  </a:lnTo>
                  <a:lnTo>
                    <a:pt x="559" y="684"/>
                  </a:lnTo>
                  <a:lnTo>
                    <a:pt x="547" y="674"/>
                  </a:lnTo>
                  <a:lnTo>
                    <a:pt x="547" y="674"/>
                  </a:lnTo>
                  <a:lnTo>
                    <a:pt x="537" y="665"/>
                  </a:lnTo>
                  <a:lnTo>
                    <a:pt x="528" y="660"/>
                  </a:lnTo>
                  <a:lnTo>
                    <a:pt x="519" y="657"/>
                  </a:lnTo>
                  <a:lnTo>
                    <a:pt x="511" y="655"/>
                  </a:lnTo>
                  <a:lnTo>
                    <a:pt x="502" y="653"/>
                  </a:lnTo>
                  <a:lnTo>
                    <a:pt x="493" y="650"/>
                  </a:lnTo>
                  <a:lnTo>
                    <a:pt x="483" y="643"/>
                  </a:lnTo>
                  <a:lnTo>
                    <a:pt x="472" y="634"/>
                  </a:lnTo>
                  <a:lnTo>
                    <a:pt x="472" y="634"/>
                  </a:lnTo>
                  <a:lnTo>
                    <a:pt x="462" y="624"/>
                  </a:lnTo>
                  <a:lnTo>
                    <a:pt x="451" y="617"/>
                  </a:lnTo>
                  <a:lnTo>
                    <a:pt x="436" y="604"/>
                  </a:lnTo>
                  <a:lnTo>
                    <a:pt x="422" y="592"/>
                  </a:lnTo>
                  <a:lnTo>
                    <a:pt x="415" y="585"/>
                  </a:lnTo>
                  <a:lnTo>
                    <a:pt x="408" y="575"/>
                  </a:lnTo>
                  <a:lnTo>
                    <a:pt x="408" y="575"/>
                  </a:lnTo>
                  <a:lnTo>
                    <a:pt x="404" y="564"/>
                  </a:lnTo>
                  <a:lnTo>
                    <a:pt x="404" y="554"/>
                  </a:lnTo>
                  <a:lnTo>
                    <a:pt x="408" y="545"/>
                  </a:lnTo>
                  <a:lnTo>
                    <a:pt x="411" y="536"/>
                  </a:lnTo>
                  <a:lnTo>
                    <a:pt x="415" y="528"/>
                  </a:lnTo>
                  <a:lnTo>
                    <a:pt x="418" y="519"/>
                  </a:lnTo>
                  <a:lnTo>
                    <a:pt x="418" y="510"/>
                  </a:lnTo>
                  <a:lnTo>
                    <a:pt x="413" y="500"/>
                  </a:lnTo>
                  <a:lnTo>
                    <a:pt x="413" y="500"/>
                  </a:lnTo>
                  <a:lnTo>
                    <a:pt x="410" y="489"/>
                  </a:lnTo>
                  <a:lnTo>
                    <a:pt x="406" y="481"/>
                  </a:lnTo>
                  <a:lnTo>
                    <a:pt x="404" y="472"/>
                  </a:lnTo>
                  <a:lnTo>
                    <a:pt x="401" y="462"/>
                  </a:lnTo>
                  <a:lnTo>
                    <a:pt x="396" y="449"/>
                  </a:lnTo>
                  <a:lnTo>
                    <a:pt x="385" y="436"/>
                  </a:lnTo>
                  <a:lnTo>
                    <a:pt x="370" y="416"/>
                  </a:lnTo>
                  <a:lnTo>
                    <a:pt x="347" y="394"/>
                  </a:lnTo>
                  <a:lnTo>
                    <a:pt x="347" y="394"/>
                  </a:lnTo>
                  <a:lnTo>
                    <a:pt x="333" y="378"/>
                  </a:lnTo>
                  <a:lnTo>
                    <a:pt x="323" y="368"/>
                  </a:lnTo>
                  <a:lnTo>
                    <a:pt x="314" y="352"/>
                  </a:lnTo>
                  <a:lnTo>
                    <a:pt x="310" y="347"/>
                  </a:lnTo>
                  <a:lnTo>
                    <a:pt x="305" y="341"/>
                  </a:lnTo>
                  <a:lnTo>
                    <a:pt x="298" y="336"/>
                  </a:lnTo>
                  <a:lnTo>
                    <a:pt x="286" y="329"/>
                  </a:lnTo>
                  <a:lnTo>
                    <a:pt x="286" y="329"/>
                  </a:lnTo>
                  <a:lnTo>
                    <a:pt x="279" y="326"/>
                  </a:lnTo>
                  <a:lnTo>
                    <a:pt x="276" y="321"/>
                  </a:lnTo>
                  <a:lnTo>
                    <a:pt x="272" y="317"/>
                  </a:lnTo>
                  <a:lnTo>
                    <a:pt x="272" y="314"/>
                  </a:lnTo>
                  <a:lnTo>
                    <a:pt x="272" y="305"/>
                  </a:lnTo>
                  <a:lnTo>
                    <a:pt x="274" y="298"/>
                  </a:lnTo>
                  <a:lnTo>
                    <a:pt x="277" y="289"/>
                  </a:lnTo>
                  <a:lnTo>
                    <a:pt x="277" y="282"/>
                  </a:lnTo>
                  <a:lnTo>
                    <a:pt x="276" y="279"/>
                  </a:lnTo>
                  <a:lnTo>
                    <a:pt x="272" y="275"/>
                  </a:lnTo>
                  <a:lnTo>
                    <a:pt x="269" y="272"/>
                  </a:lnTo>
                  <a:lnTo>
                    <a:pt x="262" y="268"/>
                  </a:lnTo>
                  <a:lnTo>
                    <a:pt x="262" y="268"/>
                  </a:lnTo>
                  <a:lnTo>
                    <a:pt x="249" y="263"/>
                  </a:lnTo>
                  <a:lnTo>
                    <a:pt x="241" y="256"/>
                  </a:lnTo>
                  <a:lnTo>
                    <a:pt x="237" y="251"/>
                  </a:lnTo>
                  <a:lnTo>
                    <a:pt x="234" y="244"/>
                  </a:lnTo>
                  <a:lnTo>
                    <a:pt x="229" y="232"/>
                  </a:lnTo>
                  <a:lnTo>
                    <a:pt x="225" y="227"/>
                  </a:lnTo>
                  <a:lnTo>
                    <a:pt x="216" y="220"/>
                  </a:lnTo>
                  <a:lnTo>
                    <a:pt x="216" y="220"/>
                  </a:lnTo>
                  <a:lnTo>
                    <a:pt x="206" y="211"/>
                  </a:lnTo>
                  <a:lnTo>
                    <a:pt x="195" y="200"/>
                  </a:lnTo>
                  <a:lnTo>
                    <a:pt x="187" y="188"/>
                  </a:lnTo>
                  <a:lnTo>
                    <a:pt x="176" y="173"/>
                  </a:lnTo>
                  <a:lnTo>
                    <a:pt x="169" y="157"/>
                  </a:lnTo>
                  <a:lnTo>
                    <a:pt x="161" y="141"/>
                  </a:lnTo>
                  <a:lnTo>
                    <a:pt x="155" y="124"/>
                  </a:lnTo>
                  <a:lnTo>
                    <a:pt x="150" y="108"/>
                  </a:lnTo>
                  <a:lnTo>
                    <a:pt x="150" y="108"/>
                  </a:lnTo>
                  <a:lnTo>
                    <a:pt x="141" y="84"/>
                  </a:lnTo>
                  <a:lnTo>
                    <a:pt x="136" y="70"/>
                  </a:lnTo>
                  <a:lnTo>
                    <a:pt x="133" y="65"/>
                  </a:lnTo>
                  <a:lnTo>
                    <a:pt x="128" y="63"/>
                  </a:lnTo>
                  <a:lnTo>
                    <a:pt x="119" y="58"/>
                  </a:lnTo>
                  <a:lnTo>
                    <a:pt x="119" y="58"/>
                  </a:lnTo>
                  <a:lnTo>
                    <a:pt x="110" y="54"/>
                  </a:lnTo>
                  <a:lnTo>
                    <a:pt x="107" y="54"/>
                  </a:lnTo>
                  <a:lnTo>
                    <a:pt x="101" y="54"/>
                  </a:lnTo>
                  <a:lnTo>
                    <a:pt x="89" y="47"/>
                  </a:lnTo>
                  <a:lnTo>
                    <a:pt x="89" y="47"/>
                  </a:lnTo>
                  <a:lnTo>
                    <a:pt x="86" y="46"/>
                  </a:lnTo>
                  <a:lnTo>
                    <a:pt x="82" y="46"/>
                  </a:lnTo>
                  <a:lnTo>
                    <a:pt x="81" y="47"/>
                  </a:lnTo>
                  <a:lnTo>
                    <a:pt x="79" y="51"/>
                  </a:lnTo>
                  <a:lnTo>
                    <a:pt x="79" y="61"/>
                  </a:lnTo>
                  <a:lnTo>
                    <a:pt x="81" y="75"/>
                  </a:lnTo>
                  <a:lnTo>
                    <a:pt x="84" y="91"/>
                  </a:lnTo>
                  <a:lnTo>
                    <a:pt x="89" y="106"/>
                  </a:lnTo>
                  <a:lnTo>
                    <a:pt x="94" y="120"/>
                  </a:lnTo>
                  <a:lnTo>
                    <a:pt x="101" y="133"/>
                  </a:lnTo>
                  <a:lnTo>
                    <a:pt x="101" y="133"/>
                  </a:lnTo>
                  <a:lnTo>
                    <a:pt x="114" y="150"/>
                  </a:lnTo>
                  <a:lnTo>
                    <a:pt x="128" y="167"/>
                  </a:lnTo>
                  <a:lnTo>
                    <a:pt x="141" y="185"/>
                  </a:lnTo>
                  <a:lnTo>
                    <a:pt x="147" y="195"/>
                  </a:lnTo>
                  <a:lnTo>
                    <a:pt x="150" y="206"/>
                  </a:lnTo>
                  <a:lnTo>
                    <a:pt x="150" y="206"/>
                  </a:lnTo>
                  <a:lnTo>
                    <a:pt x="155" y="216"/>
                  </a:lnTo>
                  <a:lnTo>
                    <a:pt x="161" y="227"/>
                  </a:lnTo>
                  <a:lnTo>
                    <a:pt x="173" y="242"/>
                  </a:lnTo>
                  <a:lnTo>
                    <a:pt x="185" y="256"/>
                  </a:lnTo>
                  <a:lnTo>
                    <a:pt x="190" y="265"/>
                  </a:lnTo>
                  <a:lnTo>
                    <a:pt x="195" y="275"/>
                  </a:lnTo>
                  <a:lnTo>
                    <a:pt x="195" y="275"/>
                  </a:lnTo>
                  <a:lnTo>
                    <a:pt x="201" y="293"/>
                  </a:lnTo>
                  <a:lnTo>
                    <a:pt x="204" y="305"/>
                  </a:lnTo>
                  <a:lnTo>
                    <a:pt x="208" y="317"/>
                  </a:lnTo>
                  <a:lnTo>
                    <a:pt x="216" y="336"/>
                  </a:lnTo>
                  <a:lnTo>
                    <a:pt x="216" y="336"/>
                  </a:lnTo>
                  <a:lnTo>
                    <a:pt x="222" y="347"/>
                  </a:lnTo>
                  <a:lnTo>
                    <a:pt x="225" y="354"/>
                  </a:lnTo>
                  <a:lnTo>
                    <a:pt x="225" y="361"/>
                  </a:lnTo>
                  <a:lnTo>
                    <a:pt x="227" y="366"/>
                  </a:lnTo>
                  <a:lnTo>
                    <a:pt x="227" y="373"/>
                  </a:lnTo>
                  <a:lnTo>
                    <a:pt x="227" y="376"/>
                  </a:lnTo>
                  <a:lnTo>
                    <a:pt x="230" y="382"/>
                  </a:lnTo>
                  <a:lnTo>
                    <a:pt x="230" y="382"/>
                  </a:lnTo>
                  <a:lnTo>
                    <a:pt x="234" y="383"/>
                  </a:lnTo>
                  <a:lnTo>
                    <a:pt x="237" y="383"/>
                  </a:lnTo>
                  <a:lnTo>
                    <a:pt x="242" y="382"/>
                  </a:lnTo>
                  <a:lnTo>
                    <a:pt x="244" y="380"/>
                  </a:lnTo>
                  <a:lnTo>
                    <a:pt x="248" y="382"/>
                  </a:lnTo>
                  <a:lnTo>
                    <a:pt x="253" y="385"/>
                  </a:lnTo>
                  <a:lnTo>
                    <a:pt x="256" y="394"/>
                  </a:lnTo>
                  <a:lnTo>
                    <a:pt x="256" y="394"/>
                  </a:lnTo>
                  <a:lnTo>
                    <a:pt x="267" y="409"/>
                  </a:lnTo>
                  <a:lnTo>
                    <a:pt x="272" y="422"/>
                  </a:lnTo>
                  <a:lnTo>
                    <a:pt x="272" y="425"/>
                  </a:lnTo>
                  <a:lnTo>
                    <a:pt x="270" y="429"/>
                  </a:lnTo>
                  <a:lnTo>
                    <a:pt x="267" y="434"/>
                  </a:lnTo>
                  <a:lnTo>
                    <a:pt x="262" y="439"/>
                  </a:lnTo>
                  <a:lnTo>
                    <a:pt x="262" y="439"/>
                  </a:lnTo>
                  <a:lnTo>
                    <a:pt x="255" y="441"/>
                  </a:lnTo>
                  <a:lnTo>
                    <a:pt x="251" y="441"/>
                  </a:lnTo>
                  <a:lnTo>
                    <a:pt x="248" y="437"/>
                  </a:lnTo>
                  <a:lnTo>
                    <a:pt x="244" y="429"/>
                  </a:lnTo>
                  <a:lnTo>
                    <a:pt x="239" y="420"/>
                  </a:lnTo>
                  <a:lnTo>
                    <a:pt x="230" y="408"/>
                  </a:lnTo>
                  <a:lnTo>
                    <a:pt x="218" y="395"/>
                  </a:lnTo>
                  <a:lnTo>
                    <a:pt x="199" y="382"/>
                  </a:lnTo>
                  <a:lnTo>
                    <a:pt x="199" y="382"/>
                  </a:lnTo>
                  <a:lnTo>
                    <a:pt x="190" y="375"/>
                  </a:lnTo>
                  <a:lnTo>
                    <a:pt x="183" y="368"/>
                  </a:lnTo>
                  <a:lnTo>
                    <a:pt x="178" y="362"/>
                  </a:lnTo>
                  <a:lnTo>
                    <a:pt x="175" y="355"/>
                  </a:lnTo>
                  <a:lnTo>
                    <a:pt x="173" y="350"/>
                  </a:lnTo>
                  <a:lnTo>
                    <a:pt x="171" y="343"/>
                  </a:lnTo>
                  <a:lnTo>
                    <a:pt x="173" y="333"/>
                  </a:lnTo>
                  <a:lnTo>
                    <a:pt x="175" y="322"/>
                  </a:lnTo>
                  <a:lnTo>
                    <a:pt x="175" y="312"/>
                  </a:lnTo>
                  <a:lnTo>
                    <a:pt x="173" y="307"/>
                  </a:lnTo>
                  <a:lnTo>
                    <a:pt x="171" y="301"/>
                  </a:lnTo>
                  <a:lnTo>
                    <a:pt x="168" y="296"/>
                  </a:lnTo>
                  <a:lnTo>
                    <a:pt x="164" y="291"/>
                  </a:lnTo>
                  <a:lnTo>
                    <a:pt x="164" y="291"/>
                  </a:lnTo>
                  <a:lnTo>
                    <a:pt x="152" y="282"/>
                  </a:lnTo>
                  <a:lnTo>
                    <a:pt x="141" y="275"/>
                  </a:lnTo>
                  <a:lnTo>
                    <a:pt x="119" y="263"/>
                  </a:lnTo>
                  <a:lnTo>
                    <a:pt x="100" y="251"/>
                  </a:lnTo>
                  <a:lnTo>
                    <a:pt x="91" y="244"/>
                  </a:lnTo>
                  <a:lnTo>
                    <a:pt x="82" y="234"/>
                  </a:lnTo>
                  <a:lnTo>
                    <a:pt x="82" y="234"/>
                  </a:lnTo>
                  <a:lnTo>
                    <a:pt x="77" y="227"/>
                  </a:lnTo>
                  <a:lnTo>
                    <a:pt x="77" y="223"/>
                  </a:lnTo>
                  <a:lnTo>
                    <a:pt x="79" y="223"/>
                  </a:lnTo>
                  <a:lnTo>
                    <a:pt x="84" y="223"/>
                  </a:lnTo>
                  <a:lnTo>
                    <a:pt x="89" y="223"/>
                  </a:lnTo>
                  <a:lnTo>
                    <a:pt x="96" y="221"/>
                  </a:lnTo>
                  <a:lnTo>
                    <a:pt x="98" y="220"/>
                  </a:lnTo>
                  <a:lnTo>
                    <a:pt x="101" y="216"/>
                  </a:lnTo>
                  <a:lnTo>
                    <a:pt x="103" y="213"/>
                  </a:lnTo>
                  <a:lnTo>
                    <a:pt x="103" y="207"/>
                  </a:lnTo>
                  <a:lnTo>
                    <a:pt x="103" y="207"/>
                  </a:lnTo>
                  <a:lnTo>
                    <a:pt x="103" y="195"/>
                  </a:lnTo>
                  <a:lnTo>
                    <a:pt x="100" y="185"/>
                  </a:lnTo>
                  <a:lnTo>
                    <a:pt x="94" y="174"/>
                  </a:lnTo>
                  <a:lnTo>
                    <a:pt x="86" y="167"/>
                  </a:lnTo>
                  <a:lnTo>
                    <a:pt x="68" y="152"/>
                  </a:lnTo>
                  <a:lnTo>
                    <a:pt x="60" y="145"/>
                  </a:lnTo>
                  <a:lnTo>
                    <a:pt x="53" y="136"/>
                  </a:lnTo>
                  <a:lnTo>
                    <a:pt x="53" y="136"/>
                  </a:lnTo>
                  <a:lnTo>
                    <a:pt x="47" y="127"/>
                  </a:lnTo>
                  <a:lnTo>
                    <a:pt x="42" y="119"/>
                  </a:lnTo>
                  <a:lnTo>
                    <a:pt x="35" y="94"/>
                  </a:lnTo>
                  <a:lnTo>
                    <a:pt x="23" y="59"/>
                  </a:lnTo>
                  <a:lnTo>
                    <a:pt x="14" y="37"/>
                  </a:lnTo>
                  <a:lnTo>
                    <a:pt x="0" y="9"/>
                  </a:lnTo>
                  <a:lnTo>
                    <a:pt x="0" y="9"/>
                  </a:lnTo>
                  <a:lnTo>
                    <a:pt x="44" y="5"/>
                  </a:lnTo>
                  <a:lnTo>
                    <a:pt x="84" y="0"/>
                  </a:lnTo>
                  <a:lnTo>
                    <a:pt x="81" y="11"/>
                  </a:lnTo>
                  <a:lnTo>
                    <a:pt x="81" y="11"/>
                  </a:lnTo>
                  <a:lnTo>
                    <a:pt x="213" y="65"/>
                  </a:lnTo>
                  <a:lnTo>
                    <a:pt x="314" y="65"/>
                  </a:lnTo>
                  <a:lnTo>
                    <a:pt x="314" y="44"/>
                  </a:lnTo>
                  <a:lnTo>
                    <a:pt x="371" y="44"/>
                  </a:lnTo>
                  <a:lnTo>
                    <a:pt x="371" y="44"/>
                  </a:lnTo>
                  <a:lnTo>
                    <a:pt x="394" y="65"/>
                  </a:lnTo>
                  <a:lnTo>
                    <a:pt x="427" y="99"/>
                  </a:lnTo>
                  <a:lnTo>
                    <a:pt x="427" y="99"/>
                  </a:lnTo>
                  <a:lnTo>
                    <a:pt x="432" y="106"/>
                  </a:lnTo>
                  <a:lnTo>
                    <a:pt x="436" y="113"/>
                  </a:lnTo>
                  <a:lnTo>
                    <a:pt x="441" y="133"/>
                  </a:lnTo>
                  <a:lnTo>
                    <a:pt x="446" y="141"/>
                  </a:lnTo>
                  <a:lnTo>
                    <a:pt x="453" y="150"/>
                  </a:lnTo>
                  <a:lnTo>
                    <a:pt x="462" y="157"/>
                  </a:lnTo>
                  <a:lnTo>
                    <a:pt x="474" y="164"/>
                  </a:lnTo>
                  <a:lnTo>
                    <a:pt x="474" y="164"/>
                  </a:lnTo>
                  <a:lnTo>
                    <a:pt x="481" y="166"/>
                  </a:lnTo>
                  <a:lnTo>
                    <a:pt x="486" y="167"/>
                  </a:lnTo>
                  <a:lnTo>
                    <a:pt x="491" y="166"/>
                  </a:lnTo>
                  <a:lnTo>
                    <a:pt x="495" y="164"/>
                  </a:lnTo>
                  <a:lnTo>
                    <a:pt x="498" y="157"/>
                  </a:lnTo>
                  <a:lnTo>
                    <a:pt x="502" y="150"/>
                  </a:lnTo>
                  <a:lnTo>
                    <a:pt x="504" y="140"/>
                  </a:lnTo>
                  <a:lnTo>
                    <a:pt x="509" y="133"/>
                  </a:lnTo>
                  <a:lnTo>
                    <a:pt x="512" y="129"/>
                  </a:lnTo>
                  <a:lnTo>
                    <a:pt x="518" y="127"/>
                  </a:lnTo>
                  <a:lnTo>
                    <a:pt x="523" y="127"/>
                  </a:lnTo>
                  <a:lnTo>
                    <a:pt x="530" y="127"/>
                  </a:lnTo>
                  <a:lnTo>
                    <a:pt x="530" y="127"/>
                  </a:lnTo>
                  <a:lnTo>
                    <a:pt x="537" y="131"/>
                  </a:lnTo>
                  <a:lnTo>
                    <a:pt x="544" y="133"/>
                  </a:lnTo>
                  <a:lnTo>
                    <a:pt x="554" y="141"/>
                  </a:lnTo>
                  <a:lnTo>
                    <a:pt x="565" y="153"/>
                  </a:lnTo>
                  <a:lnTo>
                    <a:pt x="573" y="166"/>
                  </a:lnTo>
                  <a:lnTo>
                    <a:pt x="587" y="195"/>
                  </a:lnTo>
                  <a:lnTo>
                    <a:pt x="596" y="209"/>
                  </a:lnTo>
                  <a:lnTo>
                    <a:pt x="605" y="221"/>
                  </a:lnTo>
                  <a:lnTo>
                    <a:pt x="605" y="221"/>
                  </a:lnTo>
                  <a:lnTo>
                    <a:pt x="613" y="234"/>
                  </a:lnTo>
                  <a:lnTo>
                    <a:pt x="620" y="246"/>
                  </a:lnTo>
                  <a:lnTo>
                    <a:pt x="629" y="270"/>
                  </a:lnTo>
                  <a:lnTo>
                    <a:pt x="634" y="281"/>
                  </a:lnTo>
                  <a:lnTo>
                    <a:pt x="643" y="291"/>
                  </a:lnTo>
                  <a:lnTo>
                    <a:pt x="648" y="294"/>
                  </a:lnTo>
                  <a:lnTo>
                    <a:pt x="657" y="298"/>
                  </a:lnTo>
                  <a:lnTo>
                    <a:pt x="666" y="300"/>
                  </a:lnTo>
                  <a:lnTo>
                    <a:pt x="674" y="303"/>
                  </a:lnTo>
                  <a:lnTo>
                    <a:pt x="674" y="303"/>
                  </a:lnTo>
                  <a:lnTo>
                    <a:pt x="681" y="305"/>
                  </a:lnTo>
                  <a:lnTo>
                    <a:pt x="686" y="308"/>
                  </a:lnTo>
                  <a:lnTo>
                    <a:pt x="692" y="312"/>
                  </a:lnTo>
                  <a:lnTo>
                    <a:pt x="693" y="312"/>
                  </a:lnTo>
                  <a:lnTo>
                    <a:pt x="693" y="312"/>
                  </a:lnTo>
                  <a:lnTo>
                    <a:pt x="693" y="312"/>
                  </a:lnTo>
                  <a:lnTo>
                    <a:pt x="697" y="308"/>
                  </a:lnTo>
                  <a:lnTo>
                    <a:pt x="700" y="308"/>
                  </a:lnTo>
                  <a:lnTo>
                    <a:pt x="700" y="308"/>
                  </a:lnTo>
                  <a:lnTo>
                    <a:pt x="697" y="324"/>
                  </a:lnTo>
                  <a:lnTo>
                    <a:pt x="692" y="338"/>
                  </a:lnTo>
                  <a:lnTo>
                    <a:pt x="686" y="355"/>
                  </a:lnTo>
                  <a:lnTo>
                    <a:pt x="681" y="383"/>
                  </a:lnTo>
                  <a:lnTo>
                    <a:pt x="681" y="383"/>
                  </a:lnTo>
                  <a:lnTo>
                    <a:pt x="679" y="413"/>
                  </a:lnTo>
                  <a:lnTo>
                    <a:pt x="679" y="430"/>
                  </a:lnTo>
                  <a:lnTo>
                    <a:pt x="679" y="439"/>
                  </a:lnTo>
                  <a:lnTo>
                    <a:pt x="678" y="448"/>
                  </a:lnTo>
                  <a:lnTo>
                    <a:pt x="678" y="448"/>
                  </a:lnTo>
                  <a:lnTo>
                    <a:pt x="676" y="453"/>
                  </a:lnTo>
                  <a:lnTo>
                    <a:pt x="676" y="455"/>
                  </a:lnTo>
                  <a:lnTo>
                    <a:pt x="678" y="458"/>
                  </a:lnTo>
                  <a:lnTo>
                    <a:pt x="679" y="465"/>
                  </a:lnTo>
                  <a:lnTo>
                    <a:pt x="679" y="465"/>
                  </a:lnTo>
                  <a:lnTo>
                    <a:pt x="681" y="491"/>
                  </a:lnTo>
                  <a:lnTo>
                    <a:pt x="685" y="500"/>
                  </a:lnTo>
                  <a:lnTo>
                    <a:pt x="686" y="503"/>
                  </a:lnTo>
                  <a:lnTo>
                    <a:pt x="688" y="505"/>
                  </a:lnTo>
                  <a:lnTo>
                    <a:pt x="688" y="505"/>
                  </a:lnTo>
                  <a:lnTo>
                    <a:pt x="690" y="505"/>
                  </a:lnTo>
                  <a:lnTo>
                    <a:pt x="692" y="509"/>
                  </a:lnTo>
                  <a:lnTo>
                    <a:pt x="693" y="521"/>
                  </a:lnTo>
                  <a:lnTo>
                    <a:pt x="699" y="535"/>
                  </a:lnTo>
                  <a:lnTo>
                    <a:pt x="702" y="543"/>
                  </a:lnTo>
                  <a:lnTo>
                    <a:pt x="709" y="552"/>
                  </a:lnTo>
                  <a:lnTo>
                    <a:pt x="709" y="552"/>
                  </a:lnTo>
                  <a:lnTo>
                    <a:pt x="718" y="566"/>
                  </a:lnTo>
                  <a:lnTo>
                    <a:pt x="725" y="578"/>
                  </a:lnTo>
                  <a:lnTo>
                    <a:pt x="733" y="601"/>
                  </a:lnTo>
                  <a:lnTo>
                    <a:pt x="739" y="610"/>
                  </a:lnTo>
                  <a:lnTo>
                    <a:pt x="742" y="617"/>
                  </a:lnTo>
                  <a:lnTo>
                    <a:pt x="749" y="622"/>
                  </a:lnTo>
                  <a:lnTo>
                    <a:pt x="760" y="625"/>
                  </a:lnTo>
                  <a:lnTo>
                    <a:pt x="760" y="625"/>
                  </a:lnTo>
                  <a:lnTo>
                    <a:pt x="772" y="627"/>
                  </a:lnTo>
                  <a:lnTo>
                    <a:pt x="779" y="632"/>
                  </a:lnTo>
                  <a:lnTo>
                    <a:pt x="786" y="636"/>
                  </a:lnTo>
                  <a:lnTo>
                    <a:pt x="787" y="641"/>
                  </a:lnTo>
                  <a:lnTo>
                    <a:pt x="793" y="648"/>
                  </a:lnTo>
                  <a:lnTo>
                    <a:pt x="794" y="650"/>
                  </a:lnTo>
                  <a:lnTo>
                    <a:pt x="798" y="651"/>
                  </a:lnTo>
                  <a:lnTo>
                    <a:pt x="798" y="651"/>
                  </a:lnTo>
                  <a:lnTo>
                    <a:pt x="807" y="648"/>
                  </a:lnTo>
                  <a:lnTo>
                    <a:pt x="814" y="643"/>
                  </a:lnTo>
                  <a:lnTo>
                    <a:pt x="822" y="639"/>
                  </a:lnTo>
                  <a:lnTo>
                    <a:pt x="836" y="637"/>
                  </a:lnTo>
                  <a:lnTo>
                    <a:pt x="836" y="637"/>
                  </a:lnTo>
                  <a:lnTo>
                    <a:pt x="850" y="634"/>
                  </a:lnTo>
                  <a:lnTo>
                    <a:pt x="855" y="631"/>
                  </a:lnTo>
                  <a:lnTo>
                    <a:pt x="859" y="629"/>
                  </a:lnTo>
                  <a:lnTo>
                    <a:pt x="866" y="627"/>
                  </a:lnTo>
                  <a:lnTo>
                    <a:pt x="866" y="627"/>
                  </a:lnTo>
                  <a:lnTo>
                    <a:pt x="876" y="625"/>
                  </a:lnTo>
                  <a:lnTo>
                    <a:pt x="883" y="627"/>
                  </a:lnTo>
                  <a:lnTo>
                    <a:pt x="885" y="629"/>
                  </a:lnTo>
                  <a:lnTo>
                    <a:pt x="887" y="634"/>
                  </a:lnTo>
                  <a:lnTo>
                    <a:pt x="887" y="634"/>
                  </a:lnTo>
                  <a:lnTo>
                    <a:pt x="887" y="636"/>
                  </a:lnTo>
                  <a:lnTo>
                    <a:pt x="888" y="637"/>
                  </a:lnTo>
                  <a:lnTo>
                    <a:pt x="895" y="637"/>
                  </a:lnTo>
                  <a:lnTo>
                    <a:pt x="901" y="636"/>
                  </a:lnTo>
                  <a:lnTo>
                    <a:pt x="906" y="632"/>
                  </a:lnTo>
                  <a:lnTo>
                    <a:pt x="906" y="632"/>
                  </a:lnTo>
                  <a:lnTo>
                    <a:pt x="906" y="629"/>
                  </a:lnTo>
                  <a:lnTo>
                    <a:pt x="906" y="625"/>
                  </a:lnTo>
                  <a:lnTo>
                    <a:pt x="902" y="624"/>
                  </a:lnTo>
                  <a:lnTo>
                    <a:pt x="899" y="622"/>
                  </a:lnTo>
                  <a:lnTo>
                    <a:pt x="899" y="620"/>
                  </a:lnTo>
                  <a:lnTo>
                    <a:pt x="901" y="618"/>
                  </a:lnTo>
                  <a:lnTo>
                    <a:pt x="901" y="618"/>
                  </a:lnTo>
                  <a:lnTo>
                    <a:pt x="908" y="615"/>
                  </a:lnTo>
                  <a:lnTo>
                    <a:pt x="916" y="608"/>
                  </a:lnTo>
                  <a:lnTo>
                    <a:pt x="920" y="604"/>
                  </a:lnTo>
                  <a:lnTo>
                    <a:pt x="923" y="601"/>
                  </a:lnTo>
                  <a:lnTo>
                    <a:pt x="925" y="594"/>
                  </a:lnTo>
                  <a:lnTo>
                    <a:pt x="927" y="587"/>
                  </a:lnTo>
                  <a:lnTo>
                    <a:pt x="927" y="587"/>
                  </a:lnTo>
                  <a:lnTo>
                    <a:pt x="928" y="582"/>
                  </a:lnTo>
                  <a:lnTo>
                    <a:pt x="928" y="578"/>
                  </a:lnTo>
                  <a:lnTo>
                    <a:pt x="932" y="575"/>
                  </a:lnTo>
                  <a:lnTo>
                    <a:pt x="934" y="573"/>
                  </a:lnTo>
                  <a:lnTo>
                    <a:pt x="935" y="570"/>
                  </a:lnTo>
                  <a:lnTo>
                    <a:pt x="935" y="559"/>
                  </a:lnTo>
                  <a:lnTo>
                    <a:pt x="935" y="559"/>
                  </a:lnTo>
                  <a:lnTo>
                    <a:pt x="934" y="547"/>
                  </a:lnTo>
                  <a:lnTo>
                    <a:pt x="935" y="540"/>
                  </a:lnTo>
                  <a:lnTo>
                    <a:pt x="939" y="535"/>
                  </a:lnTo>
                  <a:lnTo>
                    <a:pt x="939" y="530"/>
                  </a:lnTo>
                  <a:lnTo>
                    <a:pt x="939" y="530"/>
                  </a:lnTo>
                  <a:lnTo>
                    <a:pt x="941" y="524"/>
                  </a:lnTo>
                  <a:lnTo>
                    <a:pt x="942" y="521"/>
                  </a:lnTo>
                  <a:lnTo>
                    <a:pt x="948" y="519"/>
                  </a:lnTo>
                  <a:lnTo>
                    <a:pt x="953" y="516"/>
                  </a:lnTo>
                  <a:lnTo>
                    <a:pt x="967" y="512"/>
                  </a:lnTo>
                  <a:lnTo>
                    <a:pt x="982" y="509"/>
                  </a:lnTo>
                  <a:lnTo>
                    <a:pt x="982" y="509"/>
                  </a:lnTo>
                  <a:lnTo>
                    <a:pt x="993" y="507"/>
                  </a:lnTo>
                  <a:lnTo>
                    <a:pt x="996" y="505"/>
                  </a:lnTo>
                  <a:lnTo>
                    <a:pt x="1002" y="502"/>
                  </a:lnTo>
                  <a:lnTo>
                    <a:pt x="1012" y="500"/>
                  </a:lnTo>
                  <a:lnTo>
                    <a:pt x="1012" y="500"/>
                  </a:lnTo>
                  <a:lnTo>
                    <a:pt x="1019" y="500"/>
                  </a:lnTo>
                  <a:lnTo>
                    <a:pt x="1026" y="500"/>
                  </a:lnTo>
                  <a:lnTo>
                    <a:pt x="1036" y="503"/>
                  </a:lnTo>
                  <a:lnTo>
                    <a:pt x="1043" y="507"/>
                  </a:lnTo>
                  <a:lnTo>
                    <a:pt x="1047" y="507"/>
                  </a:lnTo>
                  <a:lnTo>
                    <a:pt x="1049" y="507"/>
                  </a:lnTo>
                  <a:lnTo>
                    <a:pt x="1049" y="507"/>
                  </a:lnTo>
                  <a:lnTo>
                    <a:pt x="1052" y="505"/>
                  </a:lnTo>
                  <a:lnTo>
                    <a:pt x="1052" y="503"/>
                  </a:lnTo>
                  <a:lnTo>
                    <a:pt x="1047" y="502"/>
                  </a:lnTo>
                  <a:lnTo>
                    <a:pt x="1047" y="502"/>
                  </a:lnTo>
                  <a:lnTo>
                    <a:pt x="1045" y="502"/>
                  </a:lnTo>
                  <a:lnTo>
                    <a:pt x="1045" y="502"/>
                  </a:lnTo>
                  <a:lnTo>
                    <a:pt x="1049" y="500"/>
                  </a:lnTo>
                  <a:lnTo>
                    <a:pt x="1054" y="498"/>
                  </a:lnTo>
                  <a:lnTo>
                    <a:pt x="1056" y="500"/>
                  </a:lnTo>
                  <a:lnTo>
                    <a:pt x="1057" y="502"/>
                  </a:lnTo>
                  <a:lnTo>
                    <a:pt x="1057" y="502"/>
                  </a:lnTo>
                  <a:lnTo>
                    <a:pt x="1061" y="505"/>
                  </a:lnTo>
                  <a:lnTo>
                    <a:pt x="1063" y="507"/>
                  </a:lnTo>
                  <a:lnTo>
                    <a:pt x="1064" y="509"/>
                  </a:lnTo>
                  <a:lnTo>
                    <a:pt x="1064" y="512"/>
                  </a:lnTo>
                  <a:lnTo>
                    <a:pt x="1064" y="512"/>
                  </a:lnTo>
                  <a:lnTo>
                    <a:pt x="1064" y="517"/>
                  </a:lnTo>
                  <a:lnTo>
                    <a:pt x="1066" y="521"/>
                  </a:lnTo>
                  <a:lnTo>
                    <a:pt x="1064" y="526"/>
                  </a:lnTo>
                  <a:lnTo>
                    <a:pt x="1056" y="538"/>
                  </a:lnTo>
                  <a:lnTo>
                    <a:pt x="1056" y="538"/>
                  </a:lnTo>
                  <a:lnTo>
                    <a:pt x="1049" y="547"/>
                  </a:lnTo>
                  <a:lnTo>
                    <a:pt x="1045" y="554"/>
                  </a:lnTo>
                  <a:lnTo>
                    <a:pt x="1042" y="566"/>
                  </a:lnTo>
                  <a:lnTo>
                    <a:pt x="1042" y="575"/>
                  </a:lnTo>
                  <a:lnTo>
                    <a:pt x="1040" y="578"/>
                  </a:lnTo>
                  <a:lnTo>
                    <a:pt x="1036" y="580"/>
                  </a:lnTo>
                  <a:lnTo>
                    <a:pt x="1036" y="580"/>
                  </a:lnTo>
                  <a:lnTo>
                    <a:pt x="1031" y="585"/>
                  </a:lnTo>
                  <a:lnTo>
                    <a:pt x="1031" y="587"/>
                  </a:lnTo>
                  <a:lnTo>
                    <a:pt x="1033" y="589"/>
                  </a:lnTo>
                  <a:lnTo>
                    <a:pt x="1038" y="589"/>
                  </a:lnTo>
                  <a:lnTo>
                    <a:pt x="1038" y="589"/>
                  </a:lnTo>
                  <a:lnTo>
                    <a:pt x="1042" y="587"/>
                  </a:lnTo>
                  <a:lnTo>
                    <a:pt x="1043" y="589"/>
                  </a:lnTo>
                  <a:lnTo>
                    <a:pt x="1036" y="596"/>
                  </a:lnTo>
                  <a:lnTo>
                    <a:pt x="1036" y="596"/>
                  </a:lnTo>
                  <a:lnTo>
                    <a:pt x="1033" y="601"/>
                  </a:lnTo>
                  <a:lnTo>
                    <a:pt x="1035" y="601"/>
                  </a:lnTo>
                  <a:lnTo>
                    <a:pt x="1038" y="599"/>
                  </a:lnTo>
                  <a:lnTo>
                    <a:pt x="1040" y="601"/>
                  </a:lnTo>
                  <a:lnTo>
                    <a:pt x="1040" y="603"/>
                  </a:lnTo>
                  <a:lnTo>
                    <a:pt x="1040" y="603"/>
                  </a:lnTo>
                  <a:lnTo>
                    <a:pt x="1036" y="615"/>
                  </a:lnTo>
                  <a:lnTo>
                    <a:pt x="1033" y="631"/>
                  </a:lnTo>
                  <a:lnTo>
                    <a:pt x="1029" y="644"/>
                  </a:lnTo>
                  <a:lnTo>
                    <a:pt x="1028" y="648"/>
                  </a:lnTo>
                  <a:lnTo>
                    <a:pt x="1026" y="646"/>
                  </a:lnTo>
                  <a:lnTo>
                    <a:pt x="1026" y="646"/>
                  </a:lnTo>
                  <a:lnTo>
                    <a:pt x="1024" y="639"/>
                  </a:lnTo>
                  <a:lnTo>
                    <a:pt x="1021" y="636"/>
                  </a:lnTo>
                  <a:lnTo>
                    <a:pt x="1019" y="634"/>
                  </a:lnTo>
                  <a:lnTo>
                    <a:pt x="1019" y="629"/>
                  </a:lnTo>
                  <a:lnTo>
                    <a:pt x="1019" y="629"/>
                  </a:lnTo>
                  <a:lnTo>
                    <a:pt x="1022" y="624"/>
                  </a:lnTo>
                  <a:lnTo>
                    <a:pt x="1021" y="620"/>
                  </a:lnTo>
                  <a:lnTo>
                    <a:pt x="1019" y="620"/>
                  </a:lnTo>
                  <a:lnTo>
                    <a:pt x="1017" y="622"/>
                  </a:lnTo>
                  <a:lnTo>
                    <a:pt x="1017" y="622"/>
                  </a:lnTo>
                  <a:lnTo>
                    <a:pt x="1010" y="637"/>
                  </a:lnTo>
                  <a:lnTo>
                    <a:pt x="1010" y="637"/>
                  </a:lnTo>
                  <a:lnTo>
                    <a:pt x="1007" y="637"/>
                  </a:lnTo>
                  <a:lnTo>
                    <a:pt x="1003" y="639"/>
                  </a:lnTo>
                  <a:lnTo>
                    <a:pt x="998" y="648"/>
                  </a:lnTo>
                  <a:lnTo>
                    <a:pt x="995" y="657"/>
                  </a:lnTo>
                  <a:lnTo>
                    <a:pt x="995" y="660"/>
                  </a:lnTo>
                  <a:lnTo>
                    <a:pt x="993" y="662"/>
                  </a:lnTo>
                  <a:lnTo>
                    <a:pt x="993" y="662"/>
                  </a:lnTo>
                  <a:lnTo>
                    <a:pt x="989" y="660"/>
                  </a:lnTo>
                  <a:lnTo>
                    <a:pt x="986" y="657"/>
                  </a:lnTo>
                  <a:lnTo>
                    <a:pt x="984" y="657"/>
                  </a:lnTo>
                  <a:lnTo>
                    <a:pt x="982" y="658"/>
                  </a:lnTo>
                  <a:lnTo>
                    <a:pt x="981" y="665"/>
                  </a:lnTo>
                  <a:lnTo>
                    <a:pt x="981" y="665"/>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 name="Freeform 1685">
              <a:extLst>
                <a:ext uri="{FF2B5EF4-FFF2-40B4-BE49-F238E27FC236}">
                  <a16:creationId xmlns:a16="http://schemas.microsoft.com/office/drawing/2014/main" id="{510EFE9C-C41D-4BEA-B1B8-120A608D7518}"/>
                </a:ext>
              </a:extLst>
            </p:cNvPr>
            <p:cNvSpPr>
              <a:spLocks/>
            </p:cNvSpPr>
            <p:nvPr/>
          </p:nvSpPr>
          <p:spPr bwMode="auto">
            <a:xfrm>
              <a:off x="3105743" y="4302106"/>
              <a:ext cx="1101249" cy="1358506"/>
            </a:xfrm>
            <a:custGeom>
              <a:avLst/>
              <a:gdLst/>
              <a:ahLst/>
              <a:cxnLst>
                <a:cxn ang="0">
                  <a:pos x="695" y="1610"/>
                </a:cxn>
                <a:cxn ang="0">
                  <a:pos x="636" y="1568"/>
                </a:cxn>
                <a:cxn ang="0">
                  <a:pos x="583" y="1535"/>
                </a:cxn>
                <a:cxn ang="0">
                  <a:pos x="623" y="1462"/>
                </a:cxn>
                <a:cxn ang="0">
                  <a:pos x="703" y="1335"/>
                </a:cxn>
                <a:cxn ang="0">
                  <a:pos x="688" y="1265"/>
                </a:cxn>
                <a:cxn ang="0">
                  <a:pos x="646" y="1250"/>
                </a:cxn>
                <a:cxn ang="0">
                  <a:pos x="604" y="1175"/>
                </a:cxn>
                <a:cxn ang="0">
                  <a:pos x="564" y="1130"/>
                </a:cxn>
                <a:cxn ang="0">
                  <a:pos x="562" y="1053"/>
                </a:cxn>
                <a:cxn ang="0">
                  <a:pos x="550" y="962"/>
                </a:cxn>
                <a:cxn ang="0">
                  <a:pos x="488" y="915"/>
                </a:cxn>
                <a:cxn ang="0">
                  <a:pos x="442" y="795"/>
                </a:cxn>
                <a:cxn ang="0">
                  <a:pos x="387" y="773"/>
                </a:cxn>
                <a:cxn ang="0">
                  <a:pos x="299" y="661"/>
                </a:cxn>
                <a:cxn ang="0">
                  <a:pos x="204" y="684"/>
                </a:cxn>
                <a:cxn ang="0">
                  <a:pos x="120" y="691"/>
                </a:cxn>
                <a:cxn ang="0">
                  <a:pos x="78" y="651"/>
                </a:cxn>
                <a:cxn ang="0">
                  <a:pos x="28" y="618"/>
                </a:cxn>
                <a:cxn ang="0">
                  <a:pos x="14" y="508"/>
                </a:cxn>
                <a:cxn ang="0">
                  <a:pos x="98" y="409"/>
                </a:cxn>
                <a:cxn ang="0">
                  <a:pos x="151" y="323"/>
                </a:cxn>
                <a:cxn ang="0">
                  <a:pos x="139" y="233"/>
                </a:cxn>
                <a:cxn ang="0">
                  <a:pos x="165" y="198"/>
                </a:cxn>
                <a:cxn ang="0">
                  <a:pos x="198" y="139"/>
                </a:cxn>
                <a:cxn ang="0">
                  <a:pos x="239" y="158"/>
                </a:cxn>
                <a:cxn ang="0">
                  <a:pos x="296" y="193"/>
                </a:cxn>
                <a:cxn ang="0">
                  <a:pos x="350" y="141"/>
                </a:cxn>
                <a:cxn ang="0">
                  <a:pos x="348" y="113"/>
                </a:cxn>
                <a:cxn ang="0">
                  <a:pos x="380" y="66"/>
                </a:cxn>
                <a:cxn ang="0">
                  <a:pos x="454" y="29"/>
                </a:cxn>
                <a:cxn ang="0">
                  <a:pos x="489" y="10"/>
                </a:cxn>
                <a:cxn ang="0">
                  <a:pos x="489" y="104"/>
                </a:cxn>
                <a:cxn ang="0">
                  <a:pos x="517" y="167"/>
                </a:cxn>
                <a:cxn ang="0">
                  <a:pos x="569" y="151"/>
                </a:cxn>
                <a:cxn ang="0">
                  <a:pos x="632" y="142"/>
                </a:cxn>
                <a:cxn ang="0">
                  <a:pos x="663" y="111"/>
                </a:cxn>
                <a:cxn ang="0">
                  <a:pos x="705" y="123"/>
                </a:cxn>
                <a:cxn ang="0">
                  <a:pos x="740" y="128"/>
                </a:cxn>
                <a:cxn ang="0">
                  <a:pos x="791" y="41"/>
                </a:cxn>
                <a:cxn ang="0">
                  <a:pos x="808" y="115"/>
                </a:cxn>
                <a:cxn ang="0">
                  <a:pos x="831" y="148"/>
                </a:cxn>
                <a:cxn ang="0">
                  <a:pos x="811" y="215"/>
                </a:cxn>
                <a:cxn ang="0">
                  <a:pos x="791" y="250"/>
                </a:cxn>
                <a:cxn ang="0">
                  <a:pos x="811" y="275"/>
                </a:cxn>
                <a:cxn ang="0">
                  <a:pos x="885" y="235"/>
                </a:cxn>
                <a:cxn ang="0">
                  <a:pos x="900" y="264"/>
                </a:cxn>
                <a:cxn ang="0">
                  <a:pos x="992" y="276"/>
                </a:cxn>
                <a:cxn ang="0">
                  <a:pos x="1033" y="330"/>
                </a:cxn>
                <a:cxn ang="0">
                  <a:pos x="1078" y="325"/>
                </a:cxn>
                <a:cxn ang="0">
                  <a:pos x="1236" y="374"/>
                </a:cxn>
                <a:cxn ang="0">
                  <a:pos x="1329" y="435"/>
                </a:cxn>
                <a:cxn ang="0">
                  <a:pos x="1370" y="567"/>
                </a:cxn>
                <a:cxn ang="0">
                  <a:pos x="1266" y="750"/>
                </a:cxn>
                <a:cxn ang="0">
                  <a:pos x="1222" y="847"/>
                </a:cxn>
                <a:cxn ang="0">
                  <a:pos x="1219" y="985"/>
                </a:cxn>
                <a:cxn ang="0">
                  <a:pos x="1163" y="1119"/>
                </a:cxn>
                <a:cxn ang="0">
                  <a:pos x="1125" y="1201"/>
                </a:cxn>
                <a:cxn ang="0">
                  <a:pos x="1048" y="1210"/>
                </a:cxn>
                <a:cxn ang="0">
                  <a:pos x="928" y="1285"/>
                </a:cxn>
                <a:cxn ang="0">
                  <a:pos x="885" y="1448"/>
                </a:cxn>
                <a:cxn ang="0">
                  <a:pos x="796" y="1598"/>
                </a:cxn>
              </a:cxnLst>
              <a:rect l="0" t="0" r="r" b="b"/>
              <a:pathLst>
                <a:path w="1372" h="1694">
                  <a:moveTo>
                    <a:pt x="716" y="1694"/>
                  </a:moveTo>
                  <a:lnTo>
                    <a:pt x="716" y="1694"/>
                  </a:lnTo>
                  <a:lnTo>
                    <a:pt x="714" y="1681"/>
                  </a:lnTo>
                  <a:lnTo>
                    <a:pt x="714" y="1675"/>
                  </a:lnTo>
                  <a:lnTo>
                    <a:pt x="717" y="1668"/>
                  </a:lnTo>
                  <a:lnTo>
                    <a:pt x="721" y="1662"/>
                  </a:lnTo>
                  <a:lnTo>
                    <a:pt x="724" y="1659"/>
                  </a:lnTo>
                  <a:lnTo>
                    <a:pt x="726" y="1654"/>
                  </a:lnTo>
                  <a:lnTo>
                    <a:pt x="726" y="1648"/>
                  </a:lnTo>
                  <a:lnTo>
                    <a:pt x="723" y="1641"/>
                  </a:lnTo>
                  <a:lnTo>
                    <a:pt x="723" y="1641"/>
                  </a:lnTo>
                  <a:lnTo>
                    <a:pt x="709" y="1621"/>
                  </a:lnTo>
                  <a:lnTo>
                    <a:pt x="703" y="1615"/>
                  </a:lnTo>
                  <a:lnTo>
                    <a:pt x="695" y="1610"/>
                  </a:lnTo>
                  <a:lnTo>
                    <a:pt x="695" y="1610"/>
                  </a:lnTo>
                  <a:lnTo>
                    <a:pt x="688" y="1603"/>
                  </a:lnTo>
                  <a:lnTo>
                    <a:pt x="683" y="1598"/>
                  </a:lnTo>
                  <a:lnTo>
                    <a:pt x="677" y="1593"/>
                  </a:lnTo>
                  <a:lnTo>
                    <a:pt x="667" y="1587"/>
                  </a:lnTo>
                  <a:lnTo>
                    <a:pt x="667" y="1587"/>
                  </a:lnTo>
                  <a:lnTo>
                    <a:pt x="662" y="1582"/>
                  </a:lnTo>
                  <a:lnTo>
                    <a:pt x="656" y="1579"/>
                  </a:lnTo>
                  <a:lnTo>
                    <a:pt x="651" y="1570"/>
                  </a:lnTo>
                  <a:lnTo>
                    <a:pt x="648" y="1567"/>
                  </a:lnTo>
                  <a:lnTo>
                    <a:pt x="644" y="1565"/>
                  </a:lnTo>
                  <a:lnTo>
                    <a:pt x="641" y="1565"/>
                  </a:lnTo>
                  <a:lnTo>
                    <a:pt x="636" y="1568"/>
                  </a:lnTo>
                  <a:lnTo>
                    <a:pt x="636" y="1568"/>
                  </a:lnTo>
                  <a:lnTo>
                    <a:pt x="630" y="1572"/>
                  </a:lnTo>
                  <a:lnTo>
                    <a:pt x="627" y="1572"/>
                  </a:lnTo>
                  <a:lnTo>
                    <a:pt x="625" y="1570"/>
                  </a:lnTo>
                  <a:lnTo>
                    <a:pt x="625" y="1565"/>
                  </a:lnTo>
                  <a:lnTo>
                    <a:pt x="623" y="1560"/>
                  </a:lnTo>
                  <a:lnTo>
                    <a:pt x="622" y="1553"/>
                  </a:lnTo>
                  <a:lnTo>
                    <a:pt x="618" y="1546"/>
                  </a:lnTo>
                  <a:lnTo>
                    <a:pt x="611" y="1537"/>
                  </a:lnTo>
                  <a:lnTo>
                    <a:pt x="611" y="1537"/>
                  </a:lnTo>
                  <a:lnTo>
                    <a:pt x="602" y="1532"/>
                  </a:lnTo>
                  <a:lnTo>
                    <a:pt x="597" y="1530"/>
                  </a:lnTo>
                  <a:lnTo>
                    <a:pt x="592" y="1532"/>
                  </a:lnTo>
                  <a:lnTo>
                    <a:pt x="587" y="1533"/>
                  </a:lnTo>
                  <a:lnTo>
                    <a:pt x="583" y="1535"/>
                  </a:lnTo>
                  <a:lnTo>
                    <a:pt x="578" y="1537"/>
                  </a:lnTo>
                  <a:lnTo>
                    <a:pt x="575" y="1535"/>
                  </a:lnTo>
                  <a:lnTo>
                    <a:pt x="571" y="1530"/>
                  </a:lnTo>
                  <a:lnTo>
                    <a:pt x="571" y="1530"/>
                  </a:lnTo>
                  <a:lnTo>
                    <a:pt x="576" y="1525"/>
                  </a:lnTo>
                  <a:lnTo>
                    <a:pt x="578" y="1521"/>
                  </a:lnTo>
                  <a:lnTo>
                    <a:pt x="582" y="1516"/>
                  </a:lnTo>
                  <a:lnTo>
                    <a:pt x="589" y="1513"/>
                  </a:lnTo>
                  <a:lnTo>
                    <a:pt x="589" y="1513"/>
                  </a:lnTo>
                  <a:lnTo>
                    <a:pt x="592" y="1511"/>
                  </a:lnTo>
                  <a:lnTo>
                    <a:pt x="595" y="1507"/>
                  </a:lnTo>
                  <a:lnTo>
                    <a:pt x="601" y="1499"/>
                  </a:lnTo>
                  <a:lnTo>
                    <a:pt x="608" y="1485"/>
                  </a:lnTo>
                  <a:lnTo>
                    <a:pt x="623" y="1462"/>
                  </a:lnTo>
                  <a:lnTo>
                    <a:pt x="623" y="1462"/>
                  </a:lnTo>
                  <a:lnTo>
                    <a:pt x="641" y="1441"/>
                  </a:lnTo>
                  <a:lnTo>
                    <a:pt x="658" y="1424"/>
                  </a:lnTo>
                  <a:lnTo>
                    <a:pt x="676" y="1412"/>
                  </a:lnTo>
                  <a:lnTo>
                    <a:pt x="691" y="1403"/>
                  </a:lnTo>
                  <a:lnTo>
                    <a:pt x="691" y="1403"/>
                  </a:lnTo>
                  <a:lnTo>
                    <a:pt x="698" y="1398"/>
                  </a:lnTo>
                  <a:lnTo>
                    <a:pt x="703" y="1392"/>
                  </a:lnTo>
                  <a:lnTo>
                    <a:pt x="709" y="1385"/>
                  </a:lnTo>
                  <a:lnTo>
                    <a:pt x="710" y="1377"/>
                  </a:lnTo>
                  <a:lnTo>
                    <a:pt x="710" y="1368"/>
                  </a:lnTo>
                  <a:lnTo>
                    <a:pt x="710" y="1358"/>
                  </a:lnTo>
                  <a:lnTo>
                    <a:pt x="707" y="1347"/>
                  </a:lnTo>
                  <a:lnTo>
                    <a:pt x="703" y="1335"/>
                  </a:lnTo>
                  <a:lnTo>
                    <a:pt x="703" y="1335"/>
                  </a:lnTo>
                  <a:lnTo>
                    <a:pt x="698" y="1326"/>
                  </a:lnTo>
                  <a:lnTo>
                    <a:pt x="695" y="1321"/>
                  </a:lnTo>
                  <a:lnTo>
                    <a:pt x="693" y="1319"/>
                  </a:lnTo>
                  <a:lnTo>
                    <a:pt x="690" y="1321"/>
                  </a:lnTo>
                  <a:lnTo>
                    <a:pt x="684" y="1325"/>
                  </a:lnTo>
                  <a:lnTo>
                    <a:pt x="681" y="1326"/>
                  </a:lnTo>
                  <a:lnTo>
                    <a:pt x="676" y="1325"/>
                  </a:lnTo>
                  <a:lnTo>
                    <a:pt x="676" y="1325"/>
                  </a:lnTo>
                  <a:lnTo>
                    <a:pt x="679" y="1319"/>
                  </a:lnTo>
                  <a:lnTo>
                    <a:pt x="683" y="1311"/>
                  </a:lnTo>
                  <a:lnTo>
                    <a:pt x="686" y="1288"/>
                  </a:lnTo>
                  <a:lnTo>
                    <a:pt x="688" y="1276"/>
                  </a:lnTo>
                  <a:lnTo>
                    <a:pt x="688" y="1265"/>
                  </a:lnTo>
                  <a:lnTo>
                    <a:pt x="686" y="1257"/>
                  </a:lnTo>
                  <a:lnTo>
                    <a:pt x="683" y="1250"/>
                  </a:lnTo>
                  <a:lnTo>
                    <a:pt x="683" y="1250"/>
                  </a:lnTo>
                  <a:lnTo>
                    <a:pt x="679" y="1248"/>
                  </a:lnTo>
                  <a:lnTo>
                    <a:pt x="676" y="1246"/>
                  </a:lnTo>
                  <a:lnTo>
                    <a:pt x="672" y="1246"/>
                  </a:lnTo>
                  <a:lnTo>
                    <a:pt x="669" y="1248"/>
                  </a:lnTo>
                  <a:lnTo>
                    <a:pt x="663" y="1253"/>
                  </a:lnTo>
                  <a:lnTo>
                    <a:pt x="660" y="1255"/>
                  </a:lnTo>
                  <a:lnTo>
                    <a:pt x="655" y="1255"/>
                  </a:lnTo>
                  <a:lnTo>
                    <a:pt x="655" y="1255"/>
                  </a:lnTo>
                  <a:lnTo>
                    <a:pt x="649" y="1255"/>
                  </a:lnTo>
                  <a:lnTo>
                    <a:pt x="648" y="1253"/>
                  </a:lnTo>
                  <a:lnTo>
                    <a:pt x="646" y="1250"/>
                  </a:lnTo>
                  <a:lnTo>
                    <a:pt x="646" y="1243"/>
                  </a:lnTo>
                  <a:lnTo>
                    <a:pt x="644" y="1222"/>
                  </a:lnTo>
                  <a:lnTo>
                    <a:pt x="641" y="1206"/>
                  </a:lnTo>
                  <a:lnTo>
                    <a:pt x="637" y="1189"/>
                  </a:lnTo>
                  <a:lnTo>
                    <a:pt x="637" y="1189"/>
                  </a:lnTo>
                  <a:lnTo>
                    <a:pt x="636" y="1182"/>
                  </a:lnTo>
                  <a:lnTo>
                    <a:pt x="632" y="1178"/>
                  </a:lnTo>
                  <a:lnTo>
                    <a:pt x="627" y="1175"/>
                  </a:lnTo>
                  <a:lnTo>
                    <a:pt x="623" y="1171"/>
                  </a:lnTo>
                  <a:lnTo>
                    <a:pt x="615" y="1171"/>
                  </a:lnTo>
                  <a:lnTo>
                    <a:pt x="609" y="1171"/>
                  </a:lnTo>
                  <a:lnTo>
                    <a:pt x="608" y="1173"/>
                  </a:lnTo>
                  <a:lnTo>
                    <a:pt x="608" y="1173"/>
                  </a:lnTo>
                  <a:lnTo>
                    <a:pt x="604" y="1175"/>
                  </a:lnTo>
                  <a:lnTo>
                    <a:pt x="597" y="1177"/>
                  </a:lnTo>
                  <a:lnTo>
                    <a:pt x="580" y="1177"/>
                  </a:lnTo>
                  <a:lnTo>
                    <a:pt x="571" y="1175"/>
                  </a:lnTo>
                  <a:lnTo>
                    <a:pt x="564" y="1171"/>
                  </a:lnTo>
                  <a:lnTo>
                    <a:pt x="561" y="1170"/>
                  </a:lnTo>
                  <a:lnTo>
                    <a:pt x="559" y="1168"/>
                  </a:lnTo>
                  <a:lnTo>
                    <a:pt x="559" y="1166"/>
                  </a:lnTo>
                  <a:lnTo>
                    <a:pt x="559" y="1166"/>
                  </a:lnTo>
                  <a:lnTo>
                    <a:pt x="561" y="1159"/>
                  </a:lnTo>
                  <a:lnTo>
                    <a:pt x="561" y="1154"/>
                  </a:lnTo>
                  <a:lnTo>
                    <a:pt x="559" y="1147"/>
                  </a:lnTo>
                  <a:lnTo>
                    <a:pt x="562" y="1137"/>
                  </a:lnTo>
                  <a:lnTo>
                    <a:pt x="562" y="1137"/>
                  </a:lnTo>
                  <a:lnTo>
                    <a:pt x="564" y="1130"/>
                  </a:lnTo>
                  <a:lnTo>
                    <a:pt x="564" y="1123"/>
                  </a:lnTo>
                  <a:lnTo>
                    <a:pt x="562" y="1116"/>
                  </a:lnTo>
                  <a:lnTo>
                    <a:pt x="561" y="1109"/>
                  </a:lnTo>
                  <a:lnTo>
                    <a:pt x="555" y="1096"/>
                  </a:lnTo>
                  <a:lnTo>
                    <a:pt x="552" y="1086"/>
                  </a:lnTo>
                  <a:lnTo>
                    <a:pt x="552" y="1086"/>
                  </a:lnTo>
                  <a:lnTo>
                    <a:pt x="557" y="1081"/>
                  </a:lnTo>
                  <a:lnTo>
                    <a:pt x="561" y="1077"/>
                  </a:lnTo>
                  <a:lnTo>
                    <a:pt x="561" y="1074"/>
                  </a:lnTo>
                  <a:lnTo>
                    <a:pt x="559" y="1067"/>
                  </a:lnTo>
                  <a:lnTo>
                    <a:pt x="559" y="1067"/>
                  </a:lnTo>
                  <a:lnTo>
                    <a:pt x="557" y="1063"/>
                  </a:lnTo>
                  <a:lnTo>
                    <a:pt x="559" y="1060"/>
                  </a:lnTo>
                  <a:lnTo>
                    <a:pt x="562" y="1053"/>
                  </a:lnTo>
                  <a:lnTo>
                    <a:pt x="566" y="1044"/>
                  </a:lnTo>
                  <a:lnTo>
                    <a:pt x="568" y="1039"/>
                  </a:lnTo>
                  <a:lnTo>
                    <a:pt x="568" y="1034"/>
                  </a:lnTo>
                  <a:lnTo>
                    <a:pt x="568" y="1034"/>
                  </a:lnTo>
                  <a:lnTo>
                    <a:pt x="569" y="1023"/>
                  </a:lnTo>
                  <a:lnTo>
                    <a:pt x="573" y="1002"/>
                  </a:lnTo>
                  <a:lnTo>
                    <a:pt x="575" y="992"/>
                  </a:lnTo>
                  <a:lnTo>
                    <a:pt x="571" y="982"/>
                  </a:lnTo>
                  <a:lnTo>
                    <a:pt x="569" y="976"/>
                  </a:lnTo>
                  <a:lnTo>
                    <a:pt x="566" y="973"/>
                  </a:lnTo>
                  <a:lnTo>
                    <a:pt x="562" y="969"/>
                  </a:lnTo>
                  <a:lnTo>
                    <a:pt x="555" y="966"/>
                  </a:lnTo>
                  <a:lnTo>
                    <a:pt x="555" y="966"/>
                  </a:lnTo>
                  <a:lnTo>
                    <a:pt x="550" y="962"/>
                  </a:lnTo>
                  <a:lnTo>
                    <a:pt x="545" y="959"/>
                  </a:lnTo>
                  <a:lnTo>
                    <a:pt x="542" y="954"/>
                  </a:lnTo>
                  <a:lnTo>
                    <a:pt x="542" y="948"/>
                  </a:lnTo>
                  <a:lnTo>
                    <a:pt x="542" y="936"/>
                  </a:lnTo>
                  <a:lnTo>
                    <a:pt x="545" y="924"/>
                  </a:lnTo>
                  <a:lnTo>
                    <a:pt x="545" y="924"/>
                  </a:lnTo>
                  <a:lnTo>
                    <a:pt x="545" y="919"/>
                  </a:lnTo>
                  <a:lnTo>
                    <a:pt x="542" y="917"/>
                  </a:lnTo>
                  <a:lnTo>
                    <a:pt x="536" y="915"/>
                  </a:lnTo>
                  <a:lnTo>
                    <a:pt x="529" y="915"/>
                  </a:lnTo>
                  <a:lnTo>
                    <a:pt x="510" y="917"/>
                  </a:lnTo>
                  <a:lnTo>
                    <a:pt x="491" y="917"/>
                  </a:lnTo>
                  <a:lnTo>
                    <a:pt x="491" y="917"/>
                  </a:lnTo>
                  <a:lnTo>
                    <a:pt x="488" y="915"/>
                  </a:lnTo>
                  <a:lnTo>
                    <a:pt x="484" y="912"/>
                  </a:lnTo>
                  <a:lnTo>
                    <a:pt x="482" y="907"/>
                  </a:lnTo>
                  <a:lnTo>
                    <a:pt x="481" y="901"/>
                  </a:lnTo>
                  <a:lnTo>
                    <a:pt x="477" y="886"/>
                  </a:lnTo>
                  <a:lnTo>
                    <a:pt x="475" y="867"/>
                  </a:lnTo>
                  <a:lnTo>
                    <a:pt x="474" y="847"/>
                  </a:lnTo>
                  <a:lnTo>
                    <a:pt x="472" y="830"/>
                  </a:lnTo>
                  <a:lnTo>
                    <a:pt x="467" y="814"/>
                  </a:lnTo>
                  <a:lnTo>
                    <a:pt x="465" y="809"/>
                  </a:lnTo>
                  <a:lnTo>
                    <a:pt x="461" y="804"/>
                  </a:lnTo>
                  <a:lnTo>
                    <a:pt x="461" y="804"/>
                  </a:lnTo>
                  <a:lnTo>
                    <a:pt x="454" y="799"/>
                  </a:lnTo>
                  <a:lnTo>
                    <a:pt x="447" y="797"/>
                  </a:lnTo>
                  <a:lnTo>
                    <a:pt x="442" y="795"/>
                  </a:lnTo>
                  <a:lnTo>
                    <a:pt x="439" y="797"/>
                  </a:lnTo>
                  <a:lnTo>
                    <a:pt x="434" y="797"/>
                  </a:lnTo>
                  <a:lnTo>
                    <a:pt x="430" y="797"/>
                  </a:lnTo>
                  <a:lnTo>
                    <a:pt x="425" y="795"/>
                  </a:lnTo>
                  <a:lnTo>
                    <a:pt x="418" y="790"/>
                  </a:lnTo>
                  <a:lnTo>
                    <a:pt x="418" y="790"/>
                  </a:lnTo>
                  <a:lnTo>
                    <a:pt x="413" y="785"/>
                  </a:lnTo>
                  <a:lnTo>
                    <a:pt x="409" y="783"/>
                  </a:lnTo>
                  <a:lnTo>
                    <a:pt x="406" y="783"/>
                  </a:lnTo>
                  <a:lnTo>
                    <a:pt x="402" y="783"/>
                  </a:lnTo>
                  <a:lnTo>
                    <a:pt x="399" y="781"/>
                  </a:lnTo>
                  <a:lnTo>
                    <a:pt x="394" y="778"/>
                  </a:lnTo>
                  <a:lnTo>
                    <a:pt x="387" y="773"/>
                  </a:lnTo>
                  <a:lnTo>
                    <a:pt x="387" y="773"/>
                  </a:lnTo>
                  <a:lnTo>
                    <a:pt x="378" y="766"/>
                  </a:lnTo>
                  <a:lnTo>
                    <a:pt x="369" y="762"/>
                  </a:lnTo>
                  <a:lnTo>
                    <a:pt x="353" y="757"/>
                  </a:lnTo>
                  <a:lnTo>
                    <a:pt x="338" y="750"/>
                  </a:lnTo>
                  <a:lnTo>
                    <a:pt x="329" y="745"/>
                  </a:lnTo>
                  <a:lnTo>
                    <a:pt x="320" y="736"/>
                  </a:lnTo>
                  <a:lnTo>
                    <a:pt x="320" y="736"/>
                  </a:lnTo>
                  <a:lnTo>
                    <a:pt x="312" y="727"/>
                  </a:lnTo>
                  <a:lnTo>
                    <a:pt x="305" y="717"/>
                  </a:lnTo>
                  <a:lnTo>
                    <a:pt x="299" y="706"/>
                  </a:lnTo>
                  <a:lnTo>
                    <a:pt x="298" y="694"/>
                  </a:lnTo>
                  <a:lnTo>
                    <a:pt x="296" y="684"/>
                  </a:lnTo>
                  <a:lnTo>
                    <a:pt x="298" y="672"/>
                  </a:lnTo>
                  <a:lnTo>
                    <a:pt x="299" y="661"/>
                  </a:lnTo>
                  <a:lnTo>
                    <a:pt x="303" y="649"/>
                  </a:lnTo>
                  <a:lnTo>
                    <a:pt x="303" y="649"/>
                  </a:lnTo>
                  <a:lnTo>
                    <a:pt x="303" y="644"/>
                  </a:lnTo>
                  <a:lnTo>
                    <a:pt x="303" y="640"/>
                  </a:lnTo>
                  <a:lnTo>
                    <a:pt x="301" y="637"/>
                  </a:lnTo>
                  <a:lnTo>
                    <a:pt x="299" y="635"/>
                  </a:lnTo>
                  <a:lnTo>
                    <a:pt x="293" y="633"/>
                  </a:lnTo>
                  <a:lnTo>
                    <a:pt x="282" y="635"/>
                  </a:lnTo>
                  <a:lnTo>
                    <a:pt x="270" y="639"/>
                  </a:lnTo>
                  <a:lnTo>
                    <a:pt x="254" y="646"/>
                  </a:lnTo>
                  <a:lnTo>
                    <a:pt x="240" y="654"/>
                  </a:lnTo>
                  <a:lnTo>
                    <a:pt x="225" y="665"/>
                  </a:lnTo>
                  <a:lnTo>
                    <a:pt x="225" y="665"/>
                  </a:lnTo>
                  <a:lnTo>
                    <a:pt x="204" y="684"/>
                  </a:lnTo>
                  <a:lnTo>
                    <a:pt x="197" y="689"/>
                  </a:lnTo>
                  <a:lnTo>
                    <a:pt x="190" y="694"/>
                  </a:lnTo>
                  <a:lnTo>
                    <a:pt x="185" y="696"/>
                  </a:lnTo>
                  <a:lnTo>
                    <a:pt x="176" y="694"/>
                  </a:lnTo>
                  <a:lnTo>
                    <a:pt x="165" y="693"/>
                  </a:lnTo>
                  <a:lnTo>
                    <a:pt x="151" y="687"/>
                  </a:lnTo>
                  <a:lnTo>
                    <a:pt x="151" y="687"/>
                  </a:lnTo>
                  <a:lnTo>
                    <a:pt x="146" y="687"/>
                  </a:lnTo>
                  <a:lnTo>
                    <a:pt x="141" y="687"/>
                  </a:lnTo>
                  <a:lnTo>
                    <a:pt x="136" y="689"/>
                  </a:lnTo>
                  <a:lnTo>
                    <a:pt x="129" y="693"/>
                  </a:lnTo>
                  <a:lnTo>
                    <a:pt x="125" y="693"/>
                  </a:lnTo>
                  <a:lnTo>
                    <a:pt x="120" y="691"/>
                  </a:lnTo>
                  <a:lnTo>
                    <a:pt x="120" y="691"/>
                  </a:lnTo>
                  <a:lnTo>
                    <a:pt x="118" y="689"/>
                  </a:lnTo>
                  <a:lnTo>
                    <a:pt x="117" y="687"/>
                  </a:lnTo>
                  <a:lnTo>
                    <a:pt x="113" y="677"/>
                  </a:lnTo>
                  <a:lnTo>
                    <a:pt x="113" y="666"/>
                  </a:lnTo>
                  <a:lnTo>
                    <a:pt x="113" y="654"/>
                  </a:lnTo>
                  <a:lnTo>
                    <a:pt x="113" y="635"/>
                  </a:lnTo>
                  <a:lnTo>
                    <a:pt x="111" y="630"/>
                  </a:lnTo>
                  <a:lnTo>
                    <a:pt x="111" y="630"/>
                  </a:lnTo>
                  <a:lnTo>
                    <a:pt x="110" y="632"/>
                  </a:lnTo>
                  <a:lnTo>
                    <a:pt x="110" y="632"/>
                  </a:lnTo>
                  <a:lnTo>
                    <a:pt x="104" y="637"/>
                  </a:lnTo>
                  <a:lnTo>
                    <a:pt x="98" y="644"/>
                  </a:lnTo>
                  <a:lnTo>
                    <a:pt x="89" y="647"/>
                  </a:lnTo>
                  <a:lnTo>
                    <a:pt x="78" y="651"/>
                  </a:lnTo>
                  <a:lnTo>
                    <a:pt x="70" y="652"/>
                  </a:lnTo>
                  <a:lnTo>
                    <a:pt x="63" y="651"/>
                  </a:lnTo>
                  <a:lnTo>
                    <a:pt x="59" y="649"/>
                  </a:lnTo>
                  <a:lnTo>
                    <a:pt x="57" y="647"/>
                  </a:lnTo>
                  <a:lnTo>
                    <a:pt x="56" y="642"/>
                  </a:lnTo>
                  <a:lnTo>
                    <a:pt x="56" y="639"/>
                  </a:lnTo>
                  <a:lnTo>
                    <a:pt x="56" y="639"/>
                  </a:lnTo>
                  <a:lnTo>
                    <a:pt x="54" y="630"/>
                  </a:lnTo>
                  <a:lnTo>
                    <a:pt x="50" y="625"/>
                  </a:lnTo>
                  <a:lnTo>
                    <a:pt x="45" y="623"/>
                  </a:lnTo>
                  <a:lnTo>
                    <a:pt x="40" y="623"/>
                  </a:lnTo>
                  <a:lnTo>
                    <a:pt x="35" y="623"/>
                  </a:lnTo>
                  <a:lnTo>
                    <a:pt x="30" y="621"/>
                  </a:lnTo>
                  <a:lnTo>
                    <a:pt x="28" y="618"/>
                  </a:lnTo>
                  <a:lnTo>
                    <a:pt x="28" y="612"/>
                  </a:lnTo>
                  <a:lnTo>
                    <a:pt x="28" y="612"/>
                  </a:lnTo>
                  <a:lnTo>
                    <a:pt x="28" y="609"/>
                  </a:lnTo>
                  <a:lnTo>
                    <a:pt x="28" y="604"/>
                  </a:lnTo>
                  <a:lnTo>
                    <a:pt x="23" y="593"/>
                  </a:lnTo>
                  <a:lnTo>
                    <a:pt x="9" y="565"/>
                  </a:lnTo>
                  <a:lnTo>
                    <a:pt x="3" y="550"/>
                  </a:lnTo>
                  <a:lnTo>
                    <a:pt x="2" y="543"/>
                  </a:lnTo>
                  <a:lnTo>
                    <a:pt x="0" y="536"/>
                  </a:lnTo>
                  <a:lnTo>
                    <a:pt x="2" y="527"/>
                  </a:lnTo>
                  <a:lnTo>
                    <a:pt x="3" y="520"/>
                  </a:lnTo>
                  <a:lnTo>
                    <a:pt x="9" y="515"/>
                  </a:lnTo>
                  <a:lnTo>
                    <a:pt x="14" y="508"/>
                  </a:lnTo>
                  <a:lnTo>
                    <a:pt x="14" y="508"/>
                  </a:lnTo>
                  <a:lnTo>
                    <a:pt x="21" y="501"/>
                  </a:lnTo>
                  <a:lnTo>
                    <a:pt x="24" y="492"/>
                  </a:lnTo>
                  <a:lnTo>
                    <a:pt x="28" y="484"/>
                  </a:lnTo>
                  <a:lnTo>
                    <a:pt x="30" y="473"/>
                  </a:lnTo>
                  <a:lnTo>
                    <a:pt x="31" y="463"/>
                  </a:lnTo>
                  <a:lnTo>
                    <a:pt x="35" y="452"/>
                  </a:lnTo>
                  <a:lnTo>
                    <a:pt x="40" y="444"/>
                  </a:lnTo>
                  <a:lnTo>
                    <a:pt x="49" y="433"/>
                  </a:lnTo>
                  <a:lnTo>
                    <a:pt x="49" y="433"/>
                  </a:lnTo>
                  <a:lnTo>
                    <a:pt x="57" y="426"/>
                  </a:lnTo>
                  <a:lnTo>
                    <a:pt x="66" y="421"/>
                  </a:lnTo>
                  <a:lnTo>
                    <a:pt x="78" y="416"/>
                  </a:lnTo>
                  <a:lnTo>
                    <a:pt x="91" y="412"/>
                  </a:lnTo>
                  <a:lnTo>
                    <a:pt x="98" y="409"/>
                  </a:lnTo>
                  <a:lnTo>
                    <a:pt x="106" y="402"/>
                  </a:lnTo>
                  <a:lnTo>
                    <a:pt x="106" y="402"/>
                  </a:lnTo>
                  <a:lnTo>
                    <a:pt x="115" y="397"/>
                  </a:lnTo>
                  <a:lnTo>
                    <a:pt x="120" y="397"/>
                  </a:lnTo>
                  <a:lnTo>
                    <a:pt x="124" y="397"/>
                  </a:lnTo>
                  <a:lnTo>
                    <a:pt x="125" y="400"/>
                  </a:lnTo>
                  <a:lnTo>
                    <a:pt x="127" y="402"/>
                  </a:lnTo>
                  <a:lnTo>
                    <a:pt x="131" y="404"/>
                  </a:lnTo>
                  <a:lnTo>
                    <a:pt x="134" y="404"/>
                  </a:lnTo>
                  <a:lnTo>
                    <a:pt x="139" y="402"/>
                  </a:lnTo>
                  <a:lnTo>
                    <a:pt x="139" y="402"/>
                  </a:lnTo>
                  <a:lnTo>
                    <a:pt x="141" y="384"/>
                  </a:lnTo>
                  <a:lnTo>
                    <a:pt x="146" y="355"/>
                  </a:lnTo>
                  <a:lnTo>
                    <a:pt x="151" y="323"/>
                  </a:lnTo>
                  <a:lnTo>
                    <a:pt x="155" y="296"/>
                  </a:lnTo>
                  <a:lnTo>
                    <a:pt x="155" y="296"/>
                  </a:lnTo>
                  <a:lnTo>
                    <a:pt x="157" y="287"/>
                  </a:lnTo>
                  <a:lnTo>
                    <a:pt x="157" y="280"/>
                  </a:lnTo>
                  <a:lnTo>
                    <a:pt x="155" y="269"/>
                  </a:lnTo>
                  <a:lnTo>
                    <a:pt x="151" y="261"/>
                  </a:lnTo>
                  <a:lnTo>
                    <a:pt x="151" y="257"/>
                  </a:lnTo>
                  <a:lnTo>
                    <a:pt x="151" y="252"/>
                  </a:lnTo>
                  <a:lnTo>
                    <a:pt x="151" y="252"/>
                  </a:lnTo>
                  <a:lnTo>
                    <a:pt x="151" y="247"/>
                  </a:lnTo>
                  <a:lnTo>
                    <a:pt x="151" y="245"/>
                  </a:lnTo>
                  <a:lnTo>
                    <a:pt x="146" y="242"/>
                  </a:lnTo>
                  <a:lnTo>
                    <a:pt x="143" y="238"/>
                  </a:lnTo>
                  <a:lnTo>
                    <a:pt x="139" y="233"/>
                  </a:lnTo>
                  <a:lnTo>
                    <a:pt x="136" y="222"/>
                  </a:lnTo>
                  <a:lnTo>
                    <a:pt x="134" y="207"/>
                  </a:lnTo>
                  <a:lnTo>
                    <a:pt x="134" y="207"/>
                  </a:lnTo>
                  <a:lnTo>
                    <a:pt x="134" y="202"/>
                  </a:lnTo>
                  <a:lnTo>
                    <a:pt x="136" y="200"/>
                  </a:lnTo>
                  <a:lnTo>
                    <a:pt x="138" y="196"/>
                  </a:lnTo>
                  <a:lnTo>
                    <a:pt x="141" y="196"/>
                  </a:lnTo>
                  <a:lnTo>
                    <a:pt x="146" y="195"/>
                  </a:lnTo>
                  <a:lnTo>
                    <a:pt x="151" y="193"/>
                  </a:lnTo>
                  <a:lnTo>
                    <a:pt x="151" y="193"/>
                  </a:lnTo>
                  <a:lnTo>
                    <a:pt x="153" y="193"/>
                  </a:lnTo>
                  <a:lnTo>
                    <a:pt x="157" y="193"/>
                  </a:lnTo>
                  <a:lnTo>
                    <a:pt x="165" y="198"/>
                  </a:lnTo>
                  <a:lnTo>
                    <a:pt x="165" y="198"/>
                  </a:lnTo>
                  <a:lnTo>
                    <a:pt x="165" y="198"/>
                  </a:lnTo>
                  <a:lnTo>
                    <a:pt x="167" y="196"/>
                  </a:lnTo>
                  <a:lnTo>
                    <a:pt x="167" y="189"/>
                  </a:lnTo>
                  <a:lnTo>
                    <a:pt x="164" y="182"/>
                  </a:lnTo>
                  <a:lnTo>
                    <a:pt x="160" y="179"/>
                  </a:lnTo>
                  <a:lnTo>
                    <a:pt x="158" y="179"/>
                  </a:lnTo>
                  <a:lnTo>
                    <a:pt x="158" y="179"/>
                  </a:lnTo>
                  <a:lnTo>
                    <a:pt x="143" y="179"/>
                  </a:lnTo>
                  <a:lnTo>
                    <a:pt x="141" y="149"/>
                  </a:lnTo>
                  <a:lnTo>
                    <a:pt x="200" y="149"/>
                  </a:lnTo>
                  <a:lnTo>
                    <a:pt x="200" y="149"/>
                  </a:lnTo>
                  <a:lnTo>
                    <a:pt x="198" y="144"/>
                  </a:lnTo>
                  <a:lnTo>
                    <a:pt x="198" y="139"/>
                  </a:lnTo>
                  <a:lnTo>
                    <a:pt x="198" y="139"/>
                  </a:lnTo>
                  <a:lnTo>
                    <a:pt x="200" y="139"/>
                  </a:lnTo>
                  <a:lnTo>
                    <a:pt x="205" y="146"/>
                  </a:lnTo>
                  <a:lnTo>
                    <a:pt x="205" y="146"/>
                  </a:lnTo>
                  <a:lnTo>
                    <a:pt x="209" y="149"/>
                  </a:lnTo>
                  <a:lnTo>
                    <a:pt x="211" y="149"/>
                  </a:lnTo>
                  <a:lnTo>
                    <a:pt x="214" y="146"/>
                  </a:lnTo>
                  <a:lnTo>
                    <a:pt x="218" y="142"/>
                  </a:lnTo>
                  <a:lnTo>
                    <a:pt x="221" y="135"/>
                  </a:lnTo>
                  <a:lnTo>
                    <a:pt x="225" y="132"/>
                  </a:lnTo>
                  <a:lnTo>
                    <a:pt x="226" y="132"/>
                  </a:lnTo>
                  <a:lnTo>
                    <a:pt x="226" y="132"/>
                  </a:lnTo>
                  <a:lnTo>
                    <a:pt x="233" y="142"/>
                  </a:lnTo>
                  <a:lnTo>
                    <a:pt x="237" y="151"/>
                  </a:lnTo>
                  <a:lnTo>
                    <a:pt x="239" y="158"/>
                  </a:lnTo>
                  <a:lnTo>
                    <a:pt x="239" y="165"/>
                  </a:lnTo>
                  <a:lnTo>
                    <a:pt x="239" y="170"/>
                  </a:lnTo>
                  <a:lnTo>
                    <a:pt x="239" y="174"/>
                  </a:lnTo>
                  <a:lnTo>
                    <a:pt x="242" y="174"/>
                  </a:lnTo>
                  <a:lnTo>
                    <a:pt x="247" y="172"/>
                  </a:lnTo>
                  <a:lnTo>
                    <a:pt x="247" y="172"/>
                  </a:lnTo>
                  <a:lnTo>
                    <a:pt x="251" y="179"/>
                  </a:lnTo>
                  <a:lnTo>
                    <a:pt x="256" y="184"/>
                  </a:lnTo>
                  <a:lnTo>
                    <a:pt x="261" y="186"/>
                  </a:lnTo>
                  <a:lnTo>
                    <a:pt x="268" y="188"/>
                  </a:lnTo>
                  <a:lnTo>
                    <a:pt x="279" y="189"/>
                  </a:lnTo>
                  <a:lnTo>
                    <a:pt x="291" y="193"/>
                  </a:lnTo>
                  <a:lnTo>
                    <a:pt x="291" y="193"/>
                  </a:lnTo>
                  <a:lnTo>
                    <a:pt x="296" y="193"/>
                  </a:lnTo>
                  <a:lnTo>
                    <a:pt x="299" y="191"/>
                  </a:lnTo>
                  <a:lnTo>
                    <a:pt x="303" y="188"/>
                  </a:lnTo>
                  <a:lnTo>
                    <a:pt x="306" y="184"/>
                  </a:lnTo>
                  <a:lnTo>
                    <a:pt x="310" y="179"/>
                  </a:lnTo>
                  <a:lnTo>
                    <a:pt x="315" y="174"/>
                  </a:lnTo>
                  <a:lnTo>
                    <a:pt x="322" y="168"/>
                  </a:lnTo>
                  <a:lnTo>
                    <a:pt x="331" y="167"/>
                  </a:lnTo>
                  <a:lnTo>
                    <a:pt x="331" y="167"/>
                  </a:lnTo>
                  <a:lnTo>
                    <a:pt x="340" y="163"/>
                  </a:lnTo>
                  <a:lnTo>
                    <a:pt x="343" y="160"/>
                  </a:lnTo>
                  <a:lnTo>
                    <a:pt x="345" y="156"/>
                  </a:lnTo>
                  <a:lnTo>
                    <a:pt x="346" y="153"/>
                  </a:lnTo>
                  <a:lnTo>
                    <a:pt x="348" y="144"/>
                  </a:lnTo>
                  <a:lnTo>
                    <a:pt x="350" y="141"/>
                  </a:lnTo>
                  <a:lnTo>
                    <a:pt x="357" y="135"/>
                  </a:lnTo>
                  <a:lnTo>
                    <a:pt x="357" y="135"/>
                  </a:lnTo>
                  <a:lnTo>
                    <a:pt x="362" y="132"/>
                  </a:lnTo>
                  <a:lnTo>
                    <a:pt x="367" y="128"/>
                  </a:lnTo>
                  <a:lnTo>
                    <a:pt x="369" y="125"/>
                  </a:lnTo>
                  <a:lnTo>
                    <a:pt x="369" y="121"/>
                  </a:lnTo>
                  <a:lnTo>
                    <a:pt x="369" y="118"/>
                  </a:lnTo>
                  <a:lnTo>
                    <a:pt x="366" y="118"/>
                  </a:lnTo>
                  <a:lnTo>
                    <a:pt x="362" y="116"/>
                  </a:lnTo>
                  <a:lnTo>
                    <a:pt x="357" y="118"/>
                  </a:lnTo>
                  <a:lnTo>
                    <a:pt x="357" y="118"/>
                  </a:lnTo>
                  <a:lnTo>
                    <a:pt x="353" y="118"/>
                  </a:lnTo>
                  <a:lnTo>
                    <a:pt x="352" y="118"/>
                  </a:lnTo>
                  <a:lnTo>
                    <a:pt x="348" y="113"/>
                  </a:lnTo>
                  <a:lnTo>
                    <a:pt x="345" y="106"/>
                  </a:lnTo>
                  <a:lnTo>
                    <a:pt x="341" y="95"/>
                  </a:lnTo>
                  <a:lnTo>
                    <a:pt x="336" y="74"/>
                  </a:lnTo>
                  <a:lnTo>
                    <a:pt x="333" y="64"/>
                  </a:lnTo>
                  <a:lnTo>
                    <a:pt x="327" y="55"/>
                  </a:lnTo>
                  <a:lnTo>
                    <a:pt x="327" y="55"/>
                  </a:lnTo>
                  <a:lnTo>
                    <a:pt x="324" y="50"/>
                  </a:lnTo>
                  <a:lnTo>
                    <a:pt x="324" y="48"/>
                  </a:lnTo>
                  <a:lnTo>
                    <a:pt x="326" y="48"/>
                  </a:lnTo>
                  <a:lnTo>
                    <a:pt x="331" y="47"/>
                  </a:lnTo>
                  <a:lnTo>
                    <a:pt x="338" y="48"/>
                  </a:lnTo>
                  <a:lnTo>
                    <a:pt x="357" y="55"/>
                  </a:lnTo>
                  <a:lnTo>
                    <a:pt x="380" y="66"/>
                  </a:lnTo>
                  <a:lnTo>
                    <a:pt x="380" y="66"/>
                  </a:lnTo>
                  <a:lnTo>
                    <a:pt x="387" y="69"/>
                  </a:lnTo>
                  <a:lnTo>
                    <a:pt x="392" y="69"/>
                  </a:lnTo>
                  <a:lnTo>
                    <a:pt x="394" y="66"/>
                  </a:lnTo>
                  <a:lnTo>
                    <a:pt x="394" y="61"/>
                  </a:lnTo>
                  <a:lnTo>
                    <a:pt x="394" y="55"/>
                  </a:lnTo>
                  <a:lnTo>
                    <a:pt x="395" y="52"/>
                  </a:lnTo>
                  <a:lnTo>
                    <a:pt x="397" y="48"/>
                  </a:lnTo>
                  <a:lnTo>
                    <a:pt x="402" y="47"/>
                  </a:lnTo>
                  <a:lnTo>
                    <a:pt x="402" y="47"/>
                  </a:lnTo>
                  <a:lnTo>
                    <a:pt x="411" y="47"/>
                  </a:lnTo>
                  <a:lnTo>
                    <a:pt x="421" y="45"/>
                  </a:lnTo>
                  <a:lnTo>
                    <a:pt x="434" y="41"/>
                  </a:lnTo>
                  <a:lnTo>
                    <a:pt x="444" y="36"/>
                  </a:lnTo>
                  <a:lnTo>
                    <a:pt x="454" y="29"/>
                  </a:lnTo>
                  <a:lnTo>
                    <a:pt x="461" y="20"/>
                  </a:lnTo>
                  <a:lnTo>
                    <a:pt x="463" y="17"/>
                  </a:lnTo>
                  <a:lnTo>
                    <a:pt x="463" y="12"/>
                  </a:lnTo>
                  <a:lnTo>
                    <a:pt x="463" y="8"/>
                  </a:lnTo>
                  <a:lnTo>
                    <a:pt x="463" y="3"/>
                  </a:lnTo>
                  <a:lnTo>
                    <a:pt x="463" y="3"/>
                  </a:lnTo>
                  <a:lnTo>
                    <a:pt x="468" y="3"/>
                  </a:lnTo>
                  <a:lnTo>
                    <a:pt x="477" y="1"/>
                  </a:lnTo>
                  <a:lnTo>
                    <a:pt x="477" y="1"/>
                  </a:lnTo>
                  <a:lnTo>
                    <a:pt x="481" y="0"/>
                  </a:lnTo>
                  <a:lnTo>
                    <a:pt x="482" y="1"/>
                  </a:lnTo>
                  <a:lnTo>
                    <a:pt x="486" y="3"/>
                  </a:lnTo>
                  <a:lnTo>
                    <a:pt x="488" y="5"/>
                  </a:lnTo>
                  <a:lnTo>
                    <a:pt x="489" y="10"/>
                  </a:lnTo>
                  <a:lnTo>
                    <a:pt x="489" y="14"/>
                  </a:lnTo>
                  <a:lnTo>
                    <a:pt x="488" y="19"/>
                  </a:lnTo>
                  <a:lnTo>
                    <a:pt x="486" y="24"/>
                  </a:lnTo>
                  <a:lnTo>
                    <a:pt x="486" y="24"/>
                  </a:lnTo>
                  <a:lnTo>
                    <a:pt x="484" y="29"/>
                  </a:lnTo>
                  <a:lnTo>
                    <a:pt x="486" y="33"/>
                  </a:lnTo>
                  <a:lnTo>
                    <a:pt x="495" y="40"/>
                  </a:lnTo>
                  <a:lnTo>
                    <a:pt x="498" y="41"/>
                  </a:lnTo>
                  <a:lnTo>
                    <a:pt x="501" y="47"/>
                  </a:lnTo>
                  <a:lnTo>
                    <a:pt x="501" y="54"/>
                  </a:lnTo>
                  <a:lnTo>
                    <a:pt x="500" y="62"/>
                  </a:lnTo>
                  <a:lnTo>
                    <a:pt x="500" y="62"/>
                  </a:lnTo>
                  <a:lnTo>
                    <a:pt x="495" y="76"/>
                  </a:lnTo>
                  <a:lnTo>
                    <a:pt x="489" y="104"/>
                  </a:lnTo>
                  <a:lnTo>
                    <a:pt x="489" y="104"/>
                  </a:lnTo>
                  <a:lnTo>
                    <a:pt x="488" y="113"/>
                  </a:lnTo>
                  <a:lnTo>
                    <a:pt x="488" y="118"/>
                  </a:lnTo>
                  <a:lnTo>
                    <a:pt x="489" y="121"/>
                  </a:lnTo>
                  <a:lnTo>
                    <a:pt x="491" y="123"/>
                  </a:lnTo>
                  <a:lnTo>
                    <a:pt x="495" y="127"/>
                  </a:lnTo>
                  <a:lnTo>
                    <a:pt x="496" y="132"/>
                  </a:lnTo>
                  <a:lnTo>
                    <a:pt x="496" y="139"/>
                  </a:lnTo>
                  <a:lnTo>
                    <a:pt x="496" y="139"/>
                  </a:lnTo>
                  <a:lnTo>
                    <a:pt x="498" y="146"/>
                  </a:lnTo>
                  <a:lnTo>
                    <a:pt x="501" y="151"/>
                  </a:lnTo>
                  <a:lnTo>
                    <a:pt x="505" y="158"/>
                  </a:lnTo>
                  <a:lnTo>
                    <a:pt x="512" y="163"/>
                  </a:lnTo>
                  <a:lnTo>
                    <a:pt x="517" y="167"/>
                  </a:lnTo>
                  <a:lnTo>
                    <a:pt x="524" y="170"/>
                  </a:lnTo>
                  <a:lnTo>
                    <a:pt x="529" y="172"/>
                  </a:lnTo>
                  <a:lnTo>
                    <a:pt x="535" y="170"/>
                  </a:lnTo>
                  <a:lnTo>
                    <a:pt x="535" y="170"/>
                  </a:lnTo>
                  <a:lnTo>
                    <a:pt x="538" y="168"/>
                  </a:lnTo>
                  <a:lnTo>
                    <a:pt x="540" y="167"/>
                  </a:lnTo>
                  <a:lnTo>
                    <a:pt x="542" y="162"/>
                  </a:lnTo>
                  <a:lnTo>
                    <a:pt x="545" y="160"/>
                  </a:lnTo>
                  <a:lnTo>
                    <a:pt x="547" y="158"/>
                  </a:lnTo>
                  <a:lnTo>
                    <a:pt x="552" y="160"/>
                  </a:lnTo>
                  <a:lnTo>
                    <a:pt x="552" y="160"/>
                  </a:lnTo>
                  <a:lnTo>
                    <a:pt x="557" y="160"/>
                  </a:lnTo>
                  <a:lnTo>
                    <a:pt x="561" y="158"/>
                  </a:lnTo>
                  <a:lnTo>
                    <a:pt x="569" y="151"/>
                  </a:lnTo>
                  <a:lnTo>
                    <a:pt x="576" y="144"/>
                  </a:lnTo>
                  <a:lnTo>
                    <a:pt x="580" y="142"/>
                  </a:lnTo>
                  <a:lnTo>
                    <a:pt x="585" y="139"/>
                  </a:lnTo>
                  <a:lnTo>
                    <a:pt x="585" y="139"/>
                  </a:lnTo>
                  <a:lnTo>
                    <a:pt x="590" y="139"/>
                  </a:lnTo>
                  <a:lnTo>
                    <a:pt x="594" y="141"/>
                  </a:lnTo>
                  <a:lnTo>
                    <a:pt x="601" y="142"/>
                  </a:lnTo>
                  <a:lnTo>
                    <a:pt x="611" y="141"/>
                  </a:lnTo>
                  <a:lnTo>
                    <a:pt x="611" y="141"/>
                  </a:lnTo>
                  <a:lnTo>
                    <a:pt x="618" y="142"/>
                  </a:lnTo>
                  <a:lnTo>
                    <a:pt x="627" y="146"/>
                  </a:lnTo>
                  <a:lnTo>
                    <a:pt x="630" y="146"/>
                  </a:lnTo>
                  <a:lnTo>
                    <a:pt x="632" y="144"/>
                  </a:lnTo>
                  <a:lnTo>
                    <a:pt x="632" y="142"/>
                  </a:lnTo>
                  <a:lnTo>
                    <a:pt x="630" y="137"/>
                  </a:lnTo>
                  <a:lnTo>
                    <a:pt x="630" y="137"/>
                  </a:lnTo>
                  <a:lnTo>
                    <a:pt x="627" y="128"/>
                  </a:lnTo>
                  <a:lnTo>
                    <a:pt x="627" y="121"/>
                  </a:lnTo>
                  <a:lnTo>
                    <a:pt x="627" y="120"/>
                  </a:lnTo>
                  <a:lnTo>
                    <a:pt x="629" y="120"/>
                  </a:lnTo>
                  <a:lnTo>
                    <a:pt x="632" y="120"/>
                  </a:lnTo>
                  <a:lnTo>
                    <a:pt x="636" y="121"/>
                  </a:lnTo>
                  <a:lnTo>
                    <a:pt x="636" y="121"/>
                  </a:lnTo>
                  <a:lnTo>
                    <a:pt x="641" y="123"/>
                  </a:lnTo>
                  <a:lnTo>
                    <a:pt x="646" y="121"/>
                  </a:lnTo>
                  <a:lnTo>
                    <a:pt x="655" y="116"/>
                  </a:lnTo>
                  <a:lnTo>
                    <a:pt x="662" y="113"/>
                  </a:lnTo>
                  <a:lnTo>
                    <a:pt x="663" y="111"/>
                  </a:lnTo>
                  <a:lnTo>
                    <a:pt x="665" y="113"/>
                  </a:lnTo>
                  <a:lnTo>
                    <a:pt x="665" y="113"/>
                  </a:lnTo>
                  <a:lnTo>
                    <a:pt x="667" y="118"/>
                  </a:lnTo>
                  <a:lnTo>
                    <a:pt x="670" y="120"/>
                  </a:lnTo>
                  <a:lnTo>
                    <a:pt x="674" y="121"/>
                  </a:lnTo>
                  <a:lnTo>
                    <a:pt x="677" y="125"/>
                  </a:lnTo>
                  <a:lnTo>
                    <a:pt x="677" y="125"/>
                  </a:lnTo>
                  <a:lnTo>
                    <a:pt x="684" y="130"/>
                  </a:lnTo>
                  <a:lnTo>
                    <a:pt x="690" y="134"/>
                  </a:lnTo>
                  <a:lnTo>
                    <a:pt x="695" y="132"/>
                  </a:lnTo>
                  <a:lnTo>
                    <a:pt x="700" y="128"/>
                  </a:lnTo>
                  <a:lnTo>
                    <a:pt x="700" y="128"/>
                  </a:lnTo>
                  <a:lnTo>
                    <a:pt x="702" y="125"/>
                  </a:lnTo>
                  <a:lnTo>
                    <a:pt x="705" y="123"/>
                  </a:lnTo>
                  <a:lnTo>
                    <a:pt x="707" y="125"/>
                  </a:lnTo>
                  <a:lnTo>
                    <a:pt x="709" y="125"/>
                  </a:lnTo>
                  <a:lnTo>
                    <a:pt x="712" y="128"/>
                  </a:lnTo>
                  <a:lnTo>
                    <a:pt x="714" y="128"/>
                  </a:lnTo>
                  <a:lnTo>
                    <a:pt x="717" y="127"/>
                  </a:lnTo>
                  <a:lnTo>
                    <a:pt x="717" y="127"/>
                  </a:lnTo>
                  <a:lnTo>
                    <a:pt x="719" y="125"/>
                  </a:lnTo>
                  <a:lnTo>
                    <a:pt x="721" y="123"/>
                  </a:lnTo>
                  <a:lnTo>
                    <a:pt x="723" y="127"/>
                  </a:lnTo>
                  <a:lnTo>
                    <a:pt x="726" y="130"/>
                  </a:lnTo>
                  <a:lnTo>
                    <a:pt x="730" y="130"/>
                  </a:lnTo>
                  <a:lnTo>
                    <a:pt x="735" y="130"/>
                  </a:lnTo>
                  <a:lnTo>
                    <a:pt x="735" y="130"/>
                  </a:lnTo>
                  <a:lnTo>
                    <a:pt x="740" y="128"/>
                  </a:lnTo>
                  <a:lnTo>
                    <a:pt x="743" y="125"/>
                  </a:lnTo>
                  <a:lnTo>
                    <a:pt x="749" y="111"/>
                  </a:lnTo>
                  <a:lnTo>
                    <a:pt x="756" y="95"/>
                  </a:lnTo>
                  <a:lnTo>
                    <a:pt x="761" y="81"/>
                  </a:lnTo>
                  <a:lnTo>
                    <a:pt x="761" y="81"/>
                  </a:lnTo>
                  <a:lnTo>
                    <a:pt x="778" y="52"/>
                  </a:lnTo>
                  <a:lnTo>
                    <a:pt x="778" y="52"/>
                  </a:lnTo>
                  <a:lnTo>
                    <a:pt x="784" y="47"/>
                  </a:lnTo>
                  <a:lnTo>
                    <a:pt x="784" y="41"/>
                  </a:lnTo>
                  <a:lnTo>
                    <a:pt x="784" y="40"/>
                  </a:lnTo>
                  <a:lnTo>
                    <a:pt x="785" y="38"/>
                  </a:lnTo>
                  <a:lnTo>
                    <a:pt x="785" y="38"/>
                  </a:lnTo>
                  <a:lnTo>
                    <a:pt x="787" y="38"/>
                  </a:lnTo>
                  <a:lnTo>
                    <a:pt x="791" y="41"/>
                  </a:lnTo>
                  <a:lnTo>
                    <a:pt x="796" y="54"/>
                  </a:lnTo>
                  <a:lnTo>
                    <a:pt x="796" y="54"/>
                  </a:lnTo>
                  <a:lnTo>
                    <a:pt x="797" y="57"/>
                  </a:lnTo>
                  <a:lnTo>
                    <a:pt x="799" y="59"/>
                  </a:lnTo>
                  <a:lnTo>
                    <a:pt x="801" y="59"/>
                  </a:lnTo>
                  <a:lnTo>
                    <a:pt x="801" y="64"/>
                  </a:lnTo>
                  <a:lnTo>
                    <a:pt x="801" y="64"/>
                  </a:lnTo>
                  <a:lnTo>
                    <a:pt x="803" y="83"/>
                  </a:lnTo>
                  <a:lnTo>
                    <a:pt x="804" y="101"/>
                  </a:lnTo>
                  <a:lnTo>
                    <a:pt x="804" y="101"/>
                  </a:lnTo>
                  <a:lnTo>
                    <a:pt x="808" y="108"/>
                  </a:lnTo>
                  <a:lnTo>
                    <a:pt x="808" y="111"/>
                  </a:lnTo>
                  <a:lnTo>
                    <a:pt x="808" y="115"/>
                  </a:lnTo>
                  <a:lnTo>
                    <a:pt x="808" y="115"/>
                  </a:lnTo>
                  <a:lnTo>
                    <a:pt x="810" y="118"/>
                  </a:lnTo>
                  <a:lnTo>
                    <a:pt x="811" y="120"/>
                  </a:lnTo>
                  <a:lnTo>
                    <a:pt x="813" y="123"/>
                  </a:lnTo>
                  <a:lnTo>
                    <a:pt x="815" y="127"/>
                  </a:lnTo>
                  <a:lnTo>
                    <a:pt x="815" y="127"/>
                  </a:lnTo>
                  <a:lnTo>
                    <a:pt x="815" y="130"/>
                  </a:lnTo>
                  <a:lnTo>
                    <a:pt x="815" y="132"/>
                  </a:lnTo>
                  <a:lnTo>
                    <a:pt x="817" y="134"/>
                  </a:lnTo>
                  <a:lnTo>
                    <a:pt x="818" y="139"/>
                  </a:lnTo>
                  <a:lnTo>
                    <a:pt x="818" y="139"/>
                  </a:lnTo>
                  <a:lnTo>
                    <a:pt x="818" y="142"/>
                  </a:lnTo>
                  <a:lnTo>
                    <a:pt x="820" y="146"/>
                  </a:lnTo>
                  <a:lnTo>
                    <a:pt x="824" y="148"/>
                  </a:lnTo>
                  <a:lnTo>
                    <a:pt x="831" y="148"/>
                  </a:lnTo>
                  <a:lnTo>
                    <a:pt x="831" y="148"/>
                  </a:lnTo>
                  <a:lnTo>
                    <a:pt x="834" y="148"/>
                  </a:lnTo>
                  <a:lnTo>
                    <a:pt x="838" y="151"/>
                  </a:lnTo>
                  <a:lnTo>
                    <a:pt x="841" y="156"/>
                  </a:lnTo>
                  <a:lnTo>
                    <a:pt x="843" y="163"/>
                  </a:lnTo>
                  <a:lnTo>
                    <a:pt x="843" y="168"/>
                  </a:lnTo>
                  <a:lnTo>
                    <a:pt x="843" y="174"/>
                  </a:lnTo>
                  <a:lnTo>
                    <a:pt x="841" y="179"/>
                  </a:lnTo>
                  <a:lnTo>
                    <a:pt x="838" y="181"/>
                  </a:lnTo>
                  <a:lnTo>
                    <a:pt x="838" y="181"/>
                  </a:lnTo>
                  <a:lnTo>
                    <a:pt x="832" y="184"/>
                  </a:lnTo>
                  <a:lnTo>
                    <a:pt x="829" y="189"/>
                  </a:lnTo>
                  <a:lnTo>
                    <a:pt x="820" y="202"/>
                  </a:lnTo>
                  <a:lnTo>
                    <a:pt x="811" y="215"/>
                  </a:lnTo>
                  <a:lnTo>
                    <a:pt x="806" y="221"/>
                  </a:lnTo>
                  <a:lnTo>
                    <a:pt x="799" y="224"/>
                  </a:lnTo>
                  <a:lnTo>
                    <a:pt x="799" y="224"/>
                  </a:lnTo>
                  <a:lnTo>
                    <a:pt x="794" y="228"/>
                  </a:lnTo>
                  <a:lnTo>
                    <a:pt x="791" y="229"/>
                  </a:lnTo>
                  <a:lnTo>
                    <a:pt x="789" y="233"/>
                  </a:lnTo>
                  <a:lnTo>
                    <a:pt x="789" y="236"/>
                  </a:lnTo>
                  <a:lnTo>
                    <a:pt x="787" y="242"/>
                  </a:lnTo>
                  <a:lnTo>
                    <a:pt x="787" y="247"/>
                  </a:lnTo>
                  <a:lnTo>
                    <a:pt x="785" y="250"/>
                  </a:lnTo>
                  <a:lnTo>
                    <a:pt x="785" y="250"/>
                  </a:lnTo>
                  <a:lnTo>
                    <a:pt x="784" y="254"/>
                  </a:lnTo>
                  <a:lnTo>
                    <a:pt x="784" y="254"/>
                  </a:lnTo>
                  <a:lnTo>
                    <a:pt x="791" y="250"/>
                  </a:lnTo>
                  <a:lnTo>
                    <a:pt x="794" y="250"/>
                  </a:lnTo>
                  <a:lnTo>
                    <a:pt x="797" y="252"/>
                  </a:lnTo>
                  <a:lnTo>
                    <a:pt x="799" y="256"/>
                  </a:lnTo>
                  <a:lnTo>
                    <a:pt x="797" y="262"/>
                  </a:lnTo>
                  <a:lnTo>
                    <a:pt x="797" y="262"/>
                  </a:lnTo>
                  <a:lnTo>
                    <a:pt x="796" y="269"/>
                  </a:lnTo>
                  <a:lnTo>
                    <a:pt x="796" y="271"/>
                  </a:lnTo>
                  <a:lnTo>
                    <a:pt x="801" y="268"/>
                  </a:lnTo>
                  <a:lnTo>
                    <a:pt x="803" y="266"/>
                  </a:lnTo>
                  <a:lnTo>
                    <a:pt x="806" y="264"/>
                  </a:lnTo>
                  <a:lnTo>
                    <a:pt x="810" y="264"/>
                  </a:lnTo>
                  <a:lnTo>
                    <a:pt x="811" y="269"/>
                  </a:lnTo>
                  <a:lnTo>
                    <a:pt x="811" y="269"/>
                  </a:lnTo>
                  <a:lnTo>
                    <a:pt x="811" y="275"/>
                  </a:lnTo>
                  <a:lnTo>
                    <a:pt x="811" y="271"/>
                  </a:lnTo>
                  <a:lnTo>
                    <a:pt x="810" y="264"/>
                  </a:lnTo>
                  <a:lnTo>
                    <a:pt x="810" y="254"/>
                  </a:lnTo>
                  <a:lnTo>
                    <a:pt x="811" y="243"/>
                  </a:lnTo>
                  <a:lnTo>
                    <a:pt x="815" y="235"/>
                  </a:lnTo>
                  <a:lnTo>
                    <a:pt x="818" y="231"/>
                  </a:lnTo>
                  <a:lnTo>
                    <a:pt x="824" y="229"/>
                  </a:lnTo>
                  <a:lnTo>
                    <a:pt x="827" y="228"/>
                  </a:lnTo>
                  <a:lnTo>
                    <a:pt x="834" y="229"/>
                  </a:lnTo>
                  <a:lnTo>
                    <a:pt x="834" y="229"/>
                  </a:lnTo>
                  <a:lnTo>
                    <a:pt x="853" y="231"/>
                  </a:lnTo>
                  <a:lnTo>
                    <a:pt x="862" y="231"/>
                  </a:lnTo>
                  <a:lnTo>
                    <a:pt x="869" y="229"/>
                  </a:lnTo>
                  <a:lnTo>
                    <a:pt x="885" y="235"/>
                  </a:lnTo>
                  <a:lnTo>
                    <a:pt x="885" y="235"/>
                  </a:lnTo>
                  <a:lnTo>
                    <a:pt x="893" y="238"/>
                  </a:lnTo>
                  <a:lnTo>
                    <a:pt x="895" y="240"/>
                  </a:lnTo>
                  <a:lnTo>
                    <a:pt x="895" y="243"/>
                  </a:lnTo>
                  <a:lnTo>
                    <a:pt x="895" y="249"/>
                  </a:lnTo>
                  <a:lnTo>
                    <a:pt x="891" y="256"/>
                  </a:lnTo>
                  <a:lnTo>
                    <a:pt x="885" y="268"/>
                  </a:lnTo>
                  <a:lnTo>
                    <a:pt x="881" y="275"/>
                  </a:lnTo>
                  <a:lnTo>
                    <a:pt x="883" y="282"/>
                  </a:lnTo>
                  <a:lnTo>
                    <a:pt x="883" y="282"/>
                  </a:lnTo>
                  <a:lnTo>
                    <a:pt x="885" y="285"/>
                  </a:lnTo>
                  <a:lnTo>
                    <a:pt x="888" y="285"/>
                  </a:lnTo>
                  <a:lnTo>
                    <a:pt x="895" y="273"/>
                  </a:lnTo>
                  <a:lnTo>
                    <a:pt x="900" y="264"/>
                  </a:lnTo>
                  <a:lnTo>
                    <a:pt x="907" y="257"/>
                  </a:lnTo>
                  <a:lnTo>
                    <a:pt x="916" y="252"/>
                  </a:lnTo>
                  <a:lnTo>
                    <a:pt x="921" y="252"/>
                  </a:lnTo>
                  <a:lnTo>
                    <a:pt x="926" y="250"/>
                  </a:lnTo>
                  <a:lnTo>
                    <a:pt x="926" y="250"/>
                  </a:lnTo>
                  <a:lnTo>
                    <a:pt x="944" y="254"/>
                  </a:lnTo>
                  <a:lnTo>
                    <a:pt x="952" y="257"/>
                  </a:lnTo>
                  <a:lnTo>
                    <a:pt x="959" y="261"/>
                  </a:lnTo>
                  <a:lnTo>
                    <a:pt x="968" y="261"/>
                  </a:lnTo>
                  <a:lnTo>
                    <a:pt x="968" y="261"/>
                  </a:lnTo>
                  <a:lnTo>
                    <a:pt x="973" y="262"/>
                  </a:lnTo>
                  <a:lnTo>
                    <a:pt x="977" y="264"/>
                  </a:lnTo>
                  <a:lnTo>
                    <a:pt x="984" y="269"/>
                  </a:lnTo>
                  <a:lnTo>
                    <a:pt x="992" y="276"/>
                  </a:lnTo>
                  <a:lnTo>
                    <a:pt x="999" y="280"/>
                  </a:lnTo>
                  <a:lnTo>
                    <a:pt x="1008" y="283"/>
                  </a:lnTo>
                  <a:lnTo>
                    <a:pt x="1008" y="283"/>
                  </a:lnTo>
                  <a:lnTo>
                    <a:pt x="1015" y="285"/>
                  </a:lnTo>
                  <a:lnTo>
                    <a:pt x="1022" y="289"/>
                  </a:lnTo>
                  <a:lnTo>
                    <a:pt x="1026" y="292"/>
                  </a:lnTo>
                  <a:lnTo>
                    <a:pt x="1027" y="296"/>
                  </a:lnTo>
                  <a:lnTo>
                    <a:pt x="1031" y="304"/>
                  </a:lnTo>
                  <a:lnTo>
                    <a:pt x="1033" y="308"/>
                  </a:lnTo>
                  <a:lnTo>
                    <a:pt x="1034" y="313"/>
                  </a:lnTo>
                  <a:lnTo>
                    <a:pt x="1034" y="313"/>
                  </a:lnTo>
                  <a:lnTo>
                    <a:pt x="1036" y="316"/>
                  </a:lnTo>
                  <a:lnTo>
                    <a:pt x="1036" y="320"/>
                  </a:lnTo>
                  <a:lnTo>
                    <a:pt x="1033" y="330"/>
                  </a:lnTo>
                  <a:lnTo>
                    <a:pt x="1029" y="343"/>
                  </a:lnTo>
                  <a:lnTo>
                    <a:pt x="1027" y="348"/>
                  </a:lnTo>
                  <a:lnTo>
                    <a:pt x="1029" y="351"/>
                  </a:lnTo>
                  <a:lnTo>
                    <a:pt x="1029" y="351"/>
                  </a:lnTo>
                  <a:lnTo>
                    <a:pt x="1031" y="351"/>
                  </a:lnTo>
                  <a:lnTo>
                    <a:pt x="1033" y="351"/>
                  </a:lnTo>
                  <a:lnTo>
                    <a:pt x="1036" y="350"/>
                  </a:lnTo>
                  <a:lnTo>
                    <a:pt x="1046" y="337"/>
                  </a:lnTo>
                  <a:lnTo>
                    <a:pt x="1053" y="332"/>
                  </a:lnTo>
                  <a:lnTo>
                    <a:pt x="1062" y="327"/>
                  </a:lnTo>
                  <a:lnTo>
                    <a:pt x="1069" y="323"/>
                  </a:lnTo>
                  <a:lnTo>
                    <a:pt x="1073" y="323"/>
                  </a:lnTo>
                  <a:lnTo>
                    <a:pt x="1078" y="325"/>
                  </a:lnTo>
                  <a:lnTo>
                    <a:pt x="1078" y="325"/>
                  </a:lnTo>
                  <a:lnTo>
                    <a:pt x="1095" y="332"/>
                  </a:lnTo>
                  <a:lnTo>
                    <a:pt x="1114" y="339"/>
                  </a:lnTo>
                  <a:lnTo>
                    <a:pt x="1125" y="341"/>
                  </a:lnTo>
                  <a:lnTo>
                    <a:pt x="1137" y="343"/>
                  </a:lnTo>
                  <a:lnTo>
                    <a:pt x="1149" y="343"/>
                  </a:lnTo>
                  <a:lnTo>
                    <a:pt x="1161" y="341"/>
                  </a:lnTo>
                  <a:lnTo>
                    <a:pt x="1161" y="341"/>
                  </a:lnTo>
                  <a:lnTo>
                    <a:pt x="1175" y="339"/>
                  </a:lnTo>
                  <a:lnTo>
                    <a:pt x="1186" y="341"/>
                  </a:lnTo>
                  <a:lnTo>
                    <a:pt x="1194" y="343"/>
                  </a:lnTo>
                  <a:lnTo>
                    <a:pt x="1203" y="346"/>
                  </a:lnTo>
                  <a:lnTo>
                    <a:pt x="1210" y="353"/>
                  </a:lnTo>
                  <a:lnTo>
                    <a:pt x="1219" y="358"/>
                  </a:lnTo>
                  <a:lnTo>
                    <a:pt x="1236" y="374"/>
                  </a:lnTo>
                  <a:lnTo>
                    <a:pt x="1236" y="374"/>
                  </a:lnTo>
                  <a:lnTo>
                    <a:pt x="1245" y="383"/>
                  </a:lnTo>
                  <a:lnTo>
                    <a:pt x="1250" y="390"/>
                  </a:lnTo>
                  <a:lnTo>
                    <a:pt x="1255" y="400"/>
                  </a:lnTo>
                  <a:lnTo>
                    <a:pt x="1259" y="405"/>
                  </a:lnTo>
                  <a:lnTo>
                    <a:pt x="1264" y="410"/>
                  </a:lnTo>
                  <a:lnTo>
                    <a:pt x="1273" y="417"/>
                  </a:lnTo>
                  <a:lnTo>
                    <a:pt x="1285" y="426"/>
                  </a:lnTo>
                  <a:lnTo>
                    <a:pt x="1285" y="426"/>
                  </a:lnTo>
                  <a:lnTo>
                    <a:pt x="1299" y="433"/>
                  </a:lnTo>
                  <a:lnTo>
                    <a:pt x="1308" y="437"/>
                  </a:lnTo>
                  <a:lnTo>
                    <a:pt x="1316" y="437"/>
                  </a:lnTo>
                  <a:lnTo>
                    <a:pt x="1323" y="437"/>
                  </a:lnTo>
                  <a:lnTo>
                    <a:pt x="1329" y="435"/>
                  </a:lnTo>
                  <a:lnTo>
                    <a:pt x="1334" y="435"/>
                  </a:lnTo>
                  <a:lnTo>
                    <a:pt x="1339" y="438"/>
                  </a:lnTo>
                  <a:lnTo>
                    <a:pt x="1346" y="444"/>
                  </a:lnTo>
                  <a:lnTo>
                    <a:pt x="1346" y="444"/>
                  </a:lnTo>
                  <a:lnTo>
                    <a:pt x="1353" y="451"/>
                  </a:lnTo>
                  <a:lnTo>
                    <a:pt x="1358" y="459"/>
                  </a:lnTo>
                  <a:lnTo>
                    <a:pt x="1362" y="468"/>
                  </a:lnTo>
                  <a:lnTo>
                    <a:pt x="1365" y="478"/>
                  </a:lnTo>
                  <a:lnTo>
                    <a:pt x="1369" y="501"/>
                  </a:lnTo>
                  <a:lnTo>
                    <a:pt x="1372" y="529"/>
                  </a:lnTo>
                  <a:lnTo>
                    <a:pt x="1372" y="529"/>
                  </a:lnTo>
                  <a:lnTo>
                    <a:pt x="1372" y="543"/>
                  </a:lnTo>
                  <a:lnTo>
                    <a:pt x="1372" y="555"/>
                  </a:lnTo>
                  <a:lnTo>
                    <a:pt x="1370" y="567"/>
                  </a:lnTo>
                  <a:lnTo>
                    <a:pt x="1367" y="579"/>
                  </a:lnTo>
                  <a:lnTo>
                    <a:pt x="1360" y="592"/>
                  </a:lnTo>
                  <a:lnTo>
                    <a:pt x="1353" y="605"/>
                  </a:lnTo>
                  <a:lnTo>
                    <a:pt x="1336" y="639"/>
                  </a:lnTo>
                  <a:lnTo>
                    <a:pt x="1336" y="639"/>
                  </a:lnTo>
                  <a:lnTo>
                    <a:pt x="1325" y="654"/>
                  </a:lnTo>
                  <a:lnTo>
                    <a:pt x="1316" y="665"/>
                  </a:lnTo>
                  <a:lnTo>
                    <a:pt x="1302" y="679"/>
                  </a:lnTo>
                  <a:lnTo>
                    <a:pt x="1297" y="686"/>
                  </a:lnTo>
                  <a:lnTo>
                    <a:pt x="1292" y="693"/>
                  </a:lnTo>
                  <a:lnTo>
                    <a:pt x="1285" y="705"/>
                  </a:lnTo>
                  <a:lnTo>
                    <a:pt x="1278" y="720"/>
                  </a:lnTo>
                  <a:lnTo>
                    <a:pt x="1278" y="720"/>
                  </a:lnTo>
                  <a:lnTo>
                    <a:pt x="1266" y="750"/>
                  </a:lnTo>
                  <a:lnTo>
                    <a:pt x="1261" y="762"/>
                  </a:lnTo>
                  <a:lnTo>
                    <a:pt x="1257" y="769"/>
                  </a:lnTo>
                  <a:lnTo>
                    <a:pt x="1252" y="774"/>
                  </a:lnTo>
                  <a:lnTo>
                    <a:pt x="1248" y="774"/>
                  </a:lnTo>
                  <a:lnTo>
                    <a:pt x="1243" y="771"/>
                  </a:lnTo>
                  <a:lnTo>
                    <a:pt x="1238" y="762"/>
                  </a:lnTo>
                  <a:lnTo>
                    <a:pt x="1238" y="762"/>
                  </a:lnTo>
                  <a:lnTo>
                    <a:pt x="1236" y="759"/>
                  </a:lnTo>
                  <a:lnTo>
                    <a:pt x="1233" y="757"/>
                  </a:lnTo>
                  <a:lnTo>
                    <a:pt x="1231" y="759"/>
                  </a:lnTo>
                  <a:lnTo>
                    <a:pt x="1231" y="760"/>
                  </a:lnTo>
                  <a:lnTo>
                    <a:pt x="1228" y="771"/>
                  </a:lnTo>
                  <a:lnTo>
                    <a:pt x="1226" y="785"/>
                  </a:lnTo>
                  <a:lnTo>
                    <a:pt x="1222" y="847"/>
                  </a:lnTo>
                  <a:lnTo>
                    <a:pt x="1222" y="847"/>
                  </a:lnTo>
                  <a:lnTo>
                    <a:pt x="1222" y="858"/>
                  </a:lnTo>
                  <a:lnTo>
                    <a:pt x="1222" y="865"/>
                  </a:lnTo>
                  <a:lnTo>
                    <a:pt x="1226" y="879"/>
                  </a:lnTo>
                  <a:lnTo>
                    <a:pt x="1228" y="888"/>
                  </a:lnTo>
                  <a:lnTo>
                    <a:pt x="1229" y="896"/>
                  </a:lnTo>
                  <a:lnTo>
                    <a:pt x="1228" y="907"/>
                  </a:lnTo>
                  <a:lnTo>
                    <a:pt x="1226" y="917"/>
                  </a:lnTo>
                  <a:lnTo>
                    <a:pt x="1226" y="917"/>
                  </a:lnTo>
                  <a:lnTo>
                    <a:pt x="1222" y="931"/>
                  </a:lnTo>
                  <a:lnTo>
                    <a:pt x="1221" y="943"/>
                  </a:lnTo>
                  <a:lnTo>
                    <a:pt x="1221" y="968"/>
                  </a:lnTo>
                  <a:lnTo>
                    <a:pt x="1221" y="976"/>
                  </a:lnTo>
                  <a:lnTo>
                    <a:pt x="1219" y="985"/>
                  </a:lnTo>
                  <a:lnTo>
                    <a:pt x="1215" y="992"/>
                  </a:lnTo>
                  <a:lnTo>
                    <a:pt x="1210" y="997"/>
                  </a:lnTo>
                  <a:lnTo>
                    <a:pt x="1210" y="997"/>
                  </a:lnTo>
                  <a:lnTo>
                    <a:pt x="1205" y="1001"/>
                  </a:lnTo>
                  <a:lnTo>
                    <a:pt x="1203" y="1008"/>
                  </a:lnTo>
                  <a:lnTo>
                    <a:pt x="1201" y="1015"/>
                  </a:lnTo>
                  <a:lnTo>
                    <a:pt x="1203" y="1023"/>
                  </a:lnTo>
                  <a:lnTo>
                    <a:pt x="1203" y="1034"/>
                  </a:lnTo>
                  <a:lnTo>
                    <a:pt x="1201" y="1044"/>
                  </a:lnTo>
                  <a:lnTo>
                    <a:pt x="1198" y="1058"/>
                  </a:lnTo>
                  <a:lnTo>
                    <a:pt x="1193" y="1072"/>
                  </a:lnTo>
                  <a:lnTo>
                    <a:pt x="1193" y="1072"/>
                  </a:lnTo>
                  <a:lnTo>
                    <a:pt x="1177" y="1098"/>
                  </a:lnTo>
                  <a:lnTo>
                    <a:pt x="1163" y="1119"/>
                  </a:lnTo>
                  <a:lnTo>
                    <a:pt x="1158" y="1128"/>
                  </a:lnTo>
                  <a:lnTo>
                    <a:pt x="1154" y="1135"/>
                  </a:lnTo>
                  <a:lnTo>
                    <a:pt x="1153" y="1143"/>
                  </a:lnTo>
                  <a:lnTo>
                    <a:pt x="1154" y="1152"/>
                  </a:lnTo>
                  <a:lnTo>
                    <a:pt x="1154" y="1152"/>
                  </a:lnTo>
                  <a:lnTo>
                    <a:pt x="1156" y="1156"/>
                  </a:lnTo>
                  <a:lnTo>
                    <a:pt x="1156" y="1159"/>
                  </a:lnTo>
                  <a:lnTo>
                    <a:pt x="1153" y="1166"/>
                  </a:lnTo>
                  <a:lnTo>
                    <a:pt x="1147" y="1173"/>
                  </a:lnTo>
                  <a:lnTo>
                    <a:pt x="1140" y="1178"/>
                  </a:lnTo>
                  <a:lnTo>
                    <a:pt x="1128" y="1189"/>
                  </a:lnTo>
                  <a:lnTo>
                    <a:pt x="1125" y="1194"/>
                  </a:lnTo>
                  <a:lnTo>
                    <a:pt x="1125" y="1197"/>
                  </a:lnTo>
                  <a:lnTo>
                    <a:pt x="1125" y="1201"/>
                  </a:lnTo>
                  <a:lnTo>
                    <a:pt x="1125" y="1201"/>
                  </a:lnTo>
                  <a:lnTo>
                    <a:pt x="1127" y="1204"/>
                  </a:lnTo>
                  <a:lnTo>
                    <a:pt x="1125" y="1208"/>
                  </a:lnTo>
                  <a:lnTo>
                    <a:pt x="1120" y="1210"/>
                  </a:lnTo>
                  <a:lnTo>
                    <a:pt x="1113" y="1210"/>
                  </a:lnTo>
                  <a:lnTo>
                    <a:pt x="1095" y="1210"/>
                  </a:lnTo>
                  <a:lnTo>
                    <a:pt x="1085" y="1210"/>
                  </a:lnTo>
                  <a:lnTo>
                    <a:pt x="1074" y="1211"/>
                  </a:lnTo>
                  <a:lnTo>
                    <a:pt x="1074" y="1211"/>
                  </a:lnTo>
                  <a:lnTo>
                    <a:pt x="1064" y="1213"/>
                  </a:lnTo>
                  <a:lnTo>
                    <a:pt x="1059" y="1213"/>
                  </a:lnTo>
                  <a:lnTo>
                    <a:pt x="1055" y="1213"/>
                  </a:lnTo>
                  <a:lnTo>
                    <a:pt x="1052" y="1211"/>
                  </a:lnTo>
                  <a:lnTo>
                    <a:pt x="1048" y="1210"/>
                  </a:lnTo>
                  <a:lnTo>
                    <a:pt x="1045" y="1210"/>
                  </a:lnTo>
                  <a:lnTo>
                    <a:pt x="1038" y="1211"/>
                  </a:lnTo>
                  <a:lnTo>
                    <a:pt x="1038" y="1211"/>
                  </a:lnTo>
                  <a:lnTo>
                    <a:pt x="1031" y="1215"/>
                  </a:lnTo>
                  <a:lnTo>
                    <a:pt x="1026" y="1218"/>
                  </a:lnTo>
                  <a:lnTo>
                    <a:pt x="1013" y="1231"/>
                  </a:lnTo>
                  <a:lnTo>
                    <a:pt x="1005" y="1239"/>
                  </a:lnTo>
                  <a:lnTo>
                    <a:pt x="994" y="1246"/>
                  </a:lnTo>
                  <a:lnTo>
                    <a:pt x="979" y="1255"/>
                  </a:lnTo>
                  <a:lnTo>
                    <a:pt x="958" y="1265"/>
                  </a:lnTo>
                  <a:lnTo>
                    <a:pt x="958" y="1265"/>
                  </a:lnTo>
                  <a:lnTo>
                    <a:pt x="949" y="1271"/>
                  </a:lnTo>
                  <a:lnTo>
                    <a:pt x="939" y="1276"/>
                  </a:lnTo>
                  <a:lnTo>
                    <a:pt x="928" y="1285"/>
                  </a:lnTo>
                  <a:lnTo>
                    <a:pt x="918" y="1295"/>
                  </a:lnTo>
                  <a:lnTo>
                    <a:pt x="907" y="1305"/>
                  </a:lnTo>
                  <a:lnTo>
                    <a:pt x="900" y="1318"/>
                  </a:lnTo>
                  <a:lnTo>
                    <a:pt x="895" y="1332"/>
                  </a:lnTo>
                  <a:lnTo>
                    <a:pt x="891" y="1345"/>
                  </a:lnTo>
                  <a:lnTo>
                    <a:pt x="891" y="1345"/>
                  </a:lnTo>
                  <a:lnTo>
                    <a:pt x="891" y="1359"/>
                  </a:lnTo>
                  <a:lnTo>
                    <a:pt x="891" y="1373"/>
                  </a:lnTo>
                  <a:lnTo>
                    <a:pt x="893" y="1399"/>
                  </a:lnTo>
                  <a:lnTo>
                    <a:pt x="893" y="1412"/>
                  </a:lnTo>
                  <a:lnTo>
                    <a:pt x="891" y="1424"/>
                  </a:lnTo>
                  <a:lnTo>
                    <a:pt x="890" y="1436"/>
                  </a:lnTo>
                  <a:lnTo>
                    <a:pt x="885" y="1448"/>
                  </a:lnTo>
                  <a:lnTo>
                    <a:pt x="885" y="1448"/>
                  </a:lnTo>
                  <a:lnTo>
                    <a:pt x="879" y="1457"/>
                  </a:lnTo>
                  <a:lnTo>
                    <a:pt x="876" y="1462"/>
                  </a:lnTo>
                  <a:lnTo>
                    <a:pt x="869" y="1469"/>
                  </a:lnTo>
                  <a:lnTo>
                    <a:pt x="864" y="1474"/>
                  </a:lnTo>
                  <a:lnTo>
                    <a:pt x="858" y="1480"/>
                  </a:lnTo>
                  <a:lnTo>
                    <a:pt x="853" y="1488"/>
                  </a:lnTo>
                  <a:lnTo>
                    <a:pt x="846" y="1502"/>
                  </a:lnTo>
                  <a:lnTo>
                    <a:pt x="846" y="1502"/>
                  </a:lnTo>
                  <a:lnTo>
                    <a:pt x="832" y="1533"/>
                  </a:lnTo>
                  <a:lnTo>
                    <a:pt x="822" y="1560"/>
                  </a:lnTo>
                  <a:lnTo>
                    <a:pt x="810" y="1580"/>
                  </a:lnTo>
                  <a:lnTo>
                    <a:pt x="803" y="1589"/>
                  </a:lnTo>
                  <a:lnTo>
                    <a:pt x="796" y="1598"/>
                  </a:lnTo>
                  <a:lnTo>
                    <a:pt x="796" y="1598"/>
                  </a:lnTo>
                  <a:lnTo>
                    <a:pt x="775" y="1615"/>
                  </a:lnTo>
                  <a:lnTo>
                    <a:pt x="763" y="1626"/>
                  </a:lnTo>
                  <a:lnTo>
                    <a:pt x="759" y="1633"/>
                  </a:lnTo>
                  <a:lnTo>
                    <a:pt x="756" y="1640"/>
                  </a:lnTo>
                  <a:lnTo>
                    <a:pt x="749" y="1661"/>
                  </a:lnTo>
                  <a:lnTo>
                    <a:pt x="749" y="1661"/>
                  </a:lnTo>
                  <a:lnTo>
                    <a:pt x="747" y="1668"/>
                  </a:lnTo>
                  <a:lnTo>
                    <a:pt x="743" y="1671"/>
                  </a:lnTo>
                  <a:lnTo>
                    <a:pt x="735" y="1678"/>
                  </a:lnTo>
                  <a:lnTo>
                    <a:pt x="724" y="1683"/>
                  </a:lnTo>
                  <a:lnTo>
                    <a:pt x="719" y="1687"/>
                  </a:lnTo>
                  <a:lnTo>
                    <a:pt x="716" y="1694"/>
                  </a:lnTo>
                  <a:lnTo>
                    <a:pt x="716" y="1694"/>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 name="Freeform 1686">
              <a:extLst>
                <a:ext uri="{FF2B5EF4-FFF2-40B4-BE49-F238E27FC236}">
                  <a16:creationId xmlns:a16="http://schemas.microsoft.com/office/drawing/2014/main" id="{D909745A-5E82-4F69-B502-02ED31E88EB1}"/>
                </a:ext>
              </a:extLst>
            </p:cNvPr>
            <p:cNvSpPr>
              <a:spLocks/>
            </p:cNvSpPr>
            <p:nvPr/>
          </p:nvSpPr>
          <p:spPr bwMode="auto">
            <a:xfrm>
              <a:off x="3227319" y="4811324"/>
              <a:ext cx="338304" cy="459884"/>
            </a:xfrm>
            <a:custGeom>
              <a:avLst/>
              <a:gdLst/>
              <a:ahLst/>
              <a:cxnLst>
                <a:cxn ang="0">
                  <a:pos x="25" y="61"/>
                </a:cxn>
                <a:cxn ang="0">
                  <a:pos x="53" y="51"/>
                </a:cxn>
                <a:cxn ang="0">
                  <a:pos x="103" y="13"/>
                </a:cxn>
                <a:cxn ang="0">
                  <a:pos x="148" y="2"/>
                </a:cxn>
                <a:cxn ang="0">
                  <a:pos x="152" y="16"/>
                </a:cxn>
                <a:cxn ang="0">
                  <a:pos x="145" y="51"/>
                </a:cxn>
                <a:cxn ang="0">
                  <a:pos x="161" y="94"/>
                </a:cxn>
                <a:cxn ang="0">
                  <a:pos x="187" y="117"/>
                </a:cxn>
                <a:cxn ang="0">
                  <a:pos x="236" y="140"/>
                </a:cxn>
                <a:cxn ang="0">
                  <a:pos x="251" y="150"/>
                </a:cxn>
                <a:cxn ang="0">
                  <a:pos x="267" y="157"/>
                </a:cxn>
                <a:cxn ang="0">
                  <a:pos x="283" y="164"/>
                </a:cxn>
                <a:cxn ang="0">
                  <a:pos x="303" y="166"/>
                </a:cxn>
                <a:cxn ang="0">
                  <a:pos x="316" y="181"/>
                </a:cxn>
                <a:cxn ang="0">
                  <a:pos x="326" y="253"/>
                </a:cxn>
                <a:cxn ang="0">
                  <a:pos x="337" y="282"/>
                </a:cxn>
                <a:cxn ang="0">
                  <a:pos x="378" y="282"/>
                </a:cxn>
                <a:cxn ang="0">
                  <a:pos x="394" y="291"/>
                </a:cxn>
                <a:cxn ang="0">
                  <a:pos x="391" y="321"/>
                </a:cxn>
                <a:cxn ang="0">
                  <a:pos x="404" y="333"/>
                </a:cxn>
                <a:cxn ang="0">
                  <a:pos x="420" y="349"/>
                </a:cxn>
                <a:cxn ang="0">
                  <a:pos x="417" y="401"/>
                </a:cxn>
                <a:cxn ang="0">
                  <a:pos x="411" y="420"/>
                </a:cxn>
                <a:cxn ang="0">
                  <a:pos x="408" y="434"/>
                </a:cxn>
                <a:cxn ang="0">
                  <a:pos x="401" y="453"/>
                </a:cxn>
                <a:cxn ang="0">
                  <a:pos x="399" y="436"/>
                </a:cxn>
                <a:cxn ang="0">
                  <a:pos x="368" y="418"/>
                </a:cxn>
                <a:cxn ang="0">
                  <a:pos x="326" y="420"/>
                </a:cxn>
                <a:cxn ang="0">
                  <a:pos x="281" y="429"/>
                </a:cxn>
                <a:cxn ang="0">
                  <a:pos x="270" y="441"/>
                </a:cxn>
                <a:cxn ang="0">
                  <a:pos x="256" y="484"/>
                </a:cxn>
                <a:cxn ang="0">
                  <a:pos x="243" y="545"/>
                </a:cxn>
                <a:cxn ang="0">
                  <a:pos x="234" y="533"/>
                </a:cxn>
                <a:cxn ang="0">
                  <a:pos x="201" y="533"/>
                </a:cxn>
                <a:cxn ang="0">
                  <a:pos x="185" y="570"/>
                </a:cxn>
                <a:cxn ang="0">
                  <a:pos x="175" y="544"/>
                </a:cxn>
                <a:cxn ang="0">
                  <a:pos x="147" y="540"/>
                </a:cxn>
                <a:cxn ang="0">
                  <a:pos x="129" y="535"/>
                </a:cxn>
                <a:cxn ang="0">
                  <a:pos x="117" y="524"/>
                </a:cxn>
                <a:cxn ang="0">
                  <a:pos x="114" y="531"/>
                </a:cxn>
                <a:cxn ang="0">
                  <a:pos x="107" y="542"/>
                </a:cxn>
                <a:cxn ang="0">
                  <a:pos x="91" y="563"/>
                </a:cxn>
                <a:cxn ang="0">
                  <a:pos x="74" y="573"/>
                </a:cxn>
                <a:cxn ang="0">
                  <a:pos x="60" y="557"/>
                </a:cxn>
                <a:cxn ang="0">
                  <a:pos x="44" y="490"/>
                </a:cxn>
                <a:cxn ang="0">
                  <a:pos x="35" y="483"/>
                </a:cxn>
                <a:cxn ang="0">
                  <a:pos x="35" y="470"/>
                </a:cxn>
                <a:cxn ang="0">
                  <a:pos x="30" y="455"/>
                </a:cxn>
                <a:cxn ang="0">
                  <a:pos x="37" y="443"/>
                </a:cxn>
                <a:cxn ang="0">
                  <a:pos x="32" y="430"/>
                </a:cxn>
                <a:cxn ang="0">
                  <a:pos x="39" y="418"/>
                </a:cxn>
                <a:cxn ang="0">
                  <a:pos x="25" y="401"/>
                </a:cxn>
                <a:cxn ang="0">
                  <a:pos x="16" y="366"/>
                </a:cxn>
                <a:cxn ang="0">
                  <a:pos x="13" y="357"/>
                </a:cxn>
                <a:cxn ang="0">
                  <a:pos x="2" y="335"/>
                </a:cxn>
                <a:cxn ang="0">
                  <a:pos x="20" y="298"/>
                </a:cxn>
                <a:cxn ang="0">
                  <a:pos x="16" y="279"/>
                </a:cxn>
                <a:cxn ang="0">
                  <a:pos x="4" y="267"/>
                </a:cxn>
                <a:cxn ang="0">
                  <a:pos x="11" y="244"/>
                </a:cxn>
                <a:cxn ang="0">
                  <a:pos x="6" y="225"/>
                </a:cxn>
                <a:cxn ang="0">
                  <a:pos x="18" y="204"/>
                </a:cxn>
                <a:cxn ang="0">
                  <a:pos x="23" y="183"/>
                </a:cxn>
                <a:cxn ang="0">
                  <a:pos x="30" y="129"/>
                </a:cxn>
              </a:cxnLst>
              <a:rect l="0" t="0" r="r" b="b"/>
              <a:pathLst>
                <a:path w="424" h="573">
                  <a:moveTo>
                    <a:pt x="0" y="54"/>
                  </a:moveTo>
                  <a:lnTo>
                    <a:pt x="0" y="54"/>
                  </a:lnTo>
                  <a:lnTo>
                    <a:pt x="14" y="60"/>
                  </a:lnTo>
                  <a:lnTo>
                    <a:pt x="25" y="61"/>
                  </a:lnTo>
                  <a:lnTo>
                    <a:pt x="34" y="63"/>
                  </a:lnTo>
                  <a:lnTo>
                    <a:pt x="39" y="61"/>
                  </a:lnTo>
                  <a:lnTo>
                    <a:pt x="46" y="56"/>
                  </a:lnTo>
                  <a:lnTo>
                    <a:pt x="53" y="51"/>
                  </a:lnTo>
                  <a:lnTo>
                    <a:pt x="74" y="32"/>
                  </a:lnTo>
                  <a:lnTo>
                    <a:pt x="74" y="32"/>
                  </a:lnTo>
                  <a:lnTo>
                    <a:pt x="89" y="21"/>
                  </a:lnTo>
                  <a:lnTo>
                    <a:pt x="103" y="13"/>
                  </a:lnTo>
                  <a:lnTo>
                    <a:pt x="119" y="6"/>
                  </a:lnTo>
                  <a:lnTo>
                    <a:pt x="131" y="2"/>
                  </a:lnTo>
                  <a:lnTo>
                    <a:pt x="142" y="0"/>
                  </a:lnTo>
                  <a:lnTo>
                    <a:pt x="148" y="2"/>
                  </a:lnTo>
                  <a:lnTo>
                    <a:pt x="150" y="4"/>
                  </a:lnTo>
                  <a:lnTo>
                    <a:pt x="152" y="7"/>
                  </a:lnTo>
                  <a:lnTo>
                    <a:pt x="152" y="11"/>
                  </a:lnTo>
                  <a:lnTo>
                    <a:pt x="152" y="16"/>
                  </a:lnTo>
                  <a:lnTo>
                    <a:pt x="152" y="16"/>
                  </a:lnTo>
                  <a:lnTo>
                    <a:pt x="148" y="28"/>
                  </a:lnTo>
                  <a:lnTo>
                    <a:pt x="147" y="39"/>
                  </a:lnTo>
                  <a:lnTo>
                    <a:pt x="145" y="51"/>
                  </a:lnTo>
                  <a:lnTo>
                    <a:pt x="147" y="61"/>
                  </a:lnTo>
                  <a:lnTo>
                    <a:pt x="148" y="73"/>
                  </a:lnTo>
                  <a:lnTo>
                    <a:pt x="154" y="84"/>
                  </a:lnTo>
                  <a:lnTo>
                    <a:pt x="161" y="94"/>
                  </a:lnTo>
                  <a:lnTo>
                    <a:pt x="169" y="103"/>
                  </a:lnTo>
                  <a:lnTo>
                    <a:pt x="169" y="103"/>
                  </a:lnTo>
                  <a:lnTo>
                    <a:pt x="178" y="112"/>
                  </a:lnTo>
                  <a:lnTo>
                    <a:pt x="187" y="117"/>
                  </a:lnTo>
                  <a:lnTo>
                    <a:pt x="202" y="124"/>
                  </a:lnTo>
                  <a:lnTo>
                    <a:pt x="218" y="129"/>
                  </a:lnTo>
                  <a:lnTo>
                    <a:pt x="227" y="133"/>
                  </a:lnTo>
                  <a:lnTo>
                    <a:pt x="236" y="140"/>
                  </a:lnTo>
                  <a:lnTo>
                    <a:pt x="236" y="140"/>
                  </a:lnTo>
                  <a:lnTo>
                    <a:pt x="243" y="145"/>
                  </a:lnTo>
                  <a:lnTo>
                    <a:pt x="248" y="148"/>
                  </a:lnTo>
                  <a:lnTo>
                    <a:pt x="251" y="150"/>
                  </a:lnTo>
                  <a:lnTo>
                    <a:pt x="255" y="150"/>
                  </a:lnTo>
                  <a:lnTo>
                    <a:pt x="258" y="150"/>
                  </a:lnTo>
                  <a:lnTo>
                    <a:pt x="262" y="152"/>
                  </a:lnTo>
                  <a:lnTo>
                    <a:pt x="267" y="157"/>
                  </a:lnTo>
                  <a:lnTo>
                    <a:pt x="267" y="157"/>
                  </a:lnTo>
                  <a:lnTo>
                    <a:pt x="274" y="162"/>
                  </a:lnTo>
                  <a:lnTo>
                    <a:pt x="279" y="164"/>
                  </a:lnTo>
                  <a:lnTo>
                    <a:pt x="283" y="164"/>
                  </a:lnTo>
                  <a:lnTo>
                    <a:pt x="288" y="164"/>
                  </a:lnTo>
                  <a:lnTo>
                    <a:pt x="291" y="162"/>
                  </a:lnTo>
                  <a:lnTo>
                    <a:pt x="296" y="164"/>
                  </a:lnTo>
                  <a:lnTo>
                    <a:pt x="303" y="166"/>
                  </a:lnTo>
                  <a:lnTo>
                    <a:pt x="310" y="171"/>
                  </a:lnTo>
                  <a:lnTo>
                    <a:pt x="310" y="171"/>
                  </a:lnTo>
                  <a:lnTo>
                    <a:pt x="314" y="176"/>
                  </a:lnTo>
                  <a:lnTo>
                    <a:pt x="316" y="181"/>
                  </a:lnTo>
                  <a:lnTo>
                    <a:pt x="321" y="197"/>
                  </a:lnTo>
                  <a:lnTo>
                    <a:pt x="323" y="214"/>
                  </a:lnTo>
                  <a:lnTo>
                    <a:pt x="324" y="234"/>
                  </a:lnTo>
                  <a:lnTo>
                    <a:pt x="326" y="253"/>
                  </a:lnTo>
                  <a:lnTo>
                    <a:pt x="330" y="268"/>
                  </a:lnTo>
                  <a:lnTo>
                    <a:pt x="331" y="274"/>
                  </a:lnTo>
                  <a:lnTo>
                    <a:pt x="333" y="279"/>
                  </a:lnTo>
                  <a:lnTo>
                    <a:pt x="337" y="282"/>
                  </a:lnTo>
                  <a:lnTo>
                    <a:pt x="340" y="284"/>
                  </a:lnTo>
                  <a:lnTo>
                    <a:pt x="340" y="284"/>
                  </a:lnTo>
                  <a:lnTo>
                    <a:pt x="359" y="284"/>
                  </a:lnTo>
                  <a:lnTo>
                    <a:pt x="378" y="282"/>
                  </a:lnTo>
                  <a:lnTo>
                    <a:pt x="385" y="282"/>
                  </a:lnTo>
                  <a:lnTo>
                    <a:pt x="391" y="284"/>
                  </a:lnTo>
                  <a:lnTo>
                    <a:pt x="394" y="286"/>
                  </a:lnTo>
                  <a:lnTo>
                    <a:pt x="394" y="291"/>
                  </a:lnTo>
                  <a:lnTo>
                    <a:pt x="394" y="291"/>
                  </a:lnTo>
                  <a:lnTo>
                    <a:pt x="391" y="303"/>
                  </a:lnTo>
                  <a:lnTo>
                    <a:pt x="391" y="315"/>
                  </a:lnTo>
                  <a:lnTo>
                    <a:pt x="391" y="321"/>
                  </a:lnTo>
                  <a:lnTo>
                    <a:pt x="394" y="326"/>
                  </a:lnTo>
                  <a:lnTo>
                    <a:pt x="399" y="329"/>
                  </a:lnTo>
                  <a:lnTo>
                    <a:pt x="404" y="333"/>
                  </a:lnTo>
                  <a:lnTo>
                    <a:pt x="404" y="333"/>
                  </a:lnTo>
                  <a:lnTo>
                    <a:pt x="411" y="336"/>
                  </a:lnTo>
                  <a:lnTo>
                    <a:pt x="415" y="340"/>
                  </a:lnTo>
                  <a:lnTo>
                    <a:pt x="418" y="343"/>
                  </a:lnTo>
                  <a:lnTo>
                    <a:pt x="420" y="349"/>
                  </a:lnTo>
                  <a:lnTo>
                    <a:pt x="424" y="359"/>
                  </a:lnTo>
                  <a:lnTo>
                    <a:pt x="422" y="369"/>
                  </a:lnTo>
                  <a:lnTo>
                    <a:pt x="418" y="390"/>
                  </a:lnTo>
                  <a:lnTo>
                    <a:pt x="417" y="401"/>
                  </a:lnTo>
                  <a:lnTo>
                    <a:pt x="417" y="401"/>
                  </a:lnTo>
                  <a:lnTo>
                    <a:pt x="417" y="406"/>
                  </a:lnTo>
                  <a:lnTo>
                    <a:pt x="415" y="411"/>
                  </a:lnTo>
                  <a:lnTo>
                    <a:pt x="411" y="420"/>
                  </a:lnTo>
                  <a:lnTo>
                    <a:pt x="408" y="427"/>
                  </a:lnTo>
                  <a:lnTo>
                    <a:pt x="406" y="430"/>
                  </a:lnTo>
                  <a:lnTo>
                    <a:pt x="408" y="434"/>
                  </a:lnTo>
                  <a:lnTo>
                    <a:pt x="408" y="434"/>
                  </a:lnTo>
                  <a:lnTo>
                    <a:pt x="410" y="441"/>
                  </a:lnTo>
                  <a:lnTo>
                    <a:pt x="410" y="444"/>
                  </a:lnTo>
                  <a:lnTo>
                    <a:pt x="406" y="448"/>
                  </a:lnTo>
                  <a:lnTo>
                    <a:pt x="401" y="453"/>
                  </a:lnTo>
                  <a:lnTo>
                    <a:pt x="401" y="453"/>
                  </a:lnTo>
                  <a:lnTo>
                    <a:pt x="401" y="444"/>
                  </a:lnTo>
                  <a:lnTo>
                    <a:pt x="401" y="441"/>
                  </a:lnTo>
                  <a:lnTo>
                    <a:pt x="399" y="436"/>
                  </a:lnTo>
                  <a:lnTo>
                    <a:pt x="391" y="430"/>
                  </a:lnTo>
                  <a:lnTo>
                    <a:pt x="391" y="430"/>
                  </a:lnTo>
                  <a:lnTo>
                    <a:pt x="378" y="423"/>
                  </a:lnTo>
                  <a:lnTo>
                    <a:pt x="368" y="418"/>
                  </a:lnTo>
                  <a:lnTo>
                    <a:pt x="361" y="416"/>
                  </a:lnTo>
                  <a:lnTo>
                    <a:pt x="350" y="416"/>
                  </a:lnTo>
                  <a:lnTo>
                    <a:pt x="340" y="416"/>
                  </a:lnTo>
                  <a:lnTo>
                    <a:pt x="326" y="420"/>
                  </a:lnTo>
                  <a:lnTo>
                    <a:pt x="326" y="420"/>
                  </a:lnTo>
                  <a:lnTo>
                    <a:pt x="302" y="423"/>
                  </a:lnTo>
                  <a:lnTo>
                    <a:pt x="286" y="427"/>
                  </a:lnTo>
                  <a:lnTo>
                    <a:pt x="281" y="429"/>
                  </a:lnTo>
                  <a:lnTo>
                    <a:pt x="277" y="430"/>
                  </a:lnTo>
                  <a:lnTo>
                    <a:pt x="274" y="436"/>
                  </a:lnTo>
                  <a:lnTo>
                    <a:pt x="270" y="441"/>
                  </a:lnTo>
                  <a:lnTo>
                    <a:pt x="270" y="441"/>
                  </a:lnTo>
                  <a:lnTo>
                    <a:pt x="262" y="462"/>
                  </a:lnTo>
                  <a:lnTo>
                    <a:pt x="258" y="470"/>
                  </a:lnTo>
                  <a:lnTo>
                    <a:pt x="256" y="484"/>
                  </a:lnTo>
                  <a:lnTo>
                    <a:pt x="256" y="484"/>
                  </a:lnTo>
                  <a:lnTo>
                    <a:pt x="255" y="502"/>
                  </a:lnTo>
                  <a:lnTo>
                    <a:pt x="251" y="517"/>
                  </a:lnTo>
                  <a:lnTo>
                    <a:pt x="246" y="533"/>
                  </a:lnTo>
                  <a:lnTo>
                    <a:pt x="243" y="545"/>
                  </a:lnTo>
                  <a:lnTo>
                    <a:pt x="243" y="545"/>
                  </a:lnTo>
                  <a:lnTo>
                    <a:pt x="239" y="537"/>
                  </a:lnTo>
                  <a:lnTo>
                    <a:pt x="237" y="535"/>
                  </a:lnTo>
                  <a:lnTo>
                    <a:pt x="234" y="533"/>
                  </a:lnTo>
                  <a:lnTo>
                    <a:pt x="234" y="533"/>
                  </a:lnTo>
                  <a:lnTo>
                    <a:pt x="204" y="533"/>
                  </a:lnTo>
                  <a:lnTo>
                    <a:pt x="204" y="533"/>
                  </a:lnTo>
                  <a:lnTo>
                    <a:pt x="201" y="533"/>
                  </a:lnTo>
                  <a:lnTo>
                    <a:pt x="199" y="535"/>
                  </a:lnTo>
                  <a:lnTo>
                    <a:pt x="194" y="542"/>
                  </a:lnTo>
                  <a:lnTo>
                    <a:pt x="189" y="552"/>
                  </a:lnTo>
                  <a:lnTo>
                    <a:pt x="185" y="570"/>
                  </a:lnTo>
                  <a:lnTo>
                    <a:pt x="185" y="570"/>
                  </a:lnTo>
                  <a:lnTo>
                    <a:pt x="182" y="557"/>
                  </a:lnTo>
                  <a:lnTo>
                    <a:pt x="178" y="551"/>
                  </a:lnTo>
                  <a:lnTo>
                    <a:pt x="175" y="544"/>
                  </a:lnTo>
                  <a:lnTo>
                    <a:pt x="169" y="540"/>
                  </a:lnTo>
                  <a:lnTo>
                    <a:pt x="166" y="538"/>
                  </a:lnTo>
                  <a:lnTo>
                    <a:pt x="159" y="538"/>
                  </a:lnTo>
                  <a:lnTo>
                    <a:pt x="147" y="540"/>
                  </a:lnTo>
                  <a:lnTo>
                    <a:pt x="147" y="540"/>
                  </a:lnTo>
                  <a:lnTo>
                    <a:pt x="140" y="540"/>
                  </a:lnTo>
                  <a:lnTo>
                    <a:pt x="135" y="538"/>
                  </a:lnTo>
                  <a:lnTo>
                    <a:pt x="129" y="535"/>
                  </a:lnTo>
                  <a:lnTo>
                    <a:pt x="128" y="531"/>
                  </a:lnTo>
                  <a:lnTo>
                    <a:pt x="122" y="526"/>
                  </a:lnTo>
                  <a:lnTo>
                    <a:pt x="119" y="524"/>
                  </a:lnTo>
                  <a:lnTo>
                    <a:pt x="117" y="524"/>
                  </a:lnTo>
                  <a:lnTo>
                    <a:pt x="117" y="524"/>
                  </a:lnTo>
                  <a:lnTo>
                    <a:pt x="115" y="524"/>
                  </a:lnTo>
                  <a:lnTo>
                    <a:pt x="115" y="526"/>
                  </a:lnTo>
                  <a:lnTo>
                    <a:pt x="114" y="531"/>
                  </a:lnTo>
                  <a:lnTo>
                    <a:pt x="112" y="537"/>
                  </a:lnTo>
                  <a:lnTo>
                    <a:pt x="110" y="538"/>
                  </a:lnTo>
                  <a:lnTo>
                    <a:pt x="107" y="542"/>
                  </a:lnTo>
                  <a:lnTo>
                    <a:pt x="107" y="542"/>
                  </a:lnTo>
                  <a:lnTo>
                    <a:pt x="101" y="544"/>
                  </a:lnTo>
                  <a:lnTo>
                    <a:pt x="100" y="547"/>
                  </a:lnTo>
                  <a:lnTo>
                    <a:pt x="95" y="554"/>
                  </a:lnTo>
                  <a:lnTo>
                    <a:pt x="91" y="563"/>
                  </a:lnTo>
                  <a:lnTo>
                    <a:pt x="88" y="566"/>
                  </a:lnTo>
                  <a:lnTo>
                    <a:pt x="82" y="570"/>
                  </a:lnTo>
                  <a:lnTo>
                    <a:pt x="82" y="570"/>
                  </a:lnTo>
                  <a:lnTo>
                    <a:pt x="74" y="573"/>
                  </a:lnTo>
                  <a:lnTo>
                    <a:pt x="67" y="573"/>
                  </a:lnTo>
                  <a:lnTo>
                    <a:pt x="63" y="571"/>
                  </a:lnTo>
                  <a:lnTo>
                    <a:pt x="61" y="568"/>
                  </a:lnTo>
                  <a:lnTo>
                    <a:pt x="60" y="557"/>
                  </a:lnTo>
                  <a:lnTo>
                    <a:pt x="60" y="557"/>
                  </a:lnTo>
                  <a:lnTo>
                    <a:pt x="51" y="512"/>
                  </a:lnTo>
                  <a:lnTo>
                    <a:pt x="46" y="495"/>
                  </a:lnTo>
                  <a:lnTo>
                    <a:pt x="44" y="490"/>
                  </a:lnTo>
                  <a:lnTo>
                    <a:pt x="41" y="486"/>
                  </a:lnTo>
                  <a:lnTo>
                    <a:pt x="41" y="486"/>
                  </a:lnTo>
                  <a:lnTo>
                    <a:pt x="37" y="486"/>
                  </a:lnTo>
                  <a:lnTo>
                    <a:pt x="35" y="483"/>
                  </a:lnTo>
                  <a:lnTo>
                    <a:pt x="37" y="479"/>
                  </a:lnTo>
                  <a:lnTo>
                    <a:pt x="37" y="474"/>
                  </a:lnTo>
                  <a:lnTo>
                    <a:pt x="37" y="472"/>
                  </a:lnTo>
                  <a:lnTo>
                    <a:pt x="35" y="470"/>
                  </a:lnTo>
                  <a:lnTo>
                    <a:pt x="35" y="470"/>
                  </a:lnTo>
                  <a:lnTo>
                    <a:pt x="30" y="467"/>
                  </a:lnTo>
                  <a:lnTo>
                    <a:pt x="28" y="462"/>
                  </a:lnTo>
                  <a:lnTo>
                    <a:pt x="30" y="455"/>
                  </a:lnTo>
                  <a:lnTo>
                    <a:pt x="35" y="448"/>
                  </a:lnTo>
                  <a:lnTo>
                    <a:pt x="35" y="448"/>
                  </a:lnTo>
                  <a:lnTo>
                    <a:pt x="37" y="444"/>
                  </a:lnTo>
                  <a:lnTo>
                    <a:pt x="37" y="443"/>
                  </a:lnTo>
                  <a:lnTo>
                    <a:pt x="34" y="437"/>
                  </a:lnTo>
                  <a:lnTo>
                    <a:pt x="32" y="436"/>
                  </a:lnTo>
                  <a:lnTo>
                    <a:pt x="32" y="434"/>
                  </a:lnTo>
                  <a:lnTo>
                    <a:pt x="32" y="430"/>
                  </a:lnTo>
                  <a:lnTo>
                    <a:pt x="35" y="427"/>
                  </a:lnTo>
                  <a:lnTo>
                    <a:pt x="35" y="427"/>
                  </a:lnTo>
                  <a:lnTo>
                    <a:pt x="37" y="422"/>
                  </a:lnTo>
                  <a:lnTo>
                    <a:pt x="39" y="418"/>
                  </a:lnTo>
                  <a:lnTo>
                    <a:pt x="35" y="415"/>
                  </a:lnTo>
                  <a:lnTo>
                    <a:pt x="28" y="410"/>
                  </a:lnTo>
                  <a:lnTo>
                    <a:pt x="28" y="410"/>
                  </a:lnTo>
                  <a:lnTo>
                    <a:pt x="25" y="401"/>
                  </a:lnTo>
                  <a:lnTo>
                    <a:pt x="20" y="389"/>
                  </a:lnTo>
                  <a:lnTo>
                    <a:pt x="16" y="375"/>
                  </a:lnTo>
                  <a:lnTo>
                    <a:pt x="16" y="369"/>
                  </a:lnTo>
                  <a:lnTo>
                    <a:pt x="16" y="366"/>
                  </a:lnTo>
                  <a:lnTo>
                    <a:pt x="16" y="366"/>
                  </a:lnTo>
                  <a:lnTo>
                    <a:pt x="16" y="362"/>
                  </a:lnTo>
                  <a:lnTo>
                    <a:pt x="16" y="361"/>
                  </a:lnTo>
                  <a:lnTo>
                    <a:pt x="13" y="357"/>
                  </a:lnTo>
                  <a:lnTo>
                    <a:pt x="7" y="350"/>
                  </a:lnTo>
                  <a:lnTo>
                    <a:pt x="4" y="343"/>
                  </a:lnTo>
                  <a:lnTo>
                    <a:pt x="2" y="335"/>
                  </a:lnTo>
                  <a:lnTo>
                    <a:pt x="2" y="335"/>
                  </a:lnTo>
                  <a:lnTo>
                    <a:pt x="4" y="329"/>
                  </a:lnTo>
                  <a:lnTo>
                    <a:pt x="7" y="322"/>
                  </a:lnTo>
                  <a:lnTo>
                    <a:pt x="16" y="307"/>
                  </a:lnTo>
                  <a:lnTo>
                    <a:pt x="20" y="298"/>
                  </a:lnTo>
                  <a:lnTo>
                    <a:pt x="20" y="289"/>
                  </a:lnTo>
                  <a:lnTo>
                    <a:pt x="20" y="286"/>
                  </a:lnTo>
                  <a:lnTo>
                    <a:pt x="18" y="282"/>
                  </a:lnTo>
                  <a:lnTo>
                    <a:pt x="16" y="279"/>
                  </a:lnTo>
                  <a:lnTo>
                    <a:pt x="11" y="277"/>
                  </a:lnTo>
                  <a:lnTo>
                    <a:pt x="11" y="277"/>
                  </a:lnTo>
                  <a:lnTo>
                    <a:pt x="6" y="272"/>
                  </a:lnTo>
                  <a:lnTo>
                    <a:pt x="4" y="267"/>
                  </a:lnTo>
                  <a:lnTo>
                    <a:pt x="4" y="262"/>
                  </a:lnTo>
                  <a:lnTo>
                    <a:pt x="6" y="256"/>
                  </a:lnTo>
                  <a:lnTo>
                    <a:pt x="9" y="249"/>
                  </a:lnTo>
                  <a:lnTo>
                    <a:pt x="11" y="244"/>
                  </a:lnTo>
                  <a:lnTo>
                    <a:pt x="11" y="237"/>
                  </a:lnTo>
                  <a:lnTo>
                    <a:pt x="9" y="230"/>
                  </a:lnTo>
                  <a:lnTo>
                    <a:pt x="9" y="230"/>
                  </a:lnTo>
                  <a:lnTo>
                    <a:pt x="6" y="225"/>
                  </a:lnTo>
                  <a:lnTo>
                    <a:pt x="6" y="220"/>
                  </a:lnTo>
                  <a:lnTo>
                    <a:pt x="9" y="214"/>
                  </a:lnTo>
                  <a:lnTo>
                    <a:pt x="13" y="209"/>
                  </a:lnTo>
                  <a:lnTo>
                    <a:pt x="18" y="204"/>
                  </a:lnTo>
                  <a:lnTo>
                    <a:pt x="21" y="199"/>
                  </a:lnTo>
                  <a:lnTo>
                    <a:pt x="23" y="192"/>
                  </a:lnTo>
                  <a:lnTo>
                    <a:pt x="23" y="183"/>
                  </a:lnTo>
                  <a:lnTo>
                    <a:pt x="23" y="183"/>
                  </a:lnTo>
                  <a:lnTo>
                    <a:pt x="21" y="173"/>
                  </a:lnTo>
                  <a:lnTo>
                    <a:pt x="21" y="162"/>
                  </a:lnTo>
                  <a:lnTo>
                    <a:pt x="25" y="143"/>
                  </a:lnTo>
                  <a:lnTo>
                    <a:pt x="30" y="129"/>
                  </a:lnTo>
                  <a:lnTo>
                    <a:pt x="32" y="124"/>
                  </a:lnTo>
                  <a:lnTo>
                    <a:pt x="0" y="5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 name="Freeform 1687">
              <a:extLst>
                <a:ext uri="{FF2B5EF4-FFF2-40B4-BE49-F238E27FC236}">
                  <a16:creationId xmlns:a16="http://schemas.microsoft.com/office/drawing/2014/main" id="{683FDFCF-3769-4736-9D65-4A76F00A0705}"/>
                </a:ext>
              </a:extLst>
            </p:cNvPr>
            <p:cNvSpPr>
              <a:spLocks/>
            </p:cNvSpPr>
            <p:nvPr/>
          </p:nvSpPr>
          <p:spPr bwMode="auto">
            <a:xfrm>
              <a:off x="3063449" y="5094880"/>
              <a:ext cx="241395" cy="1381412"/>
            </a:xfrm>
            <a:custGeom>
              <a:avLst/>
              <a:gdLst/>
              <a:ahLst/>
              <a:cxnLst>
                <a:cxn ang="0">
                  <a:pos x="252" y="87"/>
                </a:cxn>
                <a:cxn ang="0">
                  <a:pos x="252" y="144"/>
                </a:cxn>
                <a:cxn ang="0">
                  <a:pos x="301" y="256"/>
                </a:cxn>
                <a:cxn ang="0">
                  <a:pos x="252" y="390"/>
                </a:cxn>
                <a:cxn ang="0">
                  <a:pos x="214" y="482"/>
                </a:cxn>
                <a:cxn ang="0">
                  <a:pos x="182" y="612"/>
                </a:cxn>
                <a:cxn ang="0">
                  <a:pos x="209" y="707"/>
                </a:cxn>
                <a:cxn ang="0">
                  <a:pos x="188" y="834"/>
                </a:cxn>
                <a:cxn ang="0">
                  <a:pos x="168" y="950"/>
                </a:cxn>
                <a:cxn ang="0">
                  <a:pos x="137" y="1048"/>
                </a:cxn>
                <a:cxn ang="0">
                  <a:pos x="130" y="1126"/>
                </a:cxn>
                <a:cxn ang="0">
                  <a:pos x="142" y="1211"/>
                </a:cxn>
                <a:cxn ang="0">
                  <a:pos x="130" y="1255"/>
                </a:cxn>
                <a:cxn ang="0">
                  <a:pos x="137" y="1302"/>
                </a:cxn>
                <a:cxn ang="0">
                  <a:pos x="135" y="1370"/>
                </a:cxn>
                <a:cxn ang="0">
                  <a:pos x="118" y="1438"/>
                </a:cxn>
                <a:cxn ang="0">
                  <a:pos x="80" y="1528"/>
                </a:cxn>
                <a:cxn ang="0">
                  <a:pos x="120" y="1603"/>
                </a:cxn>
                <a:cxn ang="0">
                  <a:pos x="252" y="1638"/>
                </a:cxn>
                <a:cxn ang="0">
                  <a:pos x="188" y="1657"/>
                </a:cxn>
                <a:cxn ang="0">
                  <a:pos x="141" y="1718"/>
                </a:cxn>
                <a:cxn ang="0">
                  <a:pos x="137" y="1692"/>
                </a:cxn>
                <a:cxn ang="0">
                  <a:pos x="128" y="1682"/>
                </a:cxn>
                <a:cxn ang="0">
                  <a:pos x="90" y="1688"/>
                </a:cxn>
                <a:cxn ang="0">
                  <a:pos x="113" y="1666"/>
                </a:cxn>
                <a:cxn ang="0">
                  <a:pos x="121" y="1650"/>
                </a:cxn>
                <a:cxn ang="0">
                  <a:pos x="95" y="1669"/>
                </a:cxn>
                <a:cxn ang="0">
                  <a:pos x="87" y="1664"/>
                </a:cxn>
                <a:cxn ang="0">
                  <a:pos x="74" y="1633"/>
                </a:cxn>
                <a:cxn ang="0">
                  <a:pos x="99" y="1622"/>
                </a:cxn>
                <a:cxn ang="0">
                  <a:pos x="87" y="1593"/>
                </a:cxn>
                <a:cxn ang="0">
                  <a:pos x="87" y="1628"/>
                </a:cxn>
                <a:cxn ang="0">
                  <a:pos x="64" y="1605"/>
                </a:cxn>
                <a:cxn ang="0">
                  <a:pos x="59" y="1581"/>
                </a:cxn>
                <a:cxn ang="0">
                  <a:pos x="71" y="1551"/>
                </a:cxn>
                <a:cxn ang="0">
                  <a:pos x="59" y="1542"/>
                </a:cxn>
                <a:cxn ang="0">
                  <a:pos x="59" y="1532"/>
                </a:cxn>
                <a:cxn ang="0">
                  <a:pos x="48" y="1500"/>
                </a:cxn>
                <a:cxn ang="0">
                  <a:pos x="52" y="1492"/>
                </a:cxn>
                <a:cxn ang="0">
                  <a:pos x="61" y="1443"/>
                </a:cxn>
                <a:cxn ang="0">
                  <a:pos x="55" y="1415"/>
                </a:cxn>
                <a:cxn ang="0">
                  <a:pos x="67" y="1405"/>
                </a:cxn>
                <a:cxn ang="0">
                  <a:pos x="48" y="1393"/>
                </a:cxn>
                <a:cxn ang="0">
                  <a:pos x="48" y="1354"/>
                </a:cxn>
                <a:cxn ang="0">
                  <a:pos x="7" y="1363"/>
                </a:cxn>
                <a:cxn ang="0">
                  <a:pos x="43" y="1311"/>
                </a:cxn>
                <a:cxn ang="0">
                  <a:pos x="66" y="1345"/>
                </a:cxn>
                <a:cxn ang="0">
                  <a:pos x="81" y="1271"/>
                </a:cxn>
                <a:cxn ang="0">
                  <a:pos x="88" y="1222"/>
                </a:cxn>
                <a:cxn ang="0">
                  <a:pos x="102" y="1131"/>
                </a:cxn>
                <a:cxn ang="0">
                  <a:pos x="109" y="1103"/>
                </a:cxn>
                <a:cxn ang="0">
                  <a:pos x="61" y="1081"/>
                </a:cxn>
                <a:cxn ang="0">
                  <a:pos x="85" y="978"/>
                </a:cxn>
                <a:cxn ang="0">
                  <a:pos x="87" y="888"/>
                </a:cxn>
                <a:cxn ang="0">
                  <a:pos x="120" y="795"/>
                </a:cxn>
                <a:cxn ang="0">
                  <a:pos x="153" y="670"/>
                </a:cxn>
                <a:cxn ang="0">
                  <a:pos x="148" y="517"/>
                </a:cxn>
                <a:cxn ang="0">
                  <a:pos x="175" y="405"/>
                </a:cxn>
                <a:cxn ang="0">
                  <a:pos x="182" y="264"/>
                </a:cxn>
                <a:cxn ang="0">
                  <a:pos x="193" y="142"/>
                </a:cxn>
                <a:cxn ang="0">
                  <a:pos x="207" y="19"/>
                </a:cxn>
              </a:cxnLst>
              <a:rect l="0" t="0" r="r" b="b"/>
              <a:pathLst>
                <a:path w="303" h="1722">
                  <a:moveTo>
                    <a:pt x="217" y="0"/>
                  </a:moveTo>
                  <a:lnTo>
                    <a:pt x="217" y="0"/>
                  </a:lnTo>
                  <a:lnTo>
                    <a:pt x="219" y="8"/>
                  </a:lnTo>
                  <a:lnTo>
                    <a:pt x="222" y="15"/>
                  </a:lnTo>
                  <a:lnTo>
                    <a:pt x="228" y="22"/>
                  </a:lnTo>
                  <a:lnTo>
                    <a:pt x="231" y="26"/>
                  </a:lnTo>
                  <a:lnTo>
                    <a:pt x="231" y="27"/>
                  </a:lnTo>
                  <a:lnTo>
                    <a:pt x="231" y="31"/>
                  </a:lnTo>
                  <a:lnTo>
                    <a:pt x="231" y="31"/>
                  </a:lnTo>
                  <a:lnTo>
                    <a:pt x="231" y="34"/>
                  </a:lnTo>
                  <a:lnTo>
                    <a:pt x="231" y="40"/>
                  </a:lnTo>
                  <a:lnTo>
                    <a:pt x="235" y="54"/>
                  </a:lnTo>
                  <a:lnTo>
                    <a:pt x="240" y="66"/>
                  </a:lnTo>
                  <a:lnTo>
                    <a:pt x="243" y="75"/>
                  </a:lnTo>
                  <a:lnTo>
                    <a:pt x="243" y="75"/>
                  </a:lnTo>
                  <a:lnTo>
                    <a:pt x="250" y="80"/>
                  </a:lnTo>
                  <a:lnTo>
                    <a:pt x="254" y="83"/>
                  </a:lnTo>
                  <a:lnTo>
                    <a:pt x="252" y="87"/>
                  </a:lnTo>
                  <a:lnTo>
                    <a:pt x="250" y="92"/>
                  </a:lnTo>
                  <a:lnTo>
                    <a:pt x="250" y="92"/>
                  </a:lnTo>
                  <a:lnTo>
                    <a:pt x="247" y="95"/>
                  </a:lnTo>
                  <a:lnTo>
                    <a:pt x="247" y="99"/>
                  </a:lnTo>
                  <a:lnTo>
                    <a:pt x="247" y="101"/>
                  </a:lnTo>
                  <a:lnTo>
                    <a:pt x="249" y="102"/>
                  </a:lnTo>
                  <a:lnTo>
                    <a:pt x="252" y="108"/>
                  </a:lnTo>
                  <a:lnTo>
                    <a:pt x="252" y="109"/>
                  </a:lnTo>
                  <a:lnTo>
                    <a:pt x="250" y="113"/>
                  </a:lnTo>
                  <a:lnTo>
                    <a:pt x="250" y="113"/>
                  </a:lnTo>
                  <a:lnTo>
                    <a:pt x="245" y="120"/>
                  </a:lnTo>
                  <a:lnTo>
                    <a:pt x="243" y="127"/>
                  </a:lnTo>
                  <a:lnTo>
                    <a:pt x="245" y="132"/>
                  </a:lnTo>
                  <a:lnTo>
                    <a:pt x="250" y="135"/>
                  </a:lnTo>
                  <a:lnTo>
                    <a:pt x="250" y="135"/>
                  </a:lnTo>
                  <a:lnTo>
                    <a:pt x="252" y="137"/>
                  </a:lnTo>
                  <a:lnTo>
                    <a:pt x="252" y="139"/>
                  </a:lnTo>
                  <a:lnTo>
                    <a:pt x="252" y="144"/>
                  </a:lnTo>
                  <a:lnTo>
                    <a:pt x="250" y="148"/>
                  </a:lnTo>
                  <a:lnTo>
                    <a:pt x="252" y="151"/>
                  </a:lnTo>
                  <a:lnTo>
                    <a:pt x="256" y="151"/>
                  </a:lnTo>
                  <a:lnTo>
                    <a:pt x="256" y="151"/>
                  </a:lnTo>
                  <a:lnTo>
                    <a:pt x="259" y="155"/>
                  </a:lnTo>
                  <a:lnTo>
                    <a:pt x="261" y="160"/>
                  </a:lnTo>
                  <a:lnTo>
                    <a:pt x="266" y="177"/>
                  </a:lnTo>
                  <a:lnTo>
                    <a:pt x="275" y="222"/>
                  </a:lnTo>
                  <a:lnTo>
                    <a:pt x="275" y="222"/>
                  </a:lnTo>
                  <a:lnTo>
                    <a:pt x="276" y="233"/>
                  </a:lnTo>
                  <a:lnTo>
                    <a:pt x="278" y="236"/>
                  </a:lnTo>
                  <a:lnTo>
                    <a:pt x="282" y="238"/>
                  </a:lnTo>
                  <a:lnTo>
                    <a:pt x="289" y="238"/>
                  </a:lnTo>
                  <a:lnTo>
                    <a:pt x="297" y="235"/>
                  </a:lnTo>
                  <a:lnTo>
                    <a:pt x="297" y="235"/>
                  </a:lnTo>
                  <a:lnTo>
                    <a:pt x="303" y="240"/>
                  </a:lnTo>
                  <a:lnTo>
                    <a:pt x="303" y="245"/>
                  </a:lnTo>
                  <a:lnTo>
                    <a:pt x="301" y="256"/>
                  </a:lnTo>
                  <a:lnTo>
                    <a:pt x="301" y="256"/>
                  </a:lnTo>
                  <a:lnTo>
                    <a:pt x="301" y="266"/>
                  </a:lnTo>
                  <a:lnTo>
                    <a:pt x="297" y="276"/>
                  </a:lnTo>
                  <a:lnTo>
                    <a:pt x="294" y="287"/>
                  </a:lnTo>
                  <a:lnTo>
                    <a:pt x="290" y="290"/>
                  </a:lnTo>
                  <a:lnTo>
                    <a:pt x="287" y="292"/>
                  </a:lnTo>
                  <a:lnTo>
                    <a:pt x="287" y="292"/>
                  </a:lnTo>
                  <a:lnTo>
                    <a:pt x="276" y="297"/>
                  </a:lnTo>
                  <a:lnTo>
                    <a:pt x="264" y="304"/>
                  </a:lnTo>
                  <a:lnTo>
                    <a:pt x="259" y="310"/>
                  </a:lnTo>
                  <a:lnTo>
                    <a:pt x="256" y="315"/>
                  </a:lnTo>
                  <a:lnTo>
                    <a:pt x="254" y="322"/>
                  </a:lnTo>
                  <a:lnTo>
                    <a:pt x="254" y="329"/>
                  </a:lnTo>
                  <a:lnTo>
                    <a:pt x="254" y="329"/>
                  </a:lnTo>
                  <a:lnTo>
                    <a:pt x="256" y="334"/>
                  </a:lnTo>
                  <a:lnTo>
                    <a:pt x="254" y="343"/>
                  </a:lnTo>
                  <a:lnTo>
                    <a:pt x="252" y="365"/>
                  </a:lnTo>
                  <a:lnTo>
                    <a:pt x="252" y="390"/>
                  </a:lnTo>
                  <a:lnTo>
                    <a:pt x="254" y="400"/>
                  </a:lnTo>
                  <a:lnTo>
                    <a:pt x="256" y="409"/>
                  </a:lnTo>
                  <a:lnTo>
                    <a:pt x="256" y="409"/>
                  </a:lnTo>
                  <a:lnTo>
                    <a:pt x="261" y="417"/>
                  </a:lnTo>
                  <a:lnTo>
                    <a:pt x="261" y="423"/>
                  </a:lnTo>
                  <a:lnTo>
                    <a:pt x="259" y="424"/>
                  </a:lnTo>
                  <a:lnTo>
                    <a:pt x="256" y="424"/>
                  </a:lnTo>
                  <a:lnTo>
                    <a:pt x="250" y="426"/>
                  </a:lnTo>
                  <a:lnTo>
                    <a:pt x="245" y="428"/>
                  </a:lnTo>
                  <a:lnTo>
                    <a:pt x="240" y="433"/>
                  </a:lnTo>
                  <a:lnTo>
                    <a:pt x="235" y="444"/>
                  </a:lnTo>
                  <a:lnTo>
                    <a:pt x="235" y="444"/>
                  </a:lnTo>
                  <a:lnTo>
                    <a:pt x="226" y="470"/>
                  </a:lnTo>
                  <a:lnTo>
                    <a:pt x="224" y="471"/>
                  </a:lnTo>
                  <a:lnTo>
                    <a:pt x="219" y="473"/>
                  </a:lnTo>
                  <a:lnTo>
                    <a:pt x="219" y="473"/>
                  </a:lnTo>
                  <a:lnTo>
                    <a:pt x="217" y="477"/>
                  </a:lnTo>
                  <a:lnTo>
                    <a:pt x="214" y="482"/>
                  </a:lnTo>
                  <a:lnTo>
                    <a:pt x="210" y="496"/>
                  </a:lnTo>
                  <a:lnTo>
                    <a:pt x="209" y="510"/>
                  </a:lnTo>
                  <a:lnTo>
                    <a:pt x="205" y="515"/>
                  </a:lnTo>
                  <a:lnTo>
                    <a:pt x="203" y="518"/>
                  </a:lnTo>
                  <a:lnTo>
                    <a:pt x="203" y="518"/>
                  </a:lnTo>
                  <a:lnTo>
                    <a:pt x="200" y="524"/>
                  </a:lnTo>
                  <a:lnTo>
                    <a:pt x="200" y="529"/>
                  </a:lnTo>
                  <a:lnTo>
                    <a:pt x="202" y="543"/>
                  </a:lnTo>
                  <a:lnTo>
                    <a:pt x="205" y="557"/>
                  </a:lnTo>
                  <a:lnTo>
                    <a:pt x="205" y="564"/>
                  </a:lnTo>
                  <a:lnTo>
                    <a:pt x="203" y="569"/>
                  </a:lnTo>
                  <a:lnTo>
                    <a:pt x="203" y="569"/>
                  </a:lnTo>
                  <a:lnTo>
                    <a:pt x="202" y="572"/>
                  </a:lnTo>
                  <a:lnTo>
                    <a:pt x="198" y="572"/>
                  </a:lnTo>
                  <a:lnTo>
                    <a:pt x="195" y="576"/>
                  </a:lnTo>
                  <a:lnTo>
                    <a:pt x="191" y="585"/>
                  </a:lnTo>
                  <a:lnTo>
                    <a:pt x="191" y="585"/>
                  </a:lnTo>
                  <a:lnTo>
                    <a:pt x="182" y="612"/>
                  </a:lnTo>
                  <a:lnTo>
                    <a:pt x="181" y="623"/>
                  </a:lnTo>
                  <a:lnTo>
                    <a:pt x="181" y="626"/>
                  </a:lnTo>
                  <a:lnTo>
                    <a:pt x="181" y="630"/>
                  </a:lnTo>
                  <a:lnTo>
                    <a:pt x="181" y="630"/>
                  </a:lnTo>
                  <a:lnTo>
                    <a:pt x="186" y="640"/>
                  </a:lnTo>
                  <a:lnTo>
                    <a:pt x="189" y="653"/>
                  </a:lnTo>
                  <a:lnTo>
                    <a:pt x="198" y="679"/>
                  </a:lnTo>
                  <a:lnTo>
                    <a:pt x="198" y="679"/>
                  </a:lnTo>
                  <a:lnTo>
                    <a:pt x="198" y="684"/>
                  </a:lnTo>
                  <a:lnTo>
                    <a:pt x="198" y="689"/>
                  </a:lnTo>
                  <a:lnTo>
                    <a:pt x="196" y="698"/>
                  </a:lnTo>
                  <a:lnTo>
                    <a:pt x="196" y="701"/>
                  </a:lnTo>
                  <a:lnTo>
                    <a:pt x="196" y="703"/>
                  </a:lnTo>
                  <a:lnTo>
                    <a:pt x="198" y="705"/>
                  </a:lnTo>
                  <a:lnTo>
                    <a:pt x="203" y="705"/>
                  </a:lnTo>
                  <a:lnTo>
                    <a:pt x="203" y="705"/>
                  </a:lnTo>
                  <a:lnTo>
                    <a:pt x="207" y="705"/>
                  </a:lnTo>
                  <a:lnTo>
                    <a:pt x="209" y="707"/>
                  </a:lnTo>
                  <a:lnTo>
                    <a:pt x="209" y="708"/>
                  </a:lnTo>
                  <a:lnTo>
                    <a:pt x="207" y="712"/>
                  </a:lnTo>
                  <a:lnTo>
                    <a:pt x="205" y="722"/>
                  </a:lnTo>
                  <a:lnTo>
                    <a:pt x="205" y="729"/>
                  </a:lnTo>
                  <a:lnTo>
                    <a:pt x="205" y="736"/>
                  </a:lnTo>
                  <a:lnTo>
                    <a:pt x="205" y="736"/>
                  </a:lnTo>
                  <a:lnTo>
                    <a:pt x="207" y="743"/>
                  </a:lnTo>
                  <a:lnTo>
                    <a:pt x="205" y="747"/>
                  </a:lnTo>
                  <a:lnTo>
                    <a:pt x="202" y="754"/>
                  </a:lnTo>
                  <a:lnTo>
                    <a:pt x="198" y="757"/>
                  </a:lnTo>
                  <a:lnTo>
                    <a:pt x="195" y="762"/>
                  </a:lnTo>
                  <a:lnTo>
                    <a:pt x="191" y="771"/>
                  </a:lnTo>
                  <a:lnTo>
                    <a:pt x="189" y="781"/>
                  </a:lnTo>
                  <a:lnTo>
                    <a:pt x="189" y="781"/>
                  </a:lnTo>
                  <a:lnTo>
                    <a:pt x="188" y="804"/>
                  </a:lnTo>
                  <a:lnTo>
                    <a:pt x="188" y="818"/>
                  </a:lnTo>
                  <a:lnTo>
                    <a:pt x="189" y="828"/>
                  </a:lnTo>
                  <a:lnTo>
                    <a:pt x="188" y="834"/>
                  </a:lnTo>
                  <a:lnTo>
                    <a:pt x="184" y="839"/>
                  </a:lnTo>
                  <a:lnTo>
                    <a:pt x="184" y="839"/>
                  </a:lnTo>
                  <a:lnTo>
                    <a:pt x="179" y="844"/>
                  </a:lnTo>
                  <a:lnTo>
                    <a:pt x="175" y="849"/>
                  </a:lnTo>
                  <a:lnTo>
                    <a:pt x="168" y="853"/>
                  </a:lnTo>
                  <a:lnTo>
                    <a:pt x="165" y="855"/>
                  </a:lnTo>
                  <a:lnTo>
                    <a:pt x="162" y="860"/>
                  </a:lnTo>
                  <a:lnTo>
                    <a:pt x="162" y="860"/>
                  </a:lnTo>
                  <a:lnTo>
                    <a:pt x="162" y="870"/>
                  </a:lnTo>
                  <a:lnTo>
                    <a:pt x="162" y="884"/>
                  </a:lnTo>
                  <a:lnTo>
                    <a:pt x="162" y="896"/>
                  </a:lnTo>
                  <a:lnTo>
                    <a:pt x="160" y="908"/>
                  </a:lnTo>
                  <a:lnTo>
                    <a:pt x="160" y="908"/>
                  </a:lnTo>
                  <a:lnTo>
                    <a:pt x="160" y="915"/>
                  </a:lnTo>
                  <a:lnTo>
                    <a:pt x="162" y="922"/>
                  </a:lnTo>
                  <a:lnTo>
                    <a:pt x="167" y="936"/>
                  </a:lnTo>
                  <a:lnTo>
                    <a:pt x="168" y="943"/>
                  </a:lnTo>
                  <a:lnTo>
                    <a:pt x="168" y="950"/>
                  </a:lnTo>
                  <a:lnTo>
                    <a:pt x="168" y="957"/>
                  </a:lnTo>
                  <a:lnTo>
                    <a:pt x="163" y="961"/>
                  </a:lnTo>
                  <a:lnTo>
                    <a:pt x="163" y="961"/>
                  </a:lnTo>
                  <a:lnTo>
                    <a:pt x="156" y="968"/>
                  </a:lnTo>
                  <a:lnTo>
                    <a:pt x="153" y="975"/>
                  </a:lnTo>
                  <a:lnTo>
                    <a:pt x="151" y="980"/>
                  </a:lnTo>
                  <a:lnTo>
                    <a:pt x="151" y="985"/>
                  </a:lnTo>
                  <a:lnTo>
                    <a:pt x="151" y="996"/>
                  </a:lnTo>
                  <a:lnTo>
                    <a:pt x="149" y="999"/>
                  </a:lnTo>
                  <a:lnTo>
                    <a:pt x="146" y="1003"/>
                  </a:lnTo>
                  <a:lnTo>
                    <a:pt x="146" y="1003"/>
                  </a:lnTo>
                  <a:lnTo>
                    <a:pt x="142" y="1008"/>
                  </a:lnTo>
                  <a:lnTo>
                    <a:pt x="141" y="1013"/>
                  </a:lnTo>
                  <a:lnTo>
                    <a:pt x="142" y="1023"/>
                  </a:lnTo>
                  <a:lnTo>
                    <a:pt x="142" y="1030"/>
                  </a:lnTo>
                  <a:lnTo>
                    <a:pt x="142" y="1037"/>
                  </a:lnTo>
                  <a:lnTo>
                    <a:pt x="141" y="1043"/>
                  </a:lnTo>
                  <a:lnTo>
                    <a:pt x="137" y="1048"/>
                  </a:lnTo>
                  <a:lnTo>
                    <a:pt x="137" y="1048"/>
                  </a:lnTo>
                  <a:lnTo>
                    <a:pt x="130" y="1055"/>
                  </a:lnTo>
                  <a:lnTo>
                    <a:pt x="130" y="1056"/>
                  </a:lnTo>
                  <a:lnTo>
                    <a:pt x="132" y="1058"/>
                  </a:lnTo>
                  <a:lnTo>
                    <a:pt x="134" y="1065"/>
                  </a:lnTo>
                  <a:lnTo>
                    <a:pt x="135" y="1070"/>
                  </a:lnTo>
                  <a:lnTo>
                    <a:pt x="135" y="1081"/>
                  </a:lnTo>
                  <a:lnTo>
                    <a:pt x="135" y="1081"/>
                  </a:lnTo>
                  <a:lnTo>
                    <a:pt x="135" y="1098"/>
                  </a:lnTo>
                  <a:lnTo>
                    <a:pt x="137" y="1110"/>
                  </a:lnTo>
                  <a:lnTo>
                    <a:pt x="139" y="1119"/>
                  </a:lnTo>
                  <a:lnTo>
                    <a:pt x="139" y="1123"/>
                  </a:lnTo>
                  <a:lnTo>
                    <a:pt x="139" y="1126"/>
                  </a:lnTo>
                  <a:lnTo>
                    <a:pt x="139" y="1126"/>
                  </a:lnTo>
                  <a:lnTo>
                    <a:pt x="137" y="1128"/>
                  </a:lnTo>
                  <a:lnTo>
                    <a:pt x="135" y="1128"/>
                  </a:lnTo>
                  <a:lnTo>
                    <a:pt x="132" y="1126"/>
                  </a:lnTo>
                  <a:lnTo>
                    <a:pt x="130" y="1126"/>
                  </a:lnTo>
                  <a:lnTo>
                    <a:pt x="128" y="1128"/>
                  </a:lnTo>
                  <a:lnTo>
                    <a:pt x="125" y="1142"/>
                  </a:lnTo>
                  <a:lnTo>
                    <a:pt x="125" y="1142"/>
                  </a:lnTo>
                  <a:lnTo>
                    <a:pt x="125" y="1152"/>
                  </a:lnTo>
                  <a:lnTo>
                    <a:pt x="125" y="1159"/>
                  </a:lnTo>
                  <a:lnTo>
                    <a:pt x="127" y="1164"/>
                  </a:lnTo>
                  <a:lnTo>
                    <a:pt x="128" y="1166"/>
                  </a:lnTo>
                  <a:lnTo>
                    <a:pt x="134" y="1170"/>
                  </a:lnTo>
                  <a:lnTo>
                    <a:pt x="139" y="1173"/>
                  </a:lnTo>
                  <a:lnTo>
                    <a:pt x="139" y="1173"/>
                  </a:lnTo>
                  <a:lnTo>
                    <a:pt x="141" y="1177"/>
                  </a:lnTo>
                  <a:lnTo>
                    <a:pt x="141" y="1182"/>
                  </a:lnTo>
                  <a:lnTo>
                    <a:pt x="137" y="1192"/>
                  </a:lnTo>
                  <a:lnTo>
                    <a:pt x="137" y="1203"/>
                  </a:lnTo>
                  <a:lnTo>
                    <a:pt x="137" y="1206"/>
                  </a:lnTo>
                  <a:lnTo>
                    <a:pt x="141" y="1210"/>
                  </a:lnTo>
                  <a:lnTo>
                    <a:pt x="141" y="1210"/>
                  </a:lnTo>
                  <a:lnTo>
                    <a:pt x="142" y="1211"/>
                  </a:lnTo>
                  <a:lnTo>
                    <a:pt x="142" y="1217"/>
                  </a:lnTo>
                  <a:lnTo>
                    <a:pt x="137" y="1227"/>
                  </a:lnTo>
                  <a:lnTo>
                    <a:pt x="135" y="1232"/>
                  </a:lnTo>
                  <a:lnTo>
                    <a:pt x="135" y="1236"/>
                  </a:lnTo>
                  <a:lnTo>
                    <a:pt x="139" y="1238"/>
                  </a:lnTo>
                  <a:lnTo>
                    <a:pt x="144" y="1238"/>
                  </a:lnTo>
                  <a:lnTo>
                    <a:pt x="144" y="1238"/>
                  </a:lnTo>
                  <a:lnTo>
                    <a:pt x="153" y="1236"/>
                  </a:lnTo>
                  <a:lnTo>
                    <a:pt x="158" y="1238"/>
                  </a:lnTo>
                  <a:lnTo>
                    <a:pt x="162" y="1241"/>
                  </a:lnTo>
                  <a:lnTo>
                    <a:pt x="162" y="1245"/>
                  </a:lnTo>
                  <a:lnTo>
                    <a:pt x="160" y="1250"/>
                  </a:lnTo>
                  <a:lnTo>
                    <a:pt x="156" y="1253"/>
                  </a:lnTo>
                  <a:lnTo>
                    <a:pt x="151" y="1255"/>
                  </a:lnTo>
                  <a:lnTo>
                    <a:pt x="144" y="1255"/>
                  </a:lnTo>
                  <a:lnTo>
                    <a:pt x="144" y="1255"/>
                  </a:lnTo>
                  <a:lnTo>
                    <a:pt x="134" y="1253"/>
                  </a:lnTo>
                  <a:lnTo>
                    <a:pt x="130" y="1255"/>
                  </a:lnTo>
                  <a:lnTo>
                    <a:pt x="128" y="1257"/>
                  </a:lnTo>
                  <a:lnTo>
                    <a:pt x="128" y="1258"/>
                  </a:lnTo>
                  <a:lnTo>
                    <a:pt x="130" y="1260"/>
                  </a:lnTo>
                  <a:lnTo>
                    <a:pt x="134" y="1262"/>
                  </a:lnTo>
                  <a:lnTo>
                    <a:pt x="139" y="1264"/>
                  </a:lnTo>
                  <a:lnTo>
                    <a:pt x="139" y="1264"/>
                  </a:lnTo>
                  <a:lnTo>
                    <a:pt x="144" y="1265"/>
                  </a:lnTo>
                  <a:lnTo>
                    <a:pt x="148" y="1267"/>
                  </a:lnTo>
                  <a:lnTo>
                    <a:pt x="151" y="1271"/>
                  </a:lnTo>
                  <a:lnTo>
                    <a:pt x="153" y="1276"/>
                  </a:lnTo>
                  <a:lnTo>
                    <a:pt x="153" y="1279"/>
                  </a:lnTo>
                  <a:lnTo>
                    <a:pt x="151" y="1285"/>
                  </a:lnTo>
                  <a:lnTo>
                    <a:pt x="148" y="1288"/>
                  </a:lnTo>
                  <a:lnTo>
                    <a:pt x="142" y="1292"/>
                  </a:lnTo>
                  <a:lnTo>
                    <a:pt x="142" y="1292"/>
                  </a:lnTo>
                  <a:lnTo>
                    <a:pt x="139" y="1295"/>
                  </a:lnTo>
                  <a:lnTo>
                    <a:pt x="137" y="1298"/>
                  </a:lnTo>
                  <a:lnTo>
                    <a:pt x="137" y="1302"/>
                  </a:lnTo>
                  <a:lnTo>
                    <a:pt x="139" y="1305"/>
                  </a:lnTo>
                  <a:lnTo>
                    <a:pt x="142" y="1312"/>
                  </a:lnTo>
                  <a:lnTo>
                    <a:pt x="142" y="1316"/>
                  </a:lnTo>
                  <a:lnTo>
                    <a:pt x="139" y="1319"/>
                  </a:lnTo>
                  <a:lnTo>
                    <a:pt x="139" y="1319"/>
                  </a:lnTo>
                  <a:lnTo>
                    <a:pt x="137" y="1323"/>
                  </a:lnTo>
                  <a:lnTo>
                    <a:pt x="137" y="1326"/>
                  </a:lnTo>
                  <a:lnTo>
                    <a:pt x="141" y="1335"/>
                  </a:lnTo>
                  <a:lnTo>
                    <a:pt x="142" y="1339"/>
                  </a:lnTo>
                  <a:lnTo>
                    <a:pt x="142" y="1344"/>
                  </a:lnTo>
                  <a:lnTo>
                    <a:pt x="142" y="1349"/>
                  </a:lnTo>
                  <a:lnTo>
                    <a:pt x="139" y="1352"/>
                  </a:lnTo>
                  <a:lnTo>
                    <a:pt x="139" y="1352"/>
                  </a:lnTo>
                  <a:lnTo>
                    <a:pt x="134" y="1358"/>
                  </a:lnTo>
                  <a:lnTo>
                    <a:pt x="132" y="1361"/>
                  </a:lnTo>
                  <a:lnTo>
                    <a:pt x="132" y="1365"/>
                  </a:lnTo>
                  <a:lnTo>
                    <a:pt x="134" y="1366"/>
                  </a:lnTo>
                  <a:lnTo>
                    <a:pt x="135" y="1370"/>
                  </a:lnTo>
                  <a:lnTo>
                    <a:pt x="135" y="1372"/>
                  </a:lnTo>
                  <a:lnTo>
                    <a:pt x="134" y="1375"/>
                  </a:lnTo>
                  <a:lnTo>
                    <a:pt x="128" y="1380"/>
                  </a:lnTo>
                  <a:lnTo>
                    <a:pt x="128" y="1380"/>
                  </a:lnTo>
                  <a:lnTo>
                    <a:pt x="120" y="1389"/>
                  </a:lnTo>
                  <a:lnTo>
                    <a:pt x="116" y="1396"/>
                  </a:lnTo>
                  <a:lnTo>
                    <a:pt x="116" y="1401"/>
                  </a:lnTo>
                  <a:lnTo>
                    <a:pt x="116" y="1403"/>
                  </a:lnTo>
                  <a:lnTo>
                    <a:pt x="113" y="1406"/>
                  </a:lnTo>
                  <a:lnTo>
                    <a:pt x="113" y="1406"/>
                  </a:lnTo>
                  <a:lnTo>
                    <a:pt x="111" y="1410"/>
                  </a:lnTo>
                  <a:lnTo>
                    <a:pt x="113" y="1413"/>
                  </a:lnTo>
                  <a:lnTo>
                    <a:pt x="118" y="1422"/>
                  </a:lnTo>
                  <a:lnTo>
                    <a:pt x="120" y="1426"/>
                  </a:lnTo>
                  <a:lnTo>
                    <a:pt x="121" y="1429"/>
                  </a:lnTo>
                  <a:lnTo>
                    <a:pt x="120" y="1433"/>
                  </a:lnTo>
                  <a:lnTo>
                    <a:pt x="118" y="1438"/>
                  </a:lnTo>
                  <a:lnTo>
                    <a:pt x="118" y="1438"/>
                  </a:lnTo>
                  <a:lnTo>
                    <a:pt x="113" y="1441"/>
                  </a:lnTo>
                  <a:lnTo>
                    <a:pt x="108" y="1448"/>
                  </a:lnTo>
                  <a:lnTo>
                    <a:pt x="101" y="1466"/>
                  </a:lnTo>
                  <a:lnTo>
                    <a:pt x="94" y="1480"/>
                  </a:lnTo>
                  <a:lnTo>
                    <a:pt x="90" y="1483"/>
                  </a:lnTo>
                  <a:lnTo>
                    <a:pt x="87" y="1483"/>
                  </a:lnTo>
                  <a:lnTo>
                    <a:pt x="87" y="1483"/>
                  </a:lnTo>
                  <a:lnTo>
                    <a:pt x="80" y="1483"/>
                  </a:lnTo>
                  <a:lnTo>
                    <a:pt x="78" y="1485"/>
                  </a:lnTo>
                  <a:lnTo>
                    <a:pt x="76" y="1487"/>
                  </a:lnTo>
                  <a:lnTo>
                    <a:pt x="76" y="1492"/>
                  </a:lnTo>
                  <a:lnTo>
                    <a:pt x="78" y="1502"/>
                  </a:lnTo>
                  <a:lnTo>
                    <a:pt x="78" y="1507"/>
                  </a:lnTo>
                  <a:lnTo>
                    <a:pt x="78" y="1511"/>
                  </a:lnTo>
                  <a:lnTo>
                    <a:pt x="78" y="1511"/>
                  </a:lnTo>
                  <a:lnTo>
                    <a:pt x="76" y="1523"/>
                  </a:lnTo>
                  <a:lnTo>
                    <a:pt x="78" y="1527"/>
                  </a:lnTo>
                  <a:lnTo>
                    <a:pt x="80" y="1528"/>
                  </a:lnTo>
                  <a:lnTo>
                    <a:pt x="83" y="1534"/>
                  </a:lnTo>
                  <a:lnTo>
                    <a:pt x="85" y="1539"/>
                  </a:lnTo>
                  <a:lnTo>
                    <a:pt x="87" y="1546"/>
                  </a:lnTo>
                  <a:lnTo>
                    <a:pt x="87" y="1546"/>
                  </a:lnTo>
                  <a:lnTo>
                    <a:pt x="88" y="1553"/>
                  </a:lnTo>
                  <a:lnTo>
                    <a:pt x="90" y="1556"/>
                  </a:lnTo>
                  <a:lnTo>
                    <a:pt x="92" y="1558"/>
                  </a:lnTo>
                  <a:lnTo>
                    <a:pt x="95" y="1556"/>
                  </a:lnTo>
                  <a:lnTo>
                    <a:pt x="102" y="1551"/>
                  </a:lnTo>
                  <a:lnTo>
                    <a:pt x="108" y="1549"/>
                  </a:lnTo>
                  <a:lnTo>
                    <a:pt x="113" y="1549"/>
                  </a:lnTo>
                  <a:lnTo>
                    <a:pt x="113" y="1549"/>
                  </a:lnTo>
                  <a:lnTo>
                    <a:pt x="114" y="1549"/>
                  </a:lnTo>
                  <a:lnTo>
                    <a:pt x="116" y="1551"/>
                  </a:lnTo>
                  <a:lnTo>
                    <a:pt x="118" y="1558"/>
                  </a:lnTo>
                  <a:lnTo>
                    <a:pt x="118" y="1575"/>
                  </a:lnTo>
                  <a:lnTo>
                    <a:pt x="118" y="1596"/>
                  </a:lnTo>
                  <a:lnTo>
                    <a:pt x="120" y="1603"/>
                  </a:lnTo>
                  <a:lnTo>
                    <a:pt x="121" y="1607"/>
                  </a:lnTo>
                  <a:lnTo>
                    <a:pt x="123" y="1607"/>
                  </a:lnTo>
                  <a:lnTo>
                    <a:pt x="123" y="1607"/>
                  </a:lnTo>
                  <a:lnTo>
                    <a:pt x="127" y="1610"/>
                  </a:lnTo>
                  <a:lnTo>
                    <a:pt x="128" y="1612"/>
                  </a:lnTo>
                  <a:lnTo>
                    <a:pt x="130" y="1617"/>
                  </a:lnTo>
                  <a:lnTo>
                    <a:pt x="132" y="1621"/>
                  </a:lnTo>
                  <a:lnTo>
                    <a:pt x="132" y="1622"/>
                  </a:lnTo>
                  <a:lnTo>
                    <a:pt x="135" y="1622"/>
                  </a:lnTo>
                  <a:lnTo>
                    <a:pt x="141" y="1624"/>
                  </a:lnTo>
                  <a:lnTo>
                    <a:pt x="141" y="1624"/>
                  </a:lnTo>
                  <a:lnTo>
                    <a:pt x="200" y="1624"/>
                  </a:lnTo>
                  <a:lnTo>
                    <a:pt x="200" y="1624"/>
                  </a:lnTo>
                  <a:lnTo>
                    <a:pt x="207" y="1626"/>
                  </a:lnTo>
                  <a:lnTo>
                    <a:pt x="215" y="1628"/>
                  </a:lnTo>
                  <a:lnTo>
                    <a:pt x="233" y="1631"/>
                  </a:lnTo>
                  <a:lnTo>
                    <a:pt x="247" y="1635"/>
                  </a:lnTo>
                  <a:lnTo>
                    <a:pt x="252" y="1638"/>
                  </a:lnTo>
                  <a:lnTo>
                    <a:pt x="256" y="1643"/>
                  </a:lnTo>
                  <a:lnTo>
                    <a:pt x="256" y="1643"/>
                  </a:lnTo>
                  <a:lnTo>
                    <a:pt x="249" y="1640"/>
                  </a:lnTo>
                  <a:lnTo>
                    <a:pt x="236" y="1636"/>
                  </a:lnTo>
                  <a:lnTo>
                    <a:pt x="236" y="1636"/>
                  </a:lnTo>
                  <a:lnTo>
                    <a:pt x="228" y="1636"/>
                  </a:lnTo>
                  <a:lnTo>
                    <a:pt x="224" y="1636"/>
                  </a:lnTo>
                  <a:lnTo>
                    <a:pt x="219" y="1638"/>
                  </a:lnTo>
                  <a:lnTo>
                    <a:pt x="215" y="1645"/>
                  </a:lnTo>
                  <a:lnTo>
                    <a:pt x="215" y="1645"/>
                  </a:lnTo>
                  <a:lnTo>
                    <a:pt x="210" y="1648"/>
                  </a:lnTo>
                  <a:lnTo>
                    <a:pt x="207" y="1648"/>
                  </a:lnTo>
                  <a:lnTo>
                    <a:pt x="203" y="1648"/>
                  </a:lnTo>
                  <a:lnTo>
                    <a:pt x="200" y="1648"/>
                  </a:lnTo>
                  <a:lnTo>
                    <a:pt x="196" y="1652"/>
                  </a:lnTo>
                  <a:lnTo>
                    <a:pt x="196" y="1652"/>
                  </a:lnTo>
                  <a:lnTo>
                    <a:pt x="193" y="1655"/>
                  </a:lnTo>
                  <a:lnTo>
                    <a:pt x="188" y="1657"/>
                  </a:lnTo>
                  <a:lnTo>
                    <a:pt x="181" y="1657"/>
                  </a:lnTo>
                  <a:lnTo>
                    <a:pt x="177" y="1659"/>
                  </a:lnTo>
                  <a:lnTo>
                    <a:pt x="175" y="1661"/>
                  </a:lnTo>
                  <a:lnTo>
                    <a:pt x="174" y="1664"/>
                  </a:lnTo>
                  <a:lnTo>
                    <a:pt x="174" y="1669"/>
                  </a:lnTo>
                  <a:lnTo>
                    <a:pt x="174" y="1669"/>
                  </a:lnTo>
                  <a:lnTo>
                    <a:pt x="172" y="1678"/>
                  </a:lnTo>
                  <a:lnTo>
                    <a:pt x="170" y="1682"/>
                  </a:lnTo>
                  <a:lnTo>
                    <a:pt x="168" y="1688"/>
                  </a:lnTo>
                  <a:lnTo>
                    <a:pt x="167" y="1699"/>
                  </a:lnTo>
                  <a:lnTo>
                    <a:pt x="167" y="1699"/>
                  </a:lnTo>
                  <a:lnTo>
                    <a:pt x="167" y="1711"/>
                  </a:lnTo>
                  <a:lnTo>
                    <a:pt x="165" y="1718"/>
                  </a:lnTo>
                  <a:lnTo>
                    <a:pt x="162" y="1720"/>
                  </a:lnTo>
                  <a:lnTo>
                    <a:pt x="155" y="1722"/>
                  </a:lnTo>
                  <a:lnTo>
                    <a:pt x="155" y="1722"/>
                  </a:lnTo>
                  <a:lnTo>
                    <a:pt x="146" y="1722"/>
                  </a:lnTo>
                  <a:lnTo>
                    <a:pt x="141" y="1718"/>
                  </a:lnTo>
                  <a:lnTo>
                    <a:pt x="137" y="1715"/>
                  </a:lnTo>
                  <a:lnTo>
                    <a:pt x="134" y="1715"/>
                  </a:lnTo>
                  <a:lnTo>
                    <a:pt x="134" y="1715"/>
                  </a:lnTo>
                  <a:lnTo>
                    <a:pt x="128" y="1711"/>
                  </a:lnTo>
                  <a:lnTo>
                    <a:pt x="123" y="1706"/>
                  </a:lnTo>
                  <a:lnTo>
                    <a:pt x="118" y="1699"/>
                  </a:lnTo>
                  <a:lnTo>
                    <a:pt x="116" y="1695"/>
                  </a:lnTo>
                  <a:lnTo>
                    <a:pt x="116" y="1695"/>
                  </a:lnTo>
                  <a:lnTo>
                    <a:pt x="116" y="1692"/>
                  </a:lnTo>
                  <a:lnTo>
                    <a:pt x="121" y="1690"/>
                  </a:lnTo>
                  <a:lnTo>
                    <a:pt x="127" y="1690"/>
                  </a:lnTo>
                  <a:lnTo>
                    <a:pt x="127" y="1690"/>
                  </a:lnTo>
                  <a:lnTo>
                    <a:pt x="130" y="1692"/>
                  </a:lnTo>
                  <a:lnTo>
                    <a:pt x="132" y="1690"/>
                  </a:lnTo>
                  <a:lnTo>
                    <a:pt x="132" y="1688"/>
                  </a:lnTo>
                  <a:lnTo>
                    <a:pt x="135" y="1690"/>
                  </a:lnTo>
                  <a:lnTo>
                    <a:pt x="135" y="1690"/>
                  </a:lnTo>
                  <a:lnTo>
                    <a:pt x="137" y="1692"/>
                  </a:lnTo>
                  <a:lnTo>
                    <a:pt x="139" y="1690"/>
                  </a:lnTo>
                  <a:lnTo>
                    <a:pt x="141" y="1687"/>
                  </a:lnTo>
                  <a:lnTo>
                    <a:pt x="144" y="1685"/>
                  </a:lnTo>
                  <a:lnTo>
                    <a:pt x="144" y="1685"/>
                  </a:lnTo>
                  <a:lnTo>
                    <a:pt x="153" y="1680"/>
                  </a:lnTo>
                  <a:lnTo>
                    <a:pt x="158" y="1675"/>
                  </a:lnTo>
                  <a:lnTo>
                    <a:pt x="160" y="1669"/>
                  </a:lnTo>
                  <a:lnTo>
                    <a:pt x="160" y="1666"/>
                  </a:lnTo>
                  <a:lnTo>
                    <a:pt x="158" y="1664"/>
                  </a:lnTo>
                  <a:lnTo>
                    <a:pt x="158" y="1664"/>
                  </a:lnTo>
                  <a:lnTo>
                    <a:pt x="155" y="1664"/>
                  </a:lnTo>
                  <a:lnTo>
                    <a:pt x="151" y="1666"/>
                  </a:lnTo>
                  <a:lnTo>
                    <a:pt x="146" y="1669"/>
                  </a:lnTo>
                  <a:lnTo>
                    <a:pt x="139" y="1673"/>
                  </a:lnTo>
                  <a:lnTo>
                    <a:pt x="139" y="1673"/>
                  </a:lnTo>
                  <a:lnTo>
                    <a:pt x="134" y="1676"/>
                  </a:lnTo>
                  <a:lnTo>
                    <a:pt x="132" y="1680"/>
                  </a:lnTo>
                  <a:lnTo>
                    <a:pt x="128" y="1682"/>
                  </a:lnTo>
                  <a:lnTo>
                    <a:pt x="120" y="1678"/>
                  </a:lnTo>
                  <a:lnTo>
                    <a:pt x="120" y="1678"/>
                  </a:lnTo>
                  <a:lnTo>
                    <a:pt x="114" y="1678"/>
                  </a:lnTo>
                  <a:lnTo>
                    <a:pt x="118" y="1680"/>
                  </a:lnTo>
                  <a:lnTo>
                    <a:pt x="121" y="1683"/>
                  </a:lnTo>
                  <a:lnTo>
                    <a:pt x="121" y="1685"/>
                  </a:lnTo>
                  <a:lnTo>
                    <a:pt x="121" y="1685"/>
                  </a:lnTo>
                  <a:lnTo>
                    <a:pt x="121" y="1685"/>
                  </a:lnTo>
                  <a:lnTo>
                    <a:pt x="116" y="1687"/>
                  </a:lnTo>
                  <a:lnTo>
                    <a:pt x="113" y="1690"/>
                  </a:lnTo>
                  <a:lnTo>
                    <a:pt x="111" y="1694"/>
                  </a:lnTo>
                  <a:lnTo>
                    <a:pt x="113" y="1699"/>
                  </a:lnTo>
                  <a:lnTo>
                    <a:pt x="113" y="1699"/>
                  </a:lnTo>
                  <a:lnTo>
                    <a:pt x="114" y="1702"/>
                  </a:lnTo>
                  <a:lnTo>
                    <a:pt x="113" y="1704"/>
                  </a:lnTo>
                  <a:lnTo>
                    <a:pt x="102" y="1697"/>
                  </a:lnTo>
                  <a:lnTo>
                    <a:pt x="102" y="1697"/>
                  </a:lnTo>
                  <a:lnTo>
                    <a:pt x="90" y="1688"/>
                  </a:lnTo>
                  <a:lnTo>
                    <a:pt x="87" y="1685"/>
                  </a:lnTo>
                  <a:lnTo>
                    <a:pt x="87" y="1685"/>
                  </a:lnTo>
                  <a:lnTo>
                    <a:pt x="90" y="1685"/>
                  </a:lnTo>
                  <a:lnTo>
                    <a:pt x="90" y="1685"/>
                  </a:lnTo>
                  <a:lnTo>
                    <a:pt x="95" y="1685"/>
                  </a:lnTo>
                  <a:lnTo>
                    <a:pt x="101" y="1687"/>
                  </a:lnTo>
                  <a:lnTo>
                    <a:pt x="102" y="1687"/>
                  </a:lnTo>
                  <a:lnTo>
                    <a:pt x="101" y="1683"/>
                  </a:lnTo>
                  <a:lnTo>
                    <a:pt x="101" y="1683"/>
                  </a:lnTo>
                  <a:lnTo>
                    <a:pt x="99" y="1682"/>
                  </a:lnTo>
                  <a:lnTo>
                    <a:pt x="99" y="1680"/>
                  </a:lnTo>
                  <a:lnTo>
                    <a:pt x="101" y="1678"/>
                  </a:lnTo>
                  <a:lnTo>
                    <a:pt x="99" y="1675"/>
                  </a:lnTo>
                  <a:lnTo>
                    <a:pt x="99" y="1675"/>
                  </a:lnTo>
                  <a:lnTo>
                    <a:pt x="99" y="1669"/>
                  </a:lnTo>
                  <a:lnTo>
                    <a:pt x="102" y="1666"/>
                  </a:lnTo>
                  <a:lnTo>
                    <a:pt x="108" y="1664"/>
                  </a:lnTo>
                  <a:lnTo>
                    <a:pt x="113" y="1666"/>
                  </a:lnTo>
                  <a:lnTo>
                    <a:pt x="113" y="1666"/>
                  </a:lnTo>
                  <a:lnTo>
                    <a:pt x="114" y="1668"/>
                  </a:lnTo>
                  <a:lnTo>
                    <a:pt x="116" y="1668"/>
                  </a:lnTo>
                  <a:lnTo>
                    <a:pt x="120" y="1662"/>
                  </a:lnTo>
                  <a:lnTo>
                    <a:pt x="123" y="1657"/>
                  </a:lnTo>
                  <a:lnTo>
                    <a:pt x="125" y="1657"/>
                  </a:lnTo>
                  <a:lnTo>
                    <a:pt x="128" y="1657"/>
                  </a:lnTo>
                  <a:lnTo>
                    <a:pt x="128" y="1657"/>
                  </a:lnTo>
                  <a:lnTo>
                    <a:pt x="135" y="1659"/>
                  </a:lnTo>
                  <a:lnTo>
                    <a:pt x="142" y="1659"/>
                  </a:lnTo>
                  <a:lnTo>
                    <a:pt x="146" y="1659"/>
                  </a:lnTo>
                  <a:lnTo>
                    <a:pt x="149" y="1655"/>
                  </a:lnTo>
                  <a:lnTo>
                    <a:pt x="149" y="1655"/>
                  </a:lnTo>
                  <a:lnTo>
                    <a:pt x="149" y="1654"/>
                  </a:lnTo>
                  <a:lnTo>
                    <a:pt x="146" y="1652"/>
                  </a:lnTo>
                  <a:lnTo>
                    <a:pt x="137" y="1650"/>
                  </a:lnTo>
                  <a:lnTo>
                    <a:pt x="125" y="1650"/>
                  </a:lnTo>
                  <a:lnTo>
                    <a:pt x="121" y="1650"/>
                  </a:lnTo>
                  <a:lnTo>
                    <a:pt x="118" y="1654"/>
                  </a:lnTo>
                  <a:lnTo>
                    <a:pt x="118" y="1654"/>
                  </a:lnTo>
                  <a:lnTo>
                    <a:pt x="114" y="1655"/>
                  </a:lnTo>
                  <a:lnTo>
                    <a:pt x="113" y="1654"/>
                  </a:lnTo>
                  <a:lnTo>
                    <a:pt x="111" y="1652"/>
                  </a:lnTo>
                  <a:lnTo>
                    <a:pt x="104" y="1650"/>
                  </a:lnTo>
                  <a:lnTo>
                    <a:pt x="104" y="1650"/>
                  </a:lnTo>
                  <a:lnTo>
                    <a:pt x="101" y="1652"/>
                  </a:lnTo>
                  <a:lnTo>
                    <a:pt x="101" y="1652"/>
                  </a:lnTo>
                  <a:lnTo>
                    <a:pt x="104" y="1654"/>
                  </a:lnTo>
                  <a:lnTo>
                    <a:pt x="106" y="1657"/>
                  </a:lnTo>
                  <a:lnTo>
                    <a:pt x="106" y="1657"/>
                  </a:lnTo>
                  <a:lnTo>
                    <a:pt x="106" y="1659"/>
                  </a:lnTo>
                  <a:lnTo>
                    <a:pt x="104" y="1661"/>
                  </a:lnTo>
                  <a:lnTo>
                    <a:pt x="101" y="1662"/>
                  </a:lnTo>
                  <a:lnTo>
                    <a:pt x="97" y="1664"/>
                  </a:lnTo>
                  <a:lnTo>
                    <a:pt x="95" y="1668"/>
                  </a:lnTo>
                  <a:lnTo>
                    <a:pt x="95" y="1669"/>
                  </a:lnTo>
                  <a:lnTo>
                    <a:pt x="95" y="1669"/>
                  </a:lnTo>
                  <a:lnTo>
                    <a:pt x="95" y="1675"/>
                  </a:lnTo>
                  <a:lnTo>
                    <a:pt x="94" y="1678"/>
                  </a:lnTo>
                  <a:lnTo>
                    <a:pt x="90" y="1680"/>
                  </a:lnTo>
                  <a:lnTo>
                    <a:pt x="83" y="1678"/>
                  </a:lnTo>
                  <a:lnTo>
                    <a:pt x="83" y="1678"/>
                  </a:lnTo>
                  <a:lnTo>
                    <a:pt x="80" y="1676"/>
                  </a:lnTo>
                  <a:lnTo>
                    <a:pt x="81" y="1675"/>
                  </a:lnTo>
                  <a:lnTo>
                    <a:pt x="85" y="1673"/>
                  </a:lnTo>
                  <a:lnTo>
                    <a:pt x="85" y="1671"/>
                  </a:lnTo>
                  <a:lnTo>
                    <a:pt x="85" y="1669"/>
                  </a:lnTo>
                  <a:lnTo>
                    <a:pt x="85" y="1669"/>
                  </a:lnTo>
                  <a:lnTo>
                    <a:pt x="80" y="1666"/>
                  </a:lnTo>
                  <a:lnTo>
                    <a:pt x="80" y="1664"/>
                  </a:lnTo>
                  <a:lnTo>
                    <a:pt x="83" y="1664"/>
                  </a:lnTo>
                  <a:lnTo>
                    <a:pt x="83" y="1664"/>
                  </a:lnTo>
                  <a:lnTo>
                    <a:pt x="85" y="1664"/>
                  </a:lnTo>
                  <a:lnTo>
                    <a:pt x="87" y="1664"/>
                  </a:lnTo>
                  <a:lnTo>
                    <a:pt x="87" y="1659"/>
                  </a:lnTo>
                  <a:lnTo>
                    <a:pt x="83" y="1655"/>
                  </a:lnTo>
                  <a:lnTo>
                    <a:pt x="80" y="1655"/>
                  </a:lnTo>
                  <a:lnTo>
                    <a:pt x="78" y="1657"/>
                  </a:lnTo>
                  <a:lnTo>
                    <a:pt x="78" y="1657"/>
                  </a:lnTo>
                  <a:lnTo>
                    <a:pt x="73" y="1661"/>
                  </a:lnTo>
                  <a:lnTo>
                    <a:pt x="73" y="1661"/>
                  </a:lnTo>
                  <a:lnTo>
                    <a:pt x="71" y="1661"/>
                  </a:lnTo>
                  <a:lnTo>
                    <a:pt x="71" y="1657"/>
                  </a:lnTo>
                  <a:lnTo>
                    <a:pt x="74" y="1650"/>
                  </a:lnTo>
                  <a:lnTo>
                    <a:pt x="74" y="1650"/>
                  </a:lnTo>
                  <a:lnTo>
                    <a:pt x="76" y="1647"/>
                  </a:lnTo>
                  <a:lnTo>
                    <a:pt x="74" y="1645"/>
                  </a:lnTo>
                  <a:lnTo>
                    <a:pt x="71" y="1643"/>
                  </a:lnTo>
                  <a:lnTo>
                    <a:pt x="74" y="1638"/>
                  </a:lnTo>
                  <a:lnTo>
                    <a:pt x="74" y="1638"/>
                  </a:lnTo>
                  <a:lnTo>
                    <a:pt x="74" y="1636"/>
                  </a:lnTo>
                  <a:lnTo>
                    <a:pt x="74" y="1633"/>
                  </a:lnTo>
                  <a:lnTo>
                    <a:pt x="71" y="1628"/>
                  </a:lnTo>
                  <a:lnTo>
                    <a:pt x="69" y="1626"/>
                  </a:lnTo>
                  <a:lnTo>
                    <a:pt x="69" y="1624"/>
                  </a:lnTo>
                  <a:lnTo>
                    <a:pt x="71" y="1624"/>
                  </a:lnTo>
                  <a:lnTo>
                    <a:pt x="71" y="1624"/>
                  </a:lnTo>
                  <a:lnTo>
                    <a:pt x="76" y="1628"/>
                  </a:lnTo>
                  <a:lnTo>
                    <a:pt x="80" y="1633"/>
                  </a:lnTo>
                  <a:lnTo>
                    <a:pt x="83" y="1635"/>
                  </a:lnTo>
                  <a:lnTo>
                    <a:pt x="85" y="1636"/>
                  </a:lnTo>
                  <a:lnTo>
                    <a:pt x="87" y="1635"/>
                  </a:lnTo>
                  <a:lnTo>
                    <a:pt x="87" y="1635"/>
                  </a:lnTo>
                  <a:lnTo>
                    <a:pt x="92" y="1628"/>
                  </a:lnTo>
                  <a:lnTo>
                    <a:pt x="94" y="1628"/>
                  </a:lnTo>
                  <a:lnTo>
                    <a:pt x="95" y="1631"/>
                  </a:lnTo>
                  <a:lnTo>
                    <a:pt x="95" y="1631"/>
                  </a:lnTo>
                  <a:lnTo>
                    <a:pt x="95" y="1633"/>
                  </a:lnTo>
                  <a:lnTo>
                    <a:pt x="97" y="1633"/>
                  </a:lnTo>
                  <a:lnTo>
                    <a:pt x="99" y="1622"/>
                  </a:lnTo>
                  <a:lnTo>
                    <a:pt x="99" y="1622"/>
                  </a:lnTo>
                  <a:lnTo>
                    <a:pt x="101" y="1621"/>
                  </a:lnTo>
                  <a:lnTo>
                    <a:pt x="102" y="1621"/>
                  </a:lnTo>
                  <a:lnTo>
                    <a:pt x="108" y="1626"/>
                  </a:lnTo>
                  <a:lnTo>
                    <a:pt x="111" y="1629"/>
                  </a:lnTo>
                  <a:lnTo>
                    <a:pt x="109" y="1628"/>
                  </a:lnTo>
                  <a:lnTo>
                    <a:pt x="109" y="1628"/>
                  </a:lnTo>
                  <a:lnTo>
                    <a:pt x="108" y="1622"/>
                  </a:lnTo>
                  <a:lnTo>
                    <a:pt x="109" y="1621"/>
                  </a:lnTo>
                  <a:lnTo>
                    <a:pt x="113" y="1619"/>
                  </a:lnTo>
                  <a:lnTo>
                    <a:pt x="114" y="1614"/>
                  </a:lnTo>
                  <a:lnTo>
                    <a:pt x="114" y="1614"/>
                  </a:lnTo>
                  <a:lnTo>
                    <a:pt x="113" y="1607"/>
                  </a:lnTo>
                  <a:lnTo>
                    <a:pt x="109" y="1603"/>
                  </a:lnTo>
                  <a:lnTo>
                    <a:pt x="97" y="1596"/>
                  </a:lnTo>
                  <a:lnTo>
                    <a:pt x="97" y="1596"/>
                  </a:lnTo>
                  <a:lnTo>
                    <a:pt x="90" y="1593"/>
                  </a:lnTo>
                  <a:lnTo>
                    <a:pt x="87" y="1593"/>
                  </a:lnTo>
                  <a:lnTo>
                    <a:pt x="88" y="1596"/>
                  </a:lnTo>
                  <a:lnTo>
                    <a:pt x="97" y="1600"/>
                  </a:lnTo>
                  <a:lnTo>
                    <a:pt x="97" y="1600"/>
                  </a:lnTo>
                  <a:lnTo>
                    <a:pt x="104" y="1605"/>
                  </a:lnTo>
                  <a:lnTo>
                    <a:pt x="109" y="1608"/>
                  </a:lnTo>
                  <a:lnTo>
                    <a:pt x="109" y="1610"/>
                  </a:lnTo>
                  <a:lnTo>
                    <a:pt x="109" y="1612"/>
                  </a:lnTo>
                  <a:lnTo>
                    <a:pt x="102" y="1612"/>
                  </a:lnTo>
                  <a:lnTo>
                    <a:pt x="102" y="1612"/>
                  </a:lnTo>
                  <a:lnTo>
                    <a:pt x="97" y="1610"/>
                  </a:lnTo>
                  <a:lnTo>
                    <a:pt x="95" y="1612"/>
                  </a:lnTo>
                  <a:lnTo>
                    <a:pt x="95" y="1614"/>
                  </a:lnTo>
                  <a:lnTo>
                    <a:pt x="94" y="1615"/>
                  </a:lnTo>
                  <a:lnTo>
                    <a:pt x="94" y="1615"/>
                  </a:lnTo>
                  <a:lnTo>
                    <a:pt x="92" y="1617"/>
                  </a:lnTo>
                  <a:lnTo>
                    <a:pt x="90" y="1621"/>
                  </a:lnTo>
                  <a:lnTo>
                    <a:pt x="87" y="1628"/>
                  </a:lnTo>
                  <a:lnTo>
                    <a:pt x="87" y="1628"/>
                  </a:lnTo>
                  <a:lnTo>
                    <a:pt x="85" y="1629"/>
                  </a:lnTo>
                  <a:lnTo>
                    <a:pt x="83" y="1628"/>
                  </a:lnTo>
                  <a:lnTo>
                    <a:pt x="78" y="1624"/>
                  </a:lnTo>
                  <a:lnTo>
                    <a:pt x="74" y="1617"/>
                  </a:lnTo>
                  <a:lnTo>
                    <a:pt x="73" y="1615"/>
                  </a:lnTo>
                  <a:lnTo>
                    <a:pt x="74" y="1615"/>
                  </a:lnTo>
                  <a:lnTo>
                    <a:pt x="74" y="1615"/>
                  </a:lnTo>
                  <a:lnTo>
                    <a:pt x="78" y="1615"/>
                  </a:lnTo>
                  <a:lnTo>
                    <a:pt x="76" y="1610"/>
                  </a:lnTo>
                  <a:lnTo>
                    <a:pt x="76" y="1610"/>
                  </a:lnTo>
                  <a:lnTo>
                    <a:pt x="74" y="1607"/>
                  </a:lnTo>
                  <a:lnTo>
                    <a:pt x="74" y="1607"/>
                  </a:lnTo>
                  <a:lnTo>
                    <a:pt x="71" y="1608"/>
                  </a:lnTo>
                  <a:lnTo>
                    <a:pt x="69" y="1610"/>
                  </a:lnTo>
                  <a:lnTo>
                    <a:pt x="67" y="1610"/>
                  </a:lnTo>
                  <a:lnTo>
                    <a:pt x="66" y="1608"/>
                  </a:lnTo>
                  <a:lnTo>
                    <a:pt x="66" y="1608"/>
                  </a:lnTo>
                  <a:lnTo>
                    <a:pt x="64" y="1605"/>
                  </a:lnTo>
                  <a:lnTo>
                    <a:pt x="64" y="1601"/>
                  </a:lnTo>
                  <a:lnTo>
                    <a:pt x="64" y="1600"/>
                  </a:lnTo>
                  <a:lnTo>
                    <a:pt x="64" y="1596"/>
                  </a:lnTo>
                  <a:lnTo>
                    <a:pt x="64" y="1596"/>
                  </a:lnTo>
                  <a:lnTo>
                    <a:pt x="62" y="1593"/>
                  </a:lnTo>
                  <a:lnTo>
                    <a:pt x="62" y="1591"/>
                  </a:lnTo>
                  <a:lnTo>
                    <a:pt x="66" y="1591"/>
                  </a:lnTo>
                  <a:lnTo>
                    <a:pt x="67" y="1594"/>
                  </a:lnTo>
                  <a:lnTo>
                    <a:pt x="67" y="1594"/>
                  </a:lnTo>
                  <a:lnTo>
                    <a:pt x="71" y="1598"/>
                  </a:lnTo>
                  <a:lnTo>
                    <a:pt x="73" y="1598"/>
                  </a:lnTo>
                  <a:lnTo>
                    <a:pt x="73" y="1594"/>
                  </a:lnTo>
                  <a:lnTo>
                    <a:pt x="71" y="1589"/>
                  </a:lnTo>
                  <a:lnTo>
                    <a:pt x="71" y="1589"/>
                  </a:lnTo>
                  <a:lnTo>
                    <a:pt x="67" y="1582"/>
                  </a:lnTo>
                  <a:lnTo>
                    <a:pt x="62" y="1581"/>
                  </a:lnTo>
                  <a:lnTo>
                    <a:pt x="62" y="1581"/>
                  </a:lnTo>
                  <a:lnTo>
                    <a:pt x="59" y="1581"/>
                  </a:lnTo>
                  <a:lnTo>
                    <a:pt x="57" y="1581"/>
                  </a:lnTo>
                  <a:lnTo>
                    <a:pt x="55" y="1581"/>
                  </a:lnTo>
                  <a:lnTo>
                    <a:pt x="55" y="1575"/>
                  </a:lnTo>
                  <a:lnTo>
                    <a:pt x="55" y="1575"/>
                  </a:lnTo>
                  <a:lnTo>
                    <a:pt x="55" y="1572"/>
                  </a:lnTo>
                  <a:lnTo>
                    <a:pt x="54" y="1572"/>
                  </a:lnTo>
                  <a:lnTo>
                    <a:pt x="54" y="1572"/>
                  </a:lnTo>
                  <a:lnTo>
                    <a:pt x="54" y="1570"/>
                  </a:lnTo>
                  <a:lnTo>
                    <a:pt x="54" y="1570"/>
                  </a:lnTo>
                  <a:lnTo>
                    <a:pt x="54" y="1567"/>
                  </a:lnTo>
                  <a:lnTo>
                    <a:pt x="54" y="1565"/>
                  </a:lnTo>
                  <a:lnTo>
                    <a:pt x="55" y="1563"/>
                  </a:lnTo>
                  <a:lnTo>
                    <a:pt x="59" y="1565"/>
                  </a:lnTo>
                  <a:lnTo>
                    <a:pt x="59" y="1565"/>
                  </a:lnTo>
                  <a:lnTo>
                    <a:pt x="64" y="1565"/>
                  </a:lnTo>
                  <a:lnTo>
                    <a:pt x="66" y="1561"/>
                  </a:lnTo>
                  <a:lnTo>
                    <a:pt x="71" y="1551"/>
                  </a:lnTo>
                  <a:lnTo>
                    <a:pt x="71" y="1551"/>
                  </a:lnTo>
                  <a:lnTo>
                    <a:pt x="73" y="1544"/>
                  </a:lnTo>
                  <a:lnTo>
                    <a:pt x="73" y="1540"/>
                  </a:lnTo>
                  <a:lnTo>
                    <a:pt x="71" y="1542"/>
                  </a:lnTo>
                  <a:lnTo>
                    <a:pt x="67" y="1549"/>
                  </a:lnTo>
                  <a:lnTo>
                    <a:pt x="67" y="1549"/>
                  </a:lnTo>
                  <a:lnTo>
                    <a:pt x="64" y="1556"/>
                  </a:lnTo>
                  <a:lnTo>
                    <a:pt x="61" y="1560"/>
                  </a:lnTo>
                  <a:lnTo>
                    <a:pt x="59" y="1560"/>
                  </a:lnTo>
                  <a:lnTo>
                    <a:pt x="55" y="1554"/>
                  </a:lnTo>
                  <a:lnTo>
                    <a:pt x="55" y="1554"/>
                  </a:lnTo>
                  <a:lnTo>
                    <a:pt x="52" y="1546"/>
                  </a:lnTo>
                  <a:lnTo>
                    <a:pt x="52" y="1546"/>
                  </a:lnTo>
                  <a:lnTo>
                    <a:pt x="55" y="1546"/>
                  </a:lnTo>
                  <a:lnTo>
                    <a:pt x="55" y="1546"/>
                  </a:lnTo>
                  <a:lnTo>
                    <a:pt x="62" y="1547"/>
                  </a:lnTo>
                  <a:lnTo>
                    <a:pt x="62" y="1546"/>
                  </a:lnTo>
                  <a:lnTo>
                    <a:pt x="59" y="1542"/>
                  </a:lnTo>
                  <a:lnTo>
                    <a:pt x="59" y="1542"/>
                  </a:lnTo>
                  <a:lnTo>
                    <a:pt x="55" y="1540"/>
                  </a:lnTo>
                  <a:lnTo>
                    <a:pt x="54" y="1539"/>
                  </a:lnTo>
                  <a:lnTo>
                    <a:pt x="50" y="1540"/>
                  </a:lnTo>
                  <a:lnTo>
                    <a:pt x="47" y="1539"/>
                  </a:lnTo>
                  <a:lnTo>
                    <a:pt x="47" y="1539"/>
                  </a:lnTo>
                  <a:lnTo>
                    <a:pt x="45" y="1537"/>
                  </a:lnTo>
                  <a:lnTo>
                    <a:pt x="43" y="1534"/>
                  </a:lnTo>
                  <a:lnTo>
                    <a:pt x="41" y="1532"/>
                  </a:lnTo>
                  <a:lnTo>
                    <a:pt x="38" y="1530"/>
                  </a:lnTo>
                  <a:lnTo>
                    <a:pt x="38" y="1530"/>
                  </a:lnTo>
                  <a:lnTo>
                    <a:pt x="36" y="1528"/>
                  </a:lnTo>
                  <a:lnTo>
                    <a:pt x="34" y="1527"/>
                  </a:lnTo>
                  <a:lnTo>
                    <a:pt x="38" y="1525"/>
                  </a:lnTo>
                  <a:lnTo>
                    <a:pt x="43" y="1525"/>
                  </a:lnTo>
                  <a:lnTo>
                    <a:pt x="48" y="1527"/>
                  </a:lnTo>
                  <a:lnTo>
                    <a:pt x="48" y="1527"/>
                  </a:lnTo>
                  <a:lnTo>
                    <a:pt x="57" y="1532"/>
                  </a:lnTo>
                  <a:lnTo>
                    <a:pt x="59" y="1532"/>
                  </a:lnTo>
                  <a:lnTo>
                    <a:pt x="55" y="1528"/>
                  </a:lnTo>
                  <a:lnTo>
                    <a:pt x="55" y="1528"/>
                  </a:lnTo>
                  <a:lnTo>
                    <a:pt x="48" y="1520"/>
                  </a:lnTo>
                  <a:lnTo>
                    <a:pt x="48" y="1518"/>
                  </a:lnTo>
                  <a:lnTo>
                    <a:pt x="48" y="1518"/>
                  </a:lnTo>
                  <a:lnTo>
                    <a:pt x="55" y="1518"/>
                  </a:lnTo>
                  <a:lnTo>
                    <a:pt x="55" y="1518"/>
                  </a:lnTo>
                  <a:lnTo>
                    <a:pt x="61" y="1520"/>
                  </a:lnTo>
                  <a:lnTo>
                    <a:pt x="62" y="1520"/>
                  </a:lnTo>
                  <a:lnTo>
                    <a:pt x="62" y="1520"/>
                  </a:lnTo>
                  <a:lnTo>
                    <a:pt x="52" y="1513"/>
                  </a:lnTo>
                  <a:lnTo>
                    <a:pt x="52" y="1513"/>
                  </a:lnTo>
                  <a:lnTo>
                    <a:pt x="48" y="1509"/>
                  </a:lnTo>
                  <a:lnTo>
                    <a:pt x="50" y="1507"/>
                  </a:lnTo>
                  <a:lnTo>
                    <a:pt x="52" y="1506"/>
                  </a:lnTo>
                  <a:lnTo>
                    <a:pt x="50" y="1502"/>
                  </a:lnTo>
                  <a:lnTo>
                    <a:pt x="50" y="1502"/>
                  </a:lnTo>
                  <a:lnTo>
                    <a:pt x="48" y="1500"/>
                  </a:lnTo>
                  <a:lnTo>
                    <a:pt x="48" y="1500"/>
                  </a:lnTo>
                  <a:lnTo>
                    <a:pt x="52" y="1497"/>
                  </a:lnTo>
                  <a:lnTo>
                    <a:pt x="57" y="1497"/>
                  </a:lnTo>
                  <a:lnTo>
                    <a:pt x="62" y="1499"/>
                  </a:lnTo>
                  <a:lnTo>
                    <a:pt x="62" y="1499"/>
                  </a:lnTo>
                  <a:lnTo>
                    <a:pt x="66" y="1500"/>
                  </a:lnTo>
                  <a:lnTo>
                    <a:pt x="64" y="1499"/>
                  </a:lnTo>
                  <a:lnTo>
                    <a:pt x="61" y="1493"/>
                  </a:lnTo>
                  <a:lnTo>
                    <a:pt x="59" y="1488"/>
                  </a:lnTo>
                  <a:lnTo>
                    <a:pt x="59" y="1488"/>
                  </a:lnTo>
                  <a:lnTo>
                    <a:pt x="59" y="1481"/>
                  </a:lnTo>
                  <a:lnTo>
                    <a:pt x="59" y="1478"/>
                  </a:lnTo>
                  <a:lnTo>
                    <a:pt x="59" y="1474"/>
                  </a:lnTo>
                  <a:lnTo>
                    <a:pt x="57" y="1474"/>
                  </a:lnTo>
                  <a:lnTo>
                    <a:pt x="57" y="1474"/>
                  </a:lnTo>
                  <a:lnTo>
                    <a:pt x="55" y="1480"/>
                  </a:lnTo>
                  <a:lnTo>
                    <a:pt x="54" y="1487"/>
                  </a:lnTo>
                  <a:lnTo>
                    <a:pt x="52" y="1492"/>
                  </a:lnTo>
                  <a:lnTo>
                    <a:pt x="52" y="1493"/>
                  </a:lnTo>
                  <a:lnTo>
                    <a:pt x="50" y="1493"/>
                  </a:lnTo>
                  <a:lnTo>
                    <a:pt x="50" y="1493"/>
                  </a:lnTo>
                  <a:lnTo>
                    <a:pt x="48" y="1492"/>
                  </a:lnTo>
                  <a:lnTo>
                    <a:pt x="47" y="1485"/>
                  </a:lnTo>
                  <a:lnTo>
                    <a:pt x="45" y="1467"/>
                  </a:lnTo>
                  <a:lnTo>
                    <a:pt x="45" y="1467"/>
                  </a:lnTo>
                  <a:lnTo>
                    <a:pt x="45" y="1460"/>
                  </a:lnTo>
                  <a:lnTo>
                    <a:pt x="45" y="1455"/>
                  </a:lnTo>
                  <a:lnTo>
                    <a:pt x="48" y="1445"/>
                  </a:lnTo>
                  <a:lnTo>
                    <a:pt x="48" y="1445"/>
                  </a:lnTo>
                  <a:lnTo>
                    <a:pt x="50" y="1441"/>
                  </a:lnTo>
                  <a:lnTo>
                    <a:pt x="52" y="1441"/>
                  </a:lnTo>
                  <a:lnTo>
                    <a:pt x="55" y="1441"/>
                  </a:lnTo>
                  <a:lnTo>
                    <a:pt x="59" y="1445"/>
                  </a:lnTo>
                  <a:lnTo>
                    <a:pt x="61" y="1445"/>
                  </a:lnTo>
                  <a:lnTo>
                    <a:pt x="61" y="1443"/>
                  </a:lnTo>
                  <a:lnTo>
                    <a:pt x="61" y="1443"/>
                  </a:lnTo>
                  <a:lnTo>
                    <a:pt x="61" y="1441"/>
                  </a:lnTo>
                  <a:lnTo>
                    <a:pt x="61" y="1440"/>
                  </a:lnTo>
                  <a:lnTo>
                    <a:pt x="62" y="1438"/>
                  </a:lnTo>
                  <a:lnTo>
                    <a:pt x="59" y="1436"/>
                  </a:lnTo>
                  <a:lnTo>
                    <a:pt x="59" y="1436"/>
                  </a:lnTo>
                  <a:lnTo>
                    <a:pt x="50" y="1431"/>
                  </a:lnTo>
                  <a:lnTo>
                    <a:pt x="47" y="1427"/>
                  </a:lnTo>
                  <a:lnTo>
                    <a:pt x="45" y="1424"/>
                  </a:lnTo>
                  <a:lnTo>
                    <a:pt x="45" y="1424"/>
                  </a:lnTo>
                  <a:lnTo>
                    <a:pt x="43" y="1420"/>
                  </a:lnTo>
                  <a:lnTo>
                    <a:pt x="41" y="1420"/>
                  </a:lnTo>
                  <a:lnTo>
                    <a:pt x="40" y="1420"/>
                  </a:lnTo>
                  <a:lnTo>
                    <a:pt x="38" y="1419"/>
                  </a:lnTo>
                  <a:lnTo>
                    <a:pt x="38" y="1419"/>
                  </a:lnTo>
                  <a:lnTo>
                    <a:pt x="36" y="1417"/>
                  </a:lnTo>
                  <a:lnTo>
                    <a:pt x="38" y="1417"/>
                  </a:lnTo>
                  <a:lnTo>
                    <a:pt x="41" y="1415"/>
                  </a:lnTo>
                  <a:lnTo>
                    <a:pt x="55" y="1415"/>
                  </a:lnTo>
                  <a:lnTo>
                    <a:pt x="55" y="1415"/>
                  </a:lnTo>
                  <a:lnTo>
                    <a:pt x="61" y="1417"/>
                  </a:lnTo>
                  <a:lnTo>
                    <a:pt x="66" y="1419"/>
                  </a:lnTo>
                  <a:lnTo>
                    <a:pt x="78" y="1427"/>
                  </a:lnTo>
                  <a:lnTo>
                    <a:pt x="78" y="1427"/>
                  </a:lnTo>
                  <a:lnTo>
                    <a:pt x="81" y="1429"/>
                  </a:lnTo>
                  <a:lnTo>
                    <a:pt x="81" y="1427"/>
                  </a:lnTo>
                  <a:lnTo>
                    <a:pt x="78" y="1422"/>
                  </a:lnTo>
                  <a:lnTo>
                    <a:pt x="74" y="1417"/>
                  </a:lnTo>
                  <a:lnTo>
                    <a:pt x="74" y="1413"/>
                  </a:lnTo>
                  <a:lnTo>
                    <a:pt x="74" y="1412"/>
                  </a:lnTo>
                  <a:lnTo>
                    <a:pt x="74" y="1412"/>
                  </a:lnTo>
                  <a:lnTo>
                    <a:pt x="76" y="1412"/>
                  </a:lnTo>
                  <a:lnTo>
                    <a:pt x="76" y="1410"/>
                  </a:lnTo>
                  <a:lnTo>
                    <a:pt x="74" y="1406"/>
                  </a:lnTo>
                  <a:lnTo>
                    <a:pt x="71" y="1403"/>
                  </a:lnTo>
                  <a:lnTo>
                    <a:pt x="69" y="1403"/>
                  </a:lnTo>
                  <a:lnTo>
                    <a:pt x="67" y="1405"/>
                  </a:lnTo>
                  <a:lnTo>
                    <a:pt x="67" y="1405"/>
                  </a:lnTo>
                  <a:lnTo>
                    <a:pt x="67" y="1406"/>
                  </a:lnTo>
                  <a:lnTo>
                    <a:pt x="66" y="1408"/>
                  </a:lnTo>
                  <a:lnTo>
                    <a:pt x="64" y="1406"/>
                  </a:lnTo>
                  <a:lnTo>
                    <a:pt x="57" y="1405"/>
                  </a:lnTo>
                  <a:lnTo>
                    <a:pt x="50" y="1405"/>
                  </a:lnTo>
                  <a:lnTo>
                    <a:pt x="50" y="1405"/>
                  </a:lnTo>
                  <a:lnTo>
                    <a:pt x="43" y="1405"/>
                  </a:lnTo>
                  <a:lnTo>
                    <a:pt x="38" y="1405"/>
                  </a:lnTo>
                  <a:lnTo>
                    <a:pt x="36" y="1401"/>
                  </a:lnTo>
                  <a:lnTo>
                    <a:pt x="38" y="1398"/>
                  </a:lnTo>
                  <a:lnTo>
                    <a:pt x="38" y="1398"/>
                  </a:lnTo>
                  <a:lnTo>
                    <a:pt x="40" y="1394"/>
                  </a:lnTo>
                  <a:lnTo>
                    <a:pt x="43" y="1394"/>
                  </a:lnTo>
                  <a:lnTo>
                    <a:pt x="50" y="1394"/>
                  </a:lnTo>
                  <a:lnTo>
                    <a:pt x="50" y="1394"/>
                  </a:lnTo>
                  <a:lnTo>
                    <a:pt x="52" y="1394"/>
                  </a:lnTo>
                  <a:lnTo>
                    <a:pt x="48" y="1393"/>
                  </a:lnTo>
                  <a:lnTo>
                    <a:pt x="45" y="1389"/>
                  </a:lnTo>
                  <a:lnTo>
                    <a:pt x="43" y="1386"/>
                  </a:lnTo>
                  <a:lnTo>
                    <a:pt x="45" y="1382"/>
                  </a:lnTo>
                  <a:lnTo>
                    <a:pt x="45" y="1382"/>
                  </a:lnTo>
                  <a:lnTo>
                    <a:pt x="47" y="1379"/>
                  </a:lnTo>
                  <a:lnTo>
                    <a:pt x="50" y="1377"/>
                  </a:lnTo>
                  <a:lnTo>
                    <a:pt x="55" y="1377"/>
                  </a:lnTo>
                  <a:lnTo>
                    <a:pt x="59" y="1375"/>
                  </a:lnTo>
                  <a:lnTo>
                    <a:pt x="61" y="1373"/>
                  </a:lnTo>
                  <a:lnTo>
                    <a:pt x="62" y="1372"/>
                  </a:lnTo>
                  <a:lnTo>
                    <a:pt x="62" y="1372"/>
                  </a:lnTo>
                  <a:lnTo>
                    <a:pt x="62" y="1366"/>
                  </a:lnTo>
                  <a:lnTo>
                    <a:pt x="61" y="1365"/>
                  </a:lnTo>
                  <a:lnTo>
                    <a:pt x="57" y="1363"/>
                  </a:lnTo>
                  <a:lnTo>
                    <a:pt x="54" y="1359"/>
                  </a:lnTo>
                  <a:lnTo>
                    <a:pt x="54" y="1359"/>
                  </a:lnTo>
                  <a:lnTo>
                    <a:pt x="50" y="1356"/>
                  </a:lnTo>
                  <a:lnTo>
                    <a:pt x="48" y="1354"/>
                  </a:lnTo>
                  <a:lnTo>
                    <a:pt x="45" y="1354"/>
                  </a:lnTo>
                  <a:lnTo>
                    <a:pt x="43" y="1358"/>
                  </a:lnTo>
                  <a:lnTo>
                    <a:pt x="43" y="1358"/>
                  </a:lnTo>
                  <a:lnTo>
                    <a:pt x="43" y="1359"/>
                  </a:lnTo>
                  <a:lnTo>
                    <a:pt x="41" y="1361"/>
                  </a:lnTo>
                  <a:lnTo>
                    <a:pt x="34" y="1359"/>
                  </a:lnTo>
                  <a:lnTo>
                    <a:pt x="27" y="1356"/>
                  </a:lnTo>
                  <a:lnTo>
                    <a:pt x="24" y="1351"/>
                  </a:lnTo>
                  <a:lnTo>
                    <a:pt x="24" y="1351"/>
                  </a:lnTo>
                  <a:lnTo>
                    <a:pt x="20" y="1345"/>
                  </a:lnTo>
                  <a:lnTo>
                    <a:pt x="19" y="1344"/>
                  </a:lnTo>
                  <a:lnTo>
                    <a:pt x="15" y="1345"/>
                  </a:lnTo>
                  <a:lnTo>
                    <a:pt x="14" y="1349"/>
                  </a:lnTo>
                  <a:lnTo>
                    <a:pt x="12" y="1354"/>
                  </a:lnTo>
                  <a:lnTo>
                    <a:pt x="12" y="1354"/>
                  </a:lnTo>
                  <a:lnTo>
                    <a:pt x="12" y="1359"/>
                  </a:lnTo>
                  <a:lnTo>
                    <a:pt x="10" y="1363"/>
                  </a:lnTo>
                  <a:lnTo>
                    <a:pt x="7" y="1363"/>
                  </a:lnTo>
                  <a:lnTo>
                    <a:pt x="1" y="1356"/>
                  </a:lnTo>
                  <a:lnTo>
                    <a:pt x="1" y="1356"/>
                  </a:lnTo>
                  <a:lnTo>
                    <a:pt x="0" y="1352"/>
                  </a:lnTo>
                  <a:lnTo>
                    <a:pt x="0" y="1349"/>
                  </a:lnTo>
                  <a:lnTo>
                    <a:pt x="1" y="1345"/>
                  </a:lnTo>
                  <a:lnTo>
                    <a:pt x="3" y="1342"/>
                  </a:lnTo>
                  <a:lnTo>
                    <a:pt x="14" y="1335"/>
                  </a:lnTo>
                  <a:lnTo>
                    <a:pt x="26" y="1328"/>
                  </a:lnTo>
                  <a:lnTo>
                    <a:pt x="26" y="1328"/>
                  </a:lnTo>
                  <a:lnTo>
                    <a:pt x="31" y="1323"/>
                  </a:lnTo>
                  <a:lnTo>
                    <a:pt x="34" y="1319"/>
                  </a:lnTo>
                  <a:lnTo>
                    <a:pt x="36" y="1316"/>
                  </a:lnTo>
                  <a:lnTo>
                    <a:pt x="36" y="1312"/>
                  </a:lnTo>
                  <a:lnTo>
                    <a:pt x="36" y="1309"/>
                  </a:lnTo>
                  <a:lnTo>
                    <a:pt x="38" y="1307"/>
                  </a:lnTo>
                  <a:lnTo>
                    <a:pt x="40" y="1309"/>
                  </a:lnTo>
                  <a:lnTo>
                    <a:pt x="40" y="1309"/>
                  </a:lnTo>
                  <a:lnTo>
                    <a:pt x="43" y="1311"/>
                  </a:lnTo>
                  <a:lnTo>
                    <a:pt x="45" y="1309"/>
                  </a:lnTo>
                  <a:lnTo>
                    <a:pt x="45" y="1307"/>
                  </a:lnTo>
                  <a:lnTo>
                    <a:pt x="52" y="1307"/>
                  </a:lnTo>
                  <a:lnTo>
                    <a:pt x="52" y="1307"/>
                  </a:lnTo>
                  <a:lnTo>
                    <a:pt x="55" y="1307"/>
                  </a:lnTo>
                  <a:lnTo>
                    <a:pt x="57" y="1307"/>
                  </a:lnTo>
                  <a:lnTo>
                    <a:pt x="57" y="1312"/>
                  </a:lnTo>
                  <a:lnTo>
                    <a:pt x="57" y="1318"/>
                  </a:lnTo>
                  <a:lnTo>
                    <a:pt x="59" y="1319"/>
                  </a:lnTo>
                  <a:lnTo>
                    <a:pt x="62" y="1323"/>
                  </a:lnTo>
                  <a:lnTo>
                    <a:pt x="62" y="1323"/>
                  </a:lnTo>
                  <a:lnTo>
                    <a:pt x="66" y="1326"/>
                  </a:lnTo>
                  <a:lnTo>
                    <a:pt x="66" y="1330"/>
                  </a:lnTo>
                  <a:lnTo>
                    <a:pt x="66" y="1339"/>
                  </a:lnTo>
                  <a:lnTo>
                    <a:pt x="64" y="1345"/>
                  </a:lnTo>
                  <a:lnTo>
                    <a:pt x="64" y="1345"/>
                  </a:lnTo>
                  <a:lnTo>
                    <a:pt x="66" y="1345"/>
                  </a:lnTo>
                  <a:lnTo>
                    <a:pt x="66" y="1345"/>
                  </a:lnTo>
                  <a:lnTo>
                    <a:pt x="71" y="1340"/>
                  </a:lnTo>
                  <a:lnTo>
                    <a:pt x="73" y="1335"/>
                  </a:lnTo>
                  <a:lnTo>
                    <a:pt x="73" y="1328"/>
                  </a:lnTo>
                  <a:lnTo>
                    <a:pt x="74" y="1316"/>
                  </a:lnTo>
                  <a:lnTo>
                    <a:pt x="74" y="1316"/>
                  </a:lnTo>
                  <a:lnTo>
                    <a:pt x="76" y="1307"/>
                  </a:lnTo>
                  <a:lnTo>
                    <a:pt x="76" y="1302"/>
                  </a:lnTo>
                  <a:lnTo>
                    <a:pt x="76" y="1298"/>
                  </a:lnTo>
                  <a:lnTo>
                    <a:pt x="76" y="1293"/>
                  </a:lnTo>
                  <a:lnTo>
                    <a:pt x="76" y="1293"/>
                  </a:lnTo>
                  <a:lnTo>
                    <a:pt x="80" y="1288"/>
                  </a:lnTo>
                  <a:lnTo>
                    <a:pt x="83" y="1285"/>
                  </a:lnTo>
                  <a:lnTo>
                    <a:pt x="87" y="1281"/>
                  </a:lnTo>
                  <a:lnTo>
                    <a:pt x="87" y="1279"/>
                  </a:lnTo>
                  <a:lnTo>
                    <a:pt x="85" y="1279"/>
                  </a:lnTo>
                  <a:lnTo>
                    <a:pt x="85" y="1279"/>
                  </a:lnTo>
                  <a:lnTo>
                    <a:pt x="83" y="1274"/>
                  </a:lnTo>
                  <a:lnTo>
                    <a:pt x="81" y="1271"/>
                  </a:lnTo>
                  <a:lnTo>
                    <a:pt x="83" y="1269"/>
                  </a:lnTo>
                  <a:lnTo>
                    <a:pt x="88" y="1265"/>
                  </a:lnTo>
                  <a:lnTo>
                    <a:pt x="88" y="1265"/>
                  </a:lnTo>
                  <a:lnTo>
                    <a:pt x="94" y="1264"/>
                  </a:lnTo>
                  <a:lnTo>
                    <a:pt x="99" y="1260"/>
                  </a:lnTo>
                  <a:lnTo>
                    <a:pt x="102" y="1255"/>
                  </a:lnTo>
                  <a:lnTo>
                    <a:pt x="106" y="1250"/>
                  </a:lnTo>
                  <a:lnTo>
                    <a:pt x="106" y="1250"/>
                  </a:lnTo>
                  <a:lnTo>
                    <a:pt x="108" y="1243"/>
                  </a:lnTo>
                  <a:lnTo>
                    <a:pt x="108" y="1238"/>
                  </a:lnTo>
                  <a:lnTo>
                    <a:pt x="104" y="1234"/>
                  </a:lnTo>
                  <a:lnTo>
                    <a:pt x="97" y="1231"/>
                  </a:lnTo>
                  <a:lnTo>
                    <a:pt x="97" y="1231"/>
                  </a:lnTo>
                  <a:lnTo>
                    <a:pt x="92" y="1229"/>
                  </a:lnTo>
                  <a:lnTo>
                    <a:pt x="88" y="1227"/>
                  </a:lnTo>
                  <a:lnTo>
                    <a:pt x="87" y="1224"/>
                  </a:lnTo>
                  <a:lnTo>
                    <a:pt x="88" y="1222"/>
                  </a:lnTo>
                  <a:lnTo>
                    <a:pt x="88" y="1222"/>
                  </a:lnTo>
                  <a:lnTo>
                    <a:pt x="92" y="1217"/>
                  </a:lnTo>
                  <a:lnTo>
                    <a:pt x="94" y="1210"/>
                  </a:lnTo>
                  <a:lnTo>
                    <a:pt x="95" y="1201"/>
                  </a:lnTo>
                  <a:lnTo>
                    <a:pt x="92" y="1191"/>
                  </a:lnTo>
                  <a:lnTo>
                    <a:pt x="92" y="1191"/>
                  </a:lnTo>
                  <a:lnTo>
                    <a:pt x="92" y="1187"/>
                  </a:lnTo>
                  <a:lnTo>
                    <a:pt x="92" y="1182"/>
                  </a:lnTo>
                  <a:lnTo>
                    <a:pt x="97" y="1177"/>
                  </a:lnTo>
                  <a:lnTo>
                    <a:pt x="102" y="1170"/>
                  </a:lnTo>
                  <a:lnTo>
                    <a:pt x="104" y="1164"/>
                  </a:lnTo>
                  <a:lnTo>
                    <a:pt x="102" y="1159"/>
                  </a:lnTo>
                  <a:lnTo>
                    <a:pt x="102" y="1159"/>
                  </a:lnTo>
                  <a:lnTo>
                    <a:pt x="101" y="1150"/>
                  </a:lnTo>
                  <a:lnTo>
                    <a:pt x="102" y="1145"/>
                  </a:lnTo>
                  <a:lnTo>
                    <a:pt x="104" y="1142"/>
                  </a:lnTo>
                  <a:lnTo>
                    <a:pt x="102" y="1137"/>
                  </a:lnTo>
                  <a:lnTo>
                    <a:pt x="102" y="1137"/>
                  </a:lnTo>
                  <a:lnTo>
                    <a:pt x="102" y="1131"/>
                  </a:lnTo>
                  <a:lnTo>
                    <a:pt x="104" y="1130"/>
                  </a:lnTo>
                  <a:lnTo>
                    <a:pt x="108" y="1130"/>
                  </a:lnTo>
                  <a:lnTo>
                    <a:pt x="111" y="1135"/>
                  </a:lnTo>
                  <a:lnTo>
                    <a:pt x="111" y="1135"/>
                  </a:lnTo>
                  <a:lnTo>
                    <a:pt x="113" y="1137"/>
                  </a:lnTo>
                  <a:lnTo>
                    <a:pt x="114" y="1135"/>
                  </a:lnTo>
                  <a:lnTo>
                    <a:pt x="116" y="1130"/>
                  </a:lnTo>
                  <a:lnTo>
                    <a:pt x="114" y="1126"/>
                  </a:lnTo>
                  <a:lnTo>
                    <a:pt x="113" y="1123"/>
                  </a:lnTo>
                  <a:lnTo>
                    <a:pt x="109" y="1121"/>
                  </a:lnTo>
                  <a:lnTo>
                    <a:pt x="104" y="1119"/>
                  </a:lnTo>
                  <a:lnTo>
                    <a:pt x="104" y="1119"/>
                  </a:lnTo>
                  <a:lnTo>
                    <a:pt x="101" y="1117"/>
                  </a:lnTo>
                  <a:lnTo>
                    <a:pt x="101" y="1116"/>
                  </a:lnTo>
                  <a:lnTo>
                    <a:pt x="104" y="1112"/>
                  </a:lnTo>
                  <a:lnTo>
                    <a:pt x="109" y="1107"/>
                  </a:lnTo>
                  <a:lnTo>
                    <a:pt x="111" y="1105"/>
                  </a:lnTo>
                  <a:lnTo>
                    <a:pt x="109" y="1103"/>
                  </a:lnTo>
                  <a:lnTo>
                    <a:pt x="109" y="1103"/>
                  </a:lnTo>
                  <a:lnTo>
                    <a:pt x="106" y="1102"/>
                  </a:lnTo>
                  <a:lnTo>
                    <a:pt x="102" y="1098"/>
                  </a:lnTo>
                  <a:lnTo>
                    <a:pt x="99" y="1093"/>
                  </a:lnTo>
                  <a:lnTo>
                    <a:pt x="97" y="1093"/>
                  </a:lnTo>
                  <a:lnTo>
                    <a:pt x="95" y="1093"/>
                  </a:lnTo>
                  <a:lnTo>
                    <a:pt x="92" y="1100"/>
                  </a:lnTo>
                  <a:lnTo>
                    <a:pt x="92" y="1100"/>
                  </a:lnTo>
                  <a:lnTo>
                    <a:pt x="90" y="1103"/>
                  </a:lnTo>
                  <a:lnTo>
                    <a:pt x="87" y="1107"/>
                  </a:lnTo>
                  <a:lnTo>
                    <a:pt x="85" y="1109"/>
                  </a:lnTo>
                  <a:lnTo>
                    <a:pt x="80" y="1109"/>
                  </a:lnTo>
                  <a:lnTo>
                    <a:pt x="76" y="1107"/>
                  </a:lnTo>
                  <a:lnTo>
                    <a:pt x="73" y="1103"/>
                  </a:lnTo>
                  <a:lnTo>
                    <a:pt x="67" y="1097"/>
                  </a:lnTo>
                  <a:lnTo>
                    <a:pt x="64" y="1090"/>
                  </a:lnTo>
                  <a:lnTo>
                    <a:pt x="64" y="1090"/>
                  </a:lnTo>
                  <a:lnTo>
                    <a:pt x="61" y="1081"/>
                  </a:lnTo>
                  <a:lnTo>
                    <a:pt x="61" y="1076"/>
                  </a:lnTo>
                  <a:lnTo>
                    <a:pt x="61" y="1070"/>
                  </a:lnTo>
                  <a:lnTo>
                    <a:pt x="61" y="1065"/>
                  </a:lnTo>
                  <a:lnTo>
                    <a:pt x="66" y="1053"/>
                  </a:lnTo>
                  <a:lnTo>
                    <a:pt x="67" y="1043"/>
                  </a:lnTo>
                  <a:lnTo>
                    <a:pt x="69" y="1029"/>
                  </a:lnTo>
                  <a:lnTo>
                    <a:pt x="69" y="1029"/>
                  </a:lnTo>
                  <a:lnTo>
                    <a:pt x="69" y="1020"/>
                  </a:lnTo>
                  <a:lnTo>
                    <a:pt x="71" y="1016"/>
                  </a:lnTo>
                  <a:lnTo>
                    <a:pt x="73" y="1015"/>
                  </a:lnTo>
                  <a:lnTo>
                    <a:pt x="76" y="1015"/>
                  </a:lnTo>
                  <a:lnTo>
                    <a:pt x="78" y="1015"/>
                  </a:lnTo>
                  <a:lnTo>
                    <a:pt x="80" y="1013"/>
                  </a:lnTo>
                  <a:lnTo>
                    <a:pt x="83" y="1008"/>
                  </a:lnTo>
                  <a:lnTo>
                    <a:pt x="85" y="997"/>
                  </a:lnTo>
                  <a:lnTo>
                    <a:pt x="85" y="997"/>
                  </a:lnTo>
                  <a:lnTo>
                    <a:pt x="87" y="985"/>
                  </a:lnTo>
                  <a:lnTo>
                    <a:pt x="85" y="978"/>
                  </a:lnTo>
                  <a:lnTo>
                    <a:pt x="85" y="971"/>
                  </a:lnTo>
                  <a:lnTo>
                    <a:pt x="81" y="966"/>
                  </a:lnTo>
                  <a:lnTo>
                    <a:pt x="78" y="957"/>
                  </a:lnTo>
                  <a:lnTo>
                    <a:pt x="76" y="950"/>
                  </a:lnTo>
                  <a:lnTo>
                    <a:pt x="78" y="940"/>
                  </a:lnTo>
                  <a:lnTo>
                    <a:pt x="78" y="940"/>
                  </a:lnTo>
                  <a:lnTo>
                    <a:pt x="78" y="931"/>
                  </a:lnTo>
                  <a:lnTo>
                    <a:pt x="78" y="924"/>
                  </a:lnTo>
                  <a:lnTo>
                    <a:pt x="74" y="917"/>
                  </a:lnTo>
                  <a:lnTo>
                    <a:pt x="73" y="910"/>
                  </a:lnTo>
                  <a:lnTo>
                    <a:pt x="71" y="903"/>
                  </a:lnTo>
                  <a:lnTo>
                    <a:pt x="73" y="893"/>
                  </a:lnTo>
                  <a:lnTo>
                    <a:pt x="73" y="893"/>
                  </a:lnTo>
                  <a:lnTo>
                    <a:pt x="73" y="889"/>
                  </a:lnTo>
                  <a:lnTo>
                    <a:pt x="74" y="888"/>
                  </a:lnTo>
                  <a:lnTo>
                    <a:pt x="81" y="889"/>
                  </a:lnTo>
                  <a:lnTo>
                    <a:pt x="85" y="889"/>
                  </a:lnTo>
                  <a:lnTo>
                    <a:pt x="87" y="888"/>
                  </a:lnTo>
                  <a:lnTo>
                    <a:pt x="88" y="882"/>
                  </a:lnTo>
                  <a:lnTo>
                    <a:pt x="90" y="872"/>
                  </a:lnTo>
                  <a:lnTo>
                    <a:pt x="90" y="872"/>
                  </a:lnTo>
                  <a:lnTo>
                    <a:pt x="92" y="863"/>
                  </a:lnTo>
                  <a:lnTo>
                    <a:pt x="92" y="863"/>
                  </a:lnTo>
                  <a:lnTo>
                    <a:pt x="94" y="863"/>
                  </a:lnTo>
                  <a:lnTo>
                    <a:pt x="95" y="865"/>
                  </a:lnTo>
                  <a:lnTo>
                    <a:pt x="97" y="863"/>
                  </a:lnTo>
                  <a:lnTo>
                    <a:pt x="99" y="858"/>
                  </a:lnTo>
                  <a:lnTo>
                    <a:pt x="99" y="848"/>
                  </a:lnTo>
                  <a:lnTo>
                    <a:pt x="99" y="848"/>
                  </a:lnTo>
                  <a:lnTo>
                    <a:pt x="102" y="835"/>
                  </a:lnTo>
                  <a:lnTo>
                    <a:pt x="104" y="830"/>
                  </a:lnTo>
                  <a:lnTo>
                    <a:pt x="108" y="827"/>
                  </a:lnTo>
                  <a:lnTo>
                    <a:pt x="109" y="820"/>
                  </a:lnTo>
                  <a:lnTo>
                    <a:pt x="109" y="820"/>
                  </a:lnTo>
                  <a:lnTo>
                    <a:pt x="113" y="809"/>
                  </a:lnTo>
                  <a:lnTo>
                    <a:pt x="120" y="795"/>
                  </a:lnTo>
                  <a:lnTo>
                    <a:pt x="127" y="778"/>
                  </a:lnTo>
                  <a:lnTo>
                    <a:pt x="128" y="767"/>
                  </a:lnTo>
                  <a:lnTo>
                    <a:pt x="130" y="754"/>
                  </a:lnTo>
                  <a:lnTo>
                    <a:pt x="130" y="754"/>
                  </a:lnTo>
                  <a:lnTo>
                    <a:pt x="132" y="743"/>
                  </a:lnTo>
                  <a:lnTo>
                    <a:pt x="134" y="736"/>
                  </a:lnTo>
                  <a:lnTo>
                    <a:pt x="135" y="731"/>
                  </a:lnTo>
                  <a:lnTo>
                    <a:pt x="139" y="727"/>
                  </a:lnTo>
                  <a:lnTo>
                    <a:pt x="141" y="726"/>
                  </a:lnTo>
                  <a:lnTo>
                    <a:pt x="142" y="724"/>
                  </a:lnTo>
                  <a:lnTo>
                    <a:pt x="142" y="719"/>
                  </a:lnTo>
                  <a:lnTo>
                    <a:pt x="141" y="712"/>
                  </a:lnTo>
                  <a:lnTo>
                    <a:pt x="141" y="712"/>
                  </a:lnTo>
                  <a:lnTo>
                    <a:pt x="141" y="705"/>
                  </a:lnTo>
                  <a:lnTo>
                    <a:pt x="141" y="698"/>
                  </a:lnTo>
                  <a:lnTo>
                    <a:pt x="146" y="686"/>
                  </a:lnTo>
                  <a:lnTo>
                    <a:pt x="151" y="675"/>
                  </a:lnTo>
                  <a:lnTo>
                    <a:pt x="153" y="670"/>
                  </a:lnTo>
                  <a:lnTo>
                    <a:pt x="151" y="665"/>
                  </a:lnTo>
                  <a:lnTo>
                    <a:pt x="151" y="665"/>
                  </a:lnTo>
                  <a:lnTo>
                    <a:pt x="148" y="654"/>
                  </a:lnTo>
                  <a:lnTo>
                    <a:pt x="146" y="644"/>
                  </a:lnTo>
                  <a:lnTo>
                    <a:pt x="146" y="630"/>
                  </a:lnTo>
                  <a:lnTo>
                    <a:pt x="142" y="611"/>
                  </a:lnTo>
                  <a:lnTo>
                    <a:pt x="142" y="611"/>
                  </a:lnTo>
                  <a:lnTo>
                    <a:pt x="139" y="590"/>
                  </a:lnTo>
                  <a:lnTo>
                    <a:pt x="141" y="583"/>
                  </a:lnTo>
                  <a:lnTo>
                    <a:pt x="141" y="578"/>
                  </a:lnTo>
                  <a:lnTo>
                    <a:pt x="146" y="569"/>
                  </a:lnTo>
                  <a:lnTo>
                    <a:pt x="151" y="564"/>
                  </a:lnTo>
                  <a:lnTo>
                    <a:pt x="151" y="564"/>
                  </a:lnTo>
                  <a:lnTo>
                    <a:pt x="153" y="559"/>
                  </a:lnTo>
                  <a:lnTo>
                    <a:pt x="155" y="555"/>
                  </a:lnTo>
                  <a:lnTo>
                    <a:pt x="156" y="545"/>
                  </a:lnTo>
                  <a:lnTo>
                    <a:pt x="153" y="531"/>
                  </a:lnTo>
                  <a:lnTo>
                    <a:pt x="148" y="517"/>
                  </a:lnTo>
                  <a:lnTo>
                    <a:pt x="148" y="517"/>
                  </a:lnTo>
                  <a:lnTo>
                    <a:pt x="146" y="512"/>
                  </a:lnTo>
                  <a:lnTo>
                    <a:pt x="146" y="506"/>
                  </a:lnTo>
                  <a:lnTo>
                    <a:pt x="148" y="503"/>
                  </a:lnTo>
                  <a:lnTo>
                    <a:pt x="151" y="501"/>
                  </a:lnTo>
                  <a:lnTo>
                    <a:pt x="155" y="496"/>
                  </a:lnTo>
                  <a:lnTo>
                    <a:pt x="156" y="491"/>
                  </a:lnTo>
                  <a:lnTo>
                    <a:pt x="160" y="484"/>
                  </a:lnTo>
                  <a:lnTo>
                    <a:pt x="160" y="473"/>
                  </a:lnTo>
                  <a:lnTo>
                    <a:pt x="160" y="473"/>
                  </a:lnTo>
                  <a:lnTo>
                    <a:pt x="163" y="456"/>
                  </a:lnTo>
                  <a:lnTo>
                    <a:pt x="165" y="451"/>
                  </a:lnTo>
                  <a:lnTo>
                    <a:pt x="168" y="447"/>
                  </a:lnTo>
                  <a:lnTo>
                    <a:pt x="167" y="438"/>
                  </a:lnTo>
                  <a:lnTo>
                    <a:pt x="167" y="438"/>
                  </a:lnTo>
                  <a:lnTo>
                    <a:pt x="167" y="431"/>
                  </a:lnTo>
                  <a:lnTo>
                    <a:pt x="168" y="423"/>
                  </a:lnTo>
                  <a:lnTo>
                    <a:pt x="175" y="405"/>
                  </a:lnTo>
                  <a:lnTo>
                    <a:pt x="179" y="390"/>
                  </a:lnTo>
                  <a:lnTo>
                    <a:pt x="181" y="383"/>
                  </a:lnTo>
                  <a:lnTo>
                    <a:pt x="179" y="376"/>
                  </a:lnTo>
                  <a:lnTo>
                    <a:pt x="179" y="376"/>
                  </a:lnTo>
                  <a:lnTo>
                    <a:pt x="177" y="370"/>
                  </a:lnTo>
                  <a:lnTo>
                    <a:pt x="177" y="367"/>
                  </a:lnTo>
                  <a:lnTo>
                    <a:pt x="181" y="357"/>
                  </a:lnTo>
                  <a:lnTo>
                    <a:pt x="184" y="350"/>
                  </a:lnTo>
                  <a:lnTo>
                    <a:pt x="184" y="343"/>
                  </a:lnTo>
                  <a:lnTo>
                    <a:pt x="184" y="334"/>
                  </a:lnTo>
                  <a:lnTo>
                    <a:pt x="182" y="323"/>
                  </a:lnTo>
                  <a:lnTo>
                    <a:pt x="182" y="323"/>
                  </a:lnTo>
                  <a:lnTo>
                    <a:pt x="181" y="313"/>
                  </a:lnTo>
                  <a:lnTo>
                    <a:pt x="181" y="303"/>
                  </a:lnTo>
                  <a:lnTo>
                    <a:pt x="182" y="283"/>
                  </a:lnTo>
                  <a:lnTo>
                    <a:pt x="184" y="271"/>
                  </a:lnTo>
                  <a:lnTo>
                    <a:pt x="184" y="268"/>
                  </a:lnTo>
                  <a:lnTo>
                    <a:pt x="182" y="264"/>
                  </a:lnTo>
                  <a:lnTo>
                    <a:pt x="182" y="264"/>
                  </a:lnTo>
                  <a:lnTo>
                    <a:pt x="179" y="263"/>
                  </a:lnTo>
                  <a:lnTo>
                    <a:pt x="179" y="259"/>
                  </a:lnTo>
                  <a:lnTo>
                    <a:pt x="179" y="254"/>
                  </a:lnTo>
                  <a:lnTo>
                    <a:pt x="182" y="247"/>
                  </a:lnTo>
                  <a:lnTo>
                    <a:pt x="184" y="247"/>
                  </a:lnTo>
                  <a:lnTo>
                    <a:pt x="186" y="245"/>
                  </a:lnTo>
                  <a:lnTo>
                    <a:pt x="186" y="245"/>
                  </a:lnTo>
                  <a:lnTo>
                    <a:pt x="188" y="245"/>
                  </a:lnTo>
                  <a:lnTo>
                    <a:pt x="188" y="245"/>
                  </a:lnTo>
                  <a:lnTo>
                    <a:pt x="189" y="236"/>
                  </a:lnTo>
                  <a:lnTo>
                    <a:pt x="191" y="221"/>
                  </a:lnTo>
                  <a:lnTo>
                    <a:pt x="196" y="196"/>
                  </a:lnTo>
                  <a:lnTo>
                    <a:pt x="196" y="196"/>
                  </a:lnTo>
                  <a:lnTo>
                    <a:pt x="198" y="182"/>
                  </a:lnTo>
                  <a:lnTo>
                    <a:pt x="198" y="172"/>
                  </a:lnTo>
                  <a:lnTo>
                    <a:pt x="196" y="156"/>
                  </a:lnTo>
                  <a:lnTo>
                    <a:pt x="193" y="142"/>
                  </a:lnTo>
                  <a:lnTo>
                    <a:pt x="193" y="134"/>
                  </a:lnTo>
                  <a:lnTo>
                    <a:pt x="195" y="125"/>
                  </a:lnTo>
                  <a:lnTo>
                    <a:pt x="195" y="125"/>
                  </a:lnTo>
                  <a:lnTo>
                    <a:pt x="195" y="115"/>
                  </a:lnTo>
                  <a:lnTo>
                    <a:pt x="195" y="108"/>
                  </a:lnTo>
                  <a:lnTo>
                    <a:pt x="193" y="97"/>
                  </a:lnTo>
                  <a:lnTo>
                    <a:pt x="191" y="90"/>
                  </a:lnTo>
                  <a:lnTo>
                    <a:pt x="191" y="80"/>
                  </a:lnTo>
                  <a:lnTo>
                    <a:pt x="191" y="80"/>
                  </a:lnTo>
                  <a:lnTo>
                    <a:pt x="191" y="73"/>
                  </a:lnTo>
                  <a:lnTo>
                    <a:pt x="189" y="71"/>
                  </a:lnTo>
                  <a:lnTo>
                    <a:pt x="188" y="62"/>
                  </a:lnTo>
                  <a:lnTo>
                    <a:pt x="188" y="40"/>
                  </a:lnTo>
                  <a:lnTo>
                    <a:pt x="188" y="40"/>
                  </a:lnTo>
                  <a:lnTo>
                    <a:pt x="198" y="34"/>
                  </a:lnTo>
                  <a:lnTo>
                    <a:pt x="205" y="29"/>
                  </a:lnTo>
                  <a:lnTo>
                    <a:pt x="207" y="24"/>
                  </a:lnTo>
                  <a:lnTo>
                    <a:pt x="207" y="19"/>
                  </a:lnTo>
                  <a:lnTo>
                    <a:pt x="203" y="12"/>
                  </a:lnTo>
                  <a:lnTo>
                    <a:pt x="203" y="10"/>
                  </a:lnTo>
                  <a:lnTo>
                    <a:pt x="205" y="8"/>
                  </a:lnTo>
                  <a:lnTo>
                    <a:pt x="205" y="8"/>
                  </a:lnTo>
                  <a:lnTo>
                    <a:pt x="210" y="8"/>
                  </a:lnTo>
                  <a:lnTo>
                    <a:pt x="212" y="8"/>
                  </a:lnTo>
                  <a:lnTo>
                    <a:pt x="215" y="5"/>
                  </a:lnTo>
                  <a:lnTo>
                    <a:pt x="217" y="0"/>
                  </a:lnTo>
                  <a:lnTo>
                    <a:pt x="217"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 name="Freeform 1688">
              <a:extLst>
                <a:ext uri="{FF2B5EF4-FFF2-40B4-BE49-F238E27FC236}">
                  <a16:creationId xmlns:a16="http://schemas.microsoft.com/office/drawing/2014/main" id="{777C5065-8BE3-45A0-9DE9-9A4E03906C9A}"/>
                </a:ext>
              </a:extLst>
            </p:cNvPr>
            <p:cNvSpPr>
              <a:spLocks/>
            </p:cNvSpPr>
            <p:nvPr/>
          </p:nvSpPr>
          <p:spPr bwMode="auto">
            <a:xfrm>
              <a:off x="3421139" y="5144342"/>
              <a:ext cx="236108" cy="290730"/>
            </a:xfrm>
            <a:custGeom>
              <a:avLst/>
              <a:gdLst/>
              <a:ahLst/>
              <a:cxnLst>
                <a:cxn ang="0">
                  <a:pos x="283" y="289"/>
                </a:cxn>
                <a:cxn ang="0">
                  <a:pos x="278" y="316"/>
                </a:cxn>
                <a:cxn ang="0">
                  <a:pos x="264" y="335"/>
                </a:cxn>
                <a:cxn ang="0">
                  <a:pos x="249" y="352"/>
                </a:cxn>
                <a:cxn ang="0">
                  <a:pos x="245" y="359"/>
                </a:cxn>
                <a:cxn ang="0">
                  <a:pos x="236" y="356"/>
                </a:cxn>
                <a:cxn ang="0">
                  <a:pos x="222" y="357"/>
                </a:cxn>
                <a:cxn ang="0">
                  <a:pos x="210" y="363"/>
                </a:cxn>
                <a:cxn ang="0">
                  <a:pos x="182" y="357"/>
                </a:cxn>
                <a:cxn ang="0">
                  <a:pos x="165" y="354"/>
                </a:cxn>
                <a:cxn ang="0">
                  <a:pos x="142" y="356"/>
                </a:cxn>
                <a:cxn ang="0">
                  <a:pos x="141" y="347"/>
                </a:cxn>
                <a:cxn ang="0">
                  <a:pos x="149" y="336"/>
                </a:cxn>
                <a:cxn ang="0">
                  <a:pos x="158" y="323"/>
                </a:cxn>
                <a:cxn ang="0">
                  <a:pos x="158" y="307"/>
                </a:cxn>
                <a:cxn ang="0">
                  <a:pos x="163" y="300"/>
                </a:cxn>
                <a:cxn ang="0">
                  <a:pos x="170" y="286"/>
                </a:cxn>
                <a:cxn ang="0">
                  <a:pos x="179" y="272"/>
                </a:cxn>
                <a:cxn ang="0">
                  <a:pos x="172" y="258"/>
                </a:cxn>
                <a:cxn ang="0">
                  <a:pos x="154" y="248"/>
                </a:cxn>
                <a:cxn ang="0">
                  <a:pos x="135" y="241"/>
                </a:cxn>
                <a:cxn ang="0">
                  <a:pos x="106" y="218"/>
                </a:cxn>
                <a:cxn ang="0">
                  <a:pos x="76" y="202"/>
                </a:cxn>
                <a:cxn ang="0">
                  <a:pos x="57" y="194"/>
                </a:cxn>
                <a:cxn ang="0">
                  <a:pos x="50" y="185"/>
                </a:cxn>
                <a:cxn ang="0">
                  <a:pos x="29" y="168"/>
                </a:cxn>
                <a:cxn ang="0">
                  <a:pos x="19" y="148"/>
                </a:cxn>
                <a:cxn ang="0">
                  <a:pos x="5" y="133"/>
                </a:cxn>
                <a:cxn ang="0">
                  <a:pos x="3" y="117"/>
                </a:cxn>
                <a:cxn ang="0">
                  <a:pos x="13" y="68"/>
                </a:cxn>
                <a:cxn ang="0">
                  <a:pos x="19" y="46"/>
                </a:cxn>
                <a:cxn ang="0">
                  <a:pos x="31" y="20"/>
                </a:cxn>
                <a:cxn ang="0">
                  <a:pos x="43" y="11"/>
                </a:cxn>
                <a:cxn ang="0">
                  <a:pos x="83" y="4"/>
                </a:cxn>
                <a:cxn ang="0">
                  <a:pos x="118" y="0"/>
                </a:cxn>
                <a:cxn ang="0">
                  <a:pos x="148" y="14"/>
                </a:cxn>
                <a:cxn ang="0">
                  <a:pos x="158" y="25"/>
                </a:cxn>
                <a:cxn ang="0">
                  <a:pos x="158" y="37"/>
                </a:cxn>
                <a:cxn ang="0">
                  <a:pos x="168" y="67"/>
                </a:cxn>
                <a:cxn ang="0">
                  <a:pos x="168" y="88"/>
                </a:cxn>
                <a:cxn ang="0">
                  <a:pos x="167" y="105"/>
                </a:cxn>
                <a:cxn ang="0">
                  <a:pos x="165" y="117"/>
                </a:cxn>
                <a:cxn ang="0">
                  <a:pos x="170" y="122"/>
                </a:cxn>
                <a:cxn ang="0">
                  <a:pos x="203" y="128"/>
                </a:cxn>
                <a:cxn ang="0">
                  <a:pos x="214" y="124"/>
                </a:cxn>
                <a:cxn ang="0">
                  <a:pos x="229" y="122"/>
                </a:cxn>
                <a:cxn ang="0">
                  <a:pos x="242" y="133"/>
                </a:cxn>
                <a:cxn ang="0">
                  <a:pos x="247" y="157"/>
                </a:cxn>
                <a:cxn ang="0">
                  <a:pos x="252" y="201"/>
                </a:cxn>
                <a:cxn ang="0">
                  <a:pos x="261" y="206"/>
                </a:cxn>
                <a:cxn ang="0">
                  <a:pos x="269" y="204"/>
                </a:cxn>
                <a:cxn ang="0">
                  <a:pos x="282" y="197"/>
                </a:cxn>
                <a:cxn ang="0">
                  <a:pos x="289" y="201"/>
                </a:cxn>
                <a:cxn ang="0">
                  <a:pos x="294" y="227"/>
                </a:cxn>
                <a:cxn ang="0">
                  <a:pos x="285" y="270"/>
                </a:cxn>
              </a:cxnLst>
              <a:rect l="0" t="0" r="r" b="b"/>
              <a:pathLst>
                <a:path w="294" h="363">
                  <a:moveTo>
                    <a:pt x="282" y="276"/>
                  </a:moveTo>
                  <a:lnTo>
                    <a:pt x="282" y="276"/>
                  </a:lnTo>
                  <a:lnTo>
                    <a:pt x="283" y="289"/>
                  </a:lnTo>
                  <a:lnTo>
                    <a:pt x="282" y="296"/>
                  </a:lnTo>
                  <a:lnTo>
                    <a:pt x="278" y="316"/>
                  </a:lnTo>
                  <a:lnTo>
                    <a:pt x="278" y="316"/>
                  </a:lnTo>
                  <a:lnTo>
                    <a:pt x="276" y="323"/>
                  </a:lnTo>
                  <a:lnTo>
                    <a:pt x="273" y="328"/>
                  </a:lnTo>
                  <a:lnTo>
                    <a:pt x="264" y="335"/>
                  </a:lnTo>
                  <a:lnTo>
                    <a:pt x="254" y="342"/>
                  </a:lnTo>
                  <a:lnTo>
                    <a:pt x="250" y="347"/>
                  </a:lnTo>
                  <a:lnTo>
                    <a:pt x="249" y="352"/>
                  </a:lnTo>
                  <a:lnTo>
                    <a:pt x="249" y="352"/>
                  </a:lnTo>
                  <a:lnTo>
                    <a:pt x="247" y="357"/>
                  </a:lnTo>
                  <a:lnTo>
                    <a:pt x="245" y="359"/>
                  </a:lnTo>
                  <a:lnTo>
                    <a:pt x="243" y="359"/>
                  </a:lnTo>
                  <a:lnTo>
                    <a:pt x="240" y="357"/>
                  </a:lnTo>
                  <a:lnTo>
                    <a:pt x="236" y="356"/>
                  </a:lnTo>
                  <a:lnTo>
                    <a:pt x="233" y="354"/>
                  </a:lnTo>
                  <a:lnTo>
                    <a:pt x="228" y="354"/>
                  </a:lnTo>
                  <a:lnTo>
                    <a:pt x="222" y="357"/>
                  </a:lnTo>
                  <a:lnTo>
                    <a:pt x="222" y="357"/>
                  </a:lnTo>
                  <a:lnTo>
                    <a:pt x="215" y="361"/>
                  </a:lnTo>
                  <a:lnTo>
                    <a:pt x="210" y="363"/>
                  </a:lnTo>
                  <a:lnTo>
                    <a:pt x="203" y="363"/>
                  </a:lnTo>
                  <a:lnTo>
                    <a:pt x="196" y="361"/>
                  </a:lnTo>
                  <a:lnTo>
                    <a:pt x="182" y="357"/>
                  </a:lnTo>
                  <a:lnTo>
                    <a:pt x="174" y="354"/>
                  </a:lnTo>
                  <a:lnTo>
                    <a:pt x="165" y="354"/>
                  </a:lnTo>
                  <a:lnTo>
                    <a:pt x="165" y="354"/>
                  </a:lnTo>
                  <a:lnTo>
                    <a:pt x="151" y="354"/>
                  </a:lnTo>
                  <a:lnTo>
                    <a:pt x="146" y="356"/>
                  </a:lnTo>
                  <a:lnTo>
                    <a:pt x="142" y="356"/>
                  </a:lnTo>
                  <a:lnTo>
                    <a:pt x="141" y="350"/>
                  </a:lnTo>
                  <a:lnTo>
                    <a:pt x="141" y="350"/>
                  </a:lnTo>
                  <a:lnTo>
                    <a:pt x="141" y="347"/>
                  </a:lnTo>
                  <a:lnTo>
                    <a:pt x="141" y="345"/>
                  </a:lnTo>
                  <a:lnTo>
                    <a:pt x="144" y="342"/>
                  </a:lnTo>
                  <a:lnTo>
                    <a:pt x="149" y="336"/>
                  </a:lnTo>
                  <a:lnTo>
                    <a:pt x="156" y="328"/>
                  </a:lnTo>
                  <a:lnTo>
                    <a:pt x="156" y="328"/>
                  </a:lnTo>
                  <a:lnTo>
                    <a:pt x="158" y="323"/>
                  </a:lnTo>
                  <a:lnTo>
                    <a:pt x="158" y="319"/>
                  </a:lnTo>
                  <a:lnTo>
                    <a:pt x="158" y="312"/>
                  </a:lnTo>
                  <a:lnTo>
                    <a:pt x="158" y="307"/>
                  </a:lnTo>
                  <a:lnTo>
                    <a:pt x="160" y="303"/>
                  </a:lnTo>
                  <a:lnTo>
                    <a:pt x="163" y="300"/>
                  </a:lnTo>
                  <a:lnTo>
                    <a:pt x="163" y="300"/>
                  </a:lnTo>
                  <a:lnTo>
                    <a:pt x="168" y="295"/>
                  </a:lnTo>
                  <a:lnTo>
                    <a:pt x="170" y="291"/>
                  </a:lnTo>
                  <a:lnTo>
                    <a:pt x="170" y="286"/>
                  </a:lnTo>
                  <a:lnTo>
                    <a:pt x="177" y="276"/>
                  </a:lnTo>
                  <a:lnTo>
                    <a:pt x="177" y="276"/>
                  </a:lnTo>
                  <a:lnTo>
                    <a:pt x="179" y="272"/>
                  </a:lnTo>
                  <a:lnTo>
                    <a:pt x="177" y="269"/>
                  </a:lnTo>
                  <a:lnTo>
                    <a:pt x="175" y="263"/>
                  </a:lnTo>
                  <a:lnTo>
                    <a:pt x="172" y="258"/>
                  </a:lnTo>
                  <a:lnTo>
                    <a:pt x="163" y="251"/>
                  </a:lnTo>
                  <a:lnTo>
                    <a:pt x="158" y="249"/>
                  </a:lnTo>
                  <a:lnTo>
                    <a:pt x="154" y="248"/>
                  </a:lnTo>
                  <a:lnTo>
                    <a:pt x="154" y="248"/>
                  </a:lnTo>
                  <a:lnTo>
                    <a:pt x="148" y="246"/>
                  </a:lnTo>
                  <a:lnTo>
                    <a:pt x="135" y="241"/>
                  </a:lnTo>
                  <a:lnTo>
                    <a:pt x="121" y="230"/>
                  </a:lnTo>
                  <a:lnTo>
                    <a:pt x="106" y="218"/>
                  </a:lnTo>
                  <a:lnTo>
                    <a:pt x="106" y="218"/>
                  </a:lnTo>
                  <a:lnTo>
                    <a:pt x="99" y="211"/>
                  </a:lnTo>
                  <a:lnTo>
                    <a:pt x="90" y="208"/>
                  </a:lnTo>
                  <a:lnTo>
                    <a:pt x="76" y="202"/>
                  </a:lnTo>
                  <a:lnTo>
                    <a:pt x="64" y="201"/>
                  </a:lnTo>
                  <a:lnTo>
                    <a:pt x="60" y="197"/>
                  </a:lnTo>
                  <a:lnTo>
                    <a:pt x="57" y="194"/>
                  </a:lnTo>
                  <a:lnTo>
                    <a:pt x="57" y="194"/>
                  </a:lnTo>
                  <a:lnTo>
                    <a:pt x="53" y="189"/>
                  </a:lnTo>
                  <a:lnTo>
                    <a:pt x="50" y="185"/>
                  </a:lnTo>
                  <a:lnTo>
                    <a:pt x="40" y="178"/>
                  </a:lnTo>
                  <a:lnTo>
                    <a:pt x="34" y="173"/>
                  </a:lnTo>
                  <a:lnTo>
                    <a:pt x="29" y="168"/>
                  </a:lnTo>
                  <a:lnTo>
                    <a:pt x="24" y="161"/>
                  </a:lnTo>
                  <a:lnTo>
                    <a:pt x="19" y="148"/>
                  </a:lnTo>
                  <a:lnTo>
                    <a:pt x="19" y="148"/>
                  </a:lnTo>
                  <a:lnTo>
                    <a:pt x="13" y="140"/>
                  </a:lnTo>
                  <a:lnTo>
                    <a:pt x="10" y="135"/>
                  </a:lnTo>
                  <a:lnTo>
                    <a:pt x="5" y="133"/>
                  </a:lnTo>
                  <a:lnTo>
                    <a:pt x="0" y="129"/>
                  </a:lnTo>
                  <a:lnTo>
                    <a:pt x="0" y="129"/>
                  </a:lnTo>
                  <a:lnTo>
                    <a:pt x="3" y="117"/>
                  </a:lnTo>
                  <a:lnTo>
                    <a:pt x="8" y="101"/>
                  </a:lnTo>
                  <a:lnTo>
                    <a:pt x="12" y="86"/>
                  </a:lnTo>
                  <a:lnTo>
                    <a:pt x="13" y="68"/>
                  </a:lnTo>
                  <a:lnTo>
                    <a:pt x="13" y="68"/>
                  </a:lnTo>
                  <a:lnTo>
                    <a:pt x="15" y="54"/>
                  </a:lnTo>
                  <a:lnTo>
                    <a:pt x="19" y="46"/>
                  </a:lnTo>
                  <a:lnTo>
                    <a:pt x="27" y="25"/>
                  </a:lnTo>
                  <a:lnTo>
                    <a:pt x="27" y="25"/>
                  </a:lnTo>
                  <a:lnTo>
                    <a:pt x="31" y="20"/>
                  </a:lnTo>
                  <a:lnTo>
                    <a:pt x="34" y="14"/>
                  </a:lnTo>
                  <a:lnTo>
                    <a:pt x="38" y="13"/>
                  </a:lnTo>
                  <a:lnTo>
                    <a:pt x="43" y="11"/>
                  </a:lnTo>
                  <a:lnTo>
                    <a:pt x="59" y="7"/>
                  </a:lnTo>
                  <a:lnTo>
                    <a:pt x="83" y="4"/>
                  </a:lnTo>
                  <a:lnTo>
                    <a:pt x="83" y="4"/>
                  </a:lnTo>
                  <a:lnTo>
                    <a:pt x="97" y="0"/>
                  </a:lnTo>
                  <a:lnTo>
                    <a:pt x="107" y="0"/>
                  </a:lnTo>
                  <a:lnTo>
                    <a:pt x="118" y="0"/>
                  </a:lnTo>
                  <a:lnTo>
                    <a:pt x="125" y="2"/>
                  </a:lnTo>
                  <a:lnTo>
                    <a:pt x="135" y="7"/>
                  </a:lnTo>
                  <a:lnTo>
                    <a:pt x="148" y="14"/>
                  </a:lnTo>
                  <a:lnTo>
                    <a:pt x="148" y="14"/>
                  </a:lnTo>
                  <a:lnTo>
                    <a:pt x="156" y="20"/>
                  </a:lnTo>
                  <a:lnTo>
                    <a:pt x="158" y="25"/>
                  </a:lnTo>
                  <a:lnTo>
                    <a:pt x="158" y="28"/>
                  </a:lnTo>
                  <a:lnTo>
                    <a:pt x="158" y="37"/>
                  </a:lnTo>
                  <a:lnTo>
                    <a:pt x="158" y="37"/>
                  </a:lnTo>
                  <a:lnTo>
                    <a:pt x="161" y="47"/>
                  </a:lnTo>
                  <a:lnTo>
                    <a:pt x="167" y="60"/>
                  </a:lnTo>
                  <a:lnTo>
                    <a:pt x="168" y="67"/>
                  </a:lnTo>
                  <a:lnTo>
                    <a:pt x="170" y="74"/>
                  </a:lnTo>
                  <a:lnTo>
                    <a:pt x="170" y="81"/>
                  </a:lnTo>
                  <a:lnTo>
                    <a:pt x="168" y="88"/>
                  </a:lnTo>
                  <a:lnTo>
                    <a:pt x="168" y="88"/>
                  </a:lnTo>
                  <a:lnTo>
                    <a:pt x="165" y="98"/>
                  </a:lnTo>
                  <a:lnTo>
                    <a:pt x="167" y="105"/>
                  </a:lnTo>
                  <a:lnTo>
                    <a:pt x="167" y="110"/>
                  </a:lnTo>
                  <a:lnTo>
                    <a:pt x="165" y="117"/>
                  </a:lnTo>
                  <a:lnTo>
                    <a:pt x="165" y="117"/>
                  </a:lnTo>
                  <a:lnTo>
                    <a:pt x="165" y="119"/>
                  </a:lnTo>
                  <a:lnTo>
                    <a:pt x="167" y="121"/>
                  </a:lnTo>
                  <a:lnTo>
                    <a:pt x="170" y="122"/>
                  </a:lnTo>
                  <a:lnTo>
                    <a:pt x="177" y="126"/>
                  </a:lnTo>
                  <a:lnTo>
                    <a:pt x="186" y="128"/>
                  </a:lnTo>
                  <a:lnTo>
                    <a:pt x="203" y="128"/>
                  </a:lnTo>
                  <a:lnTo>
                    <a:pt x="210" y="126"/>
                  </a:lnTo>
                  <a:lnTo>
                    <a:pt x="214" y="124"/>
                  </a:lnTo>
                  <a:lnTo>
                    <a:pt x="214" y="124"/>
                  </a:lnTo>
                  <a:lnTo>
                    <a:pt x="215" y="122"/>
                  </a:lnTo>
                  <a:lnTo>
                    <a:pt x="221" y="122"/>
                  </a:lnTo>
                  <a:lnTo>
                    <a:pt x="229" y="122"/>
                  </a:lnTo>
                  <a:lnTo>
                    <a:pt x="233" y="126"/>
                  </a:lnTo>
                  <a:lnTo>
                    <a:pt x="238" y="129"/>
                  </a:lnTo>
                  <a:lnTo>
                    <a:pt x="242" y="133"/>
                  </a:lnTo>
                  <a:lnTo>
                    <a:pt x="243" y="140"/>
                  </a:lnTo>
                  <a:lnTo>
                    <a:pt x="243" y="140"/>
                  </a:lnTo>
                  <a:lnTo>
                    <a:pt x="247" y="157"/>
                  </a:lnTo>
                  <a:lnTo>
                    <a:pt x="250" y="173"/>
                  </a:lnTo>
                  <a:lnTo>
                    <a:pt x="252" y="194"/>
                  </a:lnTo>
                  <a:lnTo>
                    <a:pt x="252" y="201"/>
                  </a:lnTo>
                  <a:lnTo>
                    <a:pt x="254" y="204"/>
                  </a:lnTo>
                  <a:lnTo>
                    <a:pt x="255" y="206"/>
                  </a:lnTo>
                  <a:lnTo>
                    <a:pt x="261" y="206"/>
                  </a:lnTo>
                  <a:lnTo>
                    <a:pt x="261" y="206"/>
                  </a:lnTo>
                  <a:lnTo>
                    <a:pt x="266" y="206"/>
                  </a:lnTo>
                  <a:lnTo>
                    <a:pt x="269" y="204"/>
                  </a:lnTo>
                  <a:lnTo>
                    <a:pt x="275" y="199"/>
                  </a:lnTo>
                  <a:lnTo>
                    <a:pt x="278" y="197"/>
                  </a:lnTo>
                  <a:lnTo>
                    <a:pt x="282" y="197"/>
                  </a:lnTo>
                  <a:lnTo>
                    <a:pt x="285" y="199"/>
                  </a:lnTo>
                  <a:lnTo>
                    <a:pt x="289" y="201"/>
                  </a:lnTo>
                  <a:lnTo>
                    <a:pt x="289" y="201"/>
                  </a:lnTo>
                  <a:lnTo>
                    <a:pt x="292" y="208"/>
                  </a:lnTo>
                  <a:lnTo>
                    <a:pt x="294" y="216"/>
                  </a:lnTo>
                  <a:lnTo>
                    <a:pt x="294" y="227"/>
                  </a:lnTo>
                  <a:lnTo>
                    <a:pt x="292" y="239"/>
                  </a:lnTo>
                  <a:lnTo>
                    <a:pt x="289" y="262"/>
                  </a:lnTo>
                  <a:lnTo>
                    <a:pt x="285" y="270"/>
                  </a:lnTo>
                  <a:lnTo>
                    <a:pt x="282" y="276"/>
                  </a:lnTo>
                  <a:lnTo>
                    <a:pt x="282" y="2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 name="Freeform 1689">
              <a:extLst>
                <a:ext uri="{FF2B5EF4-FFF2-40B4-BE49-F238E27FC236}">
                  <a16:creationId xmlns:a16="http://schemas.microsoft.com/office/drawing/2014/main" id="{5EEDD0AF-CC88-4C87-90B4-3E6BB0CC4719}"/>
                </a:ext>
              </a:extLst>
            </p:cNvPr>
            <p:cNvSpPr>
              <a:spLocks/>
            </p:cNvSpPr>
            <p:nvPr/>
          </p:nvSpPr>
          <p:spPr bwMode="auto">
            <a:xfrm>
              <a:off x="2897825" y="4483590"/>
              <a:ext cx="354163" cy="627274"/>
            </a:xfrm>
            <a:custGeom>
              <a:avLst/>
              <a:gdLst/>
              <a:ahLst/>
              <a:cxnLst>
                <a:cxn ang="0">
                  <a:pos x="386" y="178"/>
                </a:cxn>
                <a:cxn ang="0">
                  <a:pos x="365" y="178"/>
                </a:cxn>
                <a:cxn ang="0">
                  <a:pos x="325" y="197"/>
                </a:cxn>
                <a:cxn ang="0">
                  <a:pos x="294" y="228"/>
                </a:cxn>
                <a:cxn ang="0">
                  <a:pos x="280" y="277"/>
                </a:cxn>
                <a:cxn ang="0">
                  <a:pos x="261" y="303"/>
                </a:cxn>
                <a:cxn ang="0">
                  <a:pos x="282" y="369"/>
                </a:cxn>
                <a:cxn ang="0">
                  <a:pos x="287" y="394"/>
                </a:cxn>
                <a:cxn ang="0">
                  <a:pos x="309" y="401"/>
                </a:cxn>
                <a:cxn ang="0">
                  <a:pos x="316" y="423"/>
                </a:cxn>
                <a:cxn ang="0">
                  <a:pos x="348" y="423"/>
                </a:cxn>
                <a:cxn ang="0">
                  <a:pos x="370" y="406"/>
                </a:cxn>
                <a:cxn ang="0">
                  <a:pos x="372" y="453"/>
                </a:cxn>
                <a:cxn ang="0">
                  <a:pos x="384" y="469"/>
                </a:cxn>
                <a:cxn ang="0">
                  <a:pos x="410" y="463"/>
                </a:cxn>
                <a:cxn ang="0">
                  <a:pos x="431" y="571"/>
                </a:cxn>
                <a:cxn ang="0">
                  <a:pos x="431" y="608"/>
                </a:cxn>
                <a:cxn ang="0">
                  <a:pos x="416" y="634"/>
                </a:cxn>
                <a:cxn ang="0">
                  <a:pos x="419" y="658"/>
                </a:cxn>
                <a:cxn ang="0">
                  <a:pos x="421" y="686"/>
                </a:cxn>
                <a:cxn ang="0">
                  <a:pos x="430" y="698"/>
                </a:cxn>
                <a:cxn ang="0">
                  <a:pos x="412" y="744"/>
                </a:cxn>
                <a:cxn ang="0">
                  <a:pos x="400" y="752"/>
                </a:cxn>
                <a:cxn ang="0">
                  <a:pos x="402" y="768"/>
                </a:cxn>
                <a:cxn ang="0">
                  <a:pos x="377" y="778"/>
                </a:cxn>
                <a:cxn ang="0">
                  <a:pos x="348" y="756"/>
                </a:cxn>
                <a:cxn ang="0">
                  <a:pos x="337" y="733"/>
                </a:cxn>
                <a:cxn ang="0">
                  <a:pos x="243" y="676"/>
                </a:cxn>
                <a:cxn ang="0">
                  <a:pos x="203" y="636"/>
                </a:cxn>
                <a:cxn ang="0">
                  <a:pos x="175" y="592"/>
                </a:cxn>
                <a:cxn ang="0">
                  <a:pos x="167" y="550"/>
                </a:cxn>
                <a:cxn ang="0">
                  <a:pos x="144" y="510"/>
                </a:cxn>
                <a:cxn ang="0">
                  <a:pos x="128" y="476"/>
                </a:cxn>
                <a:cxn ang="0">
                  <a:pos x="106" y="416"/>
                </a:cxn>
                <a:cxn ang="0">
                  <a:pos x="83" y="355"/>
                </a:cxn>
                <a:cxn ang="0">
                  <a:pos x="54" y="307"/>
                </a:cxn>
                <a:cxn ang="0">
                  <a:pos x="38" y="279"/>
                </a:cxn>
                <a:cxn ang="0">
                  <a:pos x="5" y="253"/>
                </a:cxn>
                <a:cxn ang="0">
                  <a:pos x="17" y="239"/>
                </a:cxn>
                <a:cxn ang="0">
                  <a:pos x="1" y="221"/>
                </a:cxn>
                <a:cxn ang="0">
                  <a:pos x="5" y="180"/>
                </a:cxn>
                <a:cxn ang="0">
                  <a:pos x="36" y="152"/>
                </a:cxn>
                <a:cxn ang="0">
                  <a:pos x="27" y="176"/>
                </a:cxn>
                <a:cxn ang="0">
                  <a:pos x="34" y="188"/>
                </a:cxn>
                <a:cxn ang="0">
                  <a:pos x="62" y="193"/>
                </a:cxn>
                <a:cxn ang="0">
                  <a:pos x="83" y="202"/>
                </a:cxn>
                <a:cxn ang="0">
                  <a:pos x="95" y="171"/>
                </a:cxn>
                <a:cxn ang="0">
                  <a:pos x="123" y="127"/>
                </a:cxn>
                <a:cxn ang="0">
                  <a:pos x="195" y="72"/>
                </a:cxn>
                <a:cxn ang="0">
                  <a:pos x="210" y="4"/>
                </a:cxn>
                <a:cxn ang="0">
                  <a:pos x="226" y="9"/>
                </a:cxn>
                <a:cxn ang="0">
                  <a:pos x="242" y="21"/>
                </a:cxn>
                <a:cxn ang="0">
                  <a:pos x="259" y="49"/>
                </a:cxn>
                <a:cxn ang="0">
                  <a:pos x="283" y="87"/>
                </a:cxn>
                <a:cxn ang="0">
                  <a:pos x="308" y="101"/>
                </a:cxn>
                <a:cxn ang="0">
                  <a:pos x="357" y="94"/>
                </a:cxn>
                <a:cxn ang="0">
                  <a:pos x="395" y="110"/>
                </a:cxn>
                <a:cxn ang="0">
                  <a:pos x="374" y="152"/>
                </a:cxn>
                <a:cxn ang="0">
                  <a:pos x="377" y="162"/>
                </a:cxn>
                <a:cxn ang="0">
                  <a:pos x="395" y="171"/>
                </a:cxn>
              </a:cxnLst>
              <a:rect l="0" t="0" r="r" b="b"/>
              <a:pathLst>
                <a:path w="442" h="784">
                  <a:moveTo>
                    <a:pt x="398" y="178"/>
                  </a:moveTo>
                  <a:lnTo>
                    <a:pt x="398" y="178"/>
                  </a:lnTo>
                  <a:lnTo>
                    <a:pt x="393" y="180"/>
                  </a:lnTo>
                  <a:lnTo>
                    <a:pt x="390" y="180"/>
                  </a:lnTo>
                  <a:lnTo>
                    <a:pt x="386" y="178"/>
                  </a:lnTo>
                  <a:lnTo>
                    <a:pt x="384" y="176"/>
                  </a:lnTo>
                  <a:lnTo>
                    <a:pt x="383" y="173"/>
                  </a:lnTo>
                  <a:lnTo>
                    <a:pt x="379" y="173"/>
                  </a:lnTo>
                  <a:lnTo>
                    <a:pt x="374" y="173"/>
                  </a:lnTo>
                  <a:lnTo>
                    <a:pt x="365" y="178"/>
                  </a:lnTo>
                  <a:lnTo>
                    <a:pt x="365" y="178"/>
                  </a:lnTo>
                  <a:lnTo>
                    <a:pt x="357" y="185"/>
                  </a:lnTo>
                  <a:lnTo>
                    <a:pt x="350" y="188"/>
                  </a:lnTo>
                  <a:lnTo>
                    <a:pt x="337" y="192"/>
                  </a:lnTo>
                  <a:lnTo>
                    <a:pt x="325" y="197"/>
                  </a:lnTo>
                  <a:lnTo>
                    <a:pt x="316" y="202"/>
                  </a:lnTo>
                  <a:lnTo>
                    <a:pt x="308" y="209"/>
                  </a:lnTo>
                  <a:lnTo>
                    <a:pt x="308" y="209"/>
                  </a:lnTo>
                  <a:lnTo>
                    <a:pt x="299" y="220"/>
                  </a:lnTo>
                  <a:lnTo>
                    <a:pt x="294" y="228"/>
                  </a:lnTo>
                  <a:lnTo>
                    <a:pt x="290" y="239"/>
                  </a:lnTo>
                  <a:lnTo>
                    <a:pt x="289" y="249"/>
                  </a:lnTo>
                  <a:lnTo>
                    <a:pt x="287" y="260"/>
                  </a:lnTo>
                  <a:lnTo>
                    <a:pt x="283" y="268"/>
                  </a:lnTo>
                  <a:lnTo>
                    <a:pt x="280" y="277"/>
                  </a:lnTo>
                  <a:lnTo>
                    <a:pt x="273" y="284"/>
                  </a:lnTo>
                  <a:lnTo>
                    <a:pt x="273" y="284"/>
                  </a:lnTo>
                  <a:lnTo>
                    <a:pt x="268" y="291"/>
                  </a:lnTo>
                  <a:lnTo>
                    <a:pt x="262" y="296"/>
                  </a:lnTo>
                  <a:lnTo>
                    <a:pt x="261" y="303"/>
                  </a:lnTo>
                  <a:lnTo>
                    <a:pt x="259" y="312"/>
                  </a:lnTo>
                  <a:lnTo>
                    <a:pt x="261" y="319"/>
                  </a:lnTo>
                  <a:lnTo>
                    <a:pt x="262" y="326"/>
                  </a:lnTo>
                  <a:lnTo>
                    <a:pt x="268" y="341"/>
                  </a:lnTo>
                  <a:lnTo>
                    <a:pt x="282" y="369"/>
                  </a:lnTo>
                  <a:lnTo>
                    <a:pt x="287" y="380"/>
                  </a:lnTo>
                  <a:lnTo>
                    <a:pt x="287" y="385"/>
                  </a:lnTo>
                  <a:lnTo>
                    <a:pt x="287" y="388"/>
                  </a:lnTo>
                  <a:lnTo>
                    <a:pt x="287" y="388"/>
                  </a:lnTo>
                  <a:lnTo>
                    <a:pt x="287" y="394"/>
                  </a:lnTo>
                  <a:lnTo>
                    <a:pt x="289" y="397"/>
                  </a:lnTo>
                  <a:lnTo>
                    <a:pt x="294" y="399"/>
                  </a:lnTo>
                  <a:lnTo>
                    <a:pt x="299" y="399"/>
                  </a:lnTo>
                  <a:lnTo>
                    <a:pt x="304" y="399"/>
                  </a:lnTo>
                  <a:lnTo>
                    <a:pt x="309" y="401"/>
                  </a:lnTo>
                  <a:lnTo>
                    <a:pt x="313" y="406"/>
                  </a:lnTo>
                  <a:lnTo>
                    <a:pt x="315" y="415"/>
                  </a:lnTo>
                  <a:lnTo>
                    <a:pt x="315" y="415"/>
                  </a:lnTo>
                  <a:lnTo>
                    <a:pt x="315" y="418"/>
                  </a:lnTo>
                  <a:lnTo>
                    <a:pt x="316" y="423"/>
                  </a:lnTo>
                  <a:lnTo>
                    <a:pt x="318" y="425"/>
                  </a:lnTo>
                  <a:lnTo>
                    <a:pt x="322" y="427"/>
                  </a:lnTo>
                  <a:lnTo>
                    <a:pt x="329" y="428"/>
                  </a:lnTo>
                  <a:lnTo>
                    <a:pt x="337" y="427"/>
                  </a:lnTo>
                  <a:lnTo>
                    <a:pt x="348" y="423"/>
                  </a:lnTo>
                  <a:lnTo>
                    <a:pt x="357" y="420"/>
                  </a:lnTo>
                  <a:lnTo>
                    <a:pt x="363" y="413"/>
                  </a:lnTo>
                  <a:lnTo>
                    <a:pt x="369" y="408"/>
                  </a:lnTo>
                  <a:lnTo>
                    <a:pt x="369" y="408"/>
                  </a:lnTo>
                  <a:lnTo>
                    <a:pt x="370" y="406"/>
                  </a:lnTo>
                  <a:lnTo>
                    <a:pt x="370" y="406"/>
                  </a:lnTo>
                  <a:lnTo>
                    <a:pt x="372" y="411"/>
                  </a:lnTo>
                  <a:lnTo>
                    <a:pt x="372" y="430"/>
                  </a:lnTo>
                  <a:lnTo>
                    <a:pt x="372" y="442"/>
                  </a:lnTo>
                  <a:lnTo>
                    <a:pt x="372" y="453"/>
                  </a:lnTo>
                  <a:lnTo>
                    <a:pt x="376" y="463"/>
                  </a:lnTo>
                  <a:lnTo>
                    <a:pt x="377" y="465"/>
                  </a:lnTo>
                  <a:lnTo>
                    <a:pt x="379" y="467"/>
                  </a:lnTo>
                  <a:lnTo>
                    <a:pt x="379" y="467"/>
                  </a:lnTo>
                  <a:lnTo>
                    <a:pt x="384" y="469"/>
                  </a:lnTo>
                  <a:lnTo>
                    <a:pt x="388" y="469"/>
                  </a:lnTo>
                  <a:lnTo>
                    <a:pt x="395" y="465"/>
                  </a:lnTo>
                  <a:lnTo>
                    <a:pt x="400" y="463"/>
                  </a:lnTo>
                  <a:lnTo>
                    <a:pt x="405" y="463"/>
                  </a:lnTo>
                  <a:lnTo>
                    <a:pt x="410" y="463"/>
                  </a:lnTo>
                  <a:lnTo>
                    <a:pt x="442" y="533"/>
                  </a:lnTo>
                  <a:lnTo>
                    <a:pt x="442" y="533"/>
                  </a:lnTo>
                  <a:lnTo>
                    <a:pt x="440" y="538"/>
                  </a:lnTo>
                  <a:lnTo>
                    <a:pt x="435" y="552"/>
                  </a:lnTo>
                  <a:lnTo>
                    <a:pt x="431" y="571"/>
                  </a:lnTo>
                  <a:lnTo>
                    <a:pt x="431" y="582"/>
                  </a:lnTo>
                  <a:lnTo>
                    <a:pt x="433" y="592"/>
                  </a:lnTo>
                  <a:lnTo>
                    <a:pt x="433" y="592"/>
                  </a:lnTo>
                  <a:lnTo>
                    <a:pt x="433" y="601"/>
                  </a:lnTo>
                  <a:lnTo>
                    <a:pt x="431" y="608"/>
                  </a:lnTo>
                  <a:lnTo>
                    <a:pt x="428" y="613"/>
                  </a:lnTo>
                  <a:lnTo>
                    <a:pt x="423" y="618"/>
                  </a:lnTo>
                  <a:lnTo>
                    <a:pt x="419" y="623"/>
                  </a:lnTo>
                  <a:lnTo>
                    <a:pt x="416" y="629"/>
                  </a:lnTo>
                  <a:lnTo>
                    <a:pt x="416" y="634"/>
                  </a:lnTo>
                  <a:lnTo>
                    <a:pt x="419" y="639"/>
                  </a:lnTo>
                  <a:lnTo>
                    <a:pt x="419" y="639"/>
                  </a:lnTo>
                  <a:lnTo>
                    <a:pt x="421" y="646"/>
                  </a:lnTo>
                  <a:lnTo>
                    <a:pt x="421" y="653"/>
                  </a:lnTo>
                  <a:lnTo>
                    <a:pt x="419" y="658"/>
                  </a:lnTo>
                  <a:lnTo>
                    <a:pt x="416" y="665"/>
                  </a:lnTo>
                  <a:lnTo>
                    <a:pt x="414" y="671"/>
                  </a:lnTo>
                  <a:lnTo>
                    <a:pt x="414" y="676"/>
                  </a:lnTo>
                  <a:lnTo>
                    <a:pt x="416" y="681"/>
                  </a:lnTo>
                  <a:lnTo>
                    <a:pt x="421" y="686"/>
                  </a:lnTo>
                  <a:lnTo>
                    <a:pt x="421" y="686"/>
                  </a:lnTo>
                  <a:lnTo>
                    <a:pt x="426" y="688"/>
                  </a:lnTo>
                  <a:lnTo>
                    <a:pt x="428" y="691"/>
                  </a:lnTo>
                  <a:lnTo>
                    <a:pt x="430" y="695"/>
                  </a:lnTo>
                  <a:lnTo>
                    <a:pt x="430" y="698"/>
                  </a:lnTo>
                  <a:lnTo>
                    <a:pt x="430" y="707"/>
                  </a:lnTo>
                  <a:lnTo>
                    <a:pt x="426" y="716"/>
                  </a:lnTo>
                  <a:lnTo>
                    <a:pt x="417" y="731"/>
                  </a:lnTo>
                  <a:lnTo>
                    <a:pt x="414" y="738"/>
                  </a:lnTo>
                  <a:lnTo>
                    <a:pt x="412" y="744"/>
                  </a:lnTo>
                  <a:lnTo>
                    <a:pt x="412" y="744"/>
                  </a:lnTo>
                  <a:lnTo>
                    <a:pt x="410" y="749"/>
                  </a:lnTo>
                  <a:lnTo>
                    <a:pt x="407" y="752"/>
                  </a:lnTo>
                  <a:lnTo>
                    <a:pt x="405" y="752"/>
                  </a:lnTo>
                  <a:lnTo>
                    <a:pt x="400" y="752"/>
                  </a:lnTo>
                  <a:lnTo>
                    <a:pt x="400" y="752"/>
                  </a:lnTo>
                  <a:lnTo>
                    <a:pt x="398" y="754"/>
                  </a:lnTo>
                  <a:lnTo>
                    <a:pt x="398" y="756"/>
                  </a:lnTo>
                  <a:lnTo>
                    <a:pt x="402" y="763"/>
                  </a:lnTo>
                  <a:lnTo>
                    <a:pt x="402" y="768"/>
                  </a:lnTo>
                  <a:lnTo>
                    <a:pt x="400" y="773"/>
                  </a:lnTo>
                  <a:lnTo>
                    <a:pt x="393" y="778"/>
                  </a:lnTo>
                  <a:lnTo>
                    <a:pt x="383" y="784"/>
                  </a:lnTo>
                  <a:lnTo>
                    <a:pt x="383" y="784"/>
                  </a:lnTo>
                  <a:lnTo>
                    <a:pt x="377" y="778"/>
                  </a:lnTo>
                  <a:lnTo>
                    <a:pt x="372" y="775"/>
                  </a:lnTo>
                  <a:lnTo>
                    <a:pt x="360" y="768"/>
                  </a:lnTo>
                  <a:lnTo>
                    <a:pt x="355" y="765"/>
                  </a:lnTo>
                  <a:lnTo>
                    <a:pt x="351" y="761"/>
                  </a:lnTo>
                  <a:lnTo>
                    <a:pt x="348" y="756"/>
                  </a:lnTo>
                  <a:lnTo>
                    <a:pt x="346" y="749"/>
                  </a:lnTo>
                  <a:lnTo>
                    <a:pt x="346" y="749"/>
                  </a:lnTo>
                  <a:lnTo>
                    <a:pt x="344" y="744"/>
                  </a:lnTo>
                  <a:lnTo>
                    <a:pt x="341" y="738"/>
                  </a:lnTo>
                  <a:lnTo>
                    <a:pt x="337" y="733"/>
                  </a:lnTo>
                  <a:lnTo>
                    <a:pt x="332" y="728"/>
                  </a:lnTo>
                  <a:lnTo>
                    <a:pt x="311" y="716"/>
                  </a:lnTo>
                  <a:lnTo>
                    <a:pt x="276" y="697"/>
                  </a:lnTo>
                  <a:lnTo>
                    <a:pt x="276" y="697"/>
                  </a:lnTo>
                  <a:lnTo>
                    <a:pt x="243" y="676"/>
                  </a:lnTo>
                  <a:lnTo>
                    <a:pt x="222" y="662"/>
                  </a:lnTo>
                  <a:lnTo>
                    <a:pt x="214" y="651"/>
                  </a:lnTo>
                  <a:lnTo>
                    <a:pt x="207" y="643"/>
                  </a:lnTo>
                  <a:lnTo>
                    <a:pt x="207" y="643"/>
                  </a:lnTo>
                  <a:lnTo>
                    <a:pt x="203" y="636"/>
                  </a:lnTo>
                  <a:lnTo>
                    <a:pt x="198" y="630"/>
                  </a:lnTo>
                  <a:lnTo>
                    <a:pt x="186" y="618"/>
                  </a:lnTo>
                  <a:lnTo>
                    <a:pt x="181" y="610"/>
                  </a:lnTo>
                  <a:lnTo>
                    <a:pt x="177" y="601"/>
                  </a:lnTo>
                  <a:lnTo>
                    <a:pt x="175" y="592"/>
                  </a:lnTo>
                  <a:lnTo>
                    <a:pt x="175" y="580"/>
                  </a:lnTo>
                  <a:lnTo>
                    <a:pt x="175" y="580"/>
                  </a:lnTo>
                  <a:lnTo>
                    <a:pt x="175" y="570"/>
                  </a:lnTo>
                  <a:lnTo>
                    <a:pt x="172" y="559"/>
                  </a:lnTo>
                  <a:lnTo>
                    <a:pt x="167" y="550"/>
                  </a:lnTo>
                  <a:lnTo>
                    <a:pt x="161" y="542"/>
                  </a:lnTo>
                  <a:lnTo>
                    <a:pt x="149" y="526"/>
                  </a:lnTo>
                  <a:lnTo>
                    <a:pt x="146" y="517"/>
                  </a:lnTo>
                  <a:lnTo>
                    <a:pt x="144" y="510"/>
                  </a:lnTo>
                  <a:lnTo>
                    <a:pt x="144" y="510"/>
                  </a:lnTo>
                  <a:lnTo>
                    <a:pt x="142" y="505"/>
                  </a:lnTo>
                  <a:lnTo>
                    <a:pt x="142" y="500"/>
                  </a:lnTo>
                  <a:lnTo>
                    <a:pt x="137" y="491"/>
                  </a:lnTo>
                  <a:lnTo>
                    <a:pt x="132" y="482"/>
                  </a:lnTo>
                  <a:lnTo>
                    <a:pt x="128" y="476"/>
                  </a:lnTo>
                  <a:lnTo>
                    <a:pt x="127" y="467"/>
                  </a:lnTo>
                  <a:lnTo>
                    <a:pt x="127" y="467"/>
                  </a:lnTo>
                  <a:lnTo>
                    <a:pt x="123" y="455"/>
                  </a:lnTo>
                  <a:lnTo>
                    <a:pt x="118" y="442"/>
                  </a:lnTo>
                  <a:lnTo>
                    <a:pt x="106" y="416"/>
                  </a:lnTo>
                  <a:lnTo>
                    <a:pt x="95" y="390"/>
                  </a:lnTo>
                  <a:lnTo>
                    <a:pt x="90" y="378"/>
                  </a:lnTo>
                  <a:lnTo>
                    <a:pt x="87" y="366"/>
                  </a:lnTo>
                  <a:lnTo>
                    <a:pt x="87" y="366"/>
                  </a:lnTo>
                  <a:lnTo>
                    <a:pt x="83" y="355"/>
                  </a:lnTo>
                  <a:lnTo>
                    <a:pt x="80" y="347"/>
                  </a:lnTo>
                  <a:lnTo>
                    <a:pt x="69" y="333"/>
                  </a:lnTo>
                  <a:lnTo>
                    <a:pt x="64" y="326"/>
                  </a:lnTo>
                  <a:lnTo>
                    <a:pt x="59" y="317"/>
                  </a:lnTo>
                  <a:lnTo>
                    <a:pt x="54" y="307"/>
                  </a:lnTo>
                  <a:lnTo>
                    <a:pt x="50" y="294"/>
                  </a:lnTo>
                  <a:lnTo>
                    <a:pt x="50" y="294"/>
                  </a:lnTo>
                  <a:lnTo>
                    <a:pt x="48" y="289"/>
                  </a:lnTo>
                  <a:lnTo>
                    <a:pt x="47" y="286"/>
                  </a:lnTo>
                  <a:lnTo>
                    <a:pt x="38" y="279"/>
                  </a:lnTo>
                  <a:lnTo>
                    <a:pt x="19" y="268"/>
                  </a:lnTo>
                  <a:lnTo>
                    <a:pt x="12" y="263"/>
                  </a:lnTo>
                  <a:lnTo>
                    <a:pt x="5" y="258"/>
                  </a:lnTo>
                  <a:lnTo>
                    <a:pt x="5" y="254"/>
                  </a:lnTo>
                  <a:lnTo>
                    <a:pt x="5" y="253"/>
                  </a:lnTo>
                  <a:lnTo>
                    <a:pt x="7" y="249"/>
                  </a:lnTo>
                  <a:lnTo>
                    <a:pt x="10" y="246"/>
                  </a:lnTo>
                  <a:lnTo>
                    <a:pt x="10" y="246"/>
                  </a:lnTo>
                  <a:lnTo>
                    <a:pt x="15" y="242"/>
                  </a:lnTo>
                  <a:lnTo>
                    <a:pt x="17" y="239"/>
                  </a:lnTo>
                  <a:lnTo>
                    <a:pt x="15" y="237"/>
                  </a:lnTo>
                  <a:lnTo>
                    <a:pt x="13" y="235"/>
                  </a:lnTo>
                  <a:lnTo>
                    <a:pt x="7" y="230"/>
                  </a:lnTo>
                  <a:lnTo>
                    <a:pt x="5" y="227"/>
                  </a:lnTo>
                  <a:lnTo>
                    <a:pt x="1" y="221"/>
                  </a:lnTo>
                  <a:lnTo>
                    <a:pt x="1" y="221"/>
                  </a:lnTo>
                  <a:lnTo>
                    <a:pt x="0" y="207"/>
                  </a:lnTo>
                  <a:lnTo>
                    <a:pt x="0" y="199"/>
                  </a:lnTo>
                  <a:lnTo>
                    <a:pt x="1" y="190"/>
                  </a:lnTo>
                  <a:lnTo>
                    <a:pt x="5" y="180"/>
                  </a:lnTo>
                  <a:lnTo>
                    <a:pt x="10" y="169"/>
                  </a:lnTo>
                  <a:lnTo>
                    <a:pt x="20" y="157"/>
                  </a:lnTo>
                  <a:lnTo>
                    <a:pt x="33" y="143"/>
                  </a:lnTo>
                  <a:lnTo>
                    <a:pt x="33" y="143"/>
                  </a:lnTo>
                  <a:lnTo>
                    <a:pt x="36" y="152"/>
                  </a:lnTo>
                  <a:lnTo>
                    <a:pt x="38" y="157"/>
                  </a:lnTo>
                  <a:lnTo>
                    <a:pt x="38" y="162"/>
                  </a:lnTo>
                  <a:lnTo>
                    <a:pt x="34" y="166"/>
                  </a:lnTo>
                  <a:lnTo>
                    <a:pt x="29" y="173"/>
                  </a:lnTo>
                  <a:lnTo>
                    <a:pt x="27" y="176"/>
                  </a:lnTo>
                  <a:lnTo>
                    <a:pt x="27" y="180"/>
                  </a:lnTo>
                  <a:lnTo>
                    <a:pt x="27" y="180"/>
                  </a:lnTo>
                  <a:lnTo>
                    <a:pt x="31" y="186"/>
                  </a:lnTo>
                  <a:lnTo>
                    <a:pt x="33" y="188"/>
                  </a:lnTo>
                  <a:lnTo>
                    <a:pt x="34" y="188"/>
                  </a:lnTo>
                  <a:lnTo>
                    <a:pt x="41" y="186"/>
                  </a:lnTo>
                  <a:lnTo>
                    <a:pt x="52" y="188"/>
                  </a:lnTo>
                  <a:lnTo>
                    <a:pt x="52" y="188"/>
                  </a:lnTo>
                  <a:lnTo>
                    <a:pt x="59" y="190"/>
                  </a:lnTo>
                  <a:lnTo>
                    <a:pt x="62" y="193"/>
                  </a:lnTo>
                  <a:lnTo>
                    <a:pt x="67" y="202"/>
                  </a:lnTo>
                  <a:lnTo>
                    <a:pt x="71" y="206"/>
                  </a:lnTo>
                  <a:lnTo>
                    <a:pt x="73" y="207"/>
                  </a:lnTo>
                  <a:lnTo>
                    <a:pt x="78" y="207"/>
                  </a:lnTo>
                  <a:lnTo>
                    <a:pt x="83" y="202"/>
                  </a:lnTo>
                  <a:lnTo>
                    <a:pt x="83" y="202"/>
                  </a:lnTo>
                  <a:lnTo>
                    <a:pt x="88" y="197"/>
                  </a:lnTo>
                  <a:lnTo>
                    <a:pt x="90" y="193"/>
                  </a:lnTo>
                  <a:lnTo>
                    <a:pt x="92" y="185"/>
                  </a:lnTo>
                  <a:lnTo>
                    <a:pt x="95" y="171"/>
                  </a:lnTo>
                  <a:lnTo>
                    <a:pt x="99" y="162"/>
                  </a:lnTo>
                  <a:lnTo>
                    <a:pt x="104" y="150"/>
                  </a:lnTo>
                  <a:lnTo>
                    <a:pt x="104" y="150"/>
                  </a:lnTo>
                  <a:lnTo>
                    <a:pt x="113" y="138"/>
                  </a:lnTo>
                  <a:lnTo>
                    <a:pt x="123" y="127"/>
                  </a:lnTo>
                  <a:lnTo>
                    <a:pt x="135" y="117"/>
                  </a:lnTo>
                  <a:lnTo>
                    <a:pt x="149" y="108"/>
                  </a:lnTo>
                  <a:lnTo>
                    <a:pt x="175" y="92"/>
                  </a:lnTo>
                  <a:lnTo>
                    <a:pt x="186" y="82"/>
                  </a:lnTo>
                  <a:lnTo>
                    <a:pt x="195" y="72"/>
                  </a:lnTo>
                  <a:lnTo>
                    <a:pt x="195" y="72"/>
                  </a:lnTo>
                  <a:lnTo>
                    <a:pt x="205" y="52"/>
                  </a:lnTo>
                  <a:lnTo>
                    <a:pt x="210" y="37"/>
                  </a:lnTo>
                  <a:lnTo>
                    <a:pt x="212" y="23"/>
                  </a:lnTo>
                  <a:lnTo>
                    <a:pt x="210" y="4"/>
                  </a:lnTo>
                  <a:lnTo>
                    <a:pt x="210" y="4"/>
                  </a:lnTo>
                  <a:lnTo>
                    <a:pt x="214" y="2"/>
                  </a:lnTo>
                  <a:lnTo>
                    <a:pt x="215" y="0"/>
                  </a:lnTo>
                  <a:lnTo>
                    <a:pt x="221" y="4"/>
                  </a:lnTo>
                  <a:lnTo>
                    <a:pt x="226" y="9"/>
                  </a:lnTo>
                  <a:lnTo>
                    <a:pt x="229" y="12"/>
                  </a:lnTo>
                  <a:lnTo>
                    <a:pt x="233" y="14"/>
                  </a:lnTo>
                  <a:lnTo>
                    <a:pt x="233" y="14"/>
                  </a:lnTo>
                  <a:lnTo>
                    <a:pt x="238" y="18"/>
                  </a:lnTo>
                  <a:lnTo>
                    <a:pt x="242" y="21"/>
                  </a:lnTo>
                  <a:lnTo>
                    <a:pt x="245" y="30"/>
                  </a:lnTo>
                  <a:lnTo>
                    <a:pt x="247" y="35"/>
                  </a:lnTo>
                  <a:lnTo>
                    <a:pt x="249" y="38"/>
                  </a:lnTo>
                  <a:lnTo>
                    <a:pt x="254" y="44"/>
                  </a:lnTo>
                  <a:lnTo>
                    <a:pt x="259" y="49"/>
                  </a:lnTo>
                  <a:lnTo>
                    <a:pt x="259" y="49"/>
                  </a:lnTo>
                  <a:lnTo>
                    <a:pt x="266" y="54"/>
                  </a:lnTo>
                  <a:lnTo>
                    <a:pt x="273" y="63"/>
                  </a:lnTo>
                  <a:lnTo>
                    <a:pt x="280" y="79"/>
                  </a:lnTo>
                  <a:lnTo>
                    <a:pt x="283" y="87"/>
                  </a:lnTo>
                  <a:lnTo>
                    <a:pt x="289" y="94"/>
                  </a:lnTo>
                  <a:lnTo>
                    <a:pt x="294" y="99"/>
                  </a:lnTo>
                  <a:lnTo>
                    <a:pt x="301" y="101"/>
                  </a:lnTo>
                  <a:lnTo>
                    <a:pt x="301" y="101"/>
                  </a:lnTo>
                  <a:lnTo>
                    <a:pt x="308" y="101"/>
                  </a:lnTo>
                  <a:lnTo>
                    <a:pt x="316" y="99"/>
                  </a:lnTo>
                  <a:lnTo>
                    <a:pt x="330" y="96"/>
                  </a:lnTo>
                  <a:lnTo>
                    <a:pt x="337" y="94"/>
                  </a:lnTo>
                  <a:lnTo>
                    <a:pt x="346" y="92"/>
                  </a:lnTo>
                  <a:lnTo>
                    <a:pt x="357" y="94"/>
                  </a:lnTo>
                  <a:lnTo>
                    <a:pt x="367" y="96"/>
                  </a:lnTo>
                  <a:lnTo>
                    <a:pt x="367" y="96"/>
                  </a:lnTo>
                  <a:lnTo>
                    <a:pt x="386" y="105"/>
                  </a:lnTo>
                  <a:lnTo>
                    <a:pt x="393" y="108"/>
                  </a:lnTo>
                  <a:lnTo>
                    <a:pt x="395" y="110"/>
                  </a:lnTo>
                  <a:lnTo>
                    <a:pt x="395" y="113"/>
                  </a:lnTo>
                  <a:lnTo>
                    <a:pt x="393" y="117"/>
                  </a:lnTo>
                  <a:lnTo>
                    <a:pt x="393" y="117"/>
                  </a:lnTo>
                  <a:lnTo>
                    <a:pt x="383" y="136"/>
                  </a:lnTo>
                  <a:lnTo>
                    <a:pt x="374" y="152"/>
                  </a:lnTo>
                  <a:lnTo>
                    <a:pt x="372" y="157"/>
                  </a:lnTo>
                  <a:lnTo>
                    <a:pt x="372" y="160"/>
                  </a:lnTo>
                  <a:lnTo>
                    <a:pt x="372" y="162"/>
                  </a:lnTo>
                  <a:lnTo>
                    <a:pt x="377" y="162"/>
                  </a:lnTo>
                  <a:lnTo>
                    <a:pt x="377" y="162"/>
                  </a:lnTo>
                  <a:lnTo>
                    <a:pt x="383" y="162"/>
                  </a:lnTo>
                  <a:lnTo>
                    <a:pt x="386" y="162"/>
                  </a:lnTo>
                  <a:lnTo>
                    <a:pt x="390" y="164"/>
                  </a:lnTo>
                  <a:lnTo>
                    <a:pt x="391" y="166"/>
                  </a:lnTo>
                  <a:lnTo>
                    <a:pt x="395" y="171"/>
                  </a:lnTo>
                  <a:lnTo>
                    <a:pt x="398" y="178"/>
                  </a:lnTo>
                  <a:lnTo>
                    <a:pt x="398" y="17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 name="Freeform 1690">
              <a:extLst>
                <a:ext uri="{FF2B5EF4-FFF2-40B4-BE49-F238E27FC236}">
                  <a16:creationId xmlns:a16="http://schemas.microsoft.com/office/drawing/2014/main" id="{DFC024D3-68AF-44A7-9620-5B689980AACE}"/>
                </a:ext>
              </a:extLst>
            </p:cNvPr>
            <p:cNvSpPr>
              <a:spLocks/>
            </p:cNvSpPr>
            <p:nvPr/>
          </p:nvSpPr>
          <p:spPr bwMode="auto">
            <a:xfrm>
              <a:off x="2906636" y="4432493"/>
              <a:ext cx="160344" cy="216726"/>
            </a:xfrm>
            <a:custGeom>
              <a:avLst/>
              <a:gdLst/>
              <a:ahLst/>
              <a:cxnLst>
                <a:cxn ang="0">
                  <a:pos x="73" y="0"/>
                </a:cxn>
                <a:cxn ang="0">
                  <a:pos x="106" y="27"/>
                </a:cxn>
                <a:cxn ang="0">
                  <a:pos x="111" y="27"/>
                </a:cxn>
                <a:cxn ang="0">
                  <a:pos x="115" y="27"/>
                </a:cxn>
                <a:cxn ang="0">
                  <a:pos x="122" y="34"/>
                </a:cxn>
                <a:cxn ang="0">
                  <a:pos x="123" y="40"/>
                </a:cxn>
                <a:cxn ang="0">
                  <a:pos x="129" y="45"/>
                </a:cxn>
                <a:cxn ang="0">
                  <a:pos x="153" y="52"/>
                </a:cxn>
                <a:cxn ang="0">
                  <a:pos x="158" y="50"/>
                </a:cxn>
                <a:cxn ang="0">
                  <a:pos x="160" y="45"/>
                </a:cxn>
                <a:cxn ang="0">
                  <a:pos x="163" y="41"/>
                </a:cxn>
                <a:cxn ang="0">
                  <a:pos x="170" y="45"/>
                </a:cxn>
                <a:cxn ang="0">
                  <a:pos x="174" y="52"/>
                </a:cxn>
                <a:cxn ang="0">
                  <a:pos x="184" y="60"/>
                </a:cxn>
                <a:cxn ang="0">
                  <a:pos x="198" y="66"/>
                </a:cxn>
                <a:cxn ang="0">
                  <a:pos x="198" y="99"/>
                </a:cxn>
                <a:cxn ang="0">
                  <a:pos x="183" y="134"/>
                </a:cxn>
                <a:cxn ang="0">
                  <a:pos x="174" y="144"/>
                </a:cxn>
                <a:cxn ang="0">
                  <a:pos x="137" y="170"/>
                </a:cxn>
                <a:cxn ang="0">
                  <a:pos x="111" y="189"/>
                </a:cxn>
                <a:cxn ang="0">
                  <a:pos x="92" y="212"/>
                </a:cxn>
                <a:cxn ang="0">
                  <a:pos x="87" y="224"/>
                </a:cxn>
                <a:cxn ang="0">
                  <a:pos x="80" y="247"/>
                </a:cxn>
                <a:cxn ang="0">
                  <a:pos x="76" y="259"/>
                </a:cxn>
                <a:cxn ang="0">
                  <a:pos x="71" y="264"/>
                </a:cxn>
                <a:cxn ang="0">
                  <a:pos x="61" y="269"/>
                </a:cxn>
                <a:cxn ang="0">
                  <a:pos x="55" y="264"/>
                </a:cxn>
                <a:cxn ang="0">
                  <a:pos x="47" y="252"/>
                </a:cxn>
                <a:cxn ang="0">
                  <a:pos x="40" y="250"/>
                </a:cxn>
                <a:cxn ang="0">
                  <a:pos x="22" y="250"/>
                </a:cxn>
                <a:cxn ang="0">
                  <a:pos x="19" y="248"/>
                </a:cxn>
                <a:cxn ang="0">
                  <a:pos x="15" y="242"/>
                </a:cxn>
                <a:cxn ang="0">
                  <a:pos x="17" y="235"/>
                </a:cxn>
                <a:cxn ang="0">
                  <a:pos x="26" y="224"/>
                </a:cxn>
                <a:cxn ang="0">
                  <a:pos x="24" y="214"/>
                </a:cxn>
                <a:cxn ang="0">
                  <a:pos x="21" y="205"/>
                </a:cxn>
                <a:cxn ang="0">
                  <a:pos x="29" y="200"/>
                </a:cxn>
                <a:cxn ang="0">
                  <a:pos x="35" y="193"/>
                </a:cxn>
                <a:cxn ang="0">
                  <a:pos x="36" y="170"/>
                </a:cxn>
                <a:cxn ang="0">
                  <a:pos x="36" y="167"/>
                </a:cxn>
                <a:cxn ang="0">
                  <a:pos x="31" y="172"/>
                </a:cxn>
                <a:cxn ang="0">
                  <a:pos x="24" y="175"/>
                </a:cxn>
                <a:cxn ang="0">
                  <a:pos x="12" y="168"/>
                </a:cxn>
                <a:cxn ang="0">
                  <a:pos x="3" y="158"/>
                </a:cxn>
                <a:cxn ang="0">
                  <a:pos x="3" y="153"/>
                </a:cxn>
                <a:cxn ang="0">
                  <a:pos x="5" y="142"/>
                </a:cxn>
                <a:cxn ang="0">
                  <a:pos x="1" y="118"/>
                </a:cxn>
                <a:cxn ang="0">
                  <a:pos x="0" y="109"/>
                </a:cxn>
                <a:cxn ang="0">
                  <a:pos x="5" y="100"/>
                </a:cxn>
                <a:cxn ang="0">
                  <a:pos x="12" y="99"/>
                </a:cxn>
                <a:cxn ang="0">
                  <a:pos x="17" y="92"/>
                </a:cxn>
                <a:cxn ang="0">
                  <a:pos x="17" y="85"/>
                </a:cxn>
                <a:cxn ang="0">
                  <a:pos x="19" y="73"/>
                </a:cxn>
                <a:cxn ang="0">
                  <a:pos x="28" y="62"/>
                </a:cxn>
                <a:cxn ang="0">
                  <a:pos x="31" y="48"/>
                </a:cxn>
                <a:cxn ang="0">
                  <a:pos x="31" y="38"/>
                </a:cxn>
                <a:cxn ang="0">
                  <a:pos x="31" y="29"/>
                </a:cxn>
                <a:cxn ang="0">
                  <a:pos x="43" y="20"/>
                </a:cxn>
                <a:cxn ang="0">
                  <a:pos x="61" y="15"/>
                </a:cxn>
                <a:cxn ang="0">
                  <a:pos x="73" y="6"/>
                </a:cxn>
                <a:cxn ang="0">
                  <a:pos x="73" y="0"/>
                </a:cxn>
              </a:cxnLst>
              <a:rect l="0" t="0" r="r" b="b"/>
              <a:pathLst>
                <a:path w="200" h="269">
                  <a:moveTo>
                    <a:pt x="73" y="0"/>
                  </a:moveTo>
                  <a:lnTo>
                    <a:pt x="73" y="0"/>
                  </a:lnTo>
                  <a:lnTo>
                    <a:pt x="101" y="24"/>
                  </a:lnTo>
                  <a:lnTo>
                    <a:pt x="106" y="27"/>
                  </a:lnTo>
                  <a:lnTo>
                    <a:pt x="109" y="27"/>
                  </a:lnTo>
                  <a:lnTo>
                    <a:pt x="111" y="27"/>
                  </a:lnTo>
                  <a:lnTo>
                    <a:pt x="111" y="27"/>
                  </a:lnTo>
                  <a:lnTo>
                    <a:pt x="115" y="27"/>
                  </a:lnTo>
                  <a:lnTo>
                    <a:pt x="118" y="31"/>
                  </a:lnTo>
                  <a:lnTo>
                    <a:pt x="122" y="34"/>
                  </a:lnTo>
                  <a:lnTo>
                    <a:pt x="123" y="40"/>
                  </a:lnTo>
                  <a:lnTo>
                    <a:pt x="123" y="40"/>
                  </a:lnTo>
                  <a:lnTo>
                    <a:pt x="125" y="41"/>
                  </a:lnTo>
                  <a:lnTo>
                    <a:pt x="129" y="45"/>
                  </a:lnTo>
                  <a:lnTo>
                    <a:pt x="141" y="48"/>
                  </a:lnTo>
                  <a:lnTo>
                    <a:pt x="153" y="52"/>
                  </a:lnTo>
                  <a:lnTo>
                    <a:pt x="156" y="50"/>
                  </a:lnTo>
                  <a:lnTo>
                    <a:pt x="158" y="50"/>
                  </a:lnTo>
                  <a:lnTo>
                    <a:pt x="158" y="50"/>
                  </a:lnTo>
                  <a:lnTo>
                    <a:pt x="160" y="45"/>
                  </a:lnTo>
                  <a:lnTo>
                    <a:pt x="162" y="41"/>
                  </a:lnTo>
                  <a:lnTo>
                    <a:pt x="163" y="41"/>
                  </a:lnTo>
                  <a:lnTo>
                    <a:pt x="167" y="43"/>
                  </a:lnTo>
                  <a:lnTo>
                    <a:pt x="170" y="45"/>
                  </a:lnTo>
                  <a:lnTo>
                    <a:pt x="174" y="52"/>
                  </a:lnTo>
                  <a:lnTo>
                    <a:pt x="174" y="52"/>
                  </a:lnTo>
                  <a:lnTo>
                    <a:pt x="179" y="57"/>
                  </a:lnTo>
                  <a:lnTo>
                    <a:pt x="184" y="60"/>
                  </a:lnTo>
                  <a:lnTo>
                    <a:pt x="198" y="66"/>
                  </a:lnTo>
                  <a:lnTo>
                    <a:pt x="198" y="66"/>
                  </a:lnTo>
                  <a:lnTo>
                    <a:pt x="200" y="85"/>
                  </a:lnTo>
                  <a:lnTo>
                    <a:pt x="198" y="99"/>
                  </a:lnTo>
                  <a:lnTo>
                    <a:pt x="193" y="114"/>
                  </a:lnTo>
                  <a:lnTo>
                    <a:pt x="183" y="134"/>
                  </a:lnTo>
                  <a:lnTo>
                    <a:pt x="183" y="134"/>
                  </a:lnTo>
                  <a:lnTo>
                    <a:pt x="174" y="144"/>
                  </a:lnTo>
                  <a:lnTo>
                    <a:pt x="163" y="154"/>
                  </a:lnTo>
                  <a:lnTo>
                    <a:pt x="137" y="170"/>
                  </a:lnTo>
                  <a:lnTo>
                    <a:pt x="123" y="179"/>
                  </a:lnTo>
                  <a:lnTo>
                    <a:pt x="111" y="189"/>
                  </a:lnTo>
                  <a:lnTo>
                    <a:pt x="101" y="200"/>
                  </a:lnTo>
                  <a:lnTo>
                    <a:pt x="92" y="212"/>
                  </a:lnTo>
                  <a:lnTo>
                    <a:pt x="92" y="212"/>
                  </a:lnTo>
                  <a:lnTo>
                    <a:pt x="87" y="224"/>
                  </a:lnTo>
                  <a:lnTo>
                    <a:pt x="83" y="233"/>
                  </a:lnTo>
                  <a:lnTo>
                    <a:pt x="80" y="247"/>
                  </a:lnTo>
                  <a:lnTo>
                    <a:pt x="78" y="255"/>
                  </a:lnTo>
                  <a:lnTo>
                    <a:pt x="76" y="259"/>
                  </a:lnTo>
                  <a:lnTo>
                    <a:pt x="71" y="264"/>
                  </a:lnTo>
                  <a:lnTo>
                    <a:pt x="71" y="264"/>
                  </a:lnTo>
                  <a:lnTo>
                    <a:pt x="66" y="269"/>
                  </a:lnTo>
                  <a:lnTo>
                    <a:pt x="61" y="269"/>
                  </a:lnTo>
                  <a:lnTo>
                    <a:pt x="59" y="268"/>
                  </a:lnTo>
                  <a:lnTo>
                    <a:pt x="55" y="264"/>
                  </a:lnTo>
                  <a:lnTo>
                    <a:pt x="50" y="255"/>
                  </a:lnTo>
                  <a:lnTo>
                    <a:pt x="47" y="252"/>
                  </a:lnTo>
                  <a:lnTo>
                    <a:pt x="40" y="250"/>
                  </a:lnTo>
                  <a:lnTo>
                    <a:pt x="40" y="250"/>
                  </a:lnTo>
                  <a:lnTo>
                    <a:pt x="29" y="248"/>
                  </a:lnTo>
                  <a:lnTo>
                    <a:pt x="22" y="250"/>
                  </a:lnTo>
                  <a:lnTo>
                    <a:pt x="21" y="250"/>
                  </a:lnTo>
                  <a:lnTo>
                    <a:pt x="19" y="248"/>
                  </a:lnTo>
                  <a:lnTo>
                    <a:pt x="15" y="242"/>
                  </a:lnTo>
                  <a:lnTo>
                    <a:pt x="15" y="242"/>
                  </a:lnTo>
                  <a:lnTo>
                    <a:pt x="15" y="238"/>
                  </a:lnTo>
                  <a:lnTo>
                    <a:pt x="17" y="235"/>
                  </a:lnTo>
                  <a:lnTo>
                    <a:pt x="22" y="228"/>
                  </a:lnTo>
                  <a:lnTo>
                    <a:pt x="26" y="224"/>
                  </a:lnTo>
                  <a:lnTo>
                    <a:pt x="26" y="219"/>
                  </a:lnTo>
                  <a:lnTo>
                    <a:pt x="24" y="214"/>
                  </a:lnTo>
                  <a:lnTo>
                    <a:pt x="21" y="205"/>
                  </a:lnTo>
                  <a:lnTo>
                    <a:pt x="21" y="205"/>
                  </a:lnTo>
                  <a:lnTo>
                    <a:pt x="26" y="203"/>
                  </a:lnTo>
                  <a:lnTo>
                    <a:pt x="29" y="200"/>
                  </a:lnTo>
                  <a:lnTo>
                    <a:pt x="33" y="196"/>
                  </a:lnTo>
                  <a:lnTo>
                    <a:pt x="35" y="193"/>
                  </a:lnTo>
                  <a:lnTo>
                    <a:pt x="36" y="182"/>
                  </a:lnTo>
                  <a:lnTo>
                    <a:pt x="36" y="170"/>
                  </a:lnTo>
                  <a:lnTo>
                    <a:pt x="36" y="170"/>
                  </a:lnTo>
                  <a:lnTo>
                    <a:pt x="36" y="167"/>
                  </a:lnTo>
                  <a:lnTo>
                    <a:pt x="35" y="167"/>
                  </a:lnTo>
                  <a:lnTo>
                    <a:pt x="31" y="172"/>
                  </a:lnTo>
                  <a:lnTo>
                    <a:pt x="28" y="174"/>
                  </a:lnTo>
                  <a:lnTo>
                    <a:pt x="24" y="175"/>
                  </a:lnTo>
                  <a:lnTo>
                    <a:pt x="19" y="174"/>
                  </a:lnTo>
                  <a:lnTo>
                    <a:pt x="12" y="168"/>
                  </a:lnTo>
                  <a:lnTo>
                    <a:pt x="12" y="168"/>
                  </a:lnTo>
                  <a:lnTo>
                    <a:pt x="3" y="158"/>
                  </a:lnTo>
                  <a:lnTo>
                    <a:pt x="3" y="156"/>
                  </a:lnTo>
                  <a:lnTo>
                    <a:pt x="3" y="153"/>
                  </a:lnTo>
                  <a:lnTo>
                    <a:pt x="5" y="149"/>
                  </a:lnTo>
                  <a:lnTo>
                    <a:pt x="5" y="142"/>
                  </a:lnTo>
                  <a:lnTo>
                    <a:pt x="5" y="132"/>
                  </a:lnTo>
                  <a:lnTo>
                    <a:pt x="1" y="118"/>
                  </a:lnTo>
                  <a:lnTo>
                    <a:pt x="1" y="118"/>
                  </a:lnTo>
                  <a:lnTo>
                    <a:pt x="0" y="109"/>
                  </a:lnTo>
                  <a:lnTo>
                    <a:pt x="1" y="104"/>
                  </a:lnTo>
                  <a:lnTo>
                    <a:pt x="5" y="100"/>
                  </a:lnTo>
                  <a:lnTo>
                    <a:pt x="8" y="100"/>
                  </a:lnTo>
                  <a:lnTo>
                    <a:pt x="12" y="99"/>
                  </a:lnTo>
                  <a:lnTo>
                    <a:pt x="15" y="97"/>
                  </a:lnTo>
                  <a:lnTo>
                    <a:pt x="17" y="92"/>
                  </a:lnTo>
                  <a:lnTo>
                    <a:pt x="17" y="85"/>
                  </a:lnTo>
                  <a:lnTo>
                    <a:pt x="17" y="85"/>
                  </a:lnTo>
                  <a:lnTo>
                    <a:pt x="17" y="78"/>
                  </a:lnTo>
                  <a:lnTo>
                    <a:pt x="19" y="73"/>
                  </a:lnTo>
                  <a:lnTo>
                    <a:pt x="26" y="66"/>
                  </a:lnTo>
                  <a:lnTo>
                    <a:pt x="28" y="62"/>
                  </a:lnTo>
                  <a:lnTo>
                    <a:pt x="31" y="57"/>
                  </a:lnTo>
                  <a:lnTo>
                    <a:pt x="31" y="48"/>
                  </a:lnTo>
                  <a:lnTo>
                    <a:pt x="31" y="38"/>
                  </a:lnTo>
                  <a:lnTo>
                    <a:pt x="31" y="38"/>
                  </a:lnTo>
                  <a:lnTo>
                    <a:pt x="31" y="34"/>
                  </a:lnTo>
                  <a:lnTo>
                    <a:pt x="31" y="29"/>
                  </a:lnTo>
                  <a:lnTo>
                    <a:pt x="36" y="24"/>
                  </a:lnTo>
                  <a:lnTo>
                    <a:pt x="43" y="20"/>
                  </a:lnTo>
                  <a:lnTo>
                    <a:pt x="52" y="17"/>
                  </a:lnTo>
                  <a:lnTo>
                    <a:pt x="61" y="15"/>
                  </a:lnTo>
                  <a:lnTo>
                    <a:pt x="68" y="12"/>
                  </a:lnTo>
                  <a:lnTo>
                    <a:pt x="73" y="6"/>
                  </a:lnTo>
                  <a:lnTo>
                    <a:pt x="73" y="3"/>
                  </a:lnTo>
                  <a:lnTo>
                    <a:pt x="73" y="0"/>
                  </a:lnTo>
                  <a:lnTo>
                    <a:pt x="7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 name="Freeform 1691">
              <a:extLst>
                <a:ext uri="{FF2B5EF4-FFF2-40B4-BE49-F238E27FC236}">
                  <a16:creationId xmlns:a16="http://schemas.microsoft.com/office/drawing/2014/main" id="{133C4BD0-BD35-4D3B-BE5C-CAB6D634F098}"/>
                </a:ext>
              </a:extLst>
            </p:cNvPr>
            <p:cNvSpPr>
              <a:spLocks/>
            </p:cNvSpPr>
            <p:nvPr/>
          </p:nvSpPr>
          <p:spPr bwMode="auto">
            <a:xfrm>
              <a:off x="2961259" y="4060710"/>
              <a:ext cx="343590" cy="563842"/>
            </a:xfrm>
            <a:custGeom>
              <a:avLst/>
              <a:gdLst/>
              <a:ahLst/>
              <a:cxnLst>
                <a:cxn ang="0">
                  <a:pos x="275" y="5"/>
                </a:cxn>
                <a:cxn ang="0">
                  <a:pos x="242" y="7"/>
                </a:cxn>
                <a:cxn ang="0">
                  <a:pos x="186" y="45"/>
                </a:cxn>
                <a:cxn ang="0">
                  <a:pos x="163" y="55"/>
                </a:cxn>
                <a:cxn ang="0">
                  <a:pos x="137" y="57"/>
                </a:cxn>
                <a:cxn ang="0">
                  <a:pos x="120" y="106"/>
                </a:cxn>
                <a:cxn ang="0">
                  <a:pos x="104" y="127"/>
                </a:cxn>
                <a:cxn ang="0">
                  <a:pos x="80" y="155"/>
                </a:cxn>
                <a:cxn ang="0">
                  <a:pos x="78" y="186"/>
                </a:cxn>
                <a:cxn ang="0">
                  <a:pos x="59" y="177"/>
                </a:cxn>
                <a:cxn ang="0">
                  <a:pos x="57" y="196"/>
                </a:cxn>
                <a:cxn ang="0">
                  <a:pos x="45" y="200"/>
                </a:cxn>
                <a:cxn ang="0">
                  <a:pos x="41" y="222"/>
                </a:cxn>
                <a:cxn ang="0">
                  <a:pos x="52" y="243"/>
                </a:cxn>
                <a:cxn ang="0">
                  <a:pos x="54" y="270"/>
                </a:cxn>
                <a:cxn ang="0">
                  <a:pos x="54" y="289"/>
                </a:cxn>
                <a:cxn ang="0">
                  <a:pos x="52" y="353"/>
                </a:cxn>
                <a:cxn ang="0">
                  <a:pos x="57" y="386"/>
                </a:cxn>
                <a:cxn ang="0">
                  <a:pos x="22" y="419"/>
                </a:cxn>
                <a:cxn ang="0">
                  <a:pos x="12" y="444"/>
                </a:cxn>
                <a:cxn ang="0">
                  <a:pos x="5" y="465"/>
                </a:cxn>
                <a:cxn ang="0">
                  <a:pos x="50" y="496"/>
                </a:cxn>
                <a:cxn ang="0">
                  <a:pos x="85" y="517"/>
                </a:cxn>
                <a:cxn ang="0">
                  <a:pos x="99" y="508"/>
                </a:cxn>
                <a:cxn ang="0">
                  <a:pos x="130" y="531"/>
                </a:cxn>
                <a:cxn ang="0">
                  <a:pos x="153" y="541"/>
                </a:cxn>
                <a:cxn ang="0">
                  <a:pos x="179" y="576"/>
                </a:cxn>
                <a:cxn ang="0">
                  <a:pos x="214" y="626"/>
                </a:cxn>
                <a:cxn ang="0">
                  <a:pos x="266" y="619"/>
                </a:cxn>
                <a:cxn ang="0">
                  <a:pos x="315" y="640"/>
                </a:cxn>
                <a:cxn ang="0">
                  <a:pos x="292" y="689"/>
                </a:cxn>
                <a:cxn ang="0">
                  <a:pos x="315" y="698"/>
                </a:cxn>
                <a:cxn ang="0">
                  <a:pos x="334" y="599"/>
                </a:cxn>
                <a:cxn ang="0">
                  <a:pos x="330" y="555"/>
                </a:cxn>
                <a:cxn ang="0">
                  <a:pos x="313" y="510"/>
                </a:cxn>
                <a:cxn ang="0">
                  <a:pos x="330" y="496"/>
                </a:cxn>
                <a:cxn ang="0">
                  <a:pos x="346" y="499"/>
                </a:cxn>
                <a:cxn ang="0">
                  <a:pos x="320" y="452"/>
                </a:cxn>
                <a:cxn ang="0">
                  <a:pos x="384" y="449"/>
                </a:cxn>
                <a:cxn ang="0">
                  <a:pos x="404" y="435"/>
                </a:cxn>
                <a:cxn ang="0">
                  <a:pos x="418" y="473"/>
                </a:cxn>
                <a:cxn ang="0">
                  <a:pos x="412" y="424"/>
                </a:cxn>
                <a:cxn ang="0">
                  <a:pos x="393" y="409"/>
                </a:cxn>
                <a:cxn ang="0">
                  <a:pos x="409" y="384"/>
                </a:cxn>
                <a:cxn ang="0">
                  <a:pos x="393" y="346"/>
                </a:cxn>
                <a:cxn ang="0">
                  <a:pos x="405" y="263"/>
                </a:cxn>
                <a:cxn ang="0">
                  <a:pos x="351" y="268"/>
                </a:cxn>
                <a:cxn ang="0">
                  <a:pos x="311" y="231"/>
                </a:cxn>
                <a:cxn ang="0">
                  <a:pos x="270" y="228"/>
                </a:cxn>
                <a:cxn ang="0">
                  <a:pos x="240" y="217"/>
                </a:cxn>
                <a:cxn ang="0">
                  <a:pos x="231" y="191"/>
                </a:cxn>
                <a:cxn ang="0">
                  <a:pos x="221" y="158"/>
                </a:cxn>
                <a:cxn ang="0">
                  <a:pos x="198" y="135"/>
                </a:cxn>
                <a:cxn ang="0">
                  <a:pos x="214" y="88"/>
                </a:cxn>
                <a:cxn ang="0">
                  <a:pos x="240" y="45"/>
                </a:cxn>
              </a:cxnLst>
              <a:rect l="0" t="0" r="r" b="b"/>
              <a:pathLst>
                <a:path w="426" h="705">
                  <a:moveTo>
                    <a:pt x="271" y="22"/>
                  </a:moveTo>
                  <a:lnTo>
                    <a:pt x="271" y="22"/>
                  </a:lnTo>
                  <a:lnTo>
                    <a:pt x="273" y="19"/>
                  </a:lnTo>
                  <a:lnTo>
                    <a:pt x="277" y="15"/>
                  </a:lnTo>
                  <a:lnTo>
                    <a:pt x="278" y="12"/>
                  </a:lnTo>
                  <a:lnTo>
                    <a:pt x="277" y="8"/>
                  </a:lnTo>
                  <a:lnTo>
                    <a:pt x="275" y="5"/>
                  </a:lnTo>
                  <a:lnTo>
                    <a:pt x="273" y="1"/>
                  </a:lnTo>
                  <a:lnTo>
                    <a:pt x="266" y="0"/>
                  </a:lnTo>
                  <a:lnTo>
                    <a:pt x="259" y="0"/>
                  </a:lnTo>
                  <a:lnTo>
                    <a:pt x="259" y="0"/>
                  </a:lnTo>
                  <a:lnTo>
                    <a:pt x="249" y="1"/>
                  </a:lnTo>
                  <a:lnTo>
                    <a:pt x="245" y="5"/>
                  </a:lnTo>
                  <a:lnTo>
                    <a:pt x="242" y="7"/>
                  </a:lnTo>
                  <a:lnTo>
                    <a:pt x="235" y="15"/>
                  </a:lnTo>
                  <a:lnTo>
                    <a:pt x="229" y="22"/>
                  </a:lnTo>
                  <a:lnTo>
                    <a:pt x="219" y="29"/>
                  </a:lnTo>
                  <a:lnTo>
                    <a:pt x="219" y="29"/>
                  </a:lnTo>
                  <a:lnTo>
                    <a:pt x="205" y="40"/>
                  </a:lnTo>
                  <a:lnTo>
                    <a:pt x="195" y="43"/>
                  </a:lnTo>
                  <a:lnTo>
                    <a:pt x="186" y="45"/>
                  </a:lnTo>
                  <a:lnTo>
                    <a:pt x="179" y="43"/>
                  </a:lnTo>
                  <a:lnTo>
                    <a:pt x="176" y="43"/>
                  </a:lnTo>
                  <a:lnTo>
                    <a:pt x="172" y="41"/>
                  </a:lnTo>
                  <a:lnTo>
                    <a:pt x="169" y="45"/>
                  </a:lnTo>
                  <a:lnTo>
                    <a:pt x="167" y="50"/>
                  </a:lnTo>
                  <a:lnTo>
                    <a:pt x="167" y="50"/>
                  </a:lnTo>
                  <a:lnTo>
                    <a:pt x="163" y="55"/>
                  </a:lnTo>
                  <a:lnTo>
                    <a:pt x="160" y="59"/>
                  </a:lnTo>
                  <a:lnTo>
                    <a:pt x="156" y="57"/>
                  </a:lnTo>
                  <a:lnTo>
                    <a:pt x="151" y="57"/>
                  </a:lnTo>
                  <a:lnTo>
                    <a:pt x="142" y="54"/>
                  </a:lnTo>
                  <a:lnTo>
                    <a:pt x="139" y="54"/>
                  </a:lnTo>
                  <a:lnTo>
                    <a:pt x="137" y="57"/>
                  </a:lnTo>
                  <a:lnTo>
                    <a:pt x="137" y="57"/>
                  </a:lnTo>
                  <a:lnTo>
                    <a:pt x="135" y="62"/>
                  </a:lnTo>
                  <a:lnTo>
                    <a:pt x="134" y="66"/>
                  </a:lnTo>
                  <a:lnTo>
                    <a:pt x="127" y="75"/>
                  </a:lnTo>
                  <a:lnTo>
                    <a:pt x="123" y="80"/>
                  </a:lnTo>
                  <a:lnTo>
                    <a:pt x="122" y="87"/>
                  </a:lnTo>
                  <a:lnTo>
                    <a:pt x="120" y="95"/>
                  </a:lnTo>
                  <a:lnTo>
                    <a:pt x="120" y="106"/>
                  </a:lnTo>
                  <a:lnTo>
                    <a:pt x="120" y="106"/>
                  </a:lnTo>
                  <a:lnTo>
                    <a:pt x="120" y="116"/>
                  </a:lnTo>
                  <a:lnTo>
                    <a:pt x="118" y="122"/>
                  </a:lnTo>
                  <a:lnTo>
                    <a:pt x="115" y="125"/>
                  </a:lnTo>
                  <a:lnTo>
                    <a:pt x="111" y="127"/>
                  </a:lnTo>
                  <a:lnTo>
                    <a:pt x="108" y="127"/>
                  </a:lnTo>
                  <a:lnTo>
                    <a:pt x="104" y="127"/>
                  </a:lnTo>
                  <a:lnTo>
                    <a:pt x="101" y="130"/>
                  </a:lnTo>
                  <a:lnTo>
                    <a:pt x="99" y="135"/>
                  </a:lnTo>
                  <a:lnTo>
                    <a:pt x="99" y="135"/>
                  </a:lnTo>
                  <a:lnTo>
                    <a:pt x="97" y="142"/>
                  </a:lnTo>
                  <a:lnTo>
                    <a:pt x="94" y="148"/>
                  </a:lnTo>
                  <a:lnTo>
                    <a:pt x="83" y="153"/>
                  </a:lnTo>
                  <a:lnTo>
                    <a:pt x="80" y="155"/>
                  </a:lnTo>
                  <a:lnTo>
                    <a:pt x="76" y="158"/>
                  </a:lnTo>
                  <a:lnTo>
                    <a:pt x="75" y="163"/>
                  </a:lnTo>
                  <a:lnTo>
                    <a:pt x="76" y="170"/>
                  </a:lnTo>
                  <a:lnTo>
                    <a:pt x="76" y="170"/>
                  </a:lnTo>
                  <a:lnTo>
                    <a:pt x="78" y="181"/>
                  </a:lnTo>
                  <a:lnTo>
                    <a:pt x="78" y="186"/>
                  </a:lnTo>
                  <a:lnTo>
                    <a:pt x="78" y="186"/>
                  </a:lnTo>
                  <a:lnTo>
                    <a:pt x="78" y="186"/>
                  </a:lnTo>
                  <a:lnTo>
                    <a:pt x="75" y="184"/>
                  </a:lnTo>
                  <a:lnTo>
                    <a:pt x="57" y="158"/>
                  </a:lnTo>
                  <a:lnTo>
                    <a:pt x="57" y="158"/>
                  </a:lnTo>
                  <a:lnTo>
                    <a:pt x="55" y="163"/>
                  </a:lnTo>
                  <a:lnTo>
                    <a:pt x="55" y="169"/>
                  </a:lnTo>
                  <a:lnTo>
                    <a:pt x="59" y="177"/>
                  </a:lnTo>
                  <a:lnTo>
                    <a:pt x="64" y="186"/>
                  </a:lnTo>
                  <a:lnTo>
                    <a:pt x="64" y="189"/>
                  </a:lnTo>
                  <a:lnTo>
                    <a:pt x="61" y="191"/>
                  </a:lnTo>
                  <a:lnTo>
                    <a:pt x="61" y="191"/>
                  </a:lnTo>
                  <a:lnTo>
                    <a:pt x="59" y="191"/>
                  </a:lnTo>
                  <a:lnTo>
                    <a:pt x="57" y="193"/>
                  </a:lnTo>
                  <a:lnTo>
                    <a:pt x="57" y="196"/>
                  </a:lnTo>
                  <a:lnTo>
                    <a:pt x="57" y="200"/>
                  </a:lnTo>
                  <a:lnTo>
                    <a:pt x="54" y="205"/>
                  </a:lnTo>
                  <a:lnTo>
                    <a:pt x="54" y="205"/>
                  </a:lnTo>
                  <a:lnTo>
                    <a:pt x="52" y="205"/>
                  </a:lnTo>
                  <a:lnTo>
                    <a:pt x="50" y="205"/>
                  </a:lnTo>
                  <a:lnTo>
                    <a:pt x="47" y="202"/>
                  </a:lnTo>
                  <a:lnTo>
                    <a:pt x="45" y="200"/>
                  </a:lnTo>
                  <a:lnTo>
                    <a:pt x="43" y="198"/>
                  </a:lnTo>
                  <a:lnTo>
                    <a:pt x="43" y="200"/>
                  </a:lnTo>
                  <a:lnTo>
                    <a:pt x="43" y="200"/>
                  </a:lnTo>
                  <a:lnTo>
                    <a:pt x="40" y="207"/>
                  </a:lnTo>
                  <a:lnTo>
                    <a:pt x="40" y="219"/>
                  </a:lnTo>
                  <a:lnTo>
                    <a:pt x="40" y="219"/>
                  </a:lnTo>
                  <a:lnTo>
                    <a:pt x="41" y="222"/>
                  </a:lnTo>
                  <a:lnTo>
                    <a:pt x="43" y="224"/>
                  </a:lnTo>
                  <a:lnTo>
                    <a:pt x="45" y="226"/>
                  </a:lnTo>
                  <a:lnTo>
                    <a:pt x="47" y="229"/>
                  </a:lnTo>
                  <a:lnTo>
                    <a:pt x="47" y="229"/>
                  </a:lnTo>
                  <a:lnTo>
                    <a:pt x="47" y="238"/>
                  </a:lnTo>
                  <a:lnTo>
                    <a:pt x="48" y="240"/>
                  </a:lnTo>
                  <a:lnTo>
                    <a:pt x="52" y="243"/>
                  </a:lnTo>
                  <a:lnTo>
                    <a:pt x="52" y="243"/>
                  </a:lnTo>
                  <a:lnTo>
                    <a:pt x="55" y="245"/>
                  </a:lnTo>
                  <a:lnTo>
                    <a:pt x="57" y="249"/>
                  </a:lnTo>
                  <a:lnTo>
                    <a:pt x="57" y="252"/>
                  </a:lnTo>
                  <a:lnTo>
                    <a:pt x="55" y="256"/>
                  </a:lnTo>
                  <a:lnTo>
                    <a:pt x="54" y="264"/>
                  </a:lnTo>
                  <a:lnTo>
                    <a:pt x="54" y="270"/>
                  </a:lnTo>
                  <a:lnTo>
                    <a:pt x="55" y="273"/>
                  </a:lnTo>
                  <a:lnTo>
                    <a:pt x="55" y="273"/>
                  </a:lnTo>
                  <a:lnTo>
                    <a:pt x="61" y="278"/>
                  </a:lnTo>
                  <a:lnTo>
                    <a:pt x="61" y="282"/>
                  </a:lnTo>
                  <a:lnTo>
                    <a:pt x="59" y="283"/>
                  </a:lnTo>
                  <a:lnTo>
                    <a:pt x="57" y="287"/>
                  </a:lnTo>
                  <a:lnTo>
                    <a:pt x="54" y="289"/>
                  </a:lnTo>
                  <a:lnTo>
                    <a:pt x="52" y="294"/>
                  </a:lnTo>
                  <a:lnTo>
                    <a:pt x="50" y="301"/>
                  </a:lnTo>
                  <a:lnTo>
                    <a:pt x="52" y="313"/>
                  </a:lnTo>
                  <a:lnTo>
                    <a:pt x="52" y="313"/>
                  </a:lnTo>
                  <a:lnTo>
                    <a:pt x="54" y="325"/>
                  </a:lnTo>
                  <a:lnTo>
                    <a:pt x="54" y="336"/>
                  </a:lnTo>
                  <a:lnTo>
                    <a:pt x="52" y="353"/>
                  </a:lnTo>
                  <a:lnTo>
                    <a:pt x="52" y="364"/>
                  </a:lnTo>
                  <a:lnTo>
                    <a:pt x="54" y="367"/>
                  </a:lnTo>
                  <a:lnTo>
                    <a:pt x="55" y="369"/>
                  </a:lnTo>
                  <a:lnTo>
                    <a:pt x="55" y="369"/>
                  </a:lnTo>
                  <a:lnTo>
                    <a:pt x="57" y="372"/>
                  </a:lnTo>
                  <a:lnTo>
                    <a:pt x="59" y="377"/>
                  </a:lnTo>
                  <a:lnTo>
                    <a:pt x="57" y="386"/>
                  </a:lnTo>
                  <a:lnTo>
                    <a:pt x="54" y="393"/>
                  </a:lnTo>
                  <a:lnTo>
                    <a:pt x="50" y="402"/>
                  </a:lnTo>
                  <a:lnTo>
                    <a:pt x="45" y="411"/>
                  </a:lnTo>
                  <a:lnTo>
                    <a:pt x="40" y="416"/>
                  </a:lnTo>
                  <a:lnTo>
                    <a:pt x="34" y="418"/>
                  </a:lnTo>
                  <a:lnTo>
                    <a:pt x="34" y="418"/>
                  </a:lnTo>
                  <a:lnTo>
                    <a:pt x="22" y="419"/>
                  </a:lnTo>
                  <a:lnTo>
                    <a:pt x="15" y="423"/>
                  </a:lnTo>
                  <a:lnTo>
                    <a:pt x="12" y="424"/>
                  </a:lnTo>
                  <a:lnTo>
                    <a:pt x="10" y="428"/>
                  </a:lnTo>
                  <a:lnTo>
                    <a:pt x="10" y="433"/>
                  </a:lnTo>
                  <a:lnTo>
                    <a:pt x="10" y="438"/>
                  </a:lnTo>
                  <a:lnTo>
                    <a:pt x="10" y="438"/>
                  </a:lnTo>
                  <a:lnTo>
                    <a:pt x="12" y="444"/>
                  </a:lnTo>
                  <a:lnTo>
                    <a:pt x="10" y="445"/>
                  </a:lnTo>
                  <a:lnTo>
                    <a:pt x="3" y="447"/>
                  </a:lnTo>
                  <a:lnTo>
                    <a:pt x="1" y="449"/>
                  </a:lnTo>
                  <a:lnTo>
                    <a:pt x="0" y="452"/>
                  </a:lnTo>
                  <a:lnTo>
                    <a:pt x="1" y="458"/>
                  </a:lnTo>
                  <a:lnTo>
                    <a:pt x="5" y="465"/>
                  </a:lnTo>
                  <a:lnTo>
                    <a:pt x="5" y="465"/>
                  </a:lnTo>
                  <a:lnTo>
                    <a:pt x="33" y="489"/>
                  </a:lnTo>
                  <a:lnTo>
                    <a:pt x="38" y="492"/>
                  </a:lnTo>
                  <a:lnTo>
                    <a:pt x="41" y="492"/>
                  </a:lnTo>
                  <a:lnTo>
                    <a:pt x="43" y="492"/>
                  </a:lnTo>
                  <a:lnTo>
                    <a:pt x="43" y="492"/>
                  </a:lnTo>
                  <a:lnTo>
                    <a:pt x="47" y="492"/>
                  </a:lnTo>
                  <a:lnTo>
                    <a:pt x="50" y="496"/>
                  </a:lnTo>
                  <a:lnTo>
                    <a:pt x="54" y="499"/>
                  </a:lnTo>
                  <a:lnTo>
                    <a:pt x="55" y="505"/>
                  </a:lnTo>
                  <a:lnTo>
                    <a:pt x="55" y="505"/>
                  </a:lnTo>
                  <a:lnTo>
                    <a:pt x="57" y="506"/>
                  </a:lnTo>
                  <a:lnTo>
                    <a:pt x="61" y="510"/>
                  </a:lnTo>
                  <a:lnTo>
                    <a:pt x="73" y="513"/>
                  </a:lnTo>
                  <a:lnTo>
                    <a:pt x="85" y="517"/>
                  </a:lnTo>
                  <a:lnTo>
                    <a:pt x="88" y="515"/>
                  </a:lnTo>
                  <a:lnTo>
                    <a:pt x="90" y="515"/>
                  </a:lnTo>
                  <a:lnTo>
                    <a:pt x="90" y="515"/>
                  </a:lnTo>
                  <a:lnTo>
                    <a:pt x="92" y="510"/>
                  </a:lnTo>
                  <a:lnTo>
                    <a:pt x="94" y="506"/>
                  </a:lnTo>
                  <a:lnTo>
                    <a:pt x="95" y="506"/>
                  </a:lnTo>
                  <a:lnTo>
                    <a:pt x="99" y="508"/>
                  </a:lnTo>
                  <a:lnTo>
                    <a:pt x="102" y="510"/>
                  </a:lnTo>
                  <a:lnTo>
                    <a:pt x="106" y="517"/>
                  </a:lnTo>
                  <a:lnTo>
                    <a:pt x="106" y="517"/>
                  </a:lnTo>
                  <a:lnTo>
                    <a:pt x="111" y="522"/>
                  </a:lnTo>
                  <a:lnTo>
                    <a:pt x="116" y="525"/>
                  </a:lnTo>
                  <a:lnTo>
                    <a:pt x="130" y="531"/>
                  </a:lnTo>
                  <a:lnTo>
                    <a:pt x="130" y="531"/>
                  </a:lnTo>
                  <a:lnTo>
                    <a:pt x="134" y="529"/>
                  </a:lnTo>
                  <a:lnTo>
                    <a:pt x="135" y="527"/>
                  </a:lnTo>
                  <a:lnTo>
                    <a:pt x="141" y="531"/>
                  </a:lnTo>
                  <a:lnTo>
                    <a:pt x="146" y="536"/>
                  </a:lnTo>
                  <a:lnTo>
                    <a:pt x="149" y="539"/>
                  </a:lnTo>
                  <a:lnTo>
                    <a:pt x="153" y="541"/>
                  </a:lnTo>
                  <a:lnTo>
                    <a:pt x="153" y="541"/>
                  </a:lnTo>
                  <a:lnTo>
                    <a:pt x="158" y="545"/>
                  </a:lnTo>
                  <a:lnTo>
                    <a:pt x="162" y="548"/>
                  </a:lnTo>
                  <a:lnTo>
                    <a:pt x="165" y="557"/>
                  </a:lnTo>
                  <a:lnTo>
                    <a:pt x="167" y="562"/>
                  </a:lnTo>
                  <a:lnTo>
                    <a:pt x="169" y="565"/>
                  </a:lnTo>
                  <a:lnTo>
                    <a:pt x="174" y="571"/>
                  </a:lnTo>
                  <a:lnTo>
                    <a:pt x="179" y="576"/>
                  </a:lnTo>
                  <a:lnTo>
                    <a:pt x="179" y="576"/>
                  </a:lnTo>
                  <a:lnTo>
                    <a:pt x="186" y="581"/>
                  </a:lnTo>
                  <a:lnTo>
                    <a:pt x="193" y="590"/>
                  </a:lnTo>
                  <a:lnTo>
                    <a:pt x="200" y="606"/>
                  </a:lnTo>
                  <a:lnTo>
                    <a:pt x="203" y="614"/>
                  </a:lnTo>
                  <a:lnTo>
                    <a:pt x="209" y="621"/>
                  </a:lnTo>
                  <a:lnTo>
                    <a:pt x="214" y="626"/>
                  </a:lnTo>
                  <a:lnTo>
                    <a:pt x="221" y="628"/>
                  </a:lnTo>
                  <a:lnTo>
                    <a:pt x="221" y="628"/>
                  </a:lnTo>
                  <a:lnTo>
                    <a:pt x="228" y="628"/>
                  </a:lnTo>
                  <a:lnTo>
                    <a:pt x="236" y="626"/>
                  </a:lnTo>
                  <a:lnTo>
                    <a:pt x="250" y="623"/>
                  </a:lnTo>
                  <a:lnTo>
                    <a:pt x="257" y="621"/>
                  </a:lnTo>
                  <a:lnTo>
                    <a:pt x="266" y="619"/>
                  </a:lnTo>
                  <a:lnTo>
                    <a:pt x="277" y="621"/>
                  </a:lnTo>
                  <a:lnTo>
                    <a:pt x="287" y="623"/>
                  </a:lnTo>
                  <a:lnTo>
                    <a:pt x="287" y="623"/>
                  </a:lnTo>
                  <a:lnTo>
                    <a:pt x="306" y="632"/>
                  </a:lnTo>
                  <a:lnTo>
                    <a:pt x="313" y="635"/>
                  </a:lnTo>
                  <a:lnTo>
                    <a:pt x="315" y="637"/>
                  </a:lnTo>
                  <a:lnTo>
                    <a:pt x="315" y="640"/>
                  </a:lnTo>
                  <a:lnTo>
                    <a:pt x="313" y="644"/>
                  </a:lnTo>
                  <a:lnTo>
                    <a:pt x="313" y="644"/>
                  </a:lnTo>
                  <a:lnTo>
                    <a:pt x="303" y="663"/>
                  </a:lnTo>
                  <a:lnTo>
                    <a:pt x="294" y="679"/>
                  </a:lnTo>
                  <a:lnTo>
                    <a:pt x="292" y="684"/>
                  </a:lnTo>
                  <a:lnTo>
                    <a:pt x="292" y="687"/>
                  </a:lnTo>
                  <a:lnTo>
                    <a:pt x="292" y="689"/>
                  </a:lnTo>
                  <a:lnTo>
                    <a:pt x="297" y="689"/>
                  </a:lnTo>
                  <a:lnTo>
                    <a:pt x="297" y="689"/>
                  </a:lnTo>
                  <a:lnTo>
                    <a:pt x="303" y="689"/>
                  </a:lnTo>
                  <a:lnTo>
                    <a:pt x="306" y="689"/>
                  </a:lnTo>
                  <a:lnTo>
                    <a:pt x="310" y="691"/>
                  </a:lnTo>
                  <a:lnTo>
                    <a:pt x="311" y="693"/>
                  </a:lnTo>
                  <a:lnTo>
                    <a:pt x="315" y="698"/>
                  </a:lnTo>
                  <a:lnTo>
                    <a:pt x="318" y="705"/>
                  </a:lnTo>
                  <a:lnTo>
                    <a:pt x="318" y="705"/>
                  </a:lnTo>
                  <a:lnTo>
                    <a:pt x="320" y="687"/>
                  </a:lnTo>
                  <a:lnTo>
                    <a:pt x="325" y="658"/>
                  </a:lnTo>
                  <a:lnTo>
                    <a:pt x="330" y="626"/>
                  </a:lnTo>
                  <a:lnTo>
                    <a:pt x="334" y="599"/>
                  </a:lnTo>
                  <a:lnTo>
                    <a:pt x="334" y="599"/>
                  </a:lnTo>
                  <a:lnTo>
                    <a:pt x="336" y="590"/>
                  </a:lnTo>
                  <a:lnTo>
                    <a:pt x="336" y="583"/>
                  </a:lnTo>
                  <a:lnTo>
                    <a:pt x="334" y="572"/>
                  </a:lnTo>
                  <a:lnTo>
                    <a:pt x="330" y="564"/>
                  </a:lnTo>
                  <a:lnTo>
                    <a:pt x="330" y="560"/>
                  </a:lnTo>
                  <a:lnTo>
                    <a:pt x="330" y="555"/>
                  </a:lnTo>
                  <a:lnTo>
                    <a:pt x="330" y="555"/>
                  </a:lnTo>
                  <a:lnTo>
                    <a:pt x="330" y="550"/>
                  </a:lnTo>
                  <a:lnTo>
                    <a:pt x="330" y="548"/>
                  </a:lnTo>
                  <a:lnTo>
                    <a:pt x="325" y="545"/>
                  </a:lnTo>
                  <a:lnTo>
                    <a:pt x="322" y="541"/>
                  </a:lnTo>
                  <a:lnTo>
                    <a:pt x="318" y="536"/>
                  </a:lnTo>
                  <a:lnTo>
                    <a:pt x="315" y="525"/>
                  </a:lnTo>
                  <a:lnTo>
                    <a:pt x="313" y="510"/>
                  </a:lnTo>
                  <a:lnTo>
                    <a:pt x="313" y="510"/>
                  </a:lnTo>
                  <a:lnTo>
                    <a:pt x="313" y="505"/>
                  </a:lnTo>
                  <a:lnTo>
                    <a:pt x="315" y="503"/>
                  </a:lnTo>
                  <a:lnTo>
                    <a:pt x="317" y="499"/>
                  </a:lnTo>
                  <a:lnTo>
                    <a:pt x="320" y="499"/>
                  </a:lnTo>
                  <a:lnTo>
                    <a:pt x="325" y="498"/>
                  </a:lnTo>
                  <a:lnTo>
                    <a:pt x="330" y="496"/>
                  </a:lnTo>
                  <a:lnTo>
                    <a:pt x="330" y="496"/>
                  </a:lnTo>
                  <a:lnTo>
                    <a:pt x="332" y="496"/>
                  </a:lnTo>
                  <a:lnTo>
                    <a:pt x="336" y="496"/>
                  </a:lnTo>
                  <a:lnTo>
                    <a:pt x="344" y="501"/>
                  </a:lnTo>
                  <a:lnTo>
                    <a:pt x="344" y="501"/>
                  </a:lnTo>
                  <a:lnTo>
                    <a:pt x="344" y="501"/>
                  </a:lnTo>
                  <a:lnTo>
                    <a:pt x="346" y="499"/>
                  </a:lnTo>
                  <a:lnTo>
                    <a:pt x="346" y="492"/>
                  </a:lnTo>
                  <a:lnTo>
                    <a:pt x="343" y="485"/>
                  </a:lnTo>
                  <a:lnTo>
                    <a:pt x="339" y="482"/>
                  </a:lnTo>
                  <a:lnTo>
                    <a:pt x="337" y="482"/>
                  </a:lnTo>
                  <a:lnTo>
                    <a:pt x="337" y="482"/>
                  </a:lnTo>
                  <a:lnTo>
                    <a:pt x="322" y="482"/>
                  </a:lnTo>
                  <a:lnTo>
                    <a:pt x="320" y="452"/>
                  </a:lnTo>
                  <a:lnTo>
                    <a:pt x="379" y="452"/>
                  </a:lnTo>
                  <a:lnTo>
                    <a:pt x="379" y="452"/>
                  </a:lnTo>
                  <a:lnTo>
                    <a:pt x="377" y="447"/>
                  </a:lnTo>
                  <a:lnTo>
                    <a:pt x="377" y="442"/>
                  </a:lnTo>
                  <a:lnTo>
                    <a:pt x="377" y="442"/>
                  </a:lnTo>
                  <a:lnTo>
                    <a:pt x="379" y="442"/>
                  </a:lnTo>
                  <a:lnTo>
                    <a:pt x="384" y="449"/>
                  </a:lnTo>
                  <a:lnTo>
                    <a:pt x="384" y="449"/>
                  </a:lnTo>
                  <a:lnTo>
                    <a:pt x="388" y="452"/>
                  </a:lnTo>
                  <a:lnTo>
                    <a:pt x="390" y="452"/>
                  </a:lnTo>
                  <a:lnTo>
                    <a:pt x="393" y="449"/>
                  </a:lnTo>
                  <a:lnTo>
                    <a:pt x="397" y="445"/>
                  </a:lnTo>
                  <a:lnTo>
                    <a:pt x="400" y="438"/>
                  </a:lnTo>
                  <a:lnTo>
                    <a:pt x="404" y="435"/>
                  </a:lnTo>
                  <a:lnTo>
                    <a:pt x="405" y="435"/>
                  </a:lnTo>
                  <a:lnTo>
                    <a:pt x="405" y="435"/>
                  </a:lnTo>
                  <a:lnTo>
                    <a:pt x="412" y="445"/>
                  </a:lnTo>
                  <a:lnTo>
                    <a:pt x="416" y="454"/>
                  </a:lnTo>
                  <a:lnTo>
                    <a:pt x="418" y="461"/>
                  </a:lnTo>
                  <a:lnTo>
                    <a:pt x="418" y="468"/>
                  </a:lnTo>
                  <a:lnTo>
                    <a:pt x="418" y="473"/>
                  </a:lnTo>
                  <a:lnTo>
                    <a:pt x="418" y="477"/>
                  </a:lnTo>
                  <a:lnTo>
                    <a:pt x="421" y="477"/>
                  </a:lnTo>
                  <a:lnTo>
                    <a:pt x="426" y="475"/>
                  </a:lnTo>
                  <a:lnTo>
                    <a:pt x="426" y="475"/>
                  </a:lnTo>
                  <a:lnTo>
                    <a:pt x="419" y="449"/>
                  </a:lnTo>
                  <a:lnTo>
                    <a:pt x="416" y="435"/>
                  </a:lnTo>
                  <a:lnTo>
                    <a:pt x="412" y="424"/>
                  </a:lnTo>
                  <a:lnTo>
                    <a:pt x="407" y="419"/>
                  </a:lnTo>
                  <a:lnTo>
                    <a:pt x="407" y="419"/>
                  </a:lnTo>
                  <a:lnTo>
                    <a:pt x="402" y="414"/>
                  </a:lnTo>
                  <a:lnTo>
                    <a:pt x="400" y="411"/>
                  </a:lnTo>
                  <a:lnTo>
                    <a:pt x="398" y="407"/>
                  </a:lnTo>
                  <a:lnTo>
                    <a:pt x="393" y="409"/>
                  </a:lnTo>
                  <a:lnTo>
                    <a:pt x="393" y="409"/>
                  </a:lnTo>
                  <a:lnTo>
                    <a:pt x="391" y="409"/>
                  </a:lnTo>
                  <a:lnTo>
                    <a:pt x="390" y="407"/>
                  </a:lnTo>
                  <a:lnTo>
                    <a:pt x="390" y="405"/>
                  </a:lnTo>
                  <a:lnTo>
                    <a:pt x="393" y="398"/>
                  </a:lnTo>
                  <a:lnTo>
                    <a:pt x="405" y="388"/>
                  </a:lnTo>
                  <a:lnTo>
                    <a:pt x="405" y="388"/>
                  </a:lnTo>
                  <a:lnTo>
                    <a:pt x="409" y="384"/>
                  </a:lnTo>
                  <a:lnTo>
                    <a:pt x="409" y="381"/>
                  </a:lnTo>
                  <a:lnTo>
                    <a:pt x="409" y="376"/>
                  </a:lnTo>
                  <a:lnTo>
                    <a:pt x="405" y="372"/>
                  </a:lnTo>
                  <a:lnTo>
                    <a:pt x="400" y="362"/>
                  </a:lnTo>
                  <a:lnTo>
                    <a:pt x="397" y="355"/>
                  </a:lnTo>
                  <a:lnTo>
                    <a:pt x="393" y="346"/>
                  </a:lnTo>
                  <a:lnTo>
                    <a:pt x="393" y="346"/>
                  </a:lnTo>
                  <a:lnTo>
                    <a:pt x="391" y="330"/>
                  </a:lnTo>
                  <a:lnTo>
                    <a:pt x="391" y="317"/>
                  </a:lnTo>
                  <a:lnTo>
                    <a:pt x="395" y="303"/>
                  </a:lnTo>
                  <a:lnTo>
                    <a:pt x="398" y="290"/>
                  </a:lnTo>
                  <a:lnTo>
                    <a:pt x="405" y="270"/>
                  </a:lnTo>
                  <a:lnTo>
                    <a:pt x="405" y="264"/>
                  </a:lnTo>
                  <a:lnTo>
                    <a:pt x="405" y="263"/>
                  </a:lnTo>
                  <a:lnTo>
                    <a:pt x="405" y="263"/>
                  </a:lnTo>
                  <a:lnTo>
                    <a:pt x="405" y="263"/>
                  </a:lnTo>
                  <a:lnTo>
                    <a:pt x="395" y="261"/>
                  </a:lnTo>
                  <a:lnTo>
                    <a:pt x="386" y="261"/>
                  </a:lnTo>
                  <a:lnTo>
                    <a:pt x="374" y="263"/>
                  </a:lnTo>
                  <a:lnTo>
                    <a:pt x="360" y="266"/>
                  </a:lnTo>
                  <a:lnTo>
                    <a:pt x="351" y="268"/>
                  </a:lnTo>
                  <a:lnTo>
                    <a:pt x="339" y="268"/>
                  </a:lnTo>
                  <a:lnTo>
                    <a:pt x="339" y="268"/>
                  </a:lnTo>
                  <a:lnTo>
                    <a:pt x="336" y="266"/>
                  </a:lnTo>
                  <a:lnTo>
                    <a:pt x="330" y="261"/>
                  </a:lnTo>
                  <a:lnTo>
                    <a:pt x="324" y="247"/>
                  </a:lnTo>
                  <a:lnTo>
                    <a:pt x="315" y="235"/>
                  </a:lnTo>
                  <a:lnTo>
                    <a:pt x="311" y="231"/>
                  </a:lnTo>
                  <a:lnTo>
                    <a:pt x="308" y="231"/>
                  </a:lnTo>
                  <a:lnTo>
                    <a:pt x="308" y="231"/>
                  </a:lnTo>
                  <a:lnTo>
                    <a:pt x="304" y="231"/>
                  </a:lnTo>
                  <a:lnTo>
                    <a:pt x="301" y="231"/>
                  </a:lnTo>
                  <a:lnTo>
                    <a:pt x="292" y="229"/>
                  </a:lnTo>
                  <a:lnTo>
                    <a:pt x="278" y="228"/>
                  </a:lnTo>
                  <a:lnTo>
                    <a:pt x="270" y="228"/>
                  </a:lnTo>
                  <a:lnTo>
                    <a:pt x="256" y="229"/>
                  </a:lnTo>
                  <a:lnTo>
                    <a:pt x="256" y="229"/>
                  </a:lnTo>
                  <a:lnTo>
                    <a:pt x="249" y="229"/>
                  </a:lnTo>
                  <a:lnTo>
                    <a:pt x="245" y="228"/>
                  </a:lnTo>
                  <a:lnTo>
                    <a:pt x="242" y="226"/>
                  </a:lnTo>
                  <a:lnTo>
                    <a:pt x="242" y="222"/>
                  </a:lnTo>
                  <a:lnTo>
                    <a:pt x="240" y="217"/>
                  </a:lnTo>
                  <a:lnTo>
                    <a:pt x="238" y="214"/>
                  </a:lnTo>
                  <a:lnTo>
                    <a:pt x="235" y="212"/>
                  </a:lnTo>
                  <a:lnTo>
                    <a:pt x="235" y="212"/>
                  </a:lnTo>
                  <a:lnTo>
                    <a:pt x="229" y="210"/>
                  </a:lnTo>
                  <a:lnTo>
                    <a:pt x="228" y="205"/>
                  </a:lnTo>
                  <a:lnTo>
                    <a:pt x="229" y="200"/>
                  </a:lnTo>
                  <a:lnTo>
                    <a:pt x="231" y="191"/>
                  </a:lnTo>
                  <a:lnTo>
                    <a:pt x="233" y="184"/>
                  </a:lnTo>
                  <a:lnTo>
                    <a:pt x="233" y="177"/>
                  </a:lnTo>
                  <a:lnTo>
                    <a:pt x="233" y="172"/>
                  </a:lnTo>
                  <a:lnTo>
                    <a:pt x="228" y="167"/>
                  </a:lnTo>
                  <a:lnTo>
                    <a:pt x="228" y="167"/>
                  </a:lnTo>
                  <a:lnTo>
                    <a:pt x="224" y="163"/>
                  </a:lnTo>
                  <a:lnTo>
                    <a:pt x="221" y="158"/>
                  </a:lnTo>
                  <a:lnTo>
                    <a:pt x="219" y="146"/>
                  </a:lnTo>
                  <a:lnTo>
                    <a:pt x="217" y="139"/>
                  </a:lnTo>
                  <a:lnTo>
                    <a:pt x="214" y="135"/>
                  </a:lnTo>
                  <a:lnTo>
                    <a:pt x="210" y="134"/>
                  </a:lnTo>
                  <a:lnTo>
                    <a:pt x="205" y="135"/>
                  </a:lnTo>
                  <a:lnTo>
                    <a:pt x="205" y="135"/>
                  </a:lnTo>
                  <a:lnTo>
                    <a:pt x="198" y="135"/>
                  </a:lnTo>
                  <a:lnTo>
                    <a:pt x="196" y="135"/>
                  </a:lnTo>
                  <a:lnTo>
                    <a:pt x="196" y="134"/>
                  </a:lnTo>
                  <a:lnTo>
                    <a:pt x="205" y="123"/>
                  </a:lnTo>
                  <a:lnTo>
                    <a:pt x="205" y="123"/>
                  </a:lnTo>
                  <a:lnTo>
                    <a:pt x="209" y="118"/>
                  </a:lnTo>
                  <a:lnTo>
                    <a:pt x="210" y="109"/>
                  </a:lnTo>
                  <a:lnTo>
                    <a:pt x="214" y="88"/>
                  </a:lnTo>
                  <a:lnTo>
                    <a:pt x="217" y="78"/>
                  </a:lnTo>
                  <a:lnTo>
                    <a:pt x="221" y="68"/>
                  </a:lnTo>
                  <a:lnTo>
                    <a:pt x="224" y="59"/>
                  </a:lnTo>
                  <a:lnTo>
                    <a:pt x="231" y="54"/>
                  </a:lnTo>
                  <a:lnTo>
                    <a:pt x="231" y="54"/>
                  </a:lnTo>
                  <a:lnTo>
                    <a:pt x="236" y="48"/>
                  </a:lnTo>
                  <a:lnTo>
                    <a:pt x="240" y="45"/>
                  </a:lnTo>
                  <a:lnTo>
                    <a:pt x="242" y="36"/>
                  </a:lnTo>
                  <a:lnTo>
                    <a:pt x="243" y="33"/>
                  </a:lnTo>
                  <a:lnTo>
                    <a:pt x="249" y="29"/>
                  </a:lnTo>
                  <a:lnTo>
                    <a:pt x="257" y="26"/>
                  </a:lnTo>
                  <a:lnTo>
                    <a:pt x="271" y="22"/>
                  </a:lnTo>
                  <a:lnTo>
                    <a:pt x="271" y="2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 name="Freeform 1692">
              <a:extLst>
                <a:ext uri="{FF2B5EF4-FFF2-40B4-BE49-F238E27FC236}">
                  <a16:creationId xmlns:a16="http://schemas.microsoft.com/office/drawing/2014/main" id="{E4FE1A24-02DD-4AD0-8531-23FF379D67DA}"/>
                </a:ext>
              </a:extLst>
            </p:cNvPr>
            <p:cNvSpPr>
              <a:spLocks/>
            </p:cNvSpPr>
            <p:nvPr/>
          </p:nvSpPr>
          <p:spPr bwMode="auto">
            <a:xfrm>
              <a:off x="3119839" y="4062472"/>
              <a:ext cx="380592" cy="394689"/>
            </a:xfrm>
            <a:custGeom>
              <a:avLst/>
              <a:gdLst/>
              <a:ahLst/>
              <a:cxnLst>
                <a:cxn ang="0">
                  <a:pos x="444" y="318"/>
                </a:cxn>
                <a:cxn ang="0">
                  <a:pos x="385" y="345"/>
                </a:cxn>
                <a:cxn ang="0">
                  <a:pos x="377" y="364"/>
                </a:cxn>
                <a:cxn ang="0">
                  <a:pos x="321" y="346"/>
                </a:cxn>
                <a:cxn ang="0">
                  <a:pos x="310" y="353"/>
                </a:cxn>
                <a:cxn ang="0">
                  <a:pos x="335" y="416"/>
                </a:cxn>
                <a:cxn ang="0">
                  <a:pos x="352" y="416"/>
                </a:cxn>
                <a:cxn ang="0">
                  <a:pos x="340" y="433"/>
                </a:cxn>
                <a:cxn ang="0">
                  <a:pos x="323" y="461"/>
                </a:cxn>
                <a:cxn ang="0">
                  <a:pos x="289" y="482"/>
                </a:cxn>
                <a:cxn ang="0">
                  <a:pos x="262" y="487"/>
                </a:cxn>
                <a:cxn ang="0">
                  <a:pos x="230" y="470"/>
                </a:cxn>
                <a:cxn ang="0">
                  <a:pos x="206" y="409"/>
                </a:cxn>
                <a:cxn ang="0">
                  <a:pos x="194" y="402"/>
                </a:cxn>
                <a:cxn ang="0">
                  <a:pos x="213" y="376"/>
                </a:cxn>
                <a:cxn ang="0">
                  <a:pos x="197" y="341"/>
                </a:cxn>
                <a:cxn ang="0">
                  <a:pos x="209" y="259"/>
                </a:cxn>
                <a:cxn ang="0">
                  <a:pos x="178" y="258"/>
                </a:cxn>
                <a:cxn ang="0">
                  <a:pos x="134" y="256"/>
                </a:cxn>
                <a:cxn ang="0">
                  <a:pos x="108" y="226"/>
                </a:cxn>
                <a:cxn ang="0">
                  <a:pos x="60" y="224"/>
                </a:cxn>
                <a:cxn ang="0">
                  <a:pos x="42" y="209"/>
                </a:cxn>
                <a:cxn ang="0">
                  <a:pos x="35" y="186"/>
                </a:cxn>
                <a:cxn ang="0">
                  <a:pos x="28" y="158"/>
                </a:cxn>
                <a:cxn ang="0">
                  <a:pos x="9" y="130"/>
                </a:cxn>
                <a:cxn ang="0">
                  <a:pos x="9" y="118"/>
                </a:cxn>
                <a:cxn ang="0">
                  <a:pos x="28" y="54"/>
                </a:cxn>
                <a:cxn ang="0">
                  <a:pos x="47" y="28"/>
                </a:cxn>
                <a:cxn ang="0">
                  <a:pos x="56" y="28"/>
                </a:cxn>
                <a:cxn ang="0">
                  <a:pos x="60" y="50"/>
                </a:cxn>
                <a:cxn ang="0">
                  <a:pos x="75" y="56"/>
                </a:cxn>
                <a:cxn ang="0">
                  <a:pos x="117" y="38"/>
                </a:cxn>
                <a:cxn ang="0">
                  <a:pos x="110" y="14"/>
                </a:cxn>
                <a:cxn ang="0">
                  <a:pos x="131" y="14"/>
                </a:cxn>
                <a:cxn ang="0">
                  <a:pos x="166" y="38"/>
                </a:cxn>
                <a:cxn ang="0">
                  <a:pos x="181" y="71"/>
                </a:cxn>
                <a:cxn ang="0">
                  <a:pos x="241" y="68"/>
                </a:cxn>
                <a:cxn ang="0">
                  <a:pos x="267" y="83"/>
                </a:cxn>
                <a:cxn ang="0">
                  <a:pos x="312" y="83"/>
                </a:cxn>
                <a:cxn ang="0">
                  <a:pos x="323" y="70"/>
                </a:cxn>
                <a:cxn ang="0">
                  <a:pos x="373" y="61"/>
                </a:cxn>
                <a:cxn ang="0">
                  <a:pos x="397" y="71"/>
                </a:cxn>
                <a:cxn ang="0">
                  <a:pos x="378" y="85"/>
                </a:cxn>
                <a:cxn ang="0">
                  <a:pos x="406" y="104"/>
                </a:cxn>
                <a:cxn ang="0">
                  <a:pos x="430" y="115"/>
                </a:cxn>
                <a:cxn ang="0">
                  <a:pos x="439" y="130"/>
                </a:cxn>
                <a:cxn ang="0">
                  <a:pos x="427" y="155"/>
                </a:cxn>
                <a:cxn ang="0">
                  <a:pos x="446" y="158"/>
                </a:cxn>
                <a:cxn ang="0">
                  <a:pos x="476" y="174"/>
                </a:cxn>
                <a:cxn ang="0">
                  <a:pos x="446" y="197"/>
                </a:cxn>
                <a:cxn ang="0">
                  <a:pos x="460" y="219"/>
                </a:cxn>
                <a:cxn ang="0">
                  <a:pos x="434" y="237"/>
                </a:cxn>
                <a:cxn ang="0">
                  <a:pos x="430" y="258"/>
                </a:cxn>
                <a:cxn ang="0">
                  <a:pos x="446" y="301"/>
                </a:cxn>
              </a:cxnLst>
              <a:rect l="0" t="0" r="r" b="b"/>
              <a:pathLst>
                <a:path w="476" h="491">
                  <a:moveTo>
                    <a:pt x="446" y="301"/>
                  </a:moveTo>
                  <a:lnTo>
                    <a:pt x="446" y="301"/>
                  </a:lnTo>
                  <a:lnTo>
                    <a:pt x="448" y="306"/>
                  </a:lnTo>
                  <a:lnTo>
                    <a:pt x="448" y="310"/>
                  </a:lnTo>
                  <a:lnTo>
                    <a:pt x="446" y="315"/>
                  </a:lnTo>
                  <a:lnTo>
                    <a:pt x="444" y="318"/>
                  </a:lnTo>
                  <a:lnTo>
                    <a:pt x="437" y="327"/>
                  </a:lnTo>
                  <a:lnTo>
                    <a:pt x="427" y="334"/>
                  </a:lnTo>
                  <a:lnTo>
                    <a:pt x="417" y="339"/>
                  </a:lnTo>
                  <a:lnTo>
                    <a:pt x="404" y="343"/>
                  </a:lnTo>
                  <a:lnTo>
                    <a:pt x="394" y="345"/>
                  </a:lnTo>
                  <a:lnTo>
                    <a:pt x="385" y="345"/>
                  </a:lnTo>
                  <a:lnTo>
                    <a:pt x="385" y="345"/>
                  </a:lnTo>
                  <a:lnTo>
                    <a:pt x="380" y="346"/>
                  </a:lnTo>
                  <a:lnTo>
                    <a:pt x="378" y="350"/>
                  </a:lnTo>
                  <a:lnTo>
                    <a:pt x="377" y="353"/>
                  </a:lnTo>
                  <a:lnTo>
                    <a:pt x="377" y="359"/>
                  </a:lnTo>
                  <a:lnTo>
                    <a:pt x="377" y="364"/>
                  </a:lnTo>
                  <a:lnTo>
                    <a:pt x="375" y="367"/>
                  </a:lnTo>
                  <a:lnTo>
                    <a:pt x="370" y="367"/>
                  </a:lnTo>
                  <a:lnTo>
                    <a:pt x="363" y="364"/>
                  </a:lnTo>
                  <a:lnTo>
                    <a:pt x="363" y="364"/>
                  </a:lnTo>
                  <a:lnTo>
                    <a:pt x="340" y="353"/>
                  </a:lnTo>
                  <a:lnTo>
                    <a:pt x="321" y="346"/>
                  </a:lnTo>
                  <a:lnTo>
                    <a:pt x="314" y="345"/>
                  </a:lnTo>
                  <a:lnTo>
                    <a:pt x="309" y="346"/>
                  </a:lnTo>
                  <a:lnTo>
                    <a:pt x="307" y="346"/>
                  </a:lnTo>
                  <a:lnTo>
                    <a:pt x="307" y="348"/>
                  </a:lnTo>
                  <a:lnTo>
                    <a:pt x="310" y="353"/>
                  </a:lnTo>
                  <a:lnTo>
                    <a:pt x="310" y="353"/>
                  </a:lnTo>
                  <a:lnTo>
                    <a:pt x="316" y="362"/>
                  </a:lnTo>
                  <a:lnTo>
                    <a:pt x="319" y="372"/>
                  </a:lnTo>
                  <a:lnTo>
                    <a:pt x="324" y="393"/>
                  </a:lnTo>
                  <a:lnTo>
                    <a:pt x="328" y="404"/>
                  </a:lnTo>
                  <a:lnTo>
                    <a:pt x="331" y="411"/>
                  </a:lnTo>
                  <a:lnTo>
                    <a:pt x="335" y="416"/>
                  </a:lnTo>
                  <a:lnTo>
                    <a:pt x="336" y="416"/>
                  </a:lnTo>
                  <a:lnTo>
                    <a:pt x="340" y="416"/>
                  </a:lnTo>
                  <a:lnTo>
                    <a:pt x="340" y="416"/>
                  </a:lnTo>
                  <a:lnTo>
                    <a:pt x="345" y="414"/>
                  </a:lnTo>
                  <a:lnTo>
                    <a:pt x="349" y="416"/>
                  </a:lnTo>
                  <a:lnTo>
                    <a:pt x="352" y="416"/>
                  </a:lnTo>
                  <a:lnTo>
                    <a:pt x="352" y="419"/>
                  </a:lnTo>
                  <a:lnTo>
                    <a:pt x="352" y="423"/>
                  </a:lnTo>
                  <a:lnTo>
                    <a:pt x="350" y="426"/>
                  </a:lnTo>
                  <a:lnTo>
                    <a:pt x="345" y="430"/>
                  </a:lnTo>
                  <a:lnTo>
                    <a:pt x="340" y="433"/>
                  </a:lnTo>
                  <a:lnTo>
                    <a:pt x="340" y="433"/>
                  </a:lnTo>
                  <a:lnTo>
                    <a:pt x="333" y="439"/>
                  </a:lnTo>
                  <a:lnTo>
                    <a:pt x="331" y="442"/>
                  </a:lnTo>
                  <a:lnTo>
                    <a:pt x="329" y="451"/>
                  </a:lnTo>
                  <a:lnTo>
                    <a:pt x="328" y="454"/>
                  </a:lnTo>
                  <a:lnTo>
                    <a:pt x="326" y="458"/>
                  </a:lnTo>
                  <a:lnTo>
                    <a:pt x="323" y="461"/>
                  </a:lnTo>
                  <a:lnTo>
                    <a:pt x="314" y="465"/>
                  </a:lnTo>
                  <a:lnTo>
                    <a:pt x="314" y="465"/>
                  </a:lnTo>
                  <a:lnTo>
                    <a:pt x="305" y="466"/>
                  </a:lnTo>
                  <a:lnTo>
                    <a:pt x="298" y="472"/>
                  </a:lnTo>
                  <a:lnTo>
                    <a:pt x="293" y="477"/>
                  </a:lnTo>
                  <a:lnTo>
                    <a:pt x="289" y="482"/>
                  </a:lnTo>
                  <a:lnTo>
                    <a:pt x="286" y="486"/>
                  </a:lnTo>
                  <a:lnTo>
                    <a:pt x="282" y="489"/>
                  </a:lnTo>
                  <a:lnTo>
                    <a:pt x="279" y="491"/>
                  </a:lnTo>
                  <a:lnTo>
                    <a:pt x="274" y="491"/>
                  </a:lnTo>
                  <a:lnTo>
                    <a:pt x="274" y="491"/>
                  </a:lnTo>
                  <a:lnTo>
                    <a:pt x="262" y="487"/>
                  </a:lnTo>
                  <a:lnTo>
                    <a:pt x="251" y="486"/>
                  </a:lnTo>
                  <a:lnTo>
                    <a:pt x="244" y="484"/>
                  </a:lnTo>
                  <a:lnTo>
                    <a:pt x="239" y="482"/>
                  </a:lnTo>
                  <a:lnTo>
                    <a:pt x="234" y="477"/>
                  </a:lnTo>
                  <a:lnTo>
                    <a:pt x="230" y="470"/>
                  </a:lnTo>
                  <a:lnTo>
                    <a:pt x="230" y="470"/>
                  </a:lnTo>
                  <a:lnTo>
                    <a:pt x="223" y="444"/>
                  </a:lnTo>
                  <a:lnTo>
                    <a:pt x="220" y="430"/>
                  </a:lnTo>
                  <a:lnTo>
                    <a:pt x="216" y="419"/>
                  </a:lnTo>
                  <a:lnTo>
                    <a:pt x="211" y="414"/>
                  </a:lnTo>
                  <a:lnTo>
                    <a:pt x="211" y="414"/>
                  </a:lnTo>
                  <a:lnTo>
                    <a:pt x="206" y="409"/>
                  </a:lnTo>
                  <a:lnTo>
                    <a:pt x="204" y="406"/>
                  </a:lnTo>
                  <a:lnTo>
                    <a:pt x="202" y="402"/>
                  </a:lnTo>
                  <a:lnTo>
                    <a:pt x="197" y="404"/>
                  </a:lnTo>
                  <a:lnTo>
                    <a:pt x="197" y="404"/>
                  </a:lnTo>
                  <a:lnTo>
                    <a:pt x="195" y="404"/>
                  </a:lnTo>
                  <a:lnTo>
                    <a:pt x="194" y="402"/>
                  </a:lnTo>
                  <a:lnTo>
                    <a:pt x="194" y="400"/>
                  </a:lnTo>
                  <a:lnTo>
                    <a:pt x="197" y="393"/>
                  </a:lnTo>
                  <a:lnTo>
                    <a:pt x="209" y="383"/>
                  </a:lnTo>
                  <a:lnTo>
                    <a:pt x="209" y="383"/>
                  </a:lnTo>
                  <a:lnTo>
                    <a:pt x="213" y="379"/>
                  </a:lnTo>
                  <a:lnTo>
                    <a:pt x="213" y="376"/>
                  </a:lnTo>
                  <a:lnTo>
                    <a:pt x="213" y="371"/>
                  </a:lnTo>
                  <a:lnTo>
                    <a:pt x="209" y="367"/>
                  </a:lnTo>
                  <a:lnTo>
                    <a:pt x="204" y="357"/>
                  </a:lnTo>
                  <a:lnTo>
                    <a:pt x="201" y="350"/>
                  </a:lnTo>
                  <a:lnTo>
                    <a:pt x="197" y="341"/>
                  </a:lnTo>
                  <a:lnTo>
                    <a:pt x="197" y="341"/>
                  </a:lnTo>
                  <a:lnTo>
                    <a:pt x="195" y="325"/>
                  </a:lnTo>
                  <a:lnTo>
                    <a:pt x="195" y="312"/>
                  </a:lnTo>
                  <a:lnTo>
                    <a:pt x="199" y="298"/>
                  </a:lnTo>
                  <a:lnTo>
                    <a:pt x="202" y="285"/>
                  </a:lnTo>
                  <a:lnTo>
                    <a:pt x="209" y="265"/>
                  </a:lnTo>
                  <a:lnTo>
                    <a:pt x="209" y="259"/>
                  </a:lnTo>
                  <a:lnTo>
                    <a:pt x="209" y="258"/>
                  </a:lnTo>
                  <a:lnTo>
                    <a:pt x="209" y="258"/>
                  </a:lnTo>
                  <a:lnTo>
                    <a:pt x="209" y="258"/>
                  </a:lnTo>
                  <a:lnTo>
                    <a:pt x="199" y="256"/>
                  </a:lnTo>
                  <a:lnTo>
                    <a:pt x="190" y="256"/>
                  </a:lnTo>
                  <a:lnTo>
                    <a:pt x="178" y="258"/>
                  </a:lnTo>
                  <a:lnTo>
                    <a:pt x="164" y="261"/>
                  </a:lnTo>
                  <a:lnTo>
                    <a:pt x="155" y="263"/>
                  </a:lnTo>
                  <a:lnTo>
                    <a:pt x="143" y="263"/>
                  </a:lnTo>
                  <a:lnTo>
                    <a:pt x="143" y="263"/>
                  </a:lnTo>
                  <a:lnTo>
                    <a:pt x="140" y="261"/>
                  </a:lnTo>
                  <a:lnTo>
                    <a:pt x="134" y="256"/>
                  </a:lnTo>
                  <a:lnTo>
                    <a:pt x="128" y="242"/>
                  </a:lnTo>
                  <a:lnTo>
                    <a:pt x="119" y="230"/>
                  </a:lnTo>
                  <a:lnTo>
                    <a:pt x="115" y="226"/>
                  </a:lnTo>
                  <a:lnTo>
                    <a:pt x="112" y="226"/>
                  </a:lnTo>
                  <a:lnTo>
                    <a:pt x="112" y="226"/>
                  </a:lnTo>
                  <a:lnTo>
                    <a:pt x="108" y="226"/>
                  </a:lnTo>
                  <a:lnTo>
                    <a:pt x="105" y="226"/>
                  </a:lnTo>
                  <a:lnTo>
                    <a:pt x="96" y="224"/>
                  </a:lnTo>
                  <a:lnTo>
                    <a:pt x="82" y="223"/>
                  </a:lnTo>
                  <a:lnTo>
                    <a:pt x="74" y="223"/>
                  </a:lnTo>
                  <a:lnTo>
                    <a:pt x="60" y="224"/>
                  </a:lnTo>
                  <a:lnTo>
                    <a:pt x="60" y="224"/>
                  </a:lnTo>
                  <a:lnTo>
                    <a:pt x="53" y="224"/>
                  </a:lnTo>
                  <a:lnTo>
                    <a:pt x="49" y="223"/>
                  </a:lnTo>
                  <a:lnTo>
                    <a:pt x="46" y="221"/>
                  </a:lnTo>
                  <a:lnTo>
                    <a:pt x="46" y="217"/>
                  </a:lnTo>
                  <a:lnTo>
                    <a:pt x="44" y="212"/>
                  </a:lnTo>
                  <a:lnTo>
                    <a:pt x="42" y="209"/>
                  </a:lnTo>
                  <a:lnTo>
                    <a:pt x="39" y="207"/>
                  </a:lnTo>
                  <a:lnTo>
                    <a:pt x="39" y="207"/>
                  </a:lnTo>
                  <a:lnTo>
                    <a:pt x="33" y="205"/>
                  </a:lnTo>
                  <a:lnTo>
                    <a:pt x="32" y="200"/>
                  </a:lnTo>
                  <a:lnTo>
                    <a:pt x="33" y="195"/>
                  </a:lnTo>
                  <a:lnTo>
                    <a:pt x="35" y="186"/>
                  </a:lnTo>
                  <a:lnTo>
                    <a:pt x="37" y="179"/>
                  </a:lnTo>
                  <a:lnTo>
                    <a:pt x="37" y="172"/>
                  </a:lnTo>
                  <a:lnTo>
                    <a:pt x="37" y="167"/>
                  </a:lnTo>
                  <a:lnTo>
                    <a:pt x="32" y="162"/>
                  </a:lnTo>
                  <a:lnTo>
                    <a:pt x="32" y="162"/>
                  </a:lnTo>
                  <a:lnTo>
                    <a:pt x="28" y="158"/>
                  </a:lnTo>
                  <a:lnTo>
                    <a:pt x="25" y="153"/>
                  </a:lnTo>
                  <a:lnTo>
                    <a:pt x="23" y="141"/>
                  </a:lnTo>
                  <a:lnTo>
                    <a:pt x="21" y="134"/>
                  </a:lnTo>
                  <a:lnTo>
                    <a:pt x="18" y="130"/>
                  </a:lnTo>
                  <a:lnTo>
                    <a:pt x="14" y="129"/>
                  </a:lnTo>
                  <a:lnTo>
                    <a:pt x="9" y="130"/>
                  </a:lnTo>
                  <a:lnTo>
                    <a:pt x="9" y="130"/>
                  </a:lnTo>
                  <a:lnTo>
                    <a:pt x="2" y="130"/>
                  </a:lnTo>
                  <a:lnTo>
                    <a:pt x="0" y="130"/>
                  </a:lnTo>
                  <a:lnTo>
                    <a:pt x="0" y="129"/>
                  </a:lnTo>
                  <a:lnTo>
                    <a:pt x="9" y="118"/>
                  </a:lnTo>
                  <a:lnTo>
                    <a:pt x="9" y="118"/>
                  </a:lnTo>
                  <a:lnTo>
                    <a:pt x="13" y="113"/>
                  </a:lnTo>
                  <a:lnTo>
                    <a:pt x="14" y="104"/>
                  </a:lnTo>
                  <a:lnTo>
                    <a:pt x="18" y="83"/>
                  </a:lnTo>
                  <a:lnTo>
                    <a:pt x="21" y="73"/>
                  </a:lnTo>
                  <a:lnTo>
                    <a:pt x="25" y="63"/>
                  </a:lnTo>
                  <a:lnTo>
                    <a:pt x="28" y="54"/>
                  </a:lnTo>
                  <a:lnTo>
                    <a:pt x="35" y="49"/>
                  </a:lnTo>
                  <a:lnTo>
                    <a:pt x="35" y="49"/>
                  </a:lnTo>
                  <a:lnTo>
                    <a:pt x="40" y="43"/>
                  </a:lnTo>
                  <a:lnTo>
                    <a:pt x="44" y="40"/>
                  </a:lnTo>
                  <a:lnTo>
                    <a:pt x="46" y="31"/>
                  </a:lnTo>
                  <a:lnTo>
                    <a:pt x="47" y="28"/>
                  </a:lnTo>
                  <a:lnTo>
                    <a:pt x="53" y="24"/>
                  </a:lnTo>
                  <a:lnTo>
                    <a:pt x="61" y="21"/>
                  </a:lnTo>
                  <a:lnTo>
                    <a:pt x="74" y="17"/>
                  </a:lnTo>
                  <a:lnTo>
                    <a:pt x="74" y="17"/>
                  </a:lnTo>
                  <a:lnTo>
                    <a:pt x="65" y="22"/>
                  </a:lnTo>
                  <a:lnTo>
                    <a:pt x="56" y="28"/>
                  </a:lnTo>
                  <a:lnTo>
                    <a:pt x="53" y="31"/>
                  </a:lnTo>
                  <a:lnTo>
                    <a:pt x="51" y="35"/>
                  </a:lnTo>
                  <a:lnTo>
                    <a:pt x="53" y="40"/>
                  </a:lnTo>
                  <a:lnTo>
                    <a:pt x="56" y="43"/>
                  </a:lnTo>
                  <a:lnTo>
                    <a:pt x="56" y="43"/>
                  </a:lnTo>
                  <a:lnTo>
                    <a:pt x="60" y="50"/>
                  </a:lnTo>
                  <a:lnTo>
                    <a:pt x="63" y="57"/>
                  </a:lnTo>
                  <a:lnTo>
                    <a:pt x="63" y="57"/>
                  </a:lnTo>
                  <a:lnTo>
                    <a:pt x="63" y="63"/>
                  </a:lnTo>
                  <a:lnTo>
                    <a:pt x="65" y="64"/>
                  </a:lnTo>
                  <a:lnTo>
                    <a:pt x="70" y="59"/>
                  </a:lnTo>
                  <a:lnTo>
                    <a:pt x="75" y="56"/>
                  </a:lnTo>
                  <a:lnTo>
                    <a:pt x="81" y="50"/>
                  </a:lnTo>
                  <a:lnTo>
                    <a:pt x="89" y="47"/>
                  </a:lnTo>
                  <a:lnTo>
                    <a:pt x="100" y="43"/>
                  </a:lnTo>
                  <a:lnTo>
                    <a:pt x="100" y="43"/>
                  </a:lnTo>
                  <a:lnTo>
                    <a:pt x="114" y="40"/>
                  </a:lnTo>
                  <a:lnTo>
                    <a:pt x="117" y="38"/>
                  </a:lnTo>
                  <a:lnTo>
                    <a:pt x="117" y="35"/>
                  </a:lnTo>
                  <a:lnTo>
                    <a:pt x="115" y="29"/>
                  </a:lnTo>
                  <a:lnTo>
                    <a:pt x="110" y="22"/>
                  </a:lnTo>
                  <a:lnTo>
                    <a:pt x="110" y="22"/>
                  </a:lnTo>
                  <a:lnTo>
                    <a:pt x="110" y="19"/>
                  </a:lnTo>
                  <a:lnTo>
                    <a:pt x="110" y="14"/>
                  </a:lnTo>
                  <a:lnTo>
                    <a:pt x="114" y="9"/>
                  </a:lnTo>
                  <a:lnTo>
                    <a:pt x="115" y="3"/>
                  </a:lnTo>
                  <a:lnTo>
                    <a:pt x="119" y="0"/>
                  </a:lnTo>
                  <a:lnTo>
                    <a:pt x="124" y="0"/>
                  </a:lnTo>
                  <a:lnTo>
                    <a:pt x="128" y="5"/>
                  </a:lnTo>
                  <a:lnTo>
                    <a:pt x="131" y="14"/>
                  </a:lnTo>
                  <a:lnTo>
                    <a:pt x="131" y="14"/>
                  </a:lnTo>
                  <a:lnTo>
                    <a:pt x="136" y="22"/>
                  </a:lnTo>
                  <a:lnTo>
                    <a:pt x="143" y="28"/>
                  </a:lnTo>
                  <a:lnTo>
                    <a:pt x="150" y="33"/>
                  </a:lnTo>
                  <a:lnTo>
                    <a:pt x="159" y="35"/>
                  </a:lnTo>
                  <a:lnTo>
                    <a:pt x="166" y="38"/>
                  </a:lnTo>
                  <a:lnTo>
                    <a:pt x="173" y="42"/>
                  </a:lnTo>
                  <a:lnTo>
                    <a:pt x="178" y="50"/>
                  </a:lnTo>
                  <a:lnTo>
                    <a:pt x="180" y="61"/>
                  </a:lnTo>
                  <a:lnTo>
                    <a:pt x="180" y="61"/>
                  </a:lnTo>
                  <a:lnTo>
                    <a:pt x="180" y="68"/>
                  </a:lnTo>
                  <a:lnTo>
                    <a:pt x="181" y="71"/>
                  </a:lnTo>
                  <a:lnTo>
                    <a:pt x="185" y="75"/>
                  </a:lnTo>
                  <a:lnTo>
                    <a:pt x="190" y="76"/>
                  </a:lnTo>
                  <a:lnTo>
                    <a:pt x="201" y="75"/>
                  </a:lnTo>
                  <a:lnTo>
                    <a:pt x="215" y="73"/>
                  </a:lnTo>
                  <a:lnTo>
                    <a:pt x="229" y="70"/>
                  </a:lnTo>
                  <a:lnTo>
                    <a:pt x="241" y="68"/>
                  </a:lnTo>
                  <a:lnTo>
                    <a:pt x="248" y="68"/>
                  </a:lnTo>
                  <a:lnTo>
                    <a:pt x="253" y="70"/>
                  </a:lnTo>
                  <a:lnTo>
                    <a:pt x="256" y="71"/>
                  </a:lnTo>
                  <a:lnTo>
                    <a:pt x="260" y="75"/>
                  </a:lnTo>
                  <a:lnTo>
                    <a:pt x="260" y="75"/>
                  </a:lnTo>
                  <a:lnTo>
                    <a:pt x="267" y="83"/>
                  </a:lnTo>
                  <a:lnTo>
                    <a:pt x="272" y="89"/>
                  </a:lnTo>
                  <a:lnTo>
                    <a:pt x="279" y="90"/>
                  </a:lnTo>
                  <a:lnTo>
                    <a:pt x="288" y="92"/>
                  </a:lnTo>
                  <a:lnTo>
                    <a:pt x="295" y="90"/>
                  </a:lnTo>
                  <a:lnTo>
                    <a:pt x="300" y="89"/>
                  </a:lnTo>
                  <a:lnTo>
                    <a:pt x="312" y="83"/>
                  </a:lnTo>
                  <a:lnTo>
                    <a:pt x="312" y="83"/>
                  </a:lnTo>
                  <a:lnTo>
                    <a:pt x="316" y="82"/>
                  </a:lnTo>
                  <a:lnTo>
                    <a:pt x="316" y="78"/>
                  </a:lnTo>
                  <a:lnTo>
                    <a:pt x="317" y="73"/>
                  </a:lnTo>
                  <a:lnTo>
                    <a:pt x="319" y="71"/>
                  </a:lnTo>
                  <a:lnTo>
                    <a:pt x="323" y="70"/>
                  </a:lnTo>
                  <a:lnTo>
                    <a:pt x="329" y="68"/>
                  </a:lnTo>
                  <a:lnTo>
                    <a:pt x="338" y="68"/>
                  </a:lnTo>
                  <a:lnTo>
                    <a:pt x="338" y="68"/>
                  </a:lnTo>
                  <a:lnTo>
                    <a:pt x="356" y="66"/>
                  </a:lnTo>
                  <a:lnTo>
                    <a:pt x="364" y="64"/>
                  </a:lnTo>
                  <a:lnTo>
                    <a:pt x="373" y="61"/>
                  </a:lnTo>
                  <a:lnTo>
                    <a:pt x="387" y="61"/>
                  </a:lnTo>
                  <a:lnTo>
                    <a:pt x="387" y="61"/>
                  </a:lnTo>
                  <a:lnTo>
                    <a:pt x="401" y="64"/>
                  </a:lnTo>
                  <a:lnTo>
                    <a:pt x="404" y="66"/>
                  </a:lnTo>
                  <a:lnTo>
                    <a:pt x="404" y="68"/>
                  </a:lnTo>
                  <a:lnTo>
                    <a:pt x="397" y="71"/>
                  </a:lnTo>
                  <a:lnTo>
                    <a:pt x="382" y="75"/>
                  </a:lnTo>
                  <a:lnTo>
                    <a:pt x="382" y="75"/>
                  </a:lnTo>
                  <a:lnTo>
                    <a:pt x="375" y="76"/>
                  </a:lnTo>
                  <a:lnTo>
                    <a:pt x="373" y="78"/>
                  </a:lnTo>
                  <a:lnTo>
                    <a:pt x="375" y="82"/>
                  </a:lnTo>
                  <a:lnTo>
                    <a:pt x="378" y="85"/>
                  </a:lnTo>
                  <a:lnTo>
                    <a:pt x="390" y="92"/>
                  </a:lnTo>
                  <a:lnTo>
                    <a:pt x="397" y="96"/>
                  </a:lnTo>
                  <a:lnTo>
                    <a:pt x="401" y="99"/>
                  </a:lnTo>
                  <a:lnTo>
                    <a:pt x="401" y="99"/>
                  </a:lnTo>
                  <a:lnTo>
                    <a:pt x="404" y="103"/>
                  </a:lnTo>
                  <a:lnTo>
                    <a:pt x="406" y="104"/>
                  </a:lnTo>
                  <a:lnTo>
                    <a:pt x="413" y="104"/>
                  </a:lnTo>
                  <a:lnTo>
                    <a:pt x="420" y="106"/>
                  </a:lnTo>
                  <a:lnTo>
                    <a:pt x="424" y="108"/>
                  </a:lnTo>
                  <a:lnTo>
                    <a:pt x="427" y="111"/>
                  </a:lnTo>
                  <a:lnTo>
                    <a:pt x="427" y="111"/>
                  </a:lnTo>
                  <a:lnTo>
                    <a:pt x="430" y="115"/>
                  </a:lnTo>
                  <a:lnTo>
                    <a:pt x="434" y="118"/>
                  </a:lnTo>
                  <a:lnTo>
                    <a:pt x="441" y="122"/>
                  </a:lnTo>
                  <a:lnTo>
                    <a:pt x="443" y="123"/>
                  </a:lnTo>
                  <a:lnTo>
                    <a:pt x="443" y="125"/>
                  </a:lnTo>
                  <a:lnTo>
                    <a:pt x="443" y="127"/>
                  </a:lnTo>
                  <a:lnTo>
                    <a:pt x="439" y="130"/>
                  </a:lnTo>
                  <a:lnTo>
                    <a:pt x="439" y="130"/>
                  </a:lnTo>
                  <a:lnTo>
                    <a:pt x="436" y="134"/>
                  </a:lnTo>
                  <a:lnTo>
                    <a:pt x="432" y="137"/>
                  </a:lnTo>
                  <a:lnTo>
                    <a:pt x="430" y="143"/>
                  </a:lnTo>
                  <a:lnTo>
                    <a:pt x="429" y="151"/>
                  </a:lnTo>
                  <a:lnTo>
                    <a:pt x="427" y="155"/>
                  </a:lnTo>
                  <a:lnTo>
                    <a:pt x="424" y="158"/>
                  </a:lnTo>
                  <a:lnTo>
                    <a:pt x="424" y="158"/>
                  </a:lnTo>
                  <a:lnTo>
                    <a:pt x="422" y="162"/>
                  </a:lnTo>
                  <a:lnTo>
                    <a:pt x="424" y="162"/>
                  </a:lnTo>
                  <a:lnTo>
                    <a:pt x="436" y="160"/>
                  </a:lnTo>
                  <a:lnTo>
                    <a:pt x="446" y="158"/>
                  </a:lnTo>
                  <a:lnTo>
                    <a:pt x="457" y="157"/>
                  </a:lnTo>
                  <a:lnTo>
                    <a:pt x="465" y="158"/>
                  </a:lnTo>
                  <a:lnTo>
                    <a:pt x="474" y="162"/>
                  </a:lnTo>
                  <a:lnTo>
                    <a:pt x="474" y="162"/>
                  </a:lnTo>
                  <a:lnTo>
                    <a:pt x="476" y="169"/>
                  </a:lnTo>
                  <a:lnTo>
                    <a:pt x="476" y="174"/>
                  </a:lnTo>
                  <a:lnTo>
                    <a:pt x="472" y="179"/>
                  </a:lnTo>
                  <a:lnTo>
                    <a:pt x="467" y="183"/>
                  </a:lnTo>
                  <a:lnTo>
                    <a:pt x="455" y="191"/>
                  </a:lnTo>
                  <a:lnTo>
                    <a:pt x="450" y="193"/>
                  </a:lnTo>
                  <a:lnTo>
                    <a:pt x="446" y="197"/>
                  </a:lnTo>
                  <a:lnTo>
                    <a:pt x="446" y="197"/>
                  </a:lnTo>
                  <a:lnTo>
                    <a:pt x="446" y="200"/>
                  </a:lnTo>
                  <a:lnTo>
                    <a:pt x="446" y="202"/>
                  </a:lnTo>
                  <a:lnTo>
                    <a:pt x="450" y="207"/>
                  </a:lnTo>
                  <a:lnTo>
                    <a:pt x="455" y="212"/>
                  </a:lnTo>
                  <a:lnTo>
                    <a:pt x="460" y="219"/>
                  </a:lnTo>
                  <a:lnTo>
                    <a:pt x="460" y="219"/>
                  </a:lnTo>
                  <a:lnTo>
                    <a:pt x="460" y="223"/>
                  </a:lnTo>
                  <a:lnTo>
                    <a:pt x="458" y="226"/>
                  </a:lnTo>
                  <a:lnTo>
                    <a:pt x="453" y="230"/>
                  </a:lnTo>
                  <a:lnTo>
                    <a:pt x="444" y="235"/>
                  </a:lnTo>
                  <a:lnTo>
                    <a:pt x="444" y="235"/>
                  </a:lnTo>
                  <a:lnTo>
                    <a:pt x="434" y="237"/>
                  </a:lnTo>
                  <a:lnTo>
                    <a:pt x="429" y="238"/>
                  </a:lnTo>
                  <a:lnTo>
                    <a:pt x="429" y="238"/>
                  </a:lnTo>
                  <a:lnTo>
                    <a:pt x="429" y="242"/>
                  </a:lnTo>
                  <a:lnTo>
                    <a:pt x="430" y="251"/>
                  </a:lnTo>
                  <a:lnTo>
                    <a:pt x="430" y="251"/>
                  </a:lnTo>
                  <a:lnTo>
                    <a:pt x="430" y="258"/>
                  </a:lnTo>
                  <a:lnTo>
                    <a:pt x="429" y="261"/>
                  </a:lnTo>
                  <a:lnTo>
                    <a:pt x="424" y="266"/>
                  </a:lnTo>
                  <a:lnTo>
                    <a:pt x="422" y="271"/>
                  </a:lnTo>
                  <a:lnTo>
                    <a:pt x="425" y="277"/>
                  </a:lnTo>
                  <a:lnTo>
                    <a:pt x="432" y="287"/>
                  </a:lnTo>
                  <a:lnTo>
                    <a:pt x="446" y="301"/>
                  </a:lnTo>
                  <a:lnTo>
                    <a:pt x="446" y="30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 name="Freeform 1693">
              <a:extLst>
                <a:ext uri="{FF2B5EF4-FFF2-40B4-BE49-F238E27FC236}">
                  <a16:creationId xmlns:a16="http://schemas.microsoft.com/office/drawing/2014/main" id="{DF0A15ED-E08D-4F01-8919-2C81BBDF72A5}"/>
                </a:ext>
              </a:extLst>
            </p:cNvPr>
            <p:cNvSpPr>
              <a:spLocks/>
            </p:cNvSpPr>
            <p:nvPr/>
          </p:nvSpPr>
          <p:spPr bwMode="auto">
            <a:xfrm>
              <a:off x="3456380" y="4192858"/>
              <a:ext cx="140960" cy="246680"/>
            </a:xfrm>
            <a:custGeom>
              <a:avLst/>
              <a:gdLst/>
              <a:ahLst/>
              <a:cxnLst>
                <a:cxn ang="0">
                  <a:pos x="162" y="278"/>
                </a:cxn>
                <a:cxn ang="0">
                  <a:pos x="146" y="275"/>
                </a:cxn>
                <a:cxn ang="0">
                  <a:pos x="137" y="280"/>
                </a:cxn>
                <a:cxn ang="0">
                  <a:pos x="118" y="296"/>
                </a:cxn>
                <a:cxn ang="0">
                  <a:pos x="108" y="294"/>
                </a:cxn>
                <a:cxn ang="0">
                  <a:pos x="101" y="303"/>
                </a:cxn>
                <a:cxn ang="0">
                  <a:pos x="96" y="306"/>
                </a:cxn>
                <a:cxn ang="0">
                  <a:pos x="78" y="303"/>
                </a:cxn>
                <a:cxn ang="0">
                  <a:pos x="62" y="287"/>
                </a:cxn>
                <a:cxn ang="0">
                  <a:pos x="57" y="275"/>
                </a:cxn>
                <a:cxn ang="0">
                  <a:pos x="52" y="259"/>
                </a:cxn>
                <a:cxn ang="0">
                  <a:pos x="49" y="249"/>
                </a:cxn>
                <a:cxn ang="0">
                  <a:pos x="56" y="212"/>
                </a:cxn>
                <a:cxn ang="0">
                  <a:pos x="62" y="190"/>
                </a:cxn>
                <a:cxn ang="0">
                  <a:pos x="56" y="176"/>
                </a:cxn>
                <a:cxn ang="0">
                  <a:pos x="47" y="160"/>
                </a:cxn>
                <a:cxn ang="0">
                  <a:pos x="50" y="150"/>
                </a:cxn>
                <a:cxn ang="0">
                  <a:pos x="47" y="139"/>
                </a:cxn>
                <a:cxn ang="0">
                  <a:pos x="38" y="137"/>
                </a:cxn>
                <a:cxn ang="0">
                  <a:pos x="24" y="139"/>
                </a:cxn>
                <a:cxn ang="0">
                  <a:pos x="3" y="115"/>
                </a:cxn>
                <a:cxn ang="0">
                  <a:pos x="7" y="99"/>
                </a:cxn>
                <a:cxn ang="0">
                  <a:pos x="8" y="89"/>
                </a:cxn>
                <a:cxn ang="0">
                  <a:pos x="7" y="76"/>
                </a:cxn>
                <a:cxn ang="0">
                  <a:pos x="22" y="73"/>
                </a:cxn>
                <a:cxn ang="0">
                  <a:pos x="38" y="61"/>
                </a:cxn>
                <a:cxn ang="0">
                  <a:pos x="33" y="50"/>
                </a:cxn>
                <a:cxn ang="0">
                  <a:pos x="24" y="38"/>
                </a:cxn>
                <a:cxn ang="0">
                  <a:pos x="28" y="31"/>
                </a:cxn>
                <a:cxn ang="0">
                  <a:pos x="50" y="17"/>
                </a:cxn>
                <a:cxn ang="0">
                  <a:pos x="52" y="0"/>
                </a:cxn>
                <a:cxn ang="0">
                  <a:pos x="57" y="5"/>
                </a:cxn>
                <a:cxn ang="0">
                  <a:pos x="97" y="36"/>
                </a:cxn>
                <a:cxn ang="0">
                  <a:pos x="103" y="54"/>
                </a:cxn>
                <a:cxn ang="0">
                  <a:pos x="99" y="64"/>
                </a:cxn>
                <a:cxn ang="0">
                  <a:pos x="115" y="69"/>
                </a:cxn>
                <a:cxn ang="0">
                  <a:pos x="130" y="80"/>
                </a:cxn>
                <a:cxn ang="0">
                  <a:pos x="136" y="90"/>
                </a:cxn>
                <a:cxn ang="0">
                  <a:pos x="141" y="92"/>
                </a:cxn>
                <a:cxn ang="0">
                  <a:pos x="148" y="106"/>
                </a:cxn>
                <a:cxn ang="0">
                  <a:pos x="151" y="109"/>
                </a:cxn>
                <a:cxn ang="0">
                  <a:pos x="146" y="132"/>
                </a:cxn>
                <a:cxn ang="0">
                  <a:pos x="144" y="144"/>
                </a:cxn>
                <a:cxn ang="0">
                  <a:pos x="134" y="148"/>
                </a:cxn>
                <a:cxn ang="0">
                  <a:pos x="122" y="151"/>
                </a:cxn>
                <a:cxn ang="0">
                  <a:pos x="122" y="158"/>
                </a:cxn>
                <a:cxn ang="0">
                  <a:pos x="118" y="181"/>
                </a:cxn>
                <a:cxn ang="0">
                  <a:pos x="116" y="191"/>
                </a:cxn>
                <a:cxn ang="0">
                  <a:pos x="125" y="205"/>
                </a:cxn>
                <a:cxn ang="0">
                  <a:pos x="132" y="217"/>
                </a:cxn>
                <a:cxn ang="0">
                  <a:pos x="137" y="219"/>
                </a:cxn>
                <a:cxn ang="0">
                  <a:pos x="144" y="217"/>
                </a:cxn>
                <a:cxn ang="0">
                  <a:pos x="144" y="228"/>
                </a:cxn>
                <a:cxn ang="0">
                  <a:pos x="150" y="244"/>
                </a:cxn>
                <a:cxn ang="0">
                  <a:pos x="158" y="261"/>
                </a:cxn>
                <a:cxn ang="0">
                  <a:pos x="172" y="277"/>
                </a:cxn>
              </a:cxnLst>
              <a:rect l="0" t="0" r="r" b="b"/>
              <a:pathLst>
                <a:path w="172" h="308">
                  <a:moveTo>
                    <a:pt x="172" y="277"/>
                  </a:moveTo>
                  <a:lnTo>
                    <a:pt x="172" y="277"/>
                  </a:lnTo>
                  <a:lnTo>
                    <a:pt x="162" y="278"/>
                  </a:lnTo>
                  <a:lnTo>
                    <a:pt x="155" y="277"/>
                  </a:lnTo>
                  <a:lnTo>
                    <a:pt x="151" y="275"/>
                  </a:lnTo>
                  <a:lnTo>
                    <a:pt x="146" y="275"/>
                  </a:lnTo>
                  <a:lnTo>
                    <a:pt x="146" y="275"/>
                  </a:lnTo>
                  <a:lnTo>
                    <a:pt x="141" y="278"/>
                  </a:lnTo>
                  <a:lnTo>
                    <a:pt x="137" y="280"/>
                  </a:lnTo>
                  <a:lnTo>
                    <a:pt x="130" y="287"/>
                  </a:lnTo>
                  <a:lnTo>
                    <a:pt x="122" y="294"/>
                  </a:lnTo>
                  <a:lnTo>
                    <a:pt x="118" y="296"/>
                  </a:lnTo>
                  <a:lnTo>
                    <a:pt x="113" y="296"/>
                  </a:lnTo>
                  <a:lnTo>
                    <a:pt x="113" y="296"/>
                  </a:lnTo>
                  <a:lnTo>
                    <a:pt x="108" y="294"/>
                  </a:lnTo>
                  <a:lnTo>
                    <a:pt x="106" y="296"/>
                  </a:lnTo>
                  <a:lnTo>
                    <a:pt x="103" y="298"/>
                  </a:lnTo>
                  <a:lnTo>
                    <a:pt x="101" y="303"/>
                  </a:lnTo>
                  <a:lnTo>
                    <a:pt x="99" y="304"/>
                  </a:lnTo>
                  <a:lnTo>
                    <a:pt x="96" y="306"/>
                  </a:lnTo>
                  <a:lnTo>
                    <a:pt x="96" y="306"/>
                  </a:lnTo>
                  <a:lnTo>
                    <a:pt x="90" y="308"/>
                  </a:lnTo>
                  <a:lnTo>
                    <a:pt x="85" y="306"/>
                  </a:lnTo>
                  <a:lnTo>
                    <a:pt x="78" y="303"/>
                  </a:lnTo>
                  <a:lnTo>
                    <a:pt x="73" y="299"/>
                  </a:lnTo>
                  <a:lnTo>
                    <a:pt x="66" y="294"/>
                  </a:lnTo>
                  <a:lnTo>
                    <a:pt x="62" y="287"/>
                  </a:lnTo>
                  <a:lnTo>
                    <a:pt x="59" y="282"/>
                  </a:lnTo>
                  <a:lnTo>
                    <a:pt x="57" y="275"/>
                  </a:lnTo>
                  <a:lnTo>
                    <a:pt x="57" y="275"/>
                  </a:lnTo>
                  <a:lnTo>
                    <a:pt x="57" y="268"/>
                  </a:lnTo>
                  <a:lnTo>
                    <a:pt x="56" y="263"/>
                  </a:lnTo>
                  <a:lnTo>
                    <a:pt x="52" y="259"/>
                  </a:lnTo>
                  <a:lnTo>
                    <a:pt x="50" y="257"/>
                  </a:lnTo>
                  <a:lnTo>
                    <a:pt x="49" y="254"/>
                  </a:lnTo>
                  <a:lnTo>
                    <a:pt x="49" y="249"/>
                  </a:lnTo>
                  <a:lnTo>
                    <a:pt x="50" y="240"/>
                  </a:lnTo>
                  <a:lnTo>
                    <a:pt x="50" y="240"/>
                  </a:lnTo>
                  <a:lnTo>
                    <a:pt x="56" y="212"/>
                  </a:lnTo>
                  <a:lnTo>
                    <a:pt x="61" y="198"/>
                  </a:lnTo>
                  <a:lnTo>
                    <a:pt x="61" y="198"/>
                  </a:lnTo>
                  <a:lnTo>
                    <a:pt x="62" y="190"/>
                  </a:lnTo>
                  <a:lnTo>
                    <a:pt x="62" y="183"/>
                  </a:lnTo>
                  <a:lnTo>
                    <a:pt x="59" y="177"/>
                  </a:lnTo>
                  <a:lnTo>
                    <a:pt x="56" y="176"/>
                  </a:lnTo>
                  <a:lnTo>
                    <a:pt x="47" y="169"/>
                  </a:lnTo>
                  <a:lnTo>
                    <a:pt x="45" y="165"/>
                  </a:lnTo>
                  <a:lnTo>
                    <a:pt x="47" y="160"/>
                  </a:lnTo>
                  <a:lnTo>
                    <a:pt x="47" y="160"/>
                  </a:lnTo>
                  <a:lnTo>
                    <a:pt x="49" y="155"/>
                  </a:lnTo>
                  <a:lnTo>
                    <a:pt x="50" y="150"/>
                  </a:lnTo>
                  <a:lnTo>
                    <a:pt x="50" y="146"/>
                  </a:lnTo>
                  <a:lnTo>
                    <a:pt x="49" y="141"/>
                  </a:lnTo>
                  <a:lnTo>
                    <a:pt x="47" y="139"/>
                  </a:lnTo>
                  <a:lnTo>
                    <a:pt x="43" y="137"/>
                  </a:lnTo>
                  <a:lnTo>
                    <a:pt x="42" y="136"/>
                  </a:lnTo>
                  <a:lnTo>
                    <a:pt x="38" y="137"/>
                  </a:lnTo>
                  <a:lnTo>
                    <a:pt x="38" y="137"/>
                  </a:lnTo>
                  <a:lnTo>
                    <a:pt x="29" y="139"/>
                  </a:lnTo>
                  <a:lnTo>
                    <a:pt x="24" y="139"/>
                  </a:lnTo>
                  <a:lnTo>
                    <a:pt x="24" y="139"/>
                  </a:lnTo>
                  <a:lnTo>
                    <a:pt x="10" y="125"/>
                  </a:lnTo>
                  <a:lnTo>
                    <a:pt x="3" y="115"/>
                  </a:lnTo>
                  <a:lnTo>
                    <a:pt x="0" y="109"/>
                  </a:lnTo>
                  <a:lnTo>
                    <a:pt x="2" y="104"/>
                  </a:lnTo>
                  <a:lnTo>
                    <a:pt x="7" y="99"/>
                  </a:lnTo>
                  <a:lnTo>
                    <a:pt x="8" y="96"/>
                  </a:lnTo>
                  <a:lnTo>
                    <a:pt x="8" y="89"/>
                  </a:lnTo>
                  <a:lnTo>
                    <a:pt x="8" y="89"/>
                  </a:lnTo>
                  <a:lnTo>
                    <a:pt x="7" y="80"/>
                  </a:lnTo>
                  <a:lnTo>
                    <a:pt x="7" y="76"/>
                  </a:lnTo>
                  <a:lnTo>
                    <a:pt x="7" y="76"/>
                  </a:lnTo>
                  <a:lnTo>
                    <a:pt x="12" y="75"/>
                  </a:lnTo>
                  <a:lnTo>
                    <a:pt x="22" y="73"/>
                  </a:lnTo>
                  <a:lnTo>
                    <a:pt x="22" y="73"/>
                  </a:lnTo>
                  <a:lnTo>
                    <a:pt x="31" y="68"/>
                  </a:lnTo>
                  <a:lnTo>
                    <a:pt x="36" y="64"/>
                  </a:lnTo>
                  <a:lnTo>
                    <a:pt x="38" y="61"/>
                  </a:lnTo>
                  <a:lnTo>
                    <a:pt x="38" y="57"/>
                  </a:lnTo>
                  <a:lnTo>
                    <a:pt x="38" y="57"/>
                  </a:lnTo>
                  <a:lnTo>
                    <a:pt x="33" y="50"/>
                  </a:lnTo>
                  <a:lnTo>
                    <a:pt x="28" y="45"/>
                  </a:lnTo>
                  <a:lnTo>
                    <a:pt x="24" y="40"/>
                  </a:lnTo>
                  <a:lnTo>
                    <a:pt x="24" y="38"/>
                  </a:lnTo>
                  <a:lnTo>
                    <a:pt x="24" y="35"/>
                  </a:lnTo>
                  <a:lnTo>
                    <a:pt x="24" y="35"/>
                  </a:lnTo>
                  <a:lnTo>
                    <a:pt x="28" y="31"/>
                  </a:lnTo>
                  <a:lnTo>
                    <a:pt x="33" y="29"/>
                  </a:lnTo>
                  <a:lnTo>
                    <a:pt x="45" y="21"/>
                  </a:lnTo>
                  <a:lnTo>
                    <a:pt x="50" y="17"/>
                  </a:lnTo>
                  <a:lnTo>
                    <a:pt x="54" y="12"/>
                  </a:lnTo>
                  <a:lnTo>
                    <a:pt x="54" y="7"/>
                  </a:lnTo>
                  <a:lnTo>
                    <a:pt x="52" y="0"/>
                  </a:lnTo>
                  <a:lnTo>
                    <a:pt x="52" y="0"/>
                  </a:lnTo>
                  <a:lnTo>
                    <a:pt x="57" y="5"/>
                  </a:lnTo>
                  <a:lnTo>
                    <a:pt x="57" y="5"/>
                  </a:lnTo>
                  <a:lnTo>
                    <a:pt x="78" y="19"/>
                  </a:lnTo>
                  <a:lnTo>
                    <a:pt x="92" y="31"/>
                  </a:lnTo>
                  <a:lnTo>
                    <a:pt x="97" y="36"/>
                  </a:lnTo>
                  <a:lnTo>
                    <a:pt x="101" y="42"/>
                  </a:lnTo>
                  <a:lnTo>
                    <a:pt x="103" y="47"/>
                  </a:lnTo>
                  <a:lnTo>
                    <a:pt x="103" y="54"/>
                  </a:lnTo>
                  <a:lnTo>
                    <a:pt x="103" y="54"/>
                  </a:lnTo>
                  <a:lnTo>
                    <a:pt x="99" y="61"/>
                  </a:lnTo>
                  <a:lnTo>
                    <a:pt x="99" y="64"/>
                  </a:lnTo>
                  <a:lnTo>
                    <a:pt x="104" y="68"/>
                  </a:lnTo>
                  <a:lnTo>
                    <a:pt x="115" y="69"/>
                  </a:lnTo>
                  <a:lnTo>
                    <a:pt x="115" y="69"/>
                  </a:lnTo>
                  <a:lnTo>
                    <a:pt x="123" y="73"/>
                  </a:lnTo>
                  <a:lnTo>
                    <a:pt x="127" y="76"/>
                  </a:lnTo>
                  <a:lnTo>
                    <a:pt x="130" y="80"/>
                  </a:lnTo>
                  <a:lnTo>
                    <a:pt x="132" y="83"/>
                  </a:lnTo>
                  <a:lnTo>
                    <a:pt x="134" y="89"/>
                  </a:lnTo>
                  <a:lnTo>
                    <a:pt x="136" y="90"/>
                  </a:lnTo>
                  <a:lnTo>
                    <a:pt x="139" y="92"/>
                  </a:lnTo>
                  <a:lnTo>
                    <a:pt x="139" y="92"/>
                  </a:lnTo>
                  <a:lnTo>
                    <a:pt x="141" y="92"/>
                  </a:lnTo>
                  <a:lnTo>
                    <a:pt x="143" y="94"/>
                  </a:lnTo>
                  <a:lnTo>
                    <a:pt x="146" y="101"/>
                  </a:lnTo>
                  <a:lnTo>
                    <a:pt x="148" y="106"/>
                  </a:lnTo>
                  <a:lnTo>
                    <a:pt x="148" y="108"/>
                  </a:lnTo>
                  <a:lnTo>
                    <a:pt x="151" y="109"/>
                  </a:lnTo>
                  <a:lnTo>
                    <a:pt x="151" y="109"/>
                  </a:lnTo>
                  <a:lnTo>
                    <a:pt x="150" y="118"/>
                  </a:lnTo>
                  <a:lnTo>
                    <a:pt x="148" y="125"/>
                  </a:lnTo>
                  <a:lnTo>
                    <a:pt x="146" y="132"/>
                  </a:lnTo>
                  <a:lnTo>
                    <a:pt x="144" y="137"/>
                  </a:lnTo>
                  <a:lnTo>
                    <a:pt x="144" y="137"/>
                  </a:lnTo>
                  <a:lnTo>
                    <a:pt x="144" y="144"/>
                  </a:lnTo>
                  <a:lnTo>
                    <a:pt x="144" y="146"/>
                  </a:lnTo>
                  <a:lnTo>
                    <a:pt x="141" y="148"/>
                  </a:lnTo>
                  <a:lnTo>
                    <a:pt x="134" y="148"/>
                  </a:lnTo>
                  <a:lnTo>
                    <a:pt x="134" y="148"/>
                  </a:lnTo>
                  <a:lnTo>
                    <a:pt x="127" y="150"/>
                  </a:lnTo>
                  <a:lnTo>
                    <a:pt x="122" y="151"/>
                  </a:lnTo>
                  <a:lnTo>
                    <a:pt x="122" y="155"/>
                  </a:lnTo>
                  <a:lnTo>
                    <a:pt x="122" y="158"/>
                  </a:lnTo>
                  <a:lnTo>
                    <a:pt x="122" y="158"/>
                  </a:lnTo>
                  <a:lnTo>
                    <a:pt x="123" y="162"/>
                  </a:lnTo>
                  <a:lnTo>
                    <a:pt x="123" y="165"/>
                  </a:lnTo>
                  <a:lnTo>
                    <a:pt x="118" y="181"/>
                  </a:lnTo>
                  <a:lnTo>
                    <a:pt x="118" y="181"/>
                  </a:lnTo>
                  <a:lnTo>
                    <a:pt x="116" y="186"/>
                  </a:lnTo>
                  <a:lnTo>
                    <a:pt x="116" y="191"/>
                  </a:lnTo>
                  <a:lnTo>
                    <a:pt x="118" y="195"/>
                  </a:lnTo>
                  <a:lnTo>
                    <a:pt x="120" y="198"/>
                  </a:lnTo>
                  <a:lnTo>
                    <a:pt x="125" y="205"/>
                  </a:lnTo>
                  <a:lnTo>
                    <a:pt x="130" y="214"/>
                  </a:lnTo>
                  <a:lnTo>
                    <a:pt x="130" y="214"/>
                  </a:lnTo>
                  <a:lnTo>
                    <a:pt x="132" y="217"/>
                  </a:lnTo>
                  <a:lnTo>
                    <a:pt x="134" y="219"/>
                  </a:lnTo>
                  <a:lnTo>
                    <a:pt x="136" y="219"/>
                  </a:lnTo>
                  <a:lnTo>
                    <a:pt x="137" y="219"/>
                  </a:lnTo>
                  <a:lnTo>
                    <a:pt x="141" y="216"/>
                  </a:lnTo>
                  <a:lnTo>
                    <a:pt x="143" y="216"/>
                  </a:lnTo>
                  <a:lnTo>
                    <a:pt x="144" y="217"/>
                  </a:lnTo>
                  <a:lnTo>
                    <a:pt x="144" y="217"/>
                  </a:lnTo>
                  <a:lnTo>
                    <a:pt x="144" y="223"/>
                  </a:lnTo>
                  <a:lnTo>
                    <a:pt x="144" y="228"/>
                  </a:lnTo>
                  <a:lnTo>
                    <a:pt x="146" y="235"/>
                  </a:lnTo>
                  <a:lnTo>
                    <a:pt x="146" y="238"/>
                  </a:lnTo>
                  <a:lnTo>
                    <a:pt x="150" y="244"/>
                  </a:lnTo>
                  <a:lnTo>
                    <a:pt x="150" y="244"/>
                  </a:lnTo>
                  <a:lnTo>
                    <a:pt x="155" y="252"/>
                  </a:lnTo>
                  <a:lnTo>
                    <a:pt x="158" y="261"/>
                  </a:lnTo>
                  <a:lnTo>
                    <a:pt x="163" y="270"/>
                  </a:lnTo>
                  <a:lnTo>
                    <a:pt x="167" y="273"/>
                  </a:lnTo>
                  <a:lnTo>
                    <a:pt x="172" y="277"/>
                  </a:lnTo>
                  <a:lnTo>
                    <a:pt x="172" y="2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 name="Freeform 1694">
              <a:extLst>
                <a:ext uri="{FF2B5EF4-FFF2-40B4-BE49-F238E27FC236}">
                  <a16:creationId xmlns:a16="http://schemas.microsoft.com/office/drawing/2014/main" id="{D6801D8B-1EB0-40F6-B57B-ED2302F39671}"/>
                </a:ext>
              </a:extLst>
            </p:cNvPr>
            <p:cNvSpPr>
              <a:spLocks/>
            </p:cNvSpPr>
            <p:nvPr/>
          </p:nvSpPr>
          <p:spPr bwMode="auto">
            <a:xfrm>
              <a:off x="3551528" y="4277434"/>
              <a:ext cx="116292" cy="142722"/>
            </a:xfrm>
            <a:custGeom>
              <a:avLst/>
              <a:gdLst/>
              <a:ahLst/>
              <a:cxnLst>
                <a:cxn ang="0">
                  <a:pos x="145" y="11"/>
                </a:cxn>
                <a:cxn ang="0">
                  <a:pos x="138" y="30"/>
                </a:cxn>
                <a:cxn ang="0">
                  <a:pos x="128" y="47"/>
                </a:cxn>
                <a:cxn ang="0">
                  <a:pos x="128" y="59"/>
                </a:cxn>
                <a:cxn ang="0">
                  <a:pos x="133" y="87"/>
                </a:cxn>
                <a:cxn ang="0">
                  <a:pos x="136" y="94"/>
                </a:cxn>
                <a:cxn ang="0">
                  <a:pos x="143" y="105"/>
                </a:cxn>
                <a:cxn ang="0">
                  <a:pos x="140" y="115"/>
                </a:cxn>
                <a:cxn ang="0">
                  <a:pos x="138" y="117"/>
                </a:cxn>
                <a:cxn ang="0">
                  <a:pos x="136" y="133"/>
                </a:cxn>
                <a:cxn ang="0">
                  <a:pos x="133" y="145"/>
                </a:cxn>
                <a:cxn ang="0">
                  <a:pos x="122" y="157"/>
                </a:cxn>
                <a:cxn ang="0">
                  <a:pos x="119" y="153"/>
                </a:cxn>
                <a:cxn ang="0">
                  <a:pos x="112" y="150"/>
                </a:cxn>
                <a:cxn ang="0">
                  <a:pos x="110" y="145"/>
                </a:cxn>
                <a:cxn ang="0">
                  <a:pos x="107" y="145"/>
                </a:cxn>
                <a:cxn ang="0">
                  <a:pos x="91" y="153"/>
                </a:cxn>
                <a:cxn ang="0">
                  <a:pos x="81" y="153"/>
                </a:cxn>
                <a:cxn ang="0">
                  <a:pos x="77" y="152"/>
                </a:cxn>
                <a:cxn ang="0">
                  <a:pos x="72" y="152"/>
                </a:cxn>
                <a:cxn ang="0">
                  <a:pos x="72" y="160"/>
                </a:cxn>
                <a:cxn ang="0">
                  <a:pos x="75" y="169"/>
                </a:cxn>
                <a:cxn ang="0">
                  <a:pos x="77" y="176"/>
                </a:cxn>
                <a:cxn ang="0">
                  <a:pos x="72" y="178"/>
                </a:cxn>
                <a:cxn ang="0">
                  <a:pos x="56" y="173"/>
                </a:cxn>
                <a:cxn ang="0">
                  <a:pos x="51" y="169"/>
                </a:cxn>
                <a:cxn ang="0">
                  <a:pos x="42" y="157"/>
                </a:cxn>
                <a:cxn ang="0">
                  <a:pos x="34" y="140"/>
                </a:cxn>
                <a:cxn ang="0">
                  <a:pos x="30" y="134"/>
                </a:cxn>
                <a:cxn ang="0">
                  <a:pos x="28" y="124"/>
                </a:cxn>
                <a:cxn ang="0">
                  <a:pos x="28" y="113"/>
                </a:cxn>
                <a:cxn ang="0">
                  <a:pos x="27" y="112"/>
                </a:cxn>
                <a:cxn ang="0">
                  <a:pos x="21" y="115"/>
                </a:cxn>
                <a:cxn ang="0">
                  <a:pos x="18" y="115"/>
                </a:cxn>
                <a:cxn ang="0">
                  <a:pos x="14" y="110"/>
                </a:cxn>
                <a:cxn ang="0">
                  <a:pos x="9" y="101"/>
                </a:cxn>
                <a:cxn ang="0">
                  <a:pos x="2" y="91"/>
                </a:cxn>
                <a:cxn ang="0">
                  <a:pos x="0" y="82"/>
                </a:cxn>
                <a:cxn ang="0">
                  <a:pos x="2" y="77"/>
                </a:cxn>
                <a:cxn ang="0">
                  <a:pos x="7" y="58"/>
                </a:cxn>
                <a:cxn ang="0">
                  <a:pos x="6" y="54"/>
                </a:cxn>
                <a:cxn ang="0">
                  <a:pos x="6" y="47"/>
                </a:cxn>
                <a:cxn ang="0">
                  <a:pos x="18" y="44"/>
                </a:cxn>
                <a:cxn ang="0">
                  <a:pos x="25" y="44"/>
                </a:cxn>
                <a:cxn ang="0">
                  <a:pos x="28" y="40"/>
                </a:cxn>
                <a:cxn ang="0">
                  <a:pos x="28" y="33"/>
                </a:cxn>
                <a:cxn ang="0">
                  <a:pos x="32" y="21"/>
                </a:cxn>
                <a:cxn ang="0">
                  <a:pos x="35" y="5"/>
                </a:cxn>
                <a:cxn ang="0">
                  <a:pos x="40" y="2"/>
                </a:cxn>
                <a:cxn ang="0">
                  <a:pos x="54" y="4"/>
                </a:cxn>
                <a:cxn ang="0">
                  <a:pos x="72" y="9"/>
                </a:cxn>
                <a:cxn ang="0">
                  <a:pos x="75" y="5"/>
                </a:cxn>
                <a:cxn ang="0">
                  <a:pos x="77" y="4"/>
                </a:cxn>
                <a:cxn ang="0">
                  <a:pos x="91" y="2"/>
                </a:cxn>
                <a:cxn ang="0">
                  <a:pos x="100" y="4"/>
                </a:cxn>
                <a:cxn ang="0">
                  <a:pos x="105" y="0"/>
                </a:cxn>
                <a:cxn ang="0">
                  <a:pos x="108" y="0"/>
                </a:cxn>
                <a:cxn ang="0">
                  <a:pos x="145" y="11"/>
                </a:cxn>
              </a:cxnLst>
              <a:rect l="0" t="0" r="r" b="b"/>
              <a:pathLst>
                <a:path w="145" h="178">
                  <a:moveTo>
                    <a:pt x="145" y="11"/>
                  </a:moveTo>
                  <a:lnTo>
                    <a:pt x="145" y="11"/>
                  </a:lnTo>
                  <a:lnTo>
                    <a:pt x="141" y="21"/>
                  </a:lnTo>
                  <a:lnTo>
                    <a:pt x="138" y="30"/>
                  </a:lnTo>
                  <a:lnTo>
                    <a:pt x="131" y="39"/>
                  </a:lnTo>
                  <a:lnTo>
                    <a:pt x="128" y="47"/>
                  </a:lnTo>
                  <a:lnTo>
                    <a:pt x="128" y="59"/>
                  </a:lnTo>
                  <a:lnTo>
                    <a:pt x="128" y="59"/>
                  </a:lnTo>
                  <a:lnTo>
                    <a:pt x="129" y="82"/>
                  </a:lnTo>
                  <a:lnTo>
                    <a:pt x="133" y="87"/>
                  </a:lnTo>
                  <a:lnTo>
                    <a:pt x="136" y="94"/>
                  </a:lnTo>
                  <a:lnTo>
                    <a:pt x="136" y="94"/>
                  </a:lnTo>
                  <a:lnTo>
                    <a:pt x="141" y="99"/>
                  </a:lnTo>
                  <a:lnTo>
                    <a:pt x="143" y="105"/>
                  </a:lnTo>
                  <a:lnTo>
                    <a:pt x="143" y="108"/>
                  </a:lnTo>
                  <a:lnTo>
                    <a:pt x="140" y="115"/>
                  </a:lnTo>
                  <a:lnTo>
                    <a:pt x="140" y="115"/>
                  </a:lnTo>
                  <a:lnTo>
                    <a:pt x="138" y="117"/>
                  </a:lnTo>
                  <a:lnTo>
                    <a:pt x="136" y="122"/>
                  </a:lnTo>
                  <a:lnTo>
                    <a:pt x="136" y="133"/>
                  </a:lnTo>
                  <a:lnTo>
                    <a:pt x="135" y="138"/>
                  </a:lnTo>
                  <a:lnTo>
                    <a:pt x="133" y="145"/>
                  </a:lnTo>
                  <a:lnTo>
                    <a:pt x="129" y="150"/>
                  </a:lnTo>
                  <a:lnTo>
                    <a:pt x="122" y="157"/>
                  </a:lnTo>
                  <a:lnTo>
                    <a:pt x="122" y="157"/>
                  </a:lnTo>
                  <a:lnTo>
                    <a:pt x="119" y="153"/>
                  </a:lnTo>
                  <a:lnTo>
                    <a:pt x="115" y="152"/>
                  </a:lnTo>
                  <a:lnTo>
                    <a:pt x="112" y="150"/>
                  </a:lnTo>
                  <a:lnTo>
                    <a:pt x="110" y="145"/>
                  </a:lnTo>
                  <a:lnTo>
                    <a:pt x="110" y="145"/>
                  </a:lnTo>
                  <a:lnTo>
                    <a:pt x="108" y="143"/>
                  </a:lnTo>
                  <a:lnTo>
                    <a:pt x="107" y="145"/>
                  </a:lnTo>
                  <a:lnTo>
                    <a:pt x="100" y="148"/>
                  </a:lnTo>
                  <a:lnTo>
                    <a:pt x="91" y="153"/>
                  </a:lnTo>
                  <a:lnTo>
                    <a:pt x="86" y="155"/>
                  </a:lnTo>
                  <a:lnTo>
                    <a:pt x="81" y="153"/>
                  </a:lnTo>
                  <a:lnTo>
                    <a:pt x="81" y="153"/>
                  </a:lnTo>
                  <a:lnTo>
                    <a:pt x="77" y="152"/>
                  </a:lnTo>
                  <a:lnTo>
                    <a:pt x="74" y="152"/>
                  </a:lnTo>
                  <a:lnTo>
                    <a:pt x="72" y="152"/>
                  </a:lnTo>
                  <a:lnTo>
                    <a:pt x="72" y="153"/>
                  </a:lnTo>
                  <a:lnTo>
                    <a:pt x="72" y="160"/>
                  </a:lnTo>
                  <a:lnTo>
                    <a:pt x="75" y="169"/>
                  </a:lnTo>
                  <a:lnTo>
                    <a:pt x="75" y="169"/>
                  </a:lnTo>
                  <a:lnTo>
                    <a:pt x="77" y="174"/>
                  </a:lnTo>
                  <a:lnTo>
                    <a:pt x="77" y="176"/>
                  </a:lnTo>
                  <a:lnTo>
                    <a:pt x="75" y="178"/>
                  </a:lnTo>
                  <a:lnTo>
                    <a:pt x="72" y="178"/>
                  </a:lnTo>
                  <a:lnTo>
                    <a:pt x="63" y="174"/>
                  </a:lnTo>
                  <a:lnTo>
                    <a:pt x="56" y="173"/>
                  </a:lnTo>
                  <a:lnTo>
                    <a:pt x="56" y="173"/>
                  </a:lnTo>
                  <a:lnTo>
                    <a:pt x="51" y="169"/>
                  </a:lnTo>
                  <a:lnTo>
                    <a:pt x="47" y="166"/>
                  </a:lnTo>
                  <a:lnTo>
                    <a:pt x="42" y="157"/>
                  </a:lnTo>
                  <a:lnTo>
                    <a:pt x="39" y="148"/>
                  </a:lnTo>
                  <a:lnTo>
                    <a:pt x="34" y="140"/>
                  </a:lnTo>
                  <a:lnTo>
                    <a:pt x="34" y="140"/>
                  </a:lnTo>
                  <a:lnTo>
                    <a:pt x="30" y="134"/>
                  </a:lnTo>
                  <a:lnTo>
                    <a:pt x="30" y="131"/>
                  </a:lnTo>
                  <a:lnTo>
                    <a:pt x="28" y="124"/>
                  </a:lnTo>
                  <a:lnTo>
                    <a:pt x="28" y="119"/>
                  </a:lnTo>
                  <a:lnTo>
                    <a:pt x="28" y="113"/>
                  </a:lnTo>
                  <a:lnTo>
                    <a:pt x="28" y="113"/>
                  </a:lnTo>
                  <a:lnTo>
                    <a:pt x="27" y="112"/>
                  </a:lnTo>
                  <a:lnTo>
                    <a:pt x="25" y="112"/>
                  </a:lnTo>
                  <a:lnTo>
                    <a:pt x="21" y="115"/>
                  </a:lnTo>
                  <a:lnTo>
                    <a:pt x="20" y="115"/>
                  </a:lnTo>
                  <a:lnTo>
                    <a:pt x="18" y="115"/>
                  </a:lnTo>
                  <a:lnTo>
                    <a:pt x="16" y="113"/>
                  </a:lnTo>
                  <a:lnTo>
                    <a:pt x="14" y="110"/>
                  </a:lnTo>
                  <a:lnTo>
                    <a:pt x="14" y="110"/>
                  </a:lnTo>
                  <a:lnTo>
                    <a:pt x="9" y="101"/>
                  </a:lnTo>
                  <a:lnTo>
                    <a:pt x="4" y="94"/>
                  </a:lnTo>
                  <a:lnTo>
                    <a:pt x="2" y="91"/>
                  </a:lnTo>
                  <a:lnTo>
                    <a:pt x="0" y="87"/>
                  </a:lnTo>
                  <a:lnTo>
                    <a:pt x="0" y="82"/>
                  </a:lnTo>
                  <a:lnTo>
                    <a:pt x="2" y="77"/>
                  </a:lnTo>
                  <a:lnTo>
                    <a:pt x="2" y="77"/>
                  </a:lnTo>
                  <a:lnTo>
                    <a:pt x="7" y="61"/>
                  </a:lnTo>
                  <a:lnTo>
                    <a:pt x="7" y="58"/>
                  </a:lnTo>
                  <a:lnTo>
                    <a:pt x="6" y="54"/>
                  </a:lnTo>
                  <a:lnTo>
                    <a:pt x="6" y="54"/>
                  </a:lnTo>
                  <a:lnTo>
                    <a:pt x="6" y="51"/>
                  </a:lnTo>
                  <a:lnTo>
                    <a:pt x="6" y="47"/>
                  </a:lnTo>
                  <a:lnTo>
                    <a:pt x="11" y="46"/>
                  </a:lnTo>
                  <a:lnTo>
                    <a:pt x="18" y="44"/>
                  </a:lnTo>
                  <a:lnTo>
                    <a:pt x="18" y="44"/>
                  </a:lnTo>
                  <a:lnTo>
                    <a:pt x="25" y="44"/>
                  </a:lnTo>
                  <a:lnTo>
                    <a:pt x="28" y="42"/>
                  </a:lnTo>
                  <a:lnTo>
                    <a:pt x="28" y="40"/>
                  </a:lnTo>
                  <a:lnTo>
                    <a:pt x="28" y="33"/>
                  </a:lnTo>
                  <a:lnTo>
                    <a:pt x="28" y="33"/>
                  </a:lnTo>
                  <a:lnTo>
                    <a:pt x="30" y="28"/>
                  </a:lnTo>
                  <a:lnTo>
                    <a:pt x="32" y="21"/>
                  </a:lnTo>
                  <a:lnTo>
                    <a:pt x="34" y="14"/>
                  </a:lnTo>
                  <a:lnTo>
                    <a:pt x="35" y="5"/>
                  </a:lnTo>
                  <a:lnTo>
                    <a:pt x="35" y="5"/>
                  </a:lnTo>
                  <a:lnTo>
                    <a:pt x="40" y="2"/>
                  </a:lnTo>
                  <a:lnTo>
                    <a:pt x="47" y="2"/>
                  </a:lnTo>
                  <a:lnTo>
                    <a:pt x="54" y="4"/>
                  </a:lnTo>
                  <a:lnTo>
                    <a:pt x="61" y="5"/>
                  </a:lnTo>
                  <a:lnTo>
                    <a:pt x="72" y="9"/>
                  </a:lnTo>
                  <a:lnTo>
                    <a:pt x="75" y="7"/>
                  </a:lnTo>
                  <a:lnTo>
                    <a:pt x="75" y="5"/>
                  </a:lnTo>
                  <a:lnTo>
                    <a:pt x="75" y="5"/>
                  </a:lnTo>
                  <a:lnTo>
                    <a:pt x="77" y="4"/>
                  </a:lnTo>
                  <a:lnTo>
                    <a:pt x="81" y="2"/>
                  </a:lnTo>
                  <a:lnTo>
                    <a:pt x="91" y="2"/>
                  </a:lnTo>
                  <a:lnTo>
                    <a:pt x="91" y="2"/>
                  </a:lnTo>
                  <a:lnTo>
                    <a:pt x="100" y="4"/>
                  </a:lnTo>
                  <a:lnTo>
                    <a:pt x="103" y="4"/>
                  </a:lnTo>
                  <a:lnTo>
                    <a:pt x="105" y="0"/>
                  </a:lnTo>
                  <a:lnTo>
                    <a:pt x="105" y="0"/>
                  </a:lnTo>
                  <a:lnTo>
                    <a:pt x="108" y="0"/>
                  </a:lnTo>
                  <a:lnTo>
                    <a:pt x="119" y="2"/>
                  </a:lnTo>
                  <a:lnTo>
                    <a:pt x="145" y="11"/>
                  </a:lnTo>
                  <a:lnTo>
                    <a:pt x="145"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 name="Freeform 1695">
              <a:extLst>
                <a:ext uri="{FF2B5EF4-FFF2-40B4-BE49-F238E27FC236}">
                  <a16:creationId xmlns:a16="http://schemas.microsoft.com/office/drawing/2014/main" id="{D7B792A0-A382-42E1-BC38-46EB7652C81D}"/>
                </a:ext>
              </a:extLst>
            </p:cNvPr>
            <p:cNvSpPr>
              <a:spLocks/>
            </p:cNvSpPr>
            <p:nvPr/>
          </p:nvSpPr>
          <p:spPr bwMode="auto">
            <a:xfrm>
              <a:off x="2850251" y="4154096"/>
              <a:ext cx="163867" cy="82813"/>
            </a:xfrm>
            <a:custGeom>
              <a:avLst/>
              <a:gdLst/>
              <a:ahLst/>
              <a:cxnLst>
                <a:cxn ang="0">
                  <a:pos x="176" y="17"/>
                </a:cxn>
                <a:cxn ang="0">
                  <a:pos x="148" y="7"/>
                </a:cxn>
                <a:cxn ang="0">
                  <a:pos x="140" y="5"/>
                </a:cxn>
                <a:cxn ang="0">
                  <a:pos x="129" y="2"/>
                </a:cxn>
                <a:cxn ang="0">
                  <a:pos x="112" y="9"/>
                </a:cxn>
                <a:cxn ang="0">
                  <a:pos x="84" y="23"/>
                </a:cxn>
                <a:cxn ang="0">
                  <a:pos x="61" y="37"/>
                </a:cxn>
                <a:cxn ang="0">
                  <a:pos x="46" y="28"/>
                </a:cxn>
                <a:cxn ang="0">
                  <a:pos x="39" y="19"/>
                </a:cxn>
                <a:cxn ang="0">
                  <a:pos x="37" y="24"/>
                </a:cxn>
                <a:cxn ang="0">
                  <a:pos x="28" y="26"/>
                </a:cxn>
                <a:cxn ang="0">
                  <a:pos x="28" y="19"/>
                </a:cxn>
                <a:cxn ang="0">
                  <a:pos x="26" y="16"/>
                </a:cxn>
                <a:cxn ang="0">
                  <a:pos x="21" y="12"/>
                </a:cxn>
                <a:cxn ang="0">
                  <a:pos x="14" y="4"/>
                </a:cxn>
                <a:cxn ang="0">
                  <a:pos x="6" y="0"/>
                </a:cxn>
                <a:cxn ang="0">
                  <a:pos x="2" y="23"/>
                </a:cxn>
                <a:cxn ang="0">
                  <a:pos x="7" y="28"/>
                </a:cxn>
                <a:cxn ang="0">
                  <a:pos x="7" y="33"/>
                </a:cxn>
                <a:cxn ang="0">
                  <a:pos x="4" y="49"/>
                </a:cxn>
                <a:cxn ang="0">
                  <a:pos x="4" y="66"/>
                </a:cxn>
                <a:cxn ang="0">
                  <a:pos x="11" y="56"/>
                </a:cxn>
                <a:cxn ang="0">
                  <a:pos x="39" y="63"/>
                </a:cxn>
                <a:cxn ang="0">
                  <a:pos x="46" y="64"/>
                </a:cxn>
                <a:cxn ang="0">
                  <a:pos x="49" y="78"/>
                </a:cxn>
                <a:cxn ang="0">
                  <a:pos x="61" y="85"/>
                </a:cxn>
                <a:cxn ang="0">
                  <a:pos x="63" y="77"/>
                </a:cxn>
                <a:cxn ang="0">
                  <a:pos x="67" y="77"/>
                </a:cxn>
                <a:cxn ang="0">
                  <a:pos x="72" y="99"/>
                </a:cxn>
                <a:cxn ang="0">
                  <a:pos x="77" y="103"/>
                </a:cxn>
                <a:cxn ang="0">
                  <a:pos x="91" y="98"/>
                </a:cxn>
                <a:cxn ang="0">
                  <a:pos x="101" y="94"/>
                </a:cxn>
                <a:cxn ang="0">
                  <a:pos x="100" y="80"/>
                </a:cxn>
                <a:cxn ang="0">
                  <a:pos x="93" y="68"/>
                </a:cxn>
                <a:cxn ang="0">
                  <a:pos x="87" y="66"/>
                </a:cxn>
                <a:cxn ang="0">
                  <a:pos x="91" y="56"/>
                </a:cxn>
                <a:cxn ang="0">
                  <a:pos x="107" y="49"/>
                </a:cxn>
                <a:cxn ang="0">
                  <a:pos x="114" y="37"/>
                </a:cxn>
                <a:cxn ang="0">
                  <a:pos x="122" y="30"/>
                </a:cxn>
                <a:cxn ang="0">
                  <a:pos x="131" y="24"/>
                </a:cxn>
                <a:cxn ang="0">
                  <a:pos x="157" y="42"/>
                </a:cxn>
                <a:cxn ang="0">
                  <a:pos x="157" y="51"/>
                </a:cxn>
                <a:cxn ang="0">
                  <a:pos x="164" y="49"/>
                </a:cxn>
                <a:cxn ang="0">
                  <a:pos x="168" y="51"/>
                </a:cxn>
                <a:cxn ang="0">
                  <a:pos x="162" y="66"/>
                </a:cxn>
                <a:cxn ang="0">
                  <a:pos x="169" y="87"/>
                </a:cxn>
                <a:cxn ang="0">
                  <a:pos x="180" y="89"/>
                </a:cxn>
                <a:cxn ang="0">
                  <a:pos x="185" y="82"/>
                </a:cxn>
                <a:cxn ang="0">
                  <a:pos x="194" y="87"/>
                </a:cxn>
                <a:cxn ang="0">
                  <a:pos x="197" y="75"/>
                </a:cxn>
                <a:cxn ang="0">
                  <a:pos x="204" y="71"/>
                </a:cxn>
                <a:cxn ang="0">
                  <a:pos x="195" y="45"/>
                </a:cxn>
              </a:cxnLst>
              <a:rect l="0" t="0" r="r" b="b"/>
              <a:pathLst>
                <a:path w="204" h="103">
                  <a:moveTo>
                    <a:pt x="197" y="40"/>
                  </a:moveTo>
                  <a:lnTo>
                    <a:pt x="197" y="40"/>
                  </a:lnTo>
                  <a:lnTo>
                    <a:pt x="187" y="28"/>
                  </a:lnTo>
                  <a:lnTo>
                    <a:pt x="176" y="17"/>
                  </a:lnTo>
                  <a:lnTo>
                    <a:pt x="169" y="12"/>
                  </a:lnTo>
                  <a:lnTo>
                    <a:pt x="162" y="9"/>
                  </a:lnTo>
                  <a:lnTo>
                    <a:pt x="155" y="7"/>
                  </a:lnTo>
                  <a:lnTo>
                    <a:pt x="148" y="7"/>
                  </a:lnTo>
                  <a:lnTo>
                    <a:pt x="148" y="7"/>
                  </a:lnTo>
                  <a:lnTo>
                    <a:pt x="140" y="7"/>
                  </a:lnTo>
                  <a:lnTo>
                    <a:pt x="140" y="7"/>
                  </a:lnTo>
                  <a:lnTo>
                    <a:pt x="140" y="5"/>
                  </a:lnTo>
                  <a:lnTo>
                    <a:pt x="140" y="5"/>
                  </a:lnTo>
                  <a:lnTo>
                    <a:pt x="138" y="4"/>
                  </a:lnTo>
                  <a:lnTo>
                    <a:pt x="129" y="2"/>
                  </a:lnTo>
                  <a:lnTo>
                    <a:pt x="129" y="2"/>
                  </a:lnTo>
                  <a:lnTo>
                    <a:pt x="117" y="0"/>
                  </a:lnTo>
                  <a:lnTo>
                    <a:pt x="115" y="2"/>
                  </a:lnTo>
                  <a:lnTo>
                    <a:pt x="115" y="4"/>
                  </a:lnTo>
                  <a:lnTo>
                    <a:pt x="112" y="9"/>
                  </a:lnTo>
                  <a:lnTo>
                    <a:pt x="110" y="12"/>
                  </a:lnTo>
                  <a:lnTo>
                    <a:pt x="103" y="14"/>
                  </a:lnTo>
                  <a:lnTo>
                    <a:pt x="103" y="14"/>
                  </a:lnTo>
                  <a:lnTo>
                    <a:pt x="84" y="23"/>
                  </a:lnTo>
                  <a:lnTo>
                    <a:pt x="79" y="28"/>
                  </a:lnTo>
                  <a:lnTo>
                    <a:pt x="75" y="31"/>
                  </a:lnTo>
                  <a:lnTo>
                    <a:pt x="61" y="37"/>
                  </a:lnTo>
                  <a:lnTo>
                    <a:pt x="61" y="37"/>
                  </a:lnTo>
                  <a:lnTo>
                    <a:pt x="56" y="37"/>
                  </a:lnTo>
                  <a:lnTo>
                    <a:pt x="53" y="35"/>
                  </a:lnTo>
                  <a:lnTo>
                    <a:pt x="46" y="28"/>
                  </a:lnTo>
                  <a:lnTo>
                    <a:pt x="46" y="28"/>
                  </a:lnTo>
                  <a:lnTo>
                    <a:pt x="42" y="23"/>
                  </a:lnTo>
                  <a:lnTo>
                    <a:pt x="40" y="21"/>
                  </a:lnTo>
                  <a:lnTo>
                    <a:pt x="40" y="21"/>
                  </a:lnTo>
                  <a:lnTo>
                    <a:pt x="39" y="19"/>
                  </a:lnTo>
                  <a:lnTo>
                    <a:pt x="37" y="19"/>
                  </a:lnTo>
                  <a:lnTo>
                    <a:pt x="37" y="21"/>
                  </a:lnTo>
                  <a:lnTo>
                    <a:pt x="37" y="24"/>
                  </a:lnTo>
                  <a:lnTo>
                    <a:pt x="37" y="24"/>
                  </a:lnTo>
                  <a:lnTo>
                    <a:pt x="37" y="26"/>
                  </a:lnTo>
                  <a:lnTo>
                    <a:pt x="35" y="28"/>
                  </a:lnTo>
                  <a:lnTo>
                    <a:pt x="32" y="28"/>
                  </a:lnTo>
                  <a:lnTo>
                    <a:pt x="28" y="26"/>
                  </a:lnTo>
                  <a:lnTo>
                    <a:pt x="25" y="23"/>
                  </a:lnTo>
                  <a:lnTo>
                    <a:pt x="25" y="23"/>
                  </a:lnTo>
                  <a:lnTo>
                    <a:pt x="26" y="21"/>
                  </a:lnTo>
                  <a:lnTo>
                    <a:pt x="28" y="19"/>
                  </a:lnTo>
                  <a:lnTo>
                    <a:pt x="28" y="19"/>
                  </a:lnTo>
                  <a:lnTo>
                    <a:pt x="28" y="17"/>
                  </a:lnTo>
                  <a:lnTo>
                    <a:pt x="28" y="17"/>
                  </a:lnTo>
                  <a:lnTo>
                    <a:pt x="26" y="16"/>
                  </a:lnTo>
                  <a:lnTo>
                    <a:pt x="25" y="17"/>
                  </a:lnTo>
                  <a:lnTo>
                    <a:pt x="23" y="16"/>
                  </a:lnTo>
                  <a:lnTo>
                    <a:pt x="21" y="12"/>
                  </a:lnTo>
                  <a:lnTo>
                    <a:pt x="21" y="12"/>
                  </a:lnTo>
                  <a:lnTo>
                    <a:pt x="21" y="9"/>
                  </a:lnTo>
                  <a:lnTo>
                    <a:pt x="20" y="7"/>
                  </a:lnTo>
                  <a:lnTo>
                    <a:pt x="14" y="4"/>
                  </a:lnTo>
                  <a:lnTo>
                    <a:pt x="14" y="4"/>
                  </a:lnTo>
                  <a:lnTo>
                    <a:pt x="13" y="5"/>
                  </a:lnTo>
                  <a:lnTo>
                    <a:pt x="9" y="4"/>
                  </a:lnTo>
                  <a:lnTo>
                    <a:pt x="7" y="2"/>
                  </a:lnTo>
                  <a:lnTo>
                    <a:pt x="6" y="0"/>
                  </a:lnTo>
                  <a:lnTo>
                    <a:pt x="6" y="0"/>
                  </a:lnTo>
                  <a:lnTo>
                    <a:pt x="4" y="4"/>
                  </a:lnTo>
                  <a:lnTo>
                    <a:pt x="2" y="9"/>
                  </a:lnTo>
                  <a:lnTo>
                    <a:pt x="2" y="23"/>
                  </a:lnTo>
                  <a:lnTo>
                    <a:pt x="2" y="23"/>
                  </a:lnTo>
                  <a:lnTo>
                    <a:pt x="2" y="24"/>
                  </a:lnTo>
                  <a:lnTo>
                    <a:pt x="4" y="24"/>
                  </a:lnTo>
                  <a:lnTo>
                    <a:pt x="7" y="28"/>
                  </a:lnTo>
                  <a:lnTo>
                    <a:pt x="9" y="30"/>
                  </a:lnTo>
                  <a:lnTo>
                    <a:pt x="9" y="31"/>
                  </a:lnTo>
                  <a:lnTo>
                    <a:pt x="7" y="33"/>
                  </a:lnTo>
                  <a:lnTo>
                    <a:pt x="7" y="33"/>
                  </a:lnTo>
                  <a:lnTo>
                    <a:pt x="2" y="37"/>
                  </a:lnTo>
                  <a:lnTo>
                    <a:pt x="2" y="40"/>
                  </a:lnTo>
                  <a:lnTo>
                    <a:pt x="4" y="44"/>
                  </a:lnTo>
                  <a:lnTo>
                    <a:pt x="4" y="49"/>
                  </a:lnTo>
                  <a:lnTo>
                    <a:pt x="4" y="49"/>
                  </a:lnTo>
                  <a:lnTo>
                    <a:pt x="0" y="54"/>
                  </a:lnTo>
                  <a:lnTo>
                    <a:pt x="0" y="57"/>
                  </a:lnTo>
                  <a:lnTo>
                    <a:pt x="4" y="66"/>
                  </a:lnTo>
                  <a:lnTo>
                    <a:pt x="4" y="66"/>
                  </a:lnTo>
                  <a:lnTo>
                    <a:pt x="6" y="59"/>
                  </a:lnTo>
                  <a:lnTo>
                    <a:pt x="7" y="56"/>
                  </a:lnTo>
                  <a:lnTo>
                    <a:pt x="11" y="56"/>
                  </a:lnTo>
                  <a:lnTo>
                    <a:pt x="11" y="56"/>
                  </a:lnTo>
                  <a:lnTo>
                    <a:pt x="23" y="57"/>
                  </a:lnTo>
                  <a:lnTo>
                    <a:pt x="32" y="61"/>
                  </a:lnTo>
                  <a:lnTo>
                    <a:pt x="39" y="63"/>
                  </a:lnTo>
                  <a:lnTo>
                    <a:pt x="42" y="63"/>
                  </a:lnTo>
                  <a:lnTo>
                    <a:pt x="42" y="63"/>
                  </a:lnTo>
                  <a:lnTo>
                    <a:pt x="44" y="63"/>
                  </a:lnTo>
                  <a:lnTo>
                    <a:pt x="46" y="64"/>
                  </a:lnTo>
                  <a:lnTo>
                    <a:pt x="47" y="71"/>
                  </a:lnTo>
                  <a:lnTo>
                    <a:pt x="47" y="71"/>
                  </a:lnTo>
                  <a:lnTo>
                    <a:pt x="49" y="75"/>
                  </a:lnTo>
                  <a:lnTo>
                    <a:pt x="49" y="78"/>
                  </a:lnTo>
                  <a:lnTo>
                    <a:pt x="51" y="80"/>
                  </a:lnTo>
                  <a:lnTo>
                    <a:pt x="54" y="82"/>
                  </a:lnTo>
                  <a:lnTo>
                    <a:pt x="54" y="82"/>
                  </a:lnTo>
                  <a:lnTo>
                    <a:pt x="61" y="85"/>
                  </a:lnTo>
                  <a:lnTo>
                    <a:pt x="61" y="84"/>
                  </a:lnTo>
                  <a:lnTo>
                    <a:pt x="61" y="82"/>
                  </a:lnTo>
                  <a:lnTo>
                    <a:pt x="61" y="82"/>
                  </a:lnTo>
                  <a:lnTo>
                    <a:pt x="63" y="77"/>
                  </a:lnTo>
                  <a:lnTo>
                    <a:pt x="65" y="75"/>
                  </a:lnTo>
                  <a:lnTo>
                    <a:pt x="67" y="75"/>
                  </a:lnTo>
                  <a:lnTo>
                    <a:pt x="67" y="77"/>
                  </a:lnTo>
                  <a:lnTo>
                    <a:pt x="67" y="77"/>
                  </a:lnTo>
                  <a:lnTo>
                    <a:pt x="68" y="80"/>
                  </a:lnTo>
                  <a:lnTo>
                    <a:pt x="70" y="85"/>
                  </a:lnTo>
                  <a:lnTo>
                    <a:pt x="72" y="92"/>
                  </a:lnTo>
                  <a:lnTo>
                    <a:pt x="72" y="99"/>
                  </a:lnTo>
                  <a:lnTo>
                    <a:pt x="72" y="99"/>
                  </a:lnTo>
                  <a:lnTo>
                    <a:pt x="72" y="101"/>
                  </a:lnTo>
                  <a:lnTo>
                    <a:pt x="73" y="103"/>
                  </a:lnTo>
                  <a:lnTo>
                    <a:pt x="77" y="103"/>
                  </a:lnTo>
                  <a:lnTo>
                    <a:pt x="87" y="101"/>
                  </a:lnTo>
                  <a:lnTo>
                    <a:pt x="87" y="101"/>
                  </a:lnTo>
                  <a:lnTo>
                    <a:pt x="91" y="99"/>
                  </a:lnTo>
                  <a:lnTo>
                    <a:pt x="91" y="98"/>
                  </a:lnTo>
                  <a:lnTo>
                    <a:pt x="93" y="94"/>
                  </a:lnTo>
                  <a:lnTo>
                    <a:pt x="96" y="94"/>
                  </a:lnTo>
                  <a:lnTo>
                    <a:pt x="96" y="94"/>
                  </a:lnTo>
                  <a:lnTo>
                    <a:pt x="101" y="94"/>
                  </a:lnTo>
                  <a:lnTo>
                    <a:pt x="103" y="91"/>
                  </a:lnTo>
                  <a:lnTo>
                    <a:pt x="105" y="89"/>
                  </a:lnTo>
                  <a:lnTo>
                    <a:pt x="105" y="87"/>
                  </a:lnTo>
                  <a:lnTo>
                    <a:pt x="100" y="80"/>
                  </a:lnTo>
                  <a:lnTo>
                    <a:pt x="100" y="80"/>
                  </a:lnTo>
                  <a:lnTo>
                    <a:pt x="94" y="73"/>
                  </a:lnTo>
                  <a:lnTo>
                    <a:pt x="93" y="70"/>
                  </a:lnTo>
                  <a:lnTo>
                    <a:pt x="93" y="68"/>
                  </a:lnTo>
                  <a:lnTo>
                    <a:pt x="91" y="68"/>
                  </a:lnTo>
                  <a:lnTo>
                    <a:pt x="91" y="68"/>
                  </a:lnTo>
                  <a:lnTo>
                    <a:pt x="89" y="68"/>
                  </a:lnTo>
                  <a:lnTo>
                    <a:pt x="87" y="66"/>
                  </a:lnTo>
                  <a:lnTo>
                    <a:pt x="86" y="63"/>
                  </a:lnTo>
                  <a:lnTo>
                    <a:pt x="87" y="59"/>
                  </a:lnTo>
                  <a:lnTo>
                    <a:pt x="89" y="57"/>
                  </a:lnTo>
                  <a:lnTo>
                    <a:pt x="91" y="56"/>
                  </a:lnTo>
                  <a:lnTo>
                    <a:pt x="91" y="56"/>
                  </a:lnTo>
                  <a:lnTo>
                    <a:pt x="96" y="56"/>
                  </a:lnTo>
                  <a:lnTo>
                    <a:pt x="101" y="54"/>
                  </a:lnTo>
                  <a:lnTo>
                    <a:pt x="107" y="49"/>
                  </a:lnTo>
                  <a:lnTo>
                    <a:pt x="112" y="40"/>
                  </a:lnTo>
                  <a:lnTo>
                    <a:pt x="112" y="40"/>
                  </a:lnTo>
                  <a:lnTo>
                    <a:pt x="114" y="38"/>
                  </a:lnTo>
                  <a:lnTo>
                    <a:pt x="114" y="37"/>
                  </a:lnTo>
                  <a:lnTo>
                    <a:pt x="114" y="33"/>
                  </a:lnTo>
                  <a:lnTo>
                    <a:pt x="117" y="31"/>
                  </a:lnTo>
                  <a:lnTo>
                    <a:pt x="117" y="31"/>
                  </a:lnTo>
                  <a:lnTo>
                    <a:pt x="122" y="30"/>
                  </a:lnTo>
                  <a:lnTo>
                    <a:pt x="122" y="28"/>
                  </a:lnTo>
                  <a:lnTo>
                    <a:pt x="126" y="26"/>
                  </a:lnTo>
                  <a:lnTo>
                    <a:pt x="131" y="24"/>
                  </a:lnTo>
                  <a:lnTo>
                    <a:pt x="131" y="24"/>
                  </a:lnTo>
                  <a:lnTo>
                    <a:pt x="140" y="28"/>
                  </a:lnTo>
                  <a:lnTo>
                    <a:pt x="148" y="33"/>
                  </a:lnTo>
                  <a:lnTo>
                    <a:pt x="155" y="40"/>
                  </a:lnTo>
                  <a:lnTo>
                    <a:pt x="157" y="42"/>
                  </a:lnTo>
                  <a:lnTo>
                    <a:pt x="157" y="45"/>
                  </a:lnTo>
                  <a:lnTo>
                    <a:pt x="157" y="45"/>
                  </a:lnTo>
                  <a:lnTo>
                    <a:pt x="157" y="47"/>
                  </a:lnTo>
                  <a:lnTo>
                    <a:pt x="157" y="51"/>
                  </a:lnTo>
                  <a:lnTo>
                    <a:pt x="159" y="52"/>
                  </a:lnTo>
                  <a:lnTo>
                    <a:pt x="161" y="52"/>
                  </a:lnTo>
                  <a:lnTo>
                    <a:pt x="161" y="52"/>
                  </a:lnTo>
                  <a:lnTo>
                    <a:pt x="164" y="49"/>
                  </a:lnTo>
                  <a:lnTo>
                    <a:pt x="164" y="51"/>
                  </a:lnTo>
                  <a:lnTo>
                    <a:pt x="166" y="51"/>
                  </a:lnTo>
                  <a:lnTo>
                    <a:pt x="168" y="51"/>
                  </a:lnTo>
                  <a:lnTo>
                    <a:pt x="168" y="51"/>
                  </a:lnTo>
                  <a:lnTo>
                    <a:pt x="169" y="49"/>
                  </a:lnTo>
                  <a:lnTo>
                    <a:pt x="168" y="51"/>
                  </a:lnTo>
                  <a:lnTo>
                    <a:pt x="166" y="57"/>
                  </a:lnTo>
                  <a:lnTo>
                    <a:pt x="162" y="66"/>
                  </a:lnTo>
                  <a:lnTo>
                    <a:pt x="162" y="71"/>
                  </a:lnTo>
                  <a:lnTo>
                    <a:pt x="162" y="73"/>
                  </a:lnTo>
                  <a:lnTo>
                    <a:pt x="162" y="73"/>
                  </a:lnTo>
                  <a:lnTo>
                    <a:pt x="169" y="87"/>
                  </a:lnTo>
                  <a:lnTo>
                    <a:pt x="174" y="96"/>
                  </a:lnTo>
                  <a:lnTo>
                    <a:pt x="180" y="101"/>
                  </a:lnTo>
                  <a:lnTo>
                    <a:pt x="180" y="101"/>
                  </a:lnTo>
                  <a:lnTo>
                    <a:pt x="180" y="89"/>
                  </a:lnTo>
                  <a:lnTo>
                    <a:pt x="183" y="82"/>
                  </a:lnTo>
                  <a:lnTo>
                    <a:pt x="183" y="82"/>
                  </a:lnTo>
                  <a:lnTo>
                    <a:pt x="183" y="80"/>
                  </a:lnTo>
                  <a:lnTo>
                    <a:pt x="185" y="82"/>
                  </a:lnTo>
                  <a:lnTo>
                    <a:pt x="187" y="84"/>
                  </a:lnTo>
                  <a:lnTo>
                    <a:pt x="190" y="87"/>
                  </a:lnTo>
                  <a:lnTo>
                    <a:pt x="192" y="87"/>
                  </a:lnTo>
                  <a:lnTo>
                    <a:pt x="194" y="87"/>
                  </a:lnTo>
                  <a:lnTo>
                    <a:pt x="194" y="87"/>
                  </a:lnTo>
                  <a:lnTo>
                    <a:pt x="197" y="82"/>
                  </a:lnTo>
                  <a:lnTo>
                    <a:pt x="197" y="78"/>
                  </a:lnTo>
                  <a:lnTo>
                    <a:pt x="197" y="75"/>
                  </a:lnTo>
                  <a:lnTo>
                    <a:pt x="199" y="73"/>
                  </a:lnTo>
                  <a:lnTo>
                    <a:pt x="201" y="73"/>
                  </a:lnTo>
                  <a:lnTo>
                    <a:pt x="201" y="73"/>
                  </a:lnTo>
                  <a:lnTo>
                    <a:pt x="204" y="71"/>
                  </a:lnTo>
                  <a:lnTo>
                    <a:pt x="204" y="68"/>
                  </a:lnTo>
                  <a:lnTo>
                    <a:pt x="199" y="59"/>
                  </a:lnTo>
                  <a:lnTo>
                    <a:pt x="195" y="51"/>
                  </a:lnTo>
                  <a:lnTo>
                    <a:pt x="195" y="45"/>
                  </a:lnTo>
                  <a:lnTo>
                    <a:pt x="197" y="40"/>
                  </a:lnTo>
                  <a:lnTo>
                    <a:pt x="197"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 name="Freeform 1696">
              <a:extLst>
                <a:ext uri="{FF2B5EF4-FFF2-40B4-BE49-F238E27FC236}">
                  <a16:creationId xmlns:a16="http://schemas.microsoft.com/office/drawing/2014/main" id="{3EE59F90-2500-4B66-ACC8-DEA2E08FD3CA}"/>
                </a:ext>
              </a:extLst>
            </p:cNvPr>
            <p:cNvSpPr>
              <a:spLocks/>
            </p:cNvSpPr>
            <p:nvPr/>
          </p:nvSpPr>
          <p:spPr bwMode="auto">
            <a:xfrm>
              <a:off x="2718104" y="3969084"/>
              <a:ext cx="128625" cy="148008"/>
            </a:xfrm>
            <a:custGeom>
              <a:avLst/>
              <a:gdLst/>
              <a:ahLst/>
              <a:cxnLst>
                <a:cxn ang="0">
                  <a:pos x="19" y="89"/>
                </a:cxn>
                <a:cxn ang="0">
                  <a:pos x="28" y="79"/>
                </a:cxn>
                <a:cxn ang="0">
                  <a:pos x="30" y="75"/>
                </a:cxn>
                <a:cxn ang="0">
                  <a:pos x="35" y="74"/>
                </a:cxn>
                <a:cxn ang="0">
                  <a:pos x="31" y="58"/>
                </a:cxn>
                <a:cxn ang="0">
                  <a:pos x="38" y="54"/>
                </a:cxn>
                <a:cxn ang="0">
                  <a:pos x="47" y="54"/>
                </a:cxn>
                <a:cxn ang="0">
                  <a:pos x="56" y="42"/>
                </a:cxn>
                <a:cxn ang="0">
                  <a:pos x="59" y="44"/>
                </a:cxn>
                <a:cxn ang="0">
                  <a:pos x="68" y="51"/>
                </a:cxn>
                <a:cxn ang="0">
                  <a:pos x="70" y="46"/>
                </a:cxn>
                <a:cxn ang="0">
                  <a:pos x="90" y="23"/>
                </a:cxn>
                <a:cxn ang="0">
                  <a:pos x="96" y="14"/>
                </a:cxn>
                <a:cxn ang="0">
                  <a:pos x="101" y="9"/>
                </a:cxn>
                <a:cxn ang="0">
                  <a:pos x="110" y="16"/>
                </a:cxn>
                <a:cxn ang="0">
                  <a:pos x="136" y="11"/>
                </a:cxn>
                <a:cxn ang="0">
                  <a:pos x="144" y="2"/>
                </a:cxn>
                <a:cxn ang="0">
                  <a:pos x="160" y="2"/>
                </a:cxn>
                <a:cxn ang="0">
                  <a:pos x="155" y="13"/>
                </a:cxn>
                <a:cxn ang="0">
                  <a:pos x="157" y="23"/>
                </a:cxn>
                <a:cxn ang="0">
                  <a:pos x="153" y="39"/>
                </a:cxn>
                <a:cxn ang="0">
                  <a:pos x="148" y="56"/>
                </a:cxn>
                <a:cxn ang="0">
                  <a:pos x="144" y="70"/>
                </a:cxn>
                <a:cxn ang="0">
                  <a:pos x="146" y="96"/>
                </a:cxn>
                <a:cxn ang="0">
                  <a:pos x="148" y="114"/>
                </a:cxn>
                <a:cxn ang="0">
                  <a:pos x="143" y="114"/>
                </a:cxn>
                <a:cxn ang="0">
                  <a:pos x="141" y="121"/>
                </a:cxn>
                <a:cxn ang="0">
                  <a:pos x="137" y="136"/>
                </a:cxn>
                <a:cxn ang="0">
                  <a:pos x="141" y="138"/>
                </a:cxn>
                <a:cxn ang="0">
                  <a:pos x="139" y="148"/>
                </a:cxn>
                <a:cxn ang="0">
                  <a:pos x="136" y="154"/>
                </a:cxn>
                <a:cxn ang="0">
                  <a:pos x="136" y="166"/>
                </a:cxn>
                <a:cxn ang="0">
                  <a:pos x="141" y="176"/>
                </a:cxn>
                <a:cxn ang="0">
                  <a:pos x="132" y="185"/>
                </a:cxn>
                <a:cxn ang="0">
                  <a:pos x="120" y="178"/>
                </a:cxn>
                <a:cxn ang="0">
                  <a:pos x="115" y="173"/>
                </a:cxn>
                <a:cxn ang="0">
                  <a:pos x="110" y="173"/>
                </a:cxn>
                <a:cxn ang="0">
                  <a:pos x="101" y="173"/>
                </a:cxn>
                <a:cxn ang="0">
                  <a:pos x="94" y="175"/>
                </a:cxn>
                <a:cxn ang="0">
                  <a:pos x="78" y="166"/>
                </a:cxn>
                <a:cxn ang="0">
                  <a:pos x="68" y="168"/>
                </a:cxn>
                <a:cxn ang="0">
                  <a:pos x="50" y="150"/>
                </a:cxn>
                <a:cxn ang="0">
                  <a:pos x="38" y="133"/>
                </a:cxn>
                <a:cxn ang="0">
                  <a:pos x="24" y="117"/>
                </a:cxn>
                <a:cxn ang="0">
                  <a:pos x="12" y="105"/>
                </a:cxn>
                <a:cxn ang="0">
                  <a:pos x="0" y="91"/>
                </a:cxn>
                <a:cxn ang="0">
                  <a:pos x="3" y="86"/>
                </a:cxn>
                <a:cxn ang="0">
                  <a:pos x="10" y="91"/>
                </a:cxn>
                <a:cxn ang="0">
                  <a:pos x="12" y="88"/>
                </a:cxn>
              </a:cxnLst>
              <a:rect l="0" t="0" r="r" b="b"/>
              <a:pathLst>
                <a:path w="160" h="185">
                  <a:moveTo>
                    <a:pt x="12" y="88"/>
                  </a:moveTo>
                  <a:lnTo>
                    <a:pt x="12" y="88"/>
                  </a:lnTo>
                  <a:lnTo>
                    <a:pt x="19" y="89"/>
                  </a:lnTo>
                  <a:lnTo>
                    <a:pt x="23" y="88"/>
                  </a:lnTo>
                  <a:lnTo>
                    <a:pt x="26" y="84"/>
                  </a:lnTo>
                  <a:lnTo>
                    <a:pt x="28" y="79"/>
                  </a:lnTo>
                  <a:lnTo>
                    <a:pt x="28" y="79"/>
                  </a:lnTo>
                  <a:lnTo>
                    <a:pt x="30" y="77"/>
                  </a:lnTo>
                  <a:lnTo>
                    <a:pt x="30" y="75"/>
                  </a:lnTo>
                  <a:lnTo>
                    <a:pt x="33" y="75"/>
                  </a:lnTo>
                  <a:lnTo>
                    <a:pt x="33" y="75"/>
                  </a:lnTo>
                  <a:lnTo>
                    <a:pt x="35" y="74"/>
                  </a:lnTo>
                  <a:lnTo>
                    <a:pt x="33" y="67"/>
                  </a:lnTo>
                  <a:lnTo>
                    <a:pt x="33" y="67"/>
                  </a:lnTo>
                  <a:lnTo>
                    <a:pt x="31" y="58"/>
                  </a:lnTo>
                  <a:lnTo>
                    <a:pt x="33" y="56"/>
                  </a:lnTo>
                  <a:lnTo>
                    <a:pt x="33" y="54"/>
                  </a:lnTo>
                  <a:lnTo>
                    <a:pt x="38" y="54"/>
                  </a:lnTo>
                  <a:lnTo>
                    <a:pt x="43" y="54"/>
                  </a:lnTo>
                  <a:lnTo>
                    <a:pt x="43" y="54"/>
                  </a:lnTo>
                  <a:lnTo>
                    <a:pt x="47" y="54"/>
                  </a:lnTo>
                  <a:lnTo>
                    <a:pt x="49" y="53"/>
                  </a:lnTo>
                  <a:lnTo>
                    <a:pt x="52" y="47"/>
                  </a:lnTo>
                  <a:lnTo>
                    <a:pt x="56" y="42"/>
                  </a:lnTo>
                  <a:lnTo>
                    <a:pt x="57" y="42"/>
                  </a:lnTo>
                  <a:lnTo>
                    <a:pt x="59" y="44"/>
                  </a:lnTo>
                  <a:lnTo>
                    <a:pt x="59" y="44"/>
                  </a:lnTo>
                  <a:lnTo>
                    <a:pt x="63" y="49"/>
                  </a:lnTo>
                  <a:lnTo>
                    <a:pt x="66" y="51"/>
                  </a:lnTo>
                  <a:lnTo>
                    <a:pt x="68" y="51"/>
                  </a:lnTo>
                  <a:lnTo>
                    <a:pt x="70" y="49"/>
                  </a:lnTo>
                  <a:lnTo>
                    <a:pt x="70" y="49"/>
                  </a:lnTo>
                  <a:lnTo>
                    <a:pt x="70" y="46"/>
                  </a:lnTo>
                  <a:lnTo>
                    <a:pt x="71" y="42"/>
                  </a:lnTo>
                  <a:lnTo>
                    <a:pt x="80" y="34"/>
                  </a:lnTo>
                  <a:lnTo>
                    <a:pt x="90" y="23"/>
                  </a:lnTo>
                  <a:lnTo>
                    <a:pt x="94" y="20"/>
                  </a:lnTo>
                  <a:lnTo>
                    <a:pt x="96" y="14"/>
                  </a:lnTo>
                  <a:lnTo>
                    <a:pt x="96" y="14"/>
                  </a:lnTo>
                  <a:lnTo>
                    <a:pt x="97" y="9"/>
                  </a:lnTo>
                  <a:lnTo>
                    <a:pt x="99" y="9"/>
                  </a:lnTo>
                  <a:lnTo>
                    <a:pt x="101" y="9"/>
                  </a:lnTo>
                  <a:lnTo>
                    <a:pt x="103" y="13"/>
                  </a:lnTo>
                  <a:lnTo>
                    <a:pt x="103" y="13"/>
                  </a:lnTo>
                  <a:lnTo>
                    <a:pt x="110" y="16"/>
                  </a:lnTo>
                  <a:lnTo>
                    <a:pt x="120" y="14"/>
                  </a:lnTo>
                  <a:lnTo>
                    <a:pt x="132" y="13"/>
                  </a:lnTo>
                  <a:lnTo>
                    <a:pt x="136" y="11"/>
                  </a:lnTo>
                  <a:lnTo>
                    <a:pt x="139" y="7"/>
                  </a:lnTo>
                  <a:lnTo>
                    <a:pt x="139" y="7"/>
                  </a:lnTo>
                  <a:lnTo>
                    <a:pt x="144" y="2"/>
                  </a:lnTo>
                  <a:lnTo>
                    <a:pt x="150" y="0"/>
                  </a:lnTo>
                  <a:lnTo>
                    <a:pt x="153" y="0"/>
                  </a:lnTo>
                  <a:lnTo>
                    <a:pt x="160" y="2"/>
                  </a:lnTo>
                  <a:lnTo>
                    <a:pt x="160" y="2"/>
                  </a:lnTo>
                  <a:lnTo>
                    <a:pt x="157" y="7"/>
                  </a:lnTo>
                  <a:lnTo>
                    <a:pt x="155" y="13"/>
                  </a:lnTo>
                  <a:lnTo>
                    <a:pt x="155" y="18"/>
                  </a:lnTo>
                  <a:lnTo>
                    <a:pt x="157" y="23"/>
                  </a:lnTo>
                  <a:lnTo>
                    <a:pt x="157" y="23"/>
                  </a:lnTo>
                  <a:lnTo>
                    <a:pt x="158" y="27"/>
                  </a:lnTo>
                  <a:lnTo>
                    <a:pt x="157" y="30"/>
                  </a:lnTo>
                  <a:lnTo>
                    <a:pt x="153" y="39"/>
                  </a:lnTo>
                  <a:lnTo>
                    <a:pt x="150" y="46"/>
                  </a:lnTo>
                  <a:lnTo>
                    <a:pt x="148" y="56"/>
                  </a:lnTo>
                  <a:lnTo>
                    <a:pt x="148" y="56"/>
                  </a:lnTo>
                  <a:lnTo>
                    <a:pt x="146" y="63"/>
                  </a:lnTo>
                  <a:lnTo>
                    <a:pt x="144" y="67"/>
                  </a:lnTo>
                  <a:lnTo>
                    <a:pt x="144" y="70"/>
                  </a:lnTo>
                  <a:lnTo>
                    <a:pt x="144" y="79"/>
                  </a:lnTo>
                  <a:lnTo>
                    <a:pt x="144" y="79"/>
                  </a:lnTo>
                  <a:lnTo>
                    <a:pt x="146" y="96"/>
                  </a:lnTo>
                  <a:lnTo>
                    <a:pt x="148" y="108"/>
                  </a:lnTo>
                  <a:lnTo>
                    <a:pt x="148" y="108"/>
                  </a:lnTo>
                  <a:lnTo>
                    <a:pt x="148" y="114"/>
                  </a:lnTo>
                  <a:lnTo>
                    <a:pt x="144" y="114"/>
                  </a:lnTo>
                  <a:lnTo>
                    <a:pt x="144" y="114"/>
                  </a:lnTo>
                  <a:lnTo>
                    <a:pt x="143" y="114"/>
                  </a:lnTo>
                  <a:lnTo>
                    <a:pt x="143" y="114"/>
                  </a:lnTo>
                  <a:lnTo>
                    <a:pt x="141" y="121"/>
                  </a:lnTo>
                  <a:lnTo>
                    <a:pt x="141" y="121"/>
                  </a:lnTo>
                  <a:lnTo>
                    <a:pt x="137" y="131"/>
                  </a:lnTo>
                  <a:lnTo>
                    <a:pt x="137" y="135"/>
                  </a:lnTo>
                  <a:lnTo>
                    <a:pt x="137" y="136"/>
                  </a:lnTo>
                  <a:lnTo>
                    <a:pt x="139" y="136"/>
                  </a:lnTo>
                  <a:lnTo>
                    <a:pt x="139" y="136"/>
                  </a:lnTo>
                  <a:lnTo>
                    <a:pt x="141" y="138"/>
                  </a:lnTo>
                  <a:lnTo>
                    <a:pt x="141" y="143"/>
                  </a:lnTo>
                  <a:lnTo>
                    <a:pt x="141" y="147"/>
                  </a:lnTo>
                  <a:lnTo>
                    <a:pt x="139" y="148"/>
                  </a:lnTo>
                  <a:lnTo>
                    <a:pt x="139" y="148"/>
                  </a:lnTo>
                  <a:lnTo>
                    <a:pt x="137" y="150"/>
                  </a:lnTo>
                  <a:lnTo>
                    <a:pt x="136" y="154"/>
                  </a:lnTo>
                  <a:lnTo>
                    <a:pt x="134" y="159"/>
                  </a:lnTo>
                  <a:lnTo>
                    <a:pt x="136" y="166"/>
                  </a:lnTo>
                  <a:lnTo>
                    <a:pt x="136" y="166"/>
                  </a:lnTo>
                  <a:lnTo>
                    <a:pt x="139" y="173"/>
                  </a:lnTo>
                  <a:lnTo>
                    <a:pt x="141" y="176"/>
                  </a:lnTo>
                  <a:lnTo>
                    <a:pt x="141" y="176"/>
                  </a:lnTo>
                  <a:lnTo>
                    <a:pt x="139" y="182"/>
                  </a:lnTo>
                  <a:lnTo>
                    <a:pt x="136" y="185"/>
                  </a:lnTo>
                  <a:lnTo>
                    <a:pt x="132" y="185"/>
                  </a:lnTo>
                  <a:lnTo>
                    <a:pt x="129" y="185"/>
                  </a:lnTo>
                  <a:lnTo>
                    <a:pt x="124" y="182"/>
                  </a:lnTo>
                  <a:lnTo>
                    <a:pt x="120" y="178"/>
                  </a:lnTo>
                  <a:lnTo>
                    <a:pt x="120" y="178"/>
                  </a:lnTo>
                  <a:lnTo>
                    <a:pt x="117" y="173"/>
                  </a:lnTo>
                  <a:lnTo>
                    <a:pt x="115" y="173"/>
                  </a:lnTo>
                  <a:lnTo>
                    <a:pt x="113" y="175"/>
                  </a:lnTo>
                  <a:lnTo>
                    <a:pt x="110" y="173"/>
                  </a:lnTo>
                  <a:lnTo>
                    <a:pt x="110" y="173"/>
                  </a:lnTo>
                  <a:lnTo>
                    <a:pt x="106" y="169"/>
                  </a:lnTo>
                  <a:lnTo>
                    <a:pt x="104" y="169"/>
                  </a:lnTo>
                  <a:lnTo>
                    <a:pt x="101" y="173"/>
                  </a:lnTo>
                  <a:lnTo>
                    <a:pt x="99" y="175"/>
                  </a:lnTo>
                  <a:lnTo>
                    <a:pt x="97" y="176"/>
                  </a:lnTo>
                  <a:lnTo>
                    <a:pt x="94" y="175"/>
                  </a:lnTo>
                  <a:lnTo>
                    <a:pt x="89" y="173"/>
                  </a:lnTo>
                  <a:lnTo>
                    <a:pt x="89" y="173"/>
                  </a:lnTo>
                  <a:lnTo>
                    <a:pt x="78" y="166"/>
                  </a:lnTo>
                  <a:lnTo>
                    <a:pt x="73" y="164"/>
                  </a:lnTo>
                  <a:lnTo>
                    <a:pt x="70" y="166"/>
                  </a:lnTo>
                  <a:lnTo>
                    <a:pt x="68" y="168"/>
                  </a:lnTo>
                  <a:lnTo>
                    <a:pt x="68" y="168"/>
                  </a:lnTo>
                  <a:lnTo>
                    <a:pt x="57" y="157"/>
                  </a:lnTo>
                  <a:lnTo>
                    <a:pt x="50" y="150"/>
                  </a:lnTo>
                  <a:lnTo>
                    <a:pt x="43" y="143"/>
                  </a:lnTo>
                  <a:lnTo>
                    <a:pt x="38" y="133"/>
                  </a:lnTo>
                  <a:lnTo>
                    <a:pt x="38" y="133"/>
                  </a:lnTo>
                  <a:lnTo>
                    <a:pt x="35" y="128"/>
                  </a:lnTo>
                  <a:lnTo>
                    <a:pt x="31" y="122"/>
                  </a:lnTo>
                  <a:lnTo>
                    <a:pt x="24" y="117"/>
                  </a:lnTo>
                  <a:lnTo>
                    <a:pt x="19" y="112"/>
                  </a:lnTo>
                  <a:lnTo>
                    <a:pt x="12" y="105"/>
                  </a:lnTo>
                  <a:lnTo>
                    <a:pt x="12" y="105"/>
                  </a:lnTo>
                  <a:lnTo>
                    <a:pt x="7" y="98"/>
                  </a:lnTo>
                  <a:lnTo>
                    <a:pt x="3" y="94"/>
                  </a:lnTo>
                  <a:lnTo>
                    <a:pt x="0" y="91"/>
                  </a:lnTo>
                  <a:lnTo>
                    <a:pt x="2" y="88"/>
                  </a:lnTo>
                  <a:lnTo>
                    <a:pt x="2" y="88"/>
                  </a:lnTo>
                  <a:lnTo>
                    <a:pt x="3" y="86"/>
                  </a:lnTo>
                  <a:lnTo>
                    <a:pt x="5" y="86"/>
                  </a:lnTo>
                  <a:lnTo>
                    <a:pt x="7" y="89"/>
                  </a:lnTo>
                  <a:lnTo>
                    <a:pt x="10" y="91"/>
                  </a:lnTo>
                  <a:lnTo>
                    <a:pt x="12" y="91"/>
                  </a:lnTo>
                  <a:lnTo>
                    <a:pt x="12" y="88"/>
                  </a:lnTo>
                  <a:lnTo>
                    <a:pt x="12" y="8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 name="Freeform 1697">
              <a:extLst>
                <a:ext uri="{FF2B5EF4-FFF2-40B4-BE49-F238E27FC236}">
                  <a16:creationId xmlns:a16="http://schemas.microsoft.com/office/drawing/2014/main" id="{686B5EB2-9114-4112-B1DC-026AE0FD1949}"/>
                </a:ext>
              </a:extLst>
            </p:cNvPr>
            <p:cNvSpPr>
              <a:spLocks/>
            </p:cNvSpPr>
            <p:nvPr/>
          </p:nvSpPr>
          <p:spPr bwMode="auto">
            <a:xfrm>
              <a:off x="2589476" y="3870413"/>
              <a:ext cx="112768" cy="140961"/>
            </a:xfrm>
            <a:custGeom>
              <a:avLst/>
              <a:gdLst/>
              <a:ahLst/>
              <a:cxnLst>
                <a:cxn ang="0">
                  <a:pos x="108" y="85"/>
                </a:cxn>
                <a:cxn ang="0">
                  <a:pos x="116" y="83"/>
                </a:cxn>
                <a:cxn ang="0">
                  <a:pos x="125" y="90"/>
                </a:cxn>
                <a:cxn ang="0">
                  <a:pos x="129" y="90"/>
                </a:cxn>
                <a:cxn ang="0">
                  <a:pos x="130" y="87"/>
                </a:cxn>
                <a:cxn ang="0">
                  <a:pos x="129" y="83"/>
                </a:cxn>
                <a:cxn ang="0">
                  <a:pos x="129" y="81"/>
                </a:cxn>
                <a:cxn ang="0">
                  <a:pos x="141" y="92"/>
                </a:cxn>
                <a:cxn ang="0">
                  <a:pos x="125" y="106"/>
                </a:cxn>
                <a:cxn ang="0">
                  <a:pos x="111" y="118"/>
                </a:cxn>
                <a:cxn ang="0">
                  <a:pos x="108" y="123"/>
                </a:cxn>
                <a:cxn ang="0">
                  <a:pos x="109" y="137"/>
                </a:cxn>
                <a:cxn ang="0">
                  <a:pos x="106" y="144"/>
                </a:cxn>
                <a:cxn ang="0">
                  <a:pos x="101" y="146"/>
                </a:cxn>
                <a:cxn ang="0">
                  <a:pos x="94" y="149"/>
                </a:cxn>
                <a:cxn ang="0">
                  <a:pos x="94" y="153"/>
                </a:cxn>
                <a:cxn ang="0">
                  <a:pos x="94" y="158"/>
                </a:cxn>
                <a:cxn ang="0">
                  <a:pos x="80" y="167"/>
                </a:cxn>
                <a:cxn ang="0">
                  <a:pos x="75" y="175"/>
                </a:cxn>
                <a:cxn ang="0">
                  <a:pos x="61" y="170"/>
                </a:cxn>
                <a:cxn ang="0">
                  <a:pos x="43" y="167"/>
                </a:cxn>
                <a:cxn ang="0">
                  <a:pos x="36" y="167"/>
                </a:cxn>
                <a:cxn ang="0">
                  <a:pos x="17" y="156"/>
                </a:cxn>
                <a:cxn ang="0">
                  <a:pos x="0" y="142"/>
                </a:cxn>
                <a:cxn ang="0">
                  <a:pos x="3" y="135"/>
                </a:cxn>
                <a:cxn ang="0">
                  <a:pos x="3" y="132"/>
                </a:cxn>
                <a:cxn ang="0">
                  <a:pos x="3" y="123"/>
                </a:cxn>
                <a:cxn ang="0">
                  <a:pos x="1" y="111"/>
                </a:cxn>
                <a:cxn ang="0">
                  <a:pos x="62" y="74"/>
                </a:cxn>
                <a:cxn ang="0">
                  <a:pos x="64" y="62"/>
                </a:cxn>
                <a:cxn ang="0">
                  <a:pos x="62" y="61"/>
                </a:cxn>
                <a:cxn ang="0">
                  <a:pos x="57" y="57"/>
                </a:cxn>
                <a:cxn ang="0">
                  <a:pos x="55" y="54"/>
                </a:cxn>
                <a:cxn ang="0">
                  <a:pos x="52" y="47"/>
                </a:cxn>
                <a:cxn ang="0">
                  <a:pos x="42" y="40"/>
                </a:cxn>
                <a:cxn ang="0">
                  <a:pos x="38" y="36"/>
                </a:cxn>
                <a:cxn ang="0">
                  <a:pos x="33" y="27"/>
                </a:cxn>
                <a:cxn ang="0">
                  <a:pos x="45" y="26"/>
                </a:cxn>
                <a:cxn ang="0">
                  <a:pos x="108" y="0"/>
                </a:cxn>
              </a:cxnLst>
              <a:rect l="0" t="0" r="r" b="b"/>
              <a:pathLst>
                <a:path w="141" h="175">
                  <a:moveTo>
                    <a:pt x="108" y="0"/>
                  </a:moveTo>
                  <a:lnTo>
                    <a:pt x="108" y="85"/>
                  </a:lnTo>
                  <a:lnTo>
                    <a:pt x="116" y="83"/>
                  </a:lnTo>
                  <a:lnTo>
                    <a:pt x="116" y="83"/>
                  </a:lnTo>
                  <a:lnTo>
                    <a:pt x="122" y="87"/>
                  </a:lnTo>
                  <a:lnTo>
                    <a:pt x="125" y="90"/>
                  </a:lnTo>
                  <a:lnTo>
                    <a:pt x="127" y="92"/>
                  </a:lnTo>
                  <a:lnTo>
                    <a:pt x="129" y="90"/>
                  </a:lnTo>
                  <a:lnTo>
                    <a:pt x="129" y="90"/>
                  </a:lnTo>
                  <a:lnTo>
                    <a:pt x="130" y="87"/>
                  </a:lnTo>
                  <a:lnTo>
                    <a:pt x="129" y="83"/>
                  </a:lnTo>
                  <a:lnTo>
                    <a:pt x="129" y="83"/>
                  </a:lnTo>
                  <a:lnTo>
                    <a:pt x="127" y="81"/>
                  </a:lnTo>
                  <a:lnTo>
                    <a:pt x="129" y="81"/>
                  </a:lnTo>
                  <a:lnTo>
                    <a:pt x="132" y="83"/>
                  </a:lnTo>
                  <a:lnTo>
                    <a:pt x="141" y="92"/>
                  </a:lnTo>
                  <a:lnTo>
                    <a:pt x="141" y="92"/>
                  </a:lnTo>
                  <a:lnTo>
                    <a:pt x="125" y="106"/>
                  </a:lnTo>
                  <a:lnTo>
                    <a:pt x="111" y="118"/>
                  </a:lnTo>
                  <a:lnTo>
                    <a:pt x="111" y="118"/>
                  </a:lnTo>
                  <a:lnTo>
                    <a:pt x="109" y="120"/>
                  </a:lnTo>
                  <a:lnTo>
                    <a:pt x="108" y="123"/>
                  </a:lnTo>
                  <a:lnTo>
                    <a:pt x="108" y="132"/>
                  </a:lnTo>
                  <a:lnTo>
                    <a:pt x="109" y="137"/>
                  </a:lnTo>
                  <a:lnTo>
                    <a:pt x="108" y="141"/>
                  </a:lnTo>
                  <a:lnTo>
                    <a:pt x="106" y="144"/>
                  </a:lnTo>
                  <a:lnTo>
                    <a:pt x="101" y="146"/>
                  </a:lnTo>
                  <a:lnTo>
                    <a:pt x="101" y="146"/>
                  </a:lnTo>
                  <a:lnTo>
                    <a:pt x="96" y="148"/>
                  </a:lnTo>
                  <a:lnTo>
                    <a:pt x="94" y="149"/>
                  </a:lnTo>
                  <a:lnTo>
                    <a:pt x="94" y="153"/>
                  </a:lnTo>
                  <a:lnTo>
                    <a:pt x="94" y="153"/>
                  </a:lnTo>
                  <a:lnTo>
                    <a:pt x="94" y="155"/>
                  </a:lnTo>
                  <a:lnTo>
                    <a:pt x="94" y="158"/>
                  </a:lnTo>
                  <a:lnTo>
                    <a:pt x="89" y="162"/>
                  </a:lnTo>
                  <a:lnTo>
                    <a:pt x="80" y="167"/>
                  </a:lnTo>
                  <a:lnTo>
                    <a:pt x="78" y="172"/>
                  </a:lnTo>
                  <a:lnTo>
                    <a:pt x="75" y="175"/>
                  </a:lnTo>
                  <a:lnTo>
                    <a:pt x="75" y="175"/>
                  </a:lnTo>
                  <a:lnTo>
                    <a:pt x="61" y="170"/>
                  </a:lnTo>
                  <a:lnTo>
                    <a:pt x="54" y="167"/>
                  </a:lnTo>
                  <a:lnTo>
                    <a:pt x="43" y="167"/>
                  </a:lnTo>
                  <a:lnTo>
                    <a:pt x="43" y="167"/>
                  </a:lnTo>
                  <a:lnTo>
                    <a:pt x="36" y="167"/>
                  </a:lnTo>
                  <a:lnTo>
                    <a:pt x="28" y="165"/>
                  </a:lnTo>
                  <a:lnTo>
                    <a:pt x="17" y="156"/>
                  </a:lnTo>
                  <a:lnTo>
                    <a:pt x="0" y="142"/>
                  </a:lnTo>
                  <a:lnTo>
                    <a:pt x="0" y="142"/>
                  </a:lnTo>
                  <a:lnTo>
                    <a:pt x="3" y="139"/>
                  </a:lnTo>
                  <a:lnTo>
                    <a:pt x="3" y="135"/>
                  </a:lnTo>
                  <a:lnTo>
                    <a:pt x="3" y="132"/>
                  </a:lnTo>
                  <a:lnTo>
                    <a:pt x="3" y="132"/>
                  </a:lnTo>
                  <a:lnTo>
                    <a:pt x="3" y="127"/>
                  </a:lnTo>
                  <a:lnTo>
                    <a:pt x="3" y="123"/>
                  </a:lnTo>
                  <a:lnTo>
                    <a:pt x="7" y="118"/>
                  </a:lnTo>
                  <a:lnTo>
                    <a:pt x="1" y="111"/>
                  </a:lnTo>
                  <a:lnTo>
                    <a:pt x="19" y="74"/>
                  </a:lnTo>
                  <a:lnTo>
                    <a:pt x="62" y="74"/>
                  </a:lnTo>
                  <a:lnTo>
                    <a:pt x="62" y="74"/>
                  </a:lnTo>
                  <a:lnTo>
                    <a:pt x="64" y="62"/>
                  </a:lnTo>
                  <a:lnTo>
                    <a:pt x="64" y="61"/>
                  </a:lnTo>
                  <a:lnTo>
                    <a:pt x="62" y="61"/>
                  </a:lnTo>
                  <a:lnTo>
                    <a:pt x="59" y="59"/>
                  </a:lnTo>
                  <a:lnTo>
                    <a:pt x="57" y="57"/>
                  </a:lnTo>
                  <a:lnTo>
                    <a:pt x="55" y="54"/>
                  </a:lnTo>
                  <a:lnTo>
                    <a:pt x="55" y="54"/>
                  </a:lnTo>
                  <a:lnTo>
                    <a:pt x="54" y="48"/>
                  </a:lnTo>
                  <a:lnTo>
                    <a:pt x="52" y="47"/>
                  </a:lnTo>
                  <a:lnTo>
                    <a:pt x="47" y="43"/>
                  </a:lnTo>
                  <a:lnTo>
                    <a:pt x="42" y="40"/>
                  </a:lnTo>
                  <a:lnTo>
                    <a:pt x="38" y="36"/>
                  </a:lnTo>
                  <a:lnTo>
                    <a:pt x="38" y="36"/>
                  </a:lnTo>
                  <a:lnTo>
                    <a:pt x="35" y="31"/>
                  </a:lnTo>
                  <a:lnTo>
                    <a:pt x="33" y="27"/>
                  </a:lnTo>
                  <a:lnTo>
                    <a:pt x="28" y="26"/>
                  </a:lnTo>
                  <a:lnTo>
                    <a:pt x="45" y="26"/>
                  </a:lnTo>
                  <a:lnTo>
                    <a:pt x="45" y="1"/>
                  </a:lnTo>
                  <a:lnTo>
                    <a:pt x="108"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 name="Freeform 1698">
              <a:extLst>
                <a:ext uri="{FF2B5EF4-FFF2-40B4-BE49-F238E27FC236}">
                  <a16:creationId xmlns:a16="http://schemas.microsoft.com/office/drawing/2014/main" id="{A319F386-1E0F-482D-BBE9-1C244709D807}"/>
                </a:ext>
              </a:extLst>
            </p:cNvPr>
            <p:cNvSpPr>
              <a:spLocks/>
            </p:cNvSpPr>
            <p:nvPr/>
          </p:nvSpPr>
          <p:spPr bwMode="auto">
            <a:xfrm>
              <a:off x="2797392" y="3680115"/>
              <a:ext cx="304827" cy="119816"/>
            </a:xfrm>
            <a:custGeom>
              <a:avLst/>
              <a:gdLst/>
              <a:ahLst/>
              <a:cxnLst>
                <a:cxn ang="0">
                  <a:pos x="19" y="64"/>
                </a:cxn>
                <a:cxn ang="0">
                  <a:pos x="14" y="64"/>
                </a:cxn>
                <a:cxn ang="0">
                  <a:pos x="2" y="64"/>
                </a:cxn>
                <a:cxn ang="0">
                  <a:pos x="0" y="58"/>
                </a:cxn>
                <a:cxn ang="0">
                  <a:pos x="19" y="51"/>
                </a:cxn>
                <a:cxn ang="0">
                  <a:pos x="21" y="37"/>
                </a:cxn>
                <a:cxn ang="0">
                  <a:pos x="47" y="16"/>
                </a:cxn>
                <a:cxn ang="0">
                  <a:pos x="80" y="11"/>
                </a:cxn>
                <a:cxn ang="0">
                  <a:pos x="96" y="2"/>
                </a:cxn>
                <a:cxn ang="0">
                  <a:pos x="117" y="5"/>
                </a:cxn>
                <a:cxn ang="0">
                  <a:pos x="131" y="0"/>
                </a:cxn>
                <a:cxn ang="0">
                  <a:pos x="141" y="7"/>
                </a:cxn>
                <a:cxn ang="0">
                  <a:pos x="155" y="9"/>
                </a:cxn>
                <a:cxn ang="0">
                  <a:pos x="167" y="14"/>
                </a:cxn>
                <a:cxn ang="0">
                  <a:pos x="187" y="24"/>
                </a:cxn>
                <a:cxn ang="0">
                  <a:pos x="199" y="37"/>
                </a:cxn>
                <a:cxn ang="0">
                  <a:pos x="225" y="44"/>
                </a:cxn>
                <a:cxn ang="0">
                  <a:pos x="247" y="52"/>
                </a:cxn>
                <a:cxn ang="0">
                  <a:pos x="254" y="58"/>
                </a:cxn>
                <a:cxn ang="0">
                  <a:pos x="260" y="66"/>
                </a:cxn>
                <a:cxn ang="0">
                  <a:pos x="260" y="61"/>
                </a:cxn>
                <a:cxn ang="0">
                  <a:pos x="284" y="82"/>
                </a:cxn>
                <a:cxn ang="0">
                  <a:pos x="293" y="89"/>
                </a:cxn>
                <a:cxn ang="0">
                  <a:pos x="303" y="89"/>
                </a:cxn>
                <a:cxn ang="0">
                  <a:pos x="310" y="94"/>
                </a:cxn>
                <a:cxn ang="0">
                  <a:pos x="326" y="96"/>
                </a:cxn>
                <a:cxn ang="0">
                  <a:pos x="326" y="105"/>
                </a:cxn>
                <a:cxn ang="0">
                  <a:pos x="335" y="111"/>
                </a:cxn>
                <a:cxn ang="0">
                  <a:pos x="361" y="120"/>
                </a:cxn>
                <a:cxn ang="0">
                  <a:pos x="371" y="131"/>
                </a:cxn>
                <a:cxn ang="0">
                  <a:pos x="378" y="138"/>
                </a:cxn>
                <a:cxn ang="0">
                  <a:pos x="362" y="141"/>
                </a:cxn>
                <a:cxn ang="0">
                  <a:pos x="340" y="150"/>
                </a:cxn>
                <a:cxn ang="0">
                  <a:pos x="321" y="146"/>
                </a:cxn>
                <a:cxn ang="0">
                  <a:pos x="284" y="146"/>
                </a:cxn>
                <a:cxn ang="0">
                  <a:pos x="253" y="143"/>
                </a:cxn>
                <a:cxn ang="0">
                  <a:pos x="274" y="127"/>
                </a:cxn>
                <a:cxn ang="0">
                  <a:pos x="270" y="115"/>
                </a:cxn>
                <a:cxn ang="0">
                  <a:pos x="242" y="111"/>
                </a:cxn>
                <a:cxn ang="0">
                  <a:pos x="225" y="94"/>
                </a:cxn>
                <a:cxn ang="0">
                  <a:pos x="216" y="75"/>
                </a:cxn>
                <a:cxn ang="0">
                  <a:pos x="193" y="73"/>
                </a:cxn>
                <a:cxn ang="0">
                  <a:pos x="173" y="64"/>
                </a:cxn>
                <a:cxn ang="0">
                  <a:pos x="150" y="52"/>
                </a:cxn>
                <a:cxn ang="0">
                  <a:pos x="115" y="51"/>
                </a:cxn>
                <a:cxn ang="0">
                  <a:pos x="99" y="40"/>
                </a:cxn>
                <a:cxn ang="0">
                  <a:pos x="115" y="31"/>
                </a:cxn>
                <a:cxn ang="0">
                  <a:pos x="92" y="24"/>
                </a:cxn>
                <a:cxn ang="0">
                  <a:pos x="65" y="35"/>
                </a:cxn>
                <a:cxn ang="0">
                  <a:pos x="44" y="47"/>
                </a:cxn>
                <a:cxn ang="0">
                  <a:pos x="33" y="59"/>
                </a:cxn>
              </a:cxnLst>
              <a:rect l="0" t="0" r="r" b="b"/>
              <a:pathLst>
                <a:path w="382" h="150">
                  <a:moveTo>
                    <a:pt x="33" y="59"/>
                  </a:moveTo>
                  <a:lnTo>
                    <a:pt x="33" y="59"/>
                  </a:lnTo>
                  <a:lnTo>
                    <a:pt x="25" y="61"/>
                  </a:lnTo>
                  <a:lnTo>
                    <a:pt x="19" y="64"/>
                  </a:lnTo>
                  <a:lnTo>
                    <a:pt x="16" y="66"/>
                  </a:lnTo>
                  <a:lnTo>
                    <a:pt x="16" y="66"/>
                  </a:lnTo>
                  <a:lnTo>
                    <a:pt x="14" y="64"/>
                  </a:lnTo>
                  <a:lnTo>
                    <a:pt x="14" y="64"/>
                  </a:lnTo>
                  <a:lnTo>
                    <a:pt x="12" y="63"/>
                  </a:lnTo>
                  <a:lnTo>
                    <a:pt x="11" y="63"/>
                  </a:lnTo>
                  <a:lnTo>
                    <a:pt x="7" y="64"/>
                  </a:lnTo>
                  <a:lnTo>
                    <a:pt x="2" y="64"/>
                  </a:lnTo>
                  <a:lnTo>
                    <a:pt x="0" y="63"/>
                  </a:lnTo>
                  <a:lnTo>
                    <a:pt x="0" y="61"/>
                  </a:lnTo>
                  <a:lnTo>
                    <a:pt x="0" y="61"/>
                  </a:lnTo>
                  <a:lnTo>
                    <a:pt x="0" y="58"/>
                  </a:lnTo>
                  <a:lnTo>
                    <a:pt x="2" y="56"/>
                  </a:lnTo>
                  <a:lnTo>
                    <a:pt x="11" y="56"/>
                  </a:lnTo>
                  <a:lnTo>
                    <a:pt x="18" y="54"/>
                  </a:lnTo>
                  <a:lnTo>
                    <a:pt x="19" y="51"/>
                  </a:lnTo>
                  <a:lnTo>
                    <a:pt x="19" y="47"/>
                  </a:lnTo>
                  <a:lnTo>
                    <a:pt x="19" y="47"/>
                  </a:lnTo>
                  <a:lnTo>
                    <a:pt x="19" y="44"/>
                  </a:lnTo>
                  <a:lnTo>
                    <a:pt x="21" y="37"/>
                  </a:lnTo>
                  <a:lnTo>
                    <a:pt x="25" y="31"/>
                  </a:lnTo>
                  <a:lnTo>
                    <a:pt x="30" y="26"/>
                  </a:lnTo>
                  <a:lnTo>
                    <a:pt x="37" y="21"/>
                  </a:lnTo>
                  <a:lnTo>
                    <a:pt x="47" y="16"/>
                  </a:lnTo>
                  <a:lnTo>
                    <a:pt x="59" y="12"/>
                  </a:lnTo>
                  <a:lnTo>
                    <a:pt x="73" y="11"/>
                  </a:lnTo>
                  <a:lnTo>
                    <a:pt x="73" y="11"/>
                  </a:lnTo>
                  <a:lnTo>
                    <a:pt x="80" y="11"/>
                  </a:lnTo>
                  <a:lnTo>
                    <a:pt x="84" y="9"/>
                  </a:lnTo>
                  <a:lnTo>
                    <a:pt x="91" y="4"/>
                  </a:lnTo>
                  <a:lnTo>
                    <a:pt x="92" y="4"/>
                  </a:lnTo>
                  <a:lnTo>
                    <a:pt x="96" y="2"/>
                  </a:lnTo>
                  <a:lnTo>
                    <a:pt x="101" y="2"/>
                  </a:lnTo>
                  <a:lnTo>
                    <a:pt x="110" y="4"/>
                  </a:lnTo>
                  <a:lnTo>
                    <a:pt x="110" y="4"/>
                  </a:lnTo>
                  <a:lnTo>
                    <a:pt x="117" y="5"/>
                  </a:lnTo>
                  <a:lnTo>
                    <a:pt x="122" y="5"/>
                  </a:lnTo>
                  <a:lnTo>
                    <a:pt x="126" y="4"/>
                  </a:lnTo>
                  <a:lnTo>
                    <a:pt x="127" y="2"/>
                  </a:lnTo>
                  <a:lnTo>
                    <a:pt x="131" y="0"/>
                  </a:lnTo>
                  <a:lnTo>
                    <a:pt x="134" y="4"/>
                  </a:lnTo>
                  <a:lnTo>
                    <a:pt x="134" y="4"/>
                  </a:lnTo>
                  <a:lnTo>
                    <a:pt x="138" y="7"/>
                  </a:lnTo>
                  <a:lnTo>
                    <a:pt x="141" y="7"/>
                  </a:lnTo>
                  <a:lnTo>
                    <a:pt x="146" y="5"/>
                  </a:lnTo>
                  <a:lnTo>
                    <a:pt x="150" y="5"/>
                  </a:lnTo>
                  <a:lnTo>
                    <a:pt x="152" y="5"/>
                  </a:lnTo>
                  <a:lnTo>
                    <a:pt x="155" y="9"/>
                  </a:lnTo>
                  <a:lnTo>
                    <a:pt x="155" y="9"/>
                  </a:lnTo>
                  <a:lnTo>
                    <a:pt x="159" y="12"/>
                  </a:lnTo>
                  <a:lnTo>
                    <a:pt x="160" y="14"/>
                  </a:lnTo>
                  <a:lnTo>
                    <a:pt x="167" y="14"/>
                  </a:lnTo>
                  <a:lnTo>
                    <a:pt x="173" y="14"/>
                  </a:lnTo>
                  <a:lnTo>
                    <a:pt x="176" y="16"/>
                  </a:lnTo>
                  <a:lnTo>
                    <a:pt x="181" y="19"/>
                  </a:lnTo>
                  <a:lnTo>
                    <a:pt x="187" y="24"/>
                  </a:lnTo>
                  <a:lnTo>
                    <a:pt x="187" y="24"/>
                  </a:lnTo>
                  <a:lnTo>
                    <a:pt x="192" y="31"/>
                  </a:lnTo>
                  <a:lnTo>
                    <a:pt x="195" y="35"/>
                  </a:lnTo>
                  <a:lnTo>
                    <a:pt x="199" y="37"/>
                  </a:lnTo>
                  <a:lnTo>
                    <a:pt x="202" y="37"/>
                  </a:lnTo>
                  <a:lnTo>
                    <a:pt x="211" y="37"/>
                  </a:lnTo>
                  <a:lnTo>
                    <a:pt x="218" y="38"/>
                  </a:lnTo>
                  <a:lnTo>
                    <a:pt x="225" y="44"/>
                  </a:lnTo>
                  <a:lnTo>
                    <a:pt x="225" y="44"/>
                  </a:lnTo>
                  <a:lnTo>
                    <a:pt x="232" y="47"/>
                  </a:lnTo>
                  <a:lnTo>
                    <a:pt x="239" y="51"/>
                  </a:lnTo>
                  <a:lnTo>
                    <a:pt x="247" y="52"/>
                  </a:lnTo>
                  <a:lnTo>
                    <a:pt x="253" y="54"/>
                  </a:lnTo>
                  <a:lnTo>
                    <a:pt x="254" y="54"/>
                  </a:lnTo>
                  <a:lnTo>
                    <a:pt x="254" y="58"/>
                  </a:lnTo>
                  <a:lnTo>
                    <a:pt x="254" y="58"/>
                  </a:lnTo>
                  <a:lnTo>
                    <a:pt x="254" y="63"/>
                  </a:lnTo>
                  <a:lnTo>
                    <a:pt x="256" y="66"/>
                  </a:lnTo>
                  <a:lnTo>
                    <a:pt x="260" y="68"/>
                  </a:lnTo>
                  <a:lnTo>
                    <a:pt x="260" y="66"/>
                  </a:lnTo>
                  <a:lnTo>
                    <a:pt x="260" y="64"/>
                  </a:lnTo>
                  <a:lnTo>
                    <a:pt x="260" y="64"/>
                  </a:lnTo>
                  <a:lnTo>
                    <a:pt x="260" y="61"/>
                  </a:lnTo>
                  <a:lnTo>
                    <a:pt x="260" y="61"/>
                  </a:lnTo>
                  <a:lnTo>
                    <a:pt x="265" y="63"/>
                  </a:lnTo>
                  <a:lnTo>
                    <a:pt x="277" y="77"/>
                  </a:lnTo>
                  <a:lnTo>
                    <a:pt x="277" y="77"/>
                  </a:lnTo>
                  <a:lnTo>
                    <a:pt x="284" y="82"/>
                  </a:lnTo>
                  <a:lnTo>
                    <a:pt x="287" y="84"/>
                  </a:lnTo>
                  <a:lnTo>
                    <a:pt x="289" y="84"/>
                  </a:lnTo>
                  <a:lnTo>
                    <a:pt x="293" y="89"/>
                  </a:lnTo>
                  <a:lnTo>
                    <a:pt x="293" y="89"/>
                  </a:lnTo>
                  <a:lnTo>
                    <a:pt x="294" y="91"/>
                  </a:lnTo>
                  <a:lnTo>
                    <a:pt x="296" y="91"/>
                  </a:lnTo>
                  <a:lnTo>
                    <a:pt x="300" y="89"/>
                  </a:lnTo>
                  <a:lnTo>
                    <a:pt x="303" y="89"/>
                  </a:lnTo>
                  <a:lnTo>
                    <a:pt x="305" y="89"/>
                  </a:lnTo>
                  <a:lnTo>
                    <a:pt x="308" y="91"/>
                  </a:lnTo>
                  <a:lnTo>
                    <a:pt x="308" y="91"/>
                  </a:lnTo>
                  <a:lnTo>
                    <a:pt x="310" y="94"/>
                  </a:lnTo>
                  <a:lnTo>
                    <a:pt x="314" y="94"/>
                  </a:lnTo>
                  <a:lnTo>
                    <a:pt x="321" y="94"/>
                  </a:lnTo>
                  <a:lnTo>
                    <a:pt x="324" y="94"/>
                  </a:lnTo>
                  <a:lnTo>
                    <a:pt x="326" y="96"/>
                  </a:lnTo>
                  <a:lnTo>
                    <a:pt x="328" y="99"/>
                  </a:lnTo>
                  <a:lnTo>
                    <a:pt x="328" y="99"/>
                  </a:lnTo>
                  <a:lnTo>
                    <a:pt x="326" y="103"/>
                  </a:lnTo>
                  <a:lnTo>
                    <a:pt x="326" y="105"/>
                  </a:lnTo>
                  <a:lnTo>
                    <a:pt x="322" y="108"/>
                  </a:lnTo>
                  <a:lnTo>
                    <a:pt x="322" y="108"/>
                  </a:lnTo>
                  <a:lnTo>
                    <a:pt x="322" y="110"/>
                  </a:lnTo>
                  <a:lnTo>
                    <a:pt x="335" y="111"/>
                  </a:lnTo>
                  <a:lnTo>
                    <a:pt x="335" y="111"/>
                  </a:lnTo>
                  <a:lnTo>
                    <a:pt x="348" y="113"/>
                  </a:lnTo>
                  <a:lnTo>
                    <a:pt x="355" y="117"/>
                  </a:lnTo>
                  <a:lnTo>
                    <a:pt x="361" y="120"/>
                  </a:lnTo>
                  <a:lnTo>
                    <a:pt x="364" y="125"/>
                  </a:lnTo>
                  <a:lnTo>
                    <a:pt x="364" y="125"/>
                  </a:lnTo>
                  <a:lnTo>
                    <a:pt x="368" y="129"/>
                  </a:lnTo>
                  <a:lnTo>
                    <a:pt x="371" y="131"/>
                  </a:lnTo>
                  <a:lnTo>
                    <a:pt x="378" y="131"/>
                  </a:lnTo>
                  <a:lnTo>
                    <a:pt x="382" y="132"/>
                  </a:lnTo>
                  <a:lnTo>
                    <a:pt x="380" y="134"/>
                  </a:lnTo>
                  <a:lnTo>
                    <a:pt x="378" y="138"/>
                  </a:lnTo>
                  <a:lnTo>
                    <a:pt x="378" y="138"/>
                  </a:lnTo>
                  <a:lnTo>
                    <a:pt x="375" y="141"/>
                  </a:lnTo>
                  <a:lnTo>
                    <a:pt x="369" y="141"/>
                  </a:lnTo>
                  <a:lnTo>
                    <a:pt x="362" y="141"/>
                  </a:lnTo>
                  <a:lnTo>
                    <a:pt x="355" y="143"/>
                  </a:lnTo>
                  <a:lnTo>
                    <a:pt x="348" y="146"/>
                  </a:lnTo>
                  <a:lnTo>
                    <a:pt x="348" y="146"/>
                  </a:lnTo>
                  <a:lnTo>
                    <a:pt x="340" y="150"/>
                  </a:lnTo>
                  <a:lnTo>
                    <a:pt x="335" y="150"/>
                  </a:lnTo>
                  <a:lnTo>
                    <a:pt x="331" y="150"/>
                  </a:lnTo>
                  <a:lnTo>
                    <a:pt x="328" y="148"/>
                  </a:lnTo>
                  <a:lnTo>
                    <a:pt x="321" y="146"/>
                  </a:lnTo>
                  <a:lnTo>
                    <a:pt x="314" y="145"/>
                  </a:lnTo>
                  <a:lnTo>
                    <a:pt x="301" y="145"/>
                  </a:lnTo>
                  <a:lnTo>
                    <a:pt x="284" y="146"/>
                  </a:lnTo>
                  <a:lnTo>
                    <a:pt x="284" y="146"/>
                  </a:lnTo>
                  <a:lnTo>
                    <a:pt x="258" y="148"/>
                  </a:lnTo>
                  <a:lnTo>
                    <a:pt x="253" y="148"/>
                  </a:lnTo>
                  <a:lnTo>
                    <a:pt x="251" y="146"/>
                  </a:lnTo>
                  <a:lnTo>
                    <a:pt x="253" y="143"/>
                  </a:lnTo>
                  <a:lnTo>
                    <a:pt x="258" y="139"/>
                  </a:lnTo>
                  <a:lnTo>
                    <a:pt x="270" y="131"/>
                  </a:lnTo>
                  <a:lnTo>
                    <a:pt x="270" y="131"/>
                  </a:lnTo>
                  <a:lnTo>
                    <a:pt x="274" y="127"/>
                  </a:lnTo>
                  <a:lnTo>
                    <a:pt x="275" y="124"/>
                  </a:lnTo>
                  <a:lnTo>
                    <a:pt x="275" y="120"/>
                  </a:lnTo>
                  <a:lnTo>
                    <a:pt x="274" y="117"/>
                  </a:lnTo>
                  <a:lnTo>
                    <a:pt x="270" y="115"/>
                  </a:lnTo>
                  <a:lnTo>
                    <a:pt x="263" y="113"/>
                  </a:lnTo>
                  <a:lnTo>
                    <a:pt x="249" y="111"/>
                  </a:lnTo>
                  <a:lnTo>
                    <a:pt x="249" y="111"/>
                  </a:lnTo>
                  <a:lnTo>
                    <a:pt x="242" y="111"/>
                  </a:lnTo>
                  <a:lnTo>
                    <a:pt x="237" y="110"/>
                  </a:lnTo>
                  <a:lnTo>
                    <a:pt x="234" y="106"/>
                  </a:lnTo>
                  <a:lnTo>
                    <a:pt x="230" y="103"/>
                  </a:lnTo>
                  <a:lnTo>
                    <a:pt x="225" y="94"/>
                  </a:lnTo>
                  <a:lnTo>
                    <a:pt x="221" y="82"/>
                  </a:lnTo>
                  <a:lnTo>
                    <a:pt x="221" y="82"/>
                  </a:lnTo>
                  <a:lnTo>
                    <a:pt x="220" y="78"/>
                  </a:lnTo>
                  <a:lnTo>
                    <a:pt x="216" y="75"/>
                  </a:lnTo>
                  <a:lnTo>
                    <a:pt x="213" y="75"/>
                  </a:lnTo>
                  <a:lnTo>
                    <a:pt x="209" y="75"/>
                  </a:lnTo>
                  <a:lnTo>
                    <a:pt x="199" y="75"/>
                  </a:lnTo>
                  <a:lnTo>
                    <a:pt x="193" y="73"/>
                  </a:lnTo>
                  <a:lnTo>
                    <a:pt x="185" y="71"/>
                  </a:lnTo>
                  <a:lnTo>
                    <a:pt x="185" y="71"/>
                  </a:lnTo>
                  <a:lnTo>
                    <a:pt x="178" y="68"/>
                  </a:lnTo>
                  <a:lnTo>
                    <a:pt x="173" y="64"/>
                  </a:lnTo>
                  <a:lnTo>
                    <a:pt x="164" y="59"/>
                  </a:lnTo>
                  <a:lnTo>
                    <a:pt x="160" y="56"/>
                  </a:lnTo>
                  <a:lnTo>
                    <a:pt x="157" y="54"/>
                  </a:lnTo>
                  <a:lnTo>
                    <a:pt x="150" y="52"/>
                  </a:lnTo>
                  <a:lnTo>
                    <a:pt x="141" y="52"/>
                  </a:lnTo>
                  <a:lnTo>
                    <a:pt x="141" y="52"/>
                  </a:lnTo>
                  <a:lnTo>
                    <a:pt x="126" y="52"/>
                  </a:lnTo>
                  <a:lnTo>
                    <a:pt x="115" y="51"/>
                  </a:lnTo>
                  <a:lnTo>
                    <a:pt x="110" y="47"/>
                  </a:lnTo>
                  <a:lnTo>
                    <a:pt x="101" y="42"/>
                  </a:lnTo>
                  <a:lnTo>
                    <a:pt x="101" y="42"/>
                  </a:lnTo>
                  <a:lnTo>
                    <a:pt x="99" y="40"/>
                  </a:lnTo>
                  <a:lnTo>
                    <a:pt x="99" y="38"/>
                  </a:lnTo>
                  <a:lnTo>
                    <a:pt x="106" y="35"/>
                  </a:lnTo>
                  <a:lnTo>
                    <a:pt x="113" y="31"/>
                  </a:lnTo>
                  <a:lnTo>
                    <a:pt x="115" y="31"/>
                  </a:lnTo>
                  <a:lnTo>
                    <a:pt x="113" y="30"/>
                  </a:lnTo>
                  <a:lnTo>
                    <a:pt x="113" y="30"/>
                  </a:lnTo>
                  <a:lnTo>
                    <a:pt x="106" y="26"/>
                  </a:lnTo>
                  <a:lnTo>
                    <a:pt x="92" y="24"/>
                  </a:lnTo>
                  <a:lnTo>
                    <a:pt x="86" y="26"/>
                  </a:lnTo>
                  <a:lnTo>
                    <a:pt x="79" y="28"/>
                  </a:lnTo>
                  <a:lnTo>
                    <a:pt x="72" y="31"/>
                  </a:lnTo>
                  <a:lnTo>
                    <a:pt x="65" y="35"/>
                  </a:lnTo>
                  <a:lnTo>
                    <a:pt x="65" y="35"/>
                  </a:lnTo>
                  <a:lnTo>
                    <a:pt x="59" y="40"/>
                  </a:lnTo>
                  <a:lnTo>
                    <a:pt x="54" y="44"/>
                  </a:lnTo>
                  <a:lnTo>
                    <a:pt x="44" y="47"/>
                  </a:lnTo>
                  <a:lnTo>
                    <a:pt x="37" y="52"/>
                  </a:lnTo>
                  <a:lnTo>
                    <a:pt x="33" y="56"/>
                  </a:lnTo>
                  <a:lnTo>
                    <a:pt x="33" y="59"/>
                  </a:lnTo>
                  <a:lnTo>
                    <a:pt x="33" y="5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 name="Freeform 1699">
              <a:extLst>
                <a:ext uri="{FF2B5EF4-FFF2-40B4-BE49-F238E27FC236}">
                  <a16:creationId xmlns:a16="http://schemas.microsoft.com/office/drawing/2014/main" id="{8690D17A-E4E2-4497-BCB3-47371CDCDBFE}"/>
                </a:ext>
              </a:extLst>
            </p:cNvPr>
            <p:cNvSpPr>
              <a:spLocks/>
            </p:cNvSpPr>
            <p:nvPr/>
          </p:nvSpPr>
          <p:spPr bwMode="auto">
            <a:xfrm>
              <a:off x="2819777" y="4373391"/>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lnTo>
                    <a:pt x="3" y="13"/>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 name="Freeform 1700">
              <a:extLst>
                <a:ext uri="{FF2B5EF4-FFF2-40B4-BE49-F238E27FC236}">
                  <a16:creationId xmlns:a16="http://schemas.microsoft.com/office/drawing/2014/main" id="{73D9F1D7-895F-4402-A526-43D857298183}"/>
                </a:ext>
              </a:extLst>
            </p:cNvPr>
            <p:cNvSpPr>
              <a:spLocks/>
            </p:cNvSpPr>
            <p:nvPr/>
          </p:nvSpPr>
          <p:spPr bwMode="auto">
            <a:xfrm>
              <a:off x="3114553" y="5230680"/>
              <a:ext cx="560317" cy="1166447"/>
            </a:xfrm>
            <a:custGeom>
              <a:avLst/>
              <a:gdLst/>
              <a:ahLst/>
              <a:cxnLst>
                <a:cxn ang="0">
                  <a:pos x="542" y="432"/>
                </a:cxn>
                <a:cxn ang="0">
                  <a:pos x="538" y="507"/>
                </a:cxn>
                <a:cxn ang="0">
                  <a:pos x="530" y="566"/>
                </a:cxn>
                <a:cxn ang="0">
                  <a:pos x="568" y="629"/>
                </a:cxn>
                <a:cxn ang="0">
                  <a:pos x="592" y="667"/>
                </a:cxn>
                <a:cxn ang="0">
                  <a:pos x="557" y="749"/>
                </a:cxn>
                <a:cxn ang="0">
                  <a:pos x="402" y="780"/>
                </a:cxn>
                <a:cxn ang="0">
                  <a:pos x="404" y="822"/>
                </a:cxn>
                <a:cxn ang="0">
                  <a:pos x="397" y="873"/>
                </a:cxn>
                <a:cxn ang="0">
                  <a:pos x="312" y="873"/>
                </a:cxn>
                <a:cxn ang="0">
                  <a:pos x="298" y="928"/>
                </a:cxn>
                <a:cxn ang="0">
                  <a:pos x="352" y="958"/>
                </a:cxn>
                <a:cxn ang="0">
                  <a:pos x="317" y="960"/>
                </a:cxn>
                <a:cxn ang="0">
                  <a:pos x="319" y="981"/>
                </a:cxn>
                <a:cxn ang="0">
                  <a:pos x="291" y="1045"/>
                </a:cxn>
                <a:cxn ang="0">
                  <a:pos x="253" y="1080"/>
                </a:cxn>
                <a:cxn ang="0">
                  <a:pos x="207" y="1130"/>
                </a:cxn>
                <a:cxn ang="0">
                  <a:pos x="274" y="1190"/>
                </a:cxn>
                <a:cxn ang="0">
                  <a:pos x="260" y="1235"/>
                </a:cxn>
                <a:cxn ang="0">
                  <a:pos x="207" y="1308"/>
                </a:cxn>
                <a:cxn ang="0">
                  <a:pos x="155" y="1383"/>
                </a:cxn>
                <a:cxn ang="0">
                  <a:pos x="157" y="1442"/>
                </a:cxn>
                <a:cxn ang="0">
                  <a:pos x="51" y="1421"/>
                </a:cxn>
                <a:cxn ang="0">
                  <a:pos x="32" y="1360"/>
                </a:cxn>
                <a:cxn ang="0">
                  <a:pos x="0" y="1334"/>
                </a:cxn>
                <a:cxn ang="0">
                  <a:pos x="18" y="1291"/>
                </a:cxn>
                <a:cxn ang="0">
                  <a:pos x="37" y="1217"/>
                </a:cxn>
                <a:cxn ang="0">
                  <a:pos x="56" y="1176"/>
                </a:cxn>
                <a:cxn ang="0">
                  <a:pos x="63" y="1130"/>
                </a:cxn>
                <a:cxn ang="0">
                  <a:pos x="77" y="1087"/>
                </a:cxn>
                <a:cxn ang="0">
                  <a:pos x="68" y="1066"/>
                </a:cxn>
                <a:cxn ang="0">
                  <a:pos x="59" y="1047"/>
                </a:cxn>
                <a:cxn ang="0">
                  <a:pos x="63" y="984"/>
                </a:cxn>
                <a:cxn ang="0">
                  <a:pos x="59" y="939"/>
                </a:cxn>
                <a:cxn ang="0">
                  <a:pos x="56" y="869"/>
                </a:cxn>
                <a:cxn ang="0">
                  <a:pos x="70" y="814"/>
                </a:cxn>
                <a:cxn ang="0">
                  <a:pos x="91" y="747"/>
                </a:cxn>
                <a:cxn ang="0">
                  <a:pos x="99" y="660"/>
                </a:cxn>
                <a:cxn ang="0">
                  <a:pos x="122" y="568"/>
                </a:cxn>
                <a:cxn ang="0">
                  <a:pos x="127" y="516"/>
                </a:cxn>
                <a:cxn ang="0">
                  <a:pos x="105" y="441"/>
                </a:cxn>
                <a:cxn ang="0">
                  <a:pos x="129" y="375"/>
                </a:cxn>
                <a:cxn ang="0">
                  <a:pos x="143" y="284"/>
                </a:cxn>
                <a:cxn ang="0">
                  <a:pos x="185" y="228"/>
                </a:cxn>
                <a:cxn ang="0">
                  <a:pos x="183" y="121"/>
                </a:cxn>
                <a:cxn ang="0">
                  <a:pos x="227" y="51"/>
                </a:cxn>
                <a:cxn ang="0">
                  <a:pos x="253" y="7"/>
                </a:cxn>
                <a:cxn ang="0">
                  <a:pos x="286" y="16"/>
                </a:cxn>
                <a:cxn ang="0">
                  <a:pos x="340" y="9"/>
                </a:cxn>
                <a:cxn ang="0">
                  <a:pos x="401" y="40"/>
                </a:cxn>
                <a:cxn ang="0">
                  <a:pos x="458" y="94"/>
                </a:cxn>
                <a:cxn ang="0">
                  <a:pos x="554" y="150"/>
                </a:cxn>
                <a:cxn ang="0">
                  <a:pos x="540" y="199"/>
                </a:cxn>
                <a:cxn ang="0">
                  <a:pos x="524" y="248"/>
                </a:cxn>
                <a:cxn ang="0">
                  <a:pos x="604" y="249"/>
                </a:cxn>
                <a:cxn ang="0">
                  <a:pos x="646" y="227"/>
                </a:cxn>
                <a:cxn ang="0">
                  <a:pos x="681" y="162"/>
                </a:cxn>
                <a:cxn ang="0">
                  <a:pos x="679" y="246"/>
                </a:cxn>
                <a:cxn ang="0">
                  <a:pos x="577" y="356"/>
                </a:cxn>
              </a:cxnLst>
              <a:rect l="0" t="0" r="r" b="b"/>
              <a:pathLst>
                <a:path w="698" h="1454">
                  <a:moveTo>
                    <a:pt x="559" y="373"/>
                  </a:moveTo>
                  <a:lnTo>
                    <a:pt x="559" y="373"/>
                  </a:lnTo>
                  <a:lnTo>
                    <a:pt x="554" y="382"/>
                  </a:lnTo>
                  <a:lnTo>
                    <a:pt x="552" y="387"/>
                  </a:lnTo>
                  <a:lnTo>
                    <a:pt x="552" y="394"/>
                  </a:lnTo>
                  <a:lnTo>
                    <a:pt x="552" y="399"/>
                  </a:lnTo>
                  <a:lnTo>
                    <a:pt x="552" y="408"/>
                  </a:lnTo>
                  <a:lnTo>
                    <a:pt x="550" y="415"/>
                  </a:lnTo>
                  <a:lnTo>
                    <a:pt x="547" y="420"/>
                  </a:lnTo>
                  <a:lnTo>
                    <a:pt x="547" y="420"/>
                  </a:lnTo>
                  <a:lnTo>
                    <a:pt x="543" y="427"/>
                  </a:lnTo>
                  <a:lnTo>
                    <a:pt x="542" y="432"/>
                  </a:lnTo>
                  <a:lnTo>
                    <a:pt x="543" y="437"/>
                  </a:lnTo>
                  <a:lnTo>
                    <a:pt x="543" y="443"/>
                  </a:lnTo>
                  <a:lnTo>
                    <a:pt x="543" y="446"/>
                  </a:lnTo>
                  <a:lnTo>
                    <a:pt x="542" y="450"/>
                  </a:lnTo>
                  <a:lnTo>
                    <a:pt x="542" y="450"/>
                  </a:lnTo>
                  <a:lnTo>
                    <a:pt x="540" y="455"/>
                  </a:lnTo>
                  <a:lnTo>
                    <a:pt x="540" y="464"/>
                  </a:lnTo>
                  <a:lnTo>
                    <a:pt x="542" y="481"/>
                  </a:lnTo>
                  <a:lnTo>
                    <a:pt x="543" y="490"/>
                  </a:lnTo>
                  <a:lnTo>
                    <a:pt x="543" y="498"/>
                  </a:lnTo>
                  <a:lnTo>
                    <a:pt x="542" y="504"/>
                  </a:lnTo>
                  <a:lnTo>
                    <a:pt x="538" y="507"/>
                  </a:lnTo>
                  <a:lnTo>
                    <a:pt x="538" y="507"/>
                  </a:lnTo>
                  <a:lnTo>
                    <a:pt x="535" y="511"/>
                  </a:lnTo>
                  <a:lnTo>
                    <a:pt x="531" y="516"/>
                  </a:lnTo>
                  <a:lnTo>
                    <a:pt x="528" y="521"/>
                  </a:lnTo>
                  <a:lnTo>
                    <a:pt x="528" y="528"/>
                  </a:lnTo>
                  <a:lnTo>
                    <a:pt x="528" y="535"/>
                  </a:lnTo>
                  <a:lnTo>
                    <a:pt x="528" y="542"/>
                  </a:lnTo>
                  <a:lnTo>
                    <a:pt x="531" y="549"/>
                  </a:lnTo>
                  <a:lnTo>
                    <a:pt x="536" y="556"/>
                  </a:lnTo>
                  <a:lnTo>
                    <a:pt x="536" y="556"/>
                  </a:lnTo>
                  <a:lnTo>
                    <a:pt x="530" y="563"/>
                  </a:lnTo>
                  <a:lnTo>
                    <a:pt x="530" y="566"/>
                  </a:lnTo>
                  <a:lnTo>
                    <a:pt x="530" y="570"/>
                  </a:lnTo>
                  <a:lnTo>
                    <a:pt x="531" y="575"/>
                  </a:lnTo>
                  <a:lnTo>
                    <a:pt x="536" y="580"/>
                  </a:lnTo>
                  <a:lnTo>
                    <a:pt x="552" y="589"/>
                  </a:lnTo>
                  <a:lnTo>
                    <a:pt x="559" y="594"/>
                  </a:lnTo>
                  <a:lnTo>
                    <a:pt x="566" y="599"/>
                  </a:lnTo>
                  <a:lnTo>
                    <a:pt x="566" y="599"/>
                  </a:lnTo>
                  <a:lnTo>
                    <a:pt x="571" y="610"/>
                  </a:lnTo>
                  <a:lnTo>
                    <a:pt x="575" y="617"/>
                  </a:lnTo>
                  <a:lnTo>
                    <a:pt x="573" y="622"/>
                  </a:lnTo>
                  <a:lnTo>
                    <a:pt x="571" y="625"/>
                  </a:lnTo>
                  <a:lnTo>
                    <a:pt x="568" y="629"/>
                  </a:lnTo>
                  <a:lnTo>
                    <a:pt x="566" y="632"/>
                  </a:lnTo>
                  <a:lnTo>
                    <a:pt x="566" y="638"/>
                  </a:lnTo>
                  <a:lnTo>
                    <a:pt x="570" y="645"/>
                  </a:lnTo>
                  <a:lnTo>
                    <a:pt x="570" y="645"/>
                  </a:lnTo>
                  <a:lnTo>
                    <a:pt x="573" y="652"/>
                  </a:lnTo>
                  <a:lnTo>
                    <a:pt x="578" y="655"/>
                  </a:lnTo>
                  <a:lnTo>
                    <a:pt x="582" y="657"/>
                  </a:lnTo>
                  <a:lnTo>
                    <a:pt x="585" y="657"/>
                  </a:lnTo>
                  <a:lnTo>
                    <a:pt x="589" y="657"/>
                  </a:lnTo>
                  <a:lnTo>
                    <a:pt x="590" y="657"/>
                  </a:lnTo>
                  <a:lnTo>
                    <a:pt x="590" y="660"/>
                  </a:lnTo>
                  <a:lnTo>
                    <a:pt x="592" y="667"/>
                  </a:lnTo>
                  <a:lnTo>
                    <a:pt x="592" y="667"/>
                  </a:lnTo>
                  <a:lnTo>
                    <a:pt x="590" y="683"/>
                  </a:lnTo>
                  <a:lnTo>
                    <a:pt x="589" y="697"/>
                  </a:lnTo>
                  <a:lnTo>
                    <a:pt x="583" y="709"/>
                  </a:lnTo>
                  <a:lnTo>
                    <a:pt x="573" y="719"/>
                  </a:lnTo>
                  <a:lnTo>
                    <a:pt x="573" y="719"/>
                  </a:lnTo>
                  <a:lnTo>
                    <a:pt x="570" y="725"/>
                  </a:lnTo>
                  <a:lnTo>
                    <a:pt x="566" y="730"/>
                  </a:lnTo>
                  <a:lnTo>
                    <a:pt x="564" y="737"/>
                  </a:lnTo>
                  <a:lnTo>
                    <a:pt x="564" y="740"/>
                  </a:lnTo>
                  <a:lnTo>
                    <a:pt x="561" y="744"/>
                  </a:lnTo>
                  <a:lnTo>
                    <a:pt x="557" y="749"/>
                  </a:lnTo>
                  <a:lnTo>
                    <a:pt x="550" y="754"/>
                  </a:lnTo>
                  <a:lnTo>
                    <a:pt x="550" y="754"/>
                  </a:lnTo>
                  <a:lnTo>
                    <a:pt x="542" y="760"/>
                  </a:lnTo>
                  <a:lnTo>
                    <a:pt x="530" y="765"/>
                  </a:lnTo>
                  <a:lnTo>
                    <a:pt x="503" y="773"/>
                  </a:lnTo>
                  <a:lnTo>
                    <a:pt x="474" y="780"/>
                  </a:lnTo>
                  <a:lnTo>
                    <a:pt x="446" y="784"/>
                  </a:lnTo>
                  <a:lnTo>
                    <a:pt x="446" y="784"/>
                  </a:lnTo>
                  <a:lnTo>
                    <a:pt x="418" y="787"/>
                  </a:lnTo>
                  <a:lnTo>
                    <a:pt x="411" y="786"/>
                  </a:lnTo>
                  <a:lnTo>
                    <a:pt x="402" y="780"/>
                  </a:lnTo>
                  <a:lnTo>
                    <a:pt x="402" y="780"/>
                  </a:lnTo>
                  <a:lnTo>
                    <a:pt x="397" y="779"/>
                  </a:lnTo>
                  <a:lnTo>
                    <a:pt x="394" y="779"/>
                  </a:lnTo>
                  <a:lnTo>
                    <a:pt x="390" y="780"/>
                  </a:lnTo>
                  <a:lnTo>
                    <a:pt x="390" y="784"/>
                  </a:lnTo>
                  <a:lnTo>
                    <a:pt x="394" y="793"/>
                  </a:lnTo>
                  <a:lnTo>
                    <a:pt x="395" y="796"/>
                  </a:lnTo>
                  <a:lnTo>
                    <a:pt x="399" y="798"/>
                  </a:lnTo>
                  <a:lnTo>
                    <a:pt x="399" y="798"/>
                  </a:lnTo>
                  <a:lnTo>
                    <a:pt x="402" y="801"/>
                  </a:lnTo>
                  <a:lnTo>
                    <a:pt x="404" y="805"/>
                  </a:lnTo>
                  <a:lnTo>
                    <a:pt x="406" y="814"/>
                  </a:lnTo>
                  <a:lnTo>
                    <a:pt x="404" y="822"/>
                  </a:lnTo>
                  <a:lnTo>
                    <a:pt x="399" y="831"/>
                  </a:lnTo>
                  <a:lnTo>
                    <a:pt x="399" y="831"/>
                  </a:lnTo>
                  <a:lnTo>
                    <a:pt x="392" y="840"/>
                  </a:lnTo>
                  <a:lnTo>
                    <a:pt x="390" y="847"/>
                  </a:lnTo>
                  <a:lnTo>
                    <a:pt x="390" y="852"/>
                  </a:lnTo>
                  <a:lnTo>
                    <a:pt x="392" y="855"/>
                  </a:lnTo>
                  <a:lnTo>
                    <a:pt x="394" y="857"/>
                  </a:lnTo>
                  <a:lnTo>
                    <a:pt x="394" y="857"/>
                  </a:lnTo>
                  <a:lnTo>
                    <a:pt x="399" y="862"/>
                  </a:lnTo>
                  <a:lnTo>
                    <a:pt x="401" y="866"/>
                  </a:lnTo>
                  <a:lnTo>
                    <a:pt x="399" y="869"/>
                  </a:lnTo>
                  <a:lnTo>
                    <a:pt x="397" y="873"/>
                  </a:lnTo>
                  <a:lnTo>
                    <a:pt x="392" y="876"/>
                  </a:lnTo>
                  <a:lnTo>
                    <a:pt x="380" y="883"/>
                  </a:lnTo>
                  <a:lnTo>
                    <a:pt x="380" y="883"/>
                  </a:lnTo>
                  <a:lnTo>
                    <a:pt x="368" y="888"/>
                  </a:lnTo>
                  <a:lnTo>
                    <a:pt x="364" y="890"/>
                  </a:lnTo>
                  <a:lnTo>
                    <a:pt x="359" y="890"/>
                  </a:lnTo>
                  <a:lnTo>
                    <a:pt x="352" y="888"/>
                  </a:lnTo>
                  <a:lnTo>
                    <a:pt x="352" y="888"/>
                  </a:lnTo>
                  <a:lnTo>
                    <a:pt x="345" y="888"/>
                  </a:lnTo>
                  <a:lnTo>
                    <a:pt x="338" y="887"/>
                  </a:lnTo>
                  <a:lnTo>
                    <a:pt x="324" y="880"/>
                  </a:lnTo>
                  <a:lnTo>
                    <a:pt x="312" y="873"/>
                  </a:lnTo>
                  <a:lnTo>
                    <a:pt x="305" y="873"/>
                  </a:lnTo>
                  <a:lnTo>
                    <a:pt x="298" y="874"/>
                  </a:lnTo>
                  <a:lnTo>
                    <a:pt x="298" y="874"/>
                  </a:lnTo>
                  <a:lnTo>
                    <a:pt x="293" y="876"/>
                  </a:lnTo>
                  <a:lnTo>
                    <a:pt x="291" y="880"/>
                  </a:lnTo>
                  <a:lnTo>
                    <a:pt x="293" y="885"/>
                  </a:lnTo>
                  <a:lnTo>
                    <a:pt x="294" y="890"/>
                  </a:lnTo>
                  <a:lnTo>
                    <a:pt x="300" y="904"/>
                  </a:lnTo>
                  <a:lnTo>
                    <a:pt x="300" y="911"/>
                  </a:lnTo>
                  <a:lnTo>
                    <a:pt x="300" y="920"/>
                  </a:lnTo>
                  <a:lnTo>
                    <a:pt x="300" y="920"/>
                  </a:lnTo>
                  <a:lnTo>
                    <a:pt x="298" y="928"/>
                  </a:lnTo>
                  <a:lnTo>
                    <a:pt x="300" y="934"/>
                  </a:lnTo>
                  <a:lnTo>
                    <a:pt x="301" y="939"/>
                  </a:lnTo>
                  <a:lnTo>
                    <a:pt x="307" y="941"/>
                  </a:lnTo>
                  <a:lnTo>
                    <a:pt x="312" y="941"/>
                  </a:lnTo>
                  <a:lnTo>
                    <a:pt x="319" y="941"/>
                  </a:lnTo>
                  <a:lnTo>
                    <a:pt x="340" y="935"/>
                  </a:lnTo>
                  <a:lnTo>
                    <a:pt x="340" y="935"/>
                  </a:lnTo>
                  <a:lnTo>
                    <a:pt x="343" y="934"/>
                  </a:lnTo>
                  <a:lnTo>
                    <a:pt x="347" y="935"/>
                  </a:lnTo>
                  <a:lnTo>
                    <a:pt x="350" y="942"/>
                  </a:lnTo>
                  <a:lnTo>
                    <a:pt x="352" y="951"/>
                  </a:lnTo>
                  <a:lnTo>
                    <a:pt x="352" y="958"/>
                  </a:lnTo>
                  <a:lnTo>
                    <a:pt x="352" y="958"/>
                  </a:lnTo>
                  <a:lnTo>
                    <a:pt x="348" y="965"/>
                  </a:lnTo>
                  <a:lnTo>
                    <a:pt x="345" y="970"/>
                  </a:lnTo>
                  <a:lnTo>
                    <a:pt x="341" y="974"/>
                  </a:lnTo>
                  <a:lnTo>
                    <a:pt x="338" y="975"/>
                  </a:lnTo>
                  <a:lnTo>
                    <a:pt x="334" y="975"/>
                  </a:lnTo>
                  <a:lnTo>
                    <a:pt x="331" y="974"/>
                  </a:lnTo>
                  <a:lnTo>
                    <a:pt x="329" y="970"/>
                  </a:lnTo>
                  <a:lnTo>
                    <a:pt x="326" y="967"/>
                  </a:lnTo>
                  <a:lnTo>
                    <a:pt x="326" y="967"/>
                  </a:lnTo>
                  <a:lnTo>
                    <a:pt x="322" y="961"/>
                  </a:lnTo>
                  <a:lnTo>
                    <a:pt x="317" y="960"/>
                  </a:lnTo>
                  <a:lnTo>
                    <a:pt x="312" y="958"/>
                  </a:lnTo>
                  <a:lnTo>
                    <a:pt x="307" y="960"/>
                  </a:lnTo>
                  <a:lnTo>
                    <a:pt x="303" y="961"/>
                  </a:lnTo>
                  <a:lnTo>
                    <a:pt x="301" y="965"/>
                  </a:lnTo>
                  <a:lnTo>
                    <a:pt x="301" y="967"/>
                  </a:lnTo>
                  <a:lnTo>
                    <a:pt x="307" y="972"/>
                  </a:lnTo>
                  <a:lnTo>
                    <a:pt x="307" y="972"/>
                  </a:lnTo>
                  <a:lnTo>
                    <a:pt x="315" y="975"/>
                  </a:lnTo>
                  <a:lnTo>
                    <a:pt x="322" y="977"/>
                  </a:lnTo>
                  <a:lnTo>
                    <a:pt x="324" y="979"/>
                  </a:lnTo>
                  <a:lnTo>
                    <a:pt x="324" y="979"/>
                  </a:lnTo>
                  <a:lnTo>
                    <a:pt x="319" y="981"/>
                  </a:lnTo>
                  <a:lnTo>
                    <a:pt x="319" y="981"/>
                  </a:lnTo>
                  <a:lnTo>
                    <a:pt x="310" y="986"/>
                  </a:lnTo>
                  <a:lnTo>
                    <a:pt x="303" y="991"/>
                  </a:lnTo>
                  <a:lnTo>
                    <a:pt x="298" y="996"/>
                  </a:lnTo>
                  <a:lnTo>
                    <a:pt x="293" y="1003"/>
                  </a:lnTo>
                  <a:lnTo>
                    <a:pt x="291" y="1009"/>
                  </a:lnTo>
                  <a:lnTo>
                    <a:pt x="289" y="1015"/>
                  </a:lnTo>
                  <a:lnTo>
                    <a:pt x="289" y="1021"/>
                  </a:lnTo>
                  <a:lnTo>
                    <a:pt x="289" y="1026"/>
                  </a:lnTo>
                  <a:lnTo>
                    <a:pt x="289" y="1026"/>
                  </a:lnTo>
                  <a:lnTo>
                    <a:pt x="293" y="1036"/>
                  </a:lnTo>
                  <a:lnTo>
                    <a:pt x="291" y="1045"/>
                  </a:lnTo>
                  <a:lnTo>
                    <a:pt x="289" y="1050"/>
                  </a:lnTo>
                  <a:lnTo>
                    <a:pt x="284" y="1056"/>
                  </a:lnTo>
                  <a:lnTo>
                    <a:pt x="277" y="1062"/>
                  </a:lnTo>
                  <a:lnTo>
                    <a:pt x="275" y="1066"/>
                  </a:lnTo>
                  <a:lnTo>
                    <a:pt x="279" y="1069"/>
                  </a:lnTo>
                  <a:lnTo>
                    <a:pt x="279" y="1069"/>
                  </a:lnTo>
                  <a:lnTo>
                    <a:pt x="281" y="1075"/>
                  </a:lnTo>
                  <a:lnTo>
                    <a:pt x="279" y="1076"/>
                  </a:lnTo>
                  <a:lnTo>
                    <a:pt x="275" y="1078"/>
                  </a:lnTo>
                  <a:lnTo>
                    <a:pt x="270" y="1078"/>
                  </a:lnTo>
                  <a:lnTo>
                    <a:pt x="258" y="1078"/>
                  </a:lnTo>
                  <a:lnTo>
                    <a:pt x="253" y="1080"/>
                  </a:lnTo>
                  <a:lnTo>
                    <a:pt x="249" y="1083"/>
                  </a:lnTo>
                  <a:lnTo>
                    <a:pt x="249" y="1083"/>
                  </a:lnTo>
                  <a:lnTo>
                    <a:pt x="247" y="1085"/>
                  </a:lnTo>
                  <a:lnTo>
                    <a:pt x="244" y="1087"/>
                  </a:lnTo>
                  <a:lnTo>
                    <a:pt x="239" y="1087"/>
                  </a:lnTo>
                  <a:lnTo>
                    <a:pt x="235" y="1087"/>
                  </a:lnTo>
                  <a:lnTo>
                    <a:pt x="230" y="1090"/>
                  </a:lnTo>
                  <a:lnTo>
                    <a:pt x="227" y="1096"/>
                  </a:lnTo>
                  <a:lnTo>
                    <a:pt x="220" y="1106"/>
                  </a:lnTo>
                  <a:lnTo>
                    <a:pt x="220" y="1106"/>
                  </a:lnTo>
                  <a:lnTo>
                    <a:pt x="211" y="1123"/>
                  </a:lnTo>
                  <a:lnTo>
                    <a:pt x="207" y="1130"/>
                  </a:lnTo>
                  <a:lnTo>
                    <a:pt x="207" y="1136"/>
                  </a:lnTo>
                  <a:lnTo>
                    <a:pt x="207" y="1141"/>
                  </a:lnTo>
                  <a:lnTo>
                    <a:pt x="211" y="1148"/>
                  </a:lnTo>
                  <a:lnTo>
                    <a:pt x="225" y="1163"/>
                  </a:lnTo>
                  <a:lnTo>
                    <a:pt x="225" y="1163"/>
                  </a:lnTo>
                  <a:lnTo>
                    <a:pt x="234" y="1174"/>
                  </a:lnTo>
                  <a:lnTo>
                    <a:pt x="242" y="1177"/>
                  </a:lnTo>
                  <a:lnTo>
                    <a:pt x="251" y="1181"/>
                  </a:lnTo>
                  <a:lnTo>
                    <a:pt x="258" y="1181"/>
                  </a:lnTo>
                  <a:lnTo>
                    <a:pt x="268" y="1183"/>
                  </a:lnTo>
                  <a:lnTo>
                    <a:pt x="272" y="1184"/>
                  </a:lnTo>
                  <a:lnTo>
                    <a:pt x="274" y="1190"/>
                  </a:lnTo>
                  <a:lnTo>
                    <a:pt x="274" y="1190"/>
                  </a:lnTo>
                  <a:lnTo>
                    <a:pt x="274" y="1197"/>
                  </a:lnTo>
                  <a:lnTo>
                    <a:pt x="274" y="1202"/>
                  </a:lnTo>
                  <a:lnTo>
                    <a:pt x="272" y="1209"/>
                  </a:lnTo>
                  <a:lnTo>
                    <a:pt x="270" y="1212"/>
                  </a:lnTo>
                  <a:lnTo>
                    <a:pt x="270" y="1216"/>
                  </a:lnTo>
                  <a:lnTo>
                    <a:pt x="270" y="1219"/>
                  </a:lnTo>
                  <a:lnTo>
                    <a:pt x="270" y="1219"/>
                  </a:lnTo>
                  <a:lnTo>
                    <a:pt x="272" y="1223"/>
                  </a:lnTo>
                  <a:lnTo>
                    <a:pt x="270" y="1226"/>
                  </a:lnTo>
                  <a:lnTo>
                    <a:pt x="267" y="1230"/>
                  </a:lnTo>
                  <a:lnTo>
                    <a:pt x="260" y="1235"/>
                  </a:lnTo>
                  <a:lnTo>
                    <a:pt x="258" y="1238"/>
                  </a:lnTo>
                  <a:lnTo>
                    <a:pt x="256" y="1242"/>
                  </a:lnTo>
                  <a:lnTo>
                    <a:pt x="256" y="1242"/>
                  </a:lnTo>
                  <a:lnTo>
                    <a:pt x="253" y="1245"/>
                  </a:lnTo>
                  <a:lnTo>
                    <a:pt x="247" y="1249"/>
                  </a:lnTo>
                  <a:lnTo>
                    <a:pt x="234" y="1256"/>
                  </a:lnTo>
                  <a:lnTo>
                    <a:pt x="227" y="1261"/>
                  </a:lnTo>
                  <a:lnTo>
                    <a:pt x="220" y="1268"/>
                  </a:lnTo>
                  <a:lnTo>
                    <a:pt x="214" y="1277"/>
                  </a:lnTo>
                  <a:lnTo>
                    <a:pt x="211" y="1287"/>
                  </a:lnTo>
                  <a:lnTo>
                    <a:pt x="211" y="1287"/>
                  </a:lnTo>
                  <a:lnTo>
                    <a:pt x="207" y="1308"/>
                  </a:lnTo>
                  <a:lnTo>
                    <a:pt x="204" y="1322"/>
                  </a:lnTo>
                  <a:lnTo>
                    <a:pt x="200" y="1327"/>
                  </a:lnTo>
                  <a:lnTo>
                    <a:pt x="195" y="1332"/>
                  </a:lnTo>
                  <a:lnTo>
                    <a:pt x="188" y="1336"/>
                  </a:lnTo>
                  <a:lnTo>
                    <a:pt x="180" y="1339"/>
                  </a:lnTo>
                  <a:lnTo>
                    <a:pt x="180" y="1339"/>
                  </a:lnTo>
                  <a:lnTo>
                    <a:pt x="169" y="1345"/>
                  </a:lnTo>
                  <a:lnTo>
                    <a:pt x="162" y="1350"/>
                  </a:lnTo>
                  <a:lnTo>
                    <a:pt x="159" y="1357"/>
                  </a:lnTo>
                  <a:lnTo>
                    <a:pt x="155" y="1365"/>
                  </a:lnTo>
                  <a:lnTo>
                    <a:pt x="155" y="1374"/>
                  </a:lnTo>
                  <a:lnTo>
                    <a:pt x="155" y="1383"/>
                  </a:lnTo>
                  <a:lnTo>
                    <a:pt x="157" y="1397"/>
                  </a:lnTo>
                  <a:lnTo>
                    <a:pt x="157" y="1397"/>
                  </a:lnTo>
                  <a:lnTo>
                    <a:pt x="160" y="1409"/>
                  </a:lnTo>
                  <a:lnTo>
                    <a:pt x="164" y="1419"/>
                  </a:lnTo>
                  <a:lnTo>
                    <a:pt x="173" y="1437"/>
                  </a:lnTo>
                  <a:lnTo>
                    <a:pt x="180" y="1449"/>
                  </a:lnTo>
                  <a:lnTo>
                    <a:pt x="181" y="1452"/>
                  </a:lnTo>
                  <a:lnTo>
                    <a:pt x="180" y="1454"/>
                  </a:lnTo>
                  <a:lnTo>
                    <a:pt x="180" y="1454"/>
                  </a:lnTo>
                  <a:lnTo>
                    <a:pt x="176" y="1449"/>
                  </a:lnTo>
                  <a:lnTo>
                    <a:pt x="171" y="1446"/>
                  </a:lnTo>
                  <a:lnTo>
                    <a:pt x="157" y="1442"/>
                  </a:lnTo>
                  <a:lnTo>
                    <a:pt x="139" y="1439"/>
                  </a:lnTo>
                  <a:lnTo>
                    <a:pt x="131" y="1437"/>
                  </a:lnTo>
                  <a:lnTo>
                    <a:pt x="124" y="1435"/>
                  </a:lnTo>
                  <a:lnTo>
                    <a:pt x="124" y="1435"/>
                  </a:lnTo>
                  <a:lnTo>
                    <a:pt x="65" y="1435"/>
                  </a:lnTo>
                  <a:lnTo>
                    <a:pt x="65" y="1435"/>
                  </a:lnTo>
                  <a:lnTo>
                    <a:pt x="59" y="1433"/>
                  </a:lnTo>
                  <a:lnTo>
                    <a:pt x="56" y="1433"/>
                  </a:lnTo>
                  <a:lnTo>
                    <a:pt x="56" y="1432"/>
                  </a:lnTo>
                  <a:lnTo>
                    <a:pt x="54" y="1428"/>
                  </a:lnTo>
                  <a:lnTo>
                    <a:pt x="52" y="1423"/>
                  </a:lnTo>
                  <a:lnTo>
                    <a:pt x="51" y="1421"/>
                  </a:lnTo>
                  <a:lnTo>
                    <a:pt x="47" y="1418"/>
                  </a:lnTo>
                  <a:lnTo>
                    <a:pt x="47" y="1418"/>
                  </a:lnTo>
                  <a:lnTo>
                    <a:pt x="45" y="1418"/>
                  </a:lnTo>
                  <a:lnTo>
                    <a:pt x="44" y="1414"/>
                  </a:lnTo>
                  <a:lnTo>
                    <a:pt x="42" y="1407"/>
                  </a:lnTo>
                  <a:lnTo>
                    <a:pt x="42" y="1386"/>
                  </a:lnTo>
                  <a:lnTo>
                    <a:pt x="42" y="1369"/>
                  </a:lnTo>
                  <a:lnTo>
                    <a:pt x="40" y="1362"/>
                  </a:lnTo>
                  <a:lnTo>
                    <a:pt x="38" y="1360"/>
                  </a:lnTo>
                  <a:lnTo>
                    <a:pt x="37" y="1360"/>
                  </a:lnTo>
                  <a:lnTo>
                    <a:pt x="37" y="1360"/>
                  </a:lnTo>
                  <a:lnTo>
                    <a:pt x="32" y="1360"/>
                  </a:lnTo>
                  <a:lnTo>
                    <a:pt x="26" y="1362"/>
                  </a:lnTo>
                  <a:lnTo>
                    <a:pt x="19" y="1367"/>
                  </a:lnTo>
                  <a:lnTo>
                    <a:pt x="16" y="1369"/>
                  </a:lnTo>
                  <a:lnTo>
                    <a:pt x="14" y="1367"/>
                  </a:lnTo>
                  <a:lnTo>
                    <a:pt x="12" y="1364"/>
                  </a:lnTo>
                  <a:lnTo>
                    <a:pt x="11" y="1357"/>
                  </a:lnTo>
                  <a:lnTo>
                    <a:pt x="11" y="1357"/>
                  </a:lnTo>
                  <a:lnTo>
                    <a:pt x="9" y="1350"/>
                  </a:lnTo>
                  <a:lnTo>
                    <a:pt x="7" y="1345"/>
                  </a:lnTo>
                  <a:lnTo>
                    <a:pt x="4" y="1339"/>
                  </a:lnTo>
                  <a:lnTo>
                    <a:pt x="2" y="1338"/>
                  </a:lnTo>
                  <a:lnTo>
                    <a:pt x="0" y="1334"/>
                  </a:lnTo>
                  <a:lnTo>
                    <a:pt x="2" y="1322"/>
                  </a:lnTo>
                  <a:lnTo>
                    <a:pt x="2" y="1322"/>
                  </a:lnTo>
                  <a:lnTo>
                    <a:pt x="2" y="1318"/>
                  </a:lnTo>
                  <a:lnTo>
                    <a:pt x="2" y="1313"/>
                  </a:lnTo>
                  <a:lnTo>
                    <a:pt x="0" y="1303"/>
                  </a:lnTo>
                  <a:lnTo>
                    <a:pt x="0" y="1298"/>
                  </a:lnTo>
                  <a:lnTo>
                    <a:pt x="2" y="1296"/>
                  </a:lnTo>
                  <a:lnTo>
                    <a:pt x="4" y="1294"/>
                  </a:lnTo>
                  <a:lnTo>
                    <a:pt x="11" y="1294"/>
                  </a:lnTo>
                  <a:lnTo>
                    <a:pt x="11" y="1294"/>
                  </a:lnTo>
                  <a:lnTo>
                    <a:pt x="14" y="1294"/>
                  </a:lnTo>
                  <a:lnTo>
                    <a:pt x="18" y="1291"/>
                  </a:lnTo>
                  <a:lnTo>
                    <a:pt x="25" y="1277"/>
                  </a:lnTo>
                  <a:lnTo>
                    <a:pt x="32" y="1259"/>
                  </a:lnTo>
                  <a:lnTo>
                    <a:pt x="37" y="1252"/>
                  </a:lnTo>
                  <a:lnTo>
                    <a:pt x="42" y="1249"/>
                  </a:lnTo>
                  <a:lnTo>
                    <a:pt x="42" y="1249"/>
                  </a:lnTo>
                  <a:lnTo>
                    <a:pt x="44" y="1244"/>
                  </a:lnTo>
                  <a:lnTo>
                    <a:pt x="45" y="1240"/>
                  </a:lnTo>
                  <a:lnTo>
                    <a:pt x="44" y="1237"/>
                  </a:lnTo>
                  <a:lnTo>
                    <a:pt x="42" y="1233"/>
                  </a:lnTo>
                  <a:lnTo>
                    <a:pt x="37" y="1224"/>
                  </a:lnTo>
                  <a:lnTo>
                    <a:pt x="35" y="1221"/>
                  </a:lnTo>
                  <a:lnTo>
                    <a:pt x="37" y="1217"/>
                  </a:lnTo>
                  <a:lnTo>
                    <a:pt x="37" y="1217"/>
                  </a:lnTo>
                  <a:lnTo>
                    <a:pt x="40" y="1214"/>
                  </a:lnTo>
                  <a:lnTo>
                    <a:pt x="40" y="1212"/>
                  </a:lnTo>
                  <a:lnTo>
                    <a:pt x="40" y="1207"/>
                  </a:lnTo>
                  <a:lnTo>
                    <a:pt x="44" y="1200"/>
                  </a:lnTo>
                  <a:lnTo>
                    <a:pt x="52" y="1191"/>
                  </a:lnTo>
                  <a:lnTo>
                    <a:pt x="52" y="1191"/>
                  </a:lnTo>
                  <a:lnTo>
                    <a:pt x="58" y="1186"/>
                  </a:lnTo>
                  <a:lnTo>
                    <a:pt x="59" y="1183"/>
                  </a:lnTo>
                  <a:lnTo>
                    <a:pt x="59" y="1181"/>
                  </a:lnTo>
                  <a:lnTo>
                    <a:pt x="58" y="1177"/>
                  </a:lnTo>
                  <a:lnTo>
                    <a:pt x="56" y="1176"/>
                  </a:lnTo>
                  <a:lnTo>
                    <a:pt x="56" y="1172"/>
                  </a:lnTo>
                  <a:lnTo>
                    <a:pt x="58" y="1169"/>
                  </a:lnTo>
                  <a:lnTo>
                    <a:pt x="63" y="1163"/>
                  </a:lnTo>
                  <a:lnTo>
                    <a:pt x="63" y="1163"/>
                  </a:lnTo>
                  <a:lnTo>
                    <a:pt x="66" y="1160"/>
                  </a:lnTo>
                  <a:lnTo>
                    <a:pt x="66" y="1155"/>
                  </a:lnTo>
                  <a:lnTo>
                    <a:pt x="66" y="1150"/>
                  </a:lnTo>
                  <a:lnTo>
                    <a:pt x="65" y="1146"/>
                  </a:lnTo>
                  <a:lnTo>
                    <a:pt x="61" y="1137"/>
                  </a:lnTo>
                  <a:lnTo>
                    <a:pt x="61" y="1134"/>
                  </a:lnTo>
                  <a:lnTo>
                    <a:pt x="63" y="1130"/>
                  </a:lnTo>
                  <a:lnTo>
                    <a:pt x="63" y="1130"/>
                  </a:lnTo>
                  <a:lnTo>
                    <a:pt x="66" y="1127"/>
                  </a:lnTo>
                  <a:lnTo>
                    <a:pt x="66" y="1123"/>
                  </a:lnTo>
                  <a:lnTo>
                    <a:pt x="63" y="1116"/>
                  </a:lnTo>
                  <a:lnTo>
                    <a:pt x="61" y="1113"/>
                  </a:lnTo>
                  <a:lnTo>
                    <a:pt x="61" y="1109"/>
                  </a:lnTo>
                  <a:lnTo>
                    <a:pt x="63" y="1106"/>
                  </a:lnTo>
                  <a:lnTo>
                    <a:pt x="66" y="1103"/>
                  </a:lnTo>
                  <a:lnTo>
                    <a:pt x="66" y="1103"/>
                  </a:lnTo>
                  <a:lnTo>
                    <a:pt x="72" y="1099"/>
                  </a:lnTo>
                  <a:lnTo>
                    <a:pt x="75" y="1096"/>
                  </a:lnTo>
                  <a:lnTo>
                    <a:pt x="77" y="1090"/>
                  </a:lnTo>
                  <a:lnTo>
                    <a:pt x="77" y="1087"/>
                  </a:lnTo>
                  <a:lnTo>
                    <a:pt x="75" y="1082"/>
                  </a:lnTo>
                  <a:lnTo>
                    <a:pt x="72" y="1078"/>
                  </a:lnTo>
                  <a:lnTo>
                    <a:pt x="68" y="1076"/>
                  </a:lnTo>
                  <a:lnTo>
                    <a:pt x="63" y="1075"/>
                  </a:lnTo>
                  <a:lnTo>
                    <a:pt x="63" y="1075"/>
                  </a:lnTo>
                  <a:lnTo>
                    <a:pt x="58" y="1073"/>
                  </a:lnTo>
                  <a:lnTo>
                    <a:pt x="54" y="1071"/>
                  </a:lnTo>
                  <a:lnTo>
                    <a:pt x="52" y="1069"/>
                  </a:lnTo>
                  <a:lnTo>
                    <a:pt x="52" y="1068"/>
                  </a:lnTo>
                  <a:lnTo>
                    <a:pt x="54" y="1066"/>
                  </a:lnTo>
                  <a:lnTo>
                    <a:pt x="58" y="1064"/>
                  </a:lnTo>
                  <a:lnTo>
                    <a:pt x="68" y="1066"/>
                  </a:lnTo>
                  <a:lnTo>
                    <a:pt x="68" y="1066"/>
                  </a:lnTo>
                  <a:lnTo>
                    <a:pt x="75" y="1066"/>
                  </a:lnTo>
                  <a:lnTo>
                    <a:pt x="80" y="1064"/>
                  </a:lnTo>
                  <a:lnTo>
                    <a:pt x="84" y="1061"/>
                  </a:lnTo>
                  <a:lnTo>
                    <a:pt x="86" y="1056"/>
                  </a:lnTo>
                  <a:lnTo>
                    <a:pt x="86" y="1052"/>
                  </a:lnTo>
                  <a:lnTo>
                    <a:pt x="82" y="1049"/>
                  </a:lnTo>
                  <a:lnTo>
                    <a:pt x="77" y="1047"/>
                  </a:lnTo>
                  <a:lnTo>
                    <a:pt x="68" y="1049"/>
                  </a:lnTo>
                  <a:lnTo>
                    <a:pt x="68" y="1049"/>
                  </a:lnTo>
                  <a:lnTo>
                    <a:pt x="63" y="1049"/>
                  </a:lnTo>
                  <a:lnTo>
                    <a:pt x="59" y="1047"/>
                  </a:lnTo>
                  <a:lnTo>
                    <a:pt x="59" y="1043"/>
                  </a:lnTo>
                  <a:lnTo>
                    <a:pt x="61" y="1038"/>
                  </a:lnTo>
                  <a:lnTo>
                    <a:pt x="66" y="1028"/>
                  </a:lnTo>
                  <a:lnTo>
                    <a:pt x="66" y="1022"/>
                  </a:lnTo>
                  <a:lnTo>
                    <a:pt x="65" y="1021"/>
                  </a:lnTo>
                  <a:lnTo>
                    <a:pt x="65" y="1021"/>
                  </a:lnTo>
                  <a:lnTo>
                    <a:pt x="61" y="1017"/>
                  </a:lnTo>
                  <a:lnTo>
                    <a:pt x="61" y="1014"/>
                  </a:lnTo>
                  <a:lnTo>
                    <a:pt x="61" y="1003"/>
                  </a:lnTo>
                  <a:lnTo>
                    <a:pt x="65" y="993"/>
                  </a:lnTo>
                  <a:lnTo>
                    <a:pt x="65" y="988"/>
                  </a:lnTo>
                  <a:lnTo>
                    <a:pt x="63" y="984"/>
                  </a:lnTo>
                  <a:lnTo>
                    <a:pt x="63" y="984"/>
                  </a:lnTo>
                  <a:lnTo>
                    <a:pt x="58" y="981"/>
                  </a:lnTo>
                  <a:lnTo>
                    <a:pt x="52" y="977"/>
                  </a:lnTo>
                  <a:lnTo>
                    <a:pt x="51" y="975"/>
                  </a:lnTo>
                  <a:lnTo>
                    <a:pt x="49" y="970"/>
                  </a:lnTo>
                  <a:lnTo>
                    <a:pt x="49" y="963"/>
                  </a:lnTo>
                  <a:lnTo>
                    <a:pt x="49" y="953"/>
                  </a:lnTo>
                  <a:lnTo>
                    <a:pt x="49" y="953"/>
                  </a:lnTo>
                  <a:lnTo>
                    <a:pt x="52" y="939"/>
                  </a:lnTo>
                  <a:lnTo>
                    <a:pt x="54" y="937"/>
                  </a:lnTo>
                  <a:lnTo>
                    <a:pt x="56" y="937"/>
                  </a:lnTo>
                  <a:lnTo>
                    <a:pt x="59" y="939"/>
                  </a:lnTo>
                  <a:lnTo>
                    <a:pt x="61" y="939"/>
                  </a:lnTo>
                  <a:lnTo>
                    <a:pt x="63" y="937"/>
                  </a:lnTo>
                  <a:lnTo>
                    <a:pt x="63" y="937"/>
                  </a:lnTo>
                  <a:lnTo>
                    <a:pt x="63" y="934"/>
                  </a:lnTo>
                  <a:lnTo>
                    <a:pt x="63" y="930"/>
                  </a:lnTo>
                  <a:lnTo>
                    <a:pt x="61" y="921"/>
                  </a:lnTo>
                  <a:lnTo>
                    <a:pt x="59" y="909"/>
                  </a:lnTo>
                  <a:lnTo>
                    <a:pt x="59" y="892"/>
                  </a:lnTo>
                  <a:lnTo>
                    <a:pt x="59" y="892"/>
                  </a:lnTo>
                  <a:lnTo>
                    <a:pt x="59" y="881"/>
                  </a:lnTo>
                  <a:lnTo>
                    <a:pt x="58" y="876"/>
                  </a:lnTo>
                  <a:lnTo>
                    <a:pt x="56" y="869"/>
                  </a:lnTo>
                  <a:lnTo>
                    <a:pt x="54" y="867"/>
                  </a:lnTo>
                  <a:lnTo>
                    <a:pt x="54" y="866"/>
                  </a:lnTo>
                  <a:lnTo>
                    <a:pt x="61" y="859"/>
                  </a:lnTo>
                  <a:lnTo>
                    <a:pt x="61" y="859"/>
                  </a:lnTo>
                  <a:lnTo>
                    <a:pt x="65" y="854"/>
                  </a:lnTo>
                  <a:lnTo>
                    <a:pt x="66" y="848"/>
                  </a:lnTo>
                  <a:lnTo>
                    <a:pt x="66" y="841"/>
                  </a:lnTo>
                  <a:lnTo>
                    <a:pt x="66" y="834"/>
                  </a:lnTo>
                  <a:lnTo>
                    <a:pt x="65" y="824"/>
                  </a:lnTo>
                  <a:lnTo>
                    <a:pt x="66" y="819"/>
                  </a:lnTo>
                  <a:lnTo>
                    <a:pt x="70" y="814"/>
                  </a:lnTo>
                  <a:lnTo>
                    <a:pt x="70" y="814"/>
                  </a:lnTo>
                  <a:lnTo>
                    <a:pt x="73" y="810"/>
                  </a:lnTo>
                  <a:lnTo>
                    <a:pt x="75" y="807"/>
                  </a:lnTo>
                  <a:lnTo>
                    <a:pt x="75" y="796"/>
                  </a:lnTo>
                  <a:lnTo>
                    <a:pt x="75" y="791"/>
                  </a:lnTo>
                  <a:lnTo>
                    <a:pt x="77" y="786"/>
                  </a:lnTo>
                  <a:lnTo>
                    <a:pt x="80" y="779"/>
                  </a:lnTo>
                  <a:lnTo>
                    <a:pt x="87" y="772"/>
                  </a:lnTo>
                  <a:lnTo>
                    <a:pt x="87" y="772"/>
                  </a:lnTo>
                  <a:lnTo>
                    <a:pt x="92" y="768"/>
                  </a:lnTo>
                  <a:lnTo>
                    <a:pt x="92" y="761"/>
                  </a:lnTo>
                  <a:lnTo>
                    <a:pt x="92" y="754"/>
                  </a:lnTo>
                  <a:lnTo>
                    <a:pt x="91" y="747"/>
                  </a:lnTo>
                  <a:lnTo>
                    <a:pt x="86" y="733"/>
                  </a:lnTo>
                  <a:lnTo>
                    <a:pt x="84" y="726"/>
                  </a:lnTo>
                  <a:lnTo>
                    <a:pt x="84" y="719"/>
                  </a:lnTo>
                  <a:lnTo>
                    <a:pt x="84" y="719"/>
                  </a:lnTo>
                  <a:lnTo>
                    <a:pt x="86" y="707"/>
                  </a:lnTo>
                  <a:lnTo>
                    <a:pt x="86" y="695"/>
                  </a:lnTo>
                  <a:lnTo>
                    <a:pt x="86" y="681"/>
                  </a:lnTo>
                  <a:lnTo>
                    <a:pt x="86" y="671"/>
                  </a:lnTo>
                  <a:lnTo>
                    <a:pt x="86" y="671"/>
                  </a:lnTo>
                  <a:lnTo>
                    <a:pt x="89" y="666"/>
                  </a:lnTo>
                  <a:lnTo>
                    <a:pt x="92" y="664"/>
                  </a:lnTo>
                  <a:lnTo>
                    <a:pt x="99" y="660"/>
                  </a:lnTo>
                  <a:lnTo>
                    <a:pt x="103" y="655"/>
                  </a:lnTo>
                  <a:lnTo>
                    <a:pt x="108" y="650"/>
                  </a:lnTo>
                  <a:lnTo>
                    <a:pt x="108" y="650"/>
                  </a:lnTo>
                  <a:lnTo>
                    <a:pt x="112" y="645"/>
                  </a:lnTo>
                  <a:lnTo>
                    <a:pt x="113" y="639"/>
                  </a:lnTo>
                  <a:lnTo>
                    <a:pt x="112" y="629"/>
                  </a:lnTo>
                  <a:lnTo>
                    <a:pt x="112" y="615"/>
                  </a:lnTo>
                  <a:lnTo>
                    <a:pt x="113" y="592"/>
                  </a:lnTo>
                  <a:lnTo>
                    <a:pt x="113" y="592"/>
                  </a:lnTo>
                  <a:lnTo>
                    <a:pt x="115" y="582"/>
                  </a:lnTo>
                  <a:lnTo>
                    <a:pt x="119" y="573"/>
                  </a:lnTo>
                  <a:lnTo>
                    <a:pt x="122" y="568"/>
                  </a:lnTo>
                  <a:lnTo>
                    <a:pt x="126" y="565"/>
                  </a:lnTo>
                  <a:lnTo>
                    <a:pt x="129" y="558"/>
                  </a:lnTo>
                  <a:lnTo>
                    <a:pt x="131" y="554"/>
                  </a:lnTo>
                  <a:lnTo>
                    <a:pt x="129" y="547"/>
                  </a:lnTo>
                  <a:lnTo>
                    <a:pt x="129" y="547"/>
                  </a:lnTo>
                  <a:lnTo>
                    <a:pt x="129" y="540"/>
                  </a:lnTo>
                  <a:lnTo>
                    <a:pt x="129" y="533"/>
                  </a:lnTo>
                  <a:lnTo>
                    <a:pt x="131" y="523"/>
                  </a:lnTo>
                  <a:lnTo>
                    <a:pt x="133" y="519"/>
                  </a:lnTo>
                  <a:lnTo>
                    <a:pt x="133" y="518"/>
                  </a:lnTo>
                  <a:lnTo>
                    <a:pt x="131" y="516"/>
                  </a:lnTo>
                  <a:lnTo>
                    <a:pt x="127" y="516"/>
                  </a:lnTo>
                  <a:lnTo>
                    <a:pt x="127" y="516"/>
                  </a:lnTo>
                  <a:lnTo>
                    <a:pt x="122" y="516"/>
                  </a:lnTo>
                  <a:lnTo>
                    <a:pt x="120" y="514"/>
                  </a:lnTo>
                  <a:lnTo>
                    <a:pt x="120" y="512"/>
                  </a:lnTo>
                  <a:lnTo>
                    <a:pt x="120" y="509"/>
                  </a:lnTo>
                  <a:lnTo>
                    <a:pt x="122" y="500"/>
                  </a:lnTo>
                  <a:lnTo>
                    <a:pt x="122" y="495"/>
                  </a:lnTo>
                  <a:lnTo>
                    <a:pt x="122" y="490"/>
                  </a:lnTo>
                  <a:lnTo>
                    <a:pt x="122" y="490"/>
                  </a:lnTo>
                  <a:lnTo>
                    <a:pt x="113" y="464"/>
                  </a:lnTo>
                  <a:lnTo>
                    <a:pt x="110" y="451"/>
                  </a:lnTo>
                  <a:lnTo>
                    <a:pt x="105" y="441"/>
                  </a:lnTo>
                  <a:lnTo>
                    <a:pt x="105" y="441"/>
                  </a:lnTo>
                  <a:lnTo>
                    <a:pt x="105" y="437"/>
                  </a:lnTo>
                  <a:lnTo>
                    <a:pt x="105" y="434"/>
                  </a:lnTo>
                  <a:lnTo>
                    <a:pt x="106" y="423"/>
                  </a:lnTo>
                  <a:lnTo>
                    <a:pt x="115" y="396"/>
                  </a:lnTo>
                  <a:lnTo>
                    <a:pt x="115" y="396"/>
                  </a:lnTo>
                  <a:lnTo>
                    <a:pt x="119" y="387"/>
                  </a:lnTo>
                  <a:lnTo>
                    <a:pt x="122" y="383"/>
                  </a:lnTo>
                  <a:lnTo>
                    <a:pt x="126" y="383"/>
                  </a:lnTo>
                  <a:lnTo>
                    <a:pt x="127" y="380"/>
                  </a:lnTo>
                  <a:lnTo>
                    <a:pt x="127" y="380"/>
                  </a:lnTo>
                  <a:lnTo>
                    <a:pt x="129" y="375"/>
                  </a:lnTo>
                  <a:lnTo>
                    <a:pt x="129" y="368"/>
                  </a:lnTo>
                  <a:lnTo>
                    <a:pt x="126" y="354"/>
                  </a:lnTo>
                  <a:lnTo>
                    <a:pt x="124" y="340"/>
                  </a:lnTo>
                  <a:lnTo>
                    <a:pt x="124" y="335"/>
                  </a:lnTo>
                  <a:lnTo>
                    <a:pt x="127" y="329"/>
                  </a:lnTo>
                  <a:lnTo>
                    <a:pt x="127" y="329"/>
                  </a:lnTo>
                  <a:lnTo>
                    <a:pt x="129" y="326"/>
                  </a:lnTo>
                  <a:lnTo>
                    <a:pt x="133" y="321"/>
                  </a:lnTo>
                  <a:lnTo>
                    <a:pt x="134" y="307"/>
                  </a:lnTo>
                  <a:lnTo>
                    <a:pt x="138" y="293"/>
                  </a:lnTo>
                  <a:lnTo>
                    <a:pt x="141" y="288"/>
                  </a:lnTo>
                  <a:lnTo>
                    <a:pt x="143" y="284"/>
                  </a:lnTo>
                  <a:lnTo>
                    <a:pt x="143" y="284"/>
                  </a:lnTo>
                  <a:lnTo>
                    <a:pt x="148" y="282"/>
                  </a:lnTo>
                  <a:lnTo>
                    <a:pt x="150" y="281"/>
                  </a:lnTo>
                  <a:lnTo>
                    <a:pt x="159" y="255"/>
                  </a:lnTo>
                  <a:lnTo>
                    <a:pt x="159" y="255"/>
                  </a:lnTo>
                  <a:lnTo>
                    <a:pt x="164" y="244"/>
                  </a:lnTo>
                  <a:lnTo>
                    <a:pt x="169" y="239"/>
                  </a:lnTo>
                  <a:lnTo>
                    <a:pt x="174" y="237"/>
                  </a:lnTo>
                  <a:lnTo>
                    <a:pt x="180" y="235"/>
                  </a:lnTo>
                  <a:lnTo>
                    <a:pt x="183" y="235"/>
                  </a:lnTo>
                  <a:lnTo>
                    <a:pt x="185" y="234"/>
                  </a:lnTo>
                  <a:lnTo>
                    <a:pt x="185" y="228"/>
                  </a:lnTo>
                  <a:lnTo>
                    <a:pt x="180" y="220"/>
                  </a:lnTo>
                  <a:lnTo>
                    <a:pt x="180" y="220"/>
                  </a:lnTo>
                  <a:lnTo>
                    <a:pt x="178" y="211"/>
                  </a:lnTo>
                  <a:lnTo>
                    <a:pt x="176" y="201"/>
                  </a:lnTo>
                  <a:lnTo>
                    <a:pt x="176" y="176"/>
                  </a:lnTo>
                  <a:lnTo>
                    <a:pt x="178" y="154"/>
                  </a:lnTo>
                  <a:lnTo>
                    <a:pt x="180" y="145"/>
                  </a:lnTo>
                  <a:lnTo>
                    <a:pt x="178" y="140"/>
                  </a:lnTo>
                  <a:lnTo>
                    <a:pt x="178" y="140"/>
                  </a:lnTo>
                  <a:lnTo>
                    <a:pt x="178" y="133"/>
                  </a:lnTo>
                  <a:lnTo>
                    <a:pt x="180" y="126"/>
                  </a:lnTo>
                  <a:lnTo>
                    <a:pt x="183" y="121"/>
                  </a:lnTo>
                  <a:lnTo>
                    <a:pt x="188" y="115"/>
                  </a:lnTo>
                  <a:lnTo>
                    <a:pt x="200" y="108"/>
                  </a:lnTo>
                  <a:lnTo>
                    <a:pt x="211" y="103"/>
                  </a:lnTo>
                  <a:lnTo>
                    <a:pt x="211" y="103"/>
                  </a:lnTo>
                  <a:lnTo>
                    <a:pt x="214" y="101"/>
                  </a:lnTo>
                  <a:lnTo>
                    <a:pt x="218" y="98"/>
                  </a:lnTo>
                  <a:lnTo>
                    <a:pt x="221" y="87"/>
                  </a:lnTo>
                  <a:lnTo>
                    <a:pt x="225" y="77"/>
                  </a:lnTo>
                  <a:lnTo>
                    <a:pt x="225" y="67"/>
                  </a:lnTo>
                  <a:lnTo>
                    <a:pt x="225" y="67"/>
                  </a:lnTo>
                  <a:lnTo>
                    <a:pt x="227" y="56"/>
                  </a:lnTo>
                  <a:lnTo>
                    <a:pt x="227" y="51"/>
                  </a:lnTo>
                  <a:lnTo>
                    <a:pt x="221" y="46"/>
                  </a:lnTo>
                  <a:lnTo>
                    <a:pt x="221" y="46"/>
                  </a:lnTo>
                  <a:lnTo>
                    <a:pt x="227" y="42"/>
                  </a:lnTo>
                  <a:lnTo>
                    <a:pt x="230" y="39"/>
                  </a:lnTo>
                  <a:lnTo>
                    <a:pt x="234" y="30"/>
                  </a:lnTo>
                  <a:lnTo>
                    <a:pt x="239" y="23"/>
                  </a:lnTo>
                  <a:lnTo>
                    <a:pt x="240" y="20"/>
                  </a:lnTo>
                  <a:lnTo>
                    <a:pt x="246" y="18"/>
                  </a:lnTo>
                  <a:lnTo>
                    <a:pt x="246" y="18"/>
                  </a:lnTo>
                  <a:lnTo>
                    <a:pt x="249" y="14"/>
                  </a:lnTo>
                  <a:lnTo>
                    <a:pt x="251" y="13"/>
                  </a:lnTo>
                  <a:lnTo>
                    <a:pt x="253" y="7"/>
                  </a:lnTo>
                  <a:lnTo>
                    <a:pt x="254" y="2"/>
                  </a:lnTo>
                  <a:lnTo>
                    <a:pt x="254" y="0"/>
                  </a:lnTo>
                  <a:lnTo>
                    <a:pt x="256" y="0"/>
                  </a:lnTo>
                  <a:lnTo>
                    <a:pt x="256" y="0"/>
                  </a:lnTo>
                  <a:lnTo>
                    <a:pt x="258" y="0"/>
                  </a:lnTo>
                  <a:lnTo>
                    <a:pt x="261" y="2"/>
                  </a:lnTo>
                  <a:lnTo>
                    <a:pt x="267" y="7"/>
                  </a:lnTo>
                  <a:lnTo>
                    <a:pt x="268" y="11"/>
                  </a:lnTo>
                  <a:lnTo>
                    <a:pt x="274" y="14"/>
                  </a:lnTo>
                  <a:lnTo>
                    <a:pt x="279" y="16"/>
                  </a:lnTo>
                  <a:lnTo>
                    <a:pt x="286" y="16"/>
                  </a:lnTo>
                  <a:lnTo>
                    <a:pt x="286" y="16"/>
                  </a:lnTo>
                  <a:lnTo>
                    <a:pt x="298" y="14"/>
                  </a:lnTo>
                  <a:lnTo>
                    <a:pt x="305" y="14"/>
                  </a:lnTo>
                  <a:lnTo>
                    <a:pt x="308" y="16"/>
                  </a:lnTo>
                  <a:lnTo>
                    <a:pt x="314" y="20"/>
                  </a:lnTo>
                  <a:lnTo>
                    <a:pt x="317" y="27"/>
                  </a:lnTo>
                  <a:lnTo>
                    <a:pt x="321" y="33"/>
                  </a:lnTo>
                  <a:lnTo>
                    <a:pt x="324" y="46"/>
                  </a:lnTo>
                  <a:lnTo>
                    <a:pt x="324" y="46"/>
                  </a:lnTo>
                  <a:lnTo>
                    <a:pt x="328" y="28"/>
                  </a:lnTo>
                  <a:lnTo>
                    <a:pt x="333" y="18"/>
                  </a:lnTo>
                  <a:lnTo>
                    <a:pt x="338" y="11"/>
                  </a:lnTo>
                  <a:lnTo>
                    <a:pt x="340" y="9"/>
                  </a:lnTo>
                  <a:lnTo>
                    <a:pt x="343" y="9"/>
                  </a:lnTo>
                  <a:lnTo>
                    <a:pt x="343" y="9"/>
                  </a:lnTo>
                  <a:lnTo>
                    <a:pt x="373" y="9"/>
                  </a:lnTo>
                  <a:lnTo>
                    <a:pt x="373" y="9"/>
                  </a:lnTo>
                  <a:lnTo>
                    <a:pt x="376" y="11"/>
                  </a:lnTo>
                  <a:lnTo>
                    <a:pt x="378" y="13"/>
                  </a:lnTo>
                  <a:lnTo>
                    <a:pt x="382" y="21"/>
                  </a:lnTo>
                  <a:lnTo>
                    <a:pt x="382" y="21"/>
                  </a:lnTo>
                  <a:lnTo>
                    <a:pt x="387" y="25"/>
                  </a:lnTo>
                  <a:lnTo>
                    <a:pt x="392" y="27"/>
                  </a:lnTo>
                  <a:lnTo>
                    <a:pt x="395" y="32"/>
                  </a:lnTo>
                  <a:lnTo>
                    <a:pt x="401" y="40"/>
                  </a:lnTo>
                  <a:lnTo>
                    <a:pt x="401" y="40"/>
                  </a:lnTo>
                  <a:lnTo>
                    <a:pt x="406" y="53"/>
                  </a:lnTo>
                  <a:lnTo>
                    <a:pt x="411" y="60"/>
                  </a:lnTo>
                  <a:lnTo>
                    <a:pt x="416" y="65"/>
                  </a:lnTo>
                  <a:lnTo>
                    <a:pt x="422" y="70"/>
                  </a:lnTo>
                  <a:lnTo>
                    <a:pt x="432" y="77"/>
                  </a:lnTo>
                  <a:lnTo>
                    <a:pt x="435" y="81"/>
                  </a:lnTo>
                  <a:lnTo>
                    <a:pt x="439" y="86"/>
                  </a:lnTo>
                  <a:lnTo>
                    <a:pt x="439" y="86"/>
                  </a:lnTo>
                  <a:lnTo>
                    <a:pt x="442" y="89"/>
                  </a:lnTo>
                  <a:lnTo>
                    <a:pt x="446" y="93"/>
                  </a:lnTo>
                  <a:lnTo>
                    <a:pt x="458" y="94"/>
                  </a:lnTo>
                  <a:lnTo>
                    <a:pt x="472" y="100"/>
                  </a:lnTo>
                  <a:lnTo>
                    <a:pt x="481" y="103"/>
                  </a:lnTo>
                  <a:lnTo>
                    <a:pt x="488" y="110"/>
                  </a:lnTo>
                  <a:lnTo>
                    <a:pt x="488" y="110"/>
                  </a:lnTo>
                  <a:lnTo>
                    <a:pt x="503" y="122"/>
                  </a:lnTo>
                  <a:lnTo>
                    <a:pt x="517" y="133"/>
                  </a:lnTo>
                  <a:lnTo>
                    <a:pt x="530" y="138"/>
                  </a:lnTo>
                  <a:lnTo>
                    <a:pt x="536" y="140"/>
                  </a:lnTo>
                  <a:lnTo>
                    <a:pt x="536" y="140"/>
                  </a:lnTo>
                  <a:lnTo>
                    <a:pt x="540" y="141"/>
                  </a:lnTo>
                  <a:lnTo>
                    <a:pt x="545" y="143"/>
                  </a:lnTo>
                  <a:lnTo>
                    <a:pt x="554" y="150"/>
                  </a:lnTo>
                  <a:lnTo>
                    <a:pt x="557" y="155"/>
                  </a:lnTo>
                  <a:lnTo>
                    <a:pt x="559" y="161"/>
                  </a:lnTo>
                  <a:lnTo>
                    <a:pt x="561" y="164"/>
                  </a:lnTo>
                  <a:lnTo>
                    <a:pt x="559" y="168"/>
                  </a:lnTo>
                  <a:lnTo>
                    <a:pt x="559" y="168"/>
                  </a:lnTo>
                  <a:lnTo>
                    <a:pt x="552" y="178"/>
                  </a:lnTo>
                  <a:lnTo>
                    <a:pt x="552" y="183"/>
                  </a:lnTo>
                  <a:lnTo>
                    <a:pt x="550" y="187"/>
                  </a:lnTo>
                  <a:lnTo>
                    <a:pt x="545" y="192"/>
                  </a:lnTo>
                  <a:lnTo>
                    <a:pt x="545" y="192"/>
                  </a:lnTo>
                  <a:lnTo>
                    <a:pt x="542" y="195"/>
                  </a:lnTo>
                  <a:lnTo>
                    <a:pt x="540" y="199"/>
                  </a:lnTo>
                  <a:lnTo>
                    <a:pt x="540" y="204"/>
                  </a:lnTo>
                  <a:lnTo>
                    <a:pt x="540" y="211"/>
                  </a:lnTo>
                  <a:lnTo>
                    <a:pt x="540" y="215"/>
                  </a:lnTo>
                  <a:lnTo>
                    <a:pt x="538" y="220"/>
                  </a:lnTo>
                  <a:lnTo>
                    <a:pt x="538" y="220"/>
                  </a:lnTo>
                  <a:lnTo>
                    <a:pt x="531" y="228"/>
                  </a:lnTo>
                  <a:lnTo>
                    <a:pt x="526" y="234"/>
                  </a:lnTo>
                  <a:lnTo>
                    <a:pt x="523" y="237"/>
                  </a:lnTo>
                  <a:lnTo>
                    <a:pt x="523" y="239"/>
                  </a:lnTo>
                  <a:lnTo>
                    <a:pt x="523" y="242"/>
                  </a:lnTo>
                  <a:lnTo>
                    <a:pt x="523" y="242"/>
                  </a:lnTo>
                  <a:lnTo>
                    <a:pt x="524" y="248"/>
                  </a:lnTo>
                  <a:lnTo>
                    <a:pt x="528" y="248"/>
                  </a:lnTo>
                  <a:lnTo>
                    <a:pt x="533" y="246"/>
                  </a:lnTo>
                  <a:lnTo>
                    <a:pt x="547" y="246"/>
                  </a:lnTo>
                  <a:lnTo>
                    <a:pt x="547" y="246"/>
                  </a:lnTo>
                  <a:lnTo>
                    <a:pt x="556" y="246"/>
                  </a:lnTo>
                  <a:lnTo>
                    <a:pt x="564" y="249"/>
                  </a:lnTo>
                  <a:lnTo>
                    <a:pt x="578" y="253"/>
                  </a:lnTo>
                  <a:lnTo>
                    <a:pt x="585" y="255"/>
                  </a:lnTo>
                  <a:lnTo>
                    <a:pt x="592" y="255"/>
                  </a:lnTo>
                  <a:lnTo>
                    <a:pt x="597" y="253"/>
                  </a:lnTo>
                  <a:lnTo>
                    <a:pt x="604" y="249"/>
                  </a:lnTo>
                  <a:lnTo>
                    <a:pt x="604" y="249"/>
                  </a:lnTo>
                  <a:lnTo>
                    <a:pt x="610" y="246"/>
                  </a:lnTo>
                  <a:lnTo>
                    <a:pt x="615" y="246"/>
                  </a:lnTo>
                  <a:lnTo>
                    <a:pt x="618" y="248"/>
                  </a:lnTo>
                  <a:lnTo>
                    <a:pt x="622" y="249"/>
                  </a:lnTo>
                  <a:lnTo>
                    <a:pt x="625" y="251"/>
                  </a:lnTo>
                  <a:lnTo>
                    <a:pt x="627" y="251"/>
                  </a:lnTo>
                  <a:lnTo>
                    <a:pt x="629" y="249"/>
                  </a:lnTo>
                  <a:lnTo>
                    <a:pt x="631" y="244"/>
                  </a:lnTo>
                  <a:lnTo>
                    <a:pt x="631" y="244"/>
                  </a:lnTo>
                  <a:lnTo>
                    <a:pt x="632" y="239"/>
                  </a:lnTo>
                  <a:lnTo>
                    <a:pt x="636" y="234"/>
                  </a:lnTo>
                  <a:lnTo>
                    <a:pt x="646" y="227"/>
                  </a:lnTo>
                  <a:lnTo>
                    <a:pt x="655" y="220"/>
                  </a:lnTo>
                  <a:lnTo>
                    <a:pt x="658" y="215"/>
                  </a:lnTo>
                  <a:lnTo>
                    <a:pt x="660" y="208"/>
                  </a:lnTo>
                  <a:lnTo>
                    <a:pt x="660" y="208"/>
                  </a:lnTo>
                  <a:lnTo>
                    <a:pt x="664" y="188"/>
                  </a:lnTo>
                  <a:lnTo>
                    <a:pt x="665" y="181"/>
                  </a:lnTo>
                  <a:lnTo>
                    <a:pt x="664" y="168"/>
                  </a:lnTo>
                  <a:lnTo>
                    <a:pt x="664" y="168"/>
                  </a:lnTo>
                  <a:lnTo>
                    <a:pt x="669" y="169"/>
                  </a:lnTo>
                  <a:lnTo>
                    <a:pt x="672" y="168"/>
                  </a:lnTo>
                  <a:lnTo>
                    <a:pt x="678" y="164"/>
                  </a:lnTo>
                  <a:lnTo>
                    <a:pt x="681" y="162"/>
                  </a:lnTo>
                  <a:lnTo>
                    <a:pt x="683" y="164"/>
                  </a:lnTo>
                  <a:lnTo>
                    <a:pt x="686" y="169"/>
                  </a:lnTo>
                  <a:lnTo>
                    <a:pt x="691" y="178"/>
                  </a:lnTo>
                  <a:lnTo>
                    <a:pt x="691" y="178"/>
                  </a:lnTo>
                  <a:lnTo>
                    <a:pt x="695" y="190"/>
                  </a:lnTo>
                  <a:lnTo>
                    <a:pt x="698" y="201"/>
                  </a:lnTo>
                  <a:lnTo>
                    <a:pt x="698" y="211"/>
                  </a:lnTo>
                  <a:lnTo>
                    <a:pt x="698" y="220"/>
                  </a:lnTo>
                  <a:lnTo>
                    <a:pt x="697" y="228"/>
                  </a:lnTo>
                  <a:lnTo>
                    <a:pt x="691" y="235"/>
                  </a:lnTo>
                  <a:lnTo>
                    <a:pt x="686" y="241"/>
                  </a:lnTo>
                  <a:lnTo>
                    <a:pt x="679" y="246"/>
                  </a:lnTo>
                  <a:lnTo>
                    <a:pt x="679" y="246"/>
                  </a:lnTo>
                  <a:lnTo>
                    <a:pt x="664" y="255"/>
                  </a:lnTo>
                  <a:lnTo>
                    <a:pt x="646" y="267"/>
                  </a:lnTo>
                  <a:lnTo>
                    <a:pt x="629" y="284"/>
                  </a:lnTo>
                  <a:lnTo>
                    <a:pt x="611" y="305"/>
                  </a:lnTo>
                  <a:lnTo>
                    <a:pt x="611" y="305"/>
                  </a:lnTo>
                  <a:lnTo>
                    <a:pt x="596" y="328"/>
                  </a:lnTo>
                  <a:lnTo>
                    <a:pt x="589" y="342"/>
                  </a:lnTo>
                  <a:lnTo>
                    <a:pt x="583" y="350"/>
                  </a:lnTo>
                  <a:lnTo>
                    <a:pt x="580" y="354"/>
                  </a:lnTo>
                  <a:lnTo>
                    <a:pt x="577" y="356"/>
                  </a:lnTo>
                  <a:lnTo>
                    <a:pt x="577" y="356"/>
                  </a:lnTo>
                  <a:lnTo>
                    <a:pt x="570" y="359"/>
                  </a:lnTo>
                  <a:lnTo>
                    <a:pt x="566" y="364"/>
                  </a:lnTo>
                  <a:lnTo>
                    <a:pt x="564" y="368"/>
                  </a:lnTo>
                  <a:lnTo>
                    <a:pt x="559" y="373"/>
                  </a:lnTo>
                  <a:lnTo>
                    <a:pt x="559" y="37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 name="Freeform 1701">
              <a:extLst>
                <a:ext uri="{FF2B5EF4-FFF2-40B4-BE49-F238E27FC236}">
                  <a16:creationId xmlns:a16="http://schemas.microsoft.com/office/drawing/2014/main" id="{626B7337-3238-4CB3-A68A-0DD9E6E12D73}"/>
                </a:ext>
              </a:extLst>
            </p:cNvPr>
            <p:cNvSpPr>
              <a:spLocks/>
            </p:cNvSpPr>
            <p:nvPr/>
          </p:nvSpPr>
          <p:spPr bwMode="auto">
            <a:xfrm>
              <a:off x="455695" y="1689049"/>
              <a:ext cx="1069534" cy="778807"/>
            </a:xfrm>
            <a:custGeom>
              <a:avLst/>
              <a:gdLst/>
              <a:ahLst/>
              <a:cxnLst>
                <a:cxn ang="0">
                  <a:pos x="987" y="669"/>
                </a:cxn>
                <a:cxn ang="0">
                  <a:pos x="1029" y="688"/>
                </a:cxn>
                <a:cxn ang="0">
                  <a:pos x="1076" y="738"/>
                </a:cxn>
                <a:cxn ang="0">
                  <a:pos x="1116" y="709"/>
                </a:cxn>
                <a:cxn ang="0">
                  <a:pos x="1158" y="712"/>
                </a:cxn>
                <a:cxn ang="0">
                  <a:pos x="1210" y="763"/>
                </a:cxn>
                <a:cxn ang="0">
                  <a:pos x="1264" y="857"/>
                </a:cxn>
                <a:cxn ang="0">
                  <a:pos x="1304" y="883"/>
                </a:cxn>
                <a:cxn ang="0">
                  <a:pos x="1327" y="914"/>
                </a:cxn>
                <a:cxn ang="0">
                  <a:pos x="1299" y="961"/>
                </a:cxn>
                <a:cxn ang="0">
                  <a:pos x="1280" y="902"/>
                </a:cxn>
                <a:cxn ang="0">
                  <a:pos x="1261" y="909"/>
                </a:cxn>
                <a:cxn ang="0">
                  <a:pos x="1229" y="846"/>
                </a:cxn>
                <a:cxn ang="0">
                  <a:pos x="1194" y="786"/>
                </a:cxn>
                <a:cxn ang="0">
                  <a:pos x="1151" y="754"/>
                </a:cxn>
                <a:cxn ang="0">
                  <a:pos x="1114" y="763"/>
                </a:cxn>
                <a:cxn ang="0">
                  <a:pos x="1038" y="733"/>
                </a:cxn>
                <a:cxn ang="0">
                  <a:pos x="994" y="688"/>
                </a:cxn>
                <a:cxn ang="0">
                  <a:pos x="851" y="679"/>
                </a:cxn>
                <a:cxn ang="0">
                  <a:pos x="789" y="657"/>
                </a:cxn>
                <a:cxn ang="0">
                  <a:pos x="717" y="631"/>
                </a:cxn>
                <a:cxn ang="0">
                  <a:pos x="688" y="672"/>
                </a:cxn>
                <a:cxn ang="0">
                  <a:pos x="583" y="728"/>
                </a:cxn>
                <a:cxn ang="0">
                  <a:pos x="566" y="691"/>
                </a:cxn>
                <a:cxn ang="0">
                  <a:pos x="613" y="622"/>
                </a:cxn>
                <a:cxn ang="0">
                  <a:pos x="604" y="611"/>
                </a:cxn>
                <a:cxn ang="0">
                  <a:pos x="482" y="733"/>
                </a:cxn>
                <a:cxn ang="0">
                  <a:pos x="493" y="772"/>
                </a:cxn>
                <a:cxn ang="0">
                  <a:pos x="369" y="866"/>
                </a:cxn>
                <a:cxn ang="0">
                  <a:pos x="292" y="925"/>
                </a:cxn>
                <a:cxn ang="0">
                  <a:pos x="268" y="942"/>
                </a:cxn>
                <a:cxn ang="0">
                  <a:pos x="228" y="933"/>
                </a:cxn>
                <a:cxn ang="0">
                  <a:pos x="169" y="949"/>
                </a:cxn>
                <a:cxn ang="0">
                  <a:pos x="251" y="906"/>
                </a:cxn>
                <a:cxn ang="0">
                  <a:pos x="326" y="845"/>
                </a:cxn>
                <a:cxn ang="0">
                  <a:pos x="374" y="754"/>
                </a:cxn>
                <a:cxn ang="0">
                  <a:pos x="312" y="768"/>
                </a:cxn>
                <a:cxn ang="0">
                  <a:pos x="216" y="763"/>
                </a:cxn>
                <a:cxn ang="0">
                  <a:pos x="211" y="705"/>
                </a:cxn>
                <a:cxn ang="0">
                  <a:pos x="103" y="658"/>
                </a:cxn>
                <a:cxn ang="0">
                  <a:pos x="64" y="585"/>
                </a:cxn>
                <a:cxn ang="0">
                  <a:pos x="125" y="503"/>
                </a:cxn>
                <a:cxn ang="0">
                  <a:pos x="197" y="483"/>
                </a:cxn>
                <a:cxn ang="0">
                  <a:pos x="245" y="436"/>
                </a:cxn>
                <a:cxn ang="0">
                  <a:pos x="249" y="402"/>
                </a:cxn>
                <a:cxn ang="0">
                  <a:pos x="155" y="416"/>
                </a:cxn>
                <a:cxn ang="0">
                  <a:pos x="49" y="395"/>
                </a:cxn>
                <a:cxn ang="0">
                  <a:pos x="2" y="359"/>
                </a:cxn>
                <a:cxn ang="0">
                  <a:pos x="146" y="291"/>
                </a:cxn>
                <a:cxn ang="0">
                  <a:pos x="204" y="324"/>
                </a:cxn>
                <a:cxn ang="0">
                  <a:pos x="238" y="310"/>
                </a:cxn>
                <a:cxn ang="0">
                  <a:pos x="193" y="286"/>
                </a:cxn>
                <a:cxn ang="0">
                  <a:pos x="146" y="248"/>
                </a:cxn>
                <a:cxn ang="0">
                  <a:pos x="63" y="174"/>
                </a:cxn>
                <a:cxn ang="0">
                  <a:pos x="176" y="106"/>
                </a:cxn>
                <a:cxn ang="0">
                  <a:pos x="270" y="51"/>
                </a:cxn>
                <a:cxn ang="0">
                  <a:pos x="413" y="2"/>
                </a:cxn>
                <a:cxn ang="0">
                  <a:pos x="480" y="28"/>
                </a:cxn>
                <a:cxn ang="0">
                  <a:pos x="594" y="58"/>
                </a:cxn>
                <a:cxn ang="0">
                  <a:pos x="794" y="82"/>
                </a:cxn>
                <a:cxn ang="0">
                  <a:pos x="916" y="100"/>
                </a:cxn>
              </a:cxnLst>
              <a:rect l="0" t="0" r="r" b="b"/>
              <a:pathLst>
                <a:path w="1334" h="972">
                  <a:moveTo>
                    <a:pt x="949" y="106"/>
                  </a:moveTo>
                  <a:lnTo>
                    <a:pt x="949" y="664"/>
                  </a:lnTo>
                  <a:lnTo>
                    <a:pt x="949" y="664"/>
                  </a:lnTo>
                  <a:lnTo>
                    <a:pt x="958" y="667"/>
                  </a:lnTo>
                  <a:lnTo>
                    <a:pt x="963" y="669"/>
                  </a:lnTo>
                  <a:lnTo>
                    <a:pt x="966" y="669"/>
                  </a:lnTo>
                  <a:lnTo>
                    <a:pt x="966" y="667"/>
                  </a:lnTo>
                  <a:lnTo>
                    <a:pt x="968" y="664"/>
                  </a:lnTo>
                  <a:lnTo>
                    <a:pt x="970" y="664"/>
                  </a:lnTo>
                  <a:lnTo>
                    <a:pt x="972" y="664"/>
                  </a:lnTo>
                  <a:lnTo>
                    <a:pt x="972" y="664"/>
                  </a:lnTo>
                  <a:lnTo>
                    <a:pt x="978" y="669"/>
                  </a:lnTo>
                  <a:lnTo>
                    <a:pt x="984" y="671"/>
                  </a:lnTo>
                  <a:lnTo>
                    <a:pt x="987" y="669"/>
                  </a:lnTo>
                  <a:lnTo>
                    <a:pt x="991" y="665"/>
                  </a:lnTo>
                  <a:lnTo>
                    <a:pt x="991" y="665"/>
                  </a:lnTo>
                  <a:lnTo>
                    <a:pt x="998" y="662"/>
                  </a:lnTo>
                  <a:lnTo>
                    <a:pt x="1006" y="660"/>
                  </a:lnTo>
                  <a:lnTo>
                    <a:pt x="1013" y="662"/>
                  </a:lnTo>
                  <a:lnTo>
                    <a:pt x="1015" y="664"/>
                  </a:lnTo>
                  <a:lnTo>
                    <a:pt x="1015" y="665"/>
                  </a:lnTo>
                  <a:lnTo>
                    <a:pt x="1015" y="665"/>
                  </a:lnTo>
                  <a:lnTo>
                    <a:pt x="1013" y="671"/>
                  </a:lnTo>
                  <a:lnTo>
                    <a:pt x="1012" y="674"/>
                  </a:lnTo>
                  <a:lnTo>
                    <a:pt x="1013" y="679"/>
                  </a:lnTo>
                  <a:lnTo>
                    <a:pt x="1019" y="683"/>
                  </a:lnTo>
                  <a:lnTo>
                    <a:pt x="1019" y="683"/>
                  </a:lnTo>
                  <a:lnTo>
                    <a:pt x="1029" y="688"/>
                  </a:lnTo>
                  <a:lnTo>
                    <a:pt x="1032" y="693"/>
                  </a:lnTo>
                  <a:lnTo>
                    <a:pt x="1036" y="700"/>
                  </a:lnTo>
                  <a:lnTo>
                    <a:pt x="1041" y="704"/>
                  </a:lnTo>
                  <a:lnTo>
                    <a:pt x="1050" y="711"/>
                  </a:lnTo>
                  <a:lnTo>
                    <a:pt x="1050" y="711"/>
                  </a:lnTo>
                  <a:lnTo>
                    <a:pt x="1059" y="716"/>
                  </a:lnTo>
                  <a:lnTo>
                    <a:pt x="1064" y="721"/>
                  </a:lnTo>
                  <a:lnTo>
                    <a:pt x="1067" y="726"/>
                  </a:lnTo>
                  <a:lnTo>
                    <a:pt x="1069" y="730"/>
                  </a:lnTo>
                  <a:lnTo>
                    <a:pt x="1069" y="735"/>
                  </a:lnTo>
                  <a:lnTo>
                    <a:pt x="1071" y="737"/>
                  </a:lnTo>
                  <a:lnTo>
                    <a:pt x="1074" y="738"/>
                  </a:lnTo>
                  <a:lnTo>
                    <a:pt x="1074" y="738"/>
                  </a:lnTo>
                  <a:lnTo>
                    <a:pt x="1076" y="738"/>
                  </a:lnTo>
                  <a:lnTo>
                    <a:pt x="1078" y="738"/>
                  </a:lnTo>
                  <a:lnTo>
                    <a:pt x="1081" y="735"/>
                  </a:lnTo>
                  <a:lnTo>
                    <a:pt x="1088" y="730"/>
                  </a:lnTo>
                  <a:lnTo>
                    <a:pt x="1099" y="726"/>
                  </a:lnTo>
                  <a:lnTo>
                    <a:pt x="1099" y="726"/>
                  </a:lnTo>
                  <a:lnTo>
                    <a:pt x="1104" y="725"/>
                  </a:lnTo>
                  <a:lnTo>
                    <a:pt x="1106" y="723"/>
                  </a:lnTo>
                  <a:lnTo>
                    <a:pt x="1107" y="721"/>
                  </a:lnTo>
                  <a:lnTo>
                    <a:pt x="1106" y="718"/>
                  </a:lnTo>
                  <a:lnTo>
                    <a:pt x="1106" y="714"/>
                  </a:lnTo>
                  <a:lnTo>
                    <a:pt x="1107" y="712"/>
                  </a:lnTo>
                  <a:lnTo>
                    <a:pt x="1111" y="711"/>
                  </a:lnTo>
                  <a:lnTo>
                    <a:pt x="1111" y="711"/>
                  </a:lnTo>
                  <a:lnTo>
                    <a:pt x="1116" y="709"/>
                  </a:lnTo>
                  <a:lnTo>
                    <a:pt x="1114" y="705"/>
                  </a:lnTo>
                  <a:lnTo>
                    <a:pt x="1114" y="704"/>
                  </a:lnTo>
                  <a:lnTo>
                    <a:pt x="1114" y="702"/>
                  </a:lnTo>
                  <a:lnTo>
                    <a:pt x="1118" y="700"/>
                  </a:lnTo>
                  <a:lnTo>
                    <a:pt x="1118" y="700"/>
                  </a:lnTo>
                  <a:lnTo>
                    <a:pt x="1133" y="695"/>
                  </a:lnTo>
                  <a:lnTo>
                    <a:pt x="1144" y="695"/>
                  </a:lnTo>
                  <a:lnTo>
                    <a:pt x="1147" y="695"/>
                  </a:lnTo>
                  <a:lnTo>
                    <a:pt x="1151" y="697"/>
                  </a:lnTo>
                  <a:lnTo>
                    <a:pt x="1156" y="704"/>
                  </a:lnTo>
                  <a:lnTo>
                    <a:pt x="1156" y="704"/>
                  </a:lnTo>
                  <a:lnTo>
                    <a:pt x="1158" y="711"/>
                  </a:lnTo>
                  <a:lnTo>
                    <a:pt x="1158" y="712"/>
                  </a:lnTo>
                  <a:lnTo>
                    <a:pt x="1158" y="712"/>
                  </a:lnTo>
                  <a:lnTo>
                    <a:pt x="1160" y="718"/>
                  </a:lnTo>
                  <a:lnTo>
                    <a:pt x="1160" y="718"/>
                  </a:lnTo>
                  <a:lnTo>
                    <a:pt x="1165" y="723"/>
                  </a:lnTo>
                  <a:lnTo>
                    <a:pt x="1170" y="725"/>
                  </a:lnTo>
                  <a:lnTo>
                    <a:pt x="1175" y="728"/>
                  </a:lnTo>
                  <a:lnTo>
                    <a:pt x="1180" y="737"/>
                  </a:lnTo>
                  <a:lnTo>
                    <a:pt x="1180" y="737"/>
                  </a:lnTo>
                  <a:lnTo>
                    <a:pt x="1184" y="742"/>
                  </a:lnTo>
                  <a:lnTo>
                    <a:pt x="1187" y="745"/>
                  </a:lnTo>
                  <a:lnTo>
                    <a:pt x="1194" y="749"/>
                  </a:lnTo>
                  <a:lnTo>
                    <a:pt x="1201" y="754"/>
                  </a:lnTo>
                  <a:lnTo>
                    <a:pt x="1205" y="758"/>
                  </a:lnTo>
                  <a:lnTo>
                    <a:pt x="1210" y="763"/>
                  </a:lnTo>
                  <a:lnTo>
                    <a:pt x="1210" y="763"/>
                  </a:lnTo>
                  <a:lnTo>
                    <a:pt x="1254" y="833"/>
                  </a:lnTo>
                  <a:lnTo>
                    <a:pt x="1254" y="833"/>
                  </a:lnTo>
                  <a:lnTo>
                    <a:pt x="1255" y="838"/>
                  </a:lnTo>
                  <a:lnTo>
                    <a:pt x="1254" y="841"/>
                  </a:lnTo>
                  <a:lnTo>
                    <a:pt x="1254" y="843"/>
                  </a:lnTo>
                  <a:lnTo>
                    <a:pt x="1257" y="845"/>
                  </a:lnTo>
                  <a:lnTo>
                    <a:pt x="1257" y="845"/>
                  </a:lnTo>
                  <a:lnTo>
                    <a:pt x="1261" y="845"/>
                  </a:lnTo>
                  <a:lnTo>
                    <a:pt x="1261" y="846"/>
                  </a:lnTo>
                  <a:lnTo>
                    <a:pt x="1261" y="850"/>
                  </a:lnTo>
                  <a:lnTo>
                    <a:pt x="1261" y="853"/>
                  </a:lnTo>
                  <a:lnTo>
                    <a:pt x="1262" y="855"/>
                  </a:lnTo>
                  <a:lnTo>
                    <a:pt x="1264" y="857"/>
                  </a:lnTo>
                  <a:lnTo>
                    <a:pt x="1264" y="857"/>
                  </a:lnTo>
                  <a:lnTo>
                    <a:pt x="1268" y="859"/>
                  </a:lnTo>
                  <a:lnTo>
                    <a:pt x="1268" y="860"/>
                  </a:lnTo>
                  <a:lnTo>
                    <a:pt x="1269" y="866"/>
                  </a:lnTo>
                  <a:lnTo>
                    <a:pt x="1269" y="869"/>
                  </a:lnTo>
                  <a:lnTo>
                    <a:pt x="1271" y="869"/>
                  </a:lnTo>
                  <a:lnTo>
                    <a:pt x="1276" y="869"/>
                  </a:lnTo>
                  <a:lnTo>
                    <a:pt x="1276" y="869"/>
                  </a:lnTo>
                  <a:lnTo>
                    <a:pt x="1280" y="869"/>
                  </a:lnTo>
                  <a:lnTo>
                    <a:pt x="1281" y="869"/>
                  </a:lnTo>
                  <a:lnTo>
                    <a:pt x="1285" y="873"/>
                  </a:lnTo>
                  <a:lnTo>
                    <a:pt x="1292" y="878"/>
                  </a:lnTo>
                  <a:lnTo>
                    <a:pt x="1297" y="881"/>
                  </a:lnTo>
                  <a:lnTo>
                    <a:pt x="1304" y="883"/>
                  </a:lnTo>
                  <a:lnTo>
                    <a:pt x="1304" y="883"/>
                  </a:lnTo>
                  <a:lnTo>
                    <a:pt x="1311" y="886"/>
                  </a:lnTo>
                  <a:lnTo>
                    <a:pt x="1316" y="888"/>
                  </a:lnTo>
                  <a:lnTo>
                    <a:pt x="1318" y="892"/>
                  </a:lnTo>
                  <a:lnTo>
                    <a:pt x="1320" y="893"/>
                  </a:lnTo>
                  <a:lnTo>
                    <a:pt x="1320" y="897"/>
                  </a:lnTo>
                  <a:lnTo>
                    <a:pt x="1325" y="897"/>
                  </a:lnTo>
                  <a:lnTo>
                    <a:pt x="1325" y="897"/>
                  </a:lnTo>
                  <a:lnTo>
                    <a:pt x="1332" y="897"/>
                  </a:lnTo>
                  <a:lnTo>
                    <a:pt x="1334" y="900"/>
                  </a:lnTo>
                  <a:lnTo>
                    <a:pt x="1334" y="904"/>
                  </a:lnTo>
                  <a:lnTo>
                    <a:pt x="1332" y="907"/>
                  </a:lnTo>
                  <a:lnTo>
                    <a:pt x="1332" y="907"/>
                  </a:lnTo>
                  <a:lnTo>
                    <a:pt x="1330" y="911"/>
                  </a:lnTo>
                  <a:lnTo>
                    <a:pt x="1327" y="914"/>
                  </a:lnTo>
                  <a:lnTo>
                    <a:pt x="1325" y="920"/>
                  </a:lnTo>
                  <a:lnTo>
                    <a:pt x="1327" y="932"/>
                  </a:lnTo>
                  <a:lnTo>
                    <a:pt x="1327" y="932"/>
                  </a:lnTo>
                  <a:lnTo>
                    <a:pt x="1328" y="944"/>
                  </a:lnTo>
                  <a:lnTo>
                    <a:pt x="1328" y="947"/>
                  </a:lnTo>
                  <a:lnTo>
                    <a:pt x="1327" y="953"/>
                  </a:lnTo>
                  <a:lnTo>
                    <a:pt x="1322" y="958"/>
                  </a:lnTo>
                  <a:lnTo>
                    <a:pt x="1313" y="967"/>
                  </a:lnTo>
                  <a:lnTo>
                    <a:pt x="1313" y="967"/>
                  </a:lnTo>
                  <a:lnTo>
                    <a:pt x="1309" y="970"/>
                  </a:lnTo>
                  <a:lnTo>
                    <a:pt x="1306" y="972"/>
                  </a:lnTo>
                  <a:lnTo>
                    <a:pt x="1302" y="970"/>
                  </a:lnTo>
                  <a:lnTo>
                    <a:pt x="1301" y="968"/>
                  </a:lnTo>
                  <a:lnTo>
                    <a:pt x="1299" y="961"/>
                  </a:lnTo>
                  <a:lnTo>
                    <a:pt x="1295" y="953"/>
                  </a:lnTo>
                  <a:lnTo>
                    <a:pt x="1295" y="953"/>
                  </a:lnTo>
                  <a:lnTo>
                    <a:pt x="1295" y="949"/>
                  </a:lnTo>
                  <a:lnTo>
                    <a:pt x="1295" y="946"/>
                  </a:lnTo>
                  <a:lnTo>
                    <a:pt x="1299" y="937"/>
                  </a:lnTo>
                  <a:lnTo>
                    <a:pt x="1301" y="932"/>
                  </a:lnTo>
                  <a:lnTo>
                    <a:pt x="1301" y="927"/>
                  </a:lnTo>
                  <a:lnTo>
                    <a:pt x="1299" y="920"/>
                  </a:lnTo>
                  <a:lnTo>
                    <a:pt x="1295" y="911"/>
                  </a:lnTo>
                  <a:lnTo>
                    <a:pt x="1295" y="911"/>
                  </a:lnTo>
                  <a:lnTo>
                    <a:pt x="1292" y="906"/>
                  </a:lnTo>
                  <a:lnTo>
                    <a:pt x="1288" y="902"/>
                  </a:lnTo>
                  <a:lnTo>
                    <a:pt x="1283" y="900"/>
                  </a:lnTo>
                  <a:lnTo>
                    <a:pt x="1280" y="902"/>
                  </a:lnTo>
                  <a:lnTo>
                    <a:pt x="1276" y="904"/>
                  </a:lnTo>
                  <a:lnTo>
                    <a:pt x="1273" y="909"/>
                  </a:lnTo>
                  <a:lnTo>
                    <a:pt x="1268" y="920"/>
                  </a:lnTo>
                  <a:lnTo>
                    <a:pt x="1268" y="920"/>
                  </a:lnTo>
                  <a:lnTo>
                    <a:pt x="1264" y="927"/>
                  </a:lnTo>
                  <a:lnTo>
                    <a:pt x="1262" y="928"/>
                  </a:lnTo>
                  <a:lnTo>
                    <a:pt x="1259" y="928"/>
                  </a:lnTo>
                  <a:lnTo>
                    <a:pt x="1257" y="928"/>
                  </a:lnTo>
                  <a:lnTo>
                    <a:pt x="1254" y="925"/>
                  </a:lnTo>
                  <a:lnTo>
                    <a:pt x="1254" y="921"/>
                  </a:lnTo>
                  <a:lnTo>
                    <a:pt x="1254" y="918"/>
                  </a:lnTo>
                  <a:lnTo>
                    <a:pt x="1255" y="914"/>
                  </a:lnTo>
                  <a:lnTo>
                    <a:pt x="1255" y="914"/>
                  </a:lnTo>
                  <a:lnTo>
                    <a:pt x="1261" y="909"/>
                  </a:lnTo>
                  <a:lnTo>
                    <a:pt x="1262" y="904"/>
                  </a:lnTo>
                  <a:lnTo>
                    <a:pt x="1264" y="899"/>
                  </a:lnTo>
                  <a:lnTo>
                    <a:pt x="1271" y="895"/>
                  </a:lnTo>
                  <a:lnTo>
                    <a:pt x="1271" y="895"/>
                  </a:lnTo>
                  <a:lnTo>
                    <a:pt x="1278" y="893"/>
                  </a:lnTo>
                  <a:lnTo>
                    <a:pt x="1274" y="890"/>
                  </a:lnTo>
                  <a:lnTo>
                    <a:pt x="1264" y="885"/>
                  </a:lnTo>
                  <a:lnTo>
                    <a:pt x="1248" y="873"/>
                  </a:lnTo>
                  <a:lnTo>
                    <a:pt x="1248" y="873"/>
                  </a:lnTo>
                  <a:lnTo>
                    <a:pt x="1241" y="866"/>
                  </a:lnTo>
                  <a:lnTo>
                    <a:pt x="1238" y="860"/>
                  </a:lnTo>
                  <a:lnTo>
                    <a:pt x="1233" y="852"/>
                  </a:lnTo>
                  <a:lnTo>
                    <a:pt x="1231" y="848"/>
                  </a:lnTo>
                  <a:lnTo>
                    <a:pt x="1229" y="846"/>
                  </a:lnTo>
                  <a:lnTo>
                    <a:pt x="1219" y="841"/>
                  </a:lnTo>
                  <a:lnTo>
                    <a:pt x="1219" y="841"/>
                  </a:lnTo>
                  <a:lnTo>
                    <a:pt x="1212" y="838"/>
                  </a:lnTo>
                  <a:lnTo>
                    <a:pt x="1210" y="836"/>
                  </a:lnTo>
                  <a:lnTo>
                    <a:pt x="1208" y="833"/>
                  </a:lnTo>
                  <a:lnTo>
                    <a:pt x="1210" y="831"/>
                  </a:lnTo>
                  <a:lnTo>
                    <a:pt x="1214" y="824"/>
                  </a:lnTo>
                  <a:lnTo>
                    <a:pt x="1214" y="822"/>
                  </a:lnTo>
                  <a:lnTo>
                    <a:pt x="1212" y="819"/>
                  </a:lnTo>
                  <a:lnTo>
                    <a:pt x="1212" y="819"/>
                  </a:lnTo>
                  <a:lnTo>
                    <a:pt x="1207" y="813"/>
                  </a:lnTo>
                  <a:lnTo>
                    <a:pt x="1203" y="806"/>
                  </a:lnTo>
                  <a:lnTo>
                    <a:pt x="1200" y="798"/>
                  </a:lnTo>
                  <a:lnTo>
                    <a:pt x="1194" y="786"/>
                  </a:lnTo>
                  <a:lnTo>
                    <a:pt x="1194" y="786"/>
                  </a:lnTo>
                  <a:lnTo>
                    <a:pt x="1191" y="779"/>
                  </a:lnTo>
                  <a:lnTo>
                    <a:pt x="1187" y="775"/>
                  </a:lnTo>
                  <a:lnTo>
                    <a:pt x="1182" y="775"/>
                  </a:lnTo>
                  <a:lnTo>
                    <a:pt x="1179" y="773"/>
                  </a:lnTo>
                  <a:lnTo>
                    <a:pt x="1175" y="773"/>
                  </a:lnTo>
                  <a:lnTo>
                    <a:pt x="1170" y="772"/>
                  </a:lnTo>
                  <a:lnTo>
                    <a:pt x="1165" y="768"/>
                  </a:lnTo>
                  <a:lnTo>
                    <a:pt x="1161" y="761"/>
                  </a:lnTo>
                  <a:lnTo>
                    <a:pt x="1161" y="761"/>
                  </a:lnTo>
                  <a:lnTo>
                    <a:pt x="1153" y="749"/>
                  </a:lnTo>
                  <a:lnTo>
                    <a:pt x="1151" y="747"/>
                  </a:lnTo>
                  <a:lnTo>
                    <a:pt x="1151" y="747"/>
                  </a:lnTo>
                  <a:lnTo>
                    <a:pt x="1151" y="754"/>
                  </a:lnTo>
                  <a:lnTo>
                    <a:pt x="1154" y="768"/>
                  </a:lnTo>
                  <a:lnTo>
                    <a:pt x="1154" y="768"/>
                  </a:lnTo>
                  <a:lnTo>
                    <a:pt x="1154" y="773"/>
                  </a:lnTo>
                  <a:lnTo>
                    <a:pt x="1153" y="777"/>
                  </a:lnTo>
                  <a:lnTo>
                    <a:pt x="1149" y="777"/>
                  </a:lnTo>
                  <a:lnTo>
                    <a:pt x="1144" y="775"/>
                  </a:lnTo>
                  <a:lnTo>
                    <a:pt x="1130" y="765"/>
                  </a:lnTo>
                  <a:lnTo>
                    <a:pt x="1116" y="752"/>
                  </a:lnTo>
                  <a:lnTo>
                    <a:pt x="1116" y="752"/>
                  </a:lnTo>
                  <a:lnTo>
                    <a:pt x="1106" y="744"/>
                  </a:lnTo>
                  <a:lnTo>
                    <a:pt x="1104" y="744"/>
                  </a:lnTo>
                  <a:lnTo>
                    <a:pt x="1104" y="745"/>
                  </a:lnTo>
                  <a:lnTo>
                    <a:pt x="1107" y="752"/>
                  </a:lnTo>
                  <a:lnTo>
                    <a:pt x="1114" y="763"/>
                  </a:lnTo>
                  <a:lnTo>
                    <a:pt x="1114" y="763"/>
                  </a:lnTo>
                  <a:lnTo>
                    <a:pt x="1118" y="768"/>
                  </a:lnTo>
                  <a:lnTo>
                    <a:pt x="1118" y="772"/>
                  </a:lnTo>
                  <a:lnTo>
                    <a:pt x="1116" y="775"/>
                  </a:lnTo>
                  <a:lnTo>
                    <a:pt x="1113" y="777"/>
                  </a:lnTo>
                  <a:lnTo>
                    <a:pt x="1107" y="777"/>
                  </a:lnTo>
                  <a:lnTo>
                    <a:pt x="1100" y="777"/>
                  </a:lnTo>
                  <a:lnTo>
                    <a:pt x="1092" y="775"/>
                  </a:lnTo>
                  <a:lnTo>
                    <a:pt x="1083" y="772"/>
                  </a:lnTo>
                  <a:lnTo>
                    <a:pt x="1083" y="772"/>
                  </a:lnTo>
                  <a:lnTo>
                    <a:pt x="1069" y="761"/>
                  </a:lnTo>
                  <a:lnTo>
                    <a:pt x="1059" y="752"/>
                  </a:lnTo>
                  <a:lnTo>
                    <a:pt x="1050" y="742"/>
                  </a:lnTo>
                  <a:lnTo>
                    <a:pt x="1038" y="733"/>
                  </a:lnTo>
                  <a:lnTo>
                    <a:pt x="1038" y="733"/>
                  </a:lnTo>
                  <a:lnTo>
                    <a:pt x="1022" y="726"/>
                  </a:lnTo>
                  <a:lnTo>
                    <a:pt x="1005" y="718"/>
                  </a:lnTo>
                  <a:lnTo>
                    <a:pt x="998" y="714"/>
                  </a:lnTo>
                  <a:lnTo>
                    <a:pt x="992" y="711"/>
                  </a:lnTo>
                  <a:lnTo>
                    <a:pt x="991" y="707"/>
                  </a:lnTo>
                  <a:lnTo>
                    <a:pt x="994" y="704"/>
                  </a:lnTo>
                  <a:lnTo>
                    <a:pt x="994" y="704"/>
                  </a:lnTo>
                  <a:lnTo>
                    <a:pt x="998" y="702"/>
                  </a:lnTo>
                  <a:lnTo>
                    <a:pt x="1001" y="698"/>
                  </a:lnTo>
                  <a:lnTo>
                    <a:pt x="1001" y="695"/>
                  </a:lnTo>
                  <a:lnTo>
                    <a:pt x="1001" y="691"/>
                  </a:lnTo>
                  <a:lnTo>
                    <a:pt x="998" y="690"/>
                  </a:lnTo>
                  <a:lnTo>
                    <a:pt x="994" y="688"/>
                  </a:lnTo>
                  <a:lnTo>
                    <a:pt x="989" y="690"/>
                  </a:lnTo>
                  <a:lnTo>
                    <a:pt x="980" y="695"/>
                  </a:lnTo>
                  <a:lnTo>
                    <a:pt x="980" y="695"/>
                  </a:lnTo>
                  <a:lnTo>
                    <a:pt x="977" y="697"/>
                  </a:lnTo>
                  <a:lnTo>
                    <a:pt x="972" y="698"/>
                  </a:lnTo>
                  <a:lnTo>
                    <a:pt x="961" y="697"/>
                  </a:lnTo>
                  <a:lnTo>
                    <a:pt x="949" y="695"/>
                  </a:lnTo>
                  <a:lnTo>
                    <a:pt x="938" y="690"/>
                  </a:lnTo>
                  <a:lnTo>
                    <a:pt x="914" y="681"/>
                  </a:lnTo>
                  <a:lnTo>
                    <a:pt x="902" y="676"/>
                  </a:lnTo>
                  <a:lnTo>
                    <a:pt x="893" y="676"/>
                  </a:lnTo>
                  <a:lnTo>
                    <a:pt x="893" y="676"/>
                  </a:lnTo>
                  <a:lnTo>
                    <a:pt x="872" y="678"/>
                  </a:lnTo>
                  <a:lnTo>
                    <a:pt x="851" y="679"/>
                  </a:lnTo>
                  <a:lnTo>
                    <a:pt x="843" y="678"/>
                  </a:lnTo>
                  <a:lnTo>
                    <a:pt x="834" y="676"/>
                  </a:lnTo>
                  <a:lnTo>
                    <a:pt x="825" y="672"/>
                  </a:lnTo>
                  <a:lnTo>
                    <a:pt x="818" y="664"/>
                  </a:lnTo>
                  <a:lnTo>
                    <a:pt x="818" y="664"/>
                  </a:lnTo>
                  <a:lnTo>
                    <a:pt x="813" y="657"/>
                  </a:lnTo>
                  <a:lnTo>
                    <a:pt x="810" y="655"/>
                  </a:lnTo>
                  <a:lnTo>
                    <a:pt x="808" y="655"/>
                  </a:lnTo>
                  <a:lnTo>
                    <a:pt x="804" y="657"/>
                  </a:lnTo>
                  <a:lnTo>
                    <a:pt x="803" y="658"/>
                  </a:lnTo>
                  <a:lnTo>
                    <a:pt x="799" y="660"/>
                  </a:lnTo>
                  <a:lnTo>
                    <a:pt x="796" y="660"/>
                  </a:lnTo>
                  <a:lnTo>
                    <a:pt x="789" y="657"/>
                  </a:lnTo>
                  <a:lnTo>
                    <a:pt x="789" y="657"/>
                  </a:lnTo>
                  <a:lnTo>
                    <a:pt x="780" y="653"/>
                  </a:lnTo>
                  <a:lnTo>
                    <a:pt x="773" y="650"/>
                  </a:lnTo>
                  <a:lnTo>
                    <a:pt x="761" y="646"/>
                  </a:lnTo>
                  <a:lnTo>
                    <a:pt x="757" y="644"/>
                  </a:lnTo>
                  <a:lnTo>
                    <a:pt x="754" y="641"/>
                  </a:lnTo>
                  <a:lnTo>
                    <a:pt x="752" y="638"/>
                  </a:lnTo>
                  <a:lnTo>
                    <a:pt x="750" y="631"/>
                  </a:lnTo>
                  <a:lnTo>
                    <a:pt x="750" y="631"/>
                  </a:lnTo>
                  <a:lnTo>
                    <a:pt x="750" y="625"/>
                  </a:lnTo>
                  <a:lnTo>
                    <a:pt x="749" y="624"/>
                  </a:lnTo>
                  <a:lnTo>
                    <a:pt x="745" y="624"/>
                  </a:lnTo>
                  <a:lnTo>
                    <a:pt x="740" y="624"/>
                  </a:lnTo>
                  <a:lnTo>
                    <a:pt x="726" y="629"/>
                  </a:lnTo>
                  <a:lnTo>
                    <a:pt x="717" y="631"/>
                  </a:lnTo>
                  <a:lnTo>
                    <a:pt x="707" y="632"/>
                  </a:lnTo>
                  <a:lnTo>
                    <a:pt x="707" y="632"/>
                  </a:lnTo>
                  <a:lnTo>
                    <a:pt x="700" y="634"/>
                  </a:lnTo>
                  <a:lnTo>
                    <a:pt x="696" y="638"/>
                  </a:lnTo>
                  <a:lnTo>
                    <a:pt x="696" y="641"/>
                  </a:lnTo>
                  <a:lnTo>
                    <a:pt x="698" y="646"/>
                  </a:lnTo>
                  <a:lnTo>
                    <a:pt x="700" y="651"/>
                  </a:lnTo>
                  <a:lnTo>
                    <a:pt x="702" y="657"/>
                  </a:lnTo>
                  <a:lnTo>
                    <a:pt x="700" y="660"/>
                  </a:lnTo>
                  <a:lnTo>
                    <a:pt x="696" y="664"/>
                  </a:lnTo>
                  <a:lnTo>
                    <a:pt x="696" y="664"/>
                  </a:lnTo>
                  <a:lnTo>
                    <a:pt x="691" y="667"/>
                  </a:lnTo>
                  <a:lnTo>
                    <a:pt x="688" y="669"/>
                  </a:lnTo>
                  <a:lnTo>
                    <a:pt x="688" y="672"/>
                  </a:lnTo>
                  <a:lnTo>
                    <a:pt x="688" y="676"/>
                  </a:lnTo>
                  <a:lnTo>
                    <a:pt x="688" y="679"/>
                  </a:lnTo>
                  <a:lnTo>
                    <a:pt x="688" y="681"/>
                  </a:lnTo>
                  <a:lnTo>
                    <a:pt x="684" y="683"/>
                  </a:lnTo>
                  <a:lnTo>
                    <a:pt x="677" y="683"/>
                  </a:lnTo>
                  <a:lnTo>
                    <a:pt x="677" y="683"/>
                  </a:lnTo>
                  <a:lnTo>
                    <a:pt x="663" y="685"/>
                  </a:lnTo>
                  <a:lnTo>
                    <a:pt x="651" y="690"/>
                  </a:lnTo>
                  <a:lnTo>
                    <a:pt x="637" y="697"/>
                  </a:lnTo>
                  <a:lnTo>
                    <a:pt x="620" y="712"/>
                  </a:lnTo>
                  <a:lnTo>
                    <a:pt x="620" y="712"/>
                  </a:lnTo>
                  <a:lnTo>
                    <a:pt x="608" y="719"/>
                  </a:lnTo>
                  <a:lnTo>
                    <a:pt x="595" y="725"/>
                  </a:lnTo>
                  <a:lnTo>
                    <a:pt x="583" y="728"/>
                  </a:lnTo>
                  <a:lnTo>
                    <a:pt x="573" y="728"/>
                  </a:lnTo>
                  <a:lnTo>
                    <a:pt x="566" y="726"/>
                  </a:lnTo>
                  <a:lnTo>
                    <a:pt x="562" y="725"/>
                  </a:lnTo>
                  <a:lnTo>
                    <a:pt x="561" y="723"/>
                  </a:lnTo>
                  <a:lnTo>
                    <a:pt x="561" y="721"/>
                  </a:lnTo>
                  <a:lnTo>
                    <a:pt x="562" y="718"/>
                  </a:lnTo>
                  <a:lnTo>
                    <a:pt x="571" y="712"/>
                  </a:lnTo>
                  <a:lnTo>
                    <a:pt x="571" y="712"/>
                  </a:lnTo>
                  <a:lnTo>
                    <a:pt x="576" y="709"/>
                  </a:lnTo>
                  <a:lnTo>
                    <a:pt x="576" y="705"/>
                  </a:lnTo>
                  <a:lnTo>
                    <a:pt x="575" y="702"/>
                  </a:lnTo>
                  <a:lnTo>
                    <a:pt x="571" y="700"/>
                  </a:lnTo>
                  <a:lnTo>
                    <a:pt x="568" y="697"/>
                  </a:lnTo>
                  <a:lnTo>
                    <a:pt x="566" y="691"/>
                  </a:lnTo>
                  <a:lnTo>
                    <a:pt x="568" y="686"/>
                  </a:lnTo>
                  <a:lnTo>
                    <a:pt x="573" y="678"/>
                  </a:lnTo>
                  <a:lnTo>
                    <a:pt x="573" y="678"/>
                  </a:lnTo>
                  <a:lnTo>
                    <a:pt x="581" y="669"/>
                  </a:lnTo>
                  <a:lnTo>
                    <a:pt x="583" y="662"/>
                  </a:lnTo>
                  <a:lnTo>
                    <a:pt x="585" y="657"/>
                  </a:lnTo>
                  <a:lnTo>
                    <a:pt x="585" y="651"/>
                  </a:lnTo>
                  <a:lnTo>
                    <a:pt x="585" y="644"/>
                  </a:lnTo>
                  <a:lnTo>
                    <a:pt x="587" y="639"/>
                  </a:lnTo>
                  <a:lnTo>
                    <a:pt x="592" y="634"/>
                  </a:lnTo>
                  <a:lnTo>
                    <a:pt x="601" y="627"/>
                  </a:lnTo>
                  <a:lnTo>
                    <a:pt x="601" y="627"/>
                  </a:lnTo>
                  <a:lnTo>
                    <a:pt x="606" y="624"/>
                  </a:lnTo>
                  <a:lnTo>
                    <a:pt x="613" y="622"/>
                  </a:lnTo>
                  <a:lnTo>
                    <a:pt x="620" y="622"/>
                  </a:lnTo>
                  <a:lnTo>
                    <a:pt x="628" y="624"/>
                  </a:lnTo>
                  <a:lnTo>
                    <a:pt x="642" y="627"/>
                  </a:lnTo>
                  <a:lnTo>
                    <a:pt x="655" y="632"/>
                  </a:lnTo>
                  <a:lnTo>
                    <a:pt x="670" y="641"/>
                  </a:lnTo>
                  <a:lnTo>
                    <a:pt x="670" y="639"/>
                  </a:lnTo>
                  <a:lnTo>
                    <a:pt x="670" y="638"/>
                  </a:lnTo>
                  <a:lnTo>
                    <a:pt x="660" y="629"/>
                  </a:lnTo>
                  <a:lnTo>
                    <a:pt x="660" y="629"/>
                  </a:lnTo>
                  <a:lnTo>
                    <a:pt x="655" y="624"/>
                  </a:lnTo>
                  <a:lnTo>
                    <a:pt x="648" y="618"/>
                  </a:lnTo>
                  <a:lnTo>
                    <a:pt x="632" y="613"/>
                  </a:lnTo>
                  <a:lnTo>
                    <a:pt x="618" y="610"/>
                  </a:lnTo>
                  <a:lnTo>
                    <a:pt x="604" y="611"/>
                  </a:lnTo>
                  <a:lnTo>
                    <a:pt x="592" y="617"/>
                  </a:lnTo>
                  <a:lnTo>
                    <a:pt x="580" y="624"/>
                  </a:lnTo>
                  <a:lnTo>
                    <a:pt x="569" y="632"/>
                  </a:lnTo>
                  <a:lnTo>
                    <a:pt x="562" y="643"/>
                  </a:lnTo>
                  <a:lnTo>
                    <a:pt x="562" y="643"/>
                  </a:lnTo>
                  <a:lnTo>
                    <a:pt x="550" y="662"/>
                  </a:lnTo>
                  <a:lnTo>
                    <a:pt x="538" y="678"/>
                  </a:lnTo>
                  <a:lnTo>
                    <a:pt x="521" y="695"/>
                  </a:lnTo>
                  <a:lnTo>
                    <a:pt x="496" y="716"/>
                  </a:lnTo>
                  <a:lnTo>
                    <a:pt x="496" y="716"/>
                  </a:lnTo>
                  <a:lnTo>
                    <a:pt x="486" y="725"/>
                  </a:lnTo>
                  <a:lnTo>
                    <a:pt x="482" y="728"/>
                  </a:lnTo>
                  <a:lnTo>
                    <a:pt x="482" y="732"/>
                  </a:lnTo>
                  <a:lnTo>
                    <a:pt x="482" y="733"/>
                  </a:lnTo>
                  <a:lnTo>
                    <a:pt x="484" y="733"/>
                  </a:lnTo>
                  <a:lnTo>
                    <a:pt x="491" y="735"/>
                  </a:lnTo>
                  <a:lnTo>
                    <a:pt x="508" y="735"/>
                  </a:lnTo>
                  <a:lnTo>
                    <a:pt x="514" y="737"/>
                  </a:lnTo>
                  <a:lnTo>
                    <a:pt x="515" y="740"/>
                  </a:lnTo>
                  <a:lnTo>
                    <a:pt x="515" y="742"/>
                  </a:lnTo>
                  <a:lnTo>
                    <a:pt x="515" y="742"/>
                  </a:lnTo>
                  <a:lnTo>
                    <a:pt x="515" y="747"/>
                  </a:lnTo>
                  <a:lnTo>
                    <a:pt x="512" y="751"/>
                  </a:lnTo>
                  <a:lnTo>
                    <a:pt x="505" y="756"/>
                  </a:lnTo>
                  <a:lnTo>
                    <a:pt x="498" y="761"/>
                  </a:lnTo>
                  <a:lnTo>
                    <a:pt x="494" y="765"/>
                  </a:lnTo>
                  <a:lnTo>
                    <a:pt x="493" y="772"/>
                  </a:lnTo>
                  <a:lnTo>
                    <a:pt x="493" y="772"/>
                  </a:lnTo>
                  <a:lnTo>
                    <a:pt x="489" y="779"/>
                  </a:lnTo>
                  <a:lnTo>
                    <a:pt x="484" y="784"/>
                  </a:lnTo>
                  <a:lnTo>
                    <a:pt x="477" y="791"/>
                  </a:lnTo>
                  <a:lnTo>
                    <a:pt x="468" y="796"/>
                  </a:lnTo>
                  <a:lnTo>
                    <a:pt x="449" y="808"/>
                  </a:lnTo>
                  <a:lnTo>
                    <a:pt x="430" y="819"/>
                  </a:lnTo>
                  <a:lnTo>
                    <a:pt x="430" y="819"/>
                  </a:lnTo>
                  <a:lnTo>
                    <a:pt x="421" y="822"/>
                  </a:lnTo>
                  <a:lnTo>
                    <a:pt x="416" y="827"/>
                  </a:lnTo>
                  <a:lnTo>
                    <a:pt x="407" y="838"/>
                  </a:lnTo>
                  <a:lnTo>
                    <a:pt x="402" y="843"/>
                  </a:lnTo>
                  <a:lnTo>
                    <a:pt x="395" y="850"/>
                  </a:lnTo>
                  <a:lnTo>
                    <a:pt x="383" y="857"/>
                  </a:lnTo>
                  <a:lnTo>
                    <a:pt x="369" y="866"/>
                  </a:lnTo>
                  <a:lnTo>
                    <a:pt x="369" y="866"/>
                  </a:lnTo>
                  <a:lnTo>
                    <a:pt x="355" y="874"/>
                  </a:lnTo>
                  <a:lnTo>
                    <a:pt x="348" y="881"/>
                  </a:lnTo>
                  <a:lnTo>
                    <a:pt x="345" y="888"/>
                  </a:lnTo>
                  <a:lnTo>
                    <a:pt x="343" y="892"/>
                  </a:lnTo>
                  <a:lnTo>
                    <a:pt x="345" y="899"/>
                  </a:lnTo>
                  <a:lnTo>
                    <a:pt x="343" y="899"/>
                  </a:lnTo>
                  <a:lnTo>
                    <a:pt x="339" y="900"/>
                  </a:lnTo>
                  <a:lnTo>
                    <a:pt x="339" y="900"/>
                  </a:lnTo>
                  <a:lnTo>
                    <a:pt x="331" y="900"/>
                  </a:lnTo>
                  <a:lnTo>
                    <a:pt x="324" y="906"/>
                  </a:lnTo>
                  <a:lnTo>
                    <a:pt x="308" y="916"/>
                  </a:lnTo>
                  <a:lnTo>
                    <a:pt x="296" y="925"/>
                  </a:lnTo>
                  <a:lnTo>
                    <a:pt x="292" y="925"/>
                  </a:lnTo>
                  <a:lnTo>
                    <a:pt x="291" y="923"/>
                  </a:lnTo>
                  <a:lnTo>
                    <a:pt x="291" y="921"/>
                  </a:lnTo>
                  <a:lnTo>
                    <a:pt x="291" y="921"/>
                  </a:lnTo>
                  <a:lnTo>
                    <a:pt x="289" y="918"/>
                  </a:lnTo>
                  <a:lnTo>
                    <a:pt x="285" y="916"/>
                  </a:lnTo>
                  <a:lnTo>
                    <a:pt x="280" y="916"/>
                  </a:lnTo>
                  <a:lnTo>
                    <a:pt x="277" y="918"/>
                  </a:lnTo>
                  <a:lnTo>
                    <a:pt x="272" y="920"/>
                  </a:lnTo>
                  <a:lnTo>
                    <a:pt x="268" y="925"/>
                  </a:lnTo>
                  <a:lnTo>
                    <a:pt x="266" y="928"/>
                  </a:lnTo>
                  <a:lnTo>
                    <a:pt x="268" y="933"/>
                  </a:lnTo>
                  <a:lnTo>
                    <a:pt x="268" y="933"/>
                  </a:lnTo>
                  <a:lnTo>
                    <a:pt x="268" y="939"/>
                  </a:lnTo>
                  <a:lnTo>
                    <a:pt x="268" y="942"/>
                  </a:lnTo>
                  <a:lnTo>
                    <a:pt x="266" y="946"/>
                  </a:lnTo>
                  <a:lnTo>
                    <a:pt x="263" y="949"/>
                  </a:lnTo>
                  <a:lnTo>
                    <a:pt x="261" y="949"/>
                  </a:lnTo>
                  <a:lnTo>
                    <a:pt x="258" y="949"/>
                  </a:lnTo>
                  <a:lnTo>
                    <a:pt x="254" y="946"/>
                  </a:lnTo>
                  <a:lnTo>
                    <a:pt x="252" y="940"/>
                  </a:lnTo>
                  <a:lnTo>
                    <a:pt x="252" y="940"/>
                  </a:lnTo>
                  <a:lnTo>
                    <a:pt x="251" y="935"/>
                  </a:lnTo>
                  <a:lnTo>
                    <a:pt x="249" y="933"/>
                  </a:lnTo>
                  <a:lnTo>
                    <a:pt x="245" y="933"/>
                  </a:lnTo>
                  <a:lnTo>
                    <a:pt x="242" y="935"/>
                  </a:lnTo>
                  <a:lnTo>
                    <a:pt x="235" y="937"/>
                  </a:lnTo>
                  <a:lnTo>
                    <a:pt x="232" y="937"/>
                  </a:lnTo>
                  <a:lnTo>
                    <a:pt x="228" y="933"/>
                  </a:lnTo>
                  <a:lnTo>
                    <a:pt x="228" y="933"/>
                  </a:lnTo>
                  <a:lnTo>
                    <a:pt x="225" y="930"/>
                  </a:lnTo>
                  <a:lnTo>
                    <a:pt x="223" y="930"/>
                  </a:lnTo>
                  <a:lnTo>
                    <a:pt x="216" y="937"/>
                  </a:lnTo>
                  <a:lnTo>
                    <a:pt x="205" y="947"/>
                  </a:lnTo>
                  <a:lnTo>
                    <a:pt x="197" y="954"/>
                  </a:lnTo>
                  <a:lnTo>
                    <a:pt x="184" y="960"/>
                  </a:lnTo>
                  <a:lnTo>
                    <a:pt x="184" y="960"/>
                  </a:lnTo>
                  <a:lnTo>
                    <a:pt x="174" y="961"/>
                  </a:lnTo>
                  <a:lnTo>
                    <a:pt x="167" y="963"/>
                  </a:lnTo>
                  <a:lnTo>
                    <a:pt x="164" y="961"/>
                  </a:lnTo>
                  <a:lnTo>
                    <a:pt x="164" y="958"/>
                  </a:lnTo>
                  <a:lnTo>
                    <a:pt x="165" y="953"/>
                  </a:lnTo>
                  <a:lnTo>
                    <a:pt x="169" y="949"/>
                  </a:lnTo>
                  <a:lnTo>
                    <a:pt x="174" y="944"/>
                  </a:lnTo>
                  <a:lnTo>
                    <a:pt x="183" y="940"/>
                  </a:lnTo>
                  <a:lnTo>
                    <a:pt x="183" y="940"/>
                  </a:lnTo>
                  <a:lnTo>
                    <a:pt x="190" y="935"/>
                  </a:lnTo>
                  <a:lnTo>
                    <a:pt x="195" y="932"/>
                  </a:lnTo>
                  <a:lnTo>
                    <a:pt x="198" y="925"/>
                  </a:lnTo>
                  <a:lnTo>
                    <a:pt x="202" y="920"/>
                  </a:lnTo>
                  <a:lnTo>
                    <a:pt x="205" y="916"/>
                  </a:lnTo>
                  <a:lnTo>
                    <a:pt x="212" y="911"/>
                  </a:lnTo>
                  <a:lnTo>
                    <a:pt x="223" y="907"/>
                  </a:lnTo>
                  <a:lnTo>
                    <a:pt x="223" y="907"/>
                  </a:lnTo>
                  <a:lnTo>
                    <a:pt x="233" y="904"/>
                  </a:lnTo>
                  <a:lnTo>
                    <a:pt x="240" y="904"/>
                  </a:lnTo>
                  <a:lnTo>
                    <a:pt x="251" y="906"/>
                  </a:lnTo>
                  <a:lnTo>
                    <a:pt x="254" y="906"/>
                  </a:lnTo>
                  <a:lnTo>
                    <a:pt x="258" y="904"/>
                  </a:lnTo>
                  <a:lnTo>
                    <a:pt x="261" y="900"/>
                  </a:lnTo>
                  <a:lnTo>
                    <a:pt x="266" y="892"/>
                  </a:lnTo>
                  <a:lnTo>
                    <a:pt x="266" y="892"/>
                  </a:lnTo>
                  <a:lnTo>
                    <a:pt x="273" y="881"/>
                  </a:lnTo>
                  <a:lnTo>
                    <a:pt x="282" y="874"/>
                  </a:lnTo>
                  <a:lnTo>
                    <a:pt x="291" y="871"/>
                  </a:lnTo>
                  <a:lnTo>
                    <a:pt x="298" y="867"/>
                  </a:lnTo>
                  <a:lnTo>
                    <a:pt x="306" y="864"/>
                  </a:lnTo>
                  <a:lnTo>
                    <a:pt x="313" y="859"/>
                  </a:lnTo>
                  <a:lnTo>
                    <a:pt x="320" y="853"/>
                  </a:lnTo>
                  <a:lnTo>
                    <a:pt x="326" y="845"/>
                  </a:lnTo>
                  <a:lnTo>
                    <a:pt x="326" y="845"/>
                  </a:lnTo>
                  <a:lnTo>
                    <a:pt x="331" y="834"/>
                  </a:lnTo>
                  <a:lnTo>
                    <a:pt x="336" y="829"/>
                  </a:lnTo>
                  <a:lnTo>
                    <a:pt x="341" y="826"/>
                  </a:lnTo>
                  <a:lnTo>
                    <a:pt x="346" y="824"/>
                  </a:lnTo>
                  <a:lnTo>
                    <a:pt x="350" y="822"/>
                  </a:lnTo>
                  <a:lnTo>
                    <a:pt x="353" y="820"/>
                  </a:lnTo>
                  <a:lnTo>
                    <a:pt x="357" y="815"/>
                  </a:lnTo>
                  <a:lnTo>
                    <a:pt x="357" y="810"/>
                  </a:lnTo>
                  <a:lnTo>
                    <a:pt x="357" y="810"/>
                  </a:lnTo>
                  <a:lnTo>
                    <a:pt x="357" y="796"/>
                  </a:lnTo>
                  <a:lnTo>
                    <a:pt x="360" y="782"/>
                  </a:lnTo>
                  <a:lnTo>
                    <a:pt x="366" y="770"/>
                  </a:lnTo>
                  <a:lnTo>
                    <a:pt x="374" y="754"/>
                  </a:lnTo>
                  <a:lnTo>
                    <a:pt x="374" y="754"/>
                  </a:lnTo>
                  <a:lnTo>
                    <a:pt x="378" y="749"/>
                  </a:lnTo>
                  <a:lnTo>
                    <a:pt x="378" y="749"/>
                  </a:lnTo>
                  <a:lnTo>
                    <a:pt x="376" y="747"/>
                  </a:lnTo>
                  <a:lnTo>
                    <a:pt x="366" y="752"/>
                  </a:lnTo>
                  <a:lnTo>
                    <a:pt x="350" y="758"/>
                  </a:lnTo>
                  <a:lnTo>
                    <a:pt x="341" y="759"/>
                  </a:lnTo>
                  <a:lnTo>
                    <a:pt x="336" y="758"/>
                  </a:lnTo>
                  <a:lnTo>
                    <a:pt x="336" y="758"/>
                  </a:lnTo>
                  <a:lnTo>
                    <a:pt x="331" y="756"/>
                  </a:lnTo>
                  <a:lnTo>
                    <a:pt x="327" y="758"/>
                  </a:lnTo>
                  <a:lnTo>
                    <a:pt x="322" y="763"/>
                  </a:lnTo>
                  <a:lnTo>
                    <a:pt x="319" y="766"/>
                  </a:lnTo>
                  <a:lnTo>
                    <a:pt x="317" y="768"/>
                  </a:lnTo>
                  <a:lnTo>
                    <a:pt x="312" y="768"/>
                  </a:lnTo>
                  <a:lnTo>
                    <a:pt x="306" y="765"/>
                  </a:lnTo>
                  <a:lnTo>
                    <a:pt x="306" y="765"/>
                  </a:lnTo>
                  <a:lnTo>
                    <a:pt x="292" y="752"/>
                  </a:lnTo>
                  <a:lnTo>
                    <a:pt x="284" y="747"/>
                  </a:lnTo>
                  <a:lnTo>
                    <a:pt x="277" y="744"/>
                  </a:lnTo>
                  <a:lnTo>
                    <a:pt x="268" y="740"/>
                  </a:lnTo>
                  <a:lnTo>
                    <a:pt x="261" y="740"/>
                  </a:lnTo>
                  <a:lnTo>
                    <a:pt x="254" y="742"/>
                  </a:lnTo>
                  <a:lnTo>
                    <a:pt x="247" y="745"/>
                  </a:lnTo>
                  <a:lnTo>
                    <a:pt x="247" y="745"/>
                  </a:lnTo>
                  <a:lnTo>
                    <a:pt x="235" y="756"/>
                  </a:lnTo>
                  <a:lnTo>
                    <a:pt x="228" y="759"/>
                  </a:lnTo>
                  <a:lnTo>
                    <a:pt x="221" y="761"/>
                  </a:lnTo>
                  <a:lnTo>
                    <a:pt x="216" y="763"/>
                  </a:lnTo>
                  <a:lnTo>
                    <a:pt x="212" y="761"/>
                  </a:lnTo>
                  <a:lnTo>
                    <a:pt x="211" y="756"/>
                  </a:lnTo>
                  <a:lnTo>
                    <a:pt x="212" y="749"/>
                  </a:lnTo>
                  <a:lnTo>
                    <a:pt x="212" y="749"/>
                  </a:lnTo>
                  <a:lnTo>
                    <a:pt x="214" y="742"/>
                  </a:lnTo>
                  <a:lnTo>
                    <a:pt x="214" y="738"/>
                  </a:lnTo>
                  <a:lnTo>
                    <a:pt x="212" y="735"/>
                  </a:lnTo>
                  <a:lnTo>
                    <a:pt x="211" y="733"/>
                  </a:lnTo>
                  <a:lnTo>
                    <a:pt x="207" y="732"/>
                  </a:lnTo>
                  <a:lnTo>
                    <a:pt x="205" y="728"/>
                  </a:lnTo>
                  <a:lnTo>
                    <a:pt x="205" y="723"/>
                  </a:lnTo>
                  <a:lnTo>
                    <a:pt x="209" y="714"/>
                  </a:lnTo>
                  <a:lnTo>
                    <a:pt x="209" y="714"/>
                  </a:lnTo>
                  <a:lnTo>
                    <a:pt x="211" y="705"/>
                  </a:lnTo>
                  <a:lnTo>
                    <a:pt x="211" y="697"/>
                  </a:lnTo>
                  <a:lnTo>
                    <a:pt x="209" y="691"/>
                  </a:lnTo>
                  <a:lnTo>
                    <a:pt x="205" y="686"/>
                  </a:lnTo>
                  <a:lnTo>
                    <a:pt x="198" y="685"/>
                  </a:lnTo>
                  <a:lnTo>
                    <a:pt x="190" y="685"/>
                  </a:lnTo>
                  <a:lnTo>
                    <a:pt x="181" y="686"/>
                  </a:lnTo>
                  <a:lnTo>
                    <a:pt x="169" y="690"/>
                  </a:lnTo>
                  <a:lnTo>
                    <a:pt x="169" y="690"/>
                  </a:lnTo>
                  <a:lnTo>
                    <a:pt x="157" y="693"/>
                  </a:lnTo>
                  <a:lnTo>
                    <a:pt x="146" y="691"/>
                  </a:lnTo>
                  <a:lnTo>
                    <a:pt x="137" y="688"/>
                  </a:lnTo>
                  <a:lnTo>
                    <a:pt x="129" y="683"/>
                  </a:lnTo>
                  <a:lnTo>
                    <a:pt x="115" y="671"/>
                  </a:lnTo>
                  <a:lnTo>
                    <a:pt x="103" y="658"/>
                  </a:lnTo>
                  <a:lnTo>
                    <a:pt x="103" y="658"/>
                  </a:lnTo>
                  <a:lnTo>
                    <a:pt x="97" y="653"/>
                  </a:lnTo>
                  <a:lnTo>
                    <a:pt x="97" y="650"/>
                  </a:lnTo>
                  <a:lnTo>
                    <a:pt x="99" y="646"/>
                  </a:lnTo>
                  <a:lnTo>
                    <a:pt x="101" y="641"/>
                  </a:lnTo>
                  <a:lnTo>
                    <a:pt x="103" y="636"/>
                  </a:lnTo>
                  <a:lnTo>
                    <a:pt x="104" y="631"/>
                  </a:lnTo>
                  <a:lnTo>
                    <a:pt x="101" y="624"/>
                  </a:lnTo>
                  <a:lnTo>
                    <a:pt x="94" y="617"/>
                  </a:lnTo>
                  <a:lnTo>
                    <a:pt x="94" y="617"/>
                  </a:lnTo>
                  <a:lnTo>
                    <a:pt x="77" y="603"/>
                  </a:lnTo>
                  <a:lnTo>
                    <a:pt x="66" y="594"/>
                  </a:lnTo>
                  <a:lnTo>
                    <a:pt x="64" y="589"/>
                  </a:lnTo>
                  <a:lnTo>
                    <a:pt x="64" y="585"/>
                  </a:lnTo>
                  <a:lnTo>
                    <a:pt x="66" y="582"/>
                  </a:lnTo>
                  <a:lnTo>
                    <a:pt x="71" y="578"/>
                  </a:lnTo>
                  <a:lnTo>
                    <a:pt x="71" y="578"/>
                  </a:lnTo>
                  <a:lnTo>
                    <a:pt x="77" y="573"/>
                  </a:lnTo>
                  <a:lnTo>
                    <a:pt x="80" y="568"/>
                  </a:lnTo>
                  <a:lnTo>
                    <a:pt x="84" y="557"/>
                  </a:lnTo>
                  <a:lnTo>
                    <a:pt x="89" y="549"/>
                  </a:lnTo>
                  <a:lnTo>
                    <a:pt x="92" y="545"/>
                  </a:lnTo>
                  <a:lnTo>
                    <a:pt x="97" y="542"/>
                  </a:lnTo>
                  <a:lnTo>
                    <a:pt x="97" y="542"/>
                  </a:lnTo>
                  <a:lnTo>
                    <a:pt x="103" y="538"/>
                  </a:lnTo>
                  <a:lnTo>
                    <a:pt x="108" y="531"/>
                  </a:lnTo>
                  <a:lnTo>
                    <a:pt x="118" y="510"/>
                  </a:lnTo>
                  <a:lnTo>
                    <a:pt x="125" y="503"/>
                  </a:lnTo>
                  <a:lnTo>
                    <a:pt x="134" y="496"/>
                  </a:lnTo>
                  <a:lnTo>
                    <a:pt x="139" y="496"/>
                  </a:lnTo>
                  <a:lnTo>
                    <a:pt x="144" y="496"/>
                  </a:lnTo>
                  <a:lnTo>
                    <a:pt x="150" y="498"/>
                  </a:lnTo>
                  <a:lnTo>
                    <a:pt x="157" y="500"/>
                  </a:lnTo>
                  <a:lnTo>
                    <a:pt x="157" y="500"/>
                  </a:lnTo>
                  <a:lnTo>
                    <a:pt x="162" y="503"/>
                  </a:lnTo>
                  <a:lnTo>
                    <a:pt x="167" y="505"/>
                  </a:lnTo>
                  <a:lnTo>
                    <a:pt x="172" y="507"/>
                  </a:lnTo>
                  <a:lnTo>
                    <a:pt x="176" y="505"/>
                  </a:lnTo>
                  <a:lnTo>
                    <a:pt x="183" y="502"/>
                  </a:lnTo>
                  <a:lnTo>
                    <a:pt x="188" y="495"/>
                  </a:lnTo>
                  <a:lnTo>
                    <a:pt x="191" y="488"/>
                  </a:lnTo>
                  <a:lnTo>
                    <a:pt x="197" y="483"/>
                  </a:lnTo>
                  <a:lnTo>
                    <a:pt x="204" y="479"/>
                  </a:lnTo>
                  <a:lnTo>
                    <a:pt x="209" y="479"/>
                  </a:lnTo>
                  <a:lnTo>
                    <a:pt x="214" y="479"/>
                  </a:lnTo>
                  <a:lnTo>
                    <a:pt x="214" y="479"/>
                  </a:lnTo>
                  <a:lnTo>
                    <a:pt x="225" y="481"/>
                  </a:lnTo>
                  <a:lnTo>
                    <a:pt x="235" y="477"/>
                  </a:lnTo>
                  <a:lnTo>
                    <a:pt x="244" y="474"/>
                  </a:lnTo>
                  <a:lnTo>
                    <a:pt x="251" y="467"/>
                  </a:lnTo>
                  <a:lnTo>
                    <a:pt x="254" y="458"/>
                  </a:lnTo>
                  <a:lnTo>
                    <a:pt x="256" y="453"/>
                  </a:lnTo>
                  <a:lnTo>
                    <a:pt x="254" y="449"/>
                  </a:lnTo>
                  <a:lnTo>
                    <a:pt x="252" y="444"/>
                  </a:lnTo>
                  <a:lnTo>
                    <a:pt x="249" y="441"/>
                  </a:lnTo>
                  <a:lnTo>
                    <a:pt x="245" y="436"/>
                  </a:lnTo>
                  <a:lnTo>
                    <a:pt x="238" y="432"/>
                  </a:lnTo>
                  <a:lnTo>
                    <a:pt x="238" y="432"/>
                  </a:lnTo>
                  <a:lnTo>
                    <a:pt x="228" y="427"/>
                  </a:lnTo>
                  <a:lnTo>
                    <a:pt x="226" y="423"/>
                  </a:lnTo>
                  <a:lnTo>
                    <a:pt x="226" y="422"/>
                  </a:lnTo>
                  <a:lnTo>
                    <a:pt x="232" y="420"/>
                  </a:lnTo>
                  <a:lnTo>
                    <a:pt x="238" y="418"/>
                  </a:lnTo>
                  <a:lnTo>
                    <a:pt x="245" y="416"/>
                  </a:lnTo>
                  <a:lnTo>
                    <a:pt x="251" y="415"/>
                  </a:lnTo>
                  <a:lnTo>
                    <a:pt x="252" y="413"/>
                  </a:lnTo>
                  <a:lnTo>
                    <a:pt x="254" y="409"/>
                  </a:lnTo>
                  <a:lnTo>
                    <a:pt x="252" y="406"/>
                  </a:lnTo>
                  <a:lnTo>
                    <a:pt x="249" y="402"/>
                  </a:lnTo>
                  <a:lnTo>
                    <a:pt x="249" y="402"/>
                  </a:lnTo>
                  <a:lnTo>
                    <a:pt x="245" y="399"/>
                  </a:lnTo>
                  <a:lnTo>
                    <a:pt x="240" y="397"/>
                  </a:lnTo>
                  <a:lnTo>
                    <a:pt x="237" y="397"/>
                  </a:lnTo>
                  <a:lnTo>
                    <a:pt x="232" y="399"/>
                  </a:lnTo>
                  <a:lnTo>
                    <a:pt x="221" y="404"/>
                  </a:lnTo>
                  <a:lnTo>
                    <a:pt x="211" y="411"/>
                  </a:lnTo>
                  <a:lnTo>
                    <a:pt x="200" y="420"/>
                  </a:lnTo>
                  <a:lnTo>
                    <a:pt x="190" y="425"/>
                  </a:lnTo>
                  <a:lnTo>
                    <a:pt x="184" y="427"/>
                  </a:lnTo>
                  <a:lnTo>
                    <a:pt x="178" y="427"/>
                  </a:lnTo>
                  <a:lnTo>
                    <a:pt x="172" y="425"/>
                  </a:lnTo>
                  <a:lnTo>
                    <a:pt x="165" y="423"/>
                  </a:lnTo>
                  <a:lnTo>
                    <a:pt x="165" y="423"/>
                  </a:lnTo>
                  <a:lnTo>
                    <a:pt x="155" y="416"/>
                  </a:lnTo>
                  <a:lnTo>
                    <a:pt x="144" y="415"/>
                  </a:lnTo>
                  <a:lnTo>
                    <a:pt x="136" y="415"/>
                  </a:lnTo>
                  <a:lnTo>
                    <a:pt x="125" y="418"/>
                  </a:lnTo>
                  <a:lnTo>
                    <a:pt x="106" y="422"/>
                  </a:lnTo>
                  <a:lnTo>
                    <a:pt x="96" y="423"/>
                  </a:lnTo>
                  <a:lnTo>
                    <a:pt x="82" y="423"/>
                  </a:lnTo>
                  <a:lnTo>
                    <a:pt x="82" y="423"/>
                  </a:lnTo>
                  <a:lnTo>
                    <a:pt x="71" y="420"/>
                  </a:lnTo>
                  <a:lnTo>
                    <a:pt x="64" y="418"/>
                  </a:lnTo>
                  <a:lnTo>
                    <a:pt x="61" y="415"/>
                  </a:lnTo>
                  <a:lnTo>
                    <a:pt x="59" y="411"/>
                  </a:lnTo>
                  <a:lnTo>
                    <a:pt x="59" y="402"/>
                  </a:lnTo>
                  <a:lnTo>
                    <a:pt x="56" y="399"/>
                  </a:lnTo>
                  <a:lnTo>
                    <a:pt x="49" y="395"/>
                  </a:lnTo>
                  <a:lnTo>
                    <a:pt x="49" y="395"/>
                  </a:lnTo>
                  <a:lnTo>
                    <a:pt x="43" y="390"/>
                  </a:lnTo>
                  <a:lnTo>
                    <a:pt x="43" y="387"/>
                  </a:lnTo>
                  <a:lnTo>
                    <a:pt x="45" y="383"/>
                  </a:lnTo>
                  <a:lnTo>
                    <a:pt x="49" y="380"/>
                  </a:lnTo>
                  <a:lnTo>
                    <a:pt x="52" y="376"/>
                  </a:lnTo>
                  <a:lnTo>
                    <a:pt x="52" y="373"/>
                  </a:lnTo>
                  <a:lnTo>
                    <a:pt x="47" y="371"/>
                  </a:lnTo>
                  <a:lnTo>
                    <a:pt x="38" y="371"/>
                  </a:lnTo>
                  <a:lnTo>
                    <a:pt x="38" y="371"/>
                  </a:lnTo>
                  <a:lnTo>
                    <a:pt x="24" y="369"/>
                  </a:lnTo>
                  <a:lnTo>
                    <a:pt x="16" y="366"/>
                  </a:lnTo>
                  <a:lnTo>
                    <a:pt x="7" y="362"/>
                  </a:lnTo>
                  <a:lnTo>
                    <a:pt x="2" y="359"/>
                  </a:lnTo>
                  <a:lnTo>
                    <a:pt x="0" y="355"/>
                  </a:lnTo>
                  <a:lnTo>
                    <a:pt x="0" y="352"/>
                  </a:lnTo>
                  <a:lnTo>
                    <a:pt x="3" y="348"/>
                  </a:lnTo>
                  <a:lnTo>
                    <a:pt x="9" y="347"/>
                  </a:lnTo>
                  <a:lnTo>
                    <a:pt x="9" y="347"/>
                  </a:lnTo>
                  <a:lnTo>
                    <a:pt x="16" y="345"/>
                  </a:lnTo>
                  <a:lnTo>
                    <a:pt x="26" y="340"/>
                  </a:lnTo>
                  <a:lnTo>
                    <a:pt x="49" y="328"/>
                  </a:lnTo>
                  <a:lnTo>
                    <a:pt x="82" y="312"/>
                  </a:lnTo>
                  <a:lnTo>
                    <a:pt x="101" y="303"/>
                  </a:lnTo>
                  <a:lnTo>
                    <a:pt x="124" y="296"/>
                  </a:lnTo>
                  <a:lnTo>
                    <a:pt x="124" y="296"/>
                  </a:lnTo>
                  <a:lnTo>
                    <a:pt x="141" y="291"/>
                  </a:lnTo>
                  <a:lnTo>
                    <a:pt x="146" y="291"/>
                  </a:lnTo>
                  <a:lnTo>
                    <a:pt x="150" y="293"/>
                  </a:lnTo>
                  <a:lnTo>
                    <a:pt x="153" y="295"/>
                  </a:lnTo>
                  <a:lnTo>
                    <a:pt x="153" y="298"/>
                  </a:lnTo>
                  <a:lnTo>
                    <a:pt x="153" y="305"/>
                  </a:lnTo>
                  <a:lnTo>
                    <a:pt x="151" y="314"/>
                  </a:lnTo>
                  <a:lnTo>
                    <a:pt x="151" y="321"/>
                  </a:lnTo>
                  <a:lnTo>
                    <a:pt x="153" y="322"/>
                  </a:lnTo>
                  <a:lnTo>
                    <a:pt x="157" y="324"/>
                  </a:lnTo>
                  <a:lnTo>
                    <a:pt x="162" y="326"/>
                  </a:lnTo>
                  <a:lnTo>
                    <a:pt x="169" y="324"/>
                  </a:lnTo>
                  <a:lnTo>
                    <a:pt x="169" y="324"/>
                  </a:lnTo>
                  <a:lnTo>
                    <a:pt x="184" y="322"/>
                  </a:lnTo>
                  <a:lnTo>
                    <a:pt x="195" y="322"/>
                  </a:lnTo>
                  <a:lnTo>
                    <a:pt x="204" y="324"/>
                  </a:lnTo>
                  <a:lnTo>
                    <a:pt x="209" y="326"/>
                  </a:lnTo>
                  <a:lnTo>
                    <a:pt x="216" y="329"/>
                  </a:lnTo>
                  <a:lnTo>
                    <a:pt x="218" y="328"/>
                  </a:lnTo>
                  <a:lnTo>
                    <a:pt x="219" y="328"/>
                  </a:lnTo>
                  <a:lnTo>
                    <a:pt x="219" y="328"/>
                  </a:lnTo>
                  <a:lnTo>
                    <a:pt x="225" y="322"/>
                  </a:lnTo>
                  <a:lnTo>
                    <a:pt x="230" y="321"/>
                  </a:lnTo>
                  <a:lnTo>
                    <a:pt x="233" y="321"/>
                  </a:lnTo>
                  <a:lnTo>
                    <a:pt x="235" y="321"/>
                  </a:lnTo>
                  <a:lnTo>
                    <a:pt x="237" y="322"/>
                  </a:lnTo>
                  <a:lnTo>
                    <a:pt x="238" y="322"/>
                  </a:lnTo>
                  <a:lnTo>
                    <a:pt x="240" y="315"/>
                  </a:lnTo>
                  <a:lnTo>
                    <a:pt x="240" y="315"/>
                  </a:lnTo>
                  <a:lnTo>
                    <a:pt x="238" y="310"/>
                  </a:lnTo>
                  <a:lnTo>
                    <a:pt x="237" y="308"/>
                  </a:lnTo>
                  <a:lnTo>
                    <a:pt x="232" y="308"/>
                  </a:lnTo>
                  <a:lnTo>
                    <a:pt x="226" y="308"/>
                  </a:lnTo>
                  <a:lnTo>
                    <a:pt x="221" y="308"/>
                  </a:lnTo>
                  <a:lnTo>
                    <a:pt x="216" y="308"/>
                  </a:lnTo>
                  <a:lnTo>
                    <a:pt x="212" y="307"/>
                  </a:lnTo>
                  <a:lnTo>
                    <a:pt x="211" y="300"/>
                  </a:lnTo>
                  <a:lnTo>
                    <a:pt x="211" y="300"/>
                  </a:lnTo>
                  <a:lnTo>
                    <a:pt x="209" y="295"/>
                  </a:lnTo>
                  <a:lnTo>
                    <a:pt x="205" y="291"/>
                  </a:lnTo>
                  <a:lnTo>
                    <a:pt x="202" y="289"/>
                  </a:lnTo>
                  <a:lnTo>
                    <a:pt x="198" y="288"/>
                  </a:lnTo>
                  <a:lnTo>
                    <a:pt x="195" y="288"/>
                  </a:lnTo>
                  <a:lnTo>
                    <a:pt x="193" y="286"/>
                  </a:lnTo>
                  <a:lnTo>
                    <a:pt x="191" y="282"/>
                  </a:lnTo>
                  <a:lnTo>
                    <a:pt x="193" y="275"/>
                  </a:lnTo>
                  <a:lnTo>
                    <a:pt x="193" y="275"/>
                  </a:lnTo>
                  <a:lnTo>
                    <a:pt x="193" y="268"/>
                  </a:lnTo>
                  <a:lnTo>
                    <a:pt x="191" y="268"/>
                  </a:lnTo>
                  <a:lnTo>
                    <a:pt x="190" y="267"/>
                  </a:lnTo>
                  <a:lnTo>
                    <a:pt x="184" y="267"/>
                  </a:lnTo>
                  <a:lnTo>
                    <a:pt x="179" y="268"/>
                  </a:lnTo>
                  <a:lnTo>
                    <a:pt x="171" y="268"/>
                  </a:lnTo>
                  <a:lnTo>
                    <a:pt x="162" y="267"/>
                  </a:lnTo>
                  <a:lnTo>
                    <a:pt x="155" y="260"/>
                  </a:lnTo>
                  <a:lnTo>
                    <a:pt x="150" y="254"/>
                  </a:lnTo>
                  <a:lnTo>
                    <a:pt x="146" y="248"/>
                  </a:lnTo>
                  <a:lnTo>
                    <a:pt x="146" y="248"/>
                  </a:lnTo>
                  <a:lnTo>
                    <a:pt x="143" y="241"/>
                  </a:lnTo>
                  <a:lnTo>
                    <a:pt x="136" y="235"/>
                  </a:lnTo>
                  <a:lnTo>
                    <a:pt x="120" y="223"/>
                  </a:lnTo>
                  <a:lnTo>
                    <a:pt x="101" y="213"/>
                  </a:lnTo>
                  <a:lnTo>
                    <a:pt x="80" y="204"/>
                  </a:lnTo>
                  <a:lnTo>
                    <a:pt x="64" y="197"/>
                  </a:lnTo>
                  <a:lnTo>
                    <a:pt x="50" y="192"/>
                  </a:lnTo>
                  <a:lnTo>
                    <a:pt x="47" y="188"/>
                  </a:lnTo>
                  <a:lnTo>
                    <a:pt x="45" y="187"/>
                  </a:lnTo>
                  <a:lnTo>
                    <a:pt x="47" y="185"/>
                  </a:lnTo>
                  <a:lnTo>
                    <a:pt x="50" y="183"/>
                  </a:lnTo>
                  <a:lnTo>
                    <a:pt x="50" y="183"/>
                  </a:lnTo>
                  <a:lnTo>
                    <a:pt x="59" y="180"/>
                  </a:lnTo>
                  <a:lnTo>
                    <a:pt x="63" y="174"/>
                  </a:lnTo>
                  <a:lnTo>
                    <a:pt x="64" y="171"/>
                  </a:lnTo>
                  <a:lnTo>
                    <a:pt x="64" y="166"/>
                  </a:lnTo>
                  <a:lnTo>
                    <a:pt x="66" y="162"/>
                  </a:lnTo>
                  <a:lnTo>
                    <a:pt x="68" y="160"/>
                  </a:lnTo>
                  <a:lnTo>
                    <a:pt x="73" y="157"/>
                  </a:lnTo>
                  <a:lnTo>
                    <a:pt x="84" y="157"/>
                  </a:lnTo>
                  <a:lnTo>
                    <a:pt x="84" y="157"/>
                  </a:lnTo>
                  <a:lnTo>
                    <a:pt x="106" y="155"/>
                  </a:lnTo>
                  <a:lnTo>
                    <a:pt x="124" y="153"/>
                  </a:lnTo>
                  <a:lnTo>
                    <a:pt x="137" y="148"/>
                  </a:lnTo>
                  <a:lnTo>
                    <a:pt x="150" y="143"/>
                  </a:lnTo>
                  <a:lnTo>
                    <a:pt x="158" y="133"/>
                  </a:lnTo>
                  <a:lnTo>
                    <a:pt x="167" y="122"/>
                  </a:lnTo>
                  <a:lnTo>
                    <a:pt x="176" y="106"/>
                  </a:lnTo>
                  <a:lnTo>
                    <a:pt x="184" y="89"/>
                  </a:lnTo>
                  <a:lnTo>
                    <a:pt x="184" y="89"/>
                  </a:lnTo>
                  <a:lnTo>
                    <a:pt x="193" y="75"/>
                  </a:lnTo>
                  <a:lnTo>
                    <a:pt x="197" y="70"/>
                  </a:lnTo>
                  <a:lnTo>
                    <a:pt x="202" y="68"/>
                  </a:lnTo>
                  <a:lnTo>
                    <a:pt x="205" y="66"/>
                  </a:lnTo>
                  <a:lnTo>
                    <a:pt x="209" y="65"/>
                  </a:lnTo>
                  <a:lnTo>
                    <a:pt x="218" y="66"/>
                  </a:lnTo>
                  <a:lnTo>
                    <a:pt x="228" y="66"/>
                  </a:lnTo>
                  <a:lnTo>
                    <a:pt x="238" y="66"/>
                  </a:lnTo>
                  <a:lnTo>
                    <a:pt x="245" y="65"/>
                  </a:lnTo>
                  <a:lnTo>
                    <a:pt x="252" y="61"/>
                  </a:lnTo>
                  <a:lnTo>
                    <a:pt x="261" y="58"/>
                  </a:lnTo>
                  <a:lnTo>
                    <a:pt x="270" y="51"/>
                  </a:lnTo>
                  <a:lnTo>
                    <a:pt x="270" y="51"/>
                  </a:lnTo>
                  <a:lnTo>
                    <a:pt x="287" y="39"/>
                  </a:lnTo>
                  <a:lnTo>
                    <a:pt x="303" y="33"/>
                  </a:lnTo>
                  <a:lnTo>
                    <a:pt x="317" y="32"/>
                  </a:lnTo>
                  <a:lnTo>
                    <a:pt x="329" y="30"/>
                  </a:lnTo>
                  <a:lnTo>
                    <a:pt x="341" y="32"/>
                  </a:lnTo>
                  <a:lnTo>
                    <a:pt x="352" y="30"/>
                  </a:lnTo>
                  <a:lnTo>
                    <a:pt x="364" y="26"/>
                  </a:lnTo>
                  <a:lnTo>
                    <a:pt x="376" y="18"/>
                  </a:lnTo>
                  <a:lnTo>
                    <a:pt x="376" y="18"/>
                  </a:lnTo>
                  <a:lnTo>
                    <a:pt x="388" y="9"/>
                  </a:lnTo>
                  <a:lnTo>
                    <a:pt x="397" y="2"/>
                  </a:lnTo>
                  <a:lnTo>
                    <a:pt x="406" y="0"/>
                  </a:lnTo>
                  <a:lnTo>
                    <a:pt x="413" y="2"/>
                  </a:lnTo>
                  <a:lnTo>
                    <a:pt x="420" y="4"/>
                  </a:lnTo>
                  <a:lnTo>
                    <a:pt x="425" y="7"/>
                  </a:lnTo>
                  <a:lnTo>
                    <a:pt x="435" y="16"/>
                  </a:lnTo>
                  <a:lnTo>
                    <a:pt x="435" y="16"/>
                  </a:lnTo>
                  <a:lnTo>
                    <a:pt x="440" y="19"/>
                  </a:lnTo>
                  <a:lnTo>
                    <a:pt x="444" y="19"/>
                  </a:lnTo>
                  <a:lnTo>
                    <a:pt x="453" y="18"/>
                  </a:lnTo>
                  <a:lnTo>
                    <a:pt x="456" y="16"/>
                  </a:lnTo>
                  <a:lnTo>
                    <a:pt x="460" y="14"/>
                  </a:lnTo>
                  <a:lnTo>
                    <a:pt x="465" y="16"/>
                  </a:lnTo>
                  <a:lnTo>
                    <a:pt x="470" y="19"/>
                  </a:lnTo>
                  <a:lnTo>
                    <a:pt x="470" y="19"/>
                  </a:lnTo>
                  <a:lnTo>
                    <a:pt x="479" y="28"/>
                  </a:lnTo>
                  <a:lnTo>
                    <a:pt x="480" y="28"/>
                  </a:lnTo>
                  <a:lnTo>
                    <a:pt x="486" y="30"/>
                  </a:lnTo>
                  <a:lnTo>
                    <a:pt x="498" y="28"/>
                  </a:lnTo>
                  <a:lnTo>
                    <a:pt x="528" y="28"/>
                  </a:lnTo>
                  <a:lnTo>
                    <a:pt x="528" y="28"/>
                  </a:lnTo>
                  <a:lnTo>
                    <a:pt x="541" y="28"/>
                  </a:lnTo>
                  <a:lnTo>
                    <a:pt x="550" y="30"/>
                  </a:lnTo>
                  <a:lnTo>
                    <a:pt x="552" y="33"/>
                  </a:lnTo>
                  <a:lnTo>
                    <a:pt x="554" y="35"/>
                  </a:lnTo>
                  <a:lnTo>
                    <a:pt x="554" y="40"/>
                  </a:lnTo>
                  <a:lnTo>
                    <a:pt x="557" y="44"/>
                  </a:lnTo>
                  <a:lnTo>
                    <a:pt x="564" y="49"/>
                  </a:lnTo>
                  <a:lnTo>
                    <a:pt x="578" y="54"/>
                  </a:lnTo>
                  <a:lnTo>
                    <a:pt x="578" y="54"/>
                  </a:lnTo>
                  <a:lnTo>
                    <a:pt x="594" y="58"/>
                  </a:lnTo>
                  <a:lnTo>
                    <a:pt x="608" y="58"/>
                  </a:lnTo>
                  <a:lnTo>
                    <a:pt x="618" y="56"/>
                  </a:lnTo>
                  <a:lnTo>
                    <a:pt x="628" y="54"/>
                  </a:lnTo>
                  <a:lnTo>
                    <a:pt x="637" y="53"/>
                  </a:lnTo>
                  <a:lnTo>
                    <a:pt x="648" y="51"/>
                  </a:lnTo>
                  <a:lnTo>
                    <a:pt x="662" y="53"/>
                  </a:lnTo>
                  <a:lnTo>
                    <a:pt x="677" y="58"/>
                  </a:lnTo>
                  <a:lnTo>
                    <a:pt x="677" y="58"/>
                  </a:lnTo>
                  <a:lnTo>
                    <a:pt x="695" y="65"/>
                  </a:lnTo>
                  <a:lnTo>
                    <a:pt x="710" y="68"/>
                  </a:lnTo>
                  <a:lnTo>
                    <a:pt x="742" y="73"/>
                  </a:lnTo>
                  <a:lnTo>
                    <a:pt x="770" y="75"/>
                  </a:lnTo>
                  <a:lnTo>
                    <a:pt x="782" y="77"/>
                  </a:lnTo>
                  <a:lnTo>
                    <a:pt x="794" y="82"/>
                  </a:lnTo>
                  <a:lnTo>
                    <a:pt x="794" y="82"/>
                  </a:lnTo>
                  <a:lnTo>
                    <a:pt x="803" y="84"/>
                  </a:lnTo>
                  <a:lnTo>
                    <a:pt x="811" y="86"/>
                  </a:lnTo>
                  <a:lnTo>
                    <a:pt x="818" y="86"/>
                  </a:lnTo>
                  <a:lnTo>
                    <a:pt x="827" y="84"/>
                  </a:lnTo>
                  <a:lnTo>
                    <a:pt x="844" y="80"/>
                  </a:lnTo>
                  <a:lnTo>
                    <a:pt x="855" y="79"/>
                  </a:lnTo>
                  <a:lnTo>
                    <a:pt x="869" y="79"/>
                  </a:lnTo>
                  <a:lnTo>
                    <a:pt x="869" y="79"/>
                  </a:lnTo>
                  <a:lnTo>
                    <a:pt x="883" y="82"/>
                  </a:lnTo>
                  <a:lnTo>
                    <a:pt x="893" y="86"/>
                  </a:lnTo>
                  <a:lnTo>
                    <a:pt x="902" y="91"/>
                  </a:lnTo>
                  <a:lnTo>
                    <a:pt x="909" y="94"/>
                  </a:lnTo>
                  <a:lnTo>
                    <a:pt x="916" y="100"/>
                  </a:lnTo>
                  <a:lnTo>
                    <a:pt x="925" y="103"/>
                  </a:lnTo>
                  <a:lnTo>
                    <a:pt x="935" y="106"/>
                  </a:lnTo>
                  <a:lnTo>
                    <a:pt x="949" y="106"/>
                  </a:lnTo>
                  <a:lnTo>
                    <a:pt x="949" y="106"/>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 name="Freeform 1702">
              <a:extLst>
                <a:ext uri="{FF2B5EF4-FFF2-40B4-BE49-F238E27FC236}">
                  <a16:creationId xmlns:a16="http://schemas.microsoft.com/office/drawing/2014/main" id="{395DF1C6-6048-4112-84E7-2A51D7274BDD}"/>
                </a:ext>
              </a:extLst>
            </p:cNvPr>
            <p:cNvSpPr>
              <a:spLocks/>
            </p:cNvSpPr>
            <p:nvPr/>
          </p:nvSpPr>
          <p:spPr bwMode="auto">
            <a:xfrm>
              <a:off x="1674998" y="2693393"/>
              <a:ext cx="1622802" cy="923292"/>
            </a:xfrm>
            <a:custGeom>
              <a:avLst/>
              <a:gdLst/>
              <a:ahLst/>
              <a:cxnLst>
                <a:cxn ang="0">
                  <a:pos x="1689" y="300"/>
                </a:cxn>
                <a:cxn ang="0">
                  <a:pos x="1607" y="333"/>
                </a:cxn>
                <a:cxn ang="0">
                  <a:pos x="1466" y="388"/>
                </a:cxn>
                <a:cxn ang="0">
                  <a:pos x="1482" y="338"/>
                </a:cxn>
                <a:cxn ang="0">
                  <a:pos x="1435" y="287"/>
                </a:cxn>
                <a:cxn ang="0">
                  <a:pos x="1435" y="200"/>
                </a:cxn>
                <a:cxn ang="0">
                  <a:pos x="1381" y="209"/>
                </a:cxn>
                <a:cxn ang="0">
                  <a:pos x="1346" y="261"/>
                </a:cxn>
                <a:cxn ang="0">
                  <a:pos x="1315" y="385"/>
                </a:cxn>
                <a:cxn ang="0">
                  <a:pos x="1304" y="260"/>
                </a:cxn>
                <a:cxn ang="0">
                  <a:pos x="1301" y="218"/>
                </a:cxn>
                <a:cxn ang="0">
                  <a:pos x="1357" y="172"/>
                </a:cxn>
                <a:cxn ang="0">
                  <a:pos x="1432" y="167"/>
                </a:cxn>
                <a:cxn ang="0">
                  <a:pos x="1355" y="139"/>
                </a:cxn>
                <a:cxn ang="0">
                  <a:pos x="1271" y="122"/>
                </a:cxn>
                <a:cxn ang="0">
                  <a:pos x="1188" y="134"/>
                </a:cxn>
                <a:cxn ang="0">
                  <a:pos x="1233" y="70"/>
                </a:cxn>
                <a:cxn ang="0">
                  <a:pos x="1132" y="54"/>
                </a:cxn>
                <a:cxn ang="0">
                  <a:pos x="1050" y="7"/>
                </a:cxn>
                <a:cxn ang="0">
                  <a:pos x="72" y="47"/>
                </a:cxn>
                <a:cxn ang="0">
                  <a:pos x="12" y="54"/>
                </a:cxn>
                <a:cxn ang="0">
                  <a:pos x="9" y="334"/>
                </a:cxn>
                <a:cxn ang="0">
                  <a:pos x="61" y="549"/>
                </a:cxn>
                <a:cxn ang="0">
                  <a:pos x="103" y="643"/>
                </a:cxn>
                <a:cxn ang="0">
                  <a:pos x="228" y="761"/>
                </a:cxn>
                <a:cxn ang="0">
                  <a:pos x="695" y="905"/>
                </a:cxn>
                <a:cxn ang="0">
                  <a:pos x="805" y="937"/>
                </a:cxn>
                <a:cxn ang="0">
                  <a:pos x="961" y="1118"/>
                </a:cxn>
                <a:cxn ang="0">
                  <a:pos x="996" y="1001"/>
                </a:cxn>
                <a:cxn ang="0">
                  <a:pos x="1099" y="942"/>
                </a:cxn>
                <a:cxn ang="0">
                  <a:pos x="1160" y="942"/>
                </a:cxn>
                <a:cxn ang="0">
                  <a:pos x="1212" y="972"/>
                </a:cxn>
                <a:cxn ang="0">
                  <a:pos x="1245" y="959"/>
                </a:cxn>
                <a:cxn ang="0">
                  <a:pos x="1228" y="926"/>
                </a:cxn>
                <a:cxn ang="0">
                  <a:pos x="1259" y="912"/>
                </a:cxn>
                <a:cxn ang="0">
                  <a:pos x="1371" y="923"/>
                </a:cxn>
                <a:cxn ang="0">
                  <a:pos x="1437" y="933"/>
                </a:cxn>
                <a:cxn ang="0">
                  <a:pos x="1484" y="1038"/>
                </a:cxn>
                <a:cxn ang="0">
                  <a:pos x="1515" y="1114"/>
                </a:cxn>
                <a:cxn ang="0">
                  <a:pos x="1560" y="1141"/>
                </a:cxn>
                <a:cxn ang="0">
                  <a:pos x="1526" y="939"/>
                </a:cxn>
                <a:cxn ang="0">
                  <a:pos x="1588" y="796"/>
                </a:cxn>
                <a:cxn ang="0">
                  <a:pos x="1686" y="714"/>
                </a:cxn>
                <a:cxn ang="0">
                  <a:pos x="1689" y="690"/>
                </a:cxn>
                <a:cxn ang="0">
                  <a:pos x="1710" y="658"/>
                </a:cxn>
                <a:cxn ang="0">
                  <a:pos x="1726" y="663"/>
                </a:cxn>
                <a:cxn ang="0">
                  <a:pos x="1694" y="596"/>
                </a:cxn>
                <a:cxn ang="0">
                  <a:pos x="1693" y="528"/>
                </a:cxn>
                <a:cxn ang="0">
                  <a:pos x="1700" y="540"/>
                </a:cxn>
                <a:cxn ang="0">
                  <a:pos x="1715" y="597"/>
                </a:cxn>
                <a:cxn ang="0">
                  <a:pos x="1736" y="468"/>
                </a:cxn>
                <a:cxn ang="0">
                  <a:pos x="1776" y="474"/>
                </a:cxn>
                <a:cxn ang="0">
                  <a:pos x="1870" y="395"/>
                </a:cxn>
                <a:cxn ang="0">
                  <a:pos x="1917" y="385"/>
                </a:cxn>
                <a:cxn ang="0">
                  <a:pos x="1898" y="361"/>
                </a:cxn>
                <a:cxn ang="0">
                  <a:pos x="1916" y="280"/>
                </a:cxn>
                <a:cxn ang="0">
                  <a:pos x="1975" y="253"/>
                </a:cxn>
                <a:cxn ang="0">
                  <a:pos x="2010" y="209"/>
                </a:cxn>
                <a:cxn ang="0">
                  <a:pos x="1961" y="112"/>
                </a:cxn>
                <a:cxn ang="0">
                  <a:pos x="1909" y="176"/>
                </a:cxn>
                <a:cxn ang="0">
                  <a:pos x="1877" y="207"/>
                </a:cxn>
              </a:cxnLst>
              <a:rect l="0" t="0" r="r" b="b"/>
              <a:pathLst>
                <a:path w="2025" h="1153">
                  <a:moveTo>
                    <a:pt x="1717" y="247"/>
                  </a:moveTo>
                  <a:lnTo>
                    <a:pt x="1717" y="247"/>
                  </a:lnTo>
                  <a:lnTo>
                    <a:pt x="1717" y="251"/>
                  </a:lnTo>
                  <a:lnTo>
                    <a:pt x="1714" y="254"/>
                  </a:lnTo>
                  <a:lnTo>
                    <a:pt x="1710" y="256"/>
                  </a:lnTo>
                  <a:lnTo>
                    <a:pt x="1705" y="260"/>
                  </a:lnTo>
                  <a:lnTo>
                    <a:pt x="1705" y="260"/>
                  </a:lnTo>
                  <a:lnTo>
                    <a:pt x="1701" y="261"/>
                  </a:lnTo>
                  <a:lnTo>
                    <a:pt x="1700" y="265"/>
                  </a:lnTo>
                  <a:lnTo>
                    <a:pt x="1700" y="268"/>
                  </a:lnTo>
                  <a:lnTo>
                    <a:pt x="1703" y="270"/>
                  </a:lnTo>
                  <a:lnTo>
                    <a:pt x="1703" y="270"/>
                  </a:lnTo>
                  <a:lnTo>
                    <a:pt x="1705" y="273"/>
                  </a:lnTo>
                  <a:lnTo>
                    <a:pt x="1705" y="275"/>
                  </a:lnTo>
                  <a:lnTo>
                    <a:pt x="1703" y="279"/>
                  </a:lnTo>
                  <a:lnTo>
                    <a:pt x="1703" y="284"/>
                  </a:lnTo>
                  <a:lnTo>
                    <a:pt x="1703" y="284"/>
                  </a:lnTo>
                  <a:lnTo>
                    <a:pt x="1703" y="289"/>
                  </a:lnTo>
                  <a:lnTo>
                    <a:pt x="1700" y="293"/>
                  </a:lnTo>
                  <a:lnTo>
                    <a:pt x="1694" y="294"/>
                  </a:lnTo>
                  <a:lnTo>
                    <a:pt x="1689" y="300"/>
                  </a:lnTo>
                  <a:lnTo>
                    <a:pt x="1689" y="300"/>
                  </a:lnTo>
                  <a:lnTo>
                    <a:pt x="1686" y="303"/>
                  </a:lnTo>
                  <a:lnTo>
                    <a:pt x="1682" y="305"/>
                  </a:lnTo>
                  <a:lnTo>
                    <a:pt x="1670" y="307"/>
                  </a:lnTo>
                  <a:lnTo>
                    <a:pt x="1660" y="307"/>
                  </a:lnTo>
                  <a:lnTo>
                    <a:pt x="1649" y="303"/>
                  </a:lnTo>
                  <a:lnTo>
                    <a:pt x="1649" y="303"/>
                  </a:lnTo>
                  <a:lnTo>
                    <a:pt x="1640" y="301"/>
                  </a:lnTo>
                  <a:lnTo>
                    <a:pt x="1630" y="300"/>
                  </a:lnTo>
                  <a:lnTo>
                    <a:pt x="1620" y="301"/>
                  </a:lnTo>
                  <a:lnTo>
                    <a:pt x="1613" y="303"/>
                  </a:lnTo>
                  <a:lnTo>
                    <a:pt x="1613" y="303"/>
                  </a:lnTo>
                  <a:lnTo>
                    <a:pt x="1606" y="307"/>
                  </a:lnTo>
                  <a:lnTo>
                    <a:pt x="1600" y="308"/>
                  </a:lnTo>
                  <a:lnTo>
                    <a:pt x="1593" y="310"/>
                  </a:lnTo>
                  <a:lnTo>
                    <a:pt x="1606" y="317"/>
                  </a:lnTo>
                  <a:lnTo>
                    <a:pt x="1606" y="317"/>
                  </a:lnTo>
                  <a:lnTo>
                    <a:pt x="1607" y="317"/>
                  </a:lnTo>
                  <a:lnTo>
                    <a:pt x="1609" y="319"/>
                  </a:lnTo>
                  <a:lnTo>
                    <a:pt x="1611" y="324"/>
                  </a:lnTo>
                  <a:lnTo>
                    <a:pt x="1609" y="329"/>
                  </a:lnTo>
                  <a:lnTo>
                    <a:pt x="1607" y="333"/>
                  </a:lnTo>
                  <a:lnTo>
                    <a:pt x="1607" y="333"/>
                  </a:lnTo>
                  <a:lnTo>
                    <a:pt x="1590" y="347"/>
                  </a:lnTo>
                  <a:lnTo>
                    <a:pt x="1580" y="355"/>
                  </a:lnTo>
                  <a:lnTo>
                    <a:pt x="1571" y="361"/>
                  </a:lnTo>
                  <a:lnTo>
                    <a:pt x="1571" y="361"/>
                  </a:lnTo>
                  <a:lnTo>
                    <a:pt x="1562" y="364"/>
                  </a:lnTo>
                  <a:lnTo>
                    <a:pt x="1552" y="369"/>
                  </a:lnTo>
                  <a:lnTo>
                    <a:pt x="1538" y="378"/>
                  </a:lnTo>
                  <a:lnTo>
                    <a:pt x="1519" y="387"/>
                  </a:lnTo>
                  <a:lnTo>
                    <a:pt x="1519" y="387"/>
                  </a:lnTo>
                  <a:lnTo>
                    <a:pt x="1501" y="394"/>
                  </a:lnTo>
                  <a:lnTo>
                    <a:pt x="1484" y="397"/>
                  </a:lnTo>
                  <a:lnTo>
                    <a:pt x="1472" y="397"/>
                  </a:lnTo>
                  <a:lnTo>
                    <a:pt x="1465" y="395"/>
                  </a:lnTo>
                  <a:lnTo>
                    <a:pt x="1465" y="395"/>
                  </a:lnTo>
                  <a:lnTo>
                    <a:pt x="1463" y="394"/>
                  </a:lnTo>
                  <a:lnTo>
                    <a:pt x="1465" y="394"/>
                  </a:lnTo>
                  <a:lnTo>
                    <a:pt x="1468" y="392"/>
                  </a:lnTo>
                  <a:lnTo>
                    <a:pt x="1472" y="390"/>
                  </a:lnTo>
                  <a:lnTo>
                    <a:pt x="1473" y="390"/>
                  </a:lnTo>
                  <a:lnTo>
                    <a:pt x="1472" y="388"/>
                  </a:lnTo>
                  <a:lnTo>
                    <a:pt x="1472" y="388"/>
                  </a:lnTo>
                  <a:lnTo>
                    <a:pt x="1466" y="388"/>
                  </a:lnTo>
                  <a:lnTo>
                    <a:pt x="1458" y="387"/>
                  </a:lnTo>
                  <a:lnTo>
                    <a:pt x="1451" y="385"/>
                  </a:lnTo>
                  <a:lnTo>
                    <a:pt x="1449" y="385"/>
                  </a:lnTo>
                  <a:lnTo>
                    <a:pt x="1447" y="383"/>
                  </a:lnTo>
                  <a:lnTo>
                    <a:pt x="1447" y="383"/>
                  </a:lnTo>
                  <a:lnTo>
                    <a:pt x="1449" y="378"/>
                  </a:lnTo>
                  <a:lnTo>
                    <a:pt x="1451" y="374"/>
                  </a:lnTo>
                  <a:lnTo>
                    <a:pt x="1454" y="369"/>
                  </a:lnTo>
                  <a:lnTo>
                    <a:pt x="1456" y="361"/>
                  </a:lnTo>
                  <a:lnTo>
                    <a:pt x="1456" y="361"/>
                  </a:lnTo>
                  <a:lnTo>
                    <a:pt x="1459" y="354"/>
                  </a:lnTo>
                  <a:lnTo>
                    <a:pt x="1461" y="350"/>
                  </a:lnTo>
                  <a:lnTo>
                    <a:pt x="1465" y="348"/>
                  </a:lnTo>
                  <a:lnTo>
                    <a:pt x="1468" y="341"/>
                  </a:lnTo>
                  <a:lnTo>
                    <a:pt x="1468" y="341"/>
                  </a:lnTo>
                  <a:lnTo>
                    <a:pt x="1472" y="336"/>
                  </a:lnTo>
                  <a:lnTo>
                    <a:pt x="1473" y="334"/>
                  </a:lnTo>
                  <a:lnTo>
                    <a:pt x="1477" y="336"/>
                  </a:lnTo>
                  <a:lnTo>
                    <a:pt x="1477" y="341"/>
                  </a:lnTo>
                  <a:lnTo>
                    <a:pt x="1477" y="341"/>
                  </a:lnTo>
                  <a:lnTo>
                    <a:pt x="1480" y="341"/>
                  </a:lnTo>
                  <a:lnTo>
                    <a:pt x="1482" y="338"/>
                  </a:lnTo>
                  <a:lnTo>
                    <a:pt x="1482" y="331"/>
                  </a:lnTo>
                  <a:lnTo>
                    <a:pt x="1482" y="331"/>
                  </a:lnTo>
                  <a:lnTo>
                    <a:pt x="1484" y="326"/>
                  </a:lnTo>
                  <a:lnTo>
                    <a:pt x="1486" y="319"/>
                  </a:lnTo>
                  <a:lnTo>
                    <a:pt x="1486" y="319"/>
                  </a:lnTo>
                  <a:lnTo>
                    <a:pt x="1482" y="314"/>
                  </a:lnTo>
                  <a:lnTo>
                    <a:pt x="1480" y="307"/>
                  </a:lnTo>
                  <a:lnTo>
                    <a:pt x="1477" y="289"/>
                  </a:lnTo>
                  <a:lnTo>
                    <a:pt x="1475" y="280"/>
                  </a:lnTo>
                  <a:lnTo>
                    <a:pt x="1472" y="273"/>
                  </a:lnTo>
                  <a:lnTo>
                    <a:pt x="1468" y="270"/>
                  </a:lnTo>
                  <a:lnTo>
                    <a:pt x="1463" y="268"/>
                  </a:lnTo>
                  <a:lnTo>
                    <a:pt x="1463" y="268"/>
                  </a:lnTo>
                  <a:lnTo>
                    <a:pt x="1458" y="270"/>
                  </a:lnTo>
                  <a:lnTo>
                    <a:pt x="1454" y="273"/>
                  </a:lnTo>
                  <a:lnTo>
                    <a:pt x="1449" y="280"/>
                  </a:lnTo>
                  <a:lnTo>
                    <a:pt x="1445" y="286"/>
                  </a:lnTo>
                  <a:lnTo>
                    <a:pt x="1442" y="289"/>
                  </a:lnTo>
                  <a:lnTo>
                    <a:pt x="1440" y="289"/>
                  </a:lnTo>
                  <a:lnTo>
                    <a:pt x="1440" y="289"/>
                  </a:lnTo>
                  <a:lnTo>
                    <a:pt x="1437" y="289"/>
                  </a:lnTo>
                  <a:lnTo>
                    <a:pt x="1435" y="287"/>
                  </a:lnTo>
                  <a:lnTo>
                    <a:pt x="1432" y="282"/>
                  </a:lnTo>
                  <a:lnTo>
                    <a:pt x="1433" y="275"/>
                  </a:lnTo>
                  <a:lnTo>
                    <a:pt x="1435" y="272"/>
                  </a:lnTo>
                  <a:lnTo>
                    <a:pt x="1437" y="268"/>
                  </a:lnTo>
                  <a:lnTo>
                    <a:pt x="1437" y="268"/>
                  </a:lnTo>
                  <a:lnTo>
                    <a:pt x="1444" y="265"/>
                  </a:lnTo>
                  <a:lnTo>
                    <a:pt x="1447" y="260"/>
                  </a:lnTo>
                  <a:lnTo>
                    <a:pt x="1451" y="253"/>
                  </a:lnTo>
                  <a:lnTo>
                    <a:pt x="1452" y="242"/>
                  </a:lnTo>
                  <a:lnTo>
                    <a:pt x="1452" y="242"/>
                  </a:lnTo>
                  <a:lnTo>
                    <a:pt x="1454" y="237"/>
                  </a:lnTo>
                  <a:lnTo>
                    <a:pt x="1452" y="232"/>
                  </a:lnTo>
                  <a:lnTo>
                    <a:pt x="1451" y="225"/>
                  </a:lnTo>
                  <a:lnTo>
                    <a:pt x="1449" y="221"/>
                  </a:lnTo>
                  <a:lnTo>
                    <a:pt x="1449" y="219"/>
                  </a:lnTo>
                  <a:lnTo>
                    <a:pt x="1452" y="218"/>
                  </a:lnTo>
                  <a:lnTo>
                    <a:pt x="1452" y="218"/>
                  </a:lnTo>
                  <a:lnTo>
                    <a:pt x="1454" y="218"/>
                  </a:lnTo>
                  <a:lnTo>
                    <a:pt x="1454" y="216"/>
                  </a:lnTo>
                  <a:lnTo>
                    <a:pt x="1452" y="209"/>
                  </a:lnTo>
                  <a:lnTo>
                    <a:pt x="1444" y="204"/>
                  </a:lnTo>
                  <a:lnTo>
                    <a:pt x="1435" y="200"/>
                  </a:lnTo>
                  <a:lnTo>
                    <a:pt x="1435" y="200"/>
                  </a:lnTo>
                  <a:lnTo>
                    <a:pt x="1428" y="197"/>
                  </a:lnTo>
                  <a:lnTo>
                    <a:pt x="1425" y="193"/>
                  </a:lnTo>
                  <a:lnTo>
                    <a:pt x="1423" y="190"/>
                  </a:lnTo>
                  <a:lnTo>
                    <a:pt x="1419" y="190"/>
                  </a:lnTo>
                  <a:lnTo>
                    <a:pt x="1419" y="190"/>
                  </a:lnTo>
                  <a:lnTo>
                    <a:pt x="1412" y="188"/>
                  </a:lnTo>
                  <a:lnTo>
                    <a:pt x="1409" y="185"/>
                  </a:lnTo>
                  <a:lnTo>
                    <a:pt x="1405" y="183"/>
                  </a:lnTo>
                  <a:lnTo>
                    <a:pt x="1404" y="183"/>
                  </a:lnTo>
                  <a:lnTo>
                    <a:pt x="1400" y="185"/>
                  </a:lnTo>
                  <a:lnTo>
                    <a:pt x="1395" y="188"/>
                  </a:lnTo>
                  <a:lnTo>
                    <a:pt x="1395" y="188"/>
                  </a:lnTo>
                  <a:lnTo>
                    <a:pt x="1391" y="192"/>
                  </a:lnTo>
                  <a:lnTo>
                    <a:pt x="1391" y="193"/>
                  </a:lnTo>
                  <a:lnTo>
                    <a:pt x="1391" y="197"/>
                  </a:lnTo>
                  <a:lnTo>
                    <a:pt x="1393" y="199"/>
                  </a:lnTo>
                  <a:lnTo>
                    <a:pt x="1395" y="200"/>
                  </a:lnTo>
                  <a:lnTo>
                    <a:pt x="1390" y="202"/>
                  </a:lnTo>
                  <a:lnTo>
                    <a:pt x="1390" y="202"/>
                  </a:lnTo>
                  <a:lnTo>
                    <a:pt x="1385" y="206"/>
                  </a:lnTo>
                  <a:lnTo>
                    <a:pt x="1381" y="209"/>
                  </a:lnTo>
                  <a:lnTo>
                    <a:pt x="1379" y="213"/>
                  </a:lnTo>
                  <a:lnTo>
                    <a:pt x="1379" y="218"/>
                  </a:lnTo>
                  <a:lnTo>
                    <a:pt x="1378" y="228"/>
                  </a:lnTo>
                  <a:lnTo>
                    <a:pt x="1376" y="230"/>
                  </a:lnTo>
                  <a:lnTo>
                    <a:pt x="1374" y="232"/>
                  </a:lnTo>
                  <a:lnTo>
                    <a:pt x="1374" y="232"/>
                  </a:lnTo>
                  <a:lnTo>
                    <a:pt x="1372" y="230"/>
                  </a:lnTo>
                  <a:lnTo>
                    <a:pt x="1371" y="226"/>
                  </a:lnTo>
                  <a:lnTo>
                    <a:pt x="1371" y="219"/>
                  </a:lnTo>
                  <a:lnTo>
                    <a:pt x="1371" y="216"/>
                  </a:lnTo>
                  <a:lnTo>
                    <a:pt x="1371" y="214"/>
                  </a:lnTo>
                  <a:lnTo>
                    <a:pt x="1367" y="218"/>
                  </a:lnTo>
                  <a:lnTo>
                    <a:pt x="1362" y="225"/>
                  </a:lnTo>
                  <a:lnTo>
                    <a:pt x="1362" y="225"/>
                  </a:lnTo>
                  <a:lnTo>
                    <a:pt x="1355" y="232"/>
                  </a:lnTo>
                  <a:lnTo>
                    <a:pt x="1351" y="233"/>
                  </a:lnTo>
                  <a:lnTo>
                    <a:pt x="1350" y="235"/>
                  </a:lnTo>
                  <a:lnTo>
                    <a:pt x="1351" y="242"/>
                  </a:lnTo>
                  <a:lnTo>
                    <a:pt x="1351" y="242"/>
                  </a:lnTo>
                  <a:lnTo>
                    <a:pt x="1351" y="249"/>
                  </a:lnTo>
                  <a:lnTo>
                    <a:pt x="1350" y="253"/>
                  </a:lnTo>
                  <a:lnTo>
                    <a:pt x="1346" y="261"/>
                  </a:lnTo>
                  <a:lnTo>
                    <a:pt x="1343" y="267"/>
                  </a:lnTo>
                  <a:lnTo>
                    <a:pt x="1343" y="270"/>
                  </a:lnTo>
                  <a:lnTo>
                    <a:pt x="1344" y="273"/>
                  </a:lnTo>
                  <a:lnTo>
                    <a:pt x="1344" y="273"/>
                  </a:lnTo>
                  <a:lnTo>
                    <a:pt x="1344" y="280"/>
                  </a:lnTo>
                  <a:lnTo>
                    <a:pt x="1343" y="284"/>
                  </a:lnTo>
                  <a:lnTo>
                    <a:pt x="1341" y="287"/>
                  </a:lnTo>
                  <a:lnTo>
                    <a:pt x="1344" y="298"/>
                  </a:lnTo>
                  <a:lnTo>
                    <a:pt x="1344" y="298"/>
                  </a:lnTo>
                  <a:lnTo>
                    <a:pt x="1348" y="308"/>
                  </a:lnTo>
                  <a:lnTo>
                    <a:pt x="1350" y="319"/>
                  </a:lnTo>
                  <a:lnTo>
                    <a:pt x="1351" y="327"/>
                  </a:lnTo>
                  <a:lnTo>
                    <a:pt x="1351" y="336"/>
                  </a:lnTo>
                  <a:lnTo>
                    <a:pt x="1350" y="343"/>
                  </a:lnTo>
                  <a:lnTo>
                    <a:pt x="1346" y="352"/>
                  </a:lnTo>
                  <a:lnTo>
                    <a:pt x="1339" y="367"/>
                  </a:lnTo>
                  <a:lnTo>
                    <a:pt x="1339" y="367"/>
                  </a:lnTo>
                  <a:lnTo>
                    <a:pt x="1334" y="374"/>
                  </a:lnTo>
                  <a:lnTo>
                    <a:pt x="1329" y="380"/>
                  </a:lnTo>
                  <a:lnTo>
                    <a:pt x="1325" y="383"/>
                  </a:lnTo>
                  <a:lnTo>
                    <a:pt x="1320" y="385"/>
                  </a:lnTo>
                  <a:lnTo>
                    <a:pt x="1315" y="385"/>
                  </a:lnTo>
                  <a:lnTo>
                    <a:pt x="1310" y="383"/>
                  </a:lnTo>
                  <a:lnTo>
                    <a:pt x="1304" y="378"/>
                  </a:lnTo>
                  <a:lnTo>
                    <a:pt x="1299" y="371"/>
                  </a:lnTo>
                  <a:lnTo>
                    <a:pt x="1299" y="371"/>
                  </a:lnTo>
                  <a:lnTo>
                    <a:pt x="1296" y="364"/>
                  </a:lnTo>
                  <a:lnTo>
                    <a:pt x="1294" y="357"/>
                  </a:lnTo>
                  <a:lnTo>
                    <a:pt x="1294" y="347"/>
                  </a:lnTo>
                  <a:lnTo>
                    <a:pt x="1294" y="336"/>
                  </a:lnTo>
                  <a:lnTo>
                    <a:pt x="1294" y="329"/>
                  </a:lnTo>
                  <a:lnTo>
                    <a:pt x="1294" y="322"/>
                  </a:lnTo>
                  <a:lnTo>
                    <a:pt x="1294" y="322"/>
                  </a:lnTo>
                  <a:lnTo>
                    <a:pt x="1292" y="310"/>
                  </a:lnTo>
                  <a:lnTo>
                    <a:pt x="1294" y="303"/>
                  </a:lnTo>
                  <a:lnTo>
                    <a:pt x="1296" y="294"/>
                  </a:lnTo>
                  <a:lnTo>
                    <a:pt x="1297" y="282"/>
                  </a:lnTo>
                  <a:lnTo>
                    <a:pt x="1297" y="282"/>
                  </a:lnTo>
                  <a:lnTo>
                    <a:pt x="1297" y="273"/>
                  </a:lnTo>
                  <a:lnTo>
                    <a:pt x="1299" y="270"/>
                  </a:lnTo>
                  <a:lnTo>
                    <a:pt x="1301" y="267"/>
                  </a:lnTo>
                  <a:lnTo>
                    <a:pt x="1303" y="265"/>
                  </a:lnTo>
                  <a:lnTo>
                    <a:pt x="1306" y="263"/>
                  </a:lnTo>
                  <a:lnTo>
                    <a:pt x="1304" y="260"/>
                  </a:lnTo>
                  <a:lnTo>
                    <a:pt x="1304" y="260"/>
                  </a:lnTo>
                  <a:lnTo>
                    <a:pt x="1304" y="256"/>
                  </a:lnTo>
                  <a:lnTo>
                    <a:pt x="1304" y="251"/>
                  </a:lnTo>
                  <a:lnTo>
                    <a:pt x="1308" y="242"/>
                  </a:lnTo>
                  <a:lnTo>
                    <a:pt x="1311" y="233"/>
                  </a:lnTo>
                  <a:lnTo>
                    <a:pt x="1310" y="230"/>
                  </a:lnTo>
                  <a:lnTo>
                    <a:pt x="1308" y="228"/>
                  </a:lnTo>
                  <a:lnTo>
                    <a:pt x="1308" y="228"/>
                  </a:lnTo>
                  <a:lnTo>
                    <a:pt x="1303" y="228"/>
                  </a:lnTo>
                  <a:lnTo>
                    <a:pt x="1301" y="230"/>
                  </a:lnTo>
                  <a:lnTo>
                    <a:pt x="1297" y="235"/>
                  </a:lnTo>
                  <a:lnTo>
                    <a:pt x="1294" y="242"/>
                  </a:lnTo>
                  <a:lnTo>
                    <a:pt x="1294" y="242"/>
                  </a:lnTo>
                  <a:lnTo>
                    <a:pt x="1290" y="244"/>
                  </a:lnTo>
                  <a:lnTo>
                    <a:pt x="1289" y="244"/>
                  </a:lnTo>
                  <a:lnTo>
                    <a:pt x="1289" y="237"/>
                  </a:lnTo>
                  <a:lnTo>
                    <a:pt x="1292" y="228"/>
                  </a:lnTo>
                  <a:lnTo>
                    <a:pt x="1294" y="225"/>
                  </a:lnTo>
                  <a:lnTo>
                    <a:pt x="1297" y="223"/>
                  </a:lnTo>
                  <a:lnTo>
                    <a:pt x="1297" y="223"/>
                  </a:lnTo>
                  <a:lnTo>
                    <a:pt x="1301" y="219"/>
                  </a:lnTo>
                  <a:lnTo>
                    <a:pt x="1301" y="218"/>
                  </a:lnTo>
                  <a:lnTo>
                    <a:pt x="1303" y="214"/>
                  </a:lnTo>
                  <a:lnTo>
                    <a:pt x="1306" y="209"/>
                  </a:lnTo>
                  <a:lnTo>
                    <a:pt x="1306" y="209"/>
                  </a:lnTo>
                  <a:lnTo>
                    <a:pt x="1313" y="199"/>
                  </a:lnTo>
                  <a:lnTo>
                    <a:pt x="1318" y="186"/>
                  </a:lnTo>
                  <a:lnTo>
                    <a:pt x="1324" y="178"/>
                  </a:lnTo>
                  <a:lnTo>
                    <a:pt x="1325" y="178"/>
                  </a:lnTo>
                  <a:lnTo>
                    <a:pt x="1325" y="179"/>
                  </a:lnTo>
                  <a:lnTo>
                    <a:pt x="1325" y="179"/>
                  </a:lnTo>
                  <a:lnTo>
                    <a:pt x="1327" y="181"/>
                  </a:lnTo>
                  <a:lnTo>
                    <a:pt x="1329" y="183"/>
                  </a:lnTo>
                  <a:lnTo>
                    <a:pt x="1332" y="179"/>
                  </a:lnTo>
                  <a:lnTo>
                    <a:pt x="1336" y="178"/>
                  </a:lnTo>
                  <a:lnTo>
                    <a:pt x="1338" y="179"/>
                  </a:lnTo>
                  <a:lnTo>
                    <a:pt x="1338" y="183"/>
                  </a:lnTo>
                  <a:lnTo>
                    <a:pt x="1338" y="183"/>
                  </a:lnTo>
                  <a:lnTo>
                    <a:pt x="1336" y="186"/>
                  </a:lnTo>
                  <a:lnTo>
                    <a:pt x="1338" y="188"/>
                  </a:lnTo>
                  <a:lnTo>
                    <a:pt x="1341" y="183"/>
                  </a:lnTo>
                  <a:lnTo>
                    <a:pt x="1348" y="176"/>
                  </a:lnTo>
                  <a:lnTo>
                    <a:pt x="1351" y="172"/>
                  </a:lnTo>
                  <a:lnTo>
                    <a:pt x="1357" y="172"/>
                  </a:lnTo>
                  <a:lnTo>
                    <a:pt x="1357" y="172"/>
                  </a:lnTo>
                  <a:lnTo>
                    <a:pt x="1364" y="172"/>
                  </a:lnTo>
                  <a:lnTo>
                    <a:pt x="1369" y="171"/>
                  </a:lnTo>
                  <a:lnTo>
                    <a:pt x="1374" y="167"/>
                  </a:lnTo>
                  <a:lnTo>
                    <a:pt x="1376" y="166"/>
                  </a:lnTo>
                  <a:lnTo>
                    <a:pt x="1379" y="166"/>
                  </a:lnTo>
                  <a:lnTo>
                    <a:pt x="1386" y="169"/>
                  </a:lnTo>
                  <a:lnTo>
                    <a:pt x="1395" y="174"/>
                  </a:lnTo>
                  <a:lnTo>
                    <a:pt x="1395" y="174"/>
                  </a:lnTo>
                  <a:lnTo>
                    <a:pt x="1400" y="176"/>
                  </a:lnTo>
                  <a:lnTo>
                    <a:pt x="1404" y="178"/>
                  </a:lnTo>
                  <a:lnTo>
                    <a:pt x="1404" y="176"/>
                  </a:lnTo>
                  <a:lnTo>
                    <a:pt x="1405" y="174"/>
                  </a:lnTo>
                  <a:lnTo>
                    <a:pt x="1405" y="169"/>
                  </a:lnTo>
                  <a:lnTo>
                    <a:pt x="1407" y="169"/>
                  </a:lnTo>
                  <a:lnTo>
                    <a:pt x="1409" y="169"/>
                  </a:lnTo>
                  <a:lnTo>
                    <a:pt x="1409" y="169"/>
                  </a:lnTo>
                  <a:lnTo>
                    <a:pt x="1416" y="172"/>
                  </a:lnTo>
                  <a:lnTo>
                    <a:pt x="1425" y="174"/>
                  </a:lnTo>
                  <a:lnTo>
                    <a:pt x="1430" y="172"/>
                  </a:lnTo>
                  <a:lnTo>
                    <a:pt x="1432" y="171"/>
                  </a:lnTo>
                  <a:lnTo>
                    <a:pt x="1432" y="167"/>
                  </a:lnTo>
                  <a:lnTo>
                    <a:pt x="1432" y="167"/>
                  </a:lnTo>
                  <a:lnTo>
                    <a:pt x="1428" y="164"/>
                  </a:lnTo>
                  <a:lnTo>
                    <a:pt x="1425" y="162"/>
                  </a:lnTo>
                  <a:lnTo>
                    <a:pt x="1423" y="160"/>
                  </a:lnTo>
                  <a:lnTo>
                    <a:pt x="1421" y="153"/>
                  </a:lnTo>
                  <a:lnTo>
                    <a:pt x="1421" y="153"/>
                  </a:lnTo>
                  <a:lnTo>
                    <a:pt x="1419" y="150"/>
                  </a:lnTo>
                  <a:lnTo>
                    <a:pt x="1419" y="148"/>
                  </a:lnTo>
                  <a:lnTo>
                    <a:pt x="1414" y="148"/>
                  </a:lnTo>
                  <a:lnTo>
                    <a:pt x="1407" y="150"/>
                  </a:lnTo>
                  <a:lnTo>
                    <a:pt x="1397" y="146"/>
                  </a:lnTo>
                  <a:lnTo>
                    <a:pt x="1397" y="146"/>
                  </a:lnTo>
                  <a:lnTo>
                    <a:pt x="1395" y="145"/>
                  </a:lnTo>
                  <a:lnTo>
                    <a:pt x="1393" y="143"/>
                  </a:lnTo>
                  <a:lnTo>
                    <a:pt x="1395" y="136"/>
                  </a:lnTo>
                  <a:lnTo>
                    <a:pt x="1395" y="132"/>
                  </a:lnTo>
                  <a:lnTo>
                    <a:pt x="1393" y="132"/>
                  </a:lnTo>
                  <a:lnTo>
                    <a:pt x="1391" y="134"/>
                  </a:lnTo>
                  <a:lnTo>
                    <a:pt x="1391" y="134"/>
                  </a:lnTo>
                  <a:lnTo>
                    <a:pt x="1381" y="136"/>
                  </a:lnTo>
                  <a:lnTo>
                    <a:pt x="1367" y="138"/>
                  </a:lnTo>
                  <a:lnTo>
                    <a:pt x="1355" y="139"/>
                  </a:lnTo>
                  <a:lnTo>
                    <a:pt x="1350" y="141"/>
                  </a:lnTo>
                  <a:lnTo>
                    <a:pt x="1344" y="143"/>
                  </a:lnTo>
                  <a:lnTo>
                    <a:pt x="1344" y="143"/>
                  </a:lnTo>
                  <a:lnTo>
                    <a:pt x="1339" y="148"/>
                  </a:lnTo>
                  <a:lnTo>
                    <a:pt x="1332" y="148"/>
                  </a:lnTo>
                  <a:lnTo>
                    <a:pt x="1327" y="146"/>
                  </a:lnTo>
                  <a:lnTo>
                    <a:pt x="1318" y="146"/>
                  </a:lnTo>
                  <a:lnTo>
                    <a:pt x="1318" y="146"/>
                  </a:lnTo>
                  <a:lnTo>
                    <a:pt x="1315" y="146"/>
                  </a:lnTo>
                  <a:lnTo>
                    <a:pt x="1311" y="145"/>
                  </a:lnTo>
                  <a:lnTo>
                    <a:pt x="1306" y="138"/>
                  </a:lnTo>
                  <a:lnTo>
                    <a:pt x="1301" y="131"/>
                  </a:lnTo>
                  <a:lnTo>
                    <a:pt x="1297" y="127"/>
                  </a:lnTo>
                  <a:lnTo>
                    <a:pt x="1292" y="125"/>
                  </a:lnTo>
                  <a:lnTo>
                    <a:pt x="1292" y="125"/>
                  </a:lnTo>
                  <a:lnTo>
                    <a:pt x="1287" y="124"/>
                  </a:lnTo>
                  <a:lnTo>
                    <a:pt x="1284" y="124"/>
                  </a:lnTo>
                  <a:lnTo>
                    <a:pt x="1278" y="127"/>
                  </a:lnTo>
                  <a:lnTo>
                    <a:pt x="1275" y="129"/>
                  </a:lnTo>
                  <a:lnTo>
                    <a:pt x="1273" y="129"/>
                  </a:lnTo>
                  <a:lnTo>
                    <a:pt x="1273" y="127"/>
                  </a:lnTo>
                  <a:lnTo>
                    <a:pt x="1271" y="122"/>
                  </a:lnTo>
                  <a:lnTo>
                    <a:pt x="1271" y="122"/>
                  </a:lnTo>
                  <a:lnTo>
                    <a:pt x="1270" y="115"/>
                  </a:lnTo>
                  <a:lnTo>
                    <a:pt x="1268" y="112"/>
                  </a:lnTo>
                  <a:lnTo>
                    <a:pt x="1266" y="112"/>
                  </a:lnTo>
                  <a:lnTo>
                    <a:pt x="1261" y="115"/>
                  </a:lnTo>
                  <a:lnTo>
                    <a:pt x="1250" y="122"/>
                  </a:lnTo>
                  <a:lnTo>
                    <a:pt x="1250" y="122"/>
                  </a:lnTo>
                  <a:lnTo>
                    <a:pt x="1247" y="127"/>
                  </a:lnTo>
                  <a:lnTo>
                    <a:pt x="1243" y="129"/>
                  </a:lnTo>
                  <a:lnTo>
                    <a:pt x="1237" y="131"/>
                  </a:lnTo>
                  <a:lnTo>
                    <a:pt x="1230" y="131"/>
                  </a:lnTo>
                  <a:lnTo>
                    <a:pt x="1226" y="132"/>
                  </a:lnTo>
                  <a:lnTo>
                    <a:pt x="1221" y="136"/>
                  </a:lnTo>
                  <a:lnTo>
                    <a:pt x="1221" y="136"/>
                  </a:lnTo>
                  <a:lnTo>
                    <a:pt x="1210" y="141"/>
                  </a:lnTo>
                  <a:lnTo>
                    <a:pt x="1203" y="141"/>
                  </a:lnTo>
                  <a:lnTo>
                    <a:pt x="1198" y="141"/>
                  </a:lnTo>
                  <a:lnTo>
                    <a:pt x="1190" y="141"/>
                  </a:lnTo>
                  <a:lnTo>
                    <a:pt x="1190" y="141"/>
                  </a:lnTo>
                  <a:lnTo>
                    <a:pt x="1186" y="141"/>
                  </a:lnTo>
                  <a:lnTo>
                    <a:pt x="1186" y="139"/>
                  </a:lnTo>
                  <a:lnTo>
                    <a:pt x="1188" y="134"/>
                  </a:lnTo>
                  <a:lnTo>
                    <a:pt x="1191" y="127"/>
                  </a:lnTo>
                  <a:lnTo>
                    <a:pt x="1191" y="125"/>
                  </a:lnTo>
                  <a:lnTo>
                    <a:pt x="1188" y="124"/>
                  </a:lnTo>
                  <a:lnTo>
                    <a:pt x="1188" y="124"/>
                  </a:lnTo>
                  <a:lnTo>
                    <a:pt x="1184" y="124"/>
                  </a:lnTo>
                  <a:lnTo>
                    <a:pt x="1179" y="125"/>
                  </a:lnTo>
                  <a:lnTo>
                    <a:pt x="1170" y="131"/>
                  </a:lnTo>
                  <a:lnTo>
                    <a:pt x="1160" y="136"/>
                  </a:lnTo>
                  <a:lnTo>
                    <a:pt x="1155" y="136"/>
                  </a:lnTo>
                  <a:lnTo>
                    <a:pt x="1149" y="136"/>
                  </a:lnTo>
                  <a:lnTo>
                    <a:pt x="1149" y="136"/>
                  </a:lnTo>
                  <a:lnTo>
                    <a:pt x="1146" y="134"/>
                  </a:lnTo>
                  <a:lnTo>
                    <a:pt x="1144" y="132"/>
                  </a:lnTo>
                  <a:lnTo>
                    <a:pt x="1146" y="129"/>
                  </a:lnTo>
                  <a:lnTo>
                    <a:pt x="1149" y="125"/>
                  </a:lnTo>
                  <a:lnTo>
                    <a:pt x="1160" y="117"/>
                  </a:lnTo>
                  <a:lnTo>
                    <a:pt x="1174" y="105"/>
                  </a:lnTo>
                  <a:lnTo>
                    <a:pt x="1174" y="105"/>
                  </a:lnTo>
                  <a:lnTo>
                    <a:pt x="1186" y="94"/>
                  </a:lnTo>
                  <a:lnTo>
                    <a:pt x="1196" y="87"/>
                  </a:lnTo>
                  <a:lnTo>
                    <a:pt x="1233" y="70"/>
                  </a:lnTo>
                  <a:lnTo>
                    <a:pt x="1233" y="70"/>
                  </a:lnTo>
                  <a:lnTo>
                    <a:pt x="1223" y="70"/>
                  </a:lnTo>
                  <a:lnTo>
                    <a:pt x="1219" y="68"/>
                  </a:lnTo>
                  <a:lnTo>
                    <a:pt x="1214" y="66"/>
                  </a:lnTo>
                  <a:lnTo>
                    <a:pt x="1203" y="66"/>
                  </a:lnTo>
                  <a:lnTo>
                    <a:pt x="1203" y="66"/>
                  </a:lnTo>
                  <a:lnTo>
                    <a:pt x="1196" y="66"/>
                  </a:lnTo>
                  <a:lnTo>
                    <a:pt x="1193" y="65"/>
                  </a:lnTo>
                  <a:lnTo>
                    <a:pt x="1190" y="61"/>
                  </a:lnTo>
                  <a:lnTo>
                    <a:pt x="1188" y="61"/>
                  </a:lnTo>
                  <a:lnTo>
                    <a:pt x="1186" y="61"/>
                  </a:lnTo>
                  <a:lnTo>
                    <a:pt x="1174" y="66"/>
                  </a:lnTo>
                  <a:lnTo>
                    <a:pt x="1174" y="66"/>
                  </a:lnTo>
                  <a:lnTo>
                    <a:pt x="1169" y="68"/>
                  </a:lnTo>
                  <a:lnTo>
                    <a:pt x="1163" y="66"/>
                  </a:lnTo>
                  <a:lnTo>
                    <a:pt x="1158" y="65"/>
                  </a:lnTo>
                  <a:lnTo>
                    <a:pt x="1155" y="61"/>
                  </a:lnTo>
                  <a:lnTo>
                    <a:pt x="1148" y="54"/>
                  </a:lnTo>
                  <a:lnTo>
                    <a:pt x="1144" y="52"/>
                  </a:lnTo>
                  <a:lnTo>
                    <a:pt x="1139" y="54"/>
                  </a:lnTo>
                  <a:lnTo>
                    <a:pt x="1139" y="54"/>
                  </a:lnTo>
                  <a:lnTo>
                    <a:pt x="1134" y="58"/>
                  </a:lnTo>
                  <a:lnTo>
                    <a:pt x="1132" y="54"/>
                  </a:lnTo>
                  <a:lnTo>
                    <a:pt x="1132" y="51"/>
                  </a:lnTo>
                  <a:lnTo>
                    <a:pt x="1129" y="49"/>
                  </a:lnTo>
                  <a:lnTo>
                    <a:pt x="1123" y="45"/>
                  </a:lnTo>
                  <a:lnTo>
                    <a:pt x="1116" y="42"/>
                  </a:lnTo>
                  <a:lnTo>
                    <a:pt x="1116" y="42"/>
                  </a:lnTo>
                  <a:lnTo>
                    <a:pt x="1108" y="40"/>
                  </a:lnTo>
                  <a:lnTo>
                    <a:pt x="1102" y="40"/>
                  </a:lnTo>
                  <a:lnTo>
                    <a:pt x="1097" y="40"/>
                  </a:lnTo>
                  <a:lnTo>
                    <a:pt x="1094" y="42"/>
                  </a:lnTo>
                  <a:lnTo>
                    <a:pt x="1089" y="45"/>
                  </a:lnTo>
                  <a:lnTo>
                    <a:pt x="1087" y="45"/>
                  </a:lnTo>
                  <a:lnTo>
                    <a:pt x="1085" y="42"/>
                  </a:lnTo>
                  <a:lnTo>
                    <a:pt x="1085" y="42"/>
                  </a:lnTo>
                  <a:lnTo>
                    <a:pt x="1082" y="40"/>
                  </a:lnTo>
                  <a:lnTo>
                    <a:pt x="1076" y="38"/>
                  </a:lnTo>
                  <a:lnTo>
                    <a:pt x="1068" y="37"/>
                  </a:lnTo>
                  <a:lnTo>
                    <a:pt x="1062" y="35"/>
                  </a:lnTo>
                  <a:lnTo>
                    <a:pt x="1059" y="33"/>
                  </a:lnTo>
                  <a:lnTo>
                    <a:pt x="1055" y="30"/>
                  </a:lnTo>
                  <a:lnTo>
                    <a:pt x="1054" y="24"/>
                  </a:lnTo>
                  <a:lnTo>
                    <a:pt x="1054" y="24"/>
                  </a:lnTo>
                  <a:lnTo>
                    <a:pt x="1050" y="7"/>
                  </a:lnTo>
                  <a:lnTo>
                    <a:pt x="1048" y="4"/>
                  </a:lnTo>
                  <a:lnTo>
                    <a:pt x="1043" y="0"/>
                  </a:lnTo>
                  <a:lnTo>
                    <a:pt x="1043" y="0"/>
                  </a:lnTo>
                  <a:lnTo>
                    <a:pt x="1040" y="0"/>
                  </a:lnTo>
                  <a:lnTo>
                    <a:pt x="1038" y="2"/>
                  </a:lnTo>
                  <a:lnTo>
                    <a:pt x="1038" y="9"/>
                  </a:lnTo>
                  <a:lnTo>
                    <a:pt x="1038" y="16"/>
                  </a:lnTo>
                  <a:lnTo>
                    <a:pt x="1038" y="19"/>
                  </a:lnTo>
                  <a:lnTo>
                    <a:pt x="1036" y="19"/>
                  </a:lnTo>
                  <a:lnTo>
                    <a:pt x="70" y="19"/>
                  </a:lnTo>
                  <a:lnTo>
                    <a:pt x="70" y="19"/>
                  </a:lnTo>
                  <a:lnTo>
                    <a:pt x="70" y="24"/>
                  </a:lnTo>
                  <a:lnTo>
                    <a:pt x="70" y="30"/>
                  </a:lnTo>
                  <a:lnTo>
                    <a:pt x="73" y="33"/>
                  </a:lnTo>
                  <a:lnTo>
                    <a:pt x="77" y="37"/>
                  </a:lnTo>
                  <a:lnTo>
                    <a:pt x="77" y="38"/>
                  </a:lnTo>
                  <a:lnTo>
                    <a:pt x="79" y="42"/>
                  </a:lnTo>
                  <a:lnTo>
                    <a:pt x="79" y="42"/>
                  </a:lnTo>
                  <a:lnTo>
                    <a:pt x="77" y="44"/>
                  </a:lnTo>
                  <a:lnTo>
                    <a:pt x="75" y="45"/>
                  </a:lnTo>
                  <a:lnTo>
                    <a:pt x="72" y="45"/>
                  </a:lnTo>
                  <a:lnTo>
                    <a:pt x="72" y="47"/>
                  </a:lnTo>
                  <a:lnTo>
                    <a:pt x="72" y="49"/>
                  </a:lnTo>
                  <a:lnTo>
                    <a:pt x="75" y="56"/>
                  </a:lnTo>
                  <a:lnTo>
                    <a:pt x="75" y="56"/>
                  </a:lnTo>
                  <a:lnTo>
                    <a:pt x="82" y="65"/>
                  </a:lnTo>
                  <a:lnTo>
                    <a:pt x="84" y="73"/>
                  </a:lnTo>
                  <a:lnTo>
                    <a:pt x="86" y="82"/>
                  </a:lnTo>
                  <a:lnTo>
                    <a:pt x="84" y="98"/>
                  </a:lnTo>
                  <a:lnTo>
                    <a:pt x="84" y="98"/>
                  </a:lnTo>
                  <a:lnTo>
                    <a:pt x="82" y="105"/>
                  </a:lnTo>
                  <a:lnTo>
                    <a:pt x="80" y="108"/>
                  </a:lnTo>
                  <a:lnTo>
                    <a:pt x="80" y="106"/>
                  </a:lnTo>
                  <a:lnTo>
                    <a:pt x="79" y="103"/>
                  </a:lnTo>
                  <a:lnTo>
                    <a:pt x="73" y="73"/>
                  </a:lnTo>
                  <a:lnTo>
                    <a:pt x="73" y="73"/>
                  </a:lnTo>
                  <a:lnTo>
                    <a:pt x="70" y="68"/>
                  </a:lnTo>
                  <a:lnTo>
                    <a:pt x="65" y="65"/>
                  </a:lnTo>
                  <a:lnTo>
                    <a:pt x="56" y="63"/>
                  </a:lnTo>
                  <a:lnTo>
                    <a:pt x="47" y="61"/>
                  </a:lnTo>
                  <a:lnTo>
                    <a:pt x="28" y="59"/>
                  </a:lnTo>
                  <a:lnTo>
                    <a:pt x="19" y="58"/>
                  </a:lnTo>
                  <a:lnTo>
                    <a:pt x="12" y="54"/>
                  </a:lnTo>
                  <a:lnTo>
                    <a:pt x="12" y="54"/>
                  </a:lnTo>
                  <a:lnTo>
                    <a:pt x="7" y="52"/>
                  </a:lnTo>
                  <a:lnTo>
                    <a:pt x="4" y="51"/>
                  </a:lnTo>
                  <a:lnTo>
                    <a:pt x="0" y="52"/>
                  </a:lnTo>
                  <a:lnTo>
                    <a:pt x="0" y="56"/>
                  </a:lnTo>
                  <a:lnTo>
                    <a:pt x="0" y="61"/>
                  </a:lnTo>
                  <a:lnTo>
                    <a:pt x="2" y="66"/>
                  </a:lnTo>
                  <a:lnTo>
                    <a:pt x="9" y="78"/>
                  </a:lnTo>
                  <a:lnTo>
                    <a:pt x="9" y="78"/>
                  </a:lnTo>
                  <a:lnTo>
                    <a:pt x="14" y="87"/>
                  </a:lnTo>
                  <a:lnTo>
                    <a:pt x="18" y="96"/>
                  </a:lnTo>
                  <a:lnTo>
                    <a:pt x="23" y="120"/>
                  </a:lnTo>
                  <a:lnTo>
                    <a:pt x="26" y="148"/>
                  </a:lnTo>
                  <a:lnTo>
                    <a:pt x="26" y="178"/>
                  </a:lnTo>
                  <a:lnTo>
                    <a:pt x="26" y="178"/>
                  </a:lnTo>
                  <a:lnTo>
                    <a:pt x="26" y="209"/>
                  </a:lnTo>
                  <a:lnTo>
                    <a:pt x="23" y="246"/>
                  </a:lnTo>
                  <a:lnTo>
                    <a:pt x="19" y="282"/>
                  </a:lnTo>
                  <a:lnTo>
                    <a:pt x="16" y="296"/>
                  </a:lnTo>
                  <a:lnTo>
                    <a:pt x="12" y="308"/>
                  </a:lnTo>
                  <a:lnTo>
                    <a:pt x="12" y="308"/>
                  </a:lnTo>
                  <a:lnTo>
                    <a:pt x="9" y="320"/>
                  </a:lnTo>
                  <a:lnTo>
                    <a:pt x="9" y="334"/>
                  </a:lnTo>
                  <a:lnTo>
                    <a:pt x="11" y="348"/>
                  </a:lnTo>
                  <a:lnTo>
                    <a:pt x="14" y="362"/>
                  </a:lnTo>
                  <a:lnTo>
                    <a:pt x="18" y="378"/>
                  </a:lnTo>
                  <a:lnTo>
                    <a:pt x="19" y="394"/>
                  </a:lnTo>
                  <a:lnTo>
                    <a:pt x="19" y="408"/>
                  </a:lnTo>
                  <a:lnTo>
                    <a:pt x="18" y="423"/>
                  </a:lnTo>
                  <a:lnTo>
                    <a:pt x="18" y="423"/>
                  </a:lnTo>
                  <a:lnTo>
                    <a:pt x="14" y="435"/>
                  </a:lnTo>
                  <a:lnTo>
                    <a:pt x="14" y="444"/>
                  </a:lnTo>
                  <a:lnTo>
                    <a:pt x="16" y="451"/>
                  </a:lnTo>
                  <a:lnTo>
                    <a:pt x="19" y="458"/>
                  </a:lnTo>
                  <a:lnTo>
                    <a:pt x="26" y="474"/>
                  </a:lnTo>
                  <a:lnTo>
                    <a:pt x="30" y="484"/>
                  </a:lnTo>
                  <a:lnTo>
                    <a:pt x="33" y="496"/>
                  </a:lnTo>
                  <a:lnTo>
                    <a:pt x="33" y="496"/>
                  </a:lnTo>
                  <a:lnTo>
                    <a:pt x="35" y="509"/>
                  </a:lnTo>
                  <a:lnTo>
                    <a:pt x="39" y="519"/>
                  </a:lnTo>
                  <a:lnTo>
                    <a:pt x="42" y="524"/>
                  </a:lnTo>
                  <a:lnTo>
                    <a:pt x="47" y="529"/>
                  </a:lnTo>
                  <a:lnTo>
                    <a:pt x="56" y="538"/>
                  </a:lnTo>
                  <a:lnTo>
                    <a:pt x="59" y="543"/>
                  </a:lnTo>
                  <a:lnTo>
                    <a:pt x="61" y="549"/>
                  </a:lnTo>
                  <a:lnTo>
                    <a:pt x="61" y="549"/>
                  </a:lnTo>
                  <a:lnTo>
                    <a:pt x="63" y="556"/>
                  </a:lnTo>
                  <a:lnTo>
                    <a:pt x="65" y="559"/>
                  </a:lnTo>
                  <a:lnTo>
                    <a:pt x="72" y="562"/>
                  </a:lnTo>
                  <a:lnTo>
                    <a:pt x="73" y="564"/>
                  </a:lnTo>
                  <a:lnTo>
                    <a:pt x="77" y="569"/>
                  </a:lnTo>
                  <a:lnTo>
                    <a:pt x="79" y="575"/>
                  </a:lnTo>
                  <a:lnTo>
                    <a:pt x="80" y="585"/>
                  </a:lnTo>
                  <a:lnTo>
                    <a:pt x="80" y="585"/>
                  </a:lnTo>
                  <a:lnTo>
                    <a:pt x="82" y="596"/>
                  </a:lnTo>
                  <a:lnTo>
                    <a:pt x="86" y="603"/>
                  </a:lnTo>
                  <a:lnTo>
                    <a:pt x="91" y="606"/>
                  </a:lnTo>
                  <a:lnTo>
                    <a:pt x="94" y="609"/>
                  </a:lnTo>
                  <a:lnTo>
                    <a:pt x="98" y="611"/>
                  </a:lnTo>
                  <a:lnTo>
                    <a:pt x="101" y="613"/>
                  </a:lnTo>
                  <a:lnTo>
                    <a:pt x="103" y="616"/>
                  </a:lnTo>
                  <a:lnTo>
                    <a:pt x="101" y="622"/>
                  </a:lnTo>
                  <a:lnTo>
                    <a:pt x="101" y="622"/>
                  </a:lnTo>
                  <a:lnTo>
                    <a:pt x="100" y="627"/>
                  </a:lnTo>
                  <a:lnTo>
                    <a:pt x="100" y="632"/>
                  </a:lnTo>
                  <a:lnTo>
                    <a:pt x="101" y="637"/>
                  </a:lnTo>
                  <a:lnTo>
                    <a:pt x="103" y="643"/>
                  </a:lnTo>
                  <a:lnTo>
                    <a:pt x="112" y="655"/>
                  </a:lnTo>
                  <a:lnTo>
                    <a:pt x="127" y="674"/>
                  </a:lnTo>
                  <a:lnTo>
                    <a:pt x="127" y="674"/>
                  </a:lnTo>
                  <a:lnTo>
                    <a:pt x="136" y="684"/>
                  </a:lnTo>
                  <a:lnTo>
                    <a:pt x="140" y="693"/>
                  </a:lnTo>
                  <a:lnTo>
                    <a:pt x="143" y="700"/>
                  </a:lnTo>
                  <a:lnTo>
                    <a:pt x="145" y="707"/>
                  </a:lnTo>
                  <a:lnTo>
                    <a:pt x="145" y="717"/>
                  </a:lnTo>
                  <a:lnTo>
                    <a:pt x="147" y="721"/>
                  </a:lnTo>
                  <a:lnTo>
                    <a:pt x="150" y="724"/>
                  </a:lnTo>
                  <a:lnTo>
                    <a:pt x="150" y="724"/>
                  </a:lnTo>
                  <a:lnTo>
                    <a:pt x="153" y="726"/>
                  </a:lnTo>
                  <a:lnTo>
                    <a:pt x="159" y="728"/>
                  </a:lnTo>
                  <a:lnTo>
                    <a:pt x="171" y="731"/>
                  </a:lnTo>
                  <a:lnTo>
                    <a:pt x="180" y="733"/>
                  </a:lnTo>
                  <a:lnTo>
                    <a:pt x="187" y="735"/>
                  </a:lnTo>
                  <a:lnTo>
                    <a:pt x="195" y="740"/>
                  </a:lnTo>
                  <a:lnTo>
                    <a:pt x="204" y="747"/>
                  </a:lnTo>
                  <a:lnTo>
                    <a:pt x="204" y="747"/>
                  </a:lnTo>
                  <a:lnTo>
                    <a:pt x="213" y="754"/>
                  </a:lnTo>
                  <a:lnTo>
                    <a:pt x="218" y="757"/>
                  </a:lnTo>
                  <a:lnTo>
                    <a:pt x="228" y="761"/>
                  </a:lnTo>
                  <a:lnTo>
                    <a:pt x="237" y="764"/>
                  </a:lnTo>
                  <a:lnTo>
                    <a:pt x="242" y="766"/>
                  </a:lnTo>
                  <a:lnTo>
                    <a:pt x="249" y="773"/>
                  </a:lnTo>
                  <a:lnTo>
                    <a:pt x="249" y="773"/>
                  </a:lnTo>
                  <a:lnTo>
                    <a:pt x="254" y="778"/>
                  </a:lnTo>
                  <a:lnTo>
                    <a:pt x="260" y="785"/>
                  </a:lnTo>
                  <a:lnTo>
                    <a:pt x="263" y="794"/>
                  </a:lnTo>
                  <a:lnTo>
                    <a:pt x="265" y="804"/>
                  </a:lnTo>
                  <a:lnTo>
                    <a:pt x="268" y="815"/>
                  </a:lnTo>
                  <a:lnTo>
                    <a:pt x="268" y="815"/>
                  </a:lnTo>
                  <a:lnTo>
                    <a:pt x="312" y="811"/>
                  </a:lnTo>
                  <a:lnTo>
                    <a:pt x="352" y="806"/>
                  </a:lnTo>
                  <a:lnTo>
                    <a:pt x="349" y="817"/>
                  </a:lnTo>
                  <a:lnTo>
                    <a:pt x="349" y="817"/>
                  </a:lnTo>
                  <a:lnTo>
                    <a:pt x="481" y="871"/>
                  </a:lnTo>
                  <a:lnTo>
                    <a:pt x="582" y="871"/>
                  </a:lnTo>
                  <a:lnTo>
                    <a:pt x="582" y="850"/>
                  </a:lnTo>
                  <a:lnTo>
                    <a:pt x="639" y="850"/>
                  </a:lnTo>
                  <a:lnTo>
                    <a:pt x="639" y="850"/>
                  </a:lnTo>
                  <a:lnTo>
                    <a:pt x="662" y="871"/>
                  </a:lnTo>
                  <a:lnTo>
                    <a:pt x="695" y="905"/>
                  </a:lnTo>
                  <a:lnTo>
                    <a:pt x="695" y="905"/>
                  </a:lnTo>
                  <a:lnTo>
                    <a:pt x="700" y="912"/>
                  </a:lnTo>
                  <a:lnTo>
                    <a:pt x="704" y="919"/>
                  </a:lnTo>
                  <a:lnTo>
                    <a:pt x="709" y="939"/>
                  </a:lnTo>
                  <a:lnTo>
                    <a:pt x="714" y="947"/>
                  </a:lnTo>
                  <a:lnTo>
                    <a:pt x="721" y="956"/>
                  </a:lnTo>
                  <a:lnTo>
                    <a:pt x="730" y="963"/>
                  </a:lnTo>
                  <a:lnTo>
                    <a:pt x="742" y="970"/>
                  </a:lnTo>
                  <a:lnTo>
                    <a:pt x="742" y="970"/>
                  </a:lnTo>
                  <a:lnTo>
                    <a:pt x="749" y="972"/>
                  </a:lnTo>
                  <a:lnTo>
                    <a:pt x="754" y="973"/>
                  </a:lnTo>
                  <a:lnTo>
                    <a:pt x="759" y="972"/>
                  </a:lnTo>
                  <a:lnTo>
                    <a:pt x="763" y="970"/>
                  </a:lnTo>
                  <a:lnTo>
                    <a:pt x="766" y="963"/>
                  </a:lnTo>
                  <a:lnTo>
                    <a:pt x="770" y="956"/>
                  </a:lnTo>
                  <a:lnTo>
                    <a:pt x="772" y="946"/>
                  </a:lnTo>
                  <a:lnTo>
                    <a:pt x="777" y="939"/>
                  </a:lnTo>
                  <a:lnTo>
                    <a:pt x="780" y="935"/>
                  </a:lnTo>
                  <a:lnTo>
                    <a:pt x="786" y="933"/>
                  </a:lnTo>
                  <a:lnTo>
                    <a:pt x="791" y="933"/>
                  </a:lnTo>
                  <a:lnTo>
                    <a:pt x="798" y="933"/>
                  </a:lnTo>
                  <a:lnTo>
                    <a:pt x="798" y="933"/>
                  </a:lnTo>
                  <a:lnTo>
                    <a:pt x="805" y="937"/>
                  </a:lnTo>
                  <a:lnTo>
                    <a:pt x="812" y="939"/>
                  </a:lnTo>
                  <a:lnTo>
                    <a:pt x="822" y="947"/>
                  </a:lnTo>
                  <a:lnTo>
                    <a:pt x="833" y="959"/>
                  </a:lnTo>
                  <a:lnTo>
                    <a:pt x="841" y="972"/>
                  </a:lnTo>
                  <a:lnTo>
                    <a:pt x="855" y="1001"/>
                  </a:lnTo>
                  <a:lnTo>
                    <a:pt x="864" y="1015"/>
                  </a:lnTo>
                  <a:lnTo>
                    <a:pt x="873" y="1027"/>
                  </a:lnTo>
                  <a:lnTo>
                    <a:pt x="873" y="1027"/>
                  </a:lnTo>
                  <a:lnTo>
                    <a:pt x="881" y="1040"/>
                  </a:lnTo>
                  <a:lnTo>
                    <a:pt x="888" y="1052"/>
                  </a:lnTo>
                  <a:lnTo>
                    <a:pt x="897" y="1076"/>
                  </a:lnTo>
                  <a:lnTo>
                    <a:pt x="902" y="1087"/>
                  </a:lnTo>
                  <a:lnTo>
                    <a:pt x="911" y="1097"/>
                  </a:lnTo>
                  <a:lnTo>
                    <a:pt x="916" y="1100"/>
                  </a:lnTo>
                  <a:lnTo>
                    <a:pt x="925" y="1104"/>
                  </a:lnTo>
                  <a:lnTo>
                    <a:pt x="934" y="1106"/>
                  </a:lnTo>
                  <a:lnTo>
                    <a:pt x="942" y="1109"/>
                  </a:lnTo>
                  <a:lnTo>
                    <a:pt x="942" y="1109"/>
                  </a:lnTo>
                  <a:lnTo>
                    <a:pt x="949" y="1111"/>
                  </a:lnTo>
                  <a:lnTo>
                    <a:pt x="954" y="1114"/>
                  </a:lnTo>
                  <a:lnTo>
                    <a:pt x="960" y="1118"/>
                  </a:lnTo>
                  <a:lnTo>
                    <a:pt x="961" y="1118"/>
                  </a:lnTo>
                  <a:lnTo>
                    <a:pt x="961" y="1118"/>
                  </a:lnTo>
                  <a:lnTo>
                    <a:pt x="961" y="1118"/>
                  </a:lnTo>
                  <a:lnTo>
                    <a:pt x="965" y="1114"/>
                  </a:lnTo>
                  <a:lnTo>
                    <a:pt x="968" y="1114"/>
                  </a:lnTo>
                  <a:lnTo>
                    <a:pt x="968" y="1114"/>
                  </a:lnTo>
                  <a:lnTo>
                    <a:pt x="967" y="1099"/>
                  </a:lnTo>
                  <a:lnTo>
                    <a:pt x="963" y="1081"/>
                  </a:lnTo>
                  <a:lnTo>
                    <a:pt x="961" y="1066"/>
                  </a:lnTo>
                  <a:lnTo>
                    <a:pt x="960" y="1053"/>
                  </a:lnTo>
                  <a:lnTo>
                    <a:pt x="960" y="1053"/>
                  </a:lnTo>
                  <a:lnTo>
                    <a:pt x="963" y="1045"/>
                  </a:lnTo>
                  <a:lnTo>
                    <a:pt x="967" y="1038"/>
                  </a:lnTo>
                  <a:lnTo>
                    <a:pt x="972" y="1031"/>
                  </a:lnTo>
                  <a:lnTo>
                    <a:pt x="975" y="1024"/>
                  </a:lnTo>
                  <a:lnTo>
                    <a:pt x="975" y="1024"/>
                  </a:lnTo>
                  <a:lnTo>
                    <a:pt x="977" y="1019"/>
                  </a:lnTo>
                  <a:lnTo>
                    <a:pt x="981" y="1015"/>
                  </a:lnTo>
                  <a:lnTo>
                    <a:pt x="989" y="1010"/>
                  </a:lnTo>
                  <a:lnTo>
                    <a:pt x="994" y="1006"/>
                  </a:lnTo>
                  <a:lnTo>
                    <a:pt x="996" y="1003"/>
                  </a:lnTo>
                  <a:lnTo>
                    <a:pt x="996" y="1001"/>
                  </a:lnTo>
                  <a:lnTo>
                    <a:pt x="996" y="1001"/>
                  </a:lnTo>
                  <a:lnTo>
                    <a:pt x="989" y="994"/>
                  </a:lnTo>
                  <a:lnTo>
                    <a:pt x="988" y="993"/>
                  </a:lnTo>
                  <a:lnTo>
                    <a:pt x="991" y="994"/>
                  </a:lnTo>
                  <a:lnTo>
                    <a:pt x="991" y="994"/>
                  </a:lnTo>
                  <a:lnTo>
                    <a:pt x="996" y="994"/>
                  </a:lnTo>
                  <a:lnTo>
                    <a:pt x="998" y="993"/>
                  </a:lnTo>
                  <a:lnTo>
                    <a:pt x="1000" y="993"/>
                  </a:lnTo>
                  <a:lnTo>
                    <a:pt x="1001" y="993"/>
                  </a:lnTo>
                  <a:lnTo>
                    <a:pt x="1001" y="993"/>
                  </a:lnTo>
                  <a:lnTo>
                    <a:pt x="1005" y="994"/>
                  </a:lnTo>
                  <a:lnTo>
                    <a:pt x="1008" y="994"/>
                  </a:lnTo>
                  <a:lnTo>
                    <a:pt x="1019" y="991"/>
                  </a:lnTo>
                  <a:lnTo>
                    <a:pt x="1029" y="984"/>
                  </a:lnTo>
                  <a:lnTo>
                    <a:pt x="1038" y="975"/>
                  </a:lnTo>
                  <a:lnTo>
                    <a:pt x="1038" y="975"/>
                  </a:lnTo>
                  <a:lnTo>
                    <a:pt x="1043" y="968"/>
                  </a:lnTo>
                  <a:lnTo>
                    <a:pt x="1048" y="965"/>
                  </a:lnTo>
                  <a:lnTo>
                    <a:pt x="1064" y="954"/>
                  </a:lnTo>
                  <a:lnTo>
                    <a:pt x="1064" y="954"/>
                  </a:lnTo>
                  <a:lnTo>
                    <a:pt x="1078" y="946"/>
                  </a:lnTo>
                  <a:lnTo>
                    <a:pt x="1085" y="942"/>
                  </a:lnTo>
                  <a:lnTo>
                    <a:pt x="1099" y="942"/>
                  </a:lnTo>
                  <a:lnTo>
                    <a:pt x="1099" y="942"/>
                  </a:lnTo>
                  <a:lnTo>
                    <a:pt x="1106" y="942"/>
                  </a:lnTo>
                  <a:lnTo>
                    <a:pt x="1113" y="944"/>
                  </a:lnTo>
                  <a:lnTo>
                    <a:pt x="1122" y="947"/>
                  </a:lnTo>
                  <a:lnTo>
                    <a:pt x="1130" y="951"/>
                  </a:lnTo>
                  <a:lnTo>
                    <a:pt x="1134" y="952"/>
                  </a:lnTo>
                  <a:lnTo>
                    <a:pt x="1139" y="952"/>
                  </a:lnTo>
                  <a:lnTo>
                    <a:pt x="1139" y="952"/>
                  </a:lnTo>
                  <a:lnTo>
                    <a:pt x="1146" y="951"/>
                  </a:lnTo>
                  <a:lnTo>
                    <a:pt x="1151" y="952"/>
                  </a:lnTo>
                  <a:lnTo>
                    <a:pt x="1153" y="954"/>
                  </a:lnTo>
                  <a:lnTo>
                    <a:pt x="1158" y="952"/>
                  </a:lnTo>
                  <a:lnTo>
                    <a:pt x="1158" y="952"/>
                  </a:lnTo>
                  <a:lnTo>
                    <a:pt x="1158" y="951"/>
                  </a:lnTo>
                  <a:lnTo>
                    <a:pt x="1156" y="951"/>
                  </a:lnTo>
                  <a:lnTo>
                    <a:pt x="1151" y="947"/>
                  </a:lnTo>
                  <a:lnTo>
                    <a:pt x="1146" y="946"/>
                  </a:lnTo>
                  <a:lnTo>
                    <a:pt x="1144" y="944"/>
                  </a:lnTo>
                  <a:lnTo>
                    <a:pt x="1148" y="942"/>
                  </a:lnTo>
                  <a:lnTo>
                    <a:pt x="1148" y="942"/>
                  </a:lnTo>
                  <a:lnTo>
                    <a:pt x="1155" y="940"/>
                  </a:lnTo>
                  <a:lnTo>
                    <a:pt x="1160" y="942"/>
                  </a:lnTo>
                  <a:lnTo>
                    <a:pt x="1163" y="946"/>
                  </a:lnTo>
                  <a:lnTo>
                    <a:pt x="1165" y="951"/>
                  </a:lnTo>
                  <a:lnTo>
                    <a:pt x="1165" y="951"/>
                  </a:lnTo>
                  <a:lnTo>
                    <a:pt x="1167" y="952"/>
                  </a:lnTo>
                  <a:lnTo>
                    <a:pt x="1169" y="952"/>
                  </a:lnTo>
                  <a:lnTo>
                    <a:pt x="1174" y="956"/>
                  </a:lnTo>
                  <a:lnTo>
                    <a:pt x="1177" y="958"/>
                  </a:lnTo>
                  <a:lnTo>
                    <a:pt x="1177" y="959"/>
                  </a:lnTo>
                  <a:lnTo>
                    <a:pt x="1176" y="961"/>
                  </a:lnTo>
                  <a:lnTo>
                    <a:pt x="1176" y="961"/>
                  </a:lnTo>
                  <a:lnTo>
                    <a:pt x="1174" y="963"/>
                  </a:lnTo>
                  <a:lnTo>
                    <a:pt x="1176" y="966"/>
                  </a:lnTo>
                  <a:lnTo>
                    <a:pt x="1183" y="968"/>
                  </a:lnTo>
                  <a:lnTo>
                    <a:pt x="1191" y="970"/>
                  </a:lnTo>
                  <a:lnTo>
                    <a:pt x="1196" y="970"/>
                  </a:lnTo>
                  <a:lnTo>
                    <a:pt x="1196" y="970"/>
                  </a:lnTo>
                  <a:lnTo>
                    <a:pt x="1200" y="966"/>
                  </a:lnTo>
                  <a:lnTo>
                    <a:pt x="1203" y="965"/>
                  </a:lnTo>
                  <a:lnTo>
                    <a:pt x="1207" y="965"/>
                  </a:lnTo>
                  <a:lnTo>
                    <a:pt x="1210" y="970"/>
                  </a:lnTo>
                  <a:lnTo>
                    <a:pt x="1210" y="970"/>
                  </a:lnTo>
                  <a:lnTo>
                    <a:pt x="1212" y="972"/>
                  </a:lnTo>
                  <a:lnTo>
                    <a:pt x="1214" y="972"/>
                  </a:lnTo>
                  <a:lnTo>
                    <a:pt x="1217" y="970"/>
                  </a:lnTo>
                  <a:lnTo>
                    <a:pt x="1219" y="965"/>
                  </a:lnTo>
                  <a:lnTo>
                    <a:pt x="1219" y="963"/>
                  </a:lnTo>
                  <a:lnTo>
                    <a:pt x="1219" y="959"/>
                  </a:lnTo>
                  <a:lnTo>
                    <a:pt x="1219" y="959"/>
                  </a:lnTo>
                  <a:lnTo>
                    <a:pt x="1217" y="956"/>
                  </a:lnTo>
                  <a:lnTo>
                    <a:pt x="1221" y="954"/>
                  </a:lnTo>
                  <a:lnTo>
                    <a:pt x="1226" y="958"/>
                  </a:lnTo>
                  <a:lnTo>
                    <a:pt x="1233" y="963"/>
                  </a:lnTo>
                  <a:lnTo>
                    <a:pt x="1233" y="963"/>
                  </a:lnTo>
                  <a:lnTo>
                    <a:pt x="1238" y="972"/>
                  </a:lnTo>
                  <a:lnTo>
                    <a:pt x="1240" y="977"/>
                  </a:lnTo>
                  <a:lnTo>
                    <a:pt x="1240" y="979"/>
                  </a:lnTo>
                  <a:lnTo>
                    <a:pt x="1242" y="979"/>
                  </a:lnTo>
                  <a:lnTo>
                    <a:pt x="1249" y="975"/>
                  </a:lnTo>
                  <a:lnTo>
                    <a:pt x="1249" y="975"/>
                  </a:lnTo>
                  <a:lnTo>
                    <a:pt x="1252" y="972"/>
                  </a:lnTo>
                  <a:lnTo>
                    <a:pt x="1252" y="968"/>
                  </a:lnTo>
                  <a:lnTo>
                    <a:pt x="1252" y="966"/>
                  </a:lnTo>
                  <a:lnTo>
                    <a:pt x="1250" y="965"/>
                  </a:lnTo>
                  <a:lnTo>
                    <a:pt x="1245" y="959"/>
                  </a:lnTo>
                  <a:lnTo>
                    <a:pt x="1237" y="954"/>
                  </a:lnTo>
                  <a:lnTo>
                    <a:pt x="1237" y="954"/>
                  </a:lnTo>
                  <a:lnTo>
                    <a:pt x="1233" y="952"/>
                  </a:lnTo>
                  <a:lnTo>
                    <a:pt x="1231" y="949"/>
                  </a:lnTo>
                  <a:lnTo>
                    <a:pt x="1233" y="947"/>
                  </a:lnTo>
                  <a:lnTo>
                    <a:pt x="1237" y="946"/>
                  </a:lnTo>
                  <a:lnTo>
                    <a:pt x="1242" y="942"/>
                  </a:lnTo>
                  <a:lnTo>
                    <a:pt x="1243" y="939"/>
                  </a:lnTo>
                  <a:lnTo>
                    <a:pt x="1243" y="935"/>
                  </a:lnTo>
                  <a:lnTo>
                    <a:pt x="1243" y="935"/>
                  </a:lnTo>
                  <a:lnTo>
                    <a:pt x="1242" y="932"/>
                  </a:lnTo>
                  <a:lnTo>
                    <a:pt x="1240" y="930"/>
                  </a:lnTo>
                  <a:lnTo>
                    <a:pt x="1237" y="932"/>
                  </a:lnTo>
                  <a:lnTo>
                    <a:pt x="1235" y="935"/>
                  </a:lnTo>
                  <a:lnTo>
                    <a:pt x="1233" y="937"/>
                  </a:lnTo>
                  <a:lnTo>
                    <a:pt x="1230" y="935"/>
                  </a:lnTo>
                  <a:lnTo>
                    <a:pt x="1230" y="935"/>
                  </a:lnTo>
                  <a:lnTo>
                    <a:pt x="1228" y="933"/>
                  </a:lnTo>
                  <a:lnTo>
                    <a:pt x="1228" y="933"/>
                  </a:lnTo>
                  <a:lnTo>
                    <a:pt x="1230" y="930"/>
                  </a:lnTo>
                  <a:lnTo>
                    <a:pt x="1231" y="928"/>
                  </a:lnTo>
                  <a:lnTo>
                    <a:pt x="1228" y="926"/>
                  </a:lnTo>
                  <a:lnTo>
                    <a:pt x="1228" y="926"/>
                  </a:lnTo>
                  <a:lnTo>
                    <a:pt x="1223" y="926"/>
                  </a:lnTo>
                  <a:lnTo>
                    <a:pt x="1221" y="928"/>
                  </a:lnTo>
                  <a:lnTo>
                    <a:pt x="1217" y="930"/>
                  </a:lnTo>
                  <a:lnTo>
                    <a:pt x="1210" y="928"/>
                  </a:lnTo>
                  <a:lnTo>
                    <a:pt x="1210" y="928"/>
                  </a:lnTo>
                  <a:lnTo>
                    <a:pt x="1207" y="926"/>
                  </a:lnTo>
                  <a:lnTo>
                    <a:pt x="1205" y="923"/>
                  </a:lnTo>
                  <a:lnTo>
                    <a:pt x="1205" y="921"/>
                  </a:lnTo>
                  <a:lnTo>
                    <a:pt x="1207" y="918"/>
                  </a:lnTo>
                  <a:lnTo>
                    <a:pt x="1209" y="916"/>
                  </a:lnTo>
                  <a:lnTo>
                    <a:pt x="1214" y="914"/>
                  </a:lnTo>
                  <a:lnTo>
                    <a:pt x="1217" y="914"/>
                  </a:lnTo>
                  <a:lnTo>
                    <a:pt x="1223" y="916"/>
                  </a:lnTo>
                  <a:lnTo>
                    <a:pt x="1223" y="916"/>
                  </a:lnTo>
                  <a:lnTo>
                    <a:pt x="1231" y="921"/>
                  </a:lnTo>
                  <a:lnTo>
                    <a:pt x="1237" y="921"/>
                  </a:lnTo>
                  <a:lnTo>
                    <a:pt x="1242" y="921"/>
                  </a:lnTo>
                  <a:lnTo>
                    <a:pt x="1249" y="916"/>
                  </a:lnTo>
                  <a:lnTo>
                    <a:pt x="1249" y="916"/>
                  </a:lnTo>
                  <a:lnTo>
                    <a:pt x="1254" y="914"/>
                  </a:lnTo>
                  <a:lnTo>
                    <a:pt x="1259" y="912"/>
                  </a:lnTo>
                  <a:lnTo>
                    <a:pt x="1271" y="914"/>
                  </a:lnTo>
                  <a:lnTo>
                    <a:pt x="1282" y="916"/>
                  </a:lnTo>
                  <a:lnTo>
                    <a:pt x="1285" y="916"/>
                  </a:lnTo>
                  <a:lnTo>
                    <a:pt x="1287" y="912"/>
                  </a:lnTo>
                  <a:lnTo>
                    <a:pt x="1287" y="912"/>
                  </a:lnTo>
                  <a:lnTo>
                    <a:pt x="1289" y="900"/>
                  </a:lnTo>
                  <a:lnTo>
                    <a:pt x="1289" y="900"/>
                  </a:lnTo>
                  <a:lnTo>
                    <a:pt x="1290" y="902"/>
                  </a:lnTo>
                  <a:lnTo>
                    <a:pt x="1296" y="911"/>
                  </a:lnTo>
                  <a:lnTo>
                    <a:pt x="1296" y="911"/>
                  </a:lnTo>
                  <a:lnTo>
                    <a:pt x="1296" y="914"/>
                  </a:lnTo>
                  <a:lnTo>
                    <a:pt x="1296" y="918"/>
                  </a:lnTo>
                  <a:lnTo>
                    <a:pt x="1290" y="921"/>
                  </a:lnTo>
                  <a:lnTo>
                    <a:pt x="1290" y="923"/>
                  </a:lnTo>
                  <a:lnTo>
                    <a:pt x="1297" y="921"/>
                  </a:lnTo>
                  <a:lnTo>
                    <a:pt x="1297" y="921"/>
                  </a:lnTo>
                  <a:lnTo>
                    <a:pt x="1327" y="914"/>
                  </a:lnTo>
                  <a:lnTo>
                    <a:pt x="1341" y="914"/>
                  </a:lnTo>
                  <a:lnTo>
                    <a:pt x="1351" y="916"/>
                  </a:lnTo>
                  <a:lnTo>
                    <a:pt x="1351" y="916"/>
                  </a:lnTo>
                  <a:lnTo>
                    <a:pt x="1367" y="921"/>
                  </a:lnTo>
                  <a:lnTo>
                    <a:pt x="1371" y="923"/>
                  </a:lnTo>
                  <a:lnTo>
                    <a:pt x="1372" y="926"/>
                  </a:lnTo>
                  <a:lnTo>
                    <a:pt x="1372" y="926"/>
                  </a:lnTo>
                  <a:lnTo>
                    <a:pt x="1376" y="930"/>
                  </a:lnTo>
                  <a:lnTo>
                    <a:pt x="1378" y="932"/>
                  </a:lnTo>
                  <a:lnTo>
                    <a:pt x="1381" y="933"/>
                  </a:lnTo>
                  <a:lnTo>
                    <a:pt x="1383" y="940"/>
                  </a:lnTo>
                  <a:lnTo>
                    <a:pt x="1383" y="940"/>
                  </a:lnTo>
                  <a:lnTo>
                    <a:pt x="1383" y="944"/>
                  </a:lnTo>
                  <a:lnTo>
                    <a:pt x="1386" y="944"/>
                  </a:lnTo>
                  <a:lnTo>
                    <a:pt x="1391" y="944"/>
                  </a:lnTo>
                  <a:lnTo>
                    <a:pt x="1397" y="942"/>
                  </a:lnTo>
                  <a:lnTo>
                    <a:pt x="1407" y="939"/>
                  </a:lnTo>
                  <a:lnTo>
                    <a:pt x="1414" y="935"/>
                  </a:lnTo>
                  <a:lnTo>
                    <a:pt x="1414" y="935"/>
                  </a:lnTo>
                  <a:lnTo>
                    <a:pt x="1418" y="935"/>
                  </a:lnTo>
                  <a:lnTo>
                    <a:pt x="1418" y="935"/>
                  </a:lnTo>
                  <a:lnTo>
                    <a:pt x="1419" y="932"/>
                  </a:lnTo>
                  <a:lnTo>
                    <a:pt x="1421" y="928"/>
                  </a:lnTo>
                  <a:lnTo>
                    <a:pt x="1426" y="926"/>
                  </a:lnTo>
                  <a:lnTo>
                    <a:pt x="1426" y="926"/>
                  </a:lnTo>
                  <a:lnTo>
                    <a:pt x="1432" y="928"/>
                  </a:lnTo>
                  <a:lnTo>
                    <a:pt x="1437" y="933"/>
                  </a:lnTo>
                  <a:lnTo>
                    <a:pt x="1449" y="947"/>
                  </a:lnTo>
                  <a:lnTo>
                    <a:pt x="1459" y="961"/>
                  </a:lnTo>
                  <a:lnTo>
                    <a:pt x="1463" y="966"/>
                  </a:lnTo>
                  <a:lnTo>
                    <a:pt x="1466" y="968"/>
                  </a:lnTo>
                  <a:lnTo>
                    <a:pt x="1466" y="968"/>
                  </a:lnTo>
                  <a:lnTo>
                    <a:pt x="1470" y="970"/>
                  </a:lnTo>
                  <a:lnTo>
                    <a:pt x="1473" y="973"/>
                  </a:lnTo>
                  <a:lnTo>
                    <a:pt x="1477" y="982"/>
                  </a:lnTo>
                  <a:lnTo>
                    <a:pt x="1477" y="996"/>
                  </a:lnTo>
                  <a:lnTo>
                    <a:pt x="1475" y="1008"/>
                  </a:lnTo>
                  <a:lnTo>
                    <a:pt x="1475" y="1008"/>
                  </a:lnTo>
                  <a:lnTo>
                    <a:pt x="1472" y="1020"/>
                  </a:lnTo>
                  <a:lnTo>
                    <a:pt x="1472" y="1031"/>
                  </a:lnTo>
                  <a:lnTo>
                    <a:pt x="1475" y="1036"/>
                  </a:lnTo>
                  <a:lnTo>
                    <a:pt x="1477" y="1036"/>
                  </a:lnTo>
                  <a:lnTo>
                    <a:pt x="1479" y="1036"/>
                  </a:lnTo>
                  <a:lnTo>
                    <a:pt x="1479" y="1036"/>
                  </a:lnTo>
                  <a:lnTo>
                    <a:pt x="1482" y="1033"/>
                  </a:lnTo>
                  <a:lnTo>
                    <a:pt x="1486" y="1031"/>
                  </a:lnTo>
                  <a:lnTo>
                    <a:pt x="1487" y="1031"/>
                  </a:lnTo>
                  <a:lnTo>
                    <a:pt x="1487" y="1033"/>
                  </a:lnTo>
                  <a:lnTo>
                    <a:pt x="1484" y="1038"/>
                  </a:lnTo>
                  <a:lnTo>
                    <a:pt x="1484" y="1038"/>
                  </a:lnTo>
                  <a:lnTo>
                    <a:pt x="1482" y="1041"/>
                  </a:lnTo>
                  <a:lnTo>
                    <a:pt x="1480" y="1045"/>
                  </a:lnTo>
                  <a:lnTo>
                    <a:pt x="1482" y="1055"/>
                  </a:lnTo>
                  <a:lnTo>
                    <a:pt x="1486" y="1064"/>
                  </a:lnTo>
                  <a:lnTo>
                    <a:pt x="1491" y="1073"/>
                  </a:lnTo>
                  <a:lnTo>
                    <a:pt x="1491" y="1073"/>
                  </a:lnTo>
                  <a:lnTo>
                    <a:pt x="1492" y="1074"/>
                  </a:lnTo>
                  <a:lnTo>
                    <a:pt x="1494" y="1074"/>
                  </a:lnTo>
                  <a:lnTo>
                    <a:pt x="1496" y="1073"/>
                  </a:lnTo>
                  <a:lnTo>
                    <a:pt x="1496" y="1073"/>
                  </a:lnTo>
                  <a:lnTo>
                    <a:pt x="1496" y="1073"/>
                  </a:lnTo>
                  <a:lnTo>
                    <a:pt x="1498" y="1080"/>
                  </a:lnTo>
                  <a:lnTo>
                    <a:pt x="1498" y="1080"/>
                  </a:lnTo>
                  <a:lnTo>
                    <a:pt x="1499" y="1087"/>
                  </a:lnTo>
                  <a:lnTo>
                    <a:pt x="1503" y="1090"/>
                  </a:lnTo>
                  <a:lnTo>
                    <a:pt x="1506" y="1094"/>
                  </a:lnTo>
                  <a:lnTo>
                    <a:pt x="1508" y="1104"/>
                  </a:lnTo>
                  <a:lnTo>
                    <a:pt x="1508" y="1104"/>
                  </a:lnTo>
                  <a:lnTo>
                    <a:pt x="1510" y="1109"/>
                  </a:lnTo>
                  <a:lnTo>
                    <a:pt x="1512" y="1113"/>
                  </a:lnTo>
                  <a:lnTo>
                    <a:pt x="1515" y="1114"/>
                  </a:lnTo>
                  <a:lnTo>
                    <a:pt x="1517" y="1116"/>
                  </a:lnTo>
                  <a:lnTo>
                    <a:pt x="1524" y="1120"/>
                  </a:lnTo>
                  <a:lnTo>
                    <a:pt x="1526" y="1121"/>
                  </a:lnTo>
                  <a:lnTo>
                    <a:pt x="1527" y="1128"/>
                  </a:lnTo>
                  <a:lnTo>
                    <a:pt x="1527" y="1128"/>
                  </a:lnTo>
                  <a:lnTo>
                    <a:pt x="1531" y="1137"/>
                  </a:lnTo>
                  <a:lnTo>
                    <a:pt x="1533" y="1139"/>
                  </a:lnTo>
                  <a:lnTo>
                    <a:pt x="1534" y="1141"/>
                  </a:lnTo>
                  <a:lnTo>
                    <a:pt x="1533" y="1142"/>
                  </a:lnTo>
                  <a:lnTo>
                    <a:pt x="1533" y="1142"/>
                  </a:lnTo>
                  <a:lnTo>
                    <a:pt x="1531" y="1147"/>
                  </a:lnTo>
                  <a:lnTo>
                    <a:pt x="1533" y="1151"/>
                  </a:lnTo>
                  <a:lnTo>
                    <a:pt x="1536" y="1151"/>
                  </a:lnTo>
                  <a:lnTo>
                    <a:pt x="1545" y="1149"/>
                  </a:lnTo>
                  <a:lnTo>
                    <a:pt x="1545" y="1149"/>
                  </a:lnTo>
                  <a:lnTo>
                    <a:pt x="1548" y="1147"/>
                  </a:lnTo>
                  <a:lnTo>
                    <a:pt x="1550" y="1149"/>
                  </a:lnTo>
                  <a:lnTo>
                    <a:pt x="1552" y="1151"/>
                  </a:lnTo>
                  <a:lnTo>
                    <a:pt x="1552" y="1153"/>
                  </a:lnTo>
                  <a:lnTo>
                    <a:pt x="1555" y="1147"/>
                  </a:lnTo>
                  <a:lnTo>
                    <a:pt x="1555" y="1147"/>
                  </a:lnTo>
                  <a:lnTo>
                    <a:pt x="1560" y="1141"/>
                  </a:lnTo>
                  <a:lnTo>
                    <a:pt x="1560" y="1135"/>
                  </a:lnTo>
                  <a:lnTo>
                    <a:pt x="1560" y="1132"/>
                  </a:lnTo>
                  <a:lnTo>
                    <a:pt x="1564" y="1125"/>
                  </a:lnTo>
                  <a:lnTo>
                    <a:pt x="1564" y="1125"/>
                  </a:lnTo>
                  <a:lnTo>
                    <a:pt x="1567" y="1116"/>
                  </a:lnTo>
                  <a:lnTo>
                    <a:pt x="1567" y="1107"/>
                  </a:lnTo>
                  <a:lnTo>
                    <a:pt x="1569" y="1097"/>
                  </a:lnTo>
                  <a:lnTo>
                    <a:pt x="1569" y="1083"/>
                  </a:lnTo>
                  <a:lnTo>
                    <a:pt x="1569" y="1083"/>
                  </a:lnTo>
                  <a:lnTo>
                    <a:pt x="1569" y="1076"/>
                  </a:lnTo>
                  <a:lnTo>
                    <a:pt x="1567" y="1066"/>
                  </a:lnTo>
                  <a:lnTo>
                    <a:pt x="1560" y="1045"/>
                  </a:lnTo>
                  <a:lnTo>
                    <a:pt x="1553" y="1024"/>
                  </a:lnTo>
                  <a:lnTo>
                    <a:pt x="1552" y="1013"/>
                  </a:lnTo>
                  <a:lnTo>
                    <a:pt x="1552" y="1005"/>
                  </a:lnTo>
                  <a:lnTo>
                    <a:pt x="1552" y="1005"/>
                  </a:lnTo>
                  <a:lnTo>
                    <a:pt x="1552" y="1001"/>
                  </a:lnTo>
                  <a:lnTo>
                    <a:pt x="1550" y="996"/>
                  </a:lnTo>
                  <a:lnTo>
                    <a:pt x="1541" y="979"/>
                  </a:lnTo>
                  <a:lnTo>
                    <a:pt x="1536" y="966"/>
                  </a:lnTo>
                  <a:lnTo>
                    <a:pt x="1531" y="954"/>
                  </a:lnTo>
                  <a:lnTo>
                    <a:pt x="1526" y="939"/>
                  </a:lnTo>
                  <a:lnTo>
                    <a:pt x="1522" y="919"/>
                  </a:lnTo>
                  <a:lnTo>
                    <a:pt x="1522" y="919"/>
                  </a:lnTo>
                  <a:lnTo>
                    <a:pt x="1520" y="900"/>
                  </a:lnTo>
                  <a:lnTo>
                    <a:pt x="1522" y="883"/>
                  </a:lnTo>
                  <a:lnTo>
                    <a:pt x="1526" y="867"/>
                  </a:lnTo>
                  <a:lnTo>
                    <a:pt x="1531" y="855"/>
                  </a:lnTo>
                  <a:lnTo>
                    <a:pt x="1536" y="846"/>
                  </a:lnTo>
                  <a:lnTo>
                    <a:pt x="1541" y="838"/>
                  </a:lnTo>
                  <a:lnTo>
                    <a:pt x="1552" y="827"/>
                  </a:lnTo>
                  <a:lnTo>
                    <a:pt x="1552" y="827"/>
                  </a:lnTo>
                  <a:lnTo>
                    <a:pt x="1553" y="825"/>
                  </a:lnTo>
                  <a:lnTo>
                    <a:pt x="1555" y="822"/>
                  </a:lnTo>
                  <a:lnTo>
                    <a:pt x="1553" y="820"/>
                  </a:lnTo>
                  <a:lnTo>
                    <a:pt x="1553" y="818"/>
                  </a:lnTo>
                  <a:lnTo>
                    <a:pt x="1553" y="818"/>
                  </a:lnTo>
                  <a:lnTo>
                    <a:pt x="1560" y="817"/>
                  </a:lnTo>
                  <a:lnTo>
                    <a:pt x="1560" y="817"/>
                  </a:lnTo>
                  <a:lnTo>
                    <a:pt x="1566" y="817"/>
                  </a:lnTo>
                  <a:lnTo>
                    <a:pt x="1571" y="813"/>
                  </a:lnTo>
                  <a:lnTo>
                    <a:pt x="1578" y="806"/>
                  </a:lnTo>
                  <a:lnTo>
                    <a:pt x="1585" y="798"/>
                  </a:lnTo>
                  <a:lnTo>
                    <a:pt x="1588" y="796"/>
                  </a:lnTo>
                  <a:lnTo>
                    <a:pt x="1592" y="794"/>
                  </a:lnTo>
                  <a:lnTo>
                    <a:pt x="1592" y="794"/>
                  </a:lnTo>
                  <a:lnTo>
                    <a:pt x="1593" y="792"/>
                  </a:lnTo>
                  <a:lnTo>
                    <a:pt x="1595" y="791"/>
                  </a:lnTo>
                  <a:lnTo>
                    <a:pt x="1600" y="780"/>
                  </a:lnTo>
                  <a:lnTo>
                    <a:pt x="1606" y="770"/>
                  </a:lnTo>
                  <a:lnTo>
                    <a:pt x="1609" y="763"/>
                  </a:lnTo>
                  <a:lnTo>
                    <a:pt x="1616" y="757"/>
                  </a:lnTo>
                  <a:lnTo>
                    <a:pt x="1616" y="757"/>
                  </a:lnTo>
                  <a:lnTo>
                    <a:pt x="1621" y="754"/>
                  </a:lnTo>
                  <a:lnTo>
                    <a:pt x="1627" y="752"/>
                  </a:lnTo>
                  <a:lnTo>
                    <a:pt x="1637" y="752"/>
                  </a:lnTo>
                  <a:lnTo>
                    <a:pt x="1640" y="752"/>
                  </a:lnTo>
                  <a:lnTo>
                    <a:pt x="1644" y="751"/>
                  </a:lnTo>
                  <a:lnTo>
                    <a:pt x="1646" y="749"/>
                  </a:lnTo>
                  <a:lnTo>
                    <a:pt x="1647" y="744"/>
                  </a:lnTo>
                  <a:lnTo>
                    <a:pt x="1647" y="744"/>
                  </a:lnTo>
                  <a:lnTo>
                    <a:pt x="1649" y="738"/>
                  </a:lnTo>
                  <a:lnTo>
                    <a:pt x="1653" y="733"/>
                  </a:lnTo>
                  <a:lnTo>
                    <a:pt x="1663" y="723"/>
                  </a:lnTo>
                  <a:lnTo>
                    <a:pt x="1674" y="717"/>
                  </a:lnTo>
                  <a:lnTo>
                    <a:pt x="1686" y="714"/>
                  </a:lnTo>
                  <a:lnTo>
                    <a:pt x="1686" y="714"/>
                  </a:lnTo>
                  <a:lnTo>
                    <a:pt x="1694" y="712"/>
                  </a:lnTo>
                  <a:lnTo>
                    <a:pt x="1701" y="707"/>
                  </a:lnTo>
                  <a:lnTo>
                    <a:pt x="1703" y="704"/>
                  </a:lnTo>
                  <a:lnTo>
                    <a:pt x="1701" y="702"/>
                  </a:lnTo>
                  <a:lnTo>
                    <a:pt x="1700" y="700"/>
                  </a:lnTo>
                  <a:lnTo>
                    <a:pt x="1700" y="700"/>
                  </a:lnTo>
                  <a:lnTo>
                    <a:pt x="1698" y="698"/>
                  </a:lnTo>
                  <a:lnTo>
                    <a:pt x="1696" y="700"/>
                  </a:lnTo>
                  <a:lnTo>
                    <a:pt x="1691" y="704"/>
                  </a:lnTo>
                  <a:lnTo>
                    <a:pt x="1686" y="705"/>
                  </a:lnTo>
                  <a:lnTo>
                    <a:pt x="1684" y="705"/>
                  </a:lnTo>
                  <a:lnTo>
                    <a:pt x="1681" y="705"/>
                  </a:lnTo>
                  <a:lnTo>
                    <a:pt x="1681" y="705"/>
                  </a:lnTo>
                  <a:lnTo>
                    <a:pt x="1679" y="702"/>
                  </a:lnTo>
                  <a:lnTo>
                    <a:pt x="1681" y="702"/>
                  </a:lnTo>
                  <a:lnTo>
                    <a:pt x="1686" y="700"/>
                  </a:lnTo>
                  <a:lnTo>
                    <a:pt x="1687" y="698"/>
                  </a:lnTo>
                  <a:lnTo>
                    <a:pt x="1691" y="695"/>
                  </a:lnTo>
                  <a:lnTo>
                    <a:pt x="1691" y="695"/>
                  </a:lnTo>
                  <a:lnTo>
                    <a:pt x="1691" y="691"/>
                  </a:lnTo>
                  <a:lnTo>
                    <a:pt x="1689" y="690"/>
                  </a:lnTo>
                  <a:lnTo>
                    <a:pt x="1686" y="684"/>
                  </a:lnTo>
                  <a:lnTo>
                    <a:pt x="1682" y="681"/>
                  </a:lnTo>
                  <a:lnTo>
                    <a:pt x="1687" y="681"/>
                  </a:lnTo>
                  <a:lnTo>
                    <a:pt x="1687" y="681"/>
                  </a:lnTo>
                  <a:lnTo>
                    <a:pt x="1696" y="684"/>
                  </a:lnTo>
                  <a:lnTo>
                    <a:pt x="1701" y="686"/>
                  </a:lnTo>
                  <a:lnTo>
                    <a:pt x="1703" y="686"/>
                  </a:lnTo>
                  <a:lnTo>
                    <a:pt x="1705" y="686"/>
                  </a:lnTo>
                  <a:lnTo>
                    <a:pt x="1708" y="681"/>
                  </a:lnTo>
                  <a:lnTo>
                    <a:pt x="1708" y="681"/>
                  </a:lnTo>
                  <a:lnTo>
                    <a:pt x="1714" y="676"/>
                  </a:lnTo>
                  <a:lnTo>
                    <a:pt x="1715" y="676"/>
                  </a:lnTo>
                  <a:lnTo>
                    <a:pt x="1717" y="674"/>
                  </a:lnTo>
                  <a:lnTo>
                    <a:pt x="1719" y="669"/>
                  </a:lnTo>
                  <a:lnTo>
                    <a:pt x="1719" y="669"/>
                  </a:lnTo>
                  <a:lnTo>
                    <a:pt x="1721" y="662"/>
                  </a:lnTo>
                  <a:lnTo>
                    <a:pt x="1719" y="658"/>
                  </a:lnTo>
                  <a:lnTo>
                    <a:pt x="1717" y="657"/>
                  </a:lnTo>
                  <a:lnTo>
                    <a:pt x="1714" y="658"/>
                  </a:lnTo>
                  <a:lnTo>
                    <a:pt x="1714" y="658"/>
                  </a:lnTo>
                  <a:lnTo>
                    <a:pt x="1712" y="660"/>
                  </a:lnTo>
                  <a:lnTo>
                    <a:pt x="1710" y="658"/>
                  </a:lnTo>
                  <a:lnTo>
                    <a:pt x="1707" y="657"/>
                  </a:lnTo>
                  <a:lnTo>
                    <a:pt x="1700" y="657"/>
                  </a:lnTo>
                  <a:lnTo>
                    <a:pt x="1700" y="657"/>
                  </a:lnTo>
                  <a:lnTo>
                    <a:pt x="1689" y="658"/>
                  </a:lnTo>
                  <a:lnTo>
                    <a:pt x="1686" y="657"/>
                  </a:lnTo>
                  <a:lnTo>
                    <a:pt x="1684" y="653"/>
                  </a:lnTo>
                  <a:lnTo>
                    <a:pt x="1684" y="648"/>
                  </a:lnTo>
                  <a:lnTo>
                    <a:pt x="1684" y="648"/>
                  </a:lnTo>
                  <a:lnTo>
                    <a:pt x="1684" y="646"/>
                  </a:lnTo>
                  <a:lnTo>
                    <a:pt x="1684" y="646"/>
                  </a:lnTo>
                  <a:lnTo>
                    <a:pt x="1687" y="650"/>
                  </a:lnTo>
                  <a:lnTo>
                    <a:pt x="1689" y="651"/>
                  </a:lnTo>
                  <a:lnTo>
                    <a:pt x="1691" y="653"/>
                  </a:lnTo>
                  <a:lnTo>
                    <a:pt x="1696" y="653"/>
                  </a:lnTo>
                  <a:lnTo>
                    <a:pt x="1700" y="650"/>
                  </a:lnTo>
                  <a:lnTo>
                    <a:pt x="1700" y="650"/>
                  </a:lnTo>
                  <a:lnTo>
                    <a:pt x="1707" y="648"/>
                  </a:lnTo>
                  <a:lnTo>
                    <a:pt x="1712" y="648"/>
                  </a:lnTo>
                  <a:lnTo>
                    <a:pt x="1715" y="650"/>
                  </a:lnTo>
                  <a:lnTo>
                    <a:pt x="1719" y="653"/>
                  </a:lnTo>
                  <a:lnTo>
                    <a:pt x="1724" y="660"/>
                  </a:lnTo>
                  <a:lnTo>
                    <a:pt x="1726" y="663"/>
                  </a:lnTo>
                  <a:lnTo>
                    <a:pt x="1728" y="663"/>
                  </a:lnTo>
                  <a:lnTo>
                    <a:pt x="1728" y="663"/>
                  </a:lnTo>
                  <a:lnTo>
                    <a:pt x="1728" y="662"/>
                  </a:lnTo>
                  <a:lnTo>
                    <a:pt x="1728" y="660"/>
                  </a:lnTo>
                  <a:lnTo>
                    <a:pt x="1724" y="653"/>
                  </a:lnTo>
                  <a:lnTo>
                    <a:pt x="1719" y="639"/>
                  </a:lnTo>
                  <a:lnTo>
                    <a:pt x="1714" y="618"/>
                  </a:lnTo>
                  <a:lnTo>
                    <a:pt x="1714" y="618"/>
                  </a:lnTo>
                  <a:lnTo>
                    <a:pt x="1710" y="611"/>
                  </a:lnTo>
                  <a:lnTo>
                    <a:pt x="1708" y="609"/>
                  </a:lnTo>
                  <a:lnTo>
                    <a:pt x="1707" y="609"/>
                  </a:lnTo>
                  <a:lnTo>
                    <a:pt x="1703" y="609"/>
                  </a:lnTo>
                  <a:lnTo>
                    <a:pt x="1698" y="613"/>
                  </a:lnTo>
                  <a:lnTo>
                    <a:pt x="1698" y="613"/>
                  </a:lnTo>
                  <a:lnTo>
                    <a:pt x="1696" y="613"/>
                  </a:lnTo>
                  <a:lnTo>
                    <a:pt x="1696" y="613"/>
                  </a:lnTo>
                  <a:lnTo>
                    <a:pt x="1700" y="609"/>
                  </a:lnTo>
                  <a:lnTo>
                    <a:pt x="1701" y="604"/>
                  </a:lnTo>
                  <a:lnTo>
                    <a:pt x="1701" y="601"/>
                  </a:lnTo>
                  <a:lnTo>
                    <a:pt x="1698" y="599"/>
                  </a:lnTo>
                  <a:lnTo>
                    <a:pt x="1698" y="599"/>
                  </a:lnTo>
                  <a:lnTo>
                    <a:pt x="1694" y="596"/>
                  </a:lnTo>
                  <a:lnTo>
                    <a:pt x="1698" y="596"/>
                  </a:lnTo>
                  <a:lnTo>
                    <a:pt x="1700" y="594"/>
                  </a:lnTo>
                  <a:lnTo>
                    <a:pt x="1701" y="592"/>
                  </a:lnTo>
                  <a:lnTo>
                    <a:pt x="1701" y="589"/>
                  </a:lnTo>
                  <a:lnTo>
                    <a:pt x="1701" y="583"/>
                  </a:lnTo>
                  <a:lnTo>
                    <a:pt x="1701" y="583"/>
                  </a:lnTo>
                  <a:lnTo>
                    <a:pt x="1700" y="573"/>
                  </a:lnTo>
                  <a:lnTo>
                    <a:pt x="1701" y="569"/>
                  </a:lnTo>
                  <a:lnTo>
                    <a:pt x="1700" y="566"/>
                  </a:lnTo>
                  <a:lnTo>
                    <a:pt x="1696" y="561"/>
                  </a:lnTo>
                  <a:lnTo>
                    <a:pt x="1696" y="561"/>
                  </a:lnTo>
                  <a:lnTo>
                    <a:pt x="1684" y="550"/>
                  </a:lnTo>
                  <a:lnTo>
                    <a:pt x="1684" y="549"/>
                  </a:lnTo>
                  <a:lnTo>
                    <a:pt x="1686" y="549"/>
                  </a:lnTo>
                  <a:lnTo>
                    <a:pt x="1691" y="552"/>
                  </a:lnTo>
                  <a:lnTo>
                    <a:pt x="1691" y="552"/>
                  </a:lnTo>
                  <a:lnTo>
                    <a:pt x="1698" y="556"/>
                  </a:lnTo>
                  <a:lnTo>
                    <a:pt x="1700" y="556"/>
                  </a:lnTo>
                  <a:lnTo>
                    <a:pt x="1700" y="554"/>
                  </a:lnTo>
                  <a:lnTo>
                    <a:pt x="1696" y="542"/>
                  </a:lnTo>
                  <a:lnTo>
                    <a:pt x="1696" y="542"/>
                  </a:lnTo>
                  <a:lnTo>
                    <a:pt x="1693" y="528"/>
                  </a:lnTo>
                  <a:lnTo>
                    <a:pt x="1694" y="514"/>
                  </a:lnTo>
                  <a:lnTo>
                    <a:pt x="1694" y="514"/>
                  </a:lnTo>
                  <a:lnTo>
                    <a:pt x="1698" y="503"/>
                  </a:lnTo>
                  <a:lnTo>
                    <a:pt x="1700" y="498"/>
                  </a:lnTo>
                  <a:lnTo>
                    <a:pt x="1705" y="493"/>
                  </a:lnTo>
                  <a:lnTo>
                    <a:pt x="1705" y="493"/>
                  </a:lnTo>
                  <a:lnTo>
                    <a:pt x="1708" y="491"/>
                  </a:lnTo>
                  <a:lnTo>
                    <a:pt x="1707" y="493"/>
                  </a:lnTo>
                  <a:lnTo>
                    <a:pt x="1703" y="498"/>
                  </a:lnTo>
                  <a:lnTo>
                    <a:pt x="1701" y="503"/>
                  </a:lnTo>
                  <a:lnTo>
                    <a:pt x="1701" y="503"/>
                  </a:lnTo>
                  <a:lnTo>
                    <a:pt x="1698" y="514"/>
                  </a:lnTo>
                  <a:lnTo>
                    <a:pt x="1698" y="517"/>
                  </a:lnTo>
                  <a:lnTo>
                    <a:pt x="1700" y="521"/>
                  </a:lnTo>
                  <a:lnTo>
                    <a:pt x="1700" y="521"/>
                  </a:lnTo>
                  <a:lnTo>
                    <a:pt x="1700" y="524"/>
                  </a:lnTo>
                  <a:lnTo>
                    <a:pt x="1700" y="526"/>
                  </a:lnTo>
                  <a:lnTo>
                    <a:pt x="1698" y="529"/>
                  </a:lnTo>
                  <a:lnTo>
                    <a:pt x="1700" y="533"/>
                  </a:lnTo>
                  <a:lnTo>
                    <a:pt x="1700" y="533"/>
                  </a:lnTo>
                  <a:lnTo>
                    <a:pt x="1701" y="536"/>
                  </a:lnTo>
                  <a:lnTo>
                    <a:pt x="1700" y="540"/>
                  </a:lnTo>
                  <a:lnTo>
                    <a:pt x="1700" y="542"/>
                  </a:lnTo>
                  <a:lnTo>
                    <a:pt x="1703" y="547"/>
                  </a:lnTo>
                  <a:lnTo>
                    <a:pt x="1703" y="547"/>
                  </a:lnTo>
                  <a:lnTo>
                    <a:pt x="1708" y="549"/>
                  </a:lnTo>
                  <a:lnTo>
                    <a:pt x="1710" y="547"/>
                  </a:lnTo>
                  <a:lnTo>
                    <a:pt x="1712" y="547"/>
                  </a:lnTo>
                  <a:lnTo>
                    <a:pt x="1714" y="550"/>
                  </a:lnTo>
                  <a:lnTo>
                    <a:pt x="1714" y="550"/>
                  </a:lnTo>
                  <a:lnTo>
                    <a:pt x="1715" y="557"/>
                  </a:lnTo>
                  <a:lnTo>
                    <a:pt x="1714" y="561"/>
                  </a:lnTo>
                  <a:lnTo>
                    <a:pt x="1714" y="562"/>
                  </a:lnTo>
                  <a:lnTo>
                    <a:pt x="1717" y="564"/>
                  </a:lnTo>
                  <a:lnTo>
                    <a:pt x="1717" y="564"/>
                  </a:lnTo>
                  <a:lnTo>
                    <a:pt x="1719" y="566"/>
                  </a:lnTo>
                  <a:lnTo>
                    <a:pt x="1717" y="569"/>
                  </a:lnTo>
                  <a:lnTo>
                    <a:pt x="1714" y="580"/>
                  </a:lnTo>
                  <a:lnTo>
                    <a:pt x="1708" y="592"/>
                  </a:lnTo>
                  <a:lnTo>
                    <a:pt x="1708" y="597"/>
                  </a:lnTo>
                  <a:lnTo>
                    <a:pt x="1712" y="601"/>
                  </a:lnTo>
                  <a:lnTo>
                    <a:pt x="1712" y="601"/>
                  </a:lnTo>
                  <a:lnTo>
                    <a:pt x="1714" y="601"/>
                  </a:lnTo>
                  <a:lnTo>
                    <a:pt x="1715" y="597"/>
                  </a:lnTo>
                  <a:lnTo>
                    <a:pt x="1721" y="583"/>
                  </a:lnTo>
                  <a:lnTo>
                    <a:pt x="1728" y="568"/>
                  </a:lnTo>
                  <a:lnTo>
                    <a:pt x="1736" y="552"/>
                  </a:lnTo>
                  <a:lnTo>
                    <a:pt x="1736" y="552"/>
                  </a:lnTo>
                  <a:lnTo>
                    <a:pt x="1741" y="547"/>
                  </a:lnTo>
                  <a:lnTo>
                    <a:pt x="1743" y="540"/>
                  </a:lnTo>
                  <a:lnTo>
                    <a:pt x="1745" y="535"/>
                  </a:lnTo>
                  <a:lnTo>
                    <a:pt x="1745" y="531"/>
                  </a:lnTo>
                  <a:lnTo>
                    <a:pt x="1745" y="528"/>
                  </a:lnTo>
                  <a:lnTo>
                    <a:pt x="1743" y="524"/>
                  </a:lnTo>
                  <a:lnTo>
                    <a:pt x="1741" y="522"/>
                  </a:lnTo>
                  <a:lnTo>
                    <a:pt x="1738" y="521"/>
                  </a:lnTo>
                  <a:lnTo>
                    <a:pt x="1738" y="521"/>
                  </a:lnTo>
                  <a:lnTo>
                    <a:pt x="1736" y="521"/>
                  </a:lnTo>
                  <a:lnTo>
                    <a:pt x="1735" y="519"/>
                  </a:lnTo>
                  <a:lnTo>
                    <a:pt x="1731" y="512"/>
                  </a:lnTo>
                  <a:lnTo>
                    <a:pt x="1726" y="493"/>
                  </a:lnTo>
                  <a:lnTo>
                    <a:pt x="1726" y="493"/>
                  </a:lnTo>
                  <a:lnTo>
                    <a:pt x="1724" y="486"/>
                  </a:lnTo>
                  <a:lnTo>
                    <a:pt x="1726" y="479"/>
                  </a:lnTo>
                  <a:lnTo>
                    <a:pt x="1729" y="474"/>
                  </a:lnTo>
                  <a:lnTo>
                    <a:pt x="1736" y="468"/>
                  </a:lnTo>
                  <a:lnTo>
                    <a:pt x="1736" y="468"/>
                  </a:lnTo>
                  <a:lnTo>
                    <a:pt x="1740" y="468"/>
                  </a:lnTo>
                  <a:lnTo>
                    <a:pt x="1735" y="472"/>
                  </a:lnTo>
                  <a:lnTo>
                    <a:pt x="1731" y="475"/>
                  </a:lnTo>
                  <a:lnTo>
                    <a:pt x="1729" y="481"/>
                  </a:lnTo>
                  <a:lnTo>
                    <a:pt x="1729" y="488"/>
                  </a:lnTo>
                  <a:lnTo>
                    <a:pt x="1731" y="493"/>
                  </a:lnTo>
                  <a:lnTo>
                    <a:pt x="1731" y="493"/>
                  </a:lnTo>
                  <a:lnTo>
                    <a:pt x="1736" y="498"/>
                  </a:lnTo>
                  <a:lnTo>
                    <a:pt x="1740" y="502"/>
                  </a:lnTo>
                  <a:lnTo>
                    <a:pt x="1745" y="503"/>
                  </a:lnTo>
                  <a:lnTo>
                    <a:pt x="1748" y="503"/>
                  </a:lnTo>
                  <a:lnTo>
                    <a:pt x="1748" y="510"/>
                  </a:lnTo>
                  <a:lnTo>
                    <a:pt x="1748" y="510"/>
                  </a:lnTo>
                  <a:lnTo>
                    <a:pt x="1748" y="514"/>
                  </a:lnTo>
                  <a:lnTo>
                    <a:pt x="1748" y="515"/>
                  </a:lnTo>
                  <a:lnTo>
                    <a:pt x="1750" y="514"/>
                  </a:lnTo>
                  <a:lnTo>
                    <a:pt x="1754" y="512"/>
                  </a:lnTo>
                  <a:lnTo>
                    <a:pt x="1761" y="502"/>
                  </a:lnTo>
                  <a:lnTo>
                    <a:pt x="1769" y="488"/>
                  </a:lnTo>
                  <a:lnTo>
                    <a:pt x="1769" y="488"/>
                  </a:lnTo>
                  <a:lnTo>
                    <a:pt x="1776" y="474"/>
                  </a:lnTo>
                  <a:lnTo>
                    <a:pt x="1782" y="460"/>
                  </a:lnTo>
                  <a:lnTo>
                    <a:pt x="1783" y="455"/>
                  </a:lnTo>
                  <a:lnTo>
                    <a:pt x="1783" y="449"/>
                  </a:lnTo>
                  <a:lnTo>
                    <a:pt x="1782" y="446"/>
                  </a:lnTo>
                  <a:lnTo>
                    <a:pt x="1778" y="446"/>
                  </a:lnTo>
                  <a:lnTo>
                    <a:pt x="1778" y="446"/>
                  </a:lnTo>
                  <a:lnTo>
                    <a:pt x="1771" y="444"/>
                  </a:lnTo>
                  <a:lnTo>
                    <a:pt x="1771" y="442"/>
                  </a:lnTo>
                  <a:lnTo>
                    <a:pt x="1769" y="441"/>
                  </a:lnTo>
                  <a:lnTo>
                    <a:pt x="1771" y="435"/>
                  </a:lnTo>
                  <a:lnTo>
                    <a:pt x="1778" y="430"/>
                  </a:lnTo>
                  <a:lnTo>
                    <a:pt x="1778" y="430"/>
                  </a:lnTo>
                  <a:lnTo>
                    <a:pt x="1787" y="421"/>
                  </a:lnTo>
                  <a:lnTo>
                    <a:pt x="1799" y="414"/>
                  </a:lnTo>
                  <a:lnTo>
                    <a:pt x="1811" y="409"/>
                  </a:lnTo>
                  <a:lnTo>
                    <a:pt x="1823" y="404"/>
                  </a:lnTo>
                  <a:lnTo>
                    <a:pt x="1823" y="404"/>
                  </a:lnTo>
                  <a:lnTo>
                    <a:pt x="1837" y="402"/>
                  </a:lnTo>
                  <a:lnTo>
                    <a:pt x="1853" y="401"/>
                  </a:lnTo>
                  <a:lnTo>
                    <a:pt x="1865" y="399"/>
                  </a:lnTo>
                  <a:lnTo>
                    <a:pt x="1869" y="397"/>
                  </a:lnTo>
                  <a:lnTo>
                    <a:pt x="1870" y="395"/>
                  </a:lnTo>
                  <a:lnTo>
                    <a:pt x="1870" y="395"/>
                  </a:lnTo>
                  <a:lnTo>
                    <a:pt x="1872" y="383"/>
                  </a:lnTo>
                  <a:lnTo>
                    <a:pt x="1874" y="380"/>
                  </a:lnTo>
                  <a:lnTo>
                    <a:pt x="1876" y="385"/>
                  </a:lnTo>
                  <a:lnTo>
                    <a:pt x="1876" y="385"/>
                  </a:lnTo>
                  <a:lnTo>
                    <a:pt x="1879" y="392"/>
                  </a:lnTo>
                  <a:lnTo>
                    <a:pt x="1881" y="395"/>
                  </a:lnTo>
                  <a:lnTo>
                    <a:pt x="1883" y="395"/>
                  </a:lnTo>
                  <a:lnTo>
                    <a:pt x="1884" y="394"/>
                  </a:lnTo>
                  <a:lnTo>
                    <a:pt x="1891" y="388"/>
                  </a:lnTo>
                  <a:lnTo>
                    <a:pt x="1891" y="388"/>
                  </a:lnTo>
                  <a:lnTo>
                    <a:pt x="1895" y="385"/>
                  </a:lnTo>
                  <a:lnTo>
                    <a:pt x="1896" y="383"/>
                  </a:lnTo>
                  <a:lnTo>
                    <a:pt x="1898" y="385"/>
                  </a:lnTo>
                  <a:lnTo>
                    <a:pt x="1898" y="387"/>
                  </a:lnTo>
                  <a:lnTo>
                    <a:pt x="1898" y="392"/>
                  </a:lnTo>
                  <a:lnTo>
                    <a:pt x="1900" y="392"/>
                  </a:lnTo>
                  <a:lnTo>
                    <a:pt x="1902" y="390"/>
                  </a:lnTo>
                  <a:lnTo>
                    <a:pt x="1902" y="390"/>
                  </a:lnTo>
                  <a:lnTo>
                    <a:pt x="1905" y="388"/>
                  </a:lnTo>
                  <a:lnTo>
                    <a:pt x="1910" y="387"/>
                  </a:lnTo>
                  <a:lnTo>
                    <a:pt x="1917" y="385"/>
                  </a:lnTo>
                  <a:lnTo>
                    <a:pt x="1923" y="383"/>
                  </a:lnTo>
                  <a:lnTo>
                    <a:pt x="1923" y="381"/>
                  </a:lnTo>
                  <a:lnTo>
                    <a:pt x="1923" y="378"/>
                  </a:lnTo>
                  <a:lnTo>
                    <a:pt x="1923" y="378"/>
                  </a:lnTo>
                  <a:lnTo>
                    <a:pt x="1919" y="366"/>
                  </a:lnTo>
                  <a:lnTo>
                    <a:pt x="1917" y="364"/>
                  </a:lnTo>
                  <a:lnTo>
                    <a:pt x="1914" y="364"/>
                  </a:lnTo>
                  <a:lnTo>
                    <a:pt x="1914" y="364"/>
                  </a:lnTo>
                  <a:lnTo>
                    <a:pt x="1912" y="364"/>
                  </a:lnTo>
                  <a:lnTo>
                    <a:pt x="1914" y="366"/>
                  </a:lnTo>
                  <a:lnTo>
                    <a:pt x="1917" y="367"/>
                  </a:lnTo>
                  <a:lnTo>
                    <a:pt x="1919" y="373"/>
                  </a:lnTo>
                  <a:lnTo>
                    <a:pt x="1919" y="373"/>
                  </a:lnTo>
                  <a:lnTo>
                    <a:pt x="1917" y="378"/>
                  </a:lnTo>
                  <a:lnTo>
                    <a:pt x="1912" y="381"/>
                  </a:lnTo>
                  <a:lnTo>
                    <a:pt x="1909" y="383"/>
                  </a:lnTo>
                  <a:lnTo>
                    <a:pt x="1907" y="381"/>
                  </a:lnTo>
                  <a:lnTo>
                    <a:pt x="1903" y="380"/>
                  </a:lnTo>
                  <a:lnTo>
                    <a:pt x="1902" y="376"/>
                  </a:lnTo>
                  <a:lnTo>
                    <a:pt x="1902" y="376"/>
                  </a:lnTo>
                  <a:lnTo>
                    <a:pt x="1900" y="367"/>
                  </a:lnTo>
                  <a:lnTo>
                    <a:pt x="1898" y="361"/>
                  </a:lnTo>
                  <a:lnTo>
                    <a:pt x="1895" y="357"/>
                  </a:lnTo>
                  <a:lnTo>
                    <a:pt x="1889" y="355"/>
                  </a:lnTo>
                  <a:lnTo>
                    <a:pt x="1889" y="355"/>
                  </a:lnTo>
                  <a:lnTo>
                    <a:pt x="1886" y="355"/>
                  </a:lnTo>
                  <a:lnTo>
                    <a:pt x="1886" y="352"/>
                  </a:lnTo>
                  <a:lnTo>
                    <a:pt x="1893" y="347"/>
                  </a:lnTo>
                  <a:lnTo>
                    <a:pt x="1900" y="340"/>
                  </a:lnTo>
                  <a:lnTo>
                    <a:pt x="1900" y="336"/>
                  </a:lnTo>
                  <a:lnTo>
                    <a:pt x="1898" y="334"/>
                  </a:lnTo>
                  <a:lnTo>
                    <a:pt x="1898" y="334"/>
                  </a:lnTo>
                  <a:lnTo>
                    <a:pt x="1896" y="333"/>
                  </a:lnTo>
                  <a:lnTo>
                    <a:pt x="1895" y="329"/>
                  </a:lnTo>
                  <a:lnTo>
                    <a:pt x="1896" y="317"/>
                  </a:lnTo>
                  <a:lnTo>
                    <a:pt x="1902" y="305"/>
                  </a:lnTo>
                  <a:lnTo>
                    <a:pt x="1909" y="296"/>
                  </a:lnTo>
                  <a:lnTo>
                    <a:pt x="1909" y="296"/>
                  </a:lnTo>
                  <a:lnTo>
                    <a:pt x="1912" y="291"/>
                  </a:lnTo>
                  <a:lnTo>
                    <a:pt x="1912" y="287"/>
                  </a:lnTo>
                  <a:lnTo>
                    <a:pt x="1912" y="284"/>
                  </a:lnTo>
                  <a:lnTo>
                    <a:pt x="1914" y="282"/>
                  </a:lnTo>
                  <a:lnTo>
                    <a:pt x="1914" y="282"/>
                  </a:lnTo>
                  <a:lnTo>
                    <a:pt x="1916" y="280"/>
                  </a:lnTo>
                  <a:lnTo>
                    <a:pt x="1917" y="280"/>
                  </a:lnTo>
                  <a:lnTo>
                    <a:pt x="1919" y="282"/>
                  </a:lnTo>
                  <a:lnTo>
                    <a:pt x="1923" y="284"/>
                  </a:lnTo>
                  <a:lnTo>
                    <a:pt x="1924" y="284"/>
                  </a:lnTo>
                  <a:lnTo>
                    <a:pt x="1930" y="282"/>
                  </a:lnTo>
                  <a:lnTo>
                    <a:pt x="1930" y="282"/>
                  </a:lnTo>
                  <a:lnTo>
                    <a:pt x="1935" y="279"/>
                  </a:lnTo>
                  <a:lnTo>
                    <a:pt x="1938" y="275"/>
                  </a:lnTo>
                  <a:lnTo>
                    <a:pt x="1942" y="273"/>
                  </a:lnTo>
                  <a:lnTo>
                    <a:pt x="1945" y="272"/>
                  </a:lnTo>
                  <a:lnTo>
                    <a:pt x="1945" y="272"/>
                  </a:lnTo>
                  <a:lnTo>
                    <a:pt x="1949" y="272"/>
                  </a:lnTo>
                  <a:lnTo>
                    <a:pt x="1952" y="268"/>
                  </a:lnTo>
                  <a:lnTo>
                    <a:pt x="1954" y="261"/>
                  </a:lnTo>
                  <a:lnTo>
                    <a:pt x="1957" y="254"/>
                  </a:lnTo>
                  <a:lnTo>
                    <a:pt x="1961" y="253"/>
                  </a:lnTo>
                  <a:lnTo>
                    <a:pt x="1964" y="254"/>
                  </a:lnTo>
                  <a:lnTo>
                    <a:pt x="1964" y="254"/>
                  </a:lnTo>
                  <a:lnTo>
                    <a:pt x="1971" y="256"/>
                  </a:lnTo>
                  <a:lnTo>
                    <a:pt x="1971" y="256"/>
                  </a:lnTo>
                  <a:lnTo>
                    <a:pt x="1973" y="256"/>
                  </a:lnTo>
                  <a:lnTo>
                    <a:pt x="1975" y="253"/>
                  </a:lnTo>
                  <a:lnTo>
                    <a:pt x="1978" y="249"/>
                  </a:lnTo>
                  <a:lnTo>
                    <a:pt x="1978" y="249"/>
                  </a:lnTo>
                  <a:lnTo>
                    <a:pt x="1983" y="249"/>
                  </a:lnTo>
                  <a:lnTo>
                    <a:pt x="1987" y="251"/>
                  </a:lnTo>
                  <a:lnTo>
                    <a:pt x="1989" y="251"/>
                  </a:lnTo>
                  <a:lnTo>
                    <a:pt x="1996" y="249"/>
                  </a:lnTo>
                  <a:lnTo>
                    <a:pt x="1996" y="249"/>
                  </a:lnTo>
                  <a:lnTo>
                    <a:pt x="2003" y="244"/>
                  </a:lnTo>
                  <a:lnTo>
                    <a:pt x="2011" y="242"/>
                  </a:lnTo>
                  <a:lnTo>
                    <a:pt x="2017" y="240"/>
                  </a:lnTo>
                  <a:lnTo>
                    <a:pt x="2022" y="235"/>
                  </a:lnTo>
                  <a:lnTo>
                    <a:pt x="2022" y="235"/>
                  </a:lnTo>
                  <a:lnTo>
                    <a:pt x="2025" y="230"/>
                  </a:lnTo>
                  <a:lnTo>
                    <a:pt x="2025" y="228"/>
                  </a:lnTo>
                  <a:lnTo>
                    <a:pt x="2024" y="226"/>
                  </a:lnTo>
                  <a:lnTo>
                    <a:pt x="2022" y="223"/>
                  </a:lnTo>
                  <a:lnTo>
                    <a:pt x="2022" y="223"/>
                  </a:lnTo>
                  <a:lnTo>
                    <a:pt x="2020" y="218"/>
                  </a:lnTo>
                  <a:lnTo>
                    <a:pt x="2018" y="216"/>
                  </a:lnTo>
                  <a:lnTo>
                    <a:pt x="2011" y="213"/>
                  </a:lnTo>
                  <a:lnTo>
                    <a:pt x="2011" y="213"/>
                  </a:lnTo>
                  <a:lnTo>
                    <a:pt x="2010" y="209"/>
                  </a:lnTo>
                  <a:lnTo>
                    <a:pt x="2008" y="202"/>
                  </a:lnTo>
                  <a:lnTo>
                    <a:pt x="2010" y="188"/>
                  </a:lnTo>
                  <a:lnTo>
                    <a:pt x="2010" y="188"/>
                  </a:lnTo>
                  <a:lnTo>
                    <a:pt x="2001" y="186"/>
                  </a:lnTo>
                  <a:lnTo>
                    <a:pt x="2001" y="186"/>
                  </a:lnTo>
                  <a:lnTo>
                    <a:pt x="1999" y="186"/>
                  </a:lnTo>
                  <a:lnTo>
                    <a:pt x="1997" y="183"/>
                  </a:lnTo>
                  <a:lnTo>
                    <a:pt x="1997" y="176"/>
                  </a:lnTo>
                  <a:lnTo>
                    <a:pt x="1997" y="176"/>
                  </a:lnTo>
                  <a:lnTo>
                    <a:pt x="1997" y="127"/>
                  </a:lnTo>
                  <a:lnTo>
                    <a:pt x="1997" y="127"/>
                  </a:lnTo>
                  <a:lnTo>
                    <a:pt x="1997" y="120"/>
                  </a:lnTo>
                  <a:lnTo>
                    <a:pt x="1997" y="117"/>
                  </a:lnTo>
                  <a:lnTo>
                    <a:pt x="1994" y="113"/>
                  </a:lnTo>
                  <a:lnTo>
                    <a:pt x="1989" y="108"/>
                  </a:lnTo>
                  <a:lnTo>
                    <a:pt x="1989" y="108"/>
                  </a:lnTo>
                  <a:lnTo>
                    <a:pt x="1982" y="103"/>
                  </a:lnTo>
                  <a:lnTo>
                    <a:pt x="1977" y="103"/>
                  </a:lnTo>
                  <a:lnTo>
                    <a:pt x="1971" y="106"/>
                  </a:lnTo>
                  <a:lnTo>
                    <a:pt x="1966" y="110"/>
                  </a:lnTo>
                  <a:lnTo>
                    <a:pt x="1966" y="110"/>
                  </a:lnTo>
                  <a:lnTo>
                    <a:pt x="1961" y="112"/>
                  </a:lnTo>
                  <a:lnTo>
                    <a:pt x="1957" y="110"/>
                  </a:lnTo>
                  <a:lnTo>
                    <a:pt x="1954" y="108"/>
                  </a:lnTo>
                  <a:lnTo>
                    <a:pt x="1954" y="103"/>
                  </a:lnTo>
                  <a:lnTo>
                    <a:pt x="1954" y="103"/>
                  </a:lnTo>
                  <a:lnTo>
                    <a:pt x="1954" y="99"/>
                  </a:lnTo>
                  <a:lnTo>
                    <a:pt x="1950" y="98"/>
                  </a:lnTo>
                  <a:lnTo>
                    <a:pt x="1947" y="98"/>
                  </a:lnTo>
                  <a:lnTo>
                    <a:pt x="1947" y="98"/>
                  </a:lnTo>
                  <a:lnTo>
                    <a:pt x="1924" y="131"/>
                  </a:lnTo>
                  <a:lnTo>
                    <a:pt x="1924" y="131"/>
                  </a:lnTo>
                  <a:lnTo>
                    <a:pt x="1921" y="139"/>
                  </a:lnTo>
                  <a:lnTo>
                    <a:pt x="1919" y="145"/>
                  </a:lnTo>
                  <a:lnTo>
                    <a:pt x="1919" y="148"/>
                  </a:lnTo>
                  <a:lnTo>
                    <a:pt x="1916" y="153"/>
                  </a:lnTo>
                  <a:lnTo>
                    <a:pt x="1916" y="153"/>
                  </a:lnTo>
                  <a:lnTo>
                    <a:pt x="1912" y="157"/>
                  </a:lnTo>
                  <a:lnTo>
                    <a:pt x="1912" y="159"/>
                  </a:lnTo>
                  <a:lnTo>
                    <a:pt x="1912" y="166"/>
                  </a:lnTo>
                  <a:lnTo>
                    <a:pt x="1912" y="171"/>
                  </a:lnTo>
                  <a:lnTo>
                    <a:pt x="1910" y="174"/>
                  </a:lnTo>
                  <a:lnTo>
                    <a:pt x="1909" y="176"/>
                  </a:lnTo>
                  <a:lnTo>
                    <a:pt x="1909" y="176"/>
                  </a:lnTo>
                  <a:lnTo>
                    <a:pt x="1905" y="179"/>
                  </a:lnTo>
                  <a:lnTo>
                    <a:pt x="1905" y="181"/>
                  </a:lnTo>
                  <a:lnTo>
                    <a:pt x="1905" y="183"/>
                  </a:lnTo>
                  <a:lnTo>
                    <a:pt x="1900" y="188"/>
                  </a:lnTo>
                  <a:lnTo>
                    <a:pt x="1900" y="188"/>
                  </a:lnTo>
                  <a:lnTo>
                    <a:pt x="1896" y="192"/>
                  </a:lnTo>
                  <a:lnTo>
                    <a:pt x="1895" y="193"/>
                  </a:lnTo>
                  <a:lnTo>
                    <a:pt x="1895" y="195"/>
                  </a:lnTo>
                  <a:lnTo>
                    <a:pt x="1896" y="197"/>
                  </a:lnTo>
                  <a:lnTo>
                    <a:pt x="1898" y="199"/>
                  </a:lnTo>
                  <a:lnTo>
                    <a:pt x="1895" y="200"/>
                  </a:lnTo>
                  <a:lnTo>
                    <a:pt x="1895" y="200"/>
                  </a:lnTo>
                  <a:lnTo>
                    <a:pt x="1891" y="202"/>
                  </a:lnTo>
                  <a:lnTo>
                    <a:pt x="1891" y="204"/>
                  </a:lnTo>
                  <a:lnTo>
                    <a:pt x="1889" y="207"/>
                  </a:lnTo>
                  <a:lnTo>
                    <a:pt x="1888" y="206"/>
                  </a:lnTo>
                  <a:lnTo>
                    <a:pt x="1888" y="206"/>
                  </a:lnTo>
                  <a:lnTo>
                    <a:pt x="1884" y="206"/>
                  </a:lnTo>
                  <a:lnTo>
                    <a:pt x="1883" y="206"/>
                  </a:lnTo>
                  <a:lnTo>
                    <a:pt x="1881" y="207"/>
                  </a:lnTo>
                  <a:lnTo>
                    <a:pt x="1877" y="207"/>
                  </a:lnTo>
                  <a:lnTo>
                    <a:pt x="1877" y="207"/>
                  </a:lnTo>
                  <a:lnTo>
                    <a:pt x="1874" y="206"/>
                  </a:lnTo>
                  <a:lnTo>
                    <a:pt x="1870" y="207"/>
                  </a:lnTo>
                  <a:lnTo>
                    <a:pt x="1869" y="213"/>
                  </a:lnTo>
                  <a:lnTo>
                    <a:pt x="1869" y="221"/>
                  </a:lnTo>
                  <a:lnTo>
                    <a:pt x="1869" y="221"/>
                  </a:lnTo>
                  <a:lnTo>
                    <a:pt x="1769" y="221"/>
                  </a:lnTo>
                  <a:lnTo>
                    <a:pt x="1769" y="221"/>
                  </a:lnTo>
                  <a:lnTo>
                    <a:pt x="1761" y="221"/>
                  </a:lnTo>
                  <a:lnTo>
                    <a:pt x="1754" y="219"/>
                  </a:lnTo>
                  <a:lnTo>
                    <a:pt x="1754" y="219"/>
                  </a:lnTo>
                  <a:lnTo>
                    <a:pt x="1748" y="221"/>
                  </a:lnTo>
                  <a:lnTo>
                    <a:pt x="1740" y="226"/>
                  </a:lnTo>
                  <a:lnTo>
                    <a:pt x="1729" y="235"/>
                  </a:lnTo>
                  <a:lnTo>
                    <a:pt x="1717" y="247"/>
                  </a:lnTo>
                  <a:lnTo>
                    <a:pt x="1717" y="24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 name="Freeform 1703">
              <a:extLst>
                <a:ext uri="{FF2B5EF4-FFF2-40B4-BE49-F238E27FC236}">
                  <a16:creationId xmlns:a16="http://schemas.microsoft.com/office/drawing/2014/main" id="{98F1648E-6A4C-4F72-9360-9D674BD0376F}"/>
                </a:ext>
              </a:extLst>
            </p:cNvPr>
            <p:cNvSpPr>
              <a:spLocks/>
            </p:cNvSpPr>
            <p:nvPr/>
          </p:nvSpPr>
          <p:spPr bwMode="auto">
            <a:xfrm>
              <a:off x="2982401" y="3710069"/>
              <a:ext cx="8809" cy="7048"/>
            </a:xfrm>
            <a:custGeom>
              <a:avLst/>
              <a:gdLst/>
              <a:ahLst/>
              <a:cxnLst>
                <a:cxn ang="0">
                  <a:pos x="2" y="0"/>
                </a:cxn>
                <a:cxn ang="0">
                  <a:pos x="2" y="0"/>
                </a:cxn>
                <a:cxn ang="0">
                  <a:pos x="2" y="0"/>
                </a:cxn>
                <a:cxn ang="0">
                  <a:pos x="5" y="0"/>
                </a:cxn>
                <a:cxn ang="0">
                  <a:pos x="8" y="4"/>
                </a:cxn>
                <a:cxn ang="0">
                  <a:pos x="12" y="7"/>
                </a:cxn>
                <a:cxn ang="0">
                  <a:pos x="12" y="7"/>
                </a:cxn>
                <a:cxn ang="0">
                  <a:pos x="10" y="7"/>
                </a:cxn>
                <a:cxn ang="0">
                  <a:pos x="10" y="7"/>
                </a:cxn>
                <a:cxn ang="0">
                  <a:pos x="2" y="4"/>
                </a:cxn>
                <a:cxn ang="0">
                  <a:pos x="0" y="2"/>
                </a:cxn>
                <a:cxn ang="0">
                  <a:pos x="2" y="0"/>
                </a:cxn>
              </a:cxnLst>
              <a:rect l="0" t="0" r="r" b="b"/>
              <a:pathLst>
                <a:path w="12" h="7">
                  <a:moveTo>
                    <a:pt x="2" y="0"/>
                  </a:moveTo>
                  <a:lnTo>
                    <a:pt x="2" y="0"/>
                  </a:lnTo>
                  <a:lnTo>
                    <a:pt x="2" y="0"/>
                  </a:lnTo>
                  <a:lnTo>
                    <a:pt x="5" y="0"/>
                  </a:lnTo>
                  <a:lnTo>
                    <a:pt x="8" y="4"/>
                  </a:lnTo>
                  <a:lnTo>
                    <a:pt x="12" y="7"/>
                  </a:lnTo>
                  <a:lnTo>
                    <a:pt x="12" y="7"/>
                  </a:lnTo>
                  <a:lnTo>
                    <a:pt x="10" y="7"/>
                  </a:lnTo>
                  <a:lnTo>
                    <a:pt x="10" y="7"/>
                  </a:lnTo>
                  <a:lnTo>
                    <a:pt x="2" y="4"/>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 name="Freeform 1704">
              <a:extLst>
                <a:ext uri="{FF2B5EF4-FFF2-40B4-BE49-F238E27FC236}">
                  <a16:creationId xmlns:a16="http://schemas.microsoft.com/office/drawing/2014/main" id="{09C56D8C-EEF9-48EC-8147-7A4CC685AE08}"/>
                </a:ext>
              </a:extLst>
            </p:cNvPr>
            <p:cNvSpPr>
              <a:spLocks/>
            </p:cNvSpPr>
            <p:nvPr/>
          </p:nvSpPr>
          <p:spPr bwMode="auto">
            <a:xfrm>
              <a:off x="3341851" y="3858080"/>
              <a:ext cx="5285" cy="3523"/>
            </a:xfrm>
            <a:custGeom>
              <a:avLst/>
              <a:gdLst/>
              <a:ahLst/>
              <a:cxnLst>
                <a:cxn ang="0">
                  <a:pos x="0" y="3"/>
                </a:cxn>
                <a:cxn ang="0">
                  <a:pos x="0" y="3"/>
                </a:cxn>
                <a:cxn ang="0">
                  <a:pos x="0" y="2"/>
                </a:cxn>
                <a:cxn ang="0">
                  <a:pos x="4" y="0"/>
                </a:cxn>
                <a:cxn ang="0">
                  <a:pos x="7" y="0"/>
                </a:cxn>
                <a:cxn ang="0">
                  <a:pos x="9" y="0"/>
                </a:cxn>
                <a:cxn ang="0">
                  <a:pos x="9" y="0"/>
                </a:cxn>
                <a:cxn ang="0">
                  <a:pos x="9" y="2"/>
                </a:cxn>
                <a:cxn ang="0">
                  <a:pos x="5" y="3"/>
                </a:cxn>
                <a:cxn ang="0">
                  <a:pos x="2" y="3"/>
                </a:cxn>
                <a:cxn ang="0">
                  <a:pos x="0" y="3"/>
                </a:cxn>
                <a:cxn ang="0">
                  <a:pos x="0" y="3"/>
                </a:cxn>
              </a:cxnLst>
              <a:rect l="0" t="0" r="r" b="b"/>
              <a:pathLst>
                <a:path w="9" h="3">
                  <a:moveTo>
                    <a:pt x="0" y="3"/>
                  </a:moveTo>
                  <a:lnTo>
                    <a:pt x="0" y="3"/>
                  </a:lnTo>
                  <a:lnTo>
                    <a:pt x="0" y="2"/>
                  </a:lnTo>
                  <a:lnTo>
                    <a:pt x="4" y="0"/>
                  </a:lnTo>
                  <a:lnTo>
                    <a:pt x="7" y="0"/>
                  </a:lnTo>
                  <a:lnTo>
                    <a:pt x="9" y="0"/>
                  </a:lnTo>
                  <a:lnTo>
                    <a:pt x="9" y="0"/>
                  </a:lnTo>
                  <a:lnTo>
                    <a:pt x="9" y="2"/>
                  </a:lnTo>
                  <a:lnTo>
                    <a:pt x="5" y="3"/>
                  </a:lnTo>
                  <a:lnTo>
                    <a:pt x="2" y="3"/>
                  </a:lnTo>
                  <a:lnTo>
                    <a:pt x="0" y="3"/>
                  </a:lnTo>
                  <a:lnTo>
                    <a:pt x="0"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 name="Freeform 1705">
              <a:extLst>
                <a:ext uri="{FF2B5EF4-FFF2-40B4-BE49-F238E27FC236}">
                  <a16:creationId xmlns:a16="http://schemas.microsoft.com/office/drawing/2014/main" id="{EEF30B02-C096-4A49-856D-064C42FEE9AF}"/>
                </a:ext>
              </a:extLst>
            </p:cNvPr>
            <p:cNvSpPr>
              <a:spLocks/>
            </p:cNvSpPr>
            <p:nvPr/>
          </p:nvSpPr>
          <p:spPr bwMode="auto">
            <a:xfrm>
              <a:off x="3454619" y="2790304"/>
              <a:ext cx="49335" cy="59909"/>
            </a:xfrm>
            <a:custGeom>
              <a:avLst/>
              <a:gdLst/>
              <a:ahLst/>
              <a:cxnLst>
                <a:cxn ang="0">
                  <a:pos x="4" y="72"/>
                </a:cxn>
                <a:cxn ang="0">
                  <a:pos x="4" y="72"/>
                </a:cxn>
                <a:cxn ang="0">
                  <a:pos x="2" y="63"/>
                </a:cxn>
                <a:cxn ang="0">
                  <a:pos x="0" y="56"/>
                </a:cxn>
                <a:cxn ang="0">
                  <a:pos x="2" y="49"/>
                </a:cxn>
                <a:cxn ang="0">
                  <a:pos x="4" y="42"/>
                </a:cxn>
                <a:cxn ang="0">
                  <a:pos x="11" y="30"/>
                </a:cxn>
                <a:cxn ang="0">
                  <a:pos x="21" y="16"/>
                </a:cxn>
                <a:cxn ang="0">
                  <a:pos x="21" y="16"/>
                </a:cxn>
                <a:cxn ang="0">
                  <a:pos x="32" y="4"/>
                </a:cxn>
                <a:cxn ang="0">
                  <a:pos x="35" y="0"/>
                </a:cxn>
                <a:cxn ang="0">
                  <a:pos x="37" y="0"/>
                </a:cxn>
                <a:cxn ang="0">
                  <a:pos x="39" y="2"/>
                </a:cxn>
                <a:cxn ang="0">
                  <a:pos x="40" y="5"/>
                </a:cxn>
                <a:cxn ang="0">
                  <a:pos x="40" y="16"/>
                </a:cxn>
                <a:cxn ang="0">
                  <a:pos x="40" y="16"/>
                </a:cxn>
                <a:cxn ang="0">
                  <a:pos x="39" y="28"/>
                </a:cxn>
                <a:cxn ang="0">
                  <a:pos x="40" y="35"/>
                </a:cxn>
                <a:cxn ang="0">
                  <a:pos x="42" y="39"/>
                </a:cxn>
                <a:cxn ang="0">
                  <a:pos x="46" y="40"/>
                </a:cxn>
                <a:cxn ang="0">
                  <a:pos x="54" y="42"/>
                </a:cxn>
                <a:cxn ang="0">
                  <a:pos x="54" y="42"/>
                </a:cxn>
                <a:cxn ang="0">
                  <a:pos x="58" y="44"/>
                </a:cxn>
                <a:cxn ang="0">
                  <a:pos x="60" y="46"/>
                </a:cxn>
                <a:cxn ang="0">
                  <a:pos x="61" y="49"/>
                </a:cxn>
                <a:cxn ang="0">
                  <a:pos x="60" y="52"/>
                </a:cxn>
                <a:cxn ang="0">
                  <a:pos x="53" y="59"/>
                </a:cxn>
                <a:cxn ang="0">
                  <a:pos x="44" y="66"/>
                </a:cxn>
                <a:cxn ang="0">
                  <a:pos x="44" y="66"/>
                </a:cxn>
                <a:cxn ang="0">
                  <a:pos x="35" y="72"/>
                </a:cxn>
                <a:cxn ang="0">
                  <a:pos x="28" y="75"/>
                </a:cxn>
                <a:cxn ang="0">
                  <a:pos x="26" y="73"/>
                </a:cxn>
                <a:cxn ang="0">
                  <a:pos x="26" y="72"/>
                </a:cxn>
                <a:cxn ang="0">
                  <a:pos x="26" y="61"/>
                </a:cxn>
                <a:cxn ang="0">
                  <a:pos x="26" y="61"/>
                </a:cxn>
                <a:cxn ang="0">
                  <a:pos x="28" y="51"/>
                </a:cxn>
                <a:cxn ang="0">
                  <a:pos x="28" y="49"/>
                </a:cxn>
                <a:cxn ang="0">
                  <a:pos x="26" y="47"/>
                </a:cxn>
                <a:cxn ang="0">
                  <a:pos x="25" y="49"/>
                </a:cxn>
                <a:cxn ang="0">
                  <a:pos x="23" y="51"/>
                </a:cxn>
                <a:cxn ang="0">
                  <a:pos x="18" y="61"/>
                </a:cxn>
                <a:cxn ang="0">
                  <a:pos x="18" y="61"/>
                </a:cxn>
                <a:cxn ang="0">
                  <a:pos x="16" y="70"/>
                </a:cxn>
                <a:cxn ang="0">
                  <a:pos x="11" y="77"/>
                </a:cxn>
                <a:cxn ang="0">
                  <a:pos x="9" y="77"/>
                </a:cxn>
                <a:cxn ang="0">
                  <a:pos x="7" y="77"/>
                </a:cxn>
                <a:cxn ang="0">
                  <a:pos x="4" y="72"/>
                </a:cxn>
                <a:cxn ang="0">
                  <a:pos x="4" y="72"/>
                </a:cxn>
              </a:cxnLst>
              <a:rect l="0" t="0" r="r" b="b"/>
              <a:pathLst>
                <a:path w="61" h="77">
                  <a:moveTo>
                    <a:pt x="4" y="72"/>
                  </a:moveTo>
                  <a:lnTo>
                    <a:pt x="4" y="72"/>
                  </a:lnTo>
                  <a:lnTo>
                    <a:pt x="2" y="63"/>
                  </a:lnTo>
                  <a:lnTo>
                    <a:pt x="0" y="56"/>
                  </a:lnTo>
                  <a:lnTo>
                    <a:pt x="2" y="49"/>
                  </a:lnTo>
                  <a:lnTo>
                    <a:pt x="4" y="42"/>
                  </a:lnTo>
                  <a:lnTo>
                    <a:pt x="11" y="30"/>
                  </a:lnTo>
                  <a:lnTo>
                    <a:pt x="21" y="16"/>
                  </a:lnTo>
                  <a:lnTo>
                    <a:pt x="21" y="16"/>
                  </a:lnTo>
                  <a:lnTo>
                    <a:pt x="32" y="4"/>
                  </a:lnTo>
                  <a:lnTo>
                    <a:pt x="35" y="0"/>
                  </a:lnTo>
                  <a:lnTo>
                    <a:pt x="37" y="0"/>
                  </a:lnTo>
                  <a:lnTo>
                    <a:pt x="39" y="2"/>
                  </a:lnTo>
                  <a:lnTo>
                    <a:pt x="40" y="5"/>
                  </a:lnTo>
                  <a:lnTo>
                    <a:pt x="40" y="16"/>
                  </a:lnTo>
                  <a:lnTo>
                    <a:pt x="40" y="16"/>
                  </a:lnTo>
                  <a:lnTo>
                    <a:pt x="39" y="28"/>
                  </a:lnTo>
                  <a:lnTo>
                    <a:pt x="40" y="35"/>
                  </a:lnTo>
                  <a:lnTo>
                    <a:pt x="42" y="39"/>
                  </a:lnTo>
                  <a:lnTo>
                    <a:pt x="46" y="40"/>
                  </a:lnTo>
                  <a:lnTo>
                    <a:pt x="54" y="42"/>
                  </a:lnTo>
                  <a:lnTo>
                    <a:pt x="54" y="42"/>
                  </a:lnTo>
                  <a:lnTo>
                    <a:pt x="58" y="44"/>
                  </a:lnTo>
                  <a:lnTo>
                    <a:pt x="60" y="46"/>
                  </a:lnTo>
                  <a:lnTo>
                    <a:pt x="61" y="49"/>
                  </a:lnTo>
                  <a:lnTo>
                    <a:pt x="60" y="52"/>
                  </a:lnTo>
                  <a:lnTo>
                    <a:pt x="53" y="59"/>
                  </a:lnTo>
                  <a:lnTo>
                    <a:pt x="44" y="66"/>
                  </a:lnTo>
                  <a:lnTo>
                    <a:pt x="44" y="66"/>
                  </a:lnTo>
                  <a:lnTo>
                    <a:pt x="35" y="72"/>
                  </a:lnTo>
                  <a:lnTo>
                    <a:pt x="28" y="75"/>
                  </a:lnTo>
                  <a:lnTo>
                    <a:pt x="26" y="73"/>
                  </a:lnTo>
                  <a:lnTo>
                    <a:pt x="26" y="72"/>
                  </a:lnTo>
                  <a:lnTo>
                    <a:pt x="26" y="61"/>
                  </a:lnTo>
                  <a:lnTo>
                    <a:pt x="26" y="61"/>
                  </a:lnTo>
                  <a:lnTo>
                    <a:pt x="28" y="51"/>
                  </a:lnTo>
                  <a:lnTo>
                    <a:pt x="28" y="49"/>
                  </a:lnTo>
                  <a:lnTo>
                    <a:pt x="26" y="47"/>
                  </a:lnTo>
                  <a:lnTo>
                    <a:pt x="25" y="49"/>
                  </a:lnTo>
                  <a:lnTo>
                    <a:pt x="23" y="51"/>
                  </a:lnTo>
                  <a:lnTo>
                    <a:pt x="18" y="61"/>
                  </a:lnTo>
                  <a:lnTo>
                    <a:pt x="18" y="61"/>
                  </a:lnTo>
                  <a:lnTo>
                    <a:pt x="16" y="70"/>
                  </a:lnTo>
                  <a:lnTo>
                    <a:pt x="11" y="77"/>
                  </a:lnTo>
                  <a:lnTo>
                    <a:pt x="9" y="77"/>
                  </a:lnTo>
                  <a:lnTo>
                    <a:pt x="7" y="77"/>
                  </a:lnTo>
                  <a:lnTo>
                    <a:pt x="4" y="72"/>
                  </a:lnTo>
                  <a:lnTo>
                    <a:pt x="4" y="7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 name="Freeform 1706">
              <a:extLst>
                <a:ext uri="{FF2B5EF4-FFF2-40B4-BE49-F238E27FC236}">
                  <a16:creationId xmlns:a16="http://schemas.microsoft.com/office/drawing/2014/main" id="{8E377BFB-1F18-4DBC-B10E-769987521E2C}"/>
                </a:ext>
              </a:extLst>
            </p:cNvPr>
            <p:cNvSpPr>
              <a:spLocks/>
            </p:cNvSpPr>
            <p:nvPr/>
          </p:nvSpPr>
          <p:spPr bwMode="auto">
            <a:xfrm>
              <a:off x="3366519" y="2670487"/>
              <a:ext cx="82813" cy="37001"/>
            </a:xfrm>
            <a:custGeom>
              <a:avLst/>
              <a:gdLst/>
              <a:ahLst/>
              <a:cxnLst>
                <a:cxn ang="0">
                  <a:pos x="101" y="40"/>
                </a:cxn>
                <a:cxn ang="0">
                  <a:pos x="101" y="40"/>
                </a:cxn>
                <a:cxn ang="0">
                  <a:pos x="99" y="44"/>
                </a:cxn>
                <a:cxn ang="0">
                  <a:pos x="95" y="46"/>
                </a:cxn>
                <a:cxn ang="0">
                  <a:pos x="88" y="47"/>
                </a:cxn>
                <a:cxn ang="0">
                  <a:pos x="78" y="46"/>
                </a:cxn>
                <a:cxn ang="0">
                  <a:pos x="66" y="42"/>
                </a:cxn>
                <a:cxn ang="0">
                  <a:pos x="45" y="32"/>
                </a:cxn>
                <a:cxn ang="0">
                  <a:pos x="29" y="21"/>
                </a:cxn>
                <a:cxn ang="0">
                  <a:pos x="29" y="21"/>
                </a:cxn>
                <a:cxn ang="0">
                  <a:pos x="15" y="12"/>
                </a:cxn>
                <a:cxn ang="0">
                  <a:pos x="3" y="4"/>
                </a:cxn>
                <a:cxn ang="0">
                  <a:pos x="0" y="2"/>
                </a:cxn>
                <a:cxn ang="0">
                  <a:pos x="1" y="0"/>
                </a:cxn>
                <a:cxn ang="0">
                  <a:pos x="1" y="0"/>
                </a:cxn>
                <a:cxn ang="0">
                  <a:pos x="8" y="0"/>
                </a:cxn>
                <a:cxn ang="0">
                  <a:pos x="22" y="2"/>
                </a:cxn>
                <a:cxn ang="0">
                  <a:pos x="22" y="2"/>
                </a:cxn>
                <a:cxn ang="0">
                  <a:pos x="38" y="4"/>
                </a:cxn>
                <a:cxn ang="0">
                  <a:pos x="54" y="9"/>
                </a:cxn>
                <a:cxn ang="0">
                  <a:pos x="68" y="14"/>
                </a:cxn>
                <a:cxn ang="0">
                  <a:pos x="80" y="19"/>
                </a:cxn>
                <a:cxn ang="0">
                  <a:pos x="90" y="26"/>
                </a:cxn>
                <a:cxn ang="0">
                  <a:pos x="97" y="32"/>
                </a:cxn>
                <a:cxn ang="0">
                  <a:pos x="101" y="37"/>
                </a:cxn>
                <a:cxn ang="0">
                  <a:pos x="102" y="39"/>
                </a:cxn>
                <a:cxn ang="0">
                  <a:pos x="101" y="40"/>
                </a:cxn>
                <a:cxn ang="0">
                  <a:pos x="101" y="40"/>
                </a:cxn>
              </a:cxnLst>
              <a:rect l="0" t="0" r="r" b="b"/>
              <a:pathLst>
                <a:path w="102" h="47">
                  <a:moveTo>
                    <a:pt x="101" y="40"/>
                  </a:moveTo>
                  <a:lnTo>
                    <a:pt x="101" y="40"/>
                  </a:lnTo>
                  <a:lnTo>
                    <a:pt x="99" y="44"/>
                  </a:lnTo>
                  <a:lnTo>
                    <a:pt x="95" y="46"/>
                  </a:lnTo>
                  <a:lnTo>
                    <a:pt x="88" y="47"/>
                  </a:lnTo>
                  <a:lnTo>
                    <a:pt x="78" y="46"/>
                  </a:lnTo>
                  <a:lnTo>
                    <a:pt x="66" y="42"/>
                  </a:lnTo>
                  <a:lnTo>
                    <a:pt x="45" y="32"/>
                  </a:lnTo>
                  <a:lnTo>
                    <a:pt x="29" y="21"/>
                  </a:lnTo>
                  <a:lnTo>
                    <a:pt x="29" y="21"/>
                  </a:lnTo>
                  <a:lnTo>
                    <a:pt x="15" y="12"/>
                  </a:lnTo>
                  <a:lnTo>
                    <a:pt x="3" y="4"/>
                  </a:lnTo>
                  <a:lnTo>
                    <a:pt x="0" y="2"/>
                  </a:lnTo>
                  <a:lnTo>
                    <a:pt x="1" y="0"/>
                  </a:lnTo>
                  <a:lnTo>
                    <a:pt x="1" y="0"/>
                  </a:lnTo>
                  <a:lnTo>
                    <a:pt x="8" y="0"/>
                  </a:lnTo>
                  <a:lnTo>
                    <a:pt x="22" y="2"/>
                  </a:lnTo>
                  <a:lnTo>
                    <a:pt x="22" y="2"/>
                  </a:lnTo>
                  <a:lnTo>
                    <a:pt x="38" y="4"/>
                  </a:lnTo>
                  <a:lnTo>
                    <a:pt x="54" y="9"/>
                  </a:lnTo>
                  <a:lnTo>
                    <a:pt x="68" y="14"/>
                  </a:lnTo>
                  <a:lnTo>
                    <a:pt x="80" y="19"/>
                  </a:lnTo>
                  <a:lnTo>
                    <a:pt x="90" y="26"/>
                  </a:lnTo>
                  <a:lnTo>
                    <a:pt x="97" y="32"/>
                  </a:lnTo>
                  <a:lnTo>
                    <a:pt x="101" y="37"/>
                  </a:lnTo>
                  <a:lnTo>
                    <a:pt x="102" y="39"/>
                  </a:lnTo>
                  <a:lnTo>
                    <a:pt x="101" y="40"/>
                  </a:lnTo>
                  <a:lnTo>
                    <a:pt x="101" y="4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 name="Freeform 1707">
              <a:extLst>
                <a:ext uri="{FF2B5EF4-FFF2-40B4-BE49-F238E27FC236}">
                  <a16:creationId xmlns:a16="http://schemas.microsoft.com/office/drawing/2014/main" id="{E6741C5D-3A77-4CD0-8549-0969837B3071}"/>
                </a:ext>
              </a:extLst>
            </p:cNvPr>
            <p:cNvSpPr>
              <a:spLocks/>
            </p:cNvSpPr>
            <p:nvPr/>
          </p:nvSpPr>
          <p:spPr bwMode="auto">
            <a:xfrm>
              <a:off x="3512762" y="2596484"/>
              <a:ext cx="192059" cy="207917"/>
            </a:xfrm>
            <a:custGeom>
              <a:avLst/>
              <a:gdLst/>
              <a:ahLst/>
              <a:cxnLst>
                <a:cxn ang="0">
                  <a:pos x="0" y="196"/>
                </a:cxn>
                <a:cxn ang="0">
                  <a:pos x="14" y="181"/>
                </a:cxn>
                <a:cxn ang="0">
                  <a:pos x="21" y="169"/>
                </a:cxn>
                <a:cxn ang="0">
                  <a:pos x="6" y="163"/>
                </a:cxn>
                <a:cxn ang="0">
                  <a:pos x="16" y="151"/>
                </a:cxn>
                <a:cxn ang="0">
                  <a:pos x="27" y="151"/>
                </a:cxn>
                <a:cxn ang="0">
                  <a:pos x="37" y="132"/>
                </a:cxn>
                <a:cxn ang="0">
                  <a:pos x="77" y="45"/>
                </a:cxn>
                <a:cxn ang="0">
                  <a:pos x="89" y="33"/>
                </a:cxn>
                <a:cxn ang="0">
                  <a:pos x="101" y="12"/>
                </a:cxn>
                <a:cxn ang="0">
                  <a:pos x="128" y="1"/>
                </a:cxn>
                <a:cxn ang="0">
                  <a:pos x="141" y="7"/>
                </a:cxn>
                <a:cxn ang="0">
                  <a:pos x="129" y="28"/>
                </a:cxn>
                <a:cxn ang="0">
                  <a:pos x="103" y="73"/>
                </a:cxn>
                <a:cxn ang="0">
                  <a:pos x="98" y="95"/>
                </a:cxn>
                <a:cxn ang="0">
                  <a:pos x="119" y="82"/>
                </a:cxn>
                <a:cxn ang="0">
                  <a:pos x="135" y="89"/>
                </a:cxn>
                <a:cxn ang="0">
                  <a:pos x="128" y="95"/>
                </a:cxn>
                <a:cxn ang="0">
                  <a:pos x="124" y="111"/>
                </a:cxn>
                <a:cxn ang="0">
                  <a:pos x="138" y="115"/>
                </a:cxn>
                <a:cxn ang="0">
                  <a:pos x="147" y="118"/>
                </a:cxn>
                <a:cxn ang="0">
                  <a:pos x="164" y="118"/>
                </a:cxn>
                <a:cxn ang="0">
                  <a:pos x="194" y="116"/>
                </a:cxn>
                <a:cxn ang="0">
                  <a:pos x="208" y="132"/>
                </a:cxn>
                <a:cxn ang="0">
                  <a:pos x="194" y="148"/>
                </a:cxn>
                <a:cxn ang="0">
                  <a:pos x="204" y="162"/>
                </a:cxn>
                <a:cxn ang="0">
                  <a:pos x="220" y="158"/>
                </a:cxn>
                <a:cxn ang="0">
                  <a:pos x="225" y="165"/>
                </a:cxn>
                <a:cxn ang="0">
                  <a:pos x="213" y="176"/>
                </a:cxn>
                <a:cxn ang="0">
                  <a:pos x="201" y="200"/>
                </a:cxn>
                <a:cxn ang="0">
                  <a:pos x="208" y="202"/>
                </a:cxn>
                <a:cxn ang="0">
                  <a:pos x="229" y="181"/>
                </a:cxn>
                <a:cxn ang="0">
                  <a:pos x="229" y="191"/>
                </a:cxn>
                <a:cxn ang="0">
                  <a:pos x="229" y="202"/>
                </a:cxn>
                <a:cxn ang="0">
                  <a:pos x="237" y="205"/>
                </a:cxn>
                <a:cxn ang="0">
                  <a:pos x="232" y="235"/>
                </a:cxn>
                <a:cxn ang="0">
                  <a:pos x="227" y="256"/>
                </a:cxn>
                <a:cxn ang="0">
                  <a:pos x="209" y="252"/>
                </a:cxn>
                <a:cxn ang="0">
                  <a:pos x="201" y="240"/>
                </a:cxn>
                <a:cxn ang="0">
                  <a:pos x="187" y="249"/>
                </a:cxn>
                <a:cxn ang="0">
                  <a:pos x="188" y="224"/>
                </a:cxn>
                <a:cxn ang="0">
                  <a:pos x="192" y="203"/>
                </a:cxn>
                <a:cxn ang="0">
                  <a:pos x="182" y="203"/>
                </a:cxn>
                <a:cxn ang="0">
                  <a:pos x="173" y="217"/>
                </a:cxn>
                <a:cxn ang="0">
                  <a:pos x="161" y="223"/>
                </a:cxn>
                <a:cxn ang="0">
                  <a:pos x="147" y="240"/>
                </a:cxn>
                <a:cxn ang="0">
                  <a:pos x="126" y="250"/>
                </a:cxn>
                <a:cxn ang="0">
                  <a:pos x="119" y="243"/>
                </a:cxn>
                <a:cxn ang="0">
                  <a:pos x="147" y="219"/>
                </a:cxn>
                <a:cxn ang="0">
                  <a:pos x="135" y="216"/>
                </a:cxn>
                <a:cxn ang="0">
                  <a:pos x="117" y="212"/>
                </a:cxn>
                <a:cxn ang="0">
                  <a:pos x="110" y="207"/>
                </a:cxn>
                <a:cxn ang="0">
                  <a:pos x="74" y="210"/>
                </a:cxn>
                <a:cxn ang="0">
                  <a:pos x="42" y="203"/>
                </a:cxn>
                <a:cxn ang="0">
                  <a:pos x="11" y="209"/>
                </a:cxn>
              </a:cxnLst>
              <a:rect l="0" t="0" r="r" b="b"/>
              <a:pathLst>
                <a:path w="237" h="257">
                  <a:moveTo>
                    <a:pt x="4" y="203"/>
                  </a:moveTo>
                  <a:lnTo>
                    <a:pt x="4" y="203"/>
                  </a:lnTo>
                  <a:lnTo>
                    <a:pt x="0" y="200"/>
                  </a:lnTo>
                  <a:lnTo>
                    <a:pt x="0" y="196"/>
                  </a:lnTo>
                  <a:lnTo>
                    <a:pt x="0" y="195"/>
                  </a:lnTo>
                  <a:lnTo>
                    <a:pt x="2" y="191"/>
                  </a:lnTo>
                  <a:lnTo>
                    <a:pt x="7" y="186"/>
                  </a:lnTo>
                  <a:lnTo>
                    <a:pt x="14" y="181"/>
                  </a:lnTo>
                  <a:lnTo>
                    <a:pt x="25" y="172"/>
                  </a:lnTo>
                  <a:lnTo>
                    <a:pt x="25" y="172"/>
                  </a:lnTo>
                  <a:lnTo>
                    <a:pt x="25" y="170"/>
                  </a:lnTo>
                  <a:lnTo>
                    <a:pt x="21" y="169"/>
                  </a:lnTo>
                  <a:lnTo>
                    <a:pt x="21" y="169"/>
                  </a:lnTo>
                  <a:lnTo>
                    <a:pt x="9" y="167"/>
                  </a:lnTo>
                  <a:lnTo>
                    <a:pt x="6" y="165"/>
                  </a:lnTo>
                  <a:lnTo>
                    <a:pt x="6" y="163"/>
                  </a:lnTo>
                  <a:lnTo>
                    <a:pt x="6" y="162"/>
                  </a:lnTo>
                  <a:lnTo>
                    <a:pt x="7" y="160"/>
                  </a:lnTo>
                  <a:lnTo>
                    <a:pt x="16" y="151"/>
                  </a:lnTo>
                  <a:lnTo>
                    <a:pt x="16" y="151"/>
                  </a:lnTo>
                  <a:lnTo>
                    <a:pt x="21" y="149"/>
                  </a:lnTo>
                  <a:lnTo>
                    <a:pt x="25" y="148"/>
                  </a:lnTo>
                  <a:lnTo>
                    <a:pt x="25" y="149"/>
                  </a:lnTo>
                  <a:lnTo>
                    <a:pt x="27" y="151"/>
                  </a:lnTo>
                  <a:lnTo>
                    <a:pt x="27" y="151"/>
                  </a:lnTo>
                  <a:lnTo>
                    <a:pt x="28" y="148"/>
                  </a:lnTo>
                  <a:lnTo>
                    <a:pt x="37" y="132"/>
                  </a:lnTo>
                  <a:lnTo>
                    <a:pt x="37" y="132"/>
                  </a:lnTo>
                  <a:lnTo>
                    <a:pt x="49" y="102"/>
                  </a:lnTo>
                  <a:lnTo>
                    <a:pt x="61" y="75"/>
                  </a:lnTo>
                  <a:lnTo>
                    <a:pt x="72" y="52"/>
                  </a:lnTo>
                  <a:lnTo>
                    <a:pt x="77" y="45"/>
                  </a:lnTo>
                  <a:lnTo>
                    <a:pt x="82" y="40"/>
                  </a:lnTo>
                  <a:lnTo>
                    <a:pt x="82" y="40"/>
                  </a:lnTo>
                  <a:lnTo>
                    <a:pt x="87" y="36"/>
                  </a:lnTo>
                  <a:lnTo>
                    <a:pt x="89" y="33"/>
                  </a:lnTo>
                  <a:lnTo>
                    <a:pt x="91" y="26"/>
                  </a:lnTo>
                  <a:lnTo>
                    <a:pt x="93" y="22"/>
                  </a:lnTo>
                  <a:lnTo>
                    <a:pt x="96" y="17"/>
                  </a:lnTo>
                  <a:lnTo>
                    <a:pt x="101" y="12"/>
                  </a:lnTo>
                  <a:lnTo>
                    <a:pt x="110" y="7"/>
                  </a:lnTo>
                  <a:lnTo>
                    <a:pt x="110" y="7"/>
                  </a:lnTo>
                  <a:lnTo>
                    <a:pt x="119" y="3"/>
                  </a:lnTo>
                  <a:lnTo>
                    <a:pt x="128" y="1"/>
                  </a:lnTo>
                  <a:lnTo>
                    <a:pt x="133" y="0"/>
                  </a:lnTo>
                  <a:lnTo>
                    <a:pt x="138" y="1"/>
                  </a:lnTo>
                  <a:lnTo>
                    <a:pt x="140" y="5"/>
                  </a:lnTo>
                  <a:lnTo>
                    <a:pt x="141" y="7"/>
                  </a:lnTo>
                  <a:lnTo>
                    <a:pt x="140" y="12"/>
                  </a:lnTo>
                  <a:lnTo>
                    <a:pt x="138" y="15"/>
                  </a:lnTo>
                  <a:lnTo>
                    <a:pt x="138" y="15"/>
                  </a:lnTo>
                  <a:lnTo>
                    <a:pt x="129" y="28"/>
                  </a:lnTo>
                  <a:lnTo>
                    <a:pt x="122" y="42"/>
                  </a:lnTo>
                  <a:lnTo>
                    <a:pt x="114" y="55"/>
                  </a:lnTo>
                  <a:lnTo>
                    <a:pt x="114" y="55"/>
                  </a:lnTo>
                  <a:lnTo>
                    <a:pt x="103" y="73"/>
                  </a:lnTo>
                  <a:lnTo>
                    <a:pt x="94" y="90"/>
                  </a:lnTo>
                  <a:lnTo>
                    <a:pt x="93" y="95"/>
                  </a:lnTo>
                  <a:lnTo>
                    <a:pt x="94" y="97"/>
                  </a:lnTo>
                  <a:lnTo>
                    <a:pt x="98" y="95"/>
                  </a:lnTo>
                  <a:lnTo>
                    <a:pt x="103" y="90"/>
                  </a:lnTo>
                  <a:lnTo>
                    <a:pt x="103" y="90"/>
                  </a:lnTo>
                  <a:lnTo>
                    <a:pt x="112" y="85"/>
                  </a:lnTo>
                  <a:lnTo>
                    <a:pt x="119" y="82"/>
                  </a:lnTo>
                  <a:lnTo>
                    <a:pt x="124" y="82"/>
                  </a:lnTo>
                  <a:lnTo>
                    <a:pt x="129" y="83"/>
                  </a:lnTo>
                  <a:lnTo>
                    <a:pt x="133" y="85"/>
                  </a:lnTo>
                  <a:lnTo>
                    <a:pt x="135" y="89"/>
                  </a:lnTo>
                  <a:lnTo>
                    <a:pt x="135" y="92"/>
                  </a:lnTo>
                  <a:lnTo>
                    <a:pt x="131" y="94"/>
                  </a:lnTo>
                  <a:lnTo>
                    <a:pt x="131" y="94"/>
                  </a:lnTo>
                  <a:lnTo>
                    <a:pt x="128" y="95"/>
                  </a:lnTo>
                  <a:lnTo>
                    <a:pt x="124" y="99"/>
                  </a:lnTo>
                  <a:lnTo>
                    <a:pt x="122" y="102"/>
                  </a:lnTo>
                  <a:lnTo>
                    <a:pt x="122" y="108"/>
                  </a:lnTo>
                  <a:lnTo>
                    <a:pt x="124" y="111"/>
                  </a:lnTo>
                  <a:lnTo>
                    <a:pt x="128" y="113"/>
                  </a:lnTo>
                  <a:lnTo>
                    <a:pt x="131" y="115"/>
                  </a:lnTo>
                  <a:lnTo>
                    <a:pt x="138" y="115"/>
                  </a:lnTo>
                  <a:lnTo>
                    <a:pt x="138" y="115"/>
                  </a:lnTo>
                  <a:lnTo>
                    <a:pt x="143" y="113"/>
                  </a:lnTo>
                  <a:lnTo>
                    <a:pt x="147" y="115"/>
                  </a:lnTo>
                  <a:lnTo>
                    <a:pt x="147" y="116"/>
                  </a:lnTo>
                  <a:lnTo>
                    <a:pt x="147" y="118"/>
                  </a:lnTo>
                  <a:lnTo>
                    <a:pt x="147" y="120"/>
                  </a:lnTo>
                  <a:lnTo>
                    <a:pt x="148" y="120"/>
                  </a:lnTo>
                  <a:lnTo>
                    <a:pt x="154" y="120"/>
                  </a:lnTo>
                  <a:lnTo>
                    <a:pt x="164" y="118"/>
                  </a:lnTo>
                  <a:lnTo>
                    <a:pt x="164" y="118"/>
                  </a:lnTo>
                  <a:lnTo>
                    <a:pt x="175" y="115"/>
                  </a:lnTo>
                  <a:lnTo>
                    <a:pt x="185" y="115"/>
                  </a:lnTo>
                  <a:lnTo>
                    <a:pt x="194" y="116"/>
                  </a:lnTo>
                  <a:lnTo>
                    <a:pt x="202" y="118"/>
                  </a:lnTo>
                  <a:lnTo>
                    <a:pt x="206" y="122"/>
                  </a:lnTo>
                  <a:lnTo>
                    <a:pt x="209" y="127"/>
                  </a:lnTo>
                  <a:lnTo>
                    <a:pt x="208" y="132"/>
                  </a:lnTo>
                  <a:lnTo>
                    <a:pt x="202" y="137"/>
                  </a:lnTo>
                  <a:lnTo>
                    <a:pt x="202" y="137"/>
                  </a:lnTo>
                  <a:lnTo>
                    <a:pt x="195" y="144"/>
                  </a:lnTo>
                  <a:lnTo>
                    <a:pt x="194" y="148"/>
                  </a:lnTo>
                  <a:lnTo>
                    <a:pt x="194" y="153"/>
                  </a:lnTo>
                  <a:lnTo>
                    <a:pt x="195" y="156"/>
                  </a:lnTo>
                  <a:lnTo>
                    <a:pt x="201" y="160"/>
                  </a:lnTo>
                  <a:lnTo>
                    <a:pt x="204" y="162"/>
                  </a:lnTo>
                  <a:lnTo>
                    <a:pt x="211" y="162"/>
                  </a:lnTo>
                  <a:lnTo>
                    <a:pt x="216" y="160"/>
                  </a:lnTo>
                  <a:lnTo>
                    <a:pt x="216" y="160"/>
                  </a:lnTo>
                  <a:lnTo>
                    <a:pt x="220" y="158"/>
                  </a:lnTo>
                  <a:lnTo>
                    <a:pt x="223" y="158"/>
                  </a:lnTo>
                  <a:lnTo>
                    <a:pt x="225" y="160"/>
                  </a:lnTo>
                  <a:lnTo>
                    <a:pt x="227" y="162"/>
                  </a:lnTo>
                  <a:lnTo>
                    <a:pt x="225" y="165"/>
                  </a:lnTo>
                  <a:lnTo>
                    <a:pt x="223" y="169"/>
                  </a:lnTo>
                  <a:lnTo>
                    <a:pt x="220" y="172"/>
                  </a:lnTo>
                  <a:lnTo>
                    <a:pt x="213" y="176"/>
                  </a:lnTo>
                  <a:lnTo>
                    <a:pt x="213" y="176"/>
                  </a:lnTo>
                  <a:lnTo>
                    <a:pt x="208" y="181"/>
                  </a:lnTo>
                  <a:lnTo>
                    <a:pt x="204" y="186"/>
                  </a:lnTo>
                  <a:lnTo>
                    <a:pt x="201" y="193"/>
                  </a:lnTo>
                  <a:lnTo>
                    <a:pt x="201" y="200"/>
                  </a:lnTo>
                  <a:lnTo>
                    <a:pt x="201" y="205"/>
                  </a:lnTo>
                  <a:lnTo>
                    <a:pt x="201" y="209"/>
                  </a:lnTo>
                  <a:lnTo>
                    <a:pt x="204" y="207"/>
                  </a:lnTo>
                  <a:lnTo>
                    <a:pt x="208" y="202"/>
                  </a:lnTo>
                  <a:lnTo>
                    <a:pt x="208" y="202"/>
                  </a:lnTo>
                  <a:lnTo>
                    <a:pt x="213" y="195"/>
                  </a:lnTo>
                  <a:lnTo>
                    <a:pt x="218" y="188"/>
                  </a:lnTo>
                  <a:lnTo>
                    <a:pt x="229" y="181"/>
                  </a:lnTo>
                  <a:lnTo>
                    <a:pt x="232" y="179"/>
                  </a:lnTo>
                  <a:lnTo>
                    <a:pt x="234" y="181"/>
                  </a:lnTo>
                  <a:lnTo>
                    <a:pt x="234" y="184"/>
                  </a:lnTo>
                  <a:lnTo>
                    <a:pt x="229" y="191"/>
                  </a:lnTo>
                  <a:lnTo>
                    <a:pt x="229" y="191"/>
                  </a:lnTo>
                  <a:lnTo>
                    <a:pt x="225" y="198"/>
                  </a:lnTo>
                  <a:lnTo>
                    <a:pt x="225" y="200"/>
                  </a:lnTo>
                  <a:lnTo>
                    <a:pt x="229" y="202"/>
                  </a:lnTo>
                  <a:lnTo>
                    <a:pt x="232" y="200"/>
                  </a:lnTo>
                  <a:lnTo>
                    <a:pt x="235" y="200"/>
                  </a:lnTo>
                  <a:lnTo>
                    <a:pt x="237" y="202"/>
                  </a:lnTo>
                  <a:lnTo>
                    <a:pt x="237" y="205"/>
                  </a:lnTo>
                  <a:lnTo>
                    <a:pt x="235" y="216"/>
                  </a:lnTo>
                  <a:lnTo>
                    <a:pt x="235" y="216"/>
                  </a:lnTo>
                  <a:lnTo>
                    <a:pt x="232" y="226"/>
                  </a:lnTo>
                  <a:lnTo>
                    <a:pt x="232" y="235"/>
                  </a:lnTo>
                  <a:lnTo>
                    <a:pt x="232" y="247"/>
                  </a:lnTo>
                  <a:lnTo>
                    <a:pt x="232" y="252"/>
                  </a:lnTo>
                  <a:lnTo>
                    <a:pt x="230" y="254"/>
                  </a:lnTo>
                  <a:lnTo>
                    <a:pt x="227" y="256"/>
                  </a:lnTo>
                  <a:lnTo>
                    <a:pt x="220" y="257"/>
                  </a:lnTo>
                  <a:lnTo>
                    <a:pt x="220" y="257"/>
                  </a:lnTo>
                  <a:lnTo>
                    <a:pt x="215" y="256"/>
                  </a:lnTo>
                  <a:lnTo>
                    <a:pt x="209" y="252"/>
                  </a:lnTo>
                  <a:lnTo>
                    <a:pt x="206" y="249"/>
                  </a:lnTo>
                  <a:lnTo>
                    <a:pt x="204" y="245"/>
                  </a:lnTo>
                  <a:lnTo>
                    <a:pt x="202" y="242"/>
                  </a:lnTo>
                  <a:lnTo>
                    <a:pt x="201" y="240"/>
                  </a:lnTo>
                  <a:lnTo>
                    <a:pt x="199" y="240"/>
                  </a:lnTo>
                  <a:lnTo>
                    <a:pt x="194" y="243"/>
                  </a:lnTo>
                  <a:lnTo>
                    <a:pt x="194" y="243"/>
                  </a:lnTo>
                  <a:lnTo>
                    <a:pt x="187" y="249"/>
                  </a:lnTo>
                  <a:lnTo>
                    <a:pt x="183" y="249"/>
                  </a:lnTo>
                  <a:lnTo>
                    <a:pt x="183" y="247"/>
                  </a:lnTo>
                  <a:lnTo>
                    <a:pt x="185" y="238"/>
                  </a:lnTo>
                  <a:lnTo>
                    <a:pt x="188" y="224"/>
                  </a:lnTo>
                  <a:lnTo>
                    <a:pt x="188" y="224"/>
                  </a:lnTo>
                  <a:lnTo>
                    <a:pt x="190" y="216"/>
                  </a:lnTo>
                  <a:lnTo>
                    <a:pt x="192" y="210"/>
                  </a:lnTo>
                  <a:lnTo>
                    <a:pt x="192" y="203"/>
                  </a:lnTo>
                  <a:lnTo>
                    <a:pt x="190" y="200"/>
                  </a:lnTo>
                  <a:lnTo>
                    <a:pt x="188" y="198"/>
                  </a:lnTo>
                  <a:lnTo>
                    <a:pt x="185" y="200"/>
                  </a:lnTo>
                  <a:lnTo>
                    <a:pt x="182" y="203"/>
                  </a:lnTo>
                  <a:lnTo>
                    <a:pt x="178" y="209"/>
                  </a:lnTo>
                  <a:lnTo>
                    <a:pt x="178" y="209"/>
                  </a:lnTo>
                  <a:lnTo>
                    <a:pt x="175" y="216"/>
                  </a:lnTo>
                  <a:lnTo>
                    <a:pt x="173" y="217"/>
                  </a:lnTo>
                  <a:lnTo>
                    <a:pt x="169" y="219"/>
                  </a:lnTo>
                  <a:lnTo>
                    <a:pt x="168" y="221"/>
                  </a:lnTo>
                  <a:lnTo>
                    <a:pt x="164" y="221"/>
                  </a:lnTo>
                  <a:lnTo>
                    <a:pt x="161" y="223"/>
                  </a:lnTo>
                  <a:lnTo>
                    <a:pt x="157" y="226"/>
                  </a:lnTo>
                  <a:lnTo>
                    <a:pt x="152" y="233"/>
                  </a:lnTo>
                  <a:lnTo>
                    <a:pt x="152" y="233"/>
                  </a:lnTo>
                  <a:lnTo>
                    <a:pt x="147" y="240"/>
                  </a:lnTo>
                  <a:lnTo>
                    <a:pt x="141" y="245"/>
                  </a:lnTo>
                  <a:lnTo>
                    <a:pt x="135" y="249"/>
                  </a:lnTo>
                  <a:lnTo>
                    <a:pt x="129" y="250"/>
                  </a:lnTo>
                  <a:lnTo>
                    <a:pt x="126" y="250"/>
                  </a:lnTo>
                  <a:lnTo>
                    <a:pt x="121" y="249"/>
                  </a:lnTo>
                  <a:lnTo>
                    <a:pt x="119" y="247"/>
                  </a:lnTo>
                  <a:lnTo>
                    <a:pt x="119" y="243"/>
                  </a:lnTo>
                  <a:lnTo>
                    <a:pt x="119" y="243"/>
                  </a:lnTo>
                  <a:lnTo>
                    <a:pt x="121" y="240"/>
                  </a:lnTo>
                  <a:lnTo>
                    <a:pt x="126" y="235"/>
                  </a:lnTo>
                  <a:lnTo>
                    <a:pt x="141" y="224"/>
                  </a:lnTo>
                  <a:lnTo>
                    <a:pt x="147" y="219"/>
                  </a:lnTo>
                  <a:lnTo>
                    <a:pt x="148" y="216"/>
                  </a:lnTo>
                  <a:lnTo>
                    <a:pt x="148" y="216"/>
                  </a:lnTo>
                  <a:lnTo>
                    <a:pt x="145" y="214"/>
                  </a:lnTo>
                  <a:lnTo>
                    <a:pt x="135" y="216"/>
                  </a:lnTo>
                  <a:lnTo>
                    <a:pt x="135" y="216"/>
                  </a:lnTo>
                  <a:lnTo>
                    <a:pt x="124" y="216"/>
                  </a:lnTo>
                  <a:lnTo>
                    <a:pt x="119" y="214"/>
                  </a:lnTo>
                  <a:lnTo>
                    <a:pt x="117" y="212"/>
                  </a:lnTo>
                  <a:lnTo>
                    <a:pt x="117" y="210"/>
                  </a:lnTo>
                  <a:lnTo>
                    <a:pt x="119" y="209"/>
                  </a:lnTo>
                  <a:lnTo>
                    <a:pt x="117" y="207"/>
                  </a:lnTo>
                  <a:lnTo>
                    <a:pt x="110" y="207"/>
                  </a:lnTo>
                  <a:lnTo>
                    <a:pt x="98" y="209"/>
                  </a:lnTo>
                  <a:lnTo>
                    <a:pt x="98" y="209"/>
                  </a:lnTo>
                  <a:lnTo>
                    <a:pt x="84" y="210"/>
                  </a:lnTo>
                  <a:lnTo>
                    <a:pt x="74" y="210"/>
                  </a:lnTo>
                  <a:lnTo>
                    <a:pt x="65" y="209"/>
                  </a:lnTo>
                  <a:lnTo>
                    <a:pt x="60" y="207"/>
                  </a:lnTo>
                  <a:lnTo>
                    <a:pt x="49" y="203"/>
                  </a:lnTo>
                  <a:lnTo>
                    <a:pt x="42" y="203"/>
                  </a:lnTo>
                  <a:lnTo>
                    <a:pt x="34" y="205"/>
                  </a:lnTo>
                  <a:lnTo>
                    <a:pt x="34" y="205"/>
                  </a:lnTo>
                  <a:lnTo>
                    <a:pt x="18" y="209"/>
                  </a:lnTo>
                  <a:lnTo>
                    <a:pt x="11" y="209"/>
                  </a:lnTo>
                  <a:lnTo>
                    <a:pt x="6" y="207"/>
                  </a:lnTo>
                  <a:lnTo>
                    <a:pt x="4" y="203"/>
                  </a:lnTo>
                  <a:lnTo>
                    <a:pt x="4" y="20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 name="Freeform 1708">
              <a:extLst>
                <a:ext uri="{FF2B5EF4-FFF2-40B4-BE49-F238E27FC236}">
                  <a16:creationId xmlns:a16="http://schemas.microsoft.com/office/drawing/2014/main" id="{2EE06F7F-A51A-4FEB-9F1B-F0F8666776FF}"/>
                </a:ext>
              </a:extLst>
            </p:cNvPr>
            <p:cNvSpPr>
              <a:spLocks/>
            </p:cNvSpPr>
            <p:nvPr/>
          </p:nvSpPr>
          <p:spPr bwMode="auto">
            <a:xfrm>
              <a:off x="1643284" y="1518135"/>
              <a:ext cx="296017" cy="181487"/>
            </a:xfrm>
            <a:custGeom>
              <a:avLst/>
              <a:gdLst/>
              <a:ahLst/>
              <a:cxnLst>
                <a:cxn ang="0">
                  <a:pos x="33" y="179"/>
                </a:cxn>
                <a:cxn ang="0">
                  <a:pos x="4" y="170"/>
                </a:cxn>
                <a:cxn ang="0">
                  <a:pos x="4" y="165"/>
                </a:cxn>
                <a:cxn ang="0">
                  <a:pos x="7" y="155"/>
                </a:cxn>
                <a:cxn ang="0">
                  <a:pos x="28" y="132"/>
                </a:cxn>
                <a:cxn ang="0">
                  <a:pos x="30" y="123"/>
                </a:cxn>
                <a:cxn ang="0">
                  <a:pos x="30" y="113"/>
                </a:cxn>
                <a:cxn ang="0">
                  <a:pos x="47" y="110"/>
                </a:cxn>
                <a:cxn ang="0">
                  <a:pos x="47" y="104"/>
                </a:cxn>
                <a:cxn ang="0">
                  <a:pos x="39" y="99"/>
                </a:cxn>
                <a:cxn ang="0">
                  <a:pos x="47" y="87"/>
                </a:cxn>
                <a:cxn ang="0">
                  <a:pos x="49" y="80"/>
                </a:cxn>
                <a:cxn ang="0">
                  <a:pos x="58" y="73"/>
                </a:cxn>
                <a:cxn ang="0">
                  <a:pos x="65" y="68"/>
                </a:cxn>
                <a:cxn ang="0">
                  <a:pos x="66" y="61"/>
                </a:cxn>
                <a:cxn ang="0">
                  <a:pos x="75" y="52"/>
                </a:cxn>
                <a:cxn ang="0">
                  <a:pos x="66" y="47"/>
                </a:cxn>
                <a:cxn ang="0">
                  <a:pos x="54" y="36"/>
                </a:cxn>
                <a:cxn ang="0">
                  <a:pos x="47" y="22"/>
                </a:cxn>
                <a:cxn ang="0">
                  <a:pos x="42" y="17"/>
                </a:cxn>
                <a:cxn ang="0">
                  <a:pos x="72" y="12"/>
                </a:cxn>
                <a:cxn ang="0">
                  <a:pos x="136" y="3"/>
                </a:cxn>
                <a:cxn ang="0">
                  <a:pos x="155" y="0"/>
                </a:cxn>
                <a:cxn ang="0">
                  <a:pos x="181" y="10"/>
                </a:cxn>
                <a:cxn ang="0">
                  <a:pos x="204" y="19"/>
                </a:cxn>
                <a:cxn ang="0">
                  <a:pos x="232" y="22"/>
                </a:cxn>
                <a:cxn ang="0">
                  <a:pos x="237" y="26"/>
                </a:cxn>
                <a:cxn ang="0">
                  <a:pos x="237" y="36"/>
                </a:cxn>
                <a:cxn ang="0">
                  <a:pos x="244" y="35"/>
                </a:cxn>
                <a:cxn ang="0">
                  <a:pos x="251" y="24"/>
                </a:cxn>
                <a:cxn ang="0">
                  <a:pos x="277" y="19"/>
                </a:cxn>
                <a:cxn ang="0">
                  <a:pos x="303" y="24"/>
                </a:cxn>
                <a:cxn ang="0">
                  <a:pos x="340" y="49"/>
                </a:cxn>
                <a:cxn ang="0">
                  <a:pos x="355" y="57"/>
                </a:cxn>
                <a:cxn ang="0">
                  <a:pos x="371" y="68"/>
                </a:cxn>
                <a:cxn ang="0">
                  <a:pos x="355" y="80"/>
                </a:cxn>
                <a:cxn ang="0">
                  <a:pos x="324" y="89"/>
                </a:cxn>
                <a:cxn ang="0">
                  <a:pos x="256" y="118"/>
                </a:cxn>
                <a:cxn ang="0">
                  <a:pos x="237" y="129"/>
                </a:cxn>
                <a:cxn ang="0">
                  <a:pos x="230" y="144"/>
                </a:cxn>
                <a:cxn ang="0">
                  <a:pos x="213" y="153"/>
                </a:cxn>
                <a:cxn ang="0">
                  <a:pos x="199" y="162"/>
                </a:cxn>
                <a:cxn ang="0">
                  <a:pos x="195" y="184"/>
                </a:cxn>
                <a:cxn ang="0">
                  <a:pos x="187" y="202"/>
                </a:cxn>
                <a:cxn ang="0">
                  <a:pos x="173" y="207"/>
                </a:cxn>
                <a:cxn ang="0">
                  <a:pos x="157" y="207"/>
                </a:cxn>
                <a:cxn ang="0">
                  <a:pos x="141" y="209"/>
                </a:cxn>
                <a:cxn ang="0">
                  <a:pos x="117" y="224"/>
                </a:cxn>
                <a:cxn ang="0">
                  <a:pos x="96" y="226"/>
                </a:cxn>
                <a:cxn ang="0">
                  <a:pos x="89" y="221"/>
                </a:cxn>
                <a:cxn ang="0">
                  <a:pos x="75" y="198"/>
                </a:cxn>
                <a:cxn ang="0">
                  <a:pos x="59" y="188"/>
                </a:cxn>
              </a:cxnLst>
              <a:rect l="0" t="0" r="r" b="b"/>
              <a:pathLst>
                <a:path w="371" h="228">
                  <a:moveTo>
                    <a:pt x="59" y="188"/>
                  </a:moveTo>
                  <a:lnTo>
                    <a:pt x="59" y="188"/>
                  </a:lnTo>
                  <a:lnTo>
                    <a:pt x="33" y="179"/>
                  </a:lnTo>
                  <a:lnTo>
                    <a:pt x="18" y="174"/>
                  </a:lnTo>
                  <a:lnTo>
                    <a:pt x="4" y="170"/>
                  </a:lnTo>
                  <a:lnTo>
                    <a:pt x="4" y="170"/>
                  </a:lnTo>
                  <a:lnTo>
                    <a:pt x="0" y="169"/>
                  </a:lnTo>
                  <a:lnTo>
                    <a:pt x="2" y="169"/>
                  </a:lnTo>
                  <a:lnTo>
                    <a:pt x="4" y="165"/>
                  </a:lnTo>
                  <a:lnTo>
                    <a:pt x="5" y="160"/>
                  </a:lnTo>
                  <a:lnTo>
                    <a:pt x="5" y="160"/>
                  </a:lnTo>
                  <a:lnTo>
                    <a:pt x="7" y="155"/>
                  </a:lnTo>
                  <a:lnTo>
                    <a:pt x="11" y="151"/>
                  </a:lnTo>
                  <a:lnTo>
                    <a:pt x="19" y="141"/>
                  </a:lnTo>
                  <a:lnTo>
                    <a:pt x="28" y="132"/>
                  </a:lnTo>
                  <a:lnTo>
                    <a:pt x="30" y="127"/>
                  </a:lnTo>
                  <a:lnTo>
                    <a:pt x="30" y="123"/>
                  </a:lnTo>
                  <a:lnTo>
                    <a:pt x="30" y="123"/>
                  </a:lnTo>
                  <a:lnTo>
                    <a:pt x="26" y="118"/>
                  </a:lnTo>
                  <a:lnTo>
                    <a:pt x="26" y="115"/>
                  </a:lnTo>
                  <a:lnTo>
                    <a:pt x="30" y="113"/>
                  </a:lnTo>
                  <a:lnTo>
                    <a:pt x="39" y="111"/>
                  </a:lnTo>
                  <a:lnTo>
                    <a:pt x="39" y="111"/>
                  </a:lnTo>
                  <a:lnTo>
                    <a:pt x="47" y="110"/>
                  </a:lnTo>
                  <a:lnTo>
                    <a:pt x="49" y="110"/>
                  </a:lnTo>
                  <a:lnTo>
                    <a:pt x="49" y="108"/>
                  </a:lnTo>
                  <a:lnTo>
                    <a:pt x="47" y="104"/>
                  </a:lnTo>
                  <a:lnTo>
                    <a:pt x="40" y="101"/>
                  </a:lnTo>
                  <a:lnTo>
                    <a:pt x="40" y="101"/>
                  </a:lnTo>
                  <a:lnTo>
                    <a:pt x="39" y="99"/>
                  </a:lnTo>
                  <a:lnTo>
                    <a:pt x="39" y="97"/>
                  </a:lnTo>
                  <a:lnTo>
                    <a:pt x="42" y="92"/>
                  </a:lnTo>
                  <a:lnTo>
                    <a:pt x="47" y="87"/>
                  </a:lnTo>
                  <a:lnTo>
                    <a:pt x="49" y="83"/>
                  </a:lnTo>
                  <a:lnTo>
                    <a:pt x="49" y="80"/>
                  </a:lnTo>
                  <a:lnTo>
                    <a:pt x="49" y="80"/>
                  </a:lnTo>
                  <a:lnTo>
                    <a:pt x="51" y="76"/>
                  </a:lnTo>
                  <a:lnTo>
                    <a:pt x="52" y="75"/>
                  </a:lnTo>
                  <a:lnTo>
                    <a:pt x="58" y="73"/>
                  </a:lnTo>
                  <a:lnTo>
                    <a:pt x="61" y="71"/>
                  </a:lnTo>
                  <a:lnTo>
                    <a:pt x="63" y="70"/>
                  </a:lnTo>
                  <a:lnTo>
                    <a:pt x="65" y="68"/>
                  </a:lnTo>
                  <a:lnTo>
                    <a:pt x="65" y="68"/>
                  </a:lnTo>
                  <a:lnTo>
                    <a:pt x="65" y="64"/>
                  </a:lnTo>
                  <a:lnTo>
                    <a:pt x="66" y="61"/>
                  </a:lnTo>
                  <a:lnTo>
                    <a:pt x="73" y="56"/>
                  </a:lnTo>
                  <a:lnTo>
                    <a:pt x="75" y="54"/>
                  </a:lnTo>
                  <a:lnTo>
                    <a:pt x="75" y="52"/>
                  </a:lnTo>
                  <a:lnTo>
                    <a:pt x="73" y="49"/>
                  </a:lnTo>
                  <a:lnTo>
                    <a:pt x="66" y="47"/>
                  </a:lnTo>
                  <a:lnTo>
                    <a:pt x="66" y="47"/>
                  </a:lnTo>
                  <a:lnTo>
                    <a:pt x="61" y="43"/>
                  </a:lnTo>
                  <a:lnTo>
                    <a:pt x="56" y="40"/>
                  </a:lnTo>
                  <a:lnTo>
                    <a:pt x="54" y="36"/>
                  </a:lnTo>
                  <a:lnTo>
                    <a:pt x="52" y="33"/>
                  </a:lnTo>
                  <a:lnTo>
                    <a:pt x="49" y="26"/>
                  </a:lnTo>
                  <a:lnTo>
                    <a:pt x="47" y="22"/>
                  </a:lnTo>
                  <a:lnTo>
                    <a:pt x="44" y="19"/>
                  </a:lnTo>
                  <a:lnTo>
                    <a:pt x="44" y="19"/>
                  </a:lnTo>
                  <a:lnTo>
                    <a:pt x="42" y="17"/>
                  </a:lnTo>
                  <a:lnTo>
                    <a:pt x="42" y="16"/>
                  </a:lnTo>
                  <a:lnTo>
                    <a:pt x="49" y="14"/>
                  </a:lnTo>
                  <a:lnTo>
                    <a:pt x="72" y="12"/>
                  </a:lnTo>
                  <a:lnTo>
                    <a:pt x="105" y="9"/>
                  </a:lnTo>
                  <a:lnTo>
                    <a:pt x="120" y="7"/>
                  </a:lnTo>
                  <a:lnTo>
                    <a:pt x="136" y="3"/>
                  </a:lnTo>
                  <a:lnTo>
                    <a:pt x="136" y="3"/>
                  </a:lnTo>
                  <a:lnTo>
                    <a:pt x="146" y="2"/>
                  </a:lnTo>
                  <a:lnTo>
                    <a:pt x="155" y="0"/>
                  </a:lnTo>
                  <a:lnTo>
                    <a:pt x="162" y="2"/>
                  </a:lnTo>
                  <a:lnTo>
                    <a:pt x="167" y="3"/>
                  </a:lnTo>
                  <a:lnTo>
                    <a:pt x="181" y="10"/>
                  </a:lnTo>
                  <a:lnTo>
                    <a:pt x="192" y="16"/>
                  </a:lnTo>
                  <a:lnTo>
                    <a:pt x="204" y="19"/>
                  </a:lnTo>
                  <a:lnTo>
                    <a:pt x="204" y="19"/>
                  </a:lnTo>
                  <a:lnTo>
                    <a:pt x="218" y="22"/>
                  </a:lnTo>
                  <a:lnTo>
                    <a:pt x="227" y="24"/>
                  </a:lnTo>
                  <a:lnTo>
                    <a:pt x="232" y="22"/>
                  </a:lnTo>
                  <a:lnTo>
                    <a:pt x="235" y="24"/>
                  </a:lnTo>
                  <a:lnTo>
                    <a:pt x="235" y="24"/>
                  </a:lnTo>
                  <a:lnTo>
                    <a:pt x="237" y="26"/>
                  </a:lnTo>
                  <a:lnTo>
                    <a:pt x="239" y="29"/>
                  </a:lnTo>
                  <a:lnTo>
                    <a:pt x="239" y="33"/>
                  </a:lnTo>
                  <a:lnTo>
                    <a:pt x="237" y="36"/>
                  </a:lnTo>
                  <a:lnTo>
                    <a:pt x="240" y="36"/>
                  </a:lnTo>
                  <a:lnTo>
                    <a:pt x="240" y="36"/>
                  </a:lnTo>
                  <a:lnTo>
                    <a:pt x="244" y="35"/>
                  </a:lnTo>
                  <a:lnTo>
                    <a:pt x="246" y="33"/>
                  </a:lnTo>
                  <a:lnTo>
                    <a:pt x="247" y="28"/>
                  </a:lnTo>
                  <a:lnTo>
                    <a:pt x="251" y="24"/>
                  </a:lnTo>
                  <a:lnTo>
                    <a:pt x="256" y="22"/>
                  </a:lnTo>
                  <a:lnTo>
                    <a:pt x="265" y="21"/>
                  </a:lnTo>
                  <a:lnTo>
                    <a:pt x="277" y="19"/>
                  </a:lnTo>
                  <a:lnTo>
                    <a:pt x="277" y="19"/>
                  </a:lnTo>
                  <a:lnTo>
                    <a:pt x="291" y="21"/>
                  </a:lnTo>
                  <a:lnTo>
                    <a:pt x="303" y="24"/>
                  </a:lnTo>
                  <a:lnTo>
                    <a:pt x="314" y="29"/>
                  </a:lnTo>
                  <a:lnTo>
                    <a:pt x="322" y="36"/>
                  </a:lnTo>
                  <a:lnTo>
                    <a:pt x="340" y="49"/>
                  </a:lnTo>
                  <a:lnTo>
                    <a:pt x="347" y="54"/>
                  </a:lnTo>
                  <a:lnTo>
                    <a:pt x="355" y="57"/>
                  </a:lnTo>
                  <a:lnTo>
                    <a:pt x="355" y="57"/>
                  </a:lnTo>
                  <a:lnTo>
                    <a:pt x="366" y="61"/>
                  </a:lnTo>
                  <a:lnTo>
                    <a:pt x="369" y="64"/>
                  </a:lnTo>
                  <a:lnTo>
                    <a:pt x="371" y="68"/>
                  </a:lnTo>
                  <a:lnTo>
                    <a:pt x="369" y="71"/>
                  </a:lnTo>
                  <a:lnTo>
                    <a:pt x="364" y="76"/>
                  </a:lnTo>
                  <a:lnTo>
                    <a:pt x="355" y="80"/>
                  </a:lnTo>
                  <a:lnTo>
                    <a:pt x="341" y="83"/>
                  </a:lnTo>
                  <a:lnTo>
                    <a:pt x="341" y="83"/>
                  </a:lnTo>
                  <a:lnTo>
                    <a:pt x="324" y="89"/>
                  </a:lnTo>
                  <a:lnTo>
                    <a:pt x="303" y="99"/>
                  </a:lnTo>
                  <a:lnTo>
                    <a:pt x="281" y="108"/>
                  </a:lnTo>
                  <a:lnTo>
                    <a:pt x="256" y="118"/>
                  </a:lnTo>
                  <a:lnTo>
                    <a:pt x="256" y="118"/>
                  </a:lnTo>
                  <a:lnTo>
                    <a:pt x="244" y="123"/>
                  </a:lnTo>
                  <a:lnTo>
                    <a:pt x="237" y="129"/>
                  </a:lnTo>
                  <a:lnTo>
                    <a:pt x="234" y="134"/>
                  </a:lnTo>
                  <a:lnTo>
                    <a:pt x="232" y="139"/>
                  </a:lnTo>
                  <a:lnTo>
                    <a:pt x="230" y="144"/>
                  </a:lnTo>
                  <a:lnTo>
                    <a:pt x="227" y="148"/>
                  </a:lnTo>
                  <a:lnTo>
                    <a:pt x="221" y="151"/>
                  </a:lnTo>
                  <a:lnTo>
                    <a:pt x="213" y="153"/>
                  </a:lnTo>
                  <a:lnTo>
                    <a:pt x="213" y="153"/>
                  </a:lnTo>
                  <a:lnTo>
                    <a:pt x="202" y="157"/>
                  </a:lnTo>
                  <a:lnTo>
                    <a:pt x="199" y="162"/>
                  </a:lnTo>
                  <a:lnTo>
                    <a:pt x="195" y="167"/>
                  </a:lnTo>
                  <a:lnTo>
                    <a:pt x="195" y="176"/>
                  </a:lnTo>
                  <a:lnTo>
                    <a:pt x="195" y="184"/>
                  </a:lnTo>
                  <a:lnTo>
                    <a:pt x="193" y="191"/>
                  </a:lnTo>
                  <a:lnTo>
                    <a:pt x="188" y="198"/>
                  </a:lnTo>
                  <a:lnTo>
                    <a:pt x="187" y="202"/>
                  </a:lnTo>
                  <a:lnTo>
                    <a:pt x="181" y="204"/>
                  </a:lnTo>
                  <a:lnTo>
                    <a:pt x="181" y="204"/>
                  </a:lnTo>
                  <a:lnTo>
                    <a:pt x="173" y="207"/>
                  </a:lnTo>
                  <a:lnTo>
                    <a:pt x="166" y="209"/>
                  </a:lnTo>
                  <a:lnTo>
                    <a:pt x="160" y="209"/>
                  </a:lnTo>
                  <a:lnTo>
                    <a:pt x="157" y="207"/>
                  </a:lnTo>
                  <a:lnTo>
                    <a:pt x="150" y="205"/>
                  </a:lnTo>
                  <a:lnTo>
                    <a:pt x="146" y="207"/>
                  </a:lnTo>
                  <a:lnTo>
                    <a:pt x="141" y="209"/>
                  </a:lnTo>
                  <a:lnTo>
                    <a:pt x="141" y="209"/>
                  </a:lnTo>
                  <a:lnTo>
                    <a:pt x="129" y="217"/>
                  </a:lnTo>
                  <a:lnTo>
                    <a:pt x="117" y="224"/>
                  </a:lnTo>
                  <a:lnTo>
                    <a:pt x="106" y="228"/>
                  </a:lnTo>
                  <a:lnTo>
                    <a:pt x="101" y="228"/>
                  </a:lnTo>
                  <a:lnTo>
                    <a:pt x="96" y="226"/>
                  </a:lnTo>
                  <a:lnTo>
                    <a:pt x="96" y="226"/>
                  </a:lnTo>
                  <a:lnTo>
                    <a:pt x="92" y="224"/>
                  </a:lnTo>
                  <a:lnTo>
                    <a:pt x="89" y="221"/>
                  </a:lnTo>
                  <a:lnTo>
                    <a:pt x="84" y="211"/>
                  </a:lnTo>
                  <a:lnTo>
                    <a:pt x="80" y="204"/>
                  </a:lnTo>
                  <a:lnTo>
                    <a:pt x="75" y="198"/>
                  </a:lnTo>
                  <a:lnTo>
                    <a:pt x="68" y="193"/>
                  </a:lnTo>
                  <a:lnTo>
                    <a:pt x="59" y="188"/>
                  </a:lnTo>
                  <a:lnTo>
                    <a:pt x="59" y="18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 name="Freeform 1709">
              <a:extLst>
                <a:ext uri="{FF2B5EF4-FFF2-40B4-BE49-F238E27FC236}">
                  <a16:creationId xmlns:a16="http://schemas.microsoft.com/office/drawing/2014/main" id="{51EF38B4-655D-4540-B9FE-9AC0052799D7}"/>
                </a:ext>
              </a:extLst>
            </p:cNvPr>
            <p:cNvSpPr>
              <a:spLocks/>
            </p:cNvSpPr>
            <p:nvPr/>
          </p:nvSpPr>
          <p:spPr bwMode="auto">
            <a:xfrm>
              <a:off x="1833580" y="1581569"/>
              <a:ext cx="510980" cy="250205"/>
            </a:xfrm>
            <a:custGeom>
              <a:avLst/>
              <a:gdLst/>
              <a:ahLst/>
              <a:cxnLst>
                <a:cxn ang="0">
                  <a:pos x="425" y="265"/>
                </a:cxn>
                <a:cxn ang="0">
                  <a:pos x="390" y="282"/>
                </a:cxn>
                <a:cxn ang="0">
                  <a:pos x="320" y="303"/>
                </a:cxn>
                <a:cxn ang="0">
                  <a:pos x="224" y="312"/>
                </a:cxn>
                <a:cxn ang="0">
                  <a:pos x="191" y="292"/>
                </a:cxn>
                <a:cxn ang="0">
                  <a:pos x="184" y="265"/>
                </a:cxn>
                <a:cxn ang="0">
                  <a:pos x="87" y="251"/>
                </a:cxn>
                <a:cxn ang="0">
                  <a:pos x="66" y="212"/>
                </a:cxn>
                <a:cxn ang="0">
                  <a:pos x="214" y="200"/>
                </a:cxn>
                <a:cxn ang="0">
                  <a:pos x="264" y="198"/>
                </a:cxn>
                <a:cxn ang="0">
                  <a:pos x="216" y="181"/>
                </a:cxn>
                <a:cxn ang="0">
                  <a:pos x="132" y="181"/>
                </a:cxn>
                <a:cxn ang="0">
                  <a:pos x="66" y="179"/>
                </a:cxn>
                <a:cxn ang="0">
                  <a:pos x="26" y="155"/>
                </a:cxn>
                <a:cxn ang="0">
                  <a:pos x="97" y="131"/>
                </a:cxn>
                <a:cxn ang="0">
                  <a:pos x="75" y="125"/>
                </a:cxn>
                <a:cxn ang="0">
                  <a:pos x="22" y="113"/>
                </a:cxn>
                <a:cxn ang="0">
                  <a:pos x="3" y="115"/>
                </a:cxn>
                <a:cxn ang="0">
                  <a:pos x="7" y="89"/>
                </a:cxn>
                <a:cxn ang="0">
                  <a:pos x="35" y="71"/>
                </a:cxn>
                <a:cxn ang="0">
                  <a:pos x="28" y="52"/>
                </a:cxn>
                <a:cxn ang="0">
                  <a:pos x="129" y="5"/>
                </a:cxn>
                <a:cxn ang="0">
                  <a:pos x="179" y="10"/>
                </a:cxn>
                <a:cxn ang="0">
                  <a:pos x="177" y="35"/>
                </a:cxn>
                <a:cxn ang="0">
                  <a:pos x="191" y="43"/>
                </a:cxn>
                <a:cxn ang="0">
                  <a:pos x="207" y="26"/>
                </a:cxn>
                <a:cxn ang="0">
                  <a:pos x="277" y="45"/>
                </a:cxn>
                <a:cxn ang="0">
                  <a:pos x="282" y="68"/>
                </a:cxn>
                <a:cxn ang="0">
                  <a:pos x="306" y="52"/>
                </a:cxn>
                <a:cxn ang="0">
                  <a:pos x="308" y="43"/>
                </a:cxn>
                <a:cxn ang="0">
                  <a:pos x="294" y="28"/>
                </a:cxn>
                <a:cxn ang="0">
                  <a:pos x="329" y="28"/>
                </a:cxn>
                <a:cxn ang="0">
                  <a:pos x="343" y="40"/>
                </a:cxn>
                <a:cxn ang="0">
                  <a:pos x="376" y="90"/>
                </a:cxn>
                <a:cxn ang="0">
                  <a:pos x="400" y="110"/>
                </a:cxn>
                <a:cxn ang="0">
                  <a:pos x="411" y="92"/>
                </a:cxn>
                <a:cxn ang="0">
                  <a:pos x="381" y="24"/>
                </a:cxn>
                <a:cxn ang="0">
                  <a:pos x="392" y="2"/>
                </a:cxn>
                <a:cxn ang="0">
                  <a:pos x="425" y="3"/>
                </a:cxn>
                <a:cxn ang="0">
                  <a:pos x="468" y="24"/>
                </a:cxn>
                <a:cxn ang="0">
                  <a:pos x="499" y="96"/>
                </a:cxn>
                <a:cxn ang="0">
                  <a:pos x="517" y="127"/>
                </a:cxn>
                <a:cxn ang="0">
                  <a:pos x="512" y="151"/>
                </a:cxn>
                <a:cxn ang="0">
                  <a:pos x="548" y="181"/>
                </a:cxn>
                <a:cxn ang="0">
                  <a:pos x="567" y="176"/>
                </a:cxn>
                <a:cxn ang="0">
                  <a:pos x="613" y="198"/>
                </a:cxn>
                <a:cxn ang="0">
                  <a:pos x="632" y="205"/>
                </a:cxn>
                <a:cxn ang="0">
                  <a:pos x="637" y="235"/>
                </a:cxn>
                <a:cxn ang="0">
                  <a:pos x="616" y="232"/>
                </a:cxn>
                <a:cxn ang="0">
                  <a:pos x="595" y="228"/>
                </a:cxn>
                <a:cxn ang="0">
                  <a:pos x="581" y="237"/>
                </a:cxn>
                <a:cxn ang="0">
                  <a:pos x="564" y="240"/>
                </a:cxn>
                <a:cxn ang="0">
                  <a:pos x="557" y="244"/>
                </a:cxn>
                <a:cxn ang="0">
                  <a:pos x="564" y="261"/>
                </a:cxn>
                <a:cxn ang="0">
                  <a:pos x="602" y="252"/>
                </a:cxn>
                <a:cxn ang="0">
                  <a:pos x="609" y="270"/>
                </a:cxn>
                <a:cxn ang="0">
                  <a:pos x="587" y="282"/>
                </a:cxn>
                <a:cxn ang="0">
                  <a:pos x="552" y="291"/>
                </a:cxn>
                <a:cxn ang="0">
                  <a:pos x="510" y="287"/>
                </a:cxn>
                <a:cxn ang="0">
                  <a:pos x="491" y="280"/>
                </a:cxn>
                <a:cxn ang="0">
                  <a:pos x="459" y="270"/>
                </a:cxn>
                <a:cxn ang="0">
                  <a:pos x="446" y="252"/>
                </a:cxn>
              </a:cxnLst>
              <a:rect l="0" t="0" r="r" b="b"/>
              <a:pathLst>
                <a:path w="639" h="312">
                  <a:moveTo>
                    <a:pt x="433" y="252"/>
                  </a:moveTo>
                  <a:lnTo>
                    <a:pt x="433" y="252"/>
                  </a:lnTo>
                  <a:lnTo>
                    <a:pt x="428" y="254"/>
                  </a:lnTo>
                  <a:lnTo>
                    <a:pt x="425" y="258"/>
                  </a:lnTo>
                  <a:lnTo>
                    <a:pt x="425" y="259"/>
                  </a:lnTo>
                  <a:lnTo>
                    <a:pt x="425" y="263"/>
                  </a:lnTo>
                  <a:lnTo>
                    <a:pt x="425" y="265"/>
                  </a:lnTo>
                  <a:lnTo>
                    <a:pt x="425" y="268"/>
                  </a:lnTo>
                  <a:lnTo>
                    <a:pt x="421" y="272"/>
                  </a:lnTo>
                  <a:lnTo>
                    <a:pt x="416" y="275"/>
                  </a:lnTo>
                  <a:lnTo>
                    <a:pt x="416" y="275"/>
                  </a:lnTo>
                  <a:lnTo>
                    <a:pt x="407" y="279"/>
                  </a:lnTo>
                  <a:lnTo>
                    <a:pt x="402" y="282"/>
                  </a:lnTo>
                  <a:lnTo>
                    <a:pt x="390" y="282"/>
                  </a:lnTo>
                  <a:lnTo>
                    <a:pt x="378" y="284"/>
                  </a:lnTo>
                  <a:lnTo>
                    <a:pt x="371" y="285"/>
                  </a:lnTo>
                  <a:lnTo>
                    <a:pt x="365" y="289"/>
                  </a:lnTo>
                  <a:lnTo>
                    <a:pt x="365" y="289"/>
                  </a:lnTo>
                  <a:lnTo>
                    <a:pt x="357" y="294"/>
                  </a:lnTo>
                  <a:lnTo>
                    <a:pt x="346" y="296"/>
                  </a:lnTo>
                  <a:lnTo>
                    <a:pt x="320" y="303"/>
                  </a:lnTo>
                  <a:lnTo>
                    <a:pt x="296" y="306"/>
                  </a:lnTo>
                  <a:lnTo>
                    <a:pt x="280" y="310"/>
                  </a:lnTo>
                  <a:lnTo>
                    <a:pt x="280" y="310"/>
                  </a:lnTo>
                  <a:lnTo>
                    <a:pt x="271" y="312"/>
                  </a:lnTo>
                  <a:lnTo>
                    <a:pt x="259" y="312"/>
                  </a:lnTo>
                  <a:lnTo>
                    <a:pt x="244" y="310"/>
                  </a:lnTo>
                  <a:lnTo>
                    <a:pt x="224" y="312"/>
                  </a:lnTo>
                  <a:lnTo>
                    <a:pt x="224" y="312"/>
                  </a:lnTo>
                  <a:lnTo>
                    <a:pt x="212" y="312"/>
                  </a:lnTo>
                  <a:lnTo>
                    <a:pt x="205" y="308"/>
                  </a:lnTo>
                  <a:lnTo>
                    <a:pt x="200" y="303"/>
                  </a:lnTo>
                  <a:lnTo>
                    <a:pt x="195" y="298"/>
                  </a:lnTo>
                  <a:lnTo>
                    <a:pt x="195" y="298"/>
                  </a:lnTo>
                  <a:lnTo>
                    <a:pt x="191" y="292"/>
                  </a:lnTo>
                  <a:lnTo>
                    <a:pt x="191" y="289"/>
                  </a:lnTo>
                  <a:lnTo>
                    <a:pt x="193" y="277"/>
                  </a:lnTo>
                  <a:lnTo>
                    <a:pt x="193" y="273"/>
                  </a:lnTo>
                  <a:lnTo>
                    <a:pt x="193" y="268"/>
                  </a:lnTo>
                  <a:lnTo>
                    <a:pt x="190" y="266"/>
                  </a:lnTo>
                  <a:lnTo>
                    <a:pt x="184" y="265"/>
                  </a:lnTo>
                  <a:lnTo>
                    <a:pt x="184" y="265"/>
                  </a:lnTo>
                  <a:lnTo>
                    <a:pt x="163" y="265"/>
                  </a:lnTo>
                  <a:lnTo>
                    <a:pt x="134" y="263"/>
                  </a:lnTo>
                  <a:lnTo>
                    <a:pt x="118" y="263"/>
                  </a:lnTo>
                  <a:lnTo>
                    <a:pt x="104" y="259"/>
                  </a:lnTo>
                  <a:lnTo>
                    <a:pt x="94" y="256"/>
                  </a:lnTo>
                  <a:lnTo>
                    <a:pt x="87" y="251"/>
                  </a:lnTo>
                  <a:lnTo>
                    <a:pt x="87" y="251"/>
                  </a:lnTo>
                  <a:lnTo>
                    <a:pt x="73" y="238"/>
                  </a:lnTo>
                  <a:lnTo>
                    <a:pt x="66" y="233"/>
                  </a:lnTo>
                  <a:lnTo>
                    <a:pt x="62" y="226"/>
                  </a:lnTo>
                  <a:lnTo>
                    <a:pt x="59" y="221"/>
                  </a:lnTo>
                  <a:lnTo>
                    <a:pt x="59" y="219"/>
                  </a:lnTo>
                  <a:lnTo>
                    <a:pt x="61" y="216"/>
                  </a:lnTo>
                  <a:lnTo>
                    <a:pt x="66" y="212"/>
                  </a:lnTo>
                  <a:lnTo>
                    <a:pt x="76" y="209"/>
                  </a:lnTo>
                  <a:lnTo>
                    <a:pt x="76" y="209"/>
                  </a:lnTo>
                  <a:lnTo>
                    <a:pt x="108" y="204"/>
                  </a:lnTo>
                  <a:lnTo>
                    <a:pt x="144" y="200"/>
                  </a:lnTo>
                  <a:lnTo>
                    <a:pt x="181" y="198"/>
                  </a:lnTo>
                  <a:lnTo>
                    <a:pt x="214" y="200"/>
                  </a:lnTo>
                  <a:lnTo>
                    <a:pt x="214" y="200"/>
                  </a:lnTo>
                  <a:lnTo>
                    <a:pt x="231" y="202"/>
                  </a:lnTo>
                  <a:lnTo>
                    <a:pt x="238" y="200"/>
                  </a:lnTo>
                  <a:lnTo>
                    <a:pt x="244" y="200"/>
                  </a:lnTo>
                  <a:lnTo>
                    <a:pt x="254" y="200"/>
                  </a:lnTo>
                  <a:lnTo>
                    <a:pt x="254" y="200"/>
                  </a:lnTo>
                  <a:lnTo>
                    <a:pt x="264" y="200"/>
                  </a:lnTo>
                  <a:lnTo>
                    <a:pt x="264" y="198"/>
                  </a:lnTo>
                  <a:lnTo>
                    <a:pt x="261" y="197"/>
                  </a:lnTo>
                  <a:lnTo>
                    <a:pt x="250" y="191"/>
                  </a:lnTo>
                  <a:lnTo>
                    <a:pt x="240" y="186"/>
                  </a:lnTo>
                  <a:lnTo>
                    <a:pt x="240" y="186"/>
                  </a:lnTo>
                  <a:lnTo>
                    <a:pt x="231" y="181"/>
                  </a:lnTo>
                  <a:lnTo>
                    <a:pt x="226" y="181"/>
                  </a:lnTo>
                  <a:lnTo>
                    <a:pt x="216" y="181"/>
                  </a:lnTo>
                  <a:lnTo>
                    <a:pt x="200" y="178"/>
                  </a:lnTo>
                  <a:lnTo>
                    <a:pt x="200" y="178"/>
                  </a:lnTo>
                  <a:lnTo>
                    <a:pt x="190" y="176"/>
                  </a:lnTo>
                  <a:lnTo>
                    <a:pt x="181" y="174"/>
                  </a:lnTo>
                  <a:lnTo>
                    <a:pt x="167" y="176"/>
                  </a:lnTo>
                  <a:lnTo>
                    <a:pt x="153" y="179"/>
                  </a:lnTo>
                  <a:lnTo>
                    <a:pt x="132" y="181"/>
                  </a:lnTo>
                  <a:lnTo>
                    <a:pt x="132" y="181"/>
                  </a:lnTo>
                  <a:lnTo>
                    <a:pt x="113" y="179"/>
                  </a:lnTo>
                  <a:lnTo>
                    <a:pt x="102" y="178"/>
                  </a:lnTo>
                  <a:lnTo>
                    <a:pt x="96" y="176"/>
                  </a:lnTo>
                  <a:lnTo>
                    <a:pt x="82" y="178"/>
                  </a:lnTo>
                  <a:lnTo>
                    <a:pt x="82" y="178"/>
                  </a:lnTo>
                  <a:lnTo>
                    <a:pt x="66" y="179"/>
                  </a:lnTo>
                  <a:lnTo>
                    <a:pt x="55" y="178"/>
                  </a:lnTo>
                  <a:lnTo>
                    <a:pt x="49" y="176"/>
                  </a:lnTo>
                  <a:lnTo>
                    <a:pt x="36" y="167"/>
                  </a:lnTo>
                  <a:lnTo>
                    <a:pt x="36" y="167"/>
                  </a:lnTo>
                  <a:lnTo>
                    <a:pt x="31" y="162"/>
                  </a:lnTo>
                  <a:lnTo>
                    <a:pt x="28" y="158"/>
                  </a:lnTo>
                  <a:lnTo>
                    <a:pt x="26" y="155"/>
                  </a:lnTo>
                  <a:lnTo>
                    <a:pt x="28" y="151"/>
                  </a:lnTo>
                  <a:lnTo>
                    <a:pt x="31" y="148"/>
                  </a:lnTo>
                  <a:lnTo>
                    <a:pt x="38" y="144"/>
                  </a:lnTo>
                  <a:lnTo>
                    <a:pt x="64" y="139"/>
                  </a:lnTo>
                  <a:lnTo>
                    <a:pt x="64" y="139"/>
                  </a:lnTo>
                  <a:lnTo>
                    <a:pt x="85" y="134"/>
                  </a:lnTo>
                  <a:lnTo>
                    <a:pt x="97" y="131"/>
                  </a:lnTo>
                  <a:lnTo>
                    <a:pt x="104" y="127"/>
                  </a:lnTo>
                  <a:lnTo>
                    <a:pt x="104" y="125"/>
                  </a:lnTo>
                  <a:lnTo>
                    <a:pt x="102" y="122"/>
                  </a:lnTo>
                  <a:lnTo>
                    <a:pt x="99" y="122"/>
                  </a:lnTo>
                  <a:lnTo>
                    <a:pt x="89" y="122"/>
                  </a:lnTo>
                  <a:lnTo>
                    <a:pt x="89" y="122"/>
                  </a:lnTo>
                  <a:lnTo>
                    <a:pt x="75" y="125"/>
                  </a:lnTo>
                  <a:lnTo>
                    <a:pt x="55" y="129"/>
                  </a:lnTo>
                  <a:lnTo>
                    <a:pt x="38" y="131"/>
                  </a:lnTo>
                  <a:lnTo>
                    <a:pt x="31" y="131"/>
                  </a:lnTo>
                  <a:lnTo>
                    <a:pt x="28" y="127"/>
                  </a:lnTo>
                  <a:lnTo>
                    <a:pt x="28" y="127"/>
                  </a:lnTo>
                  <a:lnTo>
                    <a:pt x="24" y="120"/>
                  </a:lnTo>
                  <a:lnTo>
                    <a:pt x="22" y="113"/>
                  </a:lnTo>
                  <a:lnTo>
                    <a:pt x="21" y="111"/>
                  </a:lnTo>
                  <a:lnTo>
                    <a:pt x="19" y="110"/>
                  </a:lnTo>
                  <a:lnTo>
                    <a:pt x="15" y="110"/>
                  </a:lnTo>
                  <a:lnTo>
                    <a:pt x="12" y="111"/>
                  </a:lnTo>
                  <a:lnTo>
                    <a:pt x="12" y="111"/>
                  </a:lnTo>
                  <a:lnTo>
                    <a:pt x="7" y="115"/>
                  </a:lnTo>
                  <a:lnTo>
                    <a:pt x="3" y="115"/>
                  </a:lnTo>
                  <a:lnTo>
                    <a:pt x="0" y="113"/>
                  </a:lnTo>
                  <a:lnTo>
                    <a:pt x="0" y="110"/>
                  </a:lnTo>
                  <a:lnTo>
                    <a:pt x="0" y="106"/>
                  </a:lnTo>
                  <a:lnTo>
                    <a:pt x="0" y="101"/>
                  </a:lnTo>
                  <a:lnTo>
                    <a:pt x="3" y="96"/>
                  </a:lnTo>
                  <a:lnTo>
                    <a:pt x="7" y="89"/>
                  </a:lnTo>
                  <a:lnTo>
                    <a:pt x="7" y="89"/>
                  </a:lnTo>
                  <a:lnTo>
                    <a:pt x="12" y="84"/>
                  </a:lnTo>
                  <a:lnTo>
                    <a:pt x="17" y="80"/>
                  </a:lnTo>
                  <a:lnTo>
                    <a:pt x="26" y="77"/>
                  </a:lnTo>
                  <a:lnTo>
                    <a:pt x="33" y="75"/>
                  </a:lnTo>
                  <a:lnTo>
                    <a:pt x="35" y="73"/>
                  </a:lnTo>
                  <a:lnTo>
                    <a:pt x="35" y="71"/>
                  </a:lnTo>
                  <a:lnTo>
                    <a:pt x="35" y="71"/>
                  </a:lnTo>
                  <a:lnTo>
                    <a:pt x="33" y="70"/>
                  </a:lnTo>
                  <a:lnTo>
                    <a:pt x="29" y="68"/>
                  </a:lnTo>
                  <a:lnTo>
                    <a:pt x="21" y="64"/>
                  </a:lnTo>
                  <a:lnTo>
                    <a:pt x="17" y="63"/>
                  </a:lnTo>
                  <a:lnTo>
                    <a:pt x="17" y="59"/>
                  </a:lnTo>
                  <a:lnTo>
                    <a:pt x="21" y="56"/>
                  </a:lnTo>
                  <a:lnTo>
                    <a:pt x="28" y="52"/>
                  </a:lnTo>
                  <a:lnTo>
                    <a:pt x="28" y="52"/>
                  </a:lnTo>
                  <a:lnTo>
                    <a:pt x="55" y="35"/>
                  </a:lnTo>
                  <a:lnTo>
                    <a:pt x="69" y="28"/>
                  </a:lnTo>
                  <a:lnTo>
                    <a:pt x="85" y="23"/>
                  </a:lnTo>
                  <a:lnTo>
                    <a:pt x="85" y="23"/>
                  </a:lnTo>
                  <a:lnTo>
                    <a:pt x="106" y="16"/>
                  </a:lnTo>
                  <a:lnTo>
                    <a:pt x="129" y="5"/>
                  </a:lnTo>
                  <a:lnTo>
                    <a:pt x="141" y="2"/>
                  </a:lnTo>
                  <a:lnTo>
                    <a:pt x="151" y="0"/>
                  </a:lnTo>
                  <a:lnTo>
                    <a:pt x="160" y="0"/>
                  </a:lnTo>
                  <a:lnTo>
                    <a:pt x="169" y="2"/>
                  </a:lnTo>
                  <a:lnTo>
                    <a:pt x="169" y="2"/>
                  </a:lnTo>
                  <a:lnTo>
                    <a:pt x="176" y="5"/>
                  </a:lnTo>
                  <a:lnTo>
                    <a:pt x="179" y="10"/>
                  </a:lnTo>
                  <a:lnTo>
                    <a:pt x="181" y="14"/>
                  </a:lnTo>
                  <a:lnTo>
                    <a:pt x="181" y="17"/>
                  </a:lnTo>
                  <a:lnTo>
                    <a:pt x="179" y="24"/>
                  </a:lnTo>
                  <a:lnTo>
                    <a:pt x="177" y="28"/>
                  </a:lnTo>
                  <a:lnTo>
                    <a:pt x="179" y="31"/>
                  </a:lnTo>
                  <a:lnTo>
                    <a:pt x="179" y="31"/>
                  </a:lnTo>
                  <a:lnTo>
                    <a:pt x="177" y="35"/>
                  </a:lnTo>
                  <a:lnTo>
                    <a:pt x="176" y="38"/>
                  </a:lnTo>
                  <a:lnTo>
                    <a:pt x="165" y="47"/>
                  </a:lnTo>
                  <a:lnTo>
                    <a:pt x="162" y="50"/>
                  </a:lnTo>
                  <a:lnTo>
                    <a:pt x="163" y="52"/>
                  </a:lnTo>
                  <a:lnTo>
                    <a:pt x="170" y="50"/>
                  </a:lnTo>
                  <a:lnTo>
                    <a:pt x="170" y="50"/>
                  </a:lnTo>
                  <a:lnTo>
                    <a:pt x="191" y="43"/>
                  </a:lnTo>
                  <a:lnTo>
                    <a:pt x="195" y="42"/>
                  </a:lnTo>
                  <a:lnTo>
                    <a:pt x="195" y="40"/>
                  </a:lnTo>
                  <a:lnTo>
                    <a:pt x="193" y="37"/>
                  </a:lnTo>
                  <a:lnTo>
                    <a:pt x="195" y="33"/>
                  </a:lnTo>
                  <a:lnTo>
                    <a:pt x="198" y="30"/>
                  </a:lnTo>
                  <a:lnTo>
                    <a:pt x="198" y="30"/>
                  </a:lnTo>
                  <a:lnTo>
                    <a:pt x="207" y="26"/>
                  </a:lnTo>
                  <a:lnTo>
                    <a:pt x="217" y="26"/>
                  </a:lnTo>
                  <a:lnTo>
                    <a:pt x="233" y="28"/>
                  </a:lnTo>
                  <a:lnTo>
                    <a:pt x="256" y="35"/>
                  </a:lnTo>
                  <a:lnTo>
                    <a:pt x="256" y="35"/>
                  </a:lnTo>
                  <a:lnTo>
                    <a:pt x="268" y="38"/>
                  </a:lnTo>
                  <a:lnTo>
                    <a:pt x="273" y="42"/>
                  </a:lnTo>
                  <a:lnTo>
                    <a:pt x="277" y="45"/>
                  </a:lnTo>
                  <a:lnTo>
                    <a:pt x="275" y="49"/>
                  </a:lnTo>
                  <a:lnTo>
                    <a:pt x="271" y="56"/>
                  </a:lnTo>
                  <a:lnTo>
                    <a:pt x="271" y="59"/>
                  </a:lnTo>
                  <a:lnTo>
                    <a:pt x="275" y="64"/>
                  </a:lnTo>
                  <a:lnTo>
                    <a:pt x="275" y="64"/>
                  </a:lnTo>
                  <a:lnTo>
                    <a:pt x="278" y="68"/>
                  </a:lnTo>
                  <a:lnTo>
                    <a:pt x="282" y="68"/>
                  </a:lnTo>
                  <a:lnTo>
                    <a:pt x="284" y="64"/>
                  </a:lnTo>
                  <a:lnTo>
                    <a:pt x="285" y="61"/>
                  </a:lnTo>
                  <a:lnTo>
                    <a:pt x="287" y="56"/>
                  </a:lnTo>
                  <a:lnTo>
                    <a:pt x="291" y="52"/>
                  </a:lnTo>
                  <a:lnTo>
                    <a:pt x="298" y="50"/>
                  </a:lnTo>
                  <a:lnTo>
                    <a:pt x="306" y="52"/>
                  </a:lnTo>
                  <a:lnTo>
                    <a:pt x="306" y="52"/>
                  </a:lnTo>
                  <a:lnTo>
                    <a:pt x="322" y="56"/>
                  </a:lnTo>
                  <a:lnTo>
                    <a:pt x="325" y="54"/>
                  </a:lnTo>
                  <a:lnTo>
                    <a:pt x="325" y="54"/>
                  </a:lnTo>
                  <a:lnTo>
                    <a:pt x="322" y="49"/>
                  </a:lnTo>
                  <a:lnTo>
                    <a:pt x="313" y="45"/>
                  </a:lnTo>
                  <a:lnTo>
                    <a:pt x="313" y="45"/>
                  </a:lnTo>
                  <a:lnTo>
                    <a:pt x="308" y="43"/>
                  </a:lnTo>
                  <a:lnTo>
                    <a:pt x="310" y="42"/>
                  </a:lnTo>
                  <a:lnTo>
                    <a:pt x="310" y="40"/>
                  </a:lnTo>
                  <a:lnTo>
                    <a:pt x="308" y="38"/>
                  </a:lnTo>
                  <a:lnTo>
                    <a:pt x="306" y="35"/>
                  </a:lnTo>
                  <a:lnTo>
                    <a:pt x="299" y="31"/>
                  </a:lnTo>
                  <a:lnTo>
                    <a:pt x="299" y="31"/>
                  </a:lnTo>
                  <a:lnTo>
                    <a:pt x="294" y="28"/>
                  </a:lnTo>
                  <a:lnTo>
                    <a:pt x="292" y="26"/>
                  </a:lnTo>
                  <a:lnTo>
                    <a:pt x="292" y="23"/>
                  </a:lnTo>
                  <a:lnTo>
                    <a:pt x="296" y="23"/>
                  </a:lnTo>
                  <a:lnTo>
                    <a:pt x="306" y="23"/>
                  </a:lnTo>
                  <a:lnTo>
                    <a:pt x="324" y="26"/>
                  </a:lnTo>
                  <a:lnTo>
                    <a:pt x="324" y="26"/>
                  </a:lnTo>
                  <a:lnTo>
                    <a:pt x="329" y="28"/>
                  </a:lnTo>
                  <a:lnTo>
                    <a:pt x="332" y="30"/>
                  </a:lnTo>
                  <a:lnTo>
                    <a:pt x="332" y="31"/>
                  </a:lnTo>
                  <a:lnTo>
                    <a:pt x="332" y="33"/>
                  </a:lnTo>
                  <a:lnTo>
                    <a:pt x="331" y="33"/>
                  </a:lnTo>
                  <a:lnTo>
                    <a:pt x="332" y="35"/>
                  </a:lnTo>
                  <a:lnTo>
                    <a:pt x="343" y="40"/>
                  </a:lnTo>
                  <a:lnTo>
                    <a:pt x="343" y="40"/>
                  </a:lnTo>
                  <a:lnTo>
                    <a:pt x="351" y="43"/>
                  </a:lnTo>
                  <a:lnTo>
                    <a:pt x="358" y="47"/>
                  </a:lnTo>
                  <a:lnTo>
                    <a:pt x="362" y="52"/>
                  </a:lnTo>
                  <a:lnTo>
                    <a:pt x="364" y="57"/>
                  </a:lnTo>
                  <a:lnTo>
                    <a:pt x="369" y="71"/>
                  </a:lnTo>
                  <a:lnTo>
                    <a:pt x="372" y="80"/>
                  </a:lnTo>
                  <a:lnTo>
                    <a:pt x="376" y="90"/>
                  </a:lnTo>
                  <a:lnTo>
                    <a:pt x="376" y="90"/>
                  </a:lnTo>
                  <a:lnTo>
                    <a:pt x="386" y="104"/>
                  </a:lnTo>
                  <a:lnTo>
                    <a:pt x="393" y="113"/>
                  </a:lnTo>
                  <a:lnTo>
                    <a:pt x="395" y="113"/>
                  </a:lnTo>
                  <a:lnTo>
                    <a:pt x="397" y="113"/>
                  </a:lnTo>
                  <a:lnTo>
                    <a:pt x="400" y="110"/>
                  </a:lnTo>
                  <a:lnTo>
                    <a:pt x="400" y="110"/>
                  </a:lnTo>
                  <a:lnTo>
                    <a:pt x="405" y="106"/>
                  </a:lnTo>
                  <a:lnTo>
                    <a:pt x="412" y="103"/>
                  </a:lnTo>
                  <a:lnTo>
                    <a:pt x="414" y="101"/>
                  </a:lnTo>
                  <a:lnTo>
                    <a:pt x="414" y="99"/>
                  </a:lnTo>
                  <a:lnTo>
                    <a:pt x="414" y="96"/>
                  </a:lnTo>
                  <a:lnTo>
                    <a:pt x="411" y="92"/>
                  </a:lnTo>
                  <a:lnTo>
                    <a:pt x="411" y="92"/>
                  </a:lnTo>
                  <a:lnTo>
                    <a:pt x="402" y="85"/>
                  </a:lnTo>
                  <a:lnTo>
                    <a:pt x="397" y="77"/>
                  </a:lnTo>
                  <a:lnTo>
                    <a:pt x="393" y="68"/>
                  </a:lnTo>
                  <a:lnTo>
                    <a:pt x="392" y="59"/>
                  </a:lnTo>
                  <a:lnTo>
                    <a:pt x="386" y="40"/>
                  </a:lnTo>
                  <a:lnTo>
                    <a:pt x="385" y="31"/>
                  </a:lnTo>
                  <a:lnTo>
                    <a:pt x="381" y="24"/>
                  </a:lnTo>
                  <a:lnTo>
                    <a:pt x="381" y="24"/>
                  </a:lnTo>
                  <a:lnTo>
                    <a:pt x="378" y="16"/>
                  </a:lnTo>
                  <a:lnTo>
                    <a:pt x="378" y="10"/>
                  </a:lnTo>
                  <a:lnTo>
                    <a:pt x="379" y="7"/>
                  </a:lnTo>
                  <a:lnTo>
                    <a:pt x="383" y="3"/>
                  </a:lnTo>
                  <a:lnTo>
                    <a:pt x="386" y="2"/>
                  </a:lnTo>
                  <a:lnTo>
                    <a:pt x="392" y="2"/>
                  </a:lnTo>
                  <a:lnTo>
                    <a:pt x="402" y="3"/>
                  </a:lnTo>
                  <a:lnTo>
                    <a:pt x="402" y="3"/>
                  </a:lnTo>
                  <a:lnTo>
                    <a:pt x="412" y="7"/>
                  </a:lnTo>
                  <a:lnTo>
                    <a:pt x="419" y="9"/>
                  </a:lnTo>
                  <a:lnTo>
                    <a:pt x="421" y="7"/>
                  </a:lnTo>
                  <a:lnTo>
                    <a:pt x="423" y="5"/>
                  </a:lnTo>
                  <a:lnTo>
                    <a:pt x="425" y="3"/>
                  </a:lnTo>
                  <a:lnTo>
                    <a:pt x="428" y="2"/>
                  </a:lnTo>
                  <a:lnTo>
                    <a:pt x="432" y="3"/>
                  </a:lnTo>
                  <a:lnTo>
                    <a:pt x="439" y="9"/>
                  </a:lnTo>
                  <a:lnTo>
                    <a:pt x="439" y="9"/>
                  </a:lnTo>
                  <a:lnTo>
                    <a:pt x="452" y="17"/>
                  </a:lnTo>
                  <a:lnTo>
                    <a:pt x="461" y="21"/>
                  </a:lnTo>
                  <a:lnTo>
                    <a:pt x="468" y="24"/>
                  </a:lnTo>
                  <a:lnTo>
                    <a:pt x="477" y="33"/>
                  </a:lnTo>
                  <a:lnTo>
                    <a:pt x="477" y="33"/>
                  </a:lnTo>
                  <a:lnTo>
                    <a:pt x="482" y="40"/>
                  </a:lnTo>
                  <a:lnTo>
                    <a:pt x="486" y="50"/>
                  </a:lnTo>
                  <a:lnTo>
                    <a:pt x="491" y="70"/>
                  </a:lnTo>
                  <a:lnTo>
                    <a:pt x="496" y="89"/>
                  </a:lnTo>
                  <a:lnTo>
                    <a:pt x="499" y="96"/>
                  </a:lnTo>
                  <a:lnTo>
                    <a:pt x="505" y="101"/>
                  </a:lnTo>
                  <a:lnTo>
                    <a:pt x="505" y="101"/>
                  </a:lnTo>
                  <a:lnTo>
                    <a:pt x="510" y="106"/>
                  </a:lnTo>
                  <a:lnTo>
                    <a:pt x="513" y="111"/>
                  </a:lnTo>
                  <a:lnTo>
                    <a:pt x="517" y="117"/>
                  </a:lnTo>
                  <a:lnTo>
                    <a:pt x="517" y="122"/>
                  </a:lnTo>
                  <a:lnTo>
                    <a:pt x="517" y="127"/>
                  </a:lnTo>
                  <a:lnTo>
                    <a:pt x="515" y="132"/>
                  </a:lnTo>
                  <a:lnTo>
                    <a:pt x="510" y="141"/>
                  </a:lnTo>
                  <a:lnTo>
                    <a:pt x="510" y="141"/>
                  </a:lnTo>
                  <a:lnTo>
                    <a:pt x="508" y="144"/>
                  </a:lnTo>
                  <a:lnTo>
                    <a:pt x="508" y="146"/>
                  </a:lnTo>
                  <a:lnTo>
                    <a:pt x="508" y="150"/>
                  </a:lnTo>
                  <a:lnTo>
                    <a:pt x="512" y="151"/>
                  </a:lnTo>
                  <a:lnTo>
                    <a:pt x="519" y="157"/>
                  </a:lnTo>
                  <a:lnTo>
                    <a:pt x="524" y="160"/>
                  </a:lnTo>
                  <a:lnTo>
                    <a:pt x="527" y="165"/>
                  </a:lnTo>
                  <a:lnTo>
                    <a:pt x="527" y="165"/>
                  </a:lnTo>
                  <a:lnTo>
                    <a:pt x="531" y="169"/>
                  </a:lnTo>
                  <a:lnTo>
                    <a:pt x="536" y="174"/>
                  </a:lnTo>
                  <a:lnTo>
                    <a:pt x="548" y="181"/>
                  </a:lnTo>
                  <a:lnTo>
                    <a:pt x="557" y="183"/>
                  </a:lnTo>
                  <a:lnTo>
                    <a:pt x="560" y="181"/>
                  </a:lnTo>
                  <a:lnTo>
                    <a:pt x="560" y="179"/>
                  </a:lnTo>
                  <a:lnTo>
                    <a:pt x="560" y="179"/>
                  </a:lnTo>
                  <a:lnTo>
                    <a:pt x="559" y="174"/>
                  </a:lnTo>
                  <a:lnTo>
                    <a:pt x="562" y="174"/>
                  </a:lnTo>
                  <a:lnTo>
                    <a:pt x="567" y="176"/>
                  </a:lnTo>
                  <a:lnTo>
                    <a:pt x="573" y="181"/>
                  </a:lnTo>
                  <a:lnTo>
                    <a:pt x="573" y="181"/>
                  </a:lnTo>
                  <a:lnTo>
                    <a:pt x="585" y="190"/>
                  </a:lnTo>
                  <a:lnTo>
                    <a:pt x="594" y="195"/>
                  </a:lnTo>
                  <a:lnTo>
                    <a:pt x="600" y="198"/>
                  </a:lnTo>
                  <a:lnTo>
                    <a:pt x="606" y="198"/>
                  </a:lnTo>
                  <a:lnTo>
                    <a:pt x="613" y="198"/>
                  </a:lnTo>
                  <a:lnTo>
                    <a:pt x="613" y="200"/>
                  </a:lnTo>
                  <a:lnTo>
                    <a:pt x="614" y="204"/>
                  </a:lnTo>
                  <a:lnTo>
                    <a:pt x="614" y="204"/>
                  </a:lnTo>
                  <a:lnTo>
                    <a:pt x="614" y="207"/>
                  </a:lnTo>
                  <a:lnTo>
                    <a:pt x="618" y="207"/>
                  </a:lnTo>
                  <a:lnTo>
                    <a:pt x="625" y="207"/>
                  </a:lnTo>
                  <a:lnTo>
                    <a:pt x="632" y="205"/>
                  </a:lnTo>
                  <a:lnTo>
                    <a:pt x="635" y="207"/>
                  </a:lnTo>
                  <a:lnTo>
                    <a:pt x="637" y="211"/>
                  </a:lnTo>
                  <a:lnTo>
                    <a:pt x="637" y="211"/>
                  </a:lnTo>
                  <a:lnTo>
                    <a:pt x="639" y="221"/>
                  </a:lnTo>
                  <a:lnTo>
                    <a:pt x="639" y="230"/>
                  </a:lnTo>
                  <a:lnTo>
                    <a:pt x="639" y="233"/>
                  </a:lnTo>
                  <a:lnTo>
                    <a:pt x="637" y="235"/>
                  </a:lnTo>
                  <a:lnTo>
                    <a:pt x="634" y="237"/>
                  </a:lnTo>
                  <a:lnTo>
                    <a:pt x="630" y="238"/>
                  </a:lnTo>
                  <a:lnTo>
                    <a:pt x="630" y="238"/>
                  </a:lnTo>
                  <a:lnTo>
                    <a:pt x="627" y="238"/>
                  </a:lnTo>
                  <a:lnTo>
                    <a:pt x="623" y="237"/>
                  </a:lnTo>
                  <a:lnTo>
                    <a:pt x="620" y="233"/>
                  </a:lnTo>
                  <a:lnTo>
                    <a:pt x="616" y="232"/>
                  </a:lnTo>
                  <a:lnTo>
                    <a:pt x="613" y="235"/>
                  </a:lnTo>
                  <a:lnTo>
                    <a:pt x="613" y="235"/>
                  </a:lnTo>
                  <a:lnTo>
                    <a:pt x="609" y="237"/>
                  </a:lnTo>
                  <a:lnTo>
                    <a:pt x="607" y="237"/>
                  </a:lnTo>
                  <a:lnTo>
                    <a:pt x="602" y="232"/>
                  </a:lnTo>
                  <a:lnTo>
                    <a:pt x="599" y="230"/>
                  </a:lnTo>
                  <a:lnTo>
                    <a:pt x="595" y="228"/>
                  </a:lnTo>
                  <a:lnTo>
                    <a:pt x="592" y="226"/>
                  </a:lnTo>
                  <a:lnTo>
                    <a:pt x="587" y="228"/>
                  </a:lnTo>
                  <a:lnTo>
                    <a:pt x="587" y="228"/>
                  </a:lnTo>
                  <a:lnTo>
                    <a:pt x="581" y="232"/>
                  </a:lnTo>
                  <a:lnTo>
                    <a:pt x="580" y="233"/>
                  </a:lnTo>
                  <a:lnTo>
                    <a:pt x="580" y="235"/>
                  </a:lnTo>
                  <a:lnTo>
                    <a:pt x="581" y="237"/>
                  </a:lnTo>
                  <a:lnTo>
                    <a:pt x="585" y="240"/>
                  </a:lnTo>
                  <a:lnTo>
                    <a:pt x="585" y="242"/>
                  </a:lnTo>
                  <a:lnTo>
                    <a:pt x="581" y="244"/>
                  </a:lnTo>
                  <a:lnTo>
                    <a:pt x="581" y="244"/>
                  </a:lnTo>
                  <a:lnTo>
                    <a:pt x="578" y="245"/>
                  </a:lnTo>
                  <a:lnTo>
                    <a:pt x="573" y="244"/>
                  </a:lnTo>
                  <a:lnTo>
                    <a:pt x="564" y="240"/>
                  </a:lnTo>
                  <a:lnTo>
                    <a:pt x="553" y="237"/>
                  </a:lnTo>
                  <a:lnTo>
                    <a:pt x="550" y="237"/>
                  </a:lnTo>
                  <a:lnTo>
                    <a:pt x="548" y="237"/>
                  </a:lnTo>
                  <a:lnTo>
                    <a:pt x="548" y="237"/>
                  </a:lnTo>
                  <a:lnTo>
                    <a:pt x="546" y="240"/>
                  </a:lnTo>
                  <a:lnTo>
                    <a:pt x="550" y="240"/>
                  </a:lnTo>
                  <a:lnTo>
                    <a:pt x="557" y="244"/>
                  </a:lnTo>
                  <a:lnTo>
                    <a:pt x="560" y="245"/>
                  </a:lnTo>
                  <a:lnTo>
                    <a:pt x="564" y="249"/>
                  </a:lnTo>
                  <a:lnTo>
                    <a:pt x="566" y="252"/>
                  </a:lnTo>
                  <a:lnTo>
                    <a:pt x="564" y="258"/>
                  </a:lnTo>
                  <a:lnTo>
                    <a:pt x="564" y="258"/>
                  </a:lnTo>
                  <a:lnTo>
                    <a:pt x="562" y="261"/>
                  </a:lnTo>
                  <a:lnTo>
                    <a:pt x="564" y="261"/>
                  </a:lnTo>
                  <a:lnTo>
                    <a:pt x="573" y="258"/>
                  </a:lnTo>
                  <a:lnTo>
                    <a:pt x="585" y="251"/>
                  </a:lnTo>
                  <a:lnTo>
                    <a:pt x="592" y="249"/>
                  </a:lnTo>
                  <a:lnTo>
                    <a:pt x="597" y="249"/>
                  </a:lnTo>
                  <a:lnTo>
                    <a:pt x="597" y="249"/>
                  </a:lnTo>
                  <a:lnTo>
                    <a:pt x="600" y="251"/>
                  </a:lnTo>
                  <a:lnTo>
                    <a:pt x="602" y="252"/>
                  </a:lnTo>
                  <a:lnTo>
                    <a:pt x="600" y="254"/>
                  </a:lnTo>
                  <a:lnTo>
                    <a:pt x="599" y="259"/>
                  </a:lnTo>
                  <a:lnTo>
                    <a:pt x="600" y="261"/>
                  </a:lnTo>
                  <a:lnTo>
                    <a:pt x="604" y="263"/>
                  </a:lnTo>
                  <a:lnTo>
                    <a:pt x="604" y="263"/>
                  </a:lnTo>
                  <a:lnTo>
                    <a:pt x="607" y="266"/>
                  </a:lnTo>
                  <a:lnTo>
                    <a:pt x="609" y="270"/>
                  </a:lnTo>
                  <a:lnTo>
                    <a:pt x="609" y="272"/>
                  </a:lnTo>
                  <a:lnTo>
                    <a:pt x="607" y="275"/>
                  </a:lnTo>
                  <a:lnTo>
                    <a:pt x="602" y="280"/>
                  </a:lnTo>
                  <a:lnTo>
                    <a:pt x="595" y="280"/>
                  </a:lnTo>
                  <a:lnTo>
                    <a:pt x="595" y="280"/>
                  </a:lnTo>
                  <a:lnTo>
                    <a:pt x="590" y="280"/>
                  </a:lnTo>
                  <a:lnTo>
                    <a:pt x="587" y="282"/>
                  </a:lnTo>
                  <a:lnTo>
                    <a:pt x="580" y="287"/>
                  </a:lnTo>
                  <a:lnTo>
                    <a:pt x="573" y="292"/>
                  </a:lnTo>
                  <a:lnTo>
                    <a:pt x="567" y="292"/>
                  </a:lnTo>
                  <a:lnTo>
                    <a:pt x="562" y="292"/>
                  </a:lnTo>
                  <a:lnTo>
                    <a:pt x="562" y="292"/>
                  </a:lnTo>
                  <a:lnTo>
                    <a:pt x="555" y="291"/>
                  </a:lnTo>
                  <a:lnTo>
                    <a:pt x="552" y="291"/>
                  </a:lnTo>
                  <a:lnTo>
                    <a:pt x="546" y="291"/>
                  </a:lnTo>
                  <a:lnTo>
                    <a:pt x="531" y="287"/>
                  </a:lnTo>
                  <a:lnTo>
                    <a:pt x="531" y="287"/>
                  </a:lnTo>
                  <a:lnTo>
                    <a:pt x="522" y="285"/>
                  </a:lnTo>
                  <a:lnTo>
                    <a:pt x="517" y="285"/>
                  </a:lnTo>
                  <a:lnTo>
                    <a:pt x="513" y="285"/>
                  </a:lnTo>
                  <a:lnTo>
                    <a:pt x="510" y="287"/>
                  </a:lnTo>
                  <a:lnTo>
                    <a:pt x="505" y="289"/>
                  </a:lnTo>
                  <a:lnTo>
                    <a:pt x="501" y="289"/>
                  </a:lnTo>
                  <a:lnTo>
                    <a:pt x="493" y="285"/>
                  </a:lnTo>
                  <a:lnTo>
                    <a:pt x="493" y="285"/>
                  </a:lnTo>
                  <a:lnTo>
                    <a:pt x="487" y="284"/>
                  </a:lnTo>
                  <a:lnTo>
                    <a:pt x="486" y="282"/>
                  </a:lnTo>
                  <a:lnTo>
                    <a:pt x="491" y="280"/>
                  </a:lnTo>
                  <a:lnTo>
                    <a:pt x="493" y="279"/>
                  </a:lnTo>
                  <a:lnTo>
                    <a:pt x="494" y="279"/>
                  </a:lnTo>
                  <a:lnTo>
                    <a:pt x="489" y="275"/>
                  </a:lnTo>
                  <a:lnTo>
                    <a:pt x="480" y="273"/>
                  </a:lnTo>
                  <a:lnTo>
                    <a:pt x="480" y="273"/>
                  </a:lnTo>
                  <a:lnTo>
                    <a:pt x="468" y="270"/>
                  </a:lnTo>
                  <a:lnTo>
                    <a:pt x="459" y="270"/>
                  </a:lnTo>
                  <a:lnTo>
                    <a:pt x="449" y="270"/>
                  </a:lnTo>
                  <a:lnTo>
                    <a:pt x="447" y="272"/>
                  </a:lnTo>
                  <a:lnTo>
                    <a:pt x="446" y="270"/>
                  </a:lnTo>
                  <a:lnTo>
                    <a:pt x="446" y="265"/>
                  </a:lnTo>
                  <a:lnTo>
                    <a:pt x="446" y="265"/>
                  </a:lnTo>
                  <a:lnTo>
                    <a:pt x="447" y="256"/>
                  </a:lnTo>
                  <a:lnTo>
                    <a:pt x="446" y="252"/>
                  </a:lnTo>
                  <a:lnTo>
                    <a:pt x="444" y="251"/>
                  </a:lnTo>
                  <a:lnTo>
                    <a:pt x="440" y="251"/>
                  </a:lnTo>
                  <a:lnTo>
                    <a:pt x="433" y="252"/>
                  </a:lnTo>
                  <a:lnTo>
                    <a:pt x="433" y="25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 name="Freeform 1710">
              <a:extLst>
                <a:ext uri="{FF2B5EF4-FFF2-40B4-BE49-F238E27FC236}">
                  <a16:creationId xmlns:a16="http://schemas.microsoft.com/office/drawing/2014/main" id="{C18FDBE0-EC0E-4D2F-98CF-908A796B93CC}"/>
                </a:ext>
              </a:extLst>
            </p:cNvPr>
            <p:cNvSpPr>
              <a:spLocks/>
            </p:cNvSpPr>
            <p:nvPr/>
          </p:nvSpPr>
          <p:spPr bwMode="auto">
            <a:xfrm>
              <a:off x="2649383" y="1556898"/>
              <a:ext cx="806996" cy="592034"/>
            </a:xfrm>
            <a:custGeom>
              <a:avLst/>
              <a:gdLst/>
              <a:ahLst/>
              <a:cxnLst>
                <a:cxn ang="0">
                  <a:pos x="169" y="251"/>
                </a:cxn>
                <a:cxn ang="0">
                  <a:pos x="59" y="228"/>
                </a:cxn>
                <a:cxn ang="0">
                  <a:pos x="81" y="190"/>
                </a:cxn>
                <a:cxn ang="0">
                  <a:pos x="1" y="160"/>
                </a:cxn>
                <a:cxn ang="0">
                  <a:pos x="27" y="61"/>
                </a:cxn>
                <a:cxn ang="0">
                  <a:pos x="174" y="2"/>
                </a:cxn>
                <a:cxn ang="0">
                  <a:pos x="134" y="52"/>
                </a:cxn>
                <a:cxn ang="0">
                  <a:pos x="130" y="125"/>
                </a:cxn>
                <a:cxn ang="0">
                  <a:pos x="193" y="146"/>
                </a:cxn>
                <a:cxn ang="0">
                  <a:pos x="151" y="115"/>
                </a:cxn>
                <a:cxn ang="0">
                  <a:pos x="151" y="61"/>
                </a:cxn>
                <a:cxn ang="0">
                  <a:pos x="189" y="28"/>
                </a:cxn>
                <a:cxn ang="0">
                  <a:pos x="310" y="33"/>
                </a:cxn>
                <a:cxn ang="0">
                  <a:pos x="329" y="103"/>
                </a:cxn>
                <a:cxn ang="0">
                  <a:pos x="358" y="89"/>
                </a:cxn>
                <a:cxn ang="0">
                  <a:pos x="412" y="82"/>
                </a:cxn>
                <a:cxn ang="0">
                  <a:pos x="519" y="90"/>
                </a:cxn>
                <a:cxn ang="0">
                  <a:pos x="567" y="127"/>
                </a:cxn>
                <a:cxn ang="0">
                  <a:pos x="644" y="150"/>
                </a:cxn>
                <a:cxn ang="0">
                  <a:pos x="686" y="191"/>
                </a:cxn>
                <a:cxn ang="0">
                  <a:pos x="764" y="216"/>
                </a:cxn>
                <a:cxn ang="0">
                  <a:pos x="766" y="235"/>
                </a:cxn>
                <a:cxn ang="0">
                  <a:pos x="802" y="265"/>
                </a:cxn>
                <a:cxn ang="0">
                  <a:pos x="821" y="296"/>
                </a:cxn>
                <a:cxn ang="0">
                  <a:pos x="785" y="318"/>
                </a:cxn>
                <a:cxn ang="0">
                  <a:pos x="806" y="345"/>
                </a:cxn>
                <a:cxn ang="0">
                  <a:pos x="867" y="372"/>
                </a:cxn>
                <a:cxn ang="0">
                  <a:pos x="922" y="423"/>
                </a:cxn>
                <a:cxn ang="0">
                  <a:pos x="954" y="440"/>
                </a:cxn>
                <a:cxn ang="0">
                  <a:pos x="1001" y="473"/>
                </a:cxn>
                <a:cxn ang="0">
                  <a:pos x="973" y="505"/>
                </a:cxn>
                <a:cxn ang="0">
                  <a:pos x="938" y="531"/>
                </a:cxn>
                <a:cxn ang="0">
                  <a:pos x="877" y="533"/>
                </a:cxn>
                <a:cxn ang="0">
                  <a:pos x="848" y="493"/>
                </a:cxn>
                <a:cxn ang="0">
                  <a:pos x="809" y="468"/>
                </a:cxn>
                <a:cxn ang="0">
                  <a:pos x="799" y="498"/>
                </a:cxn>
                <a:cxn ang="0">
                  <a:pos x="794" y="515"/>
                </a:cxn>
                <a:cxn ang="0">
                  <a:pos x="870" y="576"/>
                </a:cxn>
                <a:cxn ang="0">
                  <a:pos x="889" y="611"/>
                </a:cxn>
                <a:cxn ang="0">
                  <a:pos x="898" y="649"/>
                </a:cxn>
                <a:cxn ang="0">
                  <a:pos x="884" y="686"/>
                </a:cxn>
                <a:cxn ang="0">
                  <a:pos x="853" y="681"/>
                </a:cxn>
                <a:cxn ang="0">
                  <a:pos x="785" y="651"/>
                </a:cxn>
                <a:cxn ang="0">
                  <a:pos x="761" y="651"/>
                </a:cxn>
                <a:cxn ang="0">
                  <a:pos x="844" y="740"/>
                </a:cxn>
                <a:cxn ang="0">
                  <a:pos x="710" y="691"/>
                </a:cxn>
                <a:cxn ang="0">
                  <a:pos x="653" y="646"/>
                </a:cxn>
                <a:cxn ang="0">
                  <a:pos x="616" y="625"/>
                </a:cxn>
                <a:cxn ang="0">
                  <a:pos x="560" y="592"/>
                </a:cxn>
                <a:cxn ang="0">
                  <a:pos x="505" y="588"/>
                </a:cxn>
                <a:cxn ang="0">
                  <a:pos x="419" y="573"/>
                </a:cxn>
                <a:cxn ang="0">
                  <a:pos x="461" y="531"/>
                </a:cxn>
                <a:cxn ang="0">
                  <a:pos x="579" y="527"/>
                </a:cxn>
                <a:cxn ang="0">
                  <a:pos x="595" y="449"/>
                </a:cxn>
                <a:cxn ang="0">
                  <a:pos x="602" y="372"/>
                </a:cxn>
                <a:cxn ang="0">
                  <a:pos x="527" y="327"/>
                </a:cxn>
                <a:cxn ang="0">
                  <a:pos x="485" y="310"/>
                </a:cxn>
                <a:cxn ang="0">
                  <a:pos x="445" y="270"/>
                </a:cxn>
                <a:cxn ang="0">
                  <a:pos x="411" y="235"/>
                </a:cxn>
                <a:cxn ang="0">
                  <a:pos x="386" y="258"/>
                </a:cxn>
                <a:cxn ang="0">
                  <a:pos x="330" y="271"/>
                </a:cxn>
                <a:cxn ang="0">
                  <a:pos x="264" y="258"/>
                </a:cxn>
              </a:cxnLst>
              <a:rect l="0" t="0" r="r" b="b"/>
              <a:pathLst>
                <a:path w="1006" h="740">
                  <a:moveTo>
                    <a:pt x="264" y="258"/>
                  </a:moveTo>
                  <a:lnTo>
                    <a:pt x="264" y="258"/>
                  </a:lnTo>
                  <a:lnTo>
                    <a:pt x="250" y="254"/>
                  </a:lnTo>
                  <a:lnTo>
                    <a:pt x="240" y="252"/>
                  </a:lnTo>
                  <a:lnTo>
                    <a:pt x="233" y="251"/>
                  </a:lnTo>
                  <a:lnTo>
                    <a:pt x="226" y="252"/>
                  </a:lnTo>
                  <a:lnTo>
                    <a:pt x="214" y="252"/>
                  </a:lnTo>
                  <a:lnTo>
                    <a:pt x="203" y="251"/>
                  </a:lnTo>
                  <a:lnTo>
                    <a:pt x="191" y="247"/>
                  </a:lnTo>
                  <a:lnTo>
                    <a:pt x="191" y="247"/>
                  </a:lnTo>
                  <a:lnTo>
                    <a:pt x="182" y="249"/>
                  </a:lnTo>
                  <a:lnTo>
                    <a:pt x="169" y="251"/>
                  </a:lnTo>
                  <a:lnTo>
                    <a:pt x="160" y="251"/>
                  </a:lnTo>
                  <a:lnTo>
                    <a:pt x="151" y="251"/>
                  </a:lnTo>
                  <a:lnTo>
                    <a:pt x="142" y="247"/>
                  </a:lnTo>
                  <a:lnTo>
                    <a:pt x="132" y="242"/>
                  </a:lnTo>
                  <a:lnTo>
                    <a:pt x="132" y="242"/>
                  </a:lnTo>
                  <a:lnTo>
                    <a:pt x="123" y="235"/>
                  </a:lnTo>
                  <a:lnTo>
                    <a:pt x="113" y="233"/>
                  </a:lnTo>
                  <a:lnTo>
                    <a:pt x="104" y="233"/>
                  </a:lnTo>
                  <a:lnTo>
                    <a:pt x="94" y="235"/>
                  </a:lnTo>
                  <a:lnTo>
                    <a:pt x="81" y="235"/>
                  </a:lnTo>
                  <a:lnTo>
                    <a:pt x="71" y="233"/>
                  </a:lnTo>
                  <a:lnTo>
                    <a:pt x="59" y="228"/>
                  </a:lnTo>
                  <a:lnTo>
                    <a:pt x="45" y="218"/>
                  </a:lnTo>
                  <a:lnTo>
                    <a:pt x="45" y="218"/>
                  </a:lnTo>
                  <a:lnTo>
                    <a:pt x="34" y="207"/>
                  </a:lnTo>
                  <a:lnTo>
                    <a:pt x="29" y="198"/>
                  </a:lnTo>
                  <a:lnTo>
                    <a:pt x="27" y="193"/>
                  </a:lnTo>
                  <a:lnTo>
                    <a:pt x="27" y="191"/>
                  </a:lnTo>
                  <a:lnTo>
                    <a:pt x="29" y="190"/>
                  </a:lnTo>
                  <a:lnTo>
                    <a:pt x="34" y="188"/>
                  </a:lnTo>
                  <a:lnTo>
                    <a:pt x="43" y="188"/>
                  </a:lnTo>
                  <a:lnTo>
                    <a:pt x="69" y="190"/>
                  </a:lnTo>
                  <a:lnTo>
                    <a:pt x="69" y="190"/>
                  </a:lnTo>
                  <a:lnTo>
                    <a:pt x="81" y="190"/>
                  </a:lnTo>
                  <a:lnTo>
                    <a:pt x="90" y="190"/>
                  </a:lnTo>
                  <a:lnTo>
                    <a:pt x="92" y="186"/>
                  </a:lnTo>
                  <a:lnTo>
                    <a:pt x="92" y="183"/>
                  </a:lnTo>
                  <a:lnTo>
                    <a:pt x="87" y="179"/>
                  </a:lnTo>
                  <a:lnTo>
                    <a:pt x="78" y="176"/>
                  </a:lnTo>
                  <a:lnTo>
                    <a:pt x="66" y="172"/>
                  </a:lnTo>
                  <a:lnTo>
                    <a:pt x="50" y="170"/>
                  </a:lnTo>
                  <a:lnTo>
                    <a:pt x="50" y="170"/>
                  </a:lnTo>
                  <a:lnTo>
                    <a:pt x="22" y="169"/>
                  </a:lnTo>
                  <a:lnTo>
                    <a:pt x="14" y="167"/>
                  </a:lnTo>
                  <a:lnTo>
                    <a:pt x="7" y="164"/>
                  </a:lnTo>
                  <a:lnTo>
                    <a:pt x="1" y="160"/>
                  </a:lnTo>
                  <a:lnTo>
                    <a:pt x="0" y="155"/>
                  </a:lnTo>
                  <a:lnTo>
                    <a:pt x="0" y="146"/>
                  </a:lnTo>
                  <a:lnTo>
                    <a:pt x="1" y="136"/>
                  </a:lnTo>
                  <a:lnTo>
                    <a:pt x="1" y="136"/>
                  </a:lnTo>
                  <a:lnTo>
                    <a:pt x="5" y="113"/>
                  </a:lnTo>
                  <a:lnTo>
                    <a:pt x="7" y="97"/>
                  </a:lnTo>
                  <a:lnTo>
                    <a:pt x="12" y="83"/>
                  </a:lnTo>
                  <a:lnTo>
                    <a:pt x="15" y="76"/>
                  </a:lnTo>
                  <a:lnTo>
                    <a:pt x="21" y="71"/>
                  </a:lnTo>
                  <a:lnTo>
                    <a:pt x="21" y="71"/>
                  </a:lnTo>
                  <a:lnTo>
                    <a:pt x="26" y="66"/>
                  </a:lnTo>
                  <a:lnTo>
                    <a:pt x="27" y="61"/>
                  </a:lnTo>
                  <a:lnTo>
                    <a:pt x="27" y="52"/>
                  </a:lnTo>
                  <a:lnTo>
                    <a:pt x="31" y="47"/>
                  </a:lnTo>
                  <a:lnTo>
                    <a:pt x="36" y="42"/>
                  </a:lnTo>
                  <a:lnTo>
                    <a:pt x="45" y="33"/>
                  </a:lnTo>
                  <a:lnTo>
                    <a:pt x="61" y="23"/>
                  </a:lnTo>
                  <a:lnTo>
                    <a:pt x="61" y="23"/>
                  </a:lnTo>
                  <a:lnTo>
                    <a:pt x="80" y="14"/>
                  </a:lnTo>
                  <a:lnTo>
                    <a:pt x="101" y="7"/>
                  </a:lnTo>
                  <a:lnTo>
                    <a:pt x="122" y="2"/>
                  </a:lnTo>
                  <a:lnTo>
                    <a:pt x="142" y="0"/>
                  </a:lnTo>
                  <a:lnTo>
                    <a:pt x="160" y="0"/>
                  </a:lnTo>
                  <a:lnTo>
                    <a:pt x="174" y="2"/>
                  </a:lnTo>
                  <a:lnTo>
                    <a:pt x="182" y="3"/>
                  </a:lnTo>
                  <a:lnTo>
                    <a:pt x="184" y="5"/>
                  </a:lnTo>
                  <a:lnTo>
                    <a:pt x="186" y="9"/>
                  </a:lnTo>
                  <a:lnTo>
                    <a:pt x="186" y="9"/>
                  </a:lnTo>
                  <a:lnTo>
                    <a:pt x="184" y="12"/>
                  </a:lnTo>
                  <a:lnTo>
                    <a:pt x="181" y="14"/>
                  </a:lnTo>
                  <a:lnTo>
                    <a:pt x="172" y="19"/>
                  </a:lnTo>
                  <a:lnTo>
                    <a:pt x="165" y="23"/>
                  </a:lnTo>
                  <a:lnTo>
                    <a:pt x="156" y="29"/>
                  </a:lnTo>
                  <a:lnTo>
                    <a:pt x="146" y="38"/>
                  </a:lnTo>
                  <a:lnTo>
                    <a:pt x="134" y="52"/>
                  </a:lnTo>
                  <a:lnTo>
                    <a:pt x="134" y="52"/>
                  </a:lnTo>
                  <a:lnTo>
                    <a:pt x="125" y="64"/>
                  </a:lnTo>
                  <a:lnTo>
                    <a:pt x="122" y="73"/>
                  </a:lnTo>
                  <a:lnTo>
                    <a:pt x="123" y="76"/>
                  </a:lnTo>
                  <a:lnTo>
                    <a:pt x="127" y="80"/>
                  </a:lnTo>
                  <a:lnTo>
                    <a:pt x="130" y="83"/>
                  </a:lnTo>
                  <a:lnTo>
                    <a:pt x="134" y="89"/>
                  </a:lnTo>
                  <a:lnTo>
                    <a:pt x="134" y="96"/>
                  </a:lnTo>
                  <a:lnTo>
                    <a:pt x="130" y="106"/>
                  </a:lnTo>
                  <a:lnTo>
                    <a:pt x="130" y="106"/>
                  </a:lnTo>
                  <a:lnTo>
                    <a:pt x="128" y="111"/>
                  </a:lnTo>
                  <a:lnTo>
                    <a:pt x="128" y="118"/>
                  </a:lnTo>
                  <a:lnTo>
                    <a:pt x="130" y="125"/>
                  </a:lnTo>
                  <a:lnTo>
                    <a:pt x="134" y="130"/>
                  </a:lnTo>
                  <a:lnTo>
                    <a:pt x="137" y="136"/>
                  </a:lnTo>
                  <a:lnTo>
                    <a:pt x="142" y="141"/>
                  </a:lnTo>
                  <a:lnTo>
                    <a:pt x="156" y="151"/>
                  </a:lnTo>
                  <a:lnTo>
                    <a:pt x="170" y="157"/>
                  </a:lnTo>
                  <a:lnTo>
                    <a:pt x="182" y="160"/>
                  </a:lnTo>
                  <a:lnTo>
                    <a:pt x="188" y="160"/>
                  </a:lnTo>
                  <a:lnTo>
                    <a:pt x="191" y="158"/>
                  </a:lnTo>
                  <a:lnTo>
                    <a:pt x="193" y="157"/>
                  </a:lnTo>
                  <a:lnTo>
                    <a:pt x="195" y="153"/>
                  </a:lnTo>
                  <a:lnTo>
                    <a:pt x="195" y="153"/>
                  </a:lnTo>
                  <a:lnTo>
                    <a:pt x="193" y="146"/>
                  </a:lnTo>
                  <a:lnTo>
                    <a:pt x="189" y="143"/>
                  </a:lnTo>
                  <a:lnTo>
                    <a:pt x="186" y="143"/>
                  </a:lnTo>
                  <a:lnTo>
                    <a:pt x="181" y="143"/>
                  </a:lnTo>
                  <a:lnTo>
                    <a:pt x="174" y="143"/>
                  </a:lnTo>
                  <a:lnTo>
                    <a:pt x="167" y="143"/>
                  </a:lnTo>
                  <a:lnTo>
                    <a:pt x="160" y="137"/>
                  </a:lnTo>
                  <a:lnTo>
                    <a:pt x="153" y="129"/>
                  </a:lnTo>
                  <a:lnTo>
                    <a:pt x="153" y="129"/>
                  </a:lnTo>
                  <a:lnTo>
                    <a:pt x="148" y="120"/>
                  </a:lnTo>
                  <a:lnTo>
                    <a:pt x="146" y="118"/>
                  </a:lnTo>
                  <a:lnTo>
                    <a:pt x="148" y="117"/>
                  </a:lnTo>
                  <a:lnTo>
                    <a:pt x="151" y="115"/>
                  </a:lnTo>
                  <a:lnTo>
                    <a:pt x="156" y="115"/>
                  </a:lnTo>
                  <a:lnTo>
                    <a:pt x="162" y="113"/>
                  </a:lnTo>
                  <a:lnTo>
                    <a:pt x="163" y="111"/>
                  </a:lnTo>
                  <a:lnTo>
                    <a:pt x="163" y="110"/>
                  </a:lnTo>
                  <a:lnTo>
                    <a:pt x="165" y="106"/>
                  </a:lnTo>
                  <a:lnTo>
                    <a:pt x="163" y="101"/>
                  </a:lnTo>
                  <a:lnTo>
                    <a:pt x="158" y="87"/>
                  </a:lnTo>
                  <a:lnTo>
                    <a:pt x="158" y="87"/>
                  </a:lnTo>
                  <a:lnTo>
                    <a:pt x="151" y="73"/>
                  </a:lnTo>
                  <a:lnTo>
                    <a:pt x="149" y="64"/>
                  </a:lnTo>
                  <a:lnTo>
                    <a:pt x="149" y="63"/>
                  </a:lnTo>
                  <a:lnTo>
                    <a:pt x="151" y="61"/>
                  </a:lnTo>
                  <a:lnTo>
                    <a:pt x="156" y="61"/>
                  </a:lnTo>
                  <a:lnTo>
                    <a:pt x="162" y="61"/>
                  </a:lnTo>
                  <a:lnTo>
                    <a:pt x="167" y="61"/>
                  </a:lnTo>
                  <a:lnTo>
                    <a:pt x="169" y="59"/>
                  </a:lnTo>
                  <a:lnTo>
                    <a:pt x="170" y="57"/>
                  </a:lnTo>
                  <a:lnTo>
                    <a:pt x="172" y="54"/>
                  </a:lnTo>
                  <a:lnTo>
                    <a:pt x="174" y="49"/>
                  </a:lnTo>
                  <a:lnTo>
                    <a:pt x="174" y="49"/>
                  </a:lnTo>
                  <a:lnTo>
                    <a:pt x="174" y="42"/>
                  </a:lnTo>
                  <a:lnTo>
                    <a:pt x="177" y="36"/>
                  </a:lnTo>
                  <a:lnTo>
                    <a:pt x="182" y="33"/>
                  </a:lnTo>
                  <a:lnTo>
                    <a:pt x="189" y="28"/>
                  </a:lnTo>
                  <a:lnTo>
                    <a:pt x="205" y="21"/>
                  </a:lnTo>
                  <a:lnTo>
                    <a:pt x="226" y="16"/>
                  </a:lnTo>
                  <a:lnTo>
                    <a:pt x="247" y="12"/>
                  </a:lnTo>
                  <a:lnTo>
                    <a:pt x="266" y="9"/>
                  </a:lnTo>
                  <a:lnTo>
                    <a:pt x="283" y="9"/>
                  </a:lnTo>
                  <a:lnTo>
                    <a:pt x="296" y="9"/>
                  </a:lnTo>
                  <a:lnTo>
                    <a:pt x="296" y="9"/>
                  </a:lnTo>
                  <a:lnTo>
                    <a:pt x="303" y="12"/>
                  </a:lnTo>
                  <a:lnTo>
                    <a:pt x="306" y="16"/>
                  </a:lnTo>
                  <a:lnTo>
                    <a:pt x="308" y="21"/>
                  </a:lnTo>
                  <a:lnTo>
                    <a:pt x="308" y="26"/>
                  </a:lnTo>
                  <a:lnTo>
                    <a:pt x="310" y="33"/>
                  </a:lnTo>
                  <a:lnTo>
                    <a:pt x="311" y="38"/>
                  </a:lnTo>
                  <a:lnTo>
                    <a:pt x="313" y="43"/>
                  </a:lnTo>
                  <a:lnTo>
                    <a:pt x="320" y="47"/>
                  </a:lnTo>
                  <a:lnTo>
                    <a:pt x="320" y="47"/>
                  </a:lnTo>
                  <a:lnTo>
                    <a:pt x="327" y="50"/>
                  </a:lnTo>
                  <a:lnTo>
                    <a:pt x="332" y="56"/>
                  </a:lnTo>
                  <a:lnTo>
                    <a:pt x="336" y="63"/>
                  </a:lnTo>
                  <a:lnTo>
                    <a:pt x="337" y="70"/>
                  </a:lnTo>
                  <a:lnTo>
                    <a:pt x="337" y="78"/>
                  </a:lnTo>
                  <a:lnTo>
                    <a:pt x="336" y="87"/>
                  </a:lnTo>
                  <a:lnTo>
                    <a:pt x="332" y="96"/>
                  </a:lnTo>
                  <a:lnTo>
                    <a:pt x="329" y="103"/>
                  </a:lnTo>
                  <a:lnTo>
                    <a:pt x="329" y="103"/>
                  </a:lnTo>
                  <a:lnTo>
                    <a:pt x="323" y="108"/>
                  </a:lnTo>
                  <a:lnTo>
                    <a:pt x="322" y="113"/>
                  </a:lnTo>
                  <a:lnTo>
                    <a:pt x="323" y="115"/>
                  </a:lnTo>
                  <a:lnTo>
                    <a:pt x="327" y="115"/>
                  </a:lnTo>
                  <a:lnTo>
                    <a:pt x="330" y="111"/>
                  </a:lnTo>
                  <a:lnTo>
                    <a:pt x="337" y="108"/>
                  </a:lnTo>
                  <a:lnTo>
                    <a:pt x="344" y="103"/>
                  </a:lnTo>
                  <a:lnTo>
                    <a:pt x="351" y="94"/>
                  </a:lnTo>
                  <a:lnTo>
                    <a:pt x="351" y="94"/>
                  </a:lnTo>
                  <a:lnTo>
                    <a:pt x="355" y="90"/>
                  </a:lnTo>
                  <a:lnTo>
                    <a:pt x="358" y="89"/>
                  </a:lnTo>
                  <a:lnTo>
                    <a:pt x="362" y="89"/>
                  </a:lnTo>
                  <a:lnTo>
                    <a:pt x="365" y="89"/>
                  </a:lnTo>
                  <a:lnTo>
                    <a:pt x="374" y="92"/>
                  </a:lnTo>
                  <a:lnTo>
                    <a:pt x="381" y="97"/>
                  </a:lnTo>
                  <a:lnTo>
                    <a:pt x="386" y="101"/>
                  </a:lnTo>
                  <a:lnTo>
                    <a:pt x="393" y="103"/>
                  </a:lnTo>
                  <a:lnTo>
                    <a:pt x="397" y="101"/>
                  </a:lnTo>
                  <a:lnTo>
                    <a:pt x="400" y="99"/>
                  </a:lnTo>
                  <a:lnTo>
                    <a:pt x="404" y="97"/>
                  </a:lnTo>
                  <a:lnTo>
                    <a:pt x="405" y="92"/>
                  </a:lnTo>
                  <a:lnTo>
                    <a:pt x="405" y="92"/>
                  </a:lnTo>
                  <a:lnTo>
                    <a:pt x="412" y="82"/>
                  </a:lnTo>
                  <a:lnTo>
                    <a:pt x="421" y="75"/>
                  </a:lnTo>
                  <a:lnTo>
                    <a:pt x="431" y="73"/>
                  </a:lnTo>
                  <a:lnTo>
                    <a:pt x="440" y="71"/>
                  </a:lnTo>
                  <a:lnTo>
                    <a:pt x="451" y="73"/>
                  </a:lnTo>
                  <a:lnTo>
                    <a:pt x="459" y="75"/>
                  </a:lnTo>
                  <a:lnTo>
                    <a:pt x="475" y="82"/>
                  </a:lnTo>
                  <a:lnTo>
                    <a:pt x="475" y="82"/>
                  </a:lnTo>
                  <a:lnTo>
                    <a:pt x="480" y="85"/>
                  </a:lnTo>
                  <a:lnTo>
                    <a:pt x="487" y="85"/>
                  </a:lnTo>
                  <a:lnTo>
                    <a:pt x="503" y="85"/>
                  </a:lnTo>
                  <a:lnTo>
                    <a:pt x="510" y="87"/>
                  </a:lnTo>
                  <a:lnTo>
                    <a:pt x="519" y="90"/>
                  </a:lnTo>
                  <a:lnTo>
                    <a:pt x="525" y="96"/>
                  </a:lnTo>
                  <a:lnTo>
                    <a:pt x="531" y="104"/>
                  </a:lnTo>
                  <a:lnTo>
                    <a:pt x="531" y="104"/>
                  </a:lnTo>
                  <a:lnTo>
                    <a:pt x="538" y="111"/>
                  </a:lnTo>
                  <a:lnTo>
                    <a:pt x="541" y="115"/>
                  </a:lnTo>
                  <a:lnTo>
                    <a:pt x="546" y="117"/>
                  </a:lnTo>
                  <a:lnTo>
                    <a:pt x="552" y="117"/>
                  </a:lnTo>
                  <a:lnTo>
                    <a:pt x="555" y="117"/>
                  </a:lnTo>
                  <a:lnTo>
                    <a:pt x="559" y="117"/>
                  </a:lnTo>
                  <a:lnTo>
                    <a:pt x="564" y="120"/>
                  </a:lnTo>
                  <a:lnTo>
                    <a:pt x="567" y="127"/>
                  </a:lnTo>
                  <a:lnTo>
                    <a:pt x="567" y="127"/>
                  </a:lnTo>
                  <a:lnTo>
                    <a:pt x="576" y="146"/>
                  </a:lnTo>
                  <a:lnTo>
                    <a:pt x="579" y="155"/>
                  </a:lnTo>
                  <a:lnTo>
                    <a:pt x="583" y="160"/>
                  </a:lnTo>
                  <a:lnTo>
                    <a:pt x="586" y="165"/>
                  </a:lnTo>
                  <a:lnTo>
                    <a:pt x="592" y="167"/>
                  </a:lnTo>
                  <a:lnTo>
                    <a:pt x="597" y="164"/>
                  </a:lnTo>
                  <a:lnTo>
                    <a:pt x="606" y="158"/>
                  </a:lnTo>
                  <a:lnTo>
                    <a:pt x="606" y="158"/>
                  </a:lnTo>
                  <a:lnTo>
                    <a:pt x="614" y="151"/>
                  </a:lnTo>
                  <a:lnTo>
                    <a:pt x="625" y="148"/>
                  </a:lnTo>
                  <a:lnTo>
                    <a:pt x="633" y="148"/>
                  </a:lnTo>
                  <a:lnTo>
                    <a:pt x="644" y="150"/>
                  </a:lnTo>
                  <a:lnTo>
                    <a:pt x="651" y="155"/>
                  </a:lnTo>
                  <a:lnTo>
                    <a:pt x="658" y="160"/>
                  </a:lnTo>
                  <a:lnTo>
                    <a:pt x="663" y="165"/>
                  </a:lnTo>
                  <a:lnTo>
                    <a:pt x="665" y="172"/>
                  </a:lnTo>
                  <a:lnTo>
                    <a:pt x="665" y="172"/>
                  </a:lnTo>
                  <a:lnTo>
                    <a:pt x="665" y="177"/>
                  </a:lnTo>
                  <a:lnTo>
                    <a:pt x="668" y="179"/>
                  </a:lnTo>
                  <a:lnTo>
                    <a:pt x="675" y="177"/>
                  </a:lnTo>
                  <a:lnTo>
                    <a:pt x="680" y="177"/>
                  </a:lnTo>
                  <a:lnTo>
                    <a:pt x="684" y="179"/>
                  </a:lnTo>
                  <a:lnTo>
                    <a:pt x="686" y="183"/>
                  </a:lnTo>
                  <a:lnTo>
                    <a:pt x="686" y="191"/>
                  </a:lnTo>
                  <a:lnTo>
                    <a:pt x="686" y="191"/>
                  </a:lnTo>
                  <a:lnTo>
                    <a:pt x="684" y="198"/>
                  </a:lnTo>
                  <a:lnTo>
                    <a:pt x="684" y="202"/>
                  </a:lnTo>
                  <a:lnTo>
                    <a:pt x="687" y="202"/>
                  </a:lnTo>
                  <a:lnTo>
                    <a:pt x="691" y="200"/>
                  </a:lnTo>
                  <a:lnTo>
                    <a:pt x="698" y="197"/>
                  </a:lnTo>
                  <a:lnTo>
                    <a:pt x="707" y="195"/>
                  </a:lnTo>
                  <a:lnTo>
                    <a:pt x="719" y="197"/>
                  </a:lnTo>
                  <a:lnTo>
                    <a:pt x="734" y="202"/>
                  </a:lnTo>
                  <a:lnTo>
                    <a:pt x="734" y="202"/>
                  </a:lnTo>
                  <a:lnTo>
                    <a:pt x="759" y="212"/>
                  </a:lnTo>
                  <a:lnTo>
                    <a:pt x="764" y="216"/>
                  </a:lnTo>
                  <a:lnTo>
                    <a:pt x="767" y="219"/>
                  </a:lnTo>
                  <a:lnTo>
                    <a:pt x="766" y="221"/>
                  </a:lnTo>
                  <a:lnTo>
                    <a:pt x="761" y="223"/>
                  </a:lnTo>
                  <a:lnTo>
                    <a:pt x="743" y="230"/>
                  </a:lnTo>
                  <a:lnTo>
                    <a:pt x="743" y="230"/>
                  </a:lnTo>
                  <a:lnTo>
                    <a:pt x="733" y="235"/>
                  </a:lnTo>
                  <a:lnTo>
                    <a:pt x="731" y="237"/>
                  </a:lnTo>
                  <a:lnTo>
                    <a:pt x="733" y="238"/>
                  </a:lnTo>
                  <a:lnTo>
                    <a:pt x="738" y="240"/>
                  </a:lnTo>
                  <a:lnTo>
                    <a:pt x="752" y="240"/>
                  </a:lnTo>
                  <a:lnTo>
                    <a:pt x="761" y="238"/>
                  </a:lnTo>
                  <a:lnTo>
                    <a:pt x="766" y="235"/>
                  </a:lnTo>
                  <a:lnTo>
                    <a:pt x="766" y="235"/>
                  </a:lnTo>
                  <a:lnTo>
                    <a:pt x="771" y="233"/>
                  </a:lnTo>
                  <a:lnTo>
                    <a:pt x="780" y="233"/>
                  </a:lnTo>
                  <a:lnTo>
                    <a:pt x="787" y="237"/>
                  </a:lnTo>
                  <a:lnTo>
                    <a:pt x="795" y="240"/>
                  </a:lnTo>
                  <a:lnTo>
                    <a:pt x="802" y="247"/>
                  </a:lnTo>
                  <a:lnTo>
                    <a:pt x="806" y="252"/>
                  </a:lnTo>
                  <a:lnTo>
                    <a:pt x="806" y="256"/>
                  </a:lnTo>
                  <a:lnTo>
                    <a:pt x="806" y="259"/>
                  </a:lnTo>
                  <a:lnTo>
                    <a:pt x="804" y="261"/>
                  </a:lnTo>
                  <a:lnTo>
                    <a:pt x="802" y="265"/>
                  </a:lnTo>
                  <a:lnTo>
                    <a:pt x="802" y="265"/>
                  </a:lnTo>
                  <a:lnTo>
                    <a:pt x="794" y="268"/>
                  </a:lnTo>
                  <a:lnTo>
                    <a:pt x="783" y="271"/>
                  </a:lnTo>
                  <a:lnTo>
                    <a:pt x="766" y="275"/>
                  </a:lnTo>
                  <a:lnTo>
                    <a:pt x="762" y="275"/>
                  </a:lnTo>
                  <a:lnTo>
                    <a:pt x="762" y="277"/>
                  </a:lnTo>
                  <a:lnTo>
                    <a:pt x="764" y="277"/>
                  </a:lnTo>
                  <a:lnTo>
                    <a:pt x="788" y="282"/>
                  </a:lnTo>
                  <a:lnTo>
                    <a:pt x="788" y="282"/>
                  </a:lnTo>
                  <a:lnTo>
                    <a:pt x="806" y="285"/>
                  </a:lnTo>
                  <a:lnTo>
                    <a:pt x="816" y="289"/>
                  </a:lnTo>
                  <a:lnTo>
                    <a:pt x="821" y="294"/>
                  </a:lnTo>
                  <a:lnTo>
                    <a:pt x="821" y="296"/>
                  </a:lnTo>
                  <a:lnTo>
                    <a:pt x="821" y="298"/>
                  </a:lnTo>
                  <a:lnTo>
                    <a:pt x="816" y="299"/>
                  </a:lnTo>
                  <a:lnTo>
                    <a:pt x="808" y="301"/>
                  </a:lnTo>
                  <a:lnTo>
                    <a:pt x="797" y="303"/>
                  </a:lnTo>
                  <a:lnTo>
                    <a:pt x="785" y="299"/>
                  </a:lnTo>
                  <a:lnTo>
                    <a:pt x="785" y="299"/>
                  </a:lnTo>
                  <a:lnTo>
                    <a:pt x="776" y="299"/>
                  </a:lnTo>
                  <a:lnTo>
                    <a:pt x="773" y="299"/>
                  </a:lnTo>
                  <a:lnTo>
                    <a:pt x="774" y="301"/>
                  </a:lnTo>
                  <a:lnTo>
                    <a:pt x="780" y="306"/>
                  </a:lnTo>
                  <a:lnTo>
                    <a:pt x="783" y="312"/>
                  </a:lnTo>
                  <a:lnTo>
                    <a:pt x="785" y="318"/>
                  </a:lnTo>
                  <a:lnTo>
                    <a:pt x="785" y="322"/>
                  </a:lnTo>
                  <a:lnTo>
                    <a:pt x="783" y="325"/>
                  </a:lnTo>
                  <a:lnTo>
                    <a:pt x="780" y="331"/>
                  </a:lnTo>
                  <a:lnTo>
                    <a:pt x="776" y="334"/>
                  </a:lnTo>
                  <a:lnTo>
                    <a:pt x="776" y="334"/>
                  </a:lnTo>
                  <a:lnTo>
                    <a:pt x="767" y="339"/>
                  </a:lnTo>
                  <a:lnTo>
                    <a:pt x="767" y="341"/>
                  </a:lnTo>
                  <a:lnTo>
                    <a:pt x="769" y="343"/>
                  </a:lnTo>
                  <a:lnTo>
                    <a:pt x="774" y="343"/>
                  </a:lnTo>
                  <a:lnTo>
                    <a:pt x="783" y="343"/>
                  </a:lnTo>
                  <a:lnTo>
                    <a:pt x="795" y="345"/>
                  </a:lnTo>
                  <a:lnTo>
                    <a:pt x="806" y="345"/>
                  </a:lnTo>
                  <a:lnTo>
                    <a:pt x="811" y="346"/>
                  </a:lnTo>
                  <a:lnTo>
                    <a:pt x="815" y="350"/>
                  </a:lnTo>
                  <a:lnTo>
                    <a:pt x="816" y="353"/>
                  </a:lnTo>
                  <a:lnTo>
                    <a:pt x="818" y="357"/>
                  </a:lnTo>
                  <a:lnTo>
                    <a:pt x="818" y="357"/>
                  </a:lnTo>
                  <a:lnTo>
                    <a:pt x="820" y="362"/>
                  </a:lnTo>
                  <a:lnTo>
                    <a:pt x="821" y="365"/>
                  </a:lnTo>
                  <a:lnTo>
                    <a:pt x="827" y="369"/>
                  </a:lnTo>
                  <a:lnTo>
                    <a:pt x="835" y="371"/>
                  </a:lnTo>
                  <a:lnTo>
                    <a:pt x="846" y="371"/>
                  </a:lnTo>
                  <a:lnTo>
                    <a:pt x="856" y="371"/>
                  </a:lnTo>
                  <a:lnTo>
                    <a:pt x="867" y="372"/>
                  </a:lnTo>
                  <a:lnTo>
                    <a:pt x="879" y="374"/>
                  </a:lnTo>
                  <a:lnTo>
                    <a:pt x="889" y="379"/>
                  </a:lnTo>
                  <a:lnTo>
                    <a:pt x="889" y="379"/>
                  </a:lnTo>
                  <a:lnTo>
                    <a:pt x="907" y="392"/>
                  </a:lnTo>
                  <a:lnTo>
                    <a:pt x="919" y="399"/>
                  </a:lnTo>
                  <a:lnTo>
                    <a:pt x="922" y="400"/>
                  </a:lnTo>
                  <a:lnTo>
                    <a:pt x="924" y="406"/>
                  </a:lnTo>
                  <a:lnTo>
                    <a:pt x="924" y="409"/>
                  </a:lnTo>
                  <a:lnTo>
                    <a:pt x="922" y="416"/>
                  </a:lnTo>
                  <a:lnTo>
                    <a:pt x="922" y="416"/>
                  </a:lnTo>
                  <a:lnTo>
                    <a:pt x="921" y="421"/>
                  </a:lnTo>
                  <a:lnTo>
                    <a:pt x="922" y="423"/>
                  </a:lnTo>
                  <a:lnTo>
                    <a:pt x="924" y="423"/>
                  </a:lnTo>
                  <a:lnTo>
                    <a:pt x="936" y="419"/>
                  </a:lnTo>
                  <a:lnTo>
                    <a:pt x="943" y="418"/>
                  </a:lnTo>
                  <a:lnTo>
                    <a:pt x="949" y="418"/>
                  </a:lnTo>
                  <a:lnTo>
                    <a:pt x="950" y="419"/>
                  </a:lnTo>
                  <a:lnTo>
                    <a:pt x="950" y="421"/>
                  </a:lnTo>
                  <a:lnTo>
                    <a:pt x="949" y="430"/>
                  </a:lnTo>
                  <a:lnTo>
                    <a:pt x="949" y="430"/>
                  </a:lnTo>
                  <a:lnTo>
                    <a:pt x="947" y="439"/>
                  </a:lnTo>
                  <a:lnTo>
                    <a:pt x="947" y="440"/>
                  </a:lnTo>
                  <a:lnTo>
                    <a:pt x="949" y="440"/>
                  </a:lnTo>
                  <a:lnTo>
                    <a:pt x="954" y="440"/>
                  </a:lnTo>
                  <a:lnTo>
                    <a:pt x="963" y="437"/>
                  </a:lnTo>
                  <a:lnTo>
                    <a:pt x="971" y="433"/>
                  </a:lnTo>
                  <a:lnTo>
                    <a:pt x="982" y="433"/>
                  </a:lnTo>
                  <a:lnTo>
                    <a:pt x="987" y="433"/>
                  </a:lnTo>
                  <a:lnTo>
                    <a:pt x="992" y="437"/>
                  </a:lnTo>
                  <a:lnTo>
                    <a:pt x="996" y="440"/>
                  </a:lnTo>
                  <a:lnTo>
                    <a:pt x="1001" y="447"/>
                  </a:lnTo>
                  <a:lnTo>
                    <a:pt x="1001" y="447"/>
                  </a:lnTo>
                  <a:lnTo>
                    <a:pt x="1004" y="458"/>
                  </a:lnTo>
                  <a:lnTo>
                    <a:pt x="1006" y="463"/>
                  </a:lnTo>
                  <a:lnTo>
                    <a:pt x="1004" y="466"/>
                  </a:lnTo>
                  <a:lnTo>
                    <a:pt x="1001" y="473"/>
                  </a:lnTo>
                  <a:lnTo>
                    <a:pt x="996" y="477"/>
                  </a:lnTo>
                  <a:lnTo>
                    <a:pt x="983" y="482"/>
                  </a:lnTo>
                  <a:lnTo>
                    <a:pt x="980" y="486"/>
                  </a:lnTo>
                  <a:lnTo>
                    <a:pt x="980" y="487"/>
                  </a:lnTo>
                  <a:lnTo>
                    <a:pt x="982" y="489"/>
                  </a:lnTo>
                  <a:lnTo>
                    <a:pt x="982" y="489"/>
                  </a:lnTo>
                  <a:lnTo>
                    <a:pt x="983" y="494"/>
                  </a:lnTo>
                  <a:lnTo>
                    <a:pt x="982" y="496"/>
                  </a:lnTo>
                  <a:lnTo>
                    <a:pt x="976" y="498"/>
                  </a:lnTo>
                  <a:lnTo>
                    <a:pt x="975" y="500"/>
                  </a:lnTo>
                  <a:lnTo>
                    <a:pt x="973" y="501"/>
                  </a:lnTo>
                  <a:lnTo>
                    <a:pt x="973" y="505"/>
                  </a:lnTo>
                  <a:lnTo>
                    <a:pt x="976" y="512"/>
                  </a:lnTo>
                  <a:lnTo>
                    <a:pt x="976" y="512"/>
                  </a:lnTo>
                  <a:lnTo>
                    <a:pt x="978" y="515"/>
                  </a:lnTo>
                  <a:lnTo>
                    <a:pt x="978" y="517"/>
                  </a:lnTo>
                  <a:lnTo>
                    <a:pt x="976" y="519"/>
                  </a:lnTo>
                  <a:lnTo>
                    <a:pt x="975" y="519"/>
                  </a:lnTo>
                  <a:lnTo>
                    <a:pt x="959" y="519"/>
                  </a:lnTo>
                  <a:lnTo>
                    <a:pt x="950" y="520"/>
                  </a:lnTo>
                  <a:lnTo>
                    <a:pt x="947" y="520"/>
                  </a:lnTo>
                  <a:lnTo>
                    <a:pt x="943" y="524"/>
                  </a:lnTo>
                  <a:lnTo>
                    <a:pt x="940" y="527"/>
                  </a:lnTo>
                  <a:lnTo>
                    <a:pt x="938" y="531"/>
                  </a:lnTo>
                  <a:lnTo>
                    <a:pt x="938" y="538"/>
                  </a:lnTo>
                  <a:lnTo>
                    <a:pt x="940" y="547"/>
                  </a:lnTo>
                  <a:lnTo>
                    <a:pt x="940" y="547"/>
                  </a:lnTo>
                  <a:lnTo>
                    <a:pt x="940" y="554"/>
                  </a:lnTo>
                  <a:lnTo>
                    <a:pt x="938" y="559"/>
                  </a:lnTo>
                  <a:lnTo>
                    <a:pt x="936" y="562"/>
                  </a:lnTo>
                  <a:lnTo>
                    <a:pt x="931" y="564"/>
                  </a:lnTo>
                  <a:lnTo>
                    <a:pt x="926" y="562"/>
                  </a:lnTo>
                  <a:lnTo>
                    <a:pt x="919" y="560"/>
                  </a:lnTo>
                  <a:lnTo>
                    <a:pt x="905" y="554"/>
                  </a:lnTo>
                  <a:lnTo>
                    <a:pt x="889" y="545"/>
                  </a:lnTo>
                  <a:lnTo>
                    <a:pt x="877" y="533"/>
                  </a:lnTo>
                  <a:lnTo>
                    <a:pt x="868" y="522"/>
                  </a:lnTo>
                  <a:lnTo>
                    <a:pt x="865" y="519"/>
                  </a:lnTo>
                  <a:lnTo>
                    <a:pt x="865" y="515"/>
                  </a:lnTo>
                  <a:lnTo>
                    <a:pt x="865" y="515"/>
                  </a:lnTo>
                  <a:lnTo>
                    <a:pt x="865" y="510"/>
                  </a:lnTo>
                  <a:lnTo>
                    <a:pt x="863" y="507"/>
                  </a:lnTo>
                  <a:lnTo>
                    <a:pt x="862" y="505"/>
                  </a:lnTo>
                  <a:lnTo>
                    <a:pt x="858" y="505"/>
                  </a:lnTo>
                  <a:lnTo>
                    <a:pt x="853" y="501"/>
                  </a:lnTo>
                  <a:lnTo>
                    <a:pt x="849" y="498"/>
                  </a:lnTo>
                  <a:lnTo>
                    <a:pt x="848" y="493"/>
                  </a:lnTo>
                  <a:lnTo>
                    <a:pt x="848" y="493"/>
                  </a:lnTo>
                  <a:lnTo>
                    <a:pt x="846" y="489"/>
                  </a:lnTo>
                  <a:lnTo>
                    <a:pt x="844" y="486"/>
                  </a:lnTo>
                  <a:lnTo>
                    <a:pt x="839" y="486"/>
                  </a:lnTo>
                  <a:lnTo>
                    <a:pt x="835" y="486"/>
                  </a:lnTo>
                  <a:lnTo>
                    <a:pt x="830" y="484"/>
                  </a:lnTo>
                  <a:lnTo>
                    <a:pt x="827" y="480"/>
                  </a:lnTo>
                  <a:lnTo>
                    <a:pt x="821" y="473"/>
                  </a:lnTo>
                  <a:lnTo>
                    <a:pt x="821" y="473"/>
                  </a:lnTo>
                  <a:lnTo>
                    <a:pt x="816" y="466"/>
                  </a:lnTo>
                  <a:lnTo>
                    <a:pt x="813" y="465"/>
                  </a:lnTo>
                  <a:lnTo>
                    <a:pt x="811" y="465"/>
                  </a:lnTo>
                  <a:lnTo>
                    <a:pt x="809" y="468"/>
                  </a:lnTo>
                  <a:lnTo>
                    <a:pt x="808" y="472"/>
                  </a:lnTo>
                  <a:lnTo>
                    <a:pt x="804" y="473"/>
                  </a:lnTo>
                  <a:lnTo>
                    <a:pt x="799" y="475"/>
                  </a:lnTo>
                  <a:lnTo>
                    <a:pt x="792" y="475"/>
                  </a:lnTo>
                  <a:lnTo>
                    <a:pt x="792" y="475"/>
                  </a:lnTo>
                  <a:lnTo>
                    <a:pt x="787" y="473"/>
                  </a:lnTo>
                  <a:lnTo>
                    <a:pt x="785" y="473"/>
                  </a:lnTo>
                  <a:lnTo>
                    <a:pt x="785" y="475"/>
                  </a:lnTo>
                  <a:lnTo>
                    <a:pt x="792" y="484"/>
                  </a:lnTo>
                  <a:lnTo>
                    <a:pt x="795" y="489"/>
                  </a:lnTo>
                  <a:lnTo>
                    <a:pt x="799" y="496"/>
                  </a:lnTo>
                  <a:lnTo>
                    <a:pt x="799" y="498"/>
                  </a:lnTo>
                  <a:lnTo>
                    <a:pt x="797" y="500"/>
                  </a:lnTo>
                  <a:lnTo>
                    <a:pt x="795" y="501"/>
                  </a:lnTo>
                  <a:lnTo>
                    <a:pt x="790" y="503"/>
                  </a:lnTo>
                  <a:lnTo>
                    <a:pt x="790" y="503"/>
                  </a:lnTo>
                  <a:lnTo>
                    <a:pt x="783" y="505"/>
                  </a:lnTo>
                  <a:lnTo>
                    <a:pt x="778" y="507"/>
                  </a:lnTo>
                  <a:lnTo>
                    <a:pt x="774" y="510"/>
                  </a:lnTo>
                  <a:lnTo>
                    <a:pt x="774" y="513"/>
                  </a:lnTo>
                  <a:lnTo>
                    <a:pt x="776" y="515"/>
                  </a:lnTo>
                  <a:lnTo>
                    <a:pt x="781" y="517"/>
                  </a:lnTo>
                  <a:lnTo>
                    <a:pt x="787" y="517"/>
                  </a:lnTo>
                  <a:lnTo>
                    <a:pt x="794" y="515"/>
                  </a:lnTo>
                  <a:lnTo>
                    <a:pt x="794" y="515"/>
                  </a:lnTo>
                  <a:lnTo>
                    <a:pt x="801" y="515"/>
                  </a:lnTo>
                  <a:lnTo>
                    <a:pt x="804" y="519"/>
                  </a:lnTo>
                  <a:lnTo>
                    <a:pt x="808" y="524"/>
                  </a:lnTo>
                  <a:lnTo>
                    <a:pt x="811" y="533"/>
                  </a:lnTo>
                  <a:lnTo>
                    <a:pt x="815" y="541"/>
                  </a:lnTo>
                  <a:lnTo>
                    <a:pt x="820" y="550"/>
                  </a:lnTo>
                  <a:lnTo>
                    <a:pt x="828" y="557"/>
                  </a:lnTo>
                  <a:lnTo>
                    <a:pt x="841" y="564"/>
                  </a:lnTo>
                  <a:lnTo>
                    <a:pt x="841" y="564"/>
                  </a:lnTo>
                  <a:lnTo>
                    <a:pt x="863" y="573"/>
                  </a:lnTo>
                  <a:lnTo>
                    <a:pt x="870" y="576"/>
                  </a:lnTo>
                  <a:lnTo>
                    <a:pt x="875" y="580"/>
                  </a:lnTo>
                  <a:lnTo>
                    <a:pt x="879" y="583"/>
                  </a:lnTo>
                  <a:lnTo>
                    <a:pt x="879" y="588"/>
                  </a:lnTo>
                  <a:lnTo>
                    <a:pt x="877" y="592"/>
                  </a:lnTo>
                  <a:lnTo>
                    <a:pt x="872" y="599"/>
                  </a:lnTo>
                  <a:lnTo>
                    <a:pt x="872" y="599"/>
                  </a:lnTo>
                  <a:lnTo>
                    <a:pt x="870" y="604"/>
                  </a:lnTo>
                  <a:lnTo>
                    <a:pt x="872" y="606"/>
                  </a:lnTo>
                  <a:lnTo>
                    <a:pt x="875" y="608"/>
                  </a:lnTo>
                  <a:lnTo>
                    <a:pt x="881" y="609"/>
                  </a:lnTo>
                  <a:lnTo>
                    <a:pt x="886" y="609"/>
                  </a:lnTo>
                  <a:lnTo>
                    <a:pt x="889" y="611"/>
                  </a:lnTo>
                  <a:lnTo>
                    <a:pt x="889" y="614"/>
                  </a:lnTo>
                  <a:lnTo>
                    <a:pt x="886" y="620"/>
                  </a:lnTo>
                  <a:lnTo>
                    <a:pt x="886" y="620"/>
                  </a:lnTo>
                  <a:lnTo>
                    <a:pt x="882" y="625"/>
                  </a:lnTo>
                  <a:lnTo>
                    <a:pt x="882" y="628"/>
                  </a:lnTo>
                  <a:lnTo>
                    <a:pt x="886" y="628"/>
                  </a:lnTo>
                  <a:lnTo>
                    <a:pt x="889" y="628"/>
                  </a:lnTo>
                  <a:lnTo>
                    <a:pt x="893" y="630"/>
                  </a:lnTo>
                  <a:lnTo>
                    <a:pt x="896" y="634"/>
                  </a:lnTo>
                  <a:lnTo>
                    <a:pt x="898" y="639"/>
                  </a:lnTo>
                  <a:lnTo>
                    <a:pt x="898" y="649"/>
                  </a:lnTo>
                  <a:lnTo>
                    <a:pt x="898" y="649"/>
                  </a:lnTo>
                  <a:lnTo>
                    <a:pt x="895" y="658"/>
                  </a:lnTo>
                  <a:lnTo>
                    <a:pt x="893" y="660"/>
                  </a:lnTo>
                  <a:lnTo>
                    <a:pt x="889" y="660"/>
                  </a:lnTo>
                  <a:lnTo>
                    <a:pt x="888" y="656"/>
                  </a:lnTo>
                  <a:lnTo>
                    <a:pt x="886" y="653"/>
                  </a:lnTo>
                  <a:lnTo>
                    <a:pt x="886" y="653"/>
                  </a:lnTo>
                  <a:lnTo>
                    <a:pt x="886" y="667"/>
                  </a:lnTo>
                  <a:lnTo>
                    <a:pt x="886" y="667"/>
                  </a:lnTo>
                  <a:lnTo>
                    <a:pt x="888" y="677"/>
                  </a:lnTo>
                  <a:lnTo>
                    <a:pt x="888" y="684"/>
                  </a:lnTo>
                  <a:lnTo>
                    <a:pt x="886" y="686"/>
                  </a:lnTo>
                  <a:lnTo>
                    <a:pt x="884" y="686"/>
                  </a:lnTo>
                  <a:lnTo>
                    <a:pt x="882" y="684"/>
                  </a:lnTo>
                  <a:lnTo>
                    <a:pt x="881" y="686"/>
                  </a:lnTo>
                  <a:lnTo>
                    <a:pt x="881" y="689"/>
                  </a:lnTo>
                  <a:lnTo>
                    <a:pt x="882" y="698"/>
                  </a:lnTo>
                  <a:lnTo>
                    <a:pt x="882" y="698"/>
                  </a:lnTo>
                  <a:lnTo>
                    <a:pt x="882" y="707"/>
                  </a:lnTo>
                  <a:lnTo>
                    <a:pt x="882" y="708"/>
                  </a:lnTo>
                  <a:lnTo>
                    <a:pt x="879" y="707"/>
                  </a:lnTo>
                  <a:lnTo>
                    <a:pt x="875" y="702"/>
                  </a:lnTo>
                  <a:lnTo>
                    <a:pt x="868" y="693"/>
                  </a:lnTo>
                  <a:lnTo>
                    <a:pt x="862" y="686"/>
                  </a:lnTo>
                  <a:lnTo>
                    <a:pt x="853" y="681"/>
                  </a:lnTo>
                  <a:lnTo>
                    <a:pt x="842" y="677"/>
                  </a:lnTo>
                  <a:lnTo>
                    <a:pt x="842" y="677"/>
                  </a:lnTo>
                  <a:lnTo>
                    <a:pt x="832" y="675"/>
                  </a:lnTo>
                  <a:lnTo>
                    <a:pt x="821" y="670"/>
                  </a:lnTo>
                  <a:lnTo>
                    <a:pt x="813" y="663"/>
                  </a:lnTo>
                  <a:lnTo>
                    <a:pt x="804" y="656"/>
                  </a:lnTo>
                  <a:lnTo>
                    <a:pt x="790" y="646"/>
                  </a:lnTo>
                  <a:lnTo>
                    <a:pt x="787" y="646"/>
                  </a:lnTo>
                  <a:lnTo>
                    <a:pt x="787" y="646"/>
                  </a:lnTo>
                  <a:lnTo>
                    <a:pt x="785" y="648"/>
                  </a:lnTo>
                  <a:lnTo>
                    <a:pt x="785" y="648"/>
                  </a:lnTo>
                  <a:lnTo>
                    <a:pt x="785" y="651"/>
                  </a:lnTo>
                  <a:lnTo>
                    <a:pt x="783" y="651"/>
                  </a:lnTo>
                  <a:lnTo>
                    <a:pt x="780" y="649"/>
                  </a:lnTo>
                  <a:lnTo>
                    <a:pt x="766" y="641"/>
                  </a:lnTo>
                  <a:lnTo>
                    <a:pt x="752" y="630"/>
                  </a:lnTo>
                  <a:lnTo>
                    <a:pt x="747" y="628"/>
                  </a:lnTo>
                  <a:lnTo>
                    <a:pt x="745" y="628"/>
                  </a:lnTo>
                  <a:lnTo>
                    <a:pt x="743" y="630"/>
                  </a:lnTo>
                  <a:lnTo>
                    <a:pt x="743" y="630"/>
                  </a:lnTo>
                  <a:lnTo>
                    <a:pt x="743" y="634"/>
                  </a:lnTo>
                  <a:lnTo>
                    <a:pt x="743" y="635"/>
                  </a:lnTo>
                  <a:lnTo>
                    <a:pt x="750" y="642"/>
                  </a:lnTo>
                  <a:lnTo>
                    <a:pt x="761" y="651"/>
                  </a:lnTo>
                  <a:lnTo>
                    <a:pt x="773" y="660"/>
                  </a:lnTo>
                  <a:lnTo>
                    <a:pt x="801" y="679"/>
                  </a:lnTo>
                  <a:lnTo>
                    <a:pt x="815" y="688"/>
                  </a:lnTo>
                  <a:lnTo>
                    <a:pt x="825" y="698"/>
                  </a:lnTo>
                  <a:lnTo>
                    <a:pt x="825" y="698"/>
                  </a:lnTo>
                  <a:lnTo>
                    <a:pt x="834" y="707"/>
                  </a:lnTo>
                  <a:lnTo>
                    <a:pt x="841" y="715"/>
                  </a:lnTo>
                  <a:lnTo>
                    <a:pt x="846" y="724"/>
                  </a:lnTo>
                  <a:lnTo>
                    <a:pt x="848" y="731"/>
                  </a:lnTo>
                  <a:lnTo>
                    <a:pt x="848" y="736"/>
                  </a:lnTo>
                  <a:lnTo>
                    <a:pt x="846" y="738"/>
                  </a:lnTo>
                  <a:lnTo>
                    <a:pt x="844" y="740"/>
                  </a:lnTo>
                  <a:lnTo>
                    <a:pt x="837" y="740"/>
                  </a:lnTo>
                  <a:lnTo>
                    <a:pt x="827" y="736"/>
                  </a:lnTo>
                  <a:lnTo>
                    <a:pt x="827" y="736"/>
                  </a:lnTo>
                  <a:lnTo>
                    <a:pt x="797" y="728"/>
                  </a:lnTo>
                  <a:lnTo>
                    <a:pt x="769" y="721"/>
                  </a:lnTo>
                  <a:lnTo>
                    <a:pt x="755" y="715"/>
                  </a:lnTo>
                  <a:lnTo>
                    <a:pt x="743" y="712"/>
                  </a:lnTo>
                  <a:lnTo>
                    <a:pt x="733" y="707"/>
                  </a:lnTo>
                  <a:lnTo>
                    <a:pt x="726" y="700"/>
                  </a:lnTo>
                  <a:lnTo>
                    <a:pt x="726" y="700"/>
                  </a:lnTo>
                  <a:lnTo>
                    <a:pt x="719" y="695"/>
                  </a:lnTo>
                  <a:lnTo>
                    <a:pt x="710" y="691"/>
                  </a:lnTo>
                  <a:lnTo>
                    <a:pt x="689" y="684"/>
                  </a:lnTo>
                  <a:lnTo>
                    <a:pt x="668" y="679"/>
                  </a:lnTo>
                  <a:lnTo>
                    <a:pt x="658" y="675"/>
                  </a:lnTo>
                  <a:lnTo>
                    <a:pt x="647" y="668"/>
                  </a:lnTo>
                  <a:lnTo>
                    <a:pt x="647" y="668"/>
                  </a:lnTo>
                  <a:lnTo>
                    <a:pt x="639" y="658"/>
                  </a:lnTo>
                  <a:lnTo>
                    <a:pt x="637" y="655"/>
                  </a:lnTo>
                  <a:lnTo>
                    <a:pt x="637" y="651"/>
                  </a:lnTo>
                  <a:lnTo>
                    <a:pt x="637" y="649"/>
                  </a:lnTo>
                  <a:lnTo>
                    <a:pt x="640" y="649"/>
                  </a:lnTo>
                  <a:lnTo>
                    <a:pt x="646" y="648"/>
                  </a:lnTo>
                  <a:lnTo>
                    <a:pt x="653" y="646"/>
                  </a:lnTo>
                  <a:lnTo>
                    <a:pt x="658" y="646"/>
                  </a:lnTo>
                  <a:lnTo>
                    <a:pt x="658" y="644"/>
                  </a:lnTo>
                  <a:lnTo>
                    <a:pt x="658" y="642"/>
                  </a:lnTo>
                  <a:lnTo>
                    <a:pt x="653" y="637"/>
                  </a:lnTo>
                  <a:lnTo>
                    <a:pt x="653" y="637"/>
                  </a:lnTo>
                  <a:lnTo>
                    <a:pt x="646" y="632"/>
                  </a:lnTo>
                  <a:lnTo>
                    <a:pt x="640" y="630"/>
                  </a:lnTo>
                  <a:lnTo>
                    <a:pt x="637" y="630"/>
                  </a:lnTo>
                  <a:lnTo>
                    <a:pt x="633" y="634"/>
                  </a:lnTo>
                  <a:lnTo>
                    <a:pt x="630" y="634"/>
                  </a:lnTo>
                  <a:lnTo>
                    <a:pt x="625" y="632"/>
                  </a:lnTo>
                  <a:lnTo>
                    <a:pt x="616" y="625"/>
                  </a:lnTo>
                  <a:lnTo>
                    <a:pt x="606" y="613"/>
                  </a:lnTo>
                  <a:lnTo>
                    <a:pt x="606" y="613"/>
                  </a:lnTo>
                  <a:lnTo>
                    <a:pt x="585" y="590"/>
                  </a:lnTo>
                  <a:lnTo>
                    <a:pt x="579" y="585"/>
                  </a:lnTo>
                  <a:lnTo>
                    <a:pt x="576" y="583"/>
                  </a:lnTo>
                  <a:lnTo>
                    <a:pt x="572" y="585"/>
                  </a:lnTo>
                  <a:lnTo>
                    <a:pt x="571" y="587"/>
                  </a:lnTo>
                  <a:lnTo>
                    <a:pt x="566" y="597"/>
                  </a:lnTo>
                  <a:lnTo>
                    <a:pt x="566" y="597"/>
                  </a:lnTo>
                  <a:lnTo>
                    <a:pt x="564" y="599"/>
                  </a:lnTo>
                  <a:lnTo>
                    <a:pt x="562" y="599"/>
                  </a:lnTo>
                  <a:lnTo>
                    <a:pt x="560" y="592"/>
                  </a:lnTo>
                  <a:lnTo>
                    <a:pt x="559" y="588"/>
                  </a:lnTo>
                  <a:lnTo>
                    <a:pt x="557" y="585"/>
                  </a:lnTo>
                  <a:lnTo>
                    <a:pt x="553" y="587"/>
                  </a:lnTo>
                  <a:lnTo>
                    <a:pt x="546" y="592"/>
                  </a:lnTo>
                  <a:lnTo>
                    <a:pt x="546" y="592"/>
                  </a:lnTo>
                  <a:lnTo>
                    <a:pt x="541" y="597"/>
                  </a:lnTo>
                  <a:lnTo>
                    <a:pt x="538" y="597"/>
                  </a:lnTo>
                  <a:lnTo>
                    <a:pt x="532" y="595"/>
                  </a:lnTo>
                  <a:lnTo>
                    <a:pt x="529" y="592"/>
                  </a:lnTo>
                  <a:lnTo>
                    <a:pt x="524" y="588"/>
                  </a:lnTo>
                  <a:lnTo>
                    <a:pt x="515" y="587"/>
                  </a:lnTo>
                  <a:lnTo>
                    <a:pt x="505" y="588"/>
                  </a:lnTo>
                  <a:lnTo>
                    <a:pt x="489" y="594"/>
                  </a:lnTo>
                  <a:lnTo>
                    <a:pt x="489" y="594"/>
                  </a:lnTo>
                  <a:lnTo>
                    <a:pt x="480" y="597"/>
                  </a:lnTo>
                  <a:lnTo>
                    <a:pt x="471" y="599"/>
                  </a:lnTo>
                  <a:lnTo>
                    <a:pt x="463" y="601"/>
                  </a:lnTo>
                  <a:lnTo>
                    <a:pt x="456" y="601"/>
                  </a:lnTo>
                  <a:lnTo>
                    <a:pt x="447" y="599"/>
                  </a:lnTo>
                  <a:lnTo>
                    <a:pt x="440" y="597"/>
                  </a:lnTo>
                  <a:lnTo>
                    <a:pt x="430" y="590"/>
                  </a:lnTo>
                  <a:lnTo>
                    <a:pt x="421" y="581"/>
                  </a:lnTo>
                  <a:lnTo>
                    <a:pt x="419" y="576"/>
                  </a:lnTo>
                  <a:lnTo>
                    <a:pt x="419" y="573"/>
                  </a:lnTo>
                  <a:lnTo>
                    <a:pt x="419" y="567"/>
                  </a:lnTo>
                  <a:lnTo>
                    <a:pt x="421" y="562"/>
                  </a:lnTo>
                  <a:lnTo>
                    <a:pt x="424" y="559"/>
                  </a:lnTo>
                  <a:lnTo>
                    <a:pt x="430" y="555"/>
                  </a:lnTo>
                  <a:lnTo>
                    <a:pt x="430" y="555"/>
                  </a:lnTo>
                  <a:lnTo>
                    <a:pt x="440" y="548"/>
                  </a:lnTo>
                  <a:lnTo>
                    <a:pt x="444" y="541"/>
                  </a:lnTo>
                  <a:lnTo>
                    <a:pt x="444" y="536"/>
                  </a:lnTo>
                  <a:lnTo>
                    <a:pt x="444" y="533"/>
                  </a:lnTo>
                  <a:lnTo>
                    <a:pt x="444" y="529"/>
                  </a:lnTo>
                  <a:lnTo>
                    <a:pt x="449" y="529"/>
                  </a:lnTo>
                  <a:lnTo>
                    <a:pt x="461" y="531"/>
                  </a:lnTo>
                  <a:lnTo>
                    <a:pt x="480" y="534"/>
                  </a:lnTo>
                  <a:lnTo>
                    <a:pt x="480" y="534"/>
                  </a:lnTo>
                  <a:lnTo>
                    <a:pt x="501" y="538"/>
                  </a:lnTo>
                  <a:lnTo>
                    <a:pt x="519" y="538"/>
                  </a:lnTo>
                  <a:lnTo>
                    <a:pt x="531" y="536"/>
                  </a:lnTo>
                  <a:lnTo>
                    <a:pt x="539" y="533"/>
                  </a:lnTo>
                  <a:lnTo>
                    <a:pt x="546" y="529"/>
                  </a:lnTo>
                  <a:lnTo>
                    <a:pt x="553" y="526"/>
                  </a:lnTo>
                  <a:lnTo>
                    <a:pt x="562" y="524"/>
                  </a:lnTo>
                  <a:lnTo>
                    <a:pt x="572" y="526"/>
                  </a:lnTo>
                  <a:lnTo>
                    <a:pt x="572" y="526"/>
                  </a:lnTo>
                  <a:lnTo>
                    <a:pt x="579" y="527"/>
                  </a:lnTo>
                  <a:lnTo>
                    <a:pt x="579" y="527"/>
                  </a:lnTo>
                  <a:lnTo>
                    <a:pt x="579" y="526"/>
                  </a:lnTo>
                  <a:lnTo>
                    <a:pt x="569" y="513"/>
                  </a:lnTo>
                  <a:lnTo>
                    <a:pt x="562" y="505"/>
                  </a:lnTo>
                  <a:lnTo>
                    <a:pt x="559" y="494"/>
                  </a:lnTo>
                  <a:lnTo>
                    <a:pt x="557" y="491"/>
                  </a:lnTo>
                  <a:lnTo>
                    <a:pt x="559" y="486"/>
                  </a:lnTo>
                  <a:lnTo>
                    <a:pt x="560" y="482"/>
                  </a:lnTo>
                  <a:lnTo>
                    <a:pt x="564" y="477"/>
                  </a:lnTo>
                  <a:lnTo>
                    <a:pt x="564" y="477"/>
                  </a:lnTo>
                  <a:lnTo>
                    <a:pt x="581" y="463"/>
                  </a:lnTo>
                  <a:lnTo>
                    <a:pt x="595" y="449"/>
                  </a:lnTo>
                  <a:lnTo>
                    <a:pt x="606" y="439"/>
                  </a:lnTo>
                  <a:lnTo>
                    <a:pt x="618" y="430"/>
                  </a:lnTo>
                  <a:lnTo>
                    <a:pt x="618" y="430"/>
                  </a:lnTo>
                  <a:lnTo>
                    <a:pt x="623" y="426"/>
                  </a:lnTo>
                  <a:lnTo>
                    <a:pt x="625" y="421"/>
                  </a:lnTo>
                  <a:lnTo>
                    <a:pt x="623" y="418"/>
                  </a:lnTo>
                  <a:lnTo>
                    <a:pt x="619" y="413"/>
                  </a:lnTo>
                  <a:lnTo>
                    <a:pt x="613" y="400"/>
                  </a:lnTo>
                  <a:lnTo>
                    <a:pt x="607" y="392"/>
                  </a:lnTo>
                  <a:lnTo>
                    <a:pt x="606" y="381"/>
                  </a:lnTo>
                  <a:lnTo>
                    <a:pt x="606" y="381"/>
                  </a:lnTo>
                  <a:lnTo>
                    <a:pt x="602" y="372"/>
                  </a:lnTo>
                  <a:lnTo>
                    <a:pt x="599" y="365"/>
                  </a:lnTo>
                  <a:lnTo>
                    <a:pt x="593" y="362"/>
                  </a:lnTo>
                  <a:lnTo>
                    <a:pt x="588" y="359"/>
                  </a:lnTo>
                  <a:lnTo>
                    <a:pt x="576" y="355"/>
                  </a:lnTo>
                  <a:lnTo>
                    <a:pt x="572" y="353"/>
                  </a:lnTo>
                  <a:lnTo>
                    <a:pt x="569" y="348"/>
                  </a:lnTo>
                  <a:lnTo>
                    <a:pt x="569" y="348"/>
                  </a:lnTo>
                  <a:lnTo>
                    <a:pt x="564" y="343"/>
                  </a:lnTo>
                  <a:lnTo>
                    <a:pt x="559" y="338"/>
                  </a:lnTo>
                  <a:lnTo>
                    <a:pt x="550" y="334"/>
                  </a:lnTo>
                  <a:lnTo>
                    <a:pt x="538" y="329"/>
                  </a:lnTo>
                  <a:lnTo>
                    <a:pt x="527" y="327"/>
                  </a:lnTo>
                  <a:lnTo>
                    <a:pt x="515" y="325"/>
                  </a:lnTo>
                  <a:lnTo>
                    <a:pt x="501" y="325"/>
                  </a:lnTo>
                  <a:lnTo>
                    <a:pt x="489" y="327"/>
                  </a:lnTo>
                  <a:lnTo>
                    <a:pt x="489" y="327"/>
                  </a:lnTo>
                  <a:lnTo>
                    <a:pt x="480" y="329"/>
                  </a:lnTo>
                  <a:lnTo>
                    <a:pt x="473" y="329"/>
                  </a:lnTo>
                  <a:lnTo>
                    <a:pt x="468" y="325"/>
                  </a:lnTo>
                  <a:lnTo>
                    <a:pt x="468" y="322"/>
                  </a:lnTo>
                  <a:lnTo>
                    <a:pt x="470" y="317"/>
                  </a:lnTo>
                  <a:lnTo>
                    <a:pt x="473" y="313"/>
                  </a:lnTo>
                  <a:lnTo>
                    <a:pt x="478" y="312"/>
                  </a:lnTo>
                  <a:lnTo>
                    <a:pt x="485" y="310"/>
                  </a:lnTo>
                  <a:lnTo>
                    <a:pt x="485" y="310"/>
                  </a:lnTo>
                  <a:lnTo>
                    <a:pt x="494" y="310"/>
                  </a:lnTo>
                  <a:lnTo>
                    <a:pt x="501" y="308"/>
                  </a:lnTo>
                  <a:lnTo>
                    <a:pt x="506" y="306"/>
                  </a:lnTo>
                  <a:lnTo>
                    <a:pt x="508" y="303"/>
                  </a:lnTo>
                  <a:lnTo>
                    <a:pt x="508" y="299"/>
                  </a:lnTo>
                  <a:lnTo>
                    <a:pt x="505" y="294"/>
                  </a:lnTo>
                  <a:lnTo>
                    <a:pt x="496" y="289"/>
                  </a:lnTo>
                  <a:lnTo>
                    <a:pt x="484" y="284"/>
                  </a:lnTo>
                  <a:lnTo>
                    <a:pt x="484" y="284"/>
                  </a:lnTo>
                  <a:lnTo>
                    <a:pt x="459" y="275"/>
                  </a:lnTo>
                  <a:lnTo>
                    <a:pt x="445" y="270"/>
                  </a:lnTo>
                  <a:lnTo>
                    <a:pt x="442" y="266"/>
                  </a:lnTo>
                  <a:lnTo>
                    <a:pt x="438" y="263"/>
                  </a:lnTo>
                  <a:lnTo>
                    <a:pt x="437" y="256"/>
                  </a:lnTo>
                  <a:lnTo>
                    <a:pt x="437" y="249"/>
                  </a:lnTo>
                  <a:lnTo>
                    <a:pt x="437" y="249"/>
                  </a:lnTo>
                  <a:lnTo>
                    <a:pt x="435" y="240"/>
                  </a:lnTo>
                  <a:lnTo>
                    <a:pt x="433" y="237"/>
                  </a:lnTo>
                  <a:lnTo>
                    <a:pt x="430" y="237"/>
                  </a:lnTo>
                  <a:lnTo>
                    <a:pt x="426" y="237"/>
                  </a:lnTo>
                  <a:lnTo>
                    <a:pt x="423" y="237"/>
                  </a:lnTo>
                  <a:lnTo>
                    <a:pt x="416" y="237"/>
                  </a:lnTo>
                  <a:lnTo>
                    <a:pt x="411" y="235"/>
                  </a:lnTo>
                  <a:lnTo>
                    <a:pt x="404" y="230"/>
                  </a:lnTo>
                  <a:lnTo>
                    <a:pt x="404" y="230"/>
                  </a:lnTo>
                  <a:lnTo>
                    <a:pt x="398" y="224"/>
                  </a:lnTo>
                  <a:lnTo>
                    <a:pt x="397" y="224"/>
                  </a:lnTo>
                  <a:lnTo>
                    <a:pt x="397" y="226"/>
                  </a:lnTo>
                  <a:lnTo>
                    <a:pt x="400" y="238"/>
                  </a:lnTo>
                  <a:lnTo>
                    <a:pt x="402" y="245"/>
                  </a:lnTo>
                  <a:lnTo>
                    <a:pt x="400" y="252"/>
                  </a:lnTo>
                  <a:lnTo>
                    <a:pt x="398" y="256"/>
                  </a:lnTo>
                  <a:lnTo>
                    <a:pt x="397" y="258"/>
                  </a:lnTo>
                  <a:lnTo>
                    <a:pt x="391" y="258"/>
                  </a:lnTo>
                  <a:lnTo>
                    <a:pt x="386" y="258"/>
                  </a:lnTo>
                  <a:lnTo>
                    <a:pt x="386" y="258"/>
                  </a:lnTo>
                  <a:lnTo>
                    <a:pt x="357" y="252"/>
                  </a:lnTo>
                  <a:lnTo>
                    <a:pt x="330" y="245"/>
                  </a:lnTo>
                  <a:lnTo>
                    <a:pt x="320" y="244"/>
                  </a:lnTo>
                  <a:lnTo>
                    <a:pt x="313" y="245"/>
                  </a:lnTo>
                  <a:lnTo>
                    <a:pt x="311" y="245"/>
                  </a:lnTo>
                  <a:lnTo>
                    <a:pt x="311" y="247"/>
                  </a:lnTo>
                  <a:lnTo>
                    <a:pt x="317" y="252"/>
                  </a:lnTo>
                  <a:lnTo>
                    <a:pt x="317" y="252"/>
                  </a:lnTo>
                  <a:lnTo>
                    <a:pt x="327" y="265"/>
                  </a:lnTo>
                  <a:lnTo>
                    <a:pt x="330" y="270"/>
                  </a:lnTo>
                  <a:lnTo>
                    <a:pt x="330" y="271"/>
                  </a:lnTo>
                  <a:lnTo>
                    <a:pt x="329" y="271"/>
                  </a:lnTo>
                  <a:lnTo>
                    <a:pt x="325" y="270"/>
                  </a:lnTo>
                  <a:lnTo>
                    <a:pt x="310" y="259"/>
                  </a:lnTo>
                  <a:lnTo>
                    <a:pt x="310" y="259"/>
                  </a:lnTo>
                  <a:lnTo>
                    <a:pt x="301" y="252"/>
                  </a:lnTo>
                  <a:lnTo>
                    <a:pt x="296" y="251"/>
                  </a:lnTo>
                  <a:lnTo>
                    <a:pt x="292" y="252"/>
                  </a:lnTo>
                  <a:lnTo>
                    <a:pt x="289" y="254"/>
                  </a:lnTo>
                  <a:lnTo>
                    <a:pt x="285" y="258"/>
                  </a:lnTo>
                  <a:lnTo>
                    <a:pt x="282" y="259"/>
                  </a:lnTo>
                  <a:lnTo>
                    <a:pt x="275" y="259"/>
                  </a:lnTo>
                  <a:lnTo>
                    <a:pt x="264" y="258"/>
                  </a:lnTo>
                  <a:lnTo>
                    <a:pt x="264" y="2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 name="Freeform 1711">
              <a:extLst>
                <a:ext uri="{FF2B5EF4-FFF2-40B4-BE49-F238E27FC236}">
                  <a16:creationId xmlns:a16="http://schemas.microsoft.com/office/drawing/2014/main" id="{F7EBCF80-0A78-4515-812A-80C604242AAF}"/>
                </a:ext>
              </a:extLst>
            </p:cNvPr>
            <p:cNvSpPr>
              <a:spLocks/>
            </p:cNvSpPr>
            <p:nvPr/>
          </p:nvSpPr>
          <p:spPr bwMode="auto">
            <a:xfrm>
              <a:off x="3008832" y="1840582"/>
              <a:ext cx="66957" cy="52860"/>
            </a:xfrm>
            <a:custGeom>
              <a:avLst/>
              <a:gdLst/>
              <a:ahLst/>
              <a:cxnLst>
                <a:cxn ang="0">
                  <a:pos x="9" y="23"/>
                </a:cxn>
                <a:cxn ang="0">
                  <a:pos x="9" y="23"/>
                </a:cxn>
                <a:cxn ang="0">
                  <a:pos x="12" y="16"/>
                </a:cxn>
                <a:cxn ang="0">
                  <a:pos x="17" y="12"/>
                </a:cxn>
                <a:cxn ang="0">
                  <a:pos x="28" y="6"/>
                </a:cxn>
                <a:cxn ang="0">
                  <a:pos x="40" y="0"/>
                </a:cxn>
                <a:cxn ang="0">
                  <a:pos x="52" y="0"/>
                </a:cxn>
                <a:cxn ang="0">
                  <a:pos x="64" y="2"/>
                </a:cxn>
                <a:cxn ang="0">
                  <a:pos x="73" y="6"/>
                </a:cxn>
                <a:cxn ang="0">
                  <a:pos x="76" y="7"/>
                </a:cxn>
                <a:cxn ang="0">
                  <a:pos x="78" y="11"/>
                </a:cxn>
                <a:cxn ang="0">
                  <a:pos x="80" y="14"/>
                </a:cxn>
                <a:cxn ang="0">
                  <a:pos x="80" y="19"/>
                </a:cxn>
                <a:cxn ang="0">
                  <a:pos x="80" y="19"/>
                </a:cxn>
                <a:cxn ang="0">
                  <a:pos x="78" y="26"/>
                </a:cxn>
                <a:cxn ang="0">
                  <a:pos x="80" y="35"/>
                </a:cxn>
                <a:cxn ang="0">
                  <a:pos x="82" y="44"/>
                </a:cxn>
                <a:cxn ang="0">
                  <a:pos x="82" y="51"/>
                </a:cxn>
                <a:cxn ang="0">
                  <a:pos x="80" y="56"/>
                </a:cxn>
                <a:cxn ang="0">
                  <a:pos x="73" y="61"/>
                </a:cxn>
                <a:cxn ang="0">
                  <a:pos x="63" y="65"/>
                </a:cxn>
                <a:cxn ang="0">
                  <a:pos x="47" y="66"/>
                </a:cxn>
                <a:cxn ang="0">
                  <a:pos x="47" y="66"/>
                </a:cxn>
                <a:cxn ang="0">
                  <a:pos x="29" y="66"/>
                </a:cxn>
                <a:cxn ang="0">
                  <a:pos x="16" y="65"/>
                </a:cxn>
                <a:cxn ang="0">
                  <a:pos x="7" y="60"/>
                </a:cxn>
                <a:cxn ang="0">
                  <a:pos x="2" y="54"/>
                </a:cxn>
                <a:cxn ang="0">
                  <a:pos x="0" y="47"/>
                </a:cxn>
                <a:cxn ang="0">
                  <a:pos x="0" y="40"/>
                </a:cxn>
                <a:cxn ang="0">
                  <a:pos x="3" y="32"/>
                </a:cxn>
                <a:cxn ang="0">
                  <a:pos x="9" y="23"/>
                </a:cxn>
                <a:cxn ang="0">
                  <a:pos x="9" y="23"/>
                </a:cxn>
              </a:cxnLst>
              <a:rect l="0" t="0" r="r" b="b"/>
              <a:pathLst>
                <a:path w="82" h="66">
                  <a:moveTo>
                    <a:pt x="9" y="23"/>
                  </a:moveTo>
                  <a:lnTo>
                    <a:pt x="9" y="23"/>
                  </a:lnTo>
                  <a:lnTo>
                    <a:pt x="12" y="16"/>
                  </a:lnTo>
                  <a:lnTo>
                    <a:pt x="17" y="12"/>
                  </a:lnTo>
                  <a:lnTo>
                    <a:pt x="28" y="6"/>
                  </a:lnTo>
                  <a:lnTo>
                    <a:pt x="40" y="0"/>
                  </a:lnTo>
                  <a:lnTo>
                    <a:pt x="52" y="0"/>
                  </a:lnTo>
                  <a:lnTo>
                    <a:pt x="64" y="2"/>
                  </a:lnTo>
                  <a:lnTo>
                    <a:pt x="73" y="6"/>
                  </a:lnTo>
                  <a:lnTo>
                    <a:pt x="76" y="7"/>
                  </a:lnTo>
                  <a:lnTo>
                    <a:pt x="78" y="11"/>
                  </a:lnTo>
                  <a:lnTo>
                    <a:pt x="80" y="14"/>
                  </a:lnTo>
                  <a:lnTo>
                    <a:pt x="80" y="19"/>
                  </a:lnTo>
                  <a:lnTo>
                    <a:pt x="80" y="19"/>
                  </a:lnTo>
                  <a:lnTo>
                    <a:pt x="78" y="26"/>
                  </a:lnTo>
                  <a:lnTo>
                    <a:pt x="80" y="35"/>
                  </a:lnTo>
                  <a:lnTo>
                    <a:pt x="82" y="44"/>
                  </a:lnTo>
                  <a:lnTo>
                    <a:pt x="82" y="51"/>
                  </a:lnTo>
                  <a:lnTo>
                    <a:pt x="80" y="56"/>
                  </a:lnTo>
                  <a:lnTo>
                    <a:pt x="73" y="61"/>
                  </a:lnTo>
                  <a:lnTo>
                    <a:pt x="63" y="65"/>
                  </a:lnTo>
                  <a:lnTo>
                    <a:pt x="47" y="66"/>
                  </a:lnTo>
                  <a:lnTo>
                    <a:pt x="47" y="66"/>
                  </a:lnTo>
                  <a:lnTo>
                    <a:pt x="29" y="66"/>
                  </a:lnTo>
                  <a:lnTo>
                    <a:pt x="16" y="65"/>
                  </a:lnTo>
                  <a:lnTo>
                    <a:pt x="7" y="60"/>
                  </a:lnTo>
                  <a:lnTo>
                    <a:pt x="2" y="54"/>
                  </a:lnTo>
                  <a:lnTo>
                    <a:pt x="0" y="47"/>
                  </a:lnTo>
                  <a:lnTo>
                    <a:pt x="0" y="40"/>
                  </a:lnTo>
                  <a:lnTo>
                    <a:pt x="3" y="32"/>
                  </a:lnTo>
                  <a:lnTo>
                    <a:pt x="9" y="23"/>
                  </a:lnTo>
                  <a:lnTo>
                    <a:pt x="9"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 name="Freeform 1712">
              <a:extLst>
                <a:ext uri="{FF2B5EF4-FFF2-40B4-BE49-F238E27FC236}">
                  <a16:creationId xmlns:a16="http://schemas.microsoft.com/office/drawing/2014/main" id="{52B4E264-7C1D-46BC-9C08-CC83402B57CD}"/>
                </a:ext>
              </a:extLst>
            </p:cNvPr>
            <p:cNvSpPr>
              <a:spLocks/>
            </p:cNvSpPr>
            <p:nvPr/>
          </p:nvSpPr>
          <p:spPr bwMode="auto">
            <a:xfrm>
              <a:off x="2730437" y="1960398"/>
              <a:ext cx="193821" cy="132152"/>
            </a:xfrm>
            <a:custGeom>
              <a:avLst/>
              <a:gdLst/>
              <a:ahLst/>
              <a:cxnLst>
                <a:cxn ang="0">
                  <a:pos x="1" y="138"/>
                </a:cxn>
                <a:cxn ang="0">
                  <a:pos x="0" y="129"/>
                </a:cxn>
                <a:cxn ang="0">
                  <a:pos x="1" y="124"/>
                </a:cxn>
                <a:cxn ang="0">
                  <a:pos x="14" y="117"/>
                </a:cxn>
                <a:cxn ang="0">
                  <a:pos x="27" y="108"/>
                </a:cxn>
                <a:cxn ang="0">
                  <a:pos x="31" y="101"/>
                </a:cxn>
                <a:cxn ang="0">
                  <a:pos x="31" y="91"/>
                </a:cxn>
                <a:cxn ang="0">
                  <a:pos x="29" y="78"/>
                </a:cxn>
                <a:cxn ang="0">
                  <a:pos x="29" y="51"/>
                </a:cxn>
                <a:cxn ang="0">
                  <a:pos x="34" y="23"/>
                </a:cxn>
                <a:cxn ang="0">
                  <a:pos x="45" y="4"/>
                </a:cxn>
                <a:cxn ang="0">
                  <a:pos x="52" y="0"/>
                </a:cxn>
                <a:cxn ang="0">
                  <a:pos x="55" y="0"/>
                </a:cxn>
                <a:cxn ang="0">
                  <a:pos x="64" y="5"/>
                </a:cxn>
                <a:cxn ang="0">
                  <a:pos x="73" y="21"/>
                </a:cxn>
                <a:cxn ang="0">
                  <a:pos x="81" y="33"/>
                </a:cxn>
                <a:cxn ang="0">
                  <a:pos x="87" y="35"/>
                </a:cxn>
                <a:cxn ang="0">
                  <a:pos x="92" y="31"/>
                </a:cxn>
                <a:cxn ang="0">
                  <a:pos x="94" y="30"/>
                </a:cxn>
                <a:cxn ang="0">
                  <a:pos x="104" y="28"/>
                </a:cxn>
                <a:cxn ang="0">
                  <a:pos x="121" y="38"/>
                </a:cxn>
                <a:cxn ang="0">
                  <a:pos x="153" y="61"/>
                </a:cxn>
                <a:cxn ang="0">
                  <a:pos x="165" y="66"/>
                </a:cxn>
                <a:cxn ang="0">
                  <a:pos x="182" y="77"/>
                </a:cxn>
                <a:cxn ang="0">
                  <a:pos x="189" y="89"/>
                </a:cxn>
                <a:cxn ang="0">
                  <a:pos x="198" y="105"/>
                </a:cxn>
                <a:cxn ang="0">
                  <a:pos x="203" y="108"/>
                </a:cxn>
                <a:cxn ang="0">
                  <a:pos x="216" y="108"/>
                </a:cxn>
                <a:cxn ang="0">
                  <a:pos x="222" y="105"/>
                </a:cxn>
                <a:cxn ang="0">
                  <a:pos x="235" y="115"/>
                </a:cxn>
                <a:cxn ang="0">
                  <a:pos x="240" y="122"/>
                </a:cxn>
                <a:cxn ang="0">
                  <a:pos x="240" y="132"/>
                </a:cxn>
                <a:cxn ang="0">
                  <a:pos x="228" y="139"/>
                </a:cxn>
                <a:cxn ang="0">
                  <a:pos x="210" y="141"/>
                </a:cxn>
                <a:cxn ang="0">
                  <a:pos x="202" y="138"/>
                </a:cxn>
                <a:cxn ang="0">
                  <a:pos x="174" y="134"/>
                </a:cxn>
                <a:cxn ang="0">
                  <a:pos x="169" y="132"/>
                </a:cxn>
                <a:cxn ang="0">
                  <a:pos x="165" y="124"/>
                </a:cxn>
                <a:cxn ang="0">
                  <a:pos x="163" y="118"/>
                </a:cxn>
                <a:cxn ang="0">
                  <a:pos x="153" y="110"/>
                </a:cxn>
                <a:cxn ang="0">
                  <a:pos x="139" y="108"/>
                </a:cxn>
                <a:cxn ang="0">
                  <a:pos x="128" y="115"/>
                </a:cxn>
                <a:cxn ang="0">
                  <a:pos x="125" y="124"/>
                </a:cxn>
                <a:cxn ang="0">
                  <a:pos x="118" y="134"/>
                </a:cxn>
                <a:cxn ang="0">
                  <a:pos x="111" y="138"/>
                </a:cxn>
                <a:cxn ang="0">
                  <a:pos x="102" y="141"/>
                </a:cxn>
                <a:cxn ang="0">
                  <a:pos x="94" y="152"/>
                </a:cxn>
                <a:cxn ang="0">
                  <a:pos x="88" y="160"/>
                </a:cxn>
                <a:cxn ang="0">
                  <a:pos x="74" y="165"/>
                </a:cxn>
                <a:cxn ang="0">
                  <a:pos x="62" y="162"/>
                </a:cxn>
                <a:cxn ang="0">
                  <a:pos x="57" y="152"/>
                </a:cxn>
                <a:cxn ang="0">
                  <a:pos x="57" y="145"/>
                </a:cxn>
                <a:cxn ang="0">
                  <a:pos x="55" y="138"/>
                </a:cxn>
                <a:cxn ang="0">
                  <a:pos x="50" y="134"/>
                </a:cxn>
                <a:cxn ang="0">
                  <a:pos x="33" y="136"/>
                </a:cxn>
                <a:cxn ang="0">
                  <a:pos x="5" y="139"/>
                </a:cxn>
                <a:cxn ang="0">
                  <a:pos x="1" y="138"/>
                </a:cxn>
              </a:cxnLst>
              <a:rect l="0" t="0" r="r" b="b"/>
              <a:pathLst>
                <a:path w="242" h="165">
                  <a:moveTo>
                    <a:pt x="1" y="138"/>
                  </a:moveTo>
                  <a:lnTo>
                    <a:pt x="1" y="138"/>
                  </a:lnTo>
                  <a:lnTo>
                    <a:pt x="0" y="132"/>
                  </a:lnTo>
                  <a:lnTo>
                    <a:pt x="0" y="129"/>
                  </a:lnTo>
                  <a:lnTo>
                    <a:pt x="0" y="127"/>
                  </a:lnTo>
                  <a:lnTo>
                    <a:pt x="1" y="124"/>
                  </a:lnTo>
                  <a:lnTo>
                    <a:pt x="7" y="120"/>
                  </a:lnTo>
                  <a:lnTo>
                    <a:pt x="14" y="117"/>
                  </a:lnTo>
                  <a:lnTo>
                    <a:pt x="22" y="113"/>
                  </a:lnTo>
                  <a:lnTo>
                    <a:pt x="27" y="108"/>
                  </a:lnTo>
                  <a:lnTo>
                    <a:pt x="29" y="105"/>
                  </a:lnTo>
                  <a:lnTo>
                    <a:pt x="31" y="101"/>
                  </a:lnTo>
                  <a:lnTo>
                    <a:pt x="31" y="98"/>
                  </a:lnTo>
                  <a:lnTo>
                    <a:pt x="31" y="91"/>
                  </a:lnTo>
                  <a:lnTo>
                    <a:pt x="31" y="91"/>
                  </a:lnTo>
                  <a:lnTo>
                    <a:pt x="29" y="78"/>
                  </a:lnTo>
                  <a:lnTo>
                    <a:pt x="27" y="64"/>
                  </a:lnTo>
                  <a:lnTo>
                    <a:pt x="29" y="51"/>
                  </a:lnTo>
                  <a:lnTo>
                    <a:pt x="31" y="35"/>
                  </a:lnTo>
                  <a:lnTo>
                    <a:pt x="34" y="23"/>
                  </a:lnTo>
                  <a:lnTo>
                    <a:pt x="40" y="12"/>
                  </a:lnTo>
                  <a:lnTo>
                    <a:pt x="45" y="4"/>
                  </a:lnTo>
                  <a:lnTo>
                    <a:pt x="48" y="2"/>
                  </a:lnTo>
                  <a:lnTo>
                    <a:pt x="52" y="0"/>
                  </a:lnTo>
                  <a:lnTo>
                    <a:pt x="52" y="0"/>
                  </a:lnTo>
                  <a:lnTo>
                    <a:pt x="55" y="0"/>
                  </a:lnTo>
                  <a:lnTo>
                    <a:pt x="59" y="2"/>
                  </a:lnTo>
                  <a:lnTo>
                    <a:pt x="64" y="5"/>
                  </a:lnTo>
                  <a:lnTo>
                    <a:pt x="69" y="12"/>
                  </a:lnTo>
                  <a:lnTo>
                    <a:pt x="73" y="21"/>
                  </a:lnTo>
                  <a:lnTo>
                    <a:pt x="78" y="28"/>
                  </a:lnTo>
                  <a:lnTo>
                    <a:pt x="81" y="33"/>
                  </a:lnTo>
                  <a:lnTo>
                    <a:pt x="83" y="33"/>
                  </a:lnTo>
                  <a:lnTo>
                    <a:pt x="87" y="35"/>
                  </a:lnTo>
                  <a:lnTo>
                    <a:pt x="88" y="33"/>
                  </a:lnTo>
                  <a:lnTo>
                    <a:pt x="92" y="31"/>
                  </a:lnTo>
                  <a:lnTo>
                    <a:pt x="92" y="31"/>
                  </a:lnTo>
                  <a:lnTo>
                    <a:pt x="94" y="30"/>
                  </a:lnTo>
                  <a:lnTo>
                    <a:pt x="97" y="28"/>
                  </a:lnTo>
                  <a:lnTo>
                    <a:pt x="104" y="28"/>
                  </a:lnTo>
                  <a:lnTo>
                    <a:pt x="113" y="33"/>
                  </a:lnTo>
                  <a:lnTo>
                    <a:pt x="121" y="38"/>
                  </a:lnTo>
                  <a:lnTo>
                    <a:pt x="141" y="54"/>
                  </a:lnTo>
                  <a:lnTo>
                    <a:pt x="153" y="61"/>
                  </a:lnTo>
                  <a:lnTo>
                    <a:pt x="165" y="66"/>
                  </a:lnTo>
                  <a:lnTo>
                    <a:pt x="165" y="66"/>
                  </a:lnTo>
                  <a:lnTo>
                    <a:pt x="175" y="71"/>
                  </a:lnTo>
                  <a:lnTo>
                    <a:pt x="182" y="77"/>
                  </a:lnTo>
                  <a:lnTo>
                    <a:pt x="188" y="82"/>
                  </a:lnTo>
                  <a:lnTo>
                    <a:pt x="189" y="89"/>
                  </a:lnTo>
                  <a:lnTo>
                    <a:pt x="193" y="99"/>
                  </a:lnTo>
                  <a:lnTo>
                    <a:pt x="198" y="105"/>
                  </a:lnTo>
                  <a:lnTo>
                    <a:pt x="203" y="108"/>
                  </a:lnTo>
                  <a:lnTo>
                    <a:pt x="203" y="108"/>
                  </a:lnTo>
                  <a:lnTo>
                    <a:pt x="210" y="110"/>
                  </a:lnTo>
                  <a:lnTo>
                    <a:pt x="216" y="108"/>
                  </a:lnTo>
                  <a:lnTo>
                    <a:pt x="221" y="106"/>
                  </a:lnTo>
                  <a:lnTo>
                    <a:pt x="222" y="105"/>
                  </a:lnTo>
                  <a:lnTo>
                    <a:pt x="226" y="106"/>
                  </a:lnTo>
                  <a:lnTo>
                    <a:pt x="235" y="115"/>
                  </a:lnTo>
                  <a:lnTo>
                    <a:pt x="235" y="115"/>
                  </a:lnTo>
                  <a:lnTo>
                    <a:pt x="240" y="122"/>
                  </a:lnTo>
                  <a:lnTo>
                    <a:pt x="242" y="129"/>
                  </a:lnTo>
                  <a:lnTo>
                    <a:pt x="240" y="132"/>
                  </a:lnTo>
                  <a:lnTo>
                    <a:pt x="235" y="138"/>
                  </a:lnTo>
                  <a:lnTo>
                    <a:pt x="228" y="139"/>
                  </a:lnTo>
                  <a:lnTo>
                    <a:pt x="219" y="141"/>
                  </a:lnTo>
                  <a:lnTo>
                    <a:pt x="210" y="141"/>
                  </a:lnTo>
                  <a:lnTo>
                    <a:pt x="202" y="138"/>
                  </a:lnTo>
                  <a:lnTo>
                    <a:pt x="202" y="138"/>
                  </a:lnTo>
                  <a:lnTo>
                    <a:pt x="184" y="136"/>
                  </a:lnTo>
                  <a:lnTo>
                    <a:pt x="174" y="134"/>
                  </a:lnTo>
                  <a:lnTo>
                    <a:pt x="170" y="134"/>
                  </a:lnTo>
                  <a:lnTo>
                    <a:pt x="169" y="132"/>
                  </a:lnTo>
                  <a:lnTo>
                    <a:pt x="167" y="129"/>
                  </a:lnTo>
                  <a:lnTo>
                    <a:pt x="165" y="124"/>
                  </a:lnTo>
                  <a:lnTo>
                    <a:pt x="165" y="124"/>
                  </a:lnTo>
                  <a:lnTo>
                    <a:pt x="163" y="118"/>
                  </a:lnTo>
                  <a:lnTo>
                    <a:pt x="158" y="113"/>
                  </a:lnTo>
                  <a:lnTo>
                    <a:pt x="153" y="110"/>
                  </a:lnTo>
                  <a:lnTo>
                    <a:pt x="146" y="108"/>
                  </a:lnTo>
                  <a:lnTo>
                    <a:pt x="139" y="108"/>
                  </a:lnTo>
                  <a:lnTo>
                    <a:pt x="134" y="110"/>
                  </a:lnTo>
                  <a:lnTo>
                    <a:pt x="128" y="115"/>
                  </a:lnTo>
                  <a:lnTo>
                    <a:pt x="125" y="124"/>
                  </a:lnTo>
                  <a:lnTo>
                    <a:pt x="125" y="124"/>
                  </a:lnTo>
                  <a:lnTo>
                    <a:pt x="121" y="131"/>
                  </a:lnTo>
                  <a:lnTo>
                    <a:pt x="118" y="134"/>
                  </a:lnTo>
                  <a:lnTo>
                    <a:pt x="115" y="138"/>
                  </a:lnTo>
                  <a:lnTo>
                    <a:pt x="111" y="138"/>
                  </a:lnTo>
                  <a:lnTo>
                    <a:pt x="106" y="139"/>
                  </a:lnTo>
                  <a:lnTo>
                    <a:pt x="102" y="141"/>
                  </a:lnTo>
                  <a:lnTo>
                    <a:pt x="97" y="145"/>
                  </a:lnTo>
                  <a:lnTo>
                    <a:pt x="94" y="152"/>
                  </a:lnTo>
                  <a:lnTo>
                    <a:pt x="94" y="152"/>
                  </a:lnTo>
                  <a:lnTo>
                    <a:pt x="88" y="160"/>
                  </a:lnTo>
                  <a:lnTo>
                    <a:pt x="81" y="164"/>
                  </a:lnTo>
                  <a:lnTo>
                    <a:pt x="74" y="165"/>
                  </a:lnTo>
                  <a:lnTo>
                    <a:pt x="69" y="165"/>
                  </a:lnTo>
                  <a:lnTo>
                    <a:pt x="62" y="162"/>
                  </a:lnTo>
                  <a:lnTo>
                    <a:pt x="59" y="158"/>
                  </a:lnTo>
                  <a:lnTo>
                    <a:pt x="57" y="152"/>
                  </a:lnTo>
                  <a:lnTo>
                    <a:pt x="57" y="145"/>
                  </a:lnTo>
                  <a:lnTo>
                    <a:pt x="57" y="145"/>
                  </a:lnTo>
                  <a:lnTo>
                    <a:pt x="57" y="141"/>
                  </a:lnTo>
                  <a:lnTo>
                    <a:pt x="55" y="138"/>
                  </a:lnTo>
                  <a:lnTo>
                    <a:pt x="54" y="136"/>
                  </a:lnTo>
                  <a:lnTo>
                    <a:pt x="50" y="134"/>
                  </a:lnTo>
                  <a:lnTo>
                    <a:pt x="41" y="134"/>
                  </a:lnTo>
                  <a:lnTo>
                    <a:pt x="33" y="136"/>
                  </a:lnTo>
                  <a:lnTo>
                    <a:pt x="12" y="139"/>
                  </a:lnTo>
                  <a:lnTo>
                    <a:pt x="5" y="139"/>
                  </a:lnTo>
                  <a:lnTo>
                    <a:pt x="3" y="139"/>
                  </a:lnTo>
                  <a:lnTo>
                    <a:pt x="1" y="138"/>
                  </a:lnTo>
                  <a:lnTo>
                    <a:pt x="1" y="1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 name="Freeform 1713">
              <a:extLst>
                <a:ext uri="{FF2B5EF4-FFF2-40B4-BE49-F238E27FC236}">
                  <a16:creationId xmlns:a16="http://schemas.microsoft.com/office/drawing/2014/main" id="{55DAEA39-7262-4C2C-9013-FBCE30C9E180}"/>
                </a:ext>
              </a:extLst>
            </p:cNvPr>
            <p:cNvSpPr>
              <a:spLocks/>
            </p:cNvSpPr>
            <p:nvPr/>
          </p:nvSpPr>
          <p:spPr bwMode="auto">
            <a:xfrm>
              <a:off x="2822059" y="2096073"/>
              <a:ext cx="58148" cy="40526"/>
            </a:xfrm>
            <a:custGeom>
              <a:avLst/>
              <a:gdLst/>
              <a:ahLst/>
              <a:cxnLst>
                <a:cxn ang="0">
                  <a:pos x="5" y="45"/>
                </a:cxn>
                <a:cxn ang="0">
                  <a:pos x="5" y="45"/>
                </a:cxn>
                <a:cxn ang="0">
                  <a:pos x="1" y="41"/>
                </a:cxn>
                <a:cxn ang="0">
                  <a:pos x="0" y="36"/>
                </a:cxn>
                <a:cxn ang="0">
                  <a:pos x="1" y="31"/>
                </a:cxn>
                <a:cxn ang="0">
                  <a:pos x="3" y="28"/>
                </a:cxn>
                <a:cxn ang="0">
                  <a:pos x="10" y="19"/>
                </a:cxn>
                <a:cxn ang="0">
                  <a:pos x="20" y="10"/>
                </a:cxn>
                <a:cxn ang="0">
                  <a:pos x="34" y="5"/>
                </a:cxn>
                <a:cxn ang="0">
                  <a:pos x="47" y="1"/>
                </a:cxn>
                <a:cxn ang="0">
                  <a:pos x="59" y="0"/>
                </a:cxn>
                <a:cxn ang="0">
                  <a:pos x="64" y="1"/>
                </a:cxn>
                <a:cxn ang="0">
                  <a:pos x="67" y="3"/>
                </a:cxn>
                <a:cxn ang="0">
                  <a:pos x="67" y="3"/>
                </a:cxn>
                <a:cxn ang="0">
                  <a:pos x="69" y="5"/>
                </a:cxn>
                <a:cxn ang="0">
                  <a:pos x="71" y="8"/>
                </a:cxn>
                <a:cxn ang="0">
                  <a:pos x="69" y="12"/>
                </a:cxn>
                <a:cxn ang="0">
                  <a:pos x="67" y="17"/>
                </a:cxn>
                <a:cxn ang="0">
                  <a:pos x="60" y="26"/>
                </a:cxn>
                <a:cxn ang="0">
                  <a:pos x="50" y="36"/>
                </a:cxn>
                <a:cxn ang="0">
                  <a:pos x="38" y="43"/>
                </a:cxn>
                <a:cxn ang="0">
                  <a:pos x="24" y="48"/>
                </a:cxn>
                <a:cxn ang="0">
                  <a:pos x="19" y="50"/>
                </a:cxn>
                <a:cxn ang="0">
                  <a:pos x="13" y="50"/>
                </a:cxn>
                <a:cxn ang="0">
                  <a:pos x="8" y="48"/>
                </a:cxn>
                <a:cxn ang="0">
                  <a:pos x="5" y="45"/>
                </a:cxn>
                <a:cxn ang="0">
                  <a:pos x="5" y="45"/>
                </a:cxn>
              </a:cxnLst>
              <a:rect l="0" t="0" r="r" b="b"/>
              <a:pathLst>
                <a:path w="71" h="50">
                  <a:moveTo>
                    <a:pt x="5" y="45"/>
                  </a:moveTo>
                  <a:lnTo>
                    <a:pt x="5" y="45"/>
                  </a:lnTo>
                  <a:lnTo>
                    <a:pt x="1" y="41"/>
                  </a:lnTo>
                  <a:lnTo>
                    <a:pt x="0" y="36"/>
                  </a:lnTo>
                  <a:lnTo>
                    <a:pt x="1" y="31"/>
                  </a:lnTo>
                  <a:lnTo>
                    <a:pt x="3" y="28"/>
                  </a:lnTo>
                  <a:lnTo>
                    <a:pt x="10" y="19"/>
                  </a:lnTo>
                  <a:lnTo>
                    <a:pt x="20" y="10"/>
                  </a:lnTo>
                  <a:lnTo>
                    <a:pt x="34" y="5"/>
                  </a:lnTo>
                  <a:lnTo>
                    <a:pt x="47" y="1"/>
                  </a:lnTo>
                  <a:lnTo>
                    <a:pt x="59" y="0"/>
                  </a:lnTo>
                  <a:lnTo>
                    <a:pt x="64" y="1"/>
                  </a:lnTo>
                  <a:lnTo>
                    <a:pt x="67" y="3"/>
                  </a:lnTo>
                  <a:lnTo>
                    <a:pt x="67" y="3"/>
                  </a:lnTo>
                  <a:lnTo>
                    <a:pt x="69" y="5"/>
                  </a:lnTo>
                  <a:lnTo>
                    <a:pt x="71" y="8"/>
                  </a:lnTo>
                  <a:lnTo>
                    <a:pt x="69" y="12"/>
                  </a:lnTo>
                  <a:lnTo>
                    <a:pt x="67" y="17"/>
                  </a:lnTo>
                  <a:lnTo>
                    <a:pt x="60" y="26"/>
                  </a:lnTo>
                  <a:lnTo>
                    <a:pt x="50" y="36"/>
                  </a:lnTo>
                  <a:lnTo>
                    <a:pt x="38" y="43"/>
                  </a:lnTo>
                  <a:lnTo>
                    <a:pt x="24" y="48"/>
                  </a:lnTo>
                  <a:lnTo>
                    <a:pt x="19" y="50"/>
                  </a:lnTo>
                  <a:lnTo>
                    <a:pt x="13" y="50"/>
                  </a:lnTo>
                  <a:lnTo>
                    <a:pt x="8" y="48"/>
                  </a:lnTo>
                  <a:lnTo>
                    <a:pt x="5" y="45"/>
                  </a:lnTo>
                  <a:lnTo>
                    <a:pt x="5"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 name="Freeform 1714">
              <a:extLst>
                <a:ext uri="{FF2B5EF4-FFF2-40B4-BE49-F238E27FC236}">
                  <a16:creationId xmlns:a16="http://schemas.microsoft.com/office/drawing/2014/main" id="{0222BB6F-AEF0-45EC-98B1-EA926F120A84}"/>
                </a:ext>
              </a:extLst>
            </p:cNvPr>
            <p:cNvSpPr>
              <a:spLocks/>
            </p:cNvSpPr>
            <p:nvPr/>
          </p:nvSpPr>
          <p:spPr bwMode="auto">
            <a:xfrm>
              <a:off x="2452042" y="1382462"/>
              <a:ext cx="496884" cy="140961"/>
            </a:xfrm>
            <a:custGeom>
              <a:avLst/>
              <a:gdLst/>
              <a:ahLst/>
              <a:cxnLst>
                <a:cxn ang="0">
                  <a:pos x="68" y="5"/>
                </a:cxn>
                <a:cxn ang="0">
                  <a:pos x="108" y="9"/>
                </a:cxn>
                <a:cxn ang="0">
                  <a:pos x="134" y="24"/>
                </a:cxn>
                <a:cxn ang="0">
                  <a:pos x="158" y="30"/>
                </a:cxn>
                <a:cxn ang="0">
                  <a:pos x="209" y="30"/>
                </a:cxn>
                <a:cxn ang="0">
                  <a:pos x="242" y="45"/>
                </a:cxn>
                <a:cxn ang="0">
                  <a:pos x="275" y="57"/>
                </a:cxn>
                <a:cxn ang="0">
                  <a:pos x="270" y="63"/>
                </a:cxn>
                <a:cxn ang="0">
                  <a:pos x="230" y="64"/>
                </a:cxn>
                <a:cxn ang="0">
                  <a:pos x="233" y="73"/>
                </a:cxn>
                <a:cxn ang="0">
                  <a:pos x="256" y="73"/>
                </a:cxn>
                <a:cxn ang="0">
                  <a:pos x="270" y="87"/>
                </a:cxn>
                <a:cxn ang="0">
                  <a:pos x="270" y="99"/>
                </a:cxn>
                <a:cxn ang="0">
                  <a:pos x="282" y="108"/>
                </a:cxn>
                <a:cxn ang="0">
                  <a:pos x="287" y="96"/>
                </a:cxn>
                <a:cxn ang="0">
                  <a:pos x="301" y="99"/>
                </a:cxn>
                <a:cxn ang="0">
                  <a:pos x="327" y="104"/>
                </a:cxn>
                <a:cxn ang="0">
                  <a:pos x="362" y="106"/>
                </a:cxn>
                <a:cxn ang="0">
                  <a:pos x="385" y="110"/>
                </a:cxn>
                <a:cxn ang="0">
                  <a:pos x="418" y="94"/>
                </a:cxn>
                <a:cxn ang="0">
                  <a:pos x="522" y="82"/>
                </a:cxn>
                <a:cxn ang="0">
                  <a:pos x="559" y="89"/>
                </a:cxn>
                <a:cxn ang="0">
                  <a:pos x="585" y="96"/>
                </a:cxn>
                <a:cxn ang="0">
                  <a:pos x="609" y="108"/>
                </a:cxn>
                <a:cxn ang="0">
                  <a:pos x="609" y="125"/>
                </a:cxn>
                <a:cxn ang="0">
                  <a:pos x="604" y="136"/>
                </a:cxn>
                <a:cxn ang="0">
                  <a:pos x="618" y="144"/>
                </a:cxn>
                <a:cxn ang="0">
                  <a:pos x="599" y="151"/>
                </a:cxn>
                <a:cxn ang="0">
                  <a:pos x="592" y="164"/>
                </a:cxn>
                <a:cxn ang="0">
                  <a:pos x="545" y="174"/>
                </a:cxn>
                <a:cxn ang="0">
                  <a:pos x="493" y="162"/>
                </a:cxn>
                <a:cxn ang="0">
                  <a:pos x="487" y="153"/>
                </a:cxn>
                <a:cxn ang="0">
                  <a:pos x="461" y="171"/>
                </a:cxn>
                <a:cxn ang="0">
                  <a:pos x="353" y="176"/>
                </a:cxn>
                <a:cxn ang="0">
                  <a:pos x="298" y="172"/>
                </a:cxn>
                <a:cxn ang="0">
                  <a:pos x="298" y="157"/>
                </a:cxn>
                <a:cxn ang="0">
                  <a:pos x="275" y="169"/>
                </a:cxn>
                <a:cxn ang="0">
                  <a:pos x="238" y="169"/>
                </a:cxn>
                <a:cxn ang="0">
                  <a:pos x="212" y="162"/>
                </a:cxn>
                <a:cxn ang="0">
                  <a:pos x="197" y="165"/>
                </a:cxn>
                <a:cxn ang="0">
                  <a:pos x="176" y="153"/>
                </a:cxn>
                <a:cxn ang="0">
                  <a:pos x="170" y="129"/>
                </a:cxn>
                <a:cxn ang="0">
                  <a:pos x="162" y="122"/>
                </a:cxn>
                <a:cxn ang="0">
                  <a:pos x="174" y="97"/>
                </a:cxn>
                <a:cxn ang="0">
                  <a:pos x="174" y="82"/>
                </a:cxn>
                <a:cxn ang="0">
                  <a:pos x="157" y="66"/>
                </a:cxn>
                <a:cxn ang="0">
                  <a:pos x="132" y="50"/>
                </a:cxn>
                <a:cxn ang="0">
                  <a:pos x="76" y="61"/>
                </a:cxn>
                <a:cxn ang="0">
                  <a:pos x="56" y="52"/>
                </a:cxn>
                <a:cxn ang="0">
                  <a:pos x="43" y="42"/>
                </a:cxn>
                <a:cxn ang="0">
                  <a:pos x="16" y="28"/>
                </a:cxn>
                <a:cxn ang="0">
                  <a:pos x="0" y="7"/>
                </a:cxn>
                <a:cxn ang="0">
                  <a:pos x="14" y="0"/>
                </a:cxn>
              </a:cxnLst>
              <a:rect l="0" t="0" r="r" b="b"/>
              <a:pathLst>
                <a:path w="618" h="176">
                  <a:moveTo>
                    <a:pt x="14" y="0"/>
                  </a:moveTo>
                  <a:lnTo>
                    <a:pt x="14" y="0"/>
                  </a:lnTo>
                  <a:lnTo>
                    <a:pt x="42" y="2"/>
                  </a:lnTo>
                  <a:lnTo>
                    <a:pt x="68" y="5"/>
                  </a:lnTo>
                  <a:lnTo>
                    <a:pt x="90" y="7"/>
                  </a:lnTo>
                  <a:lnTo>
                    <a:pt x="99" y="9"/>
                  </a:lnTo>
                  <a:lnTo>
                    <a:pt x="108" y="9"/>
                  </a:lnTo>
                  <a:lnTo>
                    <a:pt x="108" y="9"/>
                  </a:lnTo>
                  <a:lnTo>
                    <a:pt x="113" y="9"/>
                  </a:lnTo>
                  <a:lnTo>
                    <a:pt x="118" y="10"/>
                  </a:lnTo>
                  <a:lnTo>
                    <a:pt x="129" y="21"/>
                  </a:lnTo>
                  <a:lnTo>
                    <a:pt x="134" y="24"/>
                  </a:lnTo>
                  <a:lnTo>
                    <a:pt x="141" y="28"/>
                  </a:lnTo>
                  <a:lnTo>
                    <a:pt x="148" y="31"/>
                  </a:lnTo>
                  <a:lnTo>
                    <a:pt x="158" y="30"/>
                  </a:lnTo>
                  <a:lnTo>
                    <a:pt x="158" y="30"/>
                  </a:lnTo>
                  <a:lnTo>
                    <a:pt x="179" y="26"/>
                  </a:lnTo>
                  <a:lnTo>
                    <a:pt x="195" y="26"/>
                  </a:lnTo>
                  <a:lnTo>
                    <a:pt x="202" y="28"/>
                  </a:lnTo>
                  <a:lnTo>
                    <a:pt x="209" y="30"/>
                  </a:lnTo>
                  <a:lnTo>
                    <a:pt x="226" y="38"/>
                  </a:lnTo>
                  <a:lnTo>
                    <a:pt x="226" y="38"/>
                  </a:lnTo>
                  <a:lnTo>
                    <a:pt x="235" y="42"/>
                  </a:lnTo>
                  <a:lnTo>
                    <a:pt x="242" y="45"/>
                  </a:lnTo>
                  <a:lnTo>
                    <a:pt x="258" y="47"/>
                  </a:lnTo>
                  <a:lnTo>
                    <a:pt x="270" y="50"/>
                  </a:lnTo>
                  <a:lnTo>
                    <a:pt x="273" y="54"/>
                  </a:lnTo>
                  <a:lnTo>
                    <a:pt x="275" y="57"/>
                  </a:lnTo>
                  <a:lnTo>
                    <a:pt x="275" y="57"/>
                  </a:lnTo>
                  <a:lnTo>
                    <a:pt x="275" y="59"/>
                  </a:lnTo>
                  <a:lnTo>
                    <a:pt x="275" y="61"/>
                  </a:lnTo>
                  <a:lnTo>
                    <a:pt x="270" y="63"/>
                  </a:lnTo>
                  <a:lnTo>
                    <a:pt x="252" y="63"/>
                  </a:lnTo>
                  <a:lnTo>
                    <a:pt x="235" y="63"/>
                  </a:lnTo>
                  <a:lnTo>
                    <a:pt x="230" y="63"/>
                  </a:lnTo>
                  <a:lnTo>
                    <a:pt x="230" y="64"/>
                  </a:lnTo>
                  <a:lnTo>
                    <a:pt x="230" y="68"/>
                  </a:lnTo>
                  <a:lnTo>
                    <a:pt x="230" y="68"/>
                  </a:lnTo>
                  <a:lnTo>
                    <a:pt x="231" y="71"/>
                  </a:lnTo>
                  <a:lnTo>
                    <a:pt x="233" y="73"/>
                  </a:lnTo>
                  <a:lnTo>
                    <a:pt x="240" y="71"/>
                  </a:lnTo>
                  <a:lnTo>
                    <a:pt x="245" y="70"/>
                  </a:lnTo>
                  <a:lnTo>
                    <a:pt x="249" y="70"/>
                  </a:lnTo>
                  <a:lnTo>
                    <a:pt x="256" y="73"/>
                  </a:lnTo>
                  <a:lnTo>
                    <a:pt x="263" y="77"/>
                  </a:lnTo>
                  <a:lnTo>
                    <a:pt x="263" y="77"/>
                  </a:lnTo>
                  <a:lnTo>
                    <a:pt x="268" y="84"/>
                  </a:lnTo>
                  <a:lnTo>
                    <a:pt x="270" y="87"/>
                  </a:lnTo>
                  <a:lnTo>
                    <a:pt x="271" y="91"/>
                  </a:lnTo>
                  <a:lnTo>
                    <a:pt x="270" y="94"/>
                  </a:lnTo>
                  <a:lnTo>
                    <a:pt x="270" y="97"/>
                  </a:lnTo>
                  <a:lnTo>
                    <a:pt x="270" y="99"/>
                  </a:lnTo>
                  <a:lnTo>
                    <a:pt x="271" y="103"/>
                  </a:lnTo>
                  <a:lnTo>
                    <a:pt x="277" y="106"/>
                  </a:lnTo>
                  <a:lnTo>
                    <a:pt x="277" y="106"/>
                  </a:lnTo>
                  <a:lnTo>
                    <a:pt x="282" y="108"/>
                  </a:lnTo>
                  <a:lnTo>
                    <a:pt x="284" y="106"/>
                  </a:lnTo>
                  <a:lnTo>
                    <a:pt x="285" y="103"/>
                  </a:lnTo>
                  <a:lnTo>
                    <a:pt x="287" y="99"/>
                  </a:lnTo>
                  <a:lnTo>
                    <a:pt x="287" y="96"/>
                  </a:lnTo>
                  <a:lnTo>
                    <a:pt x="291" y="94"/>
                  </a:lnTo>
                  <a:lnTo>
                    <a:pt x="294" y="94"/>
                  </a:lnTo>
                  <a:lnTo>
                    <a:pt x="301" y="99"/>
                  </a:lnTo>
                  <a:lnTo>
                    <a:pt x="301" y="99"/>
                  </a:lnTo>
                  <a:lnTo>
                    <a:pt x="310" y="104"/>
                  </a:lnTo>
                  <a:lnTo>
                    <a:pt x="315" y="106"/>
                  </a:lnTo>
                  <a:lnTo>
                    <a:pt x="320" y="106"/>
                  </a:lnTo>
                  <a:lnTo>
                    <a:pt x="327" y="104"/>
                  </a:lnTo>
                  <a:lnTo>
                    <a:pt x="332" y="103"/>
                  </a:lnTo>
                  <a:lnTo>
                    <a:pt x="339" y="101"/>
                  </a:lnTo>
                  <a:lnTo>
                    <a:pt x="350" y="103"/>
                  </a:lnTo>
                  <a:lnTo>
                    <a:pt x="362" y="106"/>
                  </a:lnTo>
                  <a:lnTo>
                    <a:pt x="362" y="106"/>
                  </a:lnTo>
                  <a:lnTo>
                    <a:pt x="374" y="110"/>
                  </a:lnTo>
                  <a:lnTo>
                    <a:pt x="381" y="111"/>
                  </a:lnTo>
                  <a:lnTo>
                    <a:pt x="385" y="110"/>
                  </a:lnTo>
                  <a:lnTo>
                    <a:pt x="390" y="106"/>
                  </a:lnTo>
                  <a:lnTo>
                    <a:pt x="395" y="103"/>
                  </a:lnTo>
                  <a:lnTo>
                    <a:pt x="404" y="99"/>
                  </a:lnTo>
                  <a:lnTo>
                    <a:pt x="418" y="94"/>
                  </a:lnTo>
                  <a:lnTo>
                    <a:pt x="440" y="91"/>
                  </a:lnTo>
                  <a:lnTo>
                    <a:pt x="440" y="91"/>
                  </a:lnTo>
                  <a:lnTo>
                    <a:pt x="487" y="85"/>
                  </a:lnTo>
                  <a:lnTo>
                    <a:pt x="522" y="82"/>
                  </a:lnTo>
                  <a:lnTo>
                    <a:pt x="534" y="82"/>
                  </a:lnTo>
                  <a:lnTo>
                    <a:pt x="545" y="84"/>
                  </a:lnTo>
                  <a:lnTo>
                    <a:pt x="554" y="85"/>
                  </a:lnTo>
                  <a:lnTo>
                    <a:pt x="559" y="89"/>
                  </a:lnTo>
                  <a:lnTo>
                    <a:pt x="559" y="89"/>
                  </a:lnTo>
                  <a:lnTo>
                    <a:pt x="564" y="92"/>
                  </a:lnTo>
                  <a:lnTo>
                    <a:pt x="571" y="94"/>
                  </a:lnTo>
                  <a:lnTo>
                    <a:pt x="585" y="96"/>
                  </a:lnTo>
                  <a:lnTo>
                    <a:pt x="592" y="97"/>
                  </a:lnTo>
                  <a:lnTo>
                    <a:pt x="599" y="99"/>
                  </a:lnTo>
                  <a:lnTo>
                    <a:pt x="604" y="103"/>
                  </a:lnTo>
                  <a:lnTo>
                    <a:pt x="609" y="108"/>
                  </a:lnTo>
                  <a:lnTo>
                    <a:pt x="609" y="108"/>
                  </a:lnTo>
                  <a:lnTo>
                    <a:pt x="613" y="115"/>
                  </a:lnTo>
                  <a:lnTo>
                    <a:pt x="611" y="120"/>
                  </a:lnTo>
                  <a:lnTo>
                    <a:pt x="609" y="125"/>
                  </a:lnTo>
                  <a:lnTo>
                    <a:pt x="606" y="129"/>
                  </a:lnTo>
                  <a:lnTo>
                    <a:pt x="602" y="131"/>
                  </a:lnTo>
                  <a:lnTo>
                    <a:pt x="602" y="134"/>
                  </a:lnTo>
                  <a:lnTo>
                    <a:pt x="604" y="136"/>
                  </a:lnTo>
                  <a:lnTo>
                    <a:pt x="609" y="139"/>
                  </a:lnTo>
                  <a:lnTo>
                    <a:pt x="609" y="139"/>
                  </a:lnTo>
                  <a:lnTo>
                    <a:pt x="616" y="143"/>
                  </a:lnTo>
                  <a:lnTo>
                    <a:pt x="618" y="144"/>
                  </a:lnTo>
                  <a:lnTo>
                    <a:pt x="615" y="146"/>
                  </a:lnTo>
                  <a:lnTo>
                    <a:pt x="611" y="148"/>
                  </a:lnTo>
                  <a:lnTo>
                    <a:pt x="604" y="150"/>
                  </a:lnTo>
                  <a:lnTo>
                    <a:pt x="599" y="151"/>
                  </a:lnTo>
                  <a:lnTo>
                    <a:pt x="595" y="155"/>
                  </a:lnTo>
                  <a:lnTo>
                    <a:pt x="594" y="160"/>
                  </a:lnTo>
                  <a:lnTo>
                    <a:pt x="594" y="160"/>
                  </a:lnTo>
                  <a:lnTo>
                    <a:pt x="592" y="164"/>
                  </a:lnTo>
                  <a:lnTo>
                    <a:pt x="588" y="167"/>
                  </a:lnTo>
                  <a:lnTo>
                    <a:pt x="578" y="171"/>
                  </a:lnTo>
                  <a:lnTo>
                    <a:pt x="562" y="174"/>
                  </a:lnTo>
                  <a:lnTo>
                    <a:pt x="545" y="174"/>
                  </a:lnTo>
                  <a:lnTo>
                    <a:pt x="526" y="172"/>
                  </a:lnTo>
                  <a:lnTo>
                    <a:pt x="508" y="171"/>
                  </a:lnTo>
                  <a:lnTo>
                    <a:pt x="496" y="165"/>
                  </a:lnTo>
                  <a:lnTo>
                    <a:pt x="493" y="162"/>
                  </a:lnTo>
                  <a:lnTo>
                    <a:pt x="491" y="158"/>
                  </a:lnTo>
                  <a:lnTo>
                    <a:pt x="491" y="158"/>
                  </a:lnTo>
                  <a:lnTo>
                    <a:pt x="489" y="155"/>
                  </a:lnTo>
                  <a:lnTo>
                    <a:pt x="487" y="153"/>
                  </a:lnTo>
                  <a:lnTo>
                    <a:pt x="487" y="157"/>
                  </a:lnTo>
                  <a:lnTo>
                    <a:pt x="482" y="160"/>
                  </a:lnTo>
                  <a:lnTo>
                    <a:pt x="475" y="165"/>
                  </a:lnTo>
                  <a:lnTo>
                    <a:pt x="461" y="171"/>
                  </a:lnTo>
                  <a:lnTo>
                    <a:pt x="440" y="174"/>
                  </a:lnTo>
                  <a:lnTo>
                    <a:pt x="411" y="176"/>
                  </a:lnTo>
                  <a:lnTo>
                    <a:pt x="411" y="176"/>
                  </a:lnTo>
                  <a:lnTo>
                    <a:pt x="353" y="176"/>
                  </a:lnTo>
                  <a:lnTo>
                    <a:pt x="317" y="176"/>
                  </a:lnTo>
                  <a:lnTo>
                    <a:pt x="306" y="176"/>
                  </a:lnTo>
                  <a:lnTo>
                    <a:pt x="299" y="174"/>
                  </a:lnTo>
                  <a:lnTo>
                    <a:pt x="298" y="172"/>
                  </a:lnTo>
                  <a:lnTo>
                    <a:pt x="298" y="169"/>
                  </a:lnTo>
                  <a:lnTo>
                    <a:pt x="298" y="162"/>
                  </a:lnTo>
                  <a:lnTo>
                    <a:pt x="298" y="162"/>
                  </a:lnTo>
                  <a:lnTo>
                    <a:pt x="298" y="157"/>
                  </a:lnTo>
                  <a:lnTo>
                    <a:pt x="298" y="157"/>
                  </a:lnTo>
                  <a:lnTo>
                    <a:pt x="296" y="157"/>
                  </a:lnTo>
                  <a:lnTo>
                    <a:pt x="284" y="164"/>
                  </a:lnTo>
                  <a:lnTo>
                    <a:pt x="275" y="169"/>
                  </a:lnTo>
                  <a:lnTo>
                    <a:pt x="265" y="172"/>
                  </a:lnTo>
                  <a:lnTo>
                    <a:pt x="252" y="172"/>
                  </a:lnTo>
                  <a:lnTo>
                    <a:pt x="245" y="171"/>
                  </a:lnTo>
                  <a:lnTo>
                    <a:pt x="238" y="169"/>
                  </a:lnTo>
                  <a:lnTo>
                    <a:pt x="238" y="169"/>
                  </a:lnTo>
                  <a:lnTo>
                    <a:pt x="226" y="164"/>
                  </a:lnTo>
                  <a:lnTo>
                    <a:pt x="218" y="162"/>
                  </a:lnTo>
                  <a:lnTo>
                    <a:pt x="212" y="162"/>
                  </a:lnTo>
                  <a:lnTo>
                    <a:pt x="209" y="164"/>
                  </a:lnTo>
                  <a:lnTo>
                    <a:pt x="205" y="165"/>
                  </a:lnTo>
                  <a:lnTo>
                    <a:pt x="202" y="165"/>
                  </a:lnTo>
                  <a:lnTo>
                    <a:pt x="197" y="165"/>
                  </a:lnTo>
                  <a:lnTo>
                    <a:pt x="188" y="162"/>
                  </a:lnTo>
                  <a:lnTo>
                    <a:pt x="188" y="162"/>
                  </a:lnTo>
                  <a:lnTo>
                    <a:pt x="181" y="157"/>
                  </a:lnTo>
                  <a:lnTo>
                    <a:pt x="176" y="153"/>
                  </a:lnTo>
                  <a:lnTo>
                    <a:pt x="174" y="148"/>
                  </a:lnTo>
                  <a:lnTo>
                    <a:pt x="174" y="143"/>
                  </a:lnTo>
                  <a:lnTo>
                    <a:pt x="172" y="134"/>
                  </a:lnTo>
                  <a:lnTo>
                    <a:pt x="170" y="129"/>
                  </a:lnTo>
                  <a:lnTo>
                    <a:pt x="165" y="125"/>
                  </a:lnTo>
                  <a:lnTo>
                    <a:pt x="165" y="125"/>
                  </a:lnTo>
                  <a:lnTo>
                    <a:pt x="162" y="124"/>
                  </a:lnTo>
                  <a:lnTo>
                    <a:pt x="162" y="122"/>
                  </a:lnTo>
                  <a:lnTo>
                    <a:pt x="162" y="117"/>
                  </a:lnTo>
                  <a:lnTo>
                    <a:pt x="165" y="111"/>
                  </a:lnTo>
                  <a:lnTo>
                    <a:pt x="170" y="104"/>
                  </a:lnTo>
                  <a:lnTo>
                    <a:pt x="174" y="97"/>
                  </a:lnTo>
                  <a:lnTo>
                    <a:pt x="177" y="91"/>
                  </a:lnTo>
                  <a:lnTo>
                    <a:pt x="177" y="89"/>
                  </a:lnTo>
                  <a:lnTo>
                    <a:pt x="176" y="85"/>
                  </a:lnTo>
                  <a:lnTo>
                    <a:pt x="174" y="82"/>
                  </a:lnTo>
                  <a:lnTo>
                    <a:pt x="169" y="78"/>
                  </a:lnTo>
                  <a:lnTo>
                    <a:pt x="169" y="78"/>
                  </a:lnTo>
                  <a:lnTo>
                    <a:pt x="162" y="73"/>
                  </a:lnTo>
                  <a:lnTo>
                    <a:pt x="157" y="66"/>
                  </a:lnTo>
                  <a:lnTo>
                    <a:pt x="148" y="57"/>
                  </a:lnTo>
                  <a:lnTo>
                    <a:pt x="144" y="54"/>
                  </a:lnTo>
                  <a:lnTo>
                    <a:pt x="139" y="52"/>
                  </a:lnTo>
                  <a:lnTo>
                    <a:pt x="132" y="50"/>
                  </a:lnTo>
                  <a:lnTo>
                    <a:pt x="122" y="52"/>
                  </a:lnTo>
                  <a:lnTo>
                    <a:pt x="122" y="52"/>
                  </a:lnTo>
                  <a:lnTo>
                    <a:pt x="97" y="57"/>
                  </a:lnTo>
                  <a:lnTo>
                    <a:pt x="76" y="61"/>
                  </a:lnTo>
                  <a:lnTo>
                    <a:pt x="68" y="61"/>
                  </a:lnTo>
                  <a:lnTo>
                    <a:pt x="61" y="59"/>
                  </a:lnTo>
                  <a:lnTo>
                    <a:pt x="57" y="57"/>
                  </a:lnTo>
                  <a:lnTo>
                    <a:pt x="56" y="52"/>
                  </a:lnTo>
                  <a:lnTo>
                    <a:pt x="56" y="52"/>
                  </a:lnTo>
                  <a:lnTo>
                    <a:pt x="54" y="47"/>
                  </a:lnTo>
                  <a:lnTo>
                    <a:pt x="52" y="45"/>
                  </a:lnTo>
                  <a:lnTo>
                    <a:pt x="43" y="42"/>
                  </a:lnTo>
                  <a:lnTo>
                    <a:pt x="31" y="37"/>
                  </a:lnTo>
                  <a:lnTo>
                    <a:pt x="24" y="33"/>
                  </a:lnTo>
                  <a:lnTo>
                    <a:pt x="16" y="28"/>
                  </a:lnTo>
                  <a:lnTo>
                    <a:pt x="16" y="28"/>
                  </a:lnTo>
                  <a:lnTo>
                    <a:pt x="9" y="21"/>
                  </a:lnTo>
                  <a:lnTo>
                    <a:pt x="3" y="16"/>
                  </a:lnTo>
                  <a:lnTo>
                    <a:pt x="2" y="10"/>
                  </a:lnTo>
                  <a:lnTo>
                    <a:pt x="0" y="7"/>
                  </a:lnTo>
                  <a:lnTo>
                    <a:pt x="2" y="3"/>
                  </a:lnTo>
                  <a:lnTo>
                    <a:pt x="3" y="2"/>
                  </a:lnTo>
                  <a:lnTo>
                    <a:pt x="9" y="0"/>
                  </a:lnTo>
                  <a:lnTo>
                    <a:pt x="14" y="0"/>
                  </a:lnTo>
                  <a:lnTo>
                    <a:pt x="14"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 name="Freeform 1715">
              <a:extLst>
                <a:ext uri="{FF2B5EF4-FFF2-40B4-BE49-F238E27FC236}">
                  <a16:creationId xmlns:a16="http://schemas.microsoft.com/office/drawing/2014/main" id="{D9874F8F-D43A-4E79-AA9B-E11AB962BE99}"/>
                </a:ext>
              </a:extLst>
            </p:cNvPr>
            <p:cNvSpPr>
              <a:spLocks/>
            </p:cNvSpPr>
            <p:nvPr/>
          </p:nvSpPr>
          <p:spPr bwMode="auto">
            <a:xfrm>
              <a:off x="2469661" y="1459989"/>
              <a:ext cx="89862" cy="56384"/>
            </a:xfrm>
            <a:custGeom>
              <a:avLst/>
              <a:gdLst/>
              <a:ahLst/>
              <a:cxnLst>
                <a:cxn ang="0">
                  <a:pos x="14" y="22"/>
                </a:cxn>
                <a:cxn ang="0">
                  <a:pos x="14" y="22"/>
                </a:cxn>
                <a:cxn ang="0">
                  <a:pos x="23" y="14"/>
                </a:cxn>
                <a:cxn ang="0">
                  <a:pos x="31" y="8"/>
                </a:cxn>
                <a:cxn ang="0">
                  <a:pos x="40" y="3"/>
                </a:cxn>
                <a:cxn ang="0">
                  <a:pos x="51" y="1"/>
                </a:cxn>
                <a:cxn ang="0">
                  <a:pos x="61" y="0"/>
                </a:cxn>
                <a:cxn ang="0">
                  <a:pos x="71" y="3"/>
                </a:cxn>
                <a:cxn ang="0">
                  <a:pos x="80" y="7"/>
                </a:cxn>
                <a:cxn ang="0">
                  <a:pos x="91" y="15"/>
                </a:cxn>
                <a:cxn ang="0">
                  <a:pos x="91" y="15"/>
                </a:cxn>
                <a:cxn ang="0">
                  <a:pos x="99" y="24"/>
                </a:cxn>
                <a:cxn ang="0">
                  <a:pos x="106" y="35"/>
                </a:cxn>
                <a:cxn ang="0">
                  <a:pos x="110" y="43"/>
                </a:cxn>
                <a:cxn ang="0">
                  <a:pos x="111" y="52"/>
                </a:cxn>
                <a:cxn ang="0">
                  <a:pos x="110" y="59"/>
                </a:cxn>
                <a:cxn ang="0">
                  <a:pos x="104" y="64"/>
                </a:cxn>
                <a:cxn ang="0">
                  <a:pos x="96" y="68"/>
                </a:cxn>
                <a:cxn ang="0">
                  <a:pos x="84" y="69"/>
                </a:cxn>
                <a:cxn ang="0">
                  <a:pos x="84" y="69"/>
                </a:cxn>
                <a:cxn ang="0">
                  <a:pos x="70" y="68"/>
                </a:cxn>
                <a:cxn ang="0">
                  <a:pos x="59" y="66"/>
                </a:cxn>
                <a:cxn ang="0">
                  <a:pos x="47" y="62"/>
                </a:cxn>
                <a:cxn ang="0">
                  <a:pos x="37" y="57"/>
                </a:cxn>
                <a:cxn ang="0">
                  <a:pos x="28" y="55"/>
                </a:cxn>
                <a:cxn ang="0">
                  <a:pos x="19" y="54"/>
                </a:cxn>
                <a:cxn ang="0">
                  <a:pos x="19" y="54"/>
                </a:cxn>
                <a:cxn ang="0">
                  <a:pos x="9" y="52"/>
                </a:cxn>
                <a:cxn ang="0">
                  <a:pos x="3" y="50"/>
                </a:cxn>
                <a:cxn ang="0">
                  <a:pos x="2" y="47"/>
                </a:cxn>
                <a:cxn ang="0">
                  <a:pos x="0" y="42"/>
                </a:cxn>
                <a:cxn ang="0">
                  <a:pos x="2" y="38"/>
                </a:cxn>
                <a:cxn ang="0">
                  <a:pos x="5" y="33"/>
                </a:cxn>
                <a:cxn ang="0">
                  <a:pos x="14" y="22"/>
                </a:cxn>
                <a:cxn ang="0">
                  <a:pos x="14" y="22"/>
                </a:cxn>
              </a:cxnLst>
              <a:rect l="0" t="0" r="r" b="b"/>
              <a:pathLst>
                <a:path w="111" h="69">
                  <a:moveTo>
                    <a:pt x="14" y="22"/>
                  </a:moveTo>
                  <a:lnTo>
                    <a:pt x="14" y="22"/>
                  </a:lnTo>
                  <a:lnTo>
                    <a:pt x="23" y="14"/>
                  </a:lnTo>
                  <a:lnTo>
                    <a:pt x="31" y="8"/>
                  </a:lnTo>
                  <a:lnTo>
                    <a:pt x="40" y="3"/>
                  </a:lnTo>
                  <a:lnTo>
                    <a:pt x="51" y="1"/>
                  </a:lnTo>
                  <a:lnTo>
                    <a:pt x="61" y="0"/>
                  </a:lnTo>
                  <a:lnTo>
                    <a:pt x="71" y="3"/>
                  </a:lnTo>
                  <a:lnTo>
                    <a:pt x="80" y="7"/>
                  </a:lnTo>
                  <a:lnTo>
                    <a:pt x="91" y="15"/>
                  </a:lnTo>
                  <a:lnTo>
                    <a:pt x="91" y="15"/>
                  </a:lnTo>
                  <a:lnTo>
                    <a:pt x="99" y="24"/>
                  </a:lnTo>
                  <a:lnTo>
                    <a:pt x="106" y="35"/>
                  </a:lnTo>
                  <a:lnTo>
                    <a:pt x="110" y="43"/>
                  </a:lnTo>
                  <a:lnTo>
                    <a:pt x="111" y="52"/>
                  </a:lnTo>
                  <a:lnTo>
                    <a:pt x="110" y="59"/>
                  </a:lnTo>
                  <a:lnTo>
                    <a:pt x="104" y="64"/>
                  </a:lnTo>
                  <a:lnTo>
                    <a:pt x="96" y="68"/>
                  </a:lnTo>
                  <a:lnTo>
                    <a:pt x="84" y="69"/>
                  </a:lnTo>
                  <a:lnTo>
                    <a:pt x="84" y="69"/>
                  </a:lnTo>
                  <a:lnTo>
                    <a:pt x="70" y="68"/>
                  </a:lnTo>
                  <a:lnTo>
                    <a:pt x="59" y="66"/>
                  </a:lnTo>
                  <a:lnTo>
                    <a:pt x="47" y="62"/>
                  </a:lnTo>
                  <a:lnTo>
                    <a:pt x="37" y="57"/>
                  </a:lnTo>
                  <a:lnTo>
                    <a:pt x="28" y="55"/>
                  </a:lnTo>
                  <a:lnTo>
                    <a:pt x="19" y="54"/>
                  </a:lnTo>
                  <a:lnTo>
                    <a:pt x="19" y="54"/>
                  </a:lnTo>
                  <a:lnTo>
                    <a:pt x="9" y="52"/>
                  </a:lnTo>
                  <a:lnTo>
                    <a:pt x="3" y="50"/>
                  </a:lnTo>
                  <a:lnTo>
                    <a:pt x="2" y="47"/>
                  </a:lnTo>
                  <a:lnTo>
                    <a:pt x="0" y="42"/>
                  </a:lnTo>
                  <a:lnTo>
                    <a:pt x="2" y="38"/>
                  </a:lnTo>
                  <a:lnTo>
                    <a:pt x="5" y="33"/>
                  </a:lnTo>
                  <a:lnTo>
                    <a:pt x="14" y="22"/>
                  </a:lnTo>
                  <a:lnTo>
                    <a:pt x="14" y="2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 name="Freeform 1716">
              <a:extLst>
                <a:ext uri="{FF2B5EF4-FFF2-40B4-BE49-F238E27FC236}">
                  <a16:creationId xmlns:a16="http://schemas.microsoft.com/office/drawing/2014/main" id="{BCEDB917-65ED-435F-AE82-4E858E7B27DB}"/>
                </a:ext>
              </a:extLst>
            </p:cNvPr>
            <p:cNvSpPr>
              <a:spLocks/>
            </p:cNvSpPr>
            <p:nvPr/>
          </p:nvSpPr>
          <p:spPr bwMode="auto">
            <a:xfrm>
              <a:off x="2489042" y="1539279"/>
              <a:ext cx="151532" cy="112768"/>
            </a:xfrm>
            <a:custGeom>
              <a:avLst/>
              <a:gdLst/>
              <a:ahLst/>
              <a:cxnLst>
                <a:cxn ang="0">
                  <a:pos x="54" y="139"/>
                </a:cxn>
                <a:cxn ang="0">
                  <a:pos x="40" y="134"/>
                </a:cxn>
                <a:cxn ang="0">
                  <a:pos x="23" y="136"/>
                </a:cxn>
                <a:cxn ang="0">
                  <a:pos x="18" y="131"/>
                </a:cxn>
                <a:cxn ang="0">
                  <a:pos x="18" y="124"/>
                </a:cxn>
                <a:cxn ang="0">
                  <a:pos x="16" y="110"/>
                </a:cxn>
                <a:cxn ang="0">
                  <a:pos x="6" y="92"/>
                </a:cxn>
                <a:cxn ang="0">
                  <a:pos x="0" y="75"/>
                </a:cxn>
                <a:cxn ang="0">
                  <a:pos x="0" y="63"/>
                </a:cxn>
                <a:cxn ang="0">
                  <a:pos x="4" y="30"/>
                </a:cxn>
                <a:cxn ang="0">
                  <a:pos x="7" y="26"/>
                </a:cxn>
                <a:cxn ang="0">
                  <a:pos x="16" y="26"/>
                </a:cxn>
                <a:cxn ang="0">
                  <a:pos x="20" y="24"/>
                </a:cxn>
                <a:cxn ang="0">
                  <a:pos x="16" y="17"/>
                </a:cxn>
                <a:cxn ang="0">
                  <a:pos x="27" y="9"/>
                </a:cxn>
                <a:cxn ang="0">
                  <a:pos x="42" y="5"/>
                </a:cxn>
                <a:cxn ang="0">
                  <a:pos x="84" y="0"/>
                </a:cxn>
                <a:cxn ang="0">
                  <a:pos x="101" y="2"/>
                </a:cxn>
                <a:cxn ang="0">
                  <a:pos x="122" y="10"/>
                </a:cxn>
                <a:cxn ang="0">
                  <a:pos x="129" y="14"/>
                </a:cxn>
                <a:cxn ang="0">
                  <a:pos x="145" y="12"/>
                </a:cxn>
                <a:cxn ang="0">
                  <a:pos x="157" y="9"/>
                </a:cxn>
                <a:cxn ang="0">
                  <a:pos x="178" y="14"/>
                </a:cxn>
                <a:cxn ang="0">
                  <a:pos x="185" y="16"/>
                </a:cxn>
                <a:cxn ang="0">
                  <a:pos x="190" y="21"/>
                </a:cxn>
                <a:cxn ang="0">
                  <a:pos x="190" y="28"/>
                </a:cxn>
                <a:cxn ang="0">
                  <a:pos x="181" y="40"/>
                </a:cxn>
                <a:cxn ang="0">
                  <a:pos x="154" y="68"/>
                </a:cxn>
                <a:cxn ang="0">
                  <a:pos x="145" y="80"/>
                </a:cxn>
                <a:cxn ang="0">
                  <a:pos x="136" y="89"/>
                </a:cxn>
                <a:cxn ang="0">
                  <a:pos x="124" y="92"/>
                </a:cxn>
                <a:cxn ang="0">
                  <a:pos x="98" y="92"/>
                </a:cxn>
                <a:cxn ang="0">
                  <a:pos x="77" y="89"/>
                </a:cxn>
                <a:cxn ang="0">
                  <a:pos x="74" y="92"/>
                </a:cxn>
                <a:cxn ang="0">
                  <a:pos x="75" y="99"/>
                </a:cxn>
                <a:cxn ang="0">
                  <a:pos x="79" y="106"/>
                </a:cxn>
                <a:cxn ang="0">
                  <a:pos x="79" y="115"/>
                </a:cxn>
                <a:cxn ang="0">
                  <a:pos x="72" y="120"/>
                </a:cxn>
                <a:cxn ang="0">
                  <a:pos x="67" y="125"/>
                </a:cxn>
                <a:cxn ang="0">
                  <a:pos x="61" y="139"/>
                </a:cxn>
                <a:cxn ang="0">
                  <a:pos x="54" y="139"/>
                </a:cxn>
              </a:cxnLst>
              <a:rect l="0" t="0" r="r" b="b"/>
              <a:pathLst>
                <a:path w="190" h="141">
                  <a:moveTo>
                    <a:pt x="54" y="139"/>
                  </a:moveTo>
                  <a:lnTo>
                    <a:pt x="54" y="139"/>
                  </a:lnTo>
                  <a:lnTo>
                    <a:pt x="47" y="136"/>
                  </a:lnTo>
                  <a:lnTo>
                    <a:pt x="40" y="134"/>
                  </a:lnTo>
                  <a:lnTo>
                    <a:pt x="28" y="136"/>
                  </a:lnTo>
                  <a:lnTo>
                    <a:pt x="23" y="136"/>
                  </a:lnTo>
                  <a:lnTo>
                    <a:pt x="20" y="134"/>
                  </a:lnTo>
                  <a:lnTo>
                    <a:pt x="18" y="131"/>
                  </a:lnTo>
                  <a:lnTo>
                    <a:pt x="18" y="124"/>
                  </a:lnTo>
                  <a:lnTo>
                    <a:pt x="18" y="124"/>
                  </a:lnTo>
                  <a:lnTo>
                    <a:pt x="18" y="115"/>
                  </a:lnTo>
                  <a:lnTo>
                    <a:pt x="16" y="110"/>
                  </a:lnTo>
                  <a:lnTo>
                    <a:pt x="9" y="99"/>
                  </a:lnTo>
                  <a:lnTo>
                    <a:pt x="6" y="92"/>
                  </a:lnTo>
                  <a:lnTo>
                    <a:pt x="2" y="85"/>
                  </a:lnTo>
                  <a:lnTo>
                    <a:pt x="0" y="75"/>
                  </a:lnTo>
                  <a:lnTo>
                    <a:pt x="0" y="63"/>
                  </a:lnTo>
                  <a:lnTo>
                    <a:pt x="0" y="63"/>
                  </a:lnTo>
                  <a:lnTo>
                    <a:pt x="0" y="42"/>
                  </a:lnTo>
                  <a:lnTo>
                    <a:pt x="4" y="30"/>
                  </a:lnTo>
                  <a:lnTo>
                    <a:pt x="6" y="28"/>
                  </a:lnTo>
                  <a:lnTo>
                    <a:pt x="7" y="26"/>
                  </a:lnTo>
                  <a:lnTo>
                    <a:pt x="16" y="26"/>
                  </a:lnTo>
                  <a:lnTo>
                    <a:pt x="16" y="26"/>
                  </a:lnTo>
                  <a:lnTo>
                    <a:pt x="20" y="26"/>
                  </a:lnTo>
                  <a:lnTo>
                    <a:pt x="20" y="24"/>
                  </a:lnTo>
                  <a:lnTo>
                    <a:pt x="16" y="21"/>
                  </a:lnTo>
                  <a:lnTo>
                    <a:pt x="16" y="17"/>
                  </a:lnTo>
                  <a:lnTo>
                    <a:pt x="18" y="12"/>
                  </a:lnTo>
                  <a:lnTo>
                    <a:pt x="27" y="9"/>
                  </a:lnTo>
                  <a:lnTo>
                    <a:pt x="42" y="5"/>
                  </a:lnTo>
                  <a:lnTo>
                    <a:pt x="42" y="5"/>
                  </a:lnTo>
                  <a:lnTo>
                    <a:pt x="74" y="0"/>
                  </a:lnTo>
                  <a:lnTo>
                    <a:pt x="84" y="0"/>
                  </a:lnTo>
                  <a:lnTo>
                    <a:pt x="93" y="0"/>
                  </a:lnTo>
                  <a:lnTo>
                    <a:pt x="101" y="2"/>
                  </a:lnTo>
                  <a:lnTo>
                    <a:pt x="108" y="3"/>
                  </a:lnTo>
                  <a:lnTo>
                    <a:pt x="122" y="10"/>
                  </a:lnTo>
                  <a:lnTo>
                    <a:pt x="122" y="10"/>
                  </a:lnTo>
                  <a:lnTo>
                    <a:pt x="129" y="14"/>
                  </a:lnTo>
                  <a:lnTo>
                    <a:pt x="136" y="14"/>
                  </a:lnTo>
                  <a:lnTo>
                    <a:pt x="145" y="12"/>
                  </a:lnTo>
                  <a:lnTo>
                    <a:pt x="152" y="10"/>
                  </a:lnTo>
                  <a:lnTo>
                    <a:pt x="157" y="9"/>
                  </a:lnTo>
                  <a:lnTo>
                    <a:pt x="168" y="10"/>
                  </a:lnTo>
                  <a:lnTo>
                    <a:pt x="178" y="14"/>
                  </a:lnTo>
                  <a:lnTo>
                    <a:pt x="178" y="14"/>
                  </a:lnTo>
                  <a:lnTo>
                    <a:pt x="185" y="16"/>
                  </a:lnTo>
                  <a:lnTo>
                    <a:pt x="188" y="19"/>
                  </a:lnTo>
                  <a:lnTo>
                    <a:pt x="190" y="21"/>
                  </a:lnTo>
                  <a:lnTo>
                    <a:pt x="190" y="24"/>
                  </a:lnTo>
                  <a:lnTo>
                    <a:pt x="190" y="28"/>
                  </a:lnTo>
                  <a:lnTo>
                    <a:pt x="188" y="31"/>
                  </a:lnTo>
                  <a:lnTo>
                    <a:pt x="181" y="40"/>
                  </a:lnTo>
                  <a:lnTo>
                    <a:pt x="162" y="57"/>
                  </a:lnTo>
                  <a:lnTo>
                    <a:pt x="154" y="68"/>
                  </a:lnTo>
                  <a:lnTo>
                    <a:pt x="145" y="80"/>
                  </a:lnTo>
                  <a:lnTo>
                    <a:pt x="145" y="80"/>
                  </a:lnTo>
                  <a:lnTo>
                    <a:pt x="141" y="85"/>
                  </a:lnTo>
                  <a:lnTo>
                    <a:pt x="136" y="89"/>
                  </a:lnTo>
                  <a:lnTo>
                    <a:pt x="131" y="91"/>
                  </a:lnTo>
                  <a:lnTo>
                    <a:pt x="124" y="92"/>
                  </a:lnTo>
                  <a:lnTo>
                    <a:pt x="112" y="92"/>
                  </a:lnTo>
                  <a:lnTo>
                    <a:pt x="98" y="92"/>
                  </a:lnTo>
                  <a:lnTo>
                    <a:pt x="86" y="91"/>
                  </a:lnTo>
                  <a:lnTo>
                    <a:pt x="77" y="89"/>
                  </a:lnTo>
                  <a:lnTo>
                    <a:pt x="75" y="91"/>
                  </a:lnTo>
                  <a:lnTo>
                    <a:pt x="74" y="92"/>
                  </a:lnTo>
                  <a:lnTo>
                    <a:pt x="74" y="94"/>
                  </a:lnTo>
                  <a:lnTo>
                    <a:pt x="75" y="99"/>
                  </a:lnTo>
                  <a:lnTo>
                    <a:pt x="75" y="99"/>
                  </a:lnTo>
                  <a:lnTo>
                    <a:pt x="79" y="106"/>
                  </a:lnTo>
                  <a:lnTo>
                    <a:pt x="80" y="111"/>
                  </a:lnTo>
                  <a:lnTo>
                    <a:pt x="79" y="115"/>
                  </a:lnTo>
                  <a:lnTo>
                    <a:pt x="77" y="117"/>
                  </a:lnTo>
                  <a:lnTo>
                    <a:pt x="72" y="120"/>
                  </a:lnTo>
                  <a:lnTo>
                    <a:pt x="68" y="122"/>
                  </a:lnTo>
                  <a:lnTo>
                    <a:pt x="67" y="125"/>
                  </a:lnTo>
                  <a:lnTo>
                    <a:pt x="67" y="125"/>
                  </a:lnTo>
                  <a:lnTo>
                    <a:pt x="61" y="139"/>
                  </a:lnTo>
                  <a:lnTo>
                    <a:pt x="60" y="141"/>
                  </a:lnTo>
                  <a:lnTo>
                    <a:pt x="54" y="139"/>
                  </a:lnTo>
                  <a:lnTo>
                    <a:pt x="54" y="1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 name="Freeform 1717">
              <a:extLst>
                <a:ext uri="{FF2B5EF4-FFF2-40B4-BE49-F238E27FC236}">
                  <a16:creationId xmlns:a16="http://schemas.microsoft.com/office/drawing/2014/main" id="{4F0D4ED8-2C4C-4049-B349-A7E9C7DF4C8B}"/>
                </a:ext>
              </a:extLst>
            </p:cNvPr>
            <p:cNvSpPr>
              <a:spLocks/>
            </p:cNvSpPr>
            <p:nvPr/>
          </p:nvSpPr>
          <p:spPr bwMode="auto">
            <a:xfrm>
              <a:off x="2291698" y="1553377"/>
              <a:ext cx="181486" cy="137437"/>
            </a:xfrm>
            <a:custGeom>
              <a:avLst/>
              <a:gdLst/>
              <a:ahLst/>
              <a:cxnLst>
                <a:cxn ang="0">
                  <a:pos x="55" y="39"/>
                </a:cxn>
                <a:cxn ang="0">
                  <a:pos x="41" y="28"/>
                </a:cxn>
                <a:cxn ang="0">
                  <a:pos x="43" y="21"/>
                </a:cxn>
                <a:cxn ang="0">
                  <a:pos x="55" y="13"/>
                </a:cxn>
                <a:cxn ang="0">
                  <a:pos x="74" y="4"/>
                </a:cxn>
                <a:cxn ang="0">
                  <a:pos x="95" y="0"/>
                </a:cxn>
                <a:cxn ang="0">
                  <a:pos x="113" y="6"/>
                </a:cxn>
                <a:cxn ang="0">
                  <a:pos x="132" y="11"/>
                </a:cxn>
                <a:cxn ang="0">
                  <a:pos x="156" y="7"/>
                </a:cxn>
                <a:cxn ang="0">
                  <a:pos x="169" y="4"/>
                </a:cxn>
                <a:cxn ang="0">
                  <a:pos x="189" y="4"/>
                </a:cxn>
                <a:cxn ang="0">
                  <a:pos x="202" y="9"/>
                </a:cxn>
                <a:cxn ang="0">
                  <a:pos x="200" y="18"/>
                </a:cxn>
                <a:cxn ang="0">
                  <a:pos x="193" y="21"/>
                </a:cxn>
                <a:cxn ang="0">
                  <a:pos x="188" y="28"/>
                </a:cxn>
                <a:cxn ang="0">
                  <a:pos x="193" y="32"/>
                </a:cxn>
                <a:cxn ang="0">
                  <a:pos x="196" y="37"/>
                </a:cxn>
                <a:cxn ang="0">
                  <a:pos x="181" y="42"/>
                </a:cxn>
                <a:cxn ang="0">
                  <a:pos x="170" y="46"/>
                </a:cxn>
                <a:cxn ang="0">
                  <a:pos x="165" y="49"/>
                </a:cxn>
                <a:cxn ang="0">
                  <a:pos x="169" y="53"/>
                </a:cxn>
                <a:cxn ang="0">
                  <a:pos x="188" y="65"/>
                </a:cxn>
                <a:cxn ang="0">
                  <a:pos x="193" y="74"/>
                </a:cxn>
                <a:cxn ang="0">
                  <a:pos x="203" y="82"/>
                </a:cxn>
                <a:cxn ang="0">
                  <a:pos x="210" y="79"/>
                </a:cxn>
                <a:cxn ang="0">
                  <a:pos x="217" y="77"/>
                </a:cxn>
                <a:cxn ang="0">
                  <a:pos x="224" y="86"/>
                </a:cxn>
                <a:cxn ang="0">
                  <a:pos x="226" y="93"/>
                </a:cxn>
                <a:cxn ang="0">
                  <a:pos x="224" y="100"/>
                </a:cxn>
                <a:cxn ang="0">
                  <a:pos x="221" y="108"/>
                </a:cxn>
                <a:cxn ang="0">
                  <a:pos x="219" y="121"/>
                </a:cxn>
                <a:cxn ang="0">
                  <a:pos x="217" y="127"/>
                </a:cxn>
                <a:cxn ang="0">
                  <a:pos x="207" y="141"/>
                </a:cxn>
                <a:cxn ang="0">
                  <a:pos x="191" y="148"/>
                </a:cxn>
                <a:cxn ang="0">
                  <a:pos x="174" y="150"/>
                </a:cxn>
                <a:cxn ang="0">
                  <a:pos x="167" y="148"/>
                </a:cxn>
                <a:cxn ang="0">
                  <a:pos x="158" y="150"/>
                </a:cxn>
                <a:cxn ang="0">
                  <a:pos x="156" y="161"/>
                </a:cxn>
                <a:cxn ang="0">
                  <a:pos x="153" y="169"/>
                </a:cxn>
                <a:cxn ang="0">
                  <a:pos x="141" y="173"/>
                </a:cxn>
                <a:cxn ang="0">
                  <a:pos x="132" y="169"/>
                </a:cxn>
                <a:cxn ang="0">
                  <a:pos x="108" y="147"/>
                </a:cxn>
                <a:cxn ang="0">
                  <a:pos x="90" y="127"/>
                </a:cxn>
                <a:cxn ang="0">
                  <a:pos x="64" y="114"/>
                </a:cxn>
                <a:cxn ang="0">
                  <a:pos x="50" y="108"/>
                </a:cxn>
                <a:cxn ang="0">
                  <a:pos x="22" y="96"/>
                </a:cxn>
                <a:cxn ang="0">
                  <a:pos x="5" y="82"/>
                </a:cxn>
                <a:cxn ang="0">
                  <a:pos x="0" y="68"/>
                </a:cxn>
                <a:cxn ang="0">
                  <a:pos x="1" y="61"/>
                </a:cxn>
                <a:cxn ang="0">
                  <a:pos x="10" y="56"/>
                </a:cxn>
                <a:cxn ang="0">
                  <a:pos x="17" y="54"/>
                </a:cxn>
                <a:cxn ang="0">
                  <a:pos x="33" y="63"/>
                </a:cxn>
                <a:cxn ang="0">
                  <a:pos x="50" y="75"/>
                </a:cxn>
                <a:cxn ang="0">
                  <a:pos x="64" y="77"/>
                </a:cxn>
                <a:cxn ang="0">
                  <a:pos x="69" y="75"/>
                </a:cxn>
                <a:cxn ang="0">
                  <a:pos x="80" y="68"/>
                </a:cxn>
                <a:cxn ang="0">
                  <a:pos x="83" y="60"/>
                </a:cxn>
                <a:cxn ang="0">
                  <a:pos x="76" y="49"/>
                </a:cxn>
                <a:cxn ang="0">
                  <a:pos x="62" y="40"/>
                </a:cxn>
              </a:cxnLst>
              <a:rect l="0" t="0" r="r" b="b"/>
              <a:pathLst>
                <a:path w="226" h="173">
                  <a:moveTo>
                    <a:pt x="55" y="39"/>
                  </a:moveTo>
                  <a:lnTo>
                    <a:pt x="55" y="39"/>
                  </a:lnTo>
                  <a:lnTo>
                    <a:pt x="45" y="33"/>
                  </a:lnTo>
                  <a:lnTo>
                    <a:pt x="41" y="28"/>
                  </a:lnTo>
                  <a:lnTo>
                    <a:pt x="40" y="25"/>
                  </a:lnTo>
                  <a:lnTo>
                    <a:pt x="43" y="21"/>
                  </a:lnTo>
                  <a:lnTo>
                    <a:pt x="48" y="16"/>
                  </a:lnTo>
                  <a:lnTo>
                    <a:pt x="55" y="13"/>
                  </a:lnTo>
                  <a:lnTo>
                    <a:pt x="74" y="4"/>
                  </a:lnTo>
                  <a:lnTo>
                    <a:pt x="74" y="4"/>
                  </a:lnTo>
                  <a:lnTo>
                    <a:pt x="85" y="0"/>
                  </a:lnTo>
                  <a:lnTo>
                    <a:pt x="95" y="0"/>
                  </a:lnTo>
                  <a:lnTo>
                    <a:pt x="104" y="2"/>
                  </a:lnTo>
                  <a:lnTo>
                    <a:pt x="113" y="6"/>
                  </a:lnTo>
                  <a:lnTo>
                    <a:pt x="121" y="9"/>
                  </a:lnTo>
                  <a:lnTo>
                    <a:pt x="132" y="11"/>
                  </a:lnTo>
                  <a:lnTo>
                    <a:pt x="144" y="11"/>
                  </a:lnTo>
                  <a:lnTo>
                    <a:pt x="156" y="7"/>
                  </a:lnTo>
                  <a:lnTo>
                    <a:pt x="156" y="7"/>
                  </a:lnTo>
                  <a:lnTo>
                    <a:pt x="169" y="4"/>
                  </a:lnTo>
                  <a:lnTo>
                    <a:pt x="181" y="2"/>
                  </a:lnTo>
                  <a:lnTo>
                    <a:pt x="189" y="4"/>
                  </a:lnTo>
                  <a:lnTo>
                    <a:pt x="196" y="6"/>
                  </a:lnTo>
                  <a:lnTo>
                    <a:pt x="202" y="9"/>
                  </a:lnTo>
                  <a:lnTo>
                    <a:pt x="202" y="13"/>
                  </a:lnTo>
                  <a:lnTo>
                    <a:pt x="200" y="18"/>
                  </a:lnTo>
                  <a:lnTo>
                    <a:pt x="193" y="21"/>
                  </a:lnTo>
                  <a:lnTo>
                    <a:pt x="193" y="21"/>
                  </a:lnTo>
                  <a:lnTo>
                    <a:pt x="188" y="25"/>
                  </a:lnTo>
                  <a:lnTo>
                    <a:pt x="188" y="28"/>
                  </a:lnTo>
                  <a:lnTo>
                    <a:pt x="189" y="30"/>
                  </a:lnTo>
                  <a:lnTo>
                    <a:pt x="193" y="32"/>
                  </a:lnTo>
                  <a:lnTo>
                    <a:pt x="196" y="35"/>
                  </a:lnTo>
                  <a:lnTo>
                    <a:pt x="196" y="37"/>
                  </a:lnTo>
                  <a:lnTo>
                    <a:pt x="191" y="39"/>
                  </a:lnTo>
                  <a:lnTo>
                    <a:pt x="181" y="42"/>
                  </a:lnTo>
                  <a:lnTo>
                    <a:pt x="181" y="42"/>
                  </a:lnTo>
                  <a:lnTo>
                    <a:pt x="170" y="46"/>
                  </a:lnTo>
                  <a:lnTo>
                    <a:pt x="165" y="47"/>
                  </a:lnTo>
                  <a:lnTo>
                    <a:pt x="165" y="49"/>
                  </a:lnTo>
                  <a:lnTo>
                    <a:pt x="165" y="49"/>
                  </a:lnTo>
                  <a:lnTo>
                    <a:pt x="169" y="53"/>
                  </a:lnTo>
                  <a:lnTo>
                    <a:pt x="181" y="60"/>
                  </a:lnTo>
                  <a:lnTo>
                    <a:pt x="188" y="65"/>
                  </a:lnTo>
                  <a:lnTo>
                    <a:pt x="193" y="74"/>
                  </a:lnTo>
                  <a:lnTo>
                    <a:pt x="193" y="74"/>
                  </a:lnTo>
                  <a:lnTo>
                    <a:pt x="198" y="79"/>
                  </a:lnTo>
                  <a:lnTo>
                    <a:pt x="203" y="82"/>
                  </a:lnTo>
                  <a:lnTo>
                    <a:pt x="207" y="80"/>
                  </a:lnTo>
                  <a:lnTo>
                    <a:pt x="210" y="79"/>
                  </a:lnTo>
                  <a:lnTo>
                    <a:pt x="214" y="79"/>
                  </a:lnTo>
                  <a:lnTo>
                    <a:pt x="217" y="77"/>
                  </a:lnTo>
                  <a:lnTo>
                    <a:pt x="221" y="79"/>
                  </a:lnTo>
                  <a:lnTo>
                    <a:pt x="224" y="86"/>
                  </a:lnTo>
                  <a:lnTo>
                    <a:pt x="224" y="86"/>
                  </a:lnTo>
                  <a:lnTo>
                    <a:pt x="226" y="93"/>
                  </a:lnTo>
                  <a:lnTo>
                    <a:pt x="226" y="96"/>
                  </a:lnTo>
                  <a:lnTo>
                    <a:pt x="224" y="100"/>
                  </a:lnTo>
                  <a:lnTo>
                    <a:pt x="224" y="103"/>
                  </a:lnTo>
                  <a:lnTo>
                    <a:pt x="221" y="108"/>
                  </a:lnTo>
                  <a:lnTo>
                    <a:pt x="219" y="112"/>
                  </a:lnTo>
                  <a:lnTo>
                    <a:pt x="219" y="121"/>
                  </a:lnTo>
                  <a:lnTo>
                    <a:pt x="219" y="121"/>
                  </a:lnTo>
                  <a:lnTo>
                    <a:pt x="217" y="127"/>
                  </a:lnTo>
                  <a:lnTo>
                    <a:pt x="214" y="134"/>
                  </a:lnTo>
                  <a:lnTo>
                    <a:pt x="207" y="141"/>
                  </a:lnTo>
                  <a:lnTo>
                    <a:pt x="200" y="145"/>
                  </a:lnTo>
                  <a:lnTo>
                    <a:pt x="191" y="148"/>
                  </a:lnTo>
                  <a:lnTo>
                    <a:pt x="182" y="150"/>
                  </a:lnTo>
                  <a:lnTo>
                    <a:pt x="174" y="150"/>
                  </a:lnTo>
                  <a:lnTo>
                    <a:pt x="167" y="148"/>
                  </a:lnTo>
                  <a:lnTo>
                    <a:pt x="167" y="148"/>
                  </a:lnTo>
                  <a:lnTo>
                    <a:pt x="162" y="148"/>
                  </a:lnTo>
                  <a:lnTo>
                    <a:pt x="158" y="150"/>
                  </a:lnTo>
                  <a:lnTo>
                    <a:pt x="158" y="155"/>
                  </a:lnTo>
                  <a:lnTo>
                    <a:pt x="156" y="161"/>
                  </a:lnTo>
                  <a:lnTo>
                    <a:pt x="156" y="166"/>
                  </a:lnTo>
                  <a:lnTo>
                    <a:pt x="153" y="169"/>
                  </a:lnTo>
                  <a:lnTo>
                    <a:pt x="148" y="173"/>
                  </a:lnTo>
                  <a:lnTo>
                    <a:pt x="141" y="173"/>
                  </a:lnTo>
                  <a:lnTo>
                    <a:pt x="141" y="173"/>
                  </a:lnTo>
                  <a:lnTo>
                    <a:pt x="132" y="169"/>
                  </a:lnTo>
                  <a:lnTo>
                    <a:pt x="123" y="164"/>
                  </a:lnTo>
                  <a:lnTo>
                    <a:pt x="108" y="147"/>
                  </a:lnTo>
                  <a:lnTo>
                    <a:pt x="101" y="138"/>
                  </a:lnTo>
                  <a:lnTo>
                    <a:pt x="90" y="127"/>
                  </a:lnTo>
                  <a:lnTo>
                    <a:pt x="78" y="121"/>
                  </a:lnTo>
                  <a:lnTo>
                    <a:pt x="64" y="114"/>
                  </a:lnTo>
                  <a:lnTo>
                    <a:pt x="64" y="114"/>
                  </a:lnTo>
                  <a:lnTo>
                    <a:pt x="50" y="108"/>
                  </a:lnTo>
                  <a:lnTo>
                    <a:pt x="36" y="103"/>
                  </a:lnTo>
                  <a:lnTo>
                    <a:pt x="22" y="96"/>
                  </a:lnTo>
                  <a:lnTo>
                    <a:pt x="14" y="89"/>
                  </a:lnTo>
                  <a:lnTo>
                    <a:pt x="5" y="82"/>
                  </a:lnTo>
                  <a:lnTo>
                    <a:pt x="0" y="75"/>
                  </a:lnTo>
                  <a:lnTo>
                    <a:pt x="0" y="68"/>
                  </a:lnTo>
                  <a:lnTo>
                    <a:pt x="1" y="61"/>
                  </a:lnTo>
                  <a:lnTo>
                    <a:pt x="1" y="61"/>
                  </a:lnTo>
                  <a:lnTo>
                    <a:pt x="5" y="58"/>
                  </a:lnTo>
                  <a:lnTo>
                    <a:pt x="10" y="56"/>
                  </a:lnTo>
                  <a:lnTo>
                    <a:pt x="14" y="54"/>
                  </a:lnTo>
                  <a:lnTo>
                    <a:pt x="17" y="54"/>
                  </a:lnTo>
                  <a:lnTo>
                    <a:pt x="26" y="58"/>
                  </a:lnTo>
                  <a:lnTo>
                    <a:pt x="33" y="63"/>
                  </a:lnTo>
                  <a:lnTo>
                    <a:pt x="41" y="70"/>
                  </a:lnTo>
                  <a:lnTo>
                    <a:pt x="50" y="75"/>
                  </a:lnTo>
                  <a:lnTo>
                    <a:pt x="59" y="77"/>
                  </a:lnTo>
                  <a:lnTo>
                    <a:pt x="64" y="77"/>
                  </a:lnTo>
                  <a:lnTo>
                    <a:pt x="69" y="75"/>
                  </a:lnTo>
                  <a:lnTo>
                    <a:pt x="69" y="75"/>
                  </a:lnTo>
                  <a:lnTo>
                    <a:pt x="74" y="72"/>
                  </a:lnTo>
                  <a:lnTo>
                    <a:pt x="80" y="68"/>
                  </a:lnTo>
                  <a:lnTo>
                    <a:pt x="81" y="63"/>
                  </a:lnTo>
                  <a:lnTo>
                    <a:pt x="83" y="60"/>
                  </a:lnTo>
                  <a:lnTo>
                    <a:pt x="81" y="54"/>
                  </a:lnTo>
                  <a:lnTo>
                    <a:pt x="76" y="49"/>
                  </a:lnTo>
                  <a:lnTo>
                    <a:pt x="71" y="46"/>
                  </a:lnTo>
                  <a:lnTo>
                    <a:pt x="62" y="40"/>
                  </a:lnTo>
                  <a:lnTo>
                    <a:pt x="55" y="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 name="Freeform 1718">
              <a:extLst>
                <a:ext uri="{FF2B5EF4-FFF2-40B4-BE49-F238E27FC236}">
                  <a16:creationId xmlns:a16="http://schemas.microsoft.com/office/drawing/2014/main" id="{A1F28963-33D7-4E51-B83B-03199CB34C8C}"/>
                </a:ext>
              </a:extLst>
            </p:cNvPr>
            <p:cNvSpPr>
              <a:spLocks/>
            </p:cNvSpPr>
            <p:nvPr/>
          </p:nvSpPr>
          <p:spPr bwMode="auto">
            <a:xfrm>
              <a:off x="2214170" y="1248546"/>
              <a:ext cx="185009" cy="93386"/>
            </a:xfrm>
            <a:custGeom>
              <a:avLst/>
              <a:gdLst/>
              <a:ahLst/>
              <a:cxnLst>
                <a:cxn ang="0">
                  <a:pos x="211" y="113"/>
                </a:cxn>
                <a:cxn ang="0">
                  <a:pos x="190" y="115"/>
                </a:cxn>
                <a:cxn ang="0">
                  <a:pos x="176" y="111"/>
                </a:cxn>
                <a:cxn ang="0">
                  <a:pos x="168" y="104"/>
                </a:cxn>
                <a:cxn ang="0">
                  <a:pos x="157" y="90"/>
                </a:cxn>
                <a:cxn ang="0">
                  <a:pos x="147" y="82"/>
                </a:cxn>
                <a:cxn ang="0">
                  <a:pos x="134" y="80"/>
                </a:cxn>
                <a:cxn ang="0">
                  <a:pos x="126" y="80"/>
                </a:cxn>
                <a:cxn ang="0">
                  <a:pos x="103" y="80"/>
                </a:cxn>
                <a:cxn ang="0">
                  <a:pos x="98" y="76"/>
                </a:cxn>
                <a:cxn ang="0">
                  <a:pos x="93" y="71"/>
                </a:cxn>
                <a:cxn ang="0">
                  <a:pos x="67" y="76"/>
                </a:cxn>
                <a:cxn ang="0">
                  <a:pos x="51" y="80"/>
                </a:cxn>
                <a:cxn ang="0">
                  <a:pos x="30" y="80"/>
                </a:cxn>
                <a:cxn ang="0">
                  <a:pos x="20" y="73"/>
                </a:cxn>
                <a:cxn ang="0">
                  <a:pos x="20" y="64"/>
                </a:cxn>
                <a:cxn ang="0">
                  <a:pos x="21" y="63"/>
                </a:cxn>
                <a:cxn ang="0">
                  <a:pos x="37" y="61"/>
                </a:cxn>
                <a:cxn ang="0">
                  <a:pos x="58" y="61"/>
                </a:cxn>
                <a:cxn ang="0">
                  <a:pos x="61" y="56"/>
                </a:cxn>
                <a:cxn ang="0">
                  <a:pos x="56" y="47"/>
                </a:cxn>
                <a:cxn ang="0">
                  <a:pos x="44" y="38"/>
                </a:cxn>
                <a:cxn ang="0">
                  <a:pos x="33" y="42"/>
                </a:cxn>
                <a:cxn ang="0">
                  <a:pos x="26" y="45"/>
                </a:cxn>
                <a:cxn ang="0">
                  <a:pos x="25" y="36"/>
                </a:cxn>
                <a:cxn ang="0">
                  <a:pos x="25" y="29"/>
                </a:cxn>
                <a:cxn ang="0">
                  <a:pos x="16" y="28"/>
                </a:cxn>
                <a:cxn ang="0">
                  <a:pos x="6" y="29"/>
                </a:cxn>
                <a:cxn ang="0">
                  <a:pos x="0" y="26"/>
                </a:cxn>
                <a:cxn ang="0">
                  <a:pos x="0" y="17"/>
                </a:cxn>
                <a:cxn ang="0">
                  <a:pos x="7" y="9"/>
                </a:cxn>
                <a:cxn ang="0">
                  <a:pos x="18" y="3"/>
                </a:cxn>
                <a:cxn ang="0">
                  <a:pos x="51" y="2"/>
                </a:cxn>
                <a:cxn ang="0">
                  <a:pos x="82" y="10"/>
                </a:cxn>
                <a:cxn ang="0">
                  <a:pos x="100" y="21"/>
                </a:cxn>
                <a:cxn ang="0">
                  <a:pos x="101" y="24"/>
                </a:cxn>
                <a:cxn ang="0">
                  <a:pos x="107" y="33"/>
                </a:cxn>
                <a:cxn ang="0">
                  <a:pos x="112" y="29"/>
                </a:cxn>
                <a:cxn ang="0">
                  <a:pos x="122" y="24"/>
                </a:cxn>
                <a:cxn ang="0">
                  <a:pos x="141" y="26"/>
                </a:cxn>
                <a:cxn ang="0">
                  <a:pos x="152" y="29"/>
                </a:cxn>
                <a:cxn ang="0">
                  <a:pos x="159" y="35"/>
                </a:cxn>
                <a:cxn ang="0">
                  <a:pos x="162" y="38"/>
                </a:cxn>
                <a:cxn ang="0">
                  <a:pos x="181" y="43"/>
                </a:cxn>
                <a:cxn ang="0">
                  <a:pos x="194" y="45"/>
                </a:cxn>
                <a:cxn ang="0">
                  <a:pos x="209" y="52"/>
                </a:cxn>
                <a:cxn ang="0">
                  <a:pos x="215" y="61"/>
                </a:cxn>
                <a:cxn ang="0">
                  <a:pos x="211" y="68"/>
                </a:cxn>
                <a:cxn ang="0">
                  <a:pos x="206" y="69"/>
                </a:cxn>
                <a:cxn ang="0">
                  <a:pos x="204" y="73"/>
                </a:cxn>
                <a:cxn ang="0">
                  <a:pos x="223" y="90"/>
                </a:cxn>
                <a:cxn ang="0">
                  <a:pos x="230" y="101"/>
                </a:cxn>
                <a:cxn ang="0">
                  <a:pos x="230" y="106"/>
                </a:cxn>
                <a:cxn ang="0">
                  <a:pos x="220" y="111"/>
                </a:cxn>
                <a:cxn ang="0">
                  <a:pos x="211" y="113"/>
                </a:cxn>
              </a:cxnLst>
              <a:rect l="0" t="0" r="r" b="b"/>
              <a:pathLst>
                <a:path w="232" h="115">
                  <a:moveTo>
                    <a:pt x="211" y="113"/>
                  </a:moveTo>
                  <a:lnTo>
                    <a:pt x="211" y="113"/>
                  </a:lnTo>
                  <a:lnTo>
                    <a:pt x="201" y="115"/>
                  </a:lnTo>
                  <a:lnTo>
                    <a:pt x="190" y="115"/>
                  </a:lnTo>
                  <a:lnTo>
                    <a:pt x="181" y="113"/>
                  </a:lnTo>
                  <a:lnTo>
                    <a:pt x="176" y="111"/>
                  </a:lnTo>
                  <a:lnTo>
                    <a:pt x="171" y="108"/>
                  </a:lnTo>
                  <a:lnTo>
                    <a:pt x="168" y="104"/>
                  </a:lnTo>
                  <a:lnTo>
                    <a:pt x="161" y="97"/>
                  </a:lnTo>
                  <a:lnTo>
                    <a:pt x="157" y="90"/>
                  </a:lnTo>
                  <a:lnTo>
                    <a:pt x="150" y="83"/>
                  </a:lnTo>
                  <a:lnTo>
                    <a:pt x="147" y="82"/>
                  </a:lnTo>
                  <a:lnTo>
                    <a:pt x="141" y="80"/>
                  </a:lnTo>
                  <a:lnTo>
                    <a:pt x="134" y="80"/>
                  </a:lnTo>
                  <a:lnTo>
                    <a:pt x="126" y="80"/>
                  </a:lnTo>
                  <a:lnTo>
                    <a:pt x="126" y="80"/>
                  </a:lnTo>
                  <a:lnTo>
                    <a:pt x="112" y="82"/>
                  </a:lnTo>
                  <a:lnTo>
                    <a:pt x="103" y="80"/>
                  </a:lnTo>
                  <a:lnTo>
                    <a:pt x="100" y="78"/>
                  </a:lnTo>
                  <a:lnTo>
                    <a:pt x="98" y="76"/>
                  </a:lnTo>
                  <a:lnTo>
                    <a:pt x="98" y="73"/>
                  </a:lnTo>
                  <a:lnTo>
                    <a:pt x="93" y="71"/>
                  </a:lnTo>
                  <a:lnTo>
                    <a:pt x="84" y="73"/>
                  </a:lnTo>
                  <a:lnTo>
                    <a:pt x="67" y="76"/>
                  </a:lnTo>
                  <a:lnTo>
                    <a:pt x="67" y="76"/>
                  </a:lnTo>
                  <a:lnTo>
                    <a:pt x="51" y="80"/>
                  </a:lnTo>
                  <a:lnTo>
                    <a:pt x="39" y="82"/>
                  </a:lnTo>
                  <a:lnTo>
                    <a:pt x="30" y="80"/>
                  </a:lnTo>
                  <a:lnTo>
                    <a:pt x="23" y="76"/>
                  </a:lnTo>
                  <a:lnTo>
                    <a:pt x="20" y="73"/>
                  </a:lnTo>
                  <a:lnTo>
                    <a:pt x="20" y="68"/>
                  </a:lnTo>
                  <a:lnTo>
                    <a:pt x="20" y="64"/>
                  </a:lnTo>
                  <a:lnTo>
                    <a:pt x="21" y="63"/>
                  </a:lnTo>
                  <a:lnTo>
                    <a:pt x="21" y="63"/>
                  </a:lnTo>
                  <a:lnTo>
                    <a:pt x="28" y="61"/>
                  </a:lnTo>
                  <a:lnTo>
                    <a:pt x="37" y="61"/>
                  </a:lnTo>
                  <a:lnTo>
                    <a:pt x="53" y="61"/>
                  </a:lnTo>
                  <a:lnTo>
                    <a:pt x="58" y="61"/>
                  </a:lnTo>
                  <a:lnTo>
                    <a:pt x="61" y="59"/>
                  </a:lnTo>
                  <a:lnTo>
                    <a:pt x="61" y="56"/>
                  </a:lnTo>
                  <a:lnTo>
                    <a:pt x="56" y="47"/>
                  </a:lnTo>
                  <a:lnTo>
                    <a:pt x="56" y="47"/>
                  </a:lnTo>
                  <a:lnTo>
                    <a:pt x="49" y="42"/>
                  </a:lnTo>
                  <a:lnTo>
                    <a:pt x="44" y="38"/>
                  </a:lnTo>
                  <a:lnTo>
                    <a:pt x="39" y="40"/>
                  </a:lnTo>
                  <a:lnTo>
                    <a:pt x="33" y="42"/>
                  </a:lnTo>
                  <a:lnTo>
                    <a:pt x="30" y="43"/>
                  </a:lnTo>
                  <a:lnTo>
                    <a:pt x="26" y="45"/>
                  </a:lnTo>
                  <a:lnTo>
                    <a:pt x="25" y="43"/>
                  </a:lnTo>
                  <a:lnTo>
                    <a:pt x="25" y="36"/>
                  </a:lnTo>
                  <a:lnTo>
                    <a:pt x="25" y="36"/>
                  </a:lnTo>
                  <a:lnTo>
                    <a:pt x="25" y="29"/>
                  </a:lnTo>
                  <a:lnTo>
                    <a:pt x="21" y="28"/>
                  </a:lnTo>
                  <a:lnTo>
                    <a:pt x="16" y="28"/>
                  </a:lnTo>
                  <a:lnTo>
                    <a:pt x="11" y="29"/>
                  </a:lnTo>
                  <a:lnTo>
                    <a:pt x="6" y="29"/>
                  </a:lnTo>
                  <a:lnTo>
                    <a:pt x="2" y="29"/>
                  </a:lnTo>
                  <a:lnTo>
                    <a:pt x="0" y="26"/>
                  </a:lnTo>
                  <a:lnTo>
                    <a:pt x="0" y="17"/>
                  </a:lnTo>
                  <a:lnTo>
                    <a:pt x="0" y="17"/>
                  </a:lnTo>
                  <a:lnTo>
                    <a:pt x="4" y="12"/>
                  </a:lnTo>
                  <a:lnTo>
                    <a:pt x="7" y="9"/>
                  </a:lnTo>
                  <a:lnTo>
                    <a:pt x="13" y="5"/>
                  </a:lnTo>
                  <a:lnTo>
                    <a:pt x="18" y="3"/>
                  </a:lnTo>
                  <a:lnTo>
                    <a:pt x="33" y="0"/>
                  </a:lnTo>
                  <a:lnTo>
                    <a:pt x="51" y="2"/>
                  </a:lnTo>
                  <a:lnTo>
                    <a:pt x="67" y="5"/>
                  </a:lnTo>
                  <a:lnTo>
                    <a:pt x="82" y="10"/>
                  </a:lnTo>
                  <a:lnTo>
                    <a:pt x="94" y="17"/>
                  </a:lnTo>
                  <a:lnTo>
                    <a:pt x="100" y="21"/>
                  </a:lnTo>
                  <a:lnTo>
                    <a:pt x="101" y="24"/>
                  </a:lnTo>
                  <a:lnTo>
                    <a:pt x="101" y="24"/>
                  </a:lnTo>
                  <a:lnTo>
                    <a:pt x="105" y="31"/>
                  </a:lnTo>
                  <a:lnTo>
                    <a:pt x="107" y="33"/>
                  </a:lnTo>
                  <a:lnTo>
                    <a:pt x="110" y="31"/>
                  </a:lnTo>
                  <a:lnTo>
                    <a:pt x="112" y="29"/>
                  </a:lnTo>
                  <a:lnTo>
                    <a:pt x="115" y="26"/>
                  </a:lnTo>
                  <a:lnTo>
                    <a:pt x="122" y="24"/>
                  </a:lnTo>
                  <a:lnTo>
                    <a:pt x="129" y="22"/>
                  </a:lnTo>
                  <a:lnTo>
                    <a:pt x="141" y="26"/>
                  </a:lnTo>
                  <a:lnTo>
                    <a:pt x="141" y="26"/>
                  </a:lnTo>
                  <a:lnTo>
                    <a:pt x="152" y="29"/>
                  </a:lnTo>
                  <a:lnTo>
                    <a:pt x="157" y="33"/>
                  </a:lnTo>
                  <a:lnTo>
                    <a:pt x="159" y="35"/>
                  </a:lnTo>
                  <a:lnTo>
                    <a:pt x="161" y="36"/>
                  </a:lnTo>
                  <a:lnTo>
                    <a:pt x="162" y="38"/>
                  </a:lnTo>
                  <a:lnTo>
                    <a:pt x="164" y="40"/>
                  </a:lnTo>
                  <a:lnTo>
                    <a:pt x="181" y="43"/>
                  </a:lnTo>
                  <a:lnTo>
                    <a:pt x="181" y="43"/>
                  </a:lnTo>
                  <a:lnTo>
                    <a:pt x="194" y="45"/>
                  </a:lnTo>
                  <a:lnTo>
                    <a:pt x="204" y="49"/>
                  </a:lnTo>
                  <a:lnTo>
                    <a:pt x="209" y="52"/>
                  </a:lnTo>
                  <a:lnTo>
                    <a:pt x="215" y="56"/>
                  </a:lnTo>
                  <a:lnTo>
                    <a:pt x="215" y="61"/>
                  </a:lnTo>
                  <a:lnTo>
                    <a:pt x="213" y="64"/>
                  </a:lnTo>
                  <a:lnTo>
                    <a:pt x="211" y="68"/>
                  </a:lnTo>
                  <a:lnTo>
                    <a:pt x="206" y="69"/>
                  </a:lnTo>
                  <a:lnTo>
                    <a:pt x="206" y="69"/>
                  </a:lnTo>
                  <a:lnTo>
                    <a:pt x="204" y="71"/>
                  </a:lnTo>
                  <a:lnTo>
                    <a:pt x="204" y="73"/>
                  </a:lnTo>
                  <a:lnTo>
                    <a:pt x="208" y="76"/>
                  </a:lnTo>
                  <a:lnTo>
                    <a:pt x="223" y="90"/>
                  </a:lnTo>
                  <a:lnTo>
                    <a:pt x="228" y="97"/>
                  </a:lnTo>
                  <a:lnTo>
                    <a:pt x="230" y="101"/>
                  </a:lnTo>
                  <a:lnTo>
                    <a:pt x="232" y="104"/>
                  </a:lnTo>
                  <a:lnTo>
                    <a:pt x="230" y="106"/>
                  </a:lnTo>
                  <a:lnTo>
                    <a:pt x="227" y="110"/>
                  </a:lnTo>
                  <a:lnTo>
                    <a:pt x="220" y="111"/>
                  </a:lnTo>
                  <a:lnTo>
                    <a:pt x="211" y="113"/>
                  </a:lnTo>
                  <a:lnTo>
                    <a:pt x="211" y="1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 name="Freeform 1719">
              <a:extLst>
                <a:ext uri="{FF2B5EF4-FFF2-40B4-BE49-F238E27FC236}">
                  <a16:creationId xmlns:a16="http://schemas.microsoft.com/office/drawing/2014/main" id="{A0FB17ED-1B24-4E29-8D98-12DCCEED1072}"/>
                </a:ext>
              </a:extLst>
            </p:cNvPr>
            <p:cNvSpPr>
              <a:spLocks/>
            </p:cNvSpPr>
            <p:nvPr/>
          </p:nvSpPr>
          <p:spPr bwMode="auto">
            <a:xfrm>
              <a:off x="2603570" y="1030058"/>
              <a:ext cx="863380" cy="401738"/>
            </a:xfrm>
            <a:custGeom>
              <a:avLst/>
              <a:gdLst/>
              <a:ahLst/>
              <a:cxnLst>
                <a:cxn ang="0">
                  <a:pos x="108" y="441"/>
                </a:cxn>
                <a:cxn ang="0">
                  <a:pos x="129" y="403"/>
                </a:cxn>
                <a:cxn ang="0">
                  <a:pos x="178" y="384"/>
                </a:cxn>
                <a:cxn ang="0">
                  <a:pos x="267" y="422"/>
                </a:cxn>
                <a:cxn ang="0">
                  <a:pos x="317" y="375"/>
                </a:cxn>
                <a:cxn ang="0">
                  <a:pos x="230" y="401"/>
                </a:cxn>
                <a:cxn ang="0">
                  <a:pos x="213" y="368"/>
                </a:cxn>
                <a:cxn ang="0">
                  <a:pos x="159" y="366"/>
                </a:cxn>
                <a:cxn ang="0">
                  <a:pos x="180" y="324"/>
                </a:cxn>
                <a:cxn ang="0">
                  <a:pos x="314" y="317"/>
                </a:cxn>
                <a:cxn ang="0">
                  <a:pos x="246" y="298"/>
                </a:cxn>
                <a:cxn ang="0">
                  <a:pos x="228" y="260"/>
                </a:cxn>
                <a:cxn ang="0">
                  <a:pos x="186" y="215"/>
                </a:cxn>
                <a:cxn ang="0">
                  <a:pos x="319" y="232"/>
                </a:cxn>
                <a:cxn ang="0">
                  <a:pos x="390" y="258"/>
                </a:cxn>
                <a:cxn ang="0">
                  <a:pos x="321" y="208"/>
                </a:cxn>
                <a:cxn ang="0">
                  <a:pos x="484" y="168"/>
                </a:cxn>
                <a:cxn ang="0">
                  <a:pos x="474" y="140"/>
                </a:cxn>
                <a:cxn ang="0">
                  <a:pos x="300" y="185"/>
                </a:cxn>
                <a:cxn ang="0">
                  <a:pos x="193" y="192"/>
                </a:cxn>
                <a:cxn ang="0">
                  <a:pos x="221" y="161"/>
                </a:cxn>
                <a:cxn ang="0">
                  <a:pos x="145" y="187"/>
                </a:cxn>
                <a:cxn ang="0">
                  <a:pos x="52" y="154"/>
                </a:cxn>
                <a:cxn ang="0">
                  <a:pos x="44" y="131"/>
                </a:cxn>
                <a:cxn ang="0">
                  <a:pos x="2" y="119"/>
                </a:cxn>
                <a:cxn ang="0">
                  <a:pos x="68" y="91"/>
                </a:cxn>
                <a:cxn ang="0">
                  <a:pos x="143" y="75"/>
                </a:cxn>
                <a:cxn ang="0">
                  <a:pos x="214" y="81"/>
                </a:cxn>
                <a:cxn ang="0">
                  <a:pos x="216" y="58"/>
                </a:cxn>
                <a:cxn ang="0">
                  <a:pos x="251" y="49"/>
                </a:cxn>
                <a:cxn ang="0">
                  <a:pos x="317" y="58"/>
                </a:cxn>
                <a:cxn ang="0">
                  <a:pos x="368" y="41"/>
                </a:cxn>
                <a:cxn ang="0">
                  <a:pos x="375" y="21"/>
                </a:cxn>
                <a:cxn ang="0">
                  <a:pos x="470" y="18"/>
                </a:cxn>
                <a:cxn ang="0">
                  <a:pos x="662" y="9"/>
                </a:cxn>
                <a:cxn ang="0">
                  <a:pos x="782" y="2"/>
                </a:cxn>
                <a:cxn ang="0">
                  <a:pos x="874" y="21"/>
                </a:cxn>
                <a:cxn ang="0">
                  <a:pos x="885" y="27"/>
                </a:cxn>
                <a:cxn ang="0">
                  <a:pos x="996" y="27"/>
                </a:cxn>
                <a:cxn ang="0">
                  <a:pos x="1054" y="49"/>
                </a:cxn>
                <a:cxn ang="0">
                  <a:pos x="1019" y="88"/>
                </a:cxn>
                <a:cxn ang="0">
                  <a:pos x="902" y="124"/>
                </a:cxn>
                <a:cxn ang="0">
                  <a:pos x="829" y="178"/>
                </a:cxn>
                <a:cxn ang="0">
                  <a:pos x="695" y="255"/>
                </a:cxn>
                <a:cxn ang="0">
                  <a:pos x="651" y="262"/>
                </a:cxn>
                <a:cxn ang="0">
                  <a:pos x="500" y="283"/>
                </a:cxn>
                <a:cxn ang="0">
                  <a:pos x="596" y="284"/>
                </a:cxn>
                <a:cxn ang="0">
                  <a:pos x="564" y="302"/>
                </a:cxn>
                <a:cxn ang="0">
                  <a:pos x="590" y="331"/>
                </a:cxn>
                <a:cxn ang="0">
                  <a:pos x="564" y="370"/>
                </a:cxn>
                <a:cxn ang="0">
                  <a:pos x="476" y="384"/>
                </a:cxn>
                <a:cxn ang="0">
                  <a:pos x="448" y="427"/>
                </a:cxn>
                <a:cxn ang="0">
                  <a:pos x="476" y="446"/>
                </a:cxn>
                <a:cxn ang="0">
                  <a:pos x="472" y="479"/>
                </a:cxn>
                <a:cxn ang="0">
                  <a:pos x="381" y="498"/>
                </a:cxn>
                <a:cxn ang="0">
                  <a:pos x="357" y="481"/>
                </a:cxn>
                <a:cxn ang="0">
                  <a:pos x="261" y="485"/>
                </a:cxn>
                <a:cxn ang="0">
                  <a:pos x="178" y="479"/>
                </a:cxn>
                <a:cxn ang="0">
                  <a:pos x="113" y="483"/>
                </a:cxn>
              </a:cxnLst>
              <a:rect l="0" t="0" r="r" b="b"/>
              <a:pathLst>
                <a:path w="1076" h="504">
                  <a:moveTo>
                    <a:pt x="82" y="479"/>
                  </a:moveTo>
                  <a:lnTo>
                    <a:pt x="82" y="479"/>
                  </a:lnTo>
                  <a:lnTo>
                    <a:pt x="79" y="476"/>
                  </a:lnTo>
                  <a:lnTo>
                    <a:pt x="75" y="472"/>
                  </a:lnTo>
                  <a:lnTo>
                    <a:pt x="75" y="469"/>
                  </a:lnTo>
                  <a:lnTo>
                    <a:pt x="75" y="465"/>
                  </a:lnTo>
                  <a:lnTo>
                    <a:pt x="79" y="458"/>
                  </a:lnTo>
                  <a:lnTo>
                    <a:pt x="85" y="451"/>
                  </a:lnTo>
                  <a:lnTo>
                    <a:pt x="94" y="446"/>
                  </a:lnTo>
                  <a:lnTo>
                    <a:pt x="108" y="441"/>
                  </a:lnTo>
                  <a:lnTo>
                    <a:pt x="122" y="437"/>
                  </a:lnTo>
                  <a:lnTo>
                    <a:pt x="138" y="437"/>
                  </a:lnTo>
                  <a:lnTo>
                    <a:pt x="138" y="437"/>
                  </a:lnTo>
                  <a:lnTo>
                    <a:pt x="150" y="436"/>
                  </a:lnTo>
                  <a:lnTo>
                    <a:pt x="157" y="434"/>
                  </a:lnTo>
                  <a:lnTo>
                    <a:pt x="159" y="432"/>
                  </a:lnTo>
                  <a:lnTo>
                    <a:pt x="159" y="431"/>
                  </a:lnTo>
                  <a:lnTo>
                    <a:pt x="157" y="425"/>
                  </a:lnTo>
                  <a:lnTo>
                    <a:pt x="145" y="415"/>
                  </a:lnTo>
                  <a:lnTo>
                    <a:pt x="129" y="403"/>
                  </a:lnTo>
                  <a:lnTo>
                    <a:pt x="129" y="403"/>
                  </a:lnTo>
                  <a:lnTo>
                    <a:pt x="124" y="397"/>
                  </a:lnTo>
                  <a:lnTo>
                    <a:pt x="120" y="392"/>
                  </a:lnTo>
                  <a:lnTo>
                    <a:pt x="120" y="389"/>
                  </a:lnTo>
                  <a:lnTo>
                    <a:pt x="124" y="385"/>
                  </a:lnTo>
                  <a:lnTo>
                    <a:pt x="131" y="384"/>
                  </a:lnTo>
                  <a:lnTo>
                    <a:pt x="139" y="382"/>
                  </a:lnTo>
                  <a:lnTo>
                    <a:pt x="164" y="382"/>
                  </a:lnTo>
                  <a:lnTo>
                    <a:pt x="164" y="382"/>
                  </a:lnTo>
                  <a:lnTo>
                    <a:pt x="178" y="384"/>
                  </a:lnTo>
                  <a:lnTo>
                    <a:pt x="188" y="387"/>
                  </a:lnTo>
                  <a:lnTo>
                    <a:pt x="197" y="394"/>
                  </a:lnTo>
                  <a:lnTo>
                    <a:pt x="206" y="401"/>
                  </a:lnTo>
                  <a:lnTo>
                    <a:pt x="213" y="408"/>
                  </a:lnTo>
                  <a:lnTo>
                    <a:pt x="223" y="415"/>
                  </a:lnTo>
                  <a:lnTo>
                    <a:pt x="233" y="420"/>
                  </a:lnTo>
                  <a:lnTo>
                    <a:pt x="247" y="424"/>
                  </a:lnTo>
                  <a:lnTo>
                    <a:pt x="247" y="424"/>
                  </a:lnTo>
                  <a:lnTo>
                    <a:pt x="258" y="424"/>
                  </a:lnTo>
                  <a:lnTo>
                    <a:pt x="267" y="422"/>
                  </a:lnTo>
                  <a:lnTo>
                    <a:pt x="274" y="418"/>
                  </a:lnTo>
                  <a:lnTo>
                    <a:pt x="282" y="415"/>
                  </a:lnTo>
                  <a:lnTo>
                    <a:pt x="296" y="404"/>
                  </a:lnTo>
                  <a:lnTo>
                    <a:pt x="308" y="392"/>
                  </a:lnTo>
                  <a:lnTo>
                    <a:pt x="317" y="382"/>
                  </a:lnTo>
                  <a:lnTo>
                    <a:pt x="322" y="375"/>
                  </a:lnTo>
                  <a:lnTo>
                    <a:pt x="322" y="371"/>
                  </a:lnTo>
                  <a:lnTo>
                    <a:pt x="322" y="371"/>
                  </a:lnTo>
                  <a:lnTo>
                    <a:pt x="317" y="375"/>
                  </a:lnTo>
                  <a:lnTo>
                    <a:pt x="317" y="375"/>
                  </a:lnTo>
                  <a:lnTo>
                    <a:pt x="308" y="384"/>
                  </a:lnTo>
                  <a:lnTo>
                    <a:pt x="298" y="392"/>
                  </a:lnTo>
                  <a:lnTo>
                    <a:pt x="286" y="399"/>
                  </a:lnTo>
                  <a:lnTo>
                    <a:pt x="274" y="406"/>
                  </a:lnTo>
                  <a:lnTo>
                    <a:pt x="261" y="410"/>
                  </a:lnTo>
                  <a:lnTo>
                    <a:pt x="249" y="410"/>
                  </a:lnTo>
                  <a:lnTo>
                    <a:pt x="244" y="410"/>
                  </a:lnTo>
                  <a:lnTo>
                    <a:pt x="239" y="408"/>
                  </a:lnTo>
                  <a:lnTo>
                    <a:pt x="233" y="404"/>
                  </a:lnTo>
                  <a:lnTo>
                    <a:pt x="230" y="401"/>
                  </a:lnTo>
                  <a:lnTo>
                    <a:pt x="230" y="401"/>
                  </a:lnTo>
                  <a:lnTo>
                    <a:pt x="225" y="392"/>
                  </a:lnTo>
                  <a:lnTo>
                    <a:pt x="223" y="384"/>
                  </a:lnTo>
                  <a:lnTo>
                    <a:pt x="223" y="378"/>
                  </a:lnTo>
                  <a:lnTo>
                    <a:pt x="225" y="373"/>
                  </a:lnTo>
                  <a:lnTo>
                    <a:pt x="225" y="370"/>
                  </a:lnTo>
                  <a:lnTo>
                    <a:pt x="225" y="368"/>
                  </a:lnTo>
                  <a:lnTo>
                    <a:pt x="221" y="366"/>
                  </a:lnTo>
                  <a:lnTo>
                    <a:pt x="213" y="368"/>
                  </a:lnTo>
                  <a:lnTo>
                    <a:pt x="213" y="368"/>
                  </a:lnTo>
                  <a:lnTo>
                    <a:pt x="204" y="370"/>
                  </a:lnTo>
                  <a:lnTo>
                    <a:pt x="199" y="370"/>
                  </a:lnTo>
                  <a:lnTo>
                    <a:pt x="195" y="368"/>
                  </a:lnTo>
                  <a:lnTo>
                    <a:pt x="193" y="366"/>
                  </a:lnTo>
                  <a:lnTo>
                    <a:pt x="192" y="364"/>
                  </a:lnTo>
                  <a:lnTo>
                    <a:pt x="186" y="363"/>
                  </a:lnTo>
                  <a:lnTo>
                    <a:pt x="180" y="364"/>
                  </a:lnTo>
                  <a:lnTo>
                    <a:pt x="169" y="366"/>
                  </a:lnTo>
                  <a:lnTo>
                    <a:pt x="169" y="366"/>
                  </a:lnTo>
                  <a:lnTo>
                    <a:pt x="159" y="366"/>
                  </a:lnTo>
                  <a:lnTo>
                    <a:pt x="152" y="366"/>
                  </a:lnTo>
                  <a:lnTo>
                    <a:pt x="146" y="361"/>
                  </a:lnTo>
                  <a:lnTo>
                    <a:pt x="145" y="356"/>
                  </a:lnTo>
                  <a:lnTo>
                    <a:pt x="146" y="350"/>
                  </a:lnTo>
                  <a:lnTo>
                    <a:pt x="148" y="343"/>
                  </a:lnTo>
                  <a:lnTo>
                    <a:pt x="153" y="337"/>
                  </a:lnTo>
                  <a:lnTo>
                    <a:pt x="157" y="331"/>
                  </a:lnTo>
                  <a:lnTo>
                    <a:pt x="157" y="331"/>
                  </a:lnTo>
                  <a:lnTo>
                    <a:pt x="166" y="328"/>
                  </a:lnTo>
                  <a:lnTo>
                    <a:pt x="180" y="324"/>
                  </a:lnTo>
                  <a:lnTo>
                    <a:pt x="197" y="321"/>
                  </a:lnTo>
                  <a:lnTo>
                    <a:pt x="216" y="319"/>
                  </a:lnTo>
                  <a:lnTo>
                    <a:pt x="258" y="317"/>
                  </a:lnTo>
                  <a:lnTo>
                    <a:pt x="277" y="317"/>
                  </a:lnTo>
                  <a:lnTo>
                    <a:pt x="294" y="319"/>
                  </a:lnTo>
                  <a:lnTo>
                    <a:pt x="294" y="319"/>
                  </a:lnTo>
                  <a:lnTo>
                    <a:pt x="305" y="321"/>
                  </a:lnTo>
                  <a:lnTo>
                    <a:pt x="312" y="321"/>
                  </a:lnTo>
                  <a:lnTo>
                    <a:pt x="315" y="319"/>
                  </a:lnTo>
                  <a:lnTo>
                    <a:pt x="314" y="317"/>
                  </a:lnTo>
                  <a:lnTo>
                    <a:pt x="310" y="316"/>
                  </a:lnTo>
                  <a:lnTo>
                    <a:pt x="301" y="312"/>
                  </a:lnTo>
                  <a:lnTo>
                    <a:pt x="291" y="310"/>
                  </a:lnTo>
                  <a:lnTo>
                    <a:pt x="279" y="309"/>
                  </a:lnTo>
                  <a:lnTo>
                    <a:pt x="279" y="309"/>
                  </a:lnTo>
                  <a:lnTo>
                    <a:pt x="267" y="309"/>
                  </a:lnTo>
                  <a:lnTo>
                    <a:pt x="256" y="305"/>
                  </a:lnTo>
                  <a:lnTo>
                    <a:pt x="251" y="303"/>
                  </a:lnTo>
                  <a:lnTo>
                    <a:pt x="247" y="302"/>
                  </a:lnTo>
                  <a:lnTo>
                    <a:pt x="246" y="298"/>
                  </a:lnTo>
                  <a:lnTo>
                    <a:pt x="247" y="296"/>
                  </a:lnTo>
                  <a:lnTo>
                    <a:pt x="251" y="295"/>
                  </a:lnTo>
                  <a:lnTo>
                    <a:pt x="256" y="293"/>
                  </a:lnTo>
                  <a:lnTo>
                    <a:pt x="256" y="293"/>
                  </a:lnTo>
                  <a:lnTo>
                    <a:pt x="261" y="291"/>
                  </a:lnTo>
                  <a:lnTo>
                    <a:pt x="263" y="288"/>
                  </a:lnTo>
                  <a:lnTo>
                    <a:pt x="260" y="283"/>
                  </a:lnTo>
                  <a:lnTo>
                    <a:pt x="254" y="277"/>
                  </a:lnTo>
                  <a:lnTo>
                    <a:pt x="239" y="265"/>
                  </a:lnTo>
                  <a:lnTo>
                    <a:pt x="228" y="260"/>
                  </a:lnTo>
                  <a:lnTo>
                    <a:pt x="216" y="255"/>
                  </a:lnTo>
                  <a:lnTo>
                    <a:pt x="216" y="255"/>
                  </a:lnTo>
                  <a:lnTo>
                    <a:pt x="197" y="246"/>
                  </a:lnTo>
                  <a:lnTo>
                    <a:pt x="185" y="241"/>
                  </a:lnTo>
                  <a:lnTo>
                    <a:pt x="183" y="239"/>
                  </a:lnTo>
                  <a:lnTo>
                    <a:pt x="181" y="234"/>
                  </a:lnTo>
                  <a:lnTo>
                    <a:pt x="181" y="222"/>
                  </a:lnTo>
                  <a:lnTo>
                    <a:pt x="181" y="222"/>
                  </a:lnTo>
                  <a:lnTo>
                    <a:pt x="183" y="218"/>
                  </a:lnTo>
                  <a:lnTo>
                    <a:pt x="186" y="215"/>
                  </a:lnTo>
                  <a:lnTo>
                    <a:pt x="192" y="213"/>
                  </a:lnTo>
                  <a:lnTo>
                    <a:pt x="197" y="211"/>
                  </a:lnTo>
                  <a:lnTo>
                    <a:pt x="213" y="209"/>
                  </a:lnTo>
                  <a:lnTo>
                    <a:pt x="232" y="211"/>
                  </a:lnTo>
                  <a:lnTo>
                    <a:pt x="253" y="213"/>
                  </a:lnTo>
                  <a:lnTo>
                    <a:pt x="274" y="216"/>
                  </a:lnTo>
                  <a:lnTo>
                    <a:pt x="293" y="222"/>
                  </a:lnTo>
                  <a:lnTo>
                    <a:pt x="308" y="227"/>
                  </a:lnTo>
                  <a:lnTo>
                    <a:pt x="308" y="227"/>
                  </a:lnTo>
                  <a:lnTo>
                    <a:pt x="319" y="232"/>
                  </a:lnTo>
                  <a:lnTo>
                    <a:pt x="329" y="239"/>
                  </a:lnTo>
                  <a:lnTo>
                    <a:pt x="341" y="253"/>
                  </a:lnTo>
                  <a:lnTo>
                    <a:pt x="348" y="260"/>
                  </a:lnTo>
                  <a:lnTo>
                    <a:pt x="357" y="263"/>
                  </a:lnTo>
                  <a:lnTo>
                    <a:pt x="366" y="265"/>
                  </a:lnTo>
                  <a:lnTo>
                    <a:pt x="378" y="265"/>
                  </a:lnTo>
                  <a:lnTo>
                    <a:pt x="378" y="265"/>
                  </a:lnTo>
                  <a:lnTo>
                    <a:pt x="388" y="262"/>
                  </a:lnTo>
                  <a:lnTo>
                    <a:pt x="392" y="260"/>
                  </a:lnTo>
                  <a:lnTo>
                    <a:pt x="390" y="258"/>
                  </a:lnTo>
                  <a:lnTo>
                    <a:pt x="383" y="255"/>
                  </a:lnTo>
                  <a:lnTo>
                    <a:pt x="362" y="246"/>
                  </a:lnTo>
                  <a:lnTo>
                    <a:pt x="348" y="239"/>
                  </a:lnTo>
                  <a:lnTo>
                    <a:pt x="334" y="230"/>
                  </a:lnTo>
                  <a:lnTo>
                    <a:pt x="334" y="230"/>
                  </a:lnTo>
                  <a:lnTo>
                    <a:pt x="314" y="216"/>
                  </a:lnTo>
                  <a:lnTo>
                    <a:pt x="310" y="213"/>
                  </a:lnTo>
                  <a:lnTo>
                    <a:pt x="312" y="211"/>
                  </a:lnTo>
                  <a:lnTo>
                    <a:pt x="314" y="209"/>
                  </a:lnTo>
                  <a:lnTo>
                    <a:pt x="321" y="208"/>
                  </a:lnTo>
                  <a:lnTo>
                    <a:pt x="336" y="204"/>
                  </a:lnTo>
                  <a:lnTo>
                    <a:pt x="392" y="194"/>
                  </a:lnTo>
                  <a:lnTo>
                    <a:pt x="392" y="194"/>
                  </a:lnTo>
                  <a:lnTo>
                    <a:pt x="455" y="182"/>
                  </a:lnTo>
                  <a:lnTo>
                    <a:pt x="495" y="175"/>
                  </a:lnTo>
                  <a:lnTo>
                    <a:pt x="505" y="171"/>
                  </a:lnTo>
                  <a:lnTo>
                    <a:pt x="507" y="171"/>
                  </a:lnTo>
                  <a:lnTo>
                    <a:pt x="507" y="169"/>
                  </a:lnTo>
                  <a:lnTo>
                    <a:pt x="500" y="169"/>
                  </a:lnTo>
                  <a:lnTo>
                    <a:pt x="484" y="168"/>
                  </a:lnTo>
                  <a:lnTo>
                    <a:pt x="484" y="168"/>
                  </a:lnTo>
                  <a:lnTo>
                    <a:pt x="476" y="168"/>
                  </a:lnTo>
                  <a:lnTo>
                    <a:pt x="469" y="166"/>
                  </a:lnTo>
                  <a:lnTo>
                    <a:pt x="465" y="162"/>
                  </a:lnTo>
                  <a:lnTo>
                    <a:pt x="463" y="159"/>
                  </a:lnTo>
                  <a:lnTo>
                    <a:pt x="463" y="157"/>
                  </a:lnTo>
                  <a:lnTo>
                    <a:pt x="465" y="154"/>
                  </a:lnTo>
                  <a:lnTo>
                    <a:pt x="469" y="147"/>
                  </a:lnTo>
                  <a:lnTo>
                    <a:pt x="474" y="142"/>
                  </a:lnTo>
                  <a:lnTo>
                    <a:pt x="474" y="140"/>
                  </a:lnTo>
                  <a:lnTo>
                    <a:pt x="451" y="150"/>
                  </a:lnTo>
                  <a:lnTo>
                    <a:pt x="451" y="150"/>
                  </a:lnTo>
                  <a:lnTo>
                    <a:pt x="430" y="162"/>
                  </a:lnTo>
                  <a:lnTo>
                    <a:pt x="406" y="171"/>
                  </a:lnTo>
                  <a:lnTo>
                    <a:pt x="383" y="178"/>
                  </a:lnTo>
                  <a:lnTo>
                    <a:pt x="362" y="185"/>
                  </a:lnTo>
                  <a:lnTo>
                    <a:pt x="341" y="189"/>
                  </a:lnTo>
                  <a:lnTo>
                    <a:pt x="324" y="190"/>
                  </a:lnTo>
                  <a:lnTo>
                    <a:pt x="310" y="189"/>
                  </a:lnTo>
                  <a:lnTo>
                    <a:pt x="300" y="185"/>
                  </a:lnTo>
                  <a:lnTo>
                    <a:pt x="300" y="185"/>
                  </a:lnTo>
                  <a:lnTo>
                    <a:pt x="293" y="183"/>
                  </a:lnTo>
                  <a:lnTo>
                    <a:pt x="289" y="183"/>
                  </a:lnTo>
                  <a:lnTo>
                    <a:pt x="282" y="189"/>
                  </a:lnTo>
                  <a:lnTo>
                    <a:pt x="275" y="192"/>
                  </a:lnTo>
                  <a:lnTo>
                    <a:pt x="263" y="194"/>
                  </a:lnTo>
                  <a:lnTo>
                    <a:pt x="246" y="195"/>
                  </a:lnTo>
                  <a:lnTo>
                    <a:pt x="220" y="195"/>
                  </a:lnTo>
                  <a:lnTo>
                    <a:pt x="220" y="195"/>
                  </a:lnTo>
                  <a:lnTo>
                    <a:pt x="193" y="192"/>
                  </a:lnTo>
                  <a:lnTo>
                    <a:pt x="180" y="189"/>
                  </a:lnTo>
                  <a:lnTo>
                    <a:pt x="176" y="185"/>
                  </a:lnTo>
                  <a:lnTo>
                    <a:pt x="176" y="183"/>
                  </a:lnTo>
                  <a:lnTo>
                    <a:pt x="176" y="182"/>
                  </a:lnTo>
                  <a:lnTo>
                    <a:pt x="178" y="178"/>
                  </a:lnTo>
                  <a:lnTo>
                    <a:pt x="185" y="175"/>
                  </a:lnTo>
                  <a:lnTo>
                    <a:pt x="193" y="169"/>
                  </a:lnTo>
                  <a:lnTo>
                    <a:pt x="216" y="162"/>
                  </a:lnTo>
                  <a:lnTo>
                    <a:pt x="216" y="162"/>
                  </a:lnTo>
                  <a:lnTo>
                    <a:pt x="221" y="161"/>
                  </a:lnTo>
                  <a:lnTo>
                    <a:pt x="223" y="159"/>
                  </a:lnTo>
                  <a:lnTo>
                    <a:pt x="220" y="159"/>
                  </a:lnTo>
                  <a:lnTo>
                    <a:pt x="213" y="159"/>
                  </a:lnTo>
                  <a:lnTo>
                    <a:pt x="202" y="161"/>
                  </a:lnTo>
                  <a:lnTo>
                    <a:pt x="192" y="164"/>
                  </a:lnTo>
                  <a:lnTo>
                    <a:pt x="180" y="169"/>
                  </a:lnTo>
                  <a:lnTo>
                    <a:pt x="166" y="176"/>
                  </a:lnTo>
                  <a:lnTo>
                    <a:pt x="166" y="176"/>
                  </a:lnTo>
                  <a:lnTo>
                    <a:pt x="155" y="183"/>
                  </a:lnTo>
                  <a:lnTo>
                    <a:pt x="145" y="187"/>
                  </a:lnTo>
                  <a:lnTo>
                    <a:pt x="134" y="187"/>
                  </a:lnTo>
                  <a:lnTo>
                    <a:pt x="124" y="185"/>
                  </a:lnTo>
                  <a:lnTo>
                    <a:pt x="105" y="178"/>
                  </a:lnTo>
                  <a:lnTo>
                    <a:pt x="94" y="173"/>
                  </a:lnTo>
                  <a:lnTo>
                    <a:pt x="82" y="169"/>
                  </a:lnTo>
                  <a:lnTo>
                    <a:pt x="82" y="169"/>
                  </a:lnTo>
                  <a:lnTo>
                    <a:pt x="70" y="166"/>
                  </a:lnTo>
                  <a:lnTo>
                    <a:pt x="61" y="162"/>
                  </a:lnTo>
                  <a:lnTo>
                    <a:pt x="56" y="159"/>
                  </a:lnTo>
                  <a:lnTo>
                    <a:pt x="52" y="154"/>
                  </a:lnTo>
                  <a:lnTo>
                    <a:pt x="52" y="150"/>
                  </a:lnTo>
                  <a:lnTo>
                    <a:pt x="54" y="145"/>
                  </a:lnTo>
                  <a:lnTo>
                    <a:pt x="58" y="142"/>
                  </a:lnTo>
                  <a:lnTo>
                    <a:pt x="63" y="136"/>
                  </a:lnTo>
                  <a:lnTo>
                    <a:pt x="63" y="136"/>
                  </a:lnTo>
                  <a:lnTo>
                    <a:pt x="68" y="133"/>
                  </a:lnTo>
                  <a:lnTo>
                    <a:pt x="70" y="131"/>
                  </a:lnTo>
                  <a:lnTo>
                    <a:pt x="63" y="131"/>
                  </a:lnTo>
                  <a:lnTo>
                    <a:pt x="51" y="133"/>
                  </a:lnTo>
                  <a:lnTo>
                    <a:pt x="44" y="131"/>
                  </a:lnTo>
                  <a:lnTo>
                    <a:pt x="37" y="128"/>
                  </a:lnTo>
                  <a:lnTo>
                    <a:pt x="37" y="128"/>
                  </a:lnTo>
                  <a:lnTo>
                    <a:pt x="32" y="126"/>
                  </a:lnTo>
                  <a:lnTo>
                    <a:pt x="26" y="124"/>
                  </a:lnTo>
                  <a:lnTo>
                    <a:pt x="18" y="126"/>
                  </a:lnTo>
                  <a:lnTo>
                    <a:pt x="14" y="126"/>
                  </a:lnTo>
                  <a:lnTo>
                    <a:pt x="9" y="126"/>
                  </a:lnTo>
                  <a:lnTo>
                    <a:pt x="5" y="124"/>
                  </a:lnTo>
                  <a:lnTo>
                    <a:pt x="2" y="119"/>
                  </a:lnTo>
                  <a:lnTo>
                    <a:pt x="2" y="119"/>
                  </a:lnTo>
                  <a:lnTo>
                    <a:pt x="0" y="117"/>
                  </a:lnTo>
                  <a:lnTo>
                    <a:pt x="0" y="114"/>
                  </a:lnTo>
                  <a:lnTo>
                    <a:pt x="2" y="108"/>
                  </a:lnTo>
                  <a:lnTo>
                    <a:pt x="9" y="103"/>
                  </a:lnTo>
                  <a:lnTo>
                    <a:pt x="18" y="98"/>
                  </a:lnTo>
                  <a:lnTo>
                    <a:pt x="30" y="94"/>
                  </a:lnTo>
                  <a:lnTo>
                    <a:pt x="42" y="91"/>
                  </a:lnTo>
                  <a:lnTo>
                    <a:pt x="56" y="91"/>
                  </a:lnTo>
                  <a:lnTo>
                    <a:pt x="68" y="91"/>
                  </a:lnTo>
                  <a:lnTo>
                    <a:pt x="68" y="91"/>
                  </a:lnTo>
                  <a:lnTo>
                    <a:pt x="79" y="93"/>
                  </a:lnTo>
                  <a:lnTo>
                    <a:pt x="85" y="93"/>
                  </a:lnTo>
                  <a:lnTo>
                    <a:pt x="89" y="91"/>
                  </a:lnTo>
                  <a:lnTo>
                    <a:pt x="92" y="89"/>
                  </a:lnTo>
                  <a:lnTo>
                    <a:pt x="96" y="86"/>
                  </a:lnTo>
                  <a:lnTo>
                    <a:pt x="103" y="82"/>
                  </a:lnTo>
                  <a:lnTo>
                    <a:pt x="112" y="79"/>
                  </a:lnTo>
                  <a:lnTo>
                    <a:pt x="126" y="77"/>
                  </a:lnTo>
                  <a:lnTo>
                    <a:pt x="126" y="77"/>
                  </a:lnTo>
                  <a:lnTo>
                    <a:pt x="143" y="75"/>
                  </a:lnTo>
                  <a:lnTo>
                    <a:pt x="157" y="75"/>
                  </a:lnTo>
                  <a:lnTo>
                    <a:pt x="169" y="79"/>
                  </a:lnTo>
                  <a:lnTo>
                    <a:pt x="180" y="81"/>
                  </a:lnTo>
                  <a:lnTo>
                    <a:pt x="197" y="86"/>
                  </a:lnTo>
                  <a:lnTo>
                    <a:pt x="206" y="86"/>
                  </a:lnTo>
                  <a:lnTo>
                    <a:pt x="216" y="84"/>
                  </a:lnTo>
                  <a:lnTo>
                    <a:pt x="216" y="84"/>
                  </a:lnTo>
                  <a:lnTo>
                    <a:pt x="218" y="84"/>
                  </a:lnTo>
                  <a:lnTo>
                    <a:pt x="220" y="82"/>
                  </a:lnTo>
                  <a:lnTo>
                    <a:pt x="214" y="81"/>
                  </a:lnTo>
                  <a:lnTo>
                    <a:pt x="193" y="75"/>
                  </a:lnTo>
                  <a:lnTo>
                    <a:pt x="183" y="72"/>
                  </a:lnTo>
                  <a:lnTo>
                    <a:pt x="178" y="70"/>
                  </a:lnTo>
                  <a:lnTo>
                    <a:pt x="178" y="68"/>
                  </a:lnTo>
                  <a:lnTo>
                    <a:pt x="180" y="68"/>
                  </a:lnTo>
                  <a:lnTo>
                    <a:pt x="193" y="65"/>
                  </a:lnTo>
                  <a:lnTo>
                    <a:pt x="193" y="65"/>
                  </a:lnTo>
                  <a:lnTo>
                    <a:pt x="207" y="63"/>
                  </a:lnTo>
                  <a:lnTo>
                    <a:pt x="214" y="60"/>
                  </a:lnTo>
                  <a:lnTo>
                    <a:pt x="216" y="58"/>
                  </a:lnTo>
                  <a:lnTo>
                    <a:pt x="214" y="56"/>
                  </a:lnTo>
                  <a:lnTo>
                    <a:pt x="213" y="53"/>
                  </a:lnTo>
                  <a:lnTo>
                    <a:pt x="211" y="49"/>
                  </a:lnTo>
                  <a:lnTo>
                    <a:pt x="211" y="46"/>
                  </a:lnTo>
                  <a:lnTo>
                    <a:pt x="216" y="44"/>
                  </a:lnTo>
                  <a:lnTo>
                    <a:pt x="228" y="44"/>
                  </a:lnTo>
                  <a:lnTo>
                    <a:pt x="228" y="44"/>
                  </a:lnTo>
                  <a:lnTo>
                    <a:pt x="242" y="46"/>
                  </a:lnTo>
                  <a:lnTo>
                    <a:pt x="249" y="47"/>
                  </a:lnTo>
                  <a:lnTo>
                    <a:pt x="251" y="49"/>
                  </a:lnTo>
                  <a:lnTo>
                    <a:pt x="253" y="51"/>
                  </a:lnTo>
                  <a:lnTo>
                    <a:pt x="253" y="53"/>
                  </a:lnTo>
                  <a:lnTo>
                    <a:pt x="254" y="54"/>
                  </a:lnTo>
                  <a:lnTo>
                    <a:pt x="260" y="56"/>
                  </a:lnTo>
                  <a:lnTo>
                    <a:pt x="270" y="58"/>
                  </a:lnTo>
                  <a:lnTo>
                    <a:pt x="270" y="58"/>
                  </a:lnTo>
                  <a:lnTo>
                    <a:pt x="294" y="61"/>
                  </a:lnTo>
                  <a:lnTo>
                    <a:pt x="305" y="61"/>
                  </a:lnTo>
                  <a:lnTo>
                    <a:pt x="312" y="60"/>
                  </a:lnTo>
                  <a:lnTo>
                    <a:pt x="317" y="58"/>
                  </a:lnTo>
                  <a:lnTo>
                    <a:pt x="322" y="54"/>
                  </a:lnTo>
                  <a:lnTo>
                    <a:pt x="326" y="49"/>
                  </a:lnTo>
                  <a:lnTo>
                    <a:pt x="328" y="44"/>
                  </a:lnTo>
                  <a:lnTo>
                    <a:pt x="328" y="44"/>
                  </a:lnTo>
                  <a:lnTo>
                    <a:pt x="329" y="41"/>
                  </a:lnTo>
                  <a:lnTo>
                    <a:pt x="333" y="39"/>
                  </a:lnTo>
                  <a:lnTo>
                    <a:pt x="340" y="37"/>
                  </a:lnTo>
                  <a:lnTo>
                    <a:pt x="350" y="37"/>
                  </a:lnTo>
                  <a:lnTo>
                    <a:pt x="359" y="39"/>
                  </a:lnTo>
                  <a:lnTo>
                    <a:pt x="368" y="41"/>
                  </a:lnTo>
                  <a:lnTo>
                    <a:pt x="373" y="41"/>
                  </a:lnTo>
                  <a:lnTo>
                    <a:pt x="375" y="41"/>
                  </a:lnTo>
                  <a:lnTo>
                    <a:pt x="373" y="39"/>
                  </a:lnTo>
                  <a:lnTo>
                    <a:pt x="368" y="32"/>
                  </a:lnTo>
                  <a:lnTo>
                    <a:pt x="368" y="32"/>
                  </a:lnTo>
                  <a:lnTo>
                    <a:pt x="361" y="25"/>
                  </a:lnTo>
                  <a:lnTo>
                    <a:pt x="359" y="21"/>
                  </a:lnTo>
                  <a:lnTo>
                    <a:pt x="361" y="20"/>
                  </a:lnTo>
                  <a:lnTo>
                    <a:pt x="366" y="20"/>
                  </a:lnTo>
                  <a:lnTo>
                    <a:pt x="375" y="21"/>
                  </a:lnTo>
                  <a:lnTo>
                    <a:pt x="383" y="21"/>
                  </a:lnTo>
                  <a:lnTo>
                    <a:pt x="394" y="20"/>
                  </a:lnTo>
                  <a:lnTo>
                    <a:pt x="404" y="16"/>
                  </a:lnTo>
                  <a:lnTo>
                    <a:pt x="404" y="16"/>
                  </a:lnTo>
                  <a:lnTo>
                    <a:pt x="415" y="11"/>
                  </a:lnTo>
                  <a:lnTo>
                    <a:pt x="425" y="11"/>
                  </a:lnTo>
                  <a:lnTo>
                    <a:pt x="435" y="11"/>
                  </a:lnTo>
                  <a:lnTo>
                    <a:pt x="446" y="14"/>
                  </a:lnTo>
                  <a:lnTo>
                    <a:pt x="456" y="16"/>
                  </a:lnTo>
                  <a:lnTo>
                    <a:pt x="470" y="18"/>
                  </a:lnTo>
                  <a:lnTo>
                    <a:pt x="484" y="20"/>
                  </a:lnTo>
                  <a:lnTo>
                    <a:pt x="498" y="16"/>
                  </a:lnTo>
                  <a:lnTo>
                    <a:pt x="498" y="16"/>
                  </a:lnTo>
                  <a:lnTo>
                    <a:pt x="529" y="11"/>
                  </a:lnTo>
                  <a:lnTo>
                    <a:pt x="556" y="9"/>
                  </a:lnTo>
                  <a:lnTo>
                    <a:pt x="578" y="7"/>
                  </a:lnTo>
                  <a:lnTo>
                    <a:pt x="599" y="9"/>
                  </a:lnTo>
                  <a:lnTo>
                    <a:pt x="632" y="13"/>
                  </a:lnTo>
                  <a:lnTo>
                    <a:pt x="648" y="13"/>
                  </a:lnTo>
                  <a:lnTo>
                    <a:pt x="662" y="9"/>
                  </a:lnTo>
                  <a:lnTo>
                    <a:pt x="662" y="9"/>
                  </a:lnTo>
                  <a:lnTo>
                    <a:pt x="674" y="6"/>
                  </a:lnTo>
                  <a:lnTo>
                    <a:pt x="684" y="4"/>
                  </a:lnTo>
                  <a:lnTo>
                    <a:pt x="702" y="4"/>
                  </a:lnTo>
                  <a:lnTo>
                    <a:pt x="721" y="4"/>
                  </a:lnTo>
                  <a:lnTo>
                    <a:pt x="745" y="0"/>
                  </a:lnTo>
                  <a:lnTo>
                    <a:pt x="745" y="0"/>
                  </a:lnTo>
                  <a:lnTo>
                    <a:pt x="759" y="0"/>
                  </a:lnTo>
                  <a:lnTo>
                    <a:pt x="772" y="0"/>
                  </a:lnTo>
                  <a:lnTo>
                    <a:pt x="782" y="2"/>
                  </a:lnTo>
                  <a:lnTo>
                    <a:pt x="794" y="6"/>
                  </a:lnTo>
                  <a:lnTo>
                    <a:pt x="819" y="11"/>
                  </a:lnTo>
                  <a:lnTo>
                    <a:pt x="834" y="14"/>
                  </a:lnTo>
                  <a:lnTo>
                    <a:pt x="852" y="14"/>
                  </a:lnTo>
                  <a:lnTo>
                    <a:pt x="852" y="14"/>
                  </a:lnTo>
                  <a:lnTo>
                    <a:pt x="867" y="14"/>
                  </a:lnTo>
                  <a:lnTo>
                    <a:pt x="876" y="16"/>
                  </a:lnTo>
                  <a:lnTo>
                    <a:pt x="876" y="18"/>
                  </a:lnTo>
                  <a:lnTo>
                    <a:pt x="878" y="18"/>
                  </a:lnTo>
                  <a:lnTo>
                    <a:pt x="874" y="21"/>
                  </a:lnTo>
                  <a:lnTo>
                    <a:pt x="857" y="27"/>
                  </a:lnTo>
                  <a:lnTo>
                    <a:pt x="832" y="32"/>
                  </a:lnTo>
                  <a:lnTo>
                    <a:pt x="832" y="32"/>
                  </a:lnTo>
                  <a:lnTo>
                    <a:pt x="825" y="34"/>
                  </a:lnTo>
                  <a:lnTo>
                    <a:pt x="824" y="34"/>
                  </a:lnTo>
                  <a:lnTo>
                    <a:pt x="824" y="35"/>
                  </a:lnTo>
                  <a:lnTo>
                    <a:pt x="836" y="35"/>
                  </a:lnTo>
                  <a:lnTo>
                    <a:pt x="860" y="34"/>
                  </a:lnTo>
                  <a:lnTo>
                    <a:pt x="873" y="30"/>
                  </a:lnTo>
                  <a:lnTo>
                    <a:pt x="885" y="27"/>
                  </a:lnTo>
                  <a:lnTo>
                    <a:pt x="885" y="27"/>
                  </a:lnTo>
                  <a:lnTo>
                    <a:pt x="904" y="20"/>
                  </a:lnTo>
                  <a:lnTo>
                    <a:pt x="914" y="18"/>
                  </a:lnTo>
                  <a:lnTo>
                    <a:pt x="923" y="20"/>
                  </a:lnTo>
                  <a:lnTo>
                    <a:pt x="937" y="18"/>
                  </a:lnTo>
                  <a:lnTo>
                    <a:pt x="937" y="18"/>
                  </a:lnTo>
                  <a:lnTo>
                    <a:pt x="953" y="18"/>
                  </a:lnTo>
                  <a:lnTo>
                    <a:pt x="975" y="20"/>
                  </a:lnTo>
                  <a:lnTo>
                    <a:pt x="987" y="23"/>
                  </a:lnTo>
                  <a:lnTo>
                    <a:pt x="996" y="27"/>
                  </a:lnTo>
                  <a:lnTo>
                    <a:pt x="1003" y="32"/>
                  </a:lnTo>
                  <a:lnTo>
                    <a:pt x="1005" y="35"/>
                  </a:lnTo>
                  <a:lnTo>
                    <a:pt x="1005" y="39"/>
                  </a:lnTo>
                  <a:lnTo>
                    <a:pt x="1005" y="39"/>
                  </a:lnTo>
                  <a:lnTo>
                    <a:pt x="1007" y="42"/>
                  </a:lnTo>
                  <a:lnTo>
                    <a:pt x="1008" y="44"/>
                  </a:lnTo>
                  <a:lnTo>
                    <a:pt x="1015" y="47"/>
                  </a:lnTo>
                  <a:lnTo>
                    <a:pt x="1027" y="49"/>
                  </a:lnTo>
                  <a:lnTo>
                    <a:pt x="1040" y="49"/>
                  </a:lnTo>
                  <a:lnTo>
                    <a:pt x="1054" y="49"/>
                  </a:lnTo>
                  <a:lnTo>
                    <a:pt x="1064" y="51"/>
                  </a:lnTo>
                  <a:lnTo>
                    <a:pt x="1073" y="54"/>
                  </a:lnTo>
                  <a:lnTo>
                    <a:pt x="1074" y="56"/>
                  </a:lnTo>
                  <a:lnTo>
                    <a:pt x="1076" y="60"/>
                  </a:lnTo>
                  <a:lnTo>
                    <a:pt x="1076" y="60"/>
                  </a:lnTo>
                  <a:lnTo>
                    <a:pt x="1074" y="63"/>
                  </a:lnTo>
                  <a:lnTo>
                    <a:pt x="1071" y="67"/>
                  </a:lnTo>
                  <a:lnTo>
                    <a:pt x="1059" y="74"/>
                  </a:lnTo>
                  <a:lnTo>
                    <a:pt x="1041" y="81"/>
                  </a:lnTo>
                  <a:lnTo>
                    <a:pt x="1019" y="88"/>
                  </a:lnTo>
                  <a:lnTo>
                    <a:pt x="972" y="98"/>
                  </a:lnTo>
                  <a:lnTo>
                    <a:pt x="932" y="105"/>
                  </a:lnTo>
                  <a:lnTo>
                    <a:pt x="932" y="105"/>
                  </a:lnTo>
                  <a:lnTo>
                    <a:pt x="899" y="114"/>
                  </a:lnTo>
                  <a:lnTo>
                    <a:pt x="874" y="121"/>
                  </a:lnTo>
                  <a:lnTo>
                    <a:pt x="869" y="122"/>
                  </a:lnTo>
                  <a:lnTo>
                    <a:pt x="869" y="124"/>
                  </a:lnTo>
                  <a:lnTo>
                    <a:pt x="871" y="124"/>
                  </a:lnTo>
                  <a:lnTo>
                    <a:pt x="881" y="126"/>
                  </a:lnTo>
                  <a:lnTo>
                    <a:pt x="902" y="124"/>
                  </a:lnTo>
                  <a:lnTo>
                    <a:pt x="902" y="124"/>
                  </a:lnTo>
                  <a:lnTo>
                    <a:pt x="942" y="121"/>
                  </a:lnTo>
                  <a:lnTo>
                    <a:pt x="953" y="122"/>
                  </a:lnTo>
                  <a:lnTo>
                    <a:pt x="954" y="122"/>
                  </a:lnTo>
                  <a:lnTo>
                    <a:pt x="954" y="124"/>
                  </a:lnTo>
                  <a:lnTo>
                    <a:pt x="949" y="128"/>
                  </a:lnTo>
                  <a:lnTo>
                    <a:pt x="937" y="135"/>
                  </a:lnTo>
                  <a:lnTo>
                    <a:pt x="886" y="155"/>
                  </a:lnTo>
                  <a:lnTo>
                    <a:pt x="886" y="155"/>
                  </a:lnTo>
                  <a:lnTo>
                    <a:pt x="829" y="178"/>
                  </a:lnTo>
                  <a:lnTo>
                    <a:pt x="784" y="199"/>
                  </a:lnTo>
                  <a:lnTo>
                    <a:pt x="766" y="208"/>
                  </a:lnTo>
                  <a:lnTo>
                    <a:pt x="752" y="216"/>
                  </a:lnTo>
                  <a:lnTo>
                    <a:pt x="740" y="225"/>
                  </a:lnTo>
                  <a:lnTo>
                    <a:pt x="731" y="236"/>
                  </a:lnTo>
                  <a:lnTo>
                    <a:pt x="731" y="236"/>
                  </a:lnTo>
                  <a:lnTo>
                    <a:pt x="723" y="242"/>
                  </a:lnTo>
                  <a:lnTo>
                    <a:pt x="714" y="249"/>
                  </a:lnTo>
                  <a:lnTo>
                    <a:pt x="705" y="253"/>
                  </a:lnTo>
                  <a:lnTo>
                    <a:pt x="695" y="255"/>
                  </a:lnTo>
                  <a:lnTo>
                    <a:pt x="686" y="255"/>
                  </a:lnTo>
                  <a:lnTo>
                    <a:pt x="677" y="255"/>
                  </a:lnTo>
                  <a:lnTo>
                    <a:pt x="669" y="253"/>
                  </a:lnTo>
                  <a:lnTo>
                    <a:pt x="662" y="249"/>
                  </a:lnTo>
                  <a:lnTo>
                    <a:pt x="662" y="249"/>
                  </a:lnTo>
                  <a:lnTo>
                    <a:pt x="657" y="248"/>
                  </a:lnTo>
                  <a:lnTo>
                    <a:pt x="653" y="248"/>
                  </a:lnTo>
                  <a:lnTo>
                    <a:pt x="655" y="253"/>
                  </a:lnTo>
                  <a:lnTo>
                    <a:pt x="653" y="256"/>
                  </a:lnTo>
                  <a:lnTo>
                    <a:pt x="651" y="262"/>
                  </a:lnTo>
                  <a:lnTo>
                    <a:pt x="646" y="265"/>
                  </a:lnTo>
                  <a:lnTo>
                    <a:pt x="634" y="267"/>
                  </a:lnTo>
                  <a:lnTo>
                    <a:pt x="634" y="267"/>
                  </a:lnTo>
                  <a:lnTo>
                    <a:pt x="601" y="269"/>
                  </a:lnTo>
                  <a:lnTo>
                    <a:pt x="561" y="270"/>
                  </a:lnTo>
                  <a:lnTo>
                    <a:pt x="524" y="274"/>
                  </a:lnTo>
                  <a:lnTo>
                    <a:pt x="510" y="276"/>
                  </a:lnTo>
                  <a:lnTo>
                    <a:pt x="503" y="279"/>
                  </a:lnTo>
                  <a:lnTo>
                    <a:pt x="503" y="279"/>
                  </a:lnTo>
                  <a:lnTo>
                    <a:pt x="500" y="283"/>
                  </a:lnTo>
                  <a:lnTo>
                    <a:pt x="502" y="284"/>
                  </a:lnTo>
                  <a:lnTo>
                    <a:pt x="507" y="286"/>
                  </a:lnTo>
                  <a:lnTo>
                    <a:pt x="516" y="286"/>
                  </a:lnTo>
                  <a:lnTo>
                    <a:pt x="535" y="286"/>
                  </a:lnTo>
                  <a:lnTo>
                    <a:pt x="556" y="286"/>
                  </a:lnTo>
                  <a:lnTo>
                    <a:pt x="556" y="286"/>
                  </a:lnTo>
                  <a:lnTo>
                    <a:pt x="571" y="284"/>
                  </a:lnTo>
                  <a:lnTo>
                    <a:pt x="585" y="283"/>
                  </a:lnTo>
                  <a:lnTo>
                    <a:pt x="590" y="283"/>
                  </a:lnTo>
                  <a:lnTo>
                    <a:pt x="596" y="284"/>
                  </a:lnTo>
                  <a:lnTo>
                    <a:pt x="599" y="289"/>
                  </a:lnTo>
                  <a:lnTo>
                    <a:pt x="603" y="296"/>
                  </a:lnTo>
                  <a:lnTo>
                    <a:pt x="603" y="296"/>
                  </a:lnTo>
                  <a:lnTo>
                    <a:pt x="604" y="300"/>
                  </a:lnTo>
                  <a:lnTo>
                    <a:pt x="603" y="302"/>
                  </a:lnTo>
                  <a:lnTo>
                    <a:pt x="601" y="303"/>
                  </a:lnTo>
                  <a:lnTo>
                    <a:pt x="596" y="303"/>
                  </a:lnTo>
                  <a:lnTo>
                    <a:pt x="585" y="303"/>
                  </a:lnTo>
                  <a:lnTo>
                    <a:pt x="575" y="302"/>
                  </a:lnTo>
                  <a:lnTo>
                    <a:pt x="564" y="302"/>
                  </a:lnTo>
                  <a:lnTo>
                    <a:pt x="561" y="302"/>
                  </a:lnTo>
                  <a:lnTo>
                    <a:pt x="561" y="302"/>
                  </a:lnTo>
                  <a:lnTo>
                    <a:pt x="563" y="303"/>
                  </a:lnTo>
                  <a:lnTo>
                    <a:pt x="575" y="310"/>
                  </a:lnTo>
                  <a:lnTo>
                    <a:pt x="575" y="310"/>
                  </a:lnTo>
                  <a:lnTo>
                    <a:pt x="589" y="319"/>
                  </a:lnTo>
                  <a:lnTo>
                    <a:pt x="594" y="324"/>
                  </a:lnTo>
                  <a:lnTo>
                    <a:pt x="594" y="326"/>
                  </a:lnTo>
                  <a:lnTo>
                    <a:pt x="594" y="328"/>
                  </a:lnTo>
                  <a:lnTo>
                    <a:pt x="590" y="331"/>
                  </a:lnTo>
                  <a:lnTo>
                    <a:pt x="580" y="338"/>
                  </a:lnTo>
                  <a:lnTo>
                    <a:pt x="577" y="340"/>
                  </a:lnTo>
                  <a:lnTo>
                    <a:pt x="577" y="343"/>
                  </a:lnTo>
                  <a:lnTo>
                    <a:pt x="578" y="345"/>
                  </a:lnTo>
                  <a:lnTo>
                    <a:pt x="578" y="345"/>
                  </a:lnTo>
                  <a:lnTo>
                    <a:pt x="580" y="347"/>
                  </a:lnTo>
                  <a:lnTo>
                    <a:pt x="580" y="350"/>
                  </a:lnTo>
                  <a:lnTo>
                    <a:pt x="578" y="357"/>
                  </a:lnTo>
                  <a:lnTo>
                    <a:pt x="573" y="363"/>
                  </a:lnTo>
                  <a:lnTo>
                    <a:pt x="564" y="370"/>
                  </a:lnTo>
                  <a:lnTo>
                    <a:pt x="552" y="375"/>
                  </a:lnTo>
                  <a:lnTo>
                    <a:pt x="538" y="378"/>
                  </a:lnTo>
                  <a:lnTo>
                    <a:pt x="523" y="378"/>
                  </a:lnTo>
                  <a:lnTo>
                    <a:pt x="505" y="377"/>
                  </a:lnTo>
                  <a:lnTo>
                    <a:pt x="505" y="377"/>
                  </a:lnTo>
                  <a:lnTo>
                    <a:pt x="486" y="375"/>
                  </a:lnTo>
                  <a:lnTo>
                    <a:pt x="477" y="375"/>
                  </a:lnTo>
                  <a:lnTo>
                    <a:pt x="476" y="377"/>
                  </a:lnTo>
                  <a:lnTo>
                    <a:pt x="474" y="378"/>
                  </a:lnTo>
                  <a:lnTo>
                    <a:pt x="476" y="384"/>
                  </a:lnTo>
                  <a:lnTo>
                    <a:pt x="481" y="390"/>
                  </a:lnTo>
                  <a:lnTo>
                    <a:pt x="482" y="397"/>
                  </a:lnTo>
                  <a:lnTo>
                    <a:pt x="484" y="401"/>
                  </a:lnTo>
                  <a:lnTo>
                    <a:pt x="482" y="404"/>
                  </a:lnTo>
                  <a:lnTo>
                    <a:pt x="481" y="408"/>
                  </a:lnTo>
                  <a:lnTo>
                    <a:pt x="477" y="411"/>
                  </a:lnTo>
                  <a:lnTo>
                    <a:pt x="477" y="411"/>
                  </a:lnTo>
                  <a:lnTo>
                    <a:pt x="462" y="418"/>
                  </a:lnTo>
                  <a:lnTo>
                    <a:pt x="451" y="424"/>
                  </a:lnTo>
                  <a:lnTo>
                    <a:pt x="448" y="427"/>
                  </a:lnTo>
                  <a:lnTo>
                    <a:pt x="444" y="431"/>
                  </a:lnTo>
                  <a:lnTo>
                    <a:pt x="442" y="434"/>
                  </a:lnTo>
                  <a:lnTo>
                    <a:pt x="442" y="441"/>
                  </a:lnTo>
                  <a:lnTo>
                    <a:pt x="442" y="441"/>
                  </a:lnTo>
                  <a:lnTo>
                    <a:pt x="442" y="444"/>
                  </a:lnTo>
                  <a:lnTo>
                    <a:pt x="444" y="446"/>
                  </a:lnTo>
                  <a:lnTo>
                    <a:pt x="449" y="448"/>
                  </a:lnTo>
                  <a:lnTo>
                    <a:pt x="456" y="448"/>
                  </a:lnTo>
                  <a:lnTo>
                    <a:pt x="467" y="446"/>
                  </a:lnTo>
                  <a:lnTo>
                    <a:pt x="476" y="446"/>
                  </a:lnTo>
                  <a:lnTo>
                    <a:pt x="482" y="446"/>
                  </a:lnTo>
                  <a:lnTo>
                    <a:pt x="484" y="448"/>
                  </a:lnTo>
                  <a:lnTo>
                    <a:pt x="488" y="450"/>
                  </a:lnTo>
                  <a:lnTo>
                    <a:pt x="488" y="453"/>
                  </a:lnTo>
                  <a:lnTo>
                    <a:pt x="488" y="458"/>
                  </a:lnTo>
                  <a:lnTo>
                    <a:pt x="488" y="458"/>
                  </a:lnTo>
                  <a:lnTo>
                    <a:pt x="486" y="469"/>
                  </a:lnTo>
                  <a:lnTo>
                    <a:pt x="482" y="476"/>
                  </a:lnTo>
                  <a:lnTo>
                    <a:pt x="477" y="478"/>
                  </a:lnTo>
                  <a:lnTo>
                    <a:pt x="472" y="479"/>
                  </a:lnTo>
                  <a:lnTo>
                    <a:pt x="458" y="479"/>
                  </a:lnTo>
                  <a:lnTo>
                    <a:pt x="451" y="481"/>
                  </a:lnTo>
                  <a:lnTo>
                    <a:pt x="442" y="485"/>
                  </a:lnTo>
                  <a:lnTo>
                    <a:pt x="442" y="485"/>
                  </a:lnTo>
                  <a:lnTo>
                    <a:pt x="422" y="495"/>
                  </a:lnTo>
                  <a:lnTo>
                    <a:pt x="411" y="500"/>
                  </a:lnTo>
                  <a:lnTo>
                    <a:pt x="401" y="502"/>
                  </a:lnTo>
                  <a:lnTo>
                    <a:pt x="390" y="504"/>
                  </a:lnTo>
                  <a:lnTo>
                    <a:pt x="385" y="500"/>
                  </a:lnTo>
                  <a:lnTo>
                    <a:pt x="381" y="498"/>
                  </a:lnTo>
                  <a:lnTo>
                    <a:pt x="381" y="495"/>
                  </a:lnTo>
                  <a:lnTo>
                    <a:pt x="381" y="491"/>
                  </a:lnTo>
                  <a:lnTo>
                    <a:pt x="381" y="486"/>
                  </a:lnTo>
                  <a:lnTo>
                    <a:pt x="381" y="486"/>
                  </a:lnTo>
                  <a:lnTo>
                    <a:pt x="383" y="483"/>
                  </a:lnTo>
                  <a:lnTo>
                    <a:pt x="381" y="479"/>
                  </a:lnTo>
                  <a:lnTo>
                    <a:pt x="380" y="478"/>
                  </a:lnTo>
                  <a:lnTo>
                    <a:pt x="378" y="476"/>
                  </a:lnTo>
                  <a:lnTo>
                    <a:pt x="369" y="478"/>
                  </a:lnTo>
                  <a:lnTo>
                    <a:pt x="357" y="481"/>
                  </a:lnTo>
                  <a:lnTo>
                    <a:pt x="341" y="485"/>
                  </a:lnTo>
                  <a:lnTo>
                    <a:pt x="326" y="488"/>
                  </a:lnTo>
                  <a:lnTo>
                    <a:pt x="308" y="488"/>
                  </a:lnTo>
                  <a:lnTo>
                    <a:pt x="300" y="488"/>
                  </a:lnTo>
                  <a:lnTo>
                    <a:pt x="293" y="485"/>
                  </a:lnTo>
                  <a:lnTo>
                    <a:pt x="293" y="485"/>
                  </a:lnTo>
                  <a:lnTo>
                    <a:pt x="279" y="481"/>
                  </a:lnTo>
                  <a:lnTo>
                    <a:pt x="270" y="481"/>
                  </a:lnTo>
                  <a:lnTo>
                    <a:pt x="265" y="481"/>
                  </a:lnTo>
                  <a:lnTo>
                    <a:pt x="261" y="485"/>
                  </a:lnTo>
                  <a:lnTo>
                    <a:pt x="260" y="488"/>
                  </a:lnTo>
                  <a:lnTo>
                    <a:pt x="254" y="491"/>
                  </a:lnTo>
                  <a:lnTo>
                    <a:pt x="247" y="493"/>
                  </a:lnTo>
                  <a:lnTo>
                    <a:pt x="235" y="493"/>
                  </a:lnTo>
                  <a:lnTo>
                    <a:pt x="235" y="493"/>
                  </a:lnTo>
                  <a:lnTo>
                    <a:pt x="221" y="491"/>
                  </a:lnTo>
                  <a:lnTo>
                    <a:pt x="211" y="490"/>
                  </a:lnTo>
                  <a:lnTo>
                    <a:pt x="195" y="485"/>
                  </a:lnTo>
                  <a:lnTo>
                    <a:pt x="183" y="481"/>
                  </a:lnTo>
                  <a:lnTo>
                    <a:pt x="178" y="479"/>
                  </a:lnTo>
                  <a:lnTo>
                    <a:pt x="173" y="481"/>
                  </a:lnTo>
                  <a:lnTo>
                    <a:pt x="173" y="481"/>
                  </a:lnTo>
                  <a:lnTo>
                    <a:pt x="160" y="486"/>
                  </a:lnTo>
                  <a:lnTo>
                    <a:pt x="146" y="491"/>
                  </a:lnTo>
                  <a:lnTo>
                    <a:pt x="139" y="491"/>
                  </a:lnTo>
                  <a:lnTo>
                    <a:pt x="132" y="491"/>
                  </a:lnTo>
                  <a:lnTo>
                    <a:pt x="126" y="490"/>
                  </a:lnTo>
                  <a:lnTo>
                    <a:pt x="119" y="486"/>
                  </a:lnTo>
                  <a:lnTo>
                    <a:pt x="119" y="486"/>
                  </a:lnTo>
                  <a:lnTo>
                    <a:pt x="113" y="483"/>
                  </a:lnTo>
                  <a:lnTo>
                    <a:pt x="108" y="481"/>
                  </a:lnTo>
                  <a:lnTo>
                    <a:pt x="98" y="481"/>
                  </a:lnTo>
                  <a:lnTo>
                    <a:pt x="91" y="481"/>
                  </a:lnTo>
                  <a:lnTo>
                    <a:pt x="85" y="481"/>
                  </a:lnTo>
                  <a:lnTo>
                    <a:pt x="82" y="479"/>
                  </a:lnTo>
                  <a:lnTo>
                    <a:pt x="82" y="47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 name="Freeform 1720">
              <a:extLst>
                <a:ext uri="{FF2B5EF4-FFF2-40B4-BE49-F238E27FC236}">
                  <a16:creationId xmlns:a16="http://schemas.microsoft.com/office/drawing/2014/main" id="{17691DB5-4030-4DE7-914F-7CAA77C519A3}"/>
                </a:ext>
              </a:extLst>
            </p:cNvPr>
            <p:cNvSpPr>
              <a:spLocks/>
            </p:cNvSpPr>
            <p:nvPr/>
          </p:nvSpPr>
          <p:spPr bwMode="auto">
            <a:xfrm>
              <a:off x="2460850" y="1135780"/>
              <a:ext cx="333019" cy="188535"/>
            </a:xfrm>
            <a:custGeom>
              <a:avLst/>
              <a:gdLst/>
              <a:ahLst/>
              <a:cxnLst>
                <a:cxn ang="0">
                  <a:pos x="125" y="2"/>
                </a:cxn>
                <a:cxn ang="0">
                  <a:pos x="182" y="28"/>
                </a:cxn>
                <a:cxn ang="0">
                  <a:pos x="245" y="59"/>
                </a:cxn>
                <a:cxn ang="0">
                  <a:pos x="266" y="68"/>
                </a:cxn>
                <a:cxn ang="0">
                  <a:pos x="268" y="83"/>
                </a:cxn>
                <a:cxn ang="0">
                  <a:pos x="283" y="89"/>
                </a:cxn>
                <a:cxn ang="0">
                  <a:pos x="283" y="73"/>
                </a:cxn>
                <a:cxn ang="0">
                  <a:pos x="304" y="66"/>
                </a:cxn>
                <a:cxn ang="0">
                  <a:pos x="325" y="78"/>
                </a:cxn>
                <a:cxn ang="0">
                  <a:pos x="339" y="99"/>
                </a:cxn>
                <a:cxn ang="0">
                  <a:pos x="348" y="108"/>
                </a:cxn>
                <a:cxn ang="0">
                  <a:pos x="334" y="127"/>
                </a:cxn>
                <a:cxn ang="0">
                  <a:pos x="348" y="127"/>
                </a:cxn>
                <a:cxn ang="0">
                  <a:pos x="386" y="129"/>
                </a:cxn>
                <a:cxn ang="0">
                  <a:pos x="409" y="144"/>
                </a:cxn>
                <a:cxn ang="0">
                  <a:pos x="410" y="153"/>
                </a:cxn>
                <a:cxn ang="0">
                  <a:pos x="358" y="172"/>
                </a:cxn>
                <a:cxn ang="0">
                  <a:pos x="308" y="204"/>
                </a:cxn>
                <a:cxn ang="0">
                  <a:pos x="290" y="204"/>
                </a:cxn>
                <a:cxn ang="0">
                  <a:pos x="283" y="221"/>
                </a:cxn>
                <a:cxn ang="0">
                  <a:pos x="276" y="231"/>
                </a:cxn>
                <a:cxn ang="0">
                  <a:pos x="247" y="205"/>
                </a:cxn>
                <a:cxn ang="0">
                  <a:pos x="247" y="217"/>
                </a:cxn>
                <a:cxn ang="0">
                  <a:pos x="247" y="224"/>
                </a:cxn>
                <a:cxn ang="0">
                  <a:pos x="228" y="219"/>
                </a:cxn>
                <a:cxn ang="0">
                  <a:pos x="222" y="231"/>
                </a:cxn>
                <a:cxn ang="0">
                  <a:pos x="167" y="226"/>
                </a:cxn>
                <a:cxn ang="0">
                  <a:pos x="114" y="197"/>
                </a:cxn>
                <a:cxn ang="0">
                  <a:pos x="90" y="174"/>
                </a:cxn>
                <a:cxn ang="0">
                  <a:pos x="111" y="163"/>
                </a:cxn>
                <a:cxn ang="0">
                  <a:pos x="151" y="146"/>
                </a:cxn>
                <a:cxn ang="0">
                  <a:pos x="146" y="141"/>
                </a:cxn>
                <a:cxn ang="0">
                  <a:pos x="92" y="150"/>
                </a:cxn>
                <a:cxn ang="0">
                  <a:pos x="92" y="143"/>
                </a:cxn>
                <a:cxn ang="0">
                  <a:pos x="55" y="150"/>
                </a:cxn>
                <a:cxn ang="0">
                  <a:pos x="12" y="116"/>
                </a:cxn>
                <a:cxn ang="0">
                  <a:pos x="0" y="96"/>
                </a:cxn>
                <a:cxn ang="0">
                  <a:pos x="10" y="90"/>
                </a:cxn>
                <a:cxn ang="0">
                  <a:pos x="69" y="96"/>
                </a:cxn>
                <a:cxn ang="0">
                  <a:pos x="76" y="89"/>
                </a:cxn>
                <a:cxn ang="0">
                  <a:pos x="29" y="85"/>
                </a:cxn>
                <a:cxn ang="0">
                  <a:pos x="13" y="76"/>
                </a:cxn>
                <a:cxn ang="0">
                  <a:pos x="26" y="61"/>
                </a:cxn>
                <a:cxn ang="0">
                  <a:pos x="48" y="42"/>
                </a:cxn>
                <a:cxn ang="0">
                  <a:pos x="61" y="26"/>
                </a:cxn>
                <a:cxn ang="0">
                  <a:pos x="95" y="22"/>
                </a:cxn>
                <a:cxn ang="0">
                  <a:pos x="92" y="12"/>
                </a:cxn>
                <a:cxn ang="0">
                  <a:pos x="88" y="2"/>
                </a:cxn>
              </a:cxnLst>
              <a:rect l="0" t="0" r="r" b="b"/>
              <a:pathLst>
                <a:path w="416" h="233">
                  <a:moveTo>
                    <a:pt x="102" y="0"/>
                  </a:moveTo>
                  <a:lnTo>
                    <a:pt x="102" y="0"/>
                  </a:lnTo>
                  <a:lnTo>
                    <a:pt x="114" y="0"/>
                  </a:lnTo>
                  <a:lnTo>
                    <a:pt x="125" y="2"/>
                  </a:lnTo>
                  <a:lnTo>
                    <a:pt x="137" y="3"/>
                  </a:lnTo>
                  <a:lnTo>
                    <a:pt x="148" y="7"/>
                  </a:lnTo>
                  <a:lnTo>
                    <a:pt x="167" y="17"/>
                  </a:lnTo>
                  <a:lnTo>
                    <a:pt x="182" y="28"/>
                  </a:lnTo>
                  <a:lnTo>
                    <a:pt x="215" y="49"/>
                  </a:lnTo>
                  <a:lnTo>
                    <a:pt x="229" y="56"/>
                  </a:lnTo>
                  <a:lnTo>
                    <a:pt x="238" y="59"/>
                  </a:lnTo>
                  <a:lnTo>
                    <a:pt x="245" y="59"/>
                  </a:lnTo>
                  <a:lnTo>
                    <a:pt x="245" y="59"/>
                  </a:lnTo>
                  <a:lnTo>
                    <a:pt x="257" y="61"/>
                  </a:lnTo>
                  <a:lnTo>
                    <a:pt x="264" y="64"/>
                  </a:lnTo>
                  <a:lnTo>
                    <a:pt x="266" y="68"/>
                  </a:lnTo>
                  <a:lnTo>
                    <a:pt x="266" y="71"/>
                  </a:lnTo>
                  <a:lnTo>
                    <a:pt x="264" y="75"/>
                  </a:lnTo>
                  <a:lnTo>
                    <a:pt x="264" y="80"/>
                  </a:lnTo>
                  <a:lnTo>
                    <a:pt x="268" y="83"/>
                  </a:lnTo>
                  <a:lnTo>
                    <a:pt x="275" y="87"/>
                  </a:lnTo>
                  <a:lnTo>
                    <a:pt x="275" y="87"/>
                  </a:lnTo>
                  <a:lnTo>
                    <a:pt x="282" y="89"/>
                  </a:lnTo>
                  <a:lnTo>
                    <a:pt x="283" y="89"/>
                  </a:lnTo>
                  <a:lnTo>
                    <a:pt x="285" y="87"/>
                  </a:lnTo>
                  <a:lnTo>
                    <a:pt x="285" y="83"/>
                  </a:lnTo>
                  <a:lnTo>
                    <a:pt x="283" y="78"/>
                  </a:lnTo>
                  <a:lnTo>
                    <a:pt x="283" y="73"/>
                  </a:lnTo>
                  <a:lnTo>
                    <a:pt x="287" y="69"/>
                  </a:lnTo>
                  <a:lnTo>
                    <a:pt x="292" y="66"/>
                  </a:lnTo>
                  <a:lnTo>
                    <a:pt x="304" y="66"/>
                  </a:lnTo>
                  <a:lnTo>
                    <a:pt x="304" y="66"/>
                  </a:lnTo>
                  <a:lnTo>
                    <a:pt x="316" y="69"/>
                  </a:lnTo>
                  <a:lnTo>
                    <a:pt x="322" y="71"/>
                  </a:lnTo>
                  <a:lnTo>
                    <a:pt x="325" y="75"/>
                  </a:lnTo>
                  <a:lnTo>
                    <a:pt x="325" y="78"/>
                  </a:lnTo>
                  <a:lnTo>
                    <a:pt x="325" y="82"/>
                  </a:lnTo>
                  <a:lnTo>
                    <a:pt x="325" y="87"/>
                  </a:lnTo>
                  <a:lnTo>
                    <a:pt x="330" y="92"/>
                  </a:lnTo>
                  <a:lnTo>
                    <a:pt x="339" y="99"/>
                  </a:lnTo>
                  <a:lnTo>
                    <a:pt x="339" y="99"/>
                  </a:lnTo>
                  <a:lnTo>
                    <a:pt x="343" y="103"/>
                  </a:lnTo>
                  <a:lnTo>
                    <a:pt x="346" y="106"/>
                  </a:lnTo>
                  <a:lnTo>
                    <a:pt x="348" y="108"/>
                  </a:lnTo>
                  <a:lnTo>
                    <a:pt x="346" y="111"/>
                  </a:lnTo>
                  <a:lnTo>
                    <a:pt x="344" y="118"/>
                  </a:lnTo>
                  <a:lnTo>
                    <a:pt x="339" y="122"/>
                  </a:lnTo>
                  <a:lnTo>
                    <a:pt x="334" y="127"/>
                  </a:lnTo>
                  <a:lnTo>
                    <a:pt x="332" y="129"/>
                  </a:lnTo>
                  <a:lnTo>
                    <a:pt x="336" y="129"/>
                  </a:lnTo>
                  <a:lnTo>
                    <a:pt x="348" y="127"/>
                  </a:lnTo>
                  <a:lnTo>
                    <a:pt x="348" y="127"/>
                  </a:lnTo>
                  <a:lnTo>
                    <a:pt x="362" y="125"/>
                  </a:lnTo>
                  <a:lnTo>
                    <a:pt x="372" y="125"/>
                  </a:lnTo>
                  <a:lnTo>
                    <a:pt x="379" y="127"/>
                  </a:lnTo>
                  <a:lnTo>
                    <a:pt x="386" y="129"/>
                  </a:lnTo>
                  <a:lnTo>
                    <a:pt x="395" y="136"/>
                  </a:lnTo>
                  <a:lnTo>
                    <a:pt x="402" y="141"/>
                  </a:lnTo>
                  <a:lnTo>
                    <a:pt x="409" y="144"/>
                  </a:lnTo>
                  <a:lnTo>
                    <a:pt x="409" y="144"/>
                  </a:lnTo>
                  <a:lnTo>
                    <a:pt x="416" y="148"/>
                  </a:lnTo>
                  <a:lnTo>
                    <a:pt x="416" y="150"/>
                  </a:lnTo>
                  <a:lnTo>
                    <a:pt x="416" y="151"/>
                  </a:lnTo>
                  <a:lnTo>
                    <a:pt x="410" y="153"/>
                  </a:lnTo>
                  <a:lnTo>
                    <a:pt x="404" y="156"/>
                  </a:lnTo>
                  <a:lnTo>
                    <a:pt x="381" y="162"/>
                  </a:lnTo>
                  <a:lnTo>
                    <a:pt x="369" y="167"/>
                  </a:lnTo>
                  <a:lnTo>
                    <a:pt x="358" y="172"/>
                  </a:lnTo>
                  <a:lnTo>
                    <a:pt x="358" y="172"/>
                  </a:lnTo>
                  <a:lnTo>
                    <a:pt x="323" y="197"/>
                  </a:lnTo>
                  <a:lnTo>
                    <a:pt x="316" y="200"/>
                  </a:lnTo>
                  <a:lnTo>
                    <a:pt x="308" y="204"/>
                  </a:lnTo>
                  <a:lnTo>
                    <a:pt x="301" y="205"/>
                  </a:lnTo>
                  <a:lnTo>
                    <a:pt x="294" y="204"/>
                  </a:lnTo>
                  <a:lnTo>
                    <a:pt x="294" y="204"/>
                  </a:lnTo>
                  <a:lnTo>
                    <a:pt x="290" y="204"/>
                  </a:lnTo>
                  <a:lnTo>
                    <a:pt x="289" y="204"/>
                  </a:lnTo>
                  <a:lnTo>
                    <a:pt x="285" y="207"/>
                  </a:lnTo>
                  <a:lnTo>
                    <a:pt x="283" y="214"/>
                  </a:lnTo>
                  <a:lnTo>
                    <a:pt x="283" y="221"/>
                  </a:lnTo>
                  <a:lnTo>
                    <a:pt x="283" y="226"/>
                  </a:lnTo>
                  <a:lnTo>
                    <a:pt x="280" y="230"/>
                  </a:lnTo>
                  <a:lnTo>
                    <a:pt x="280" y="231"/>
                  </a:lnTo>
                  <a:lnTo>
                    <a:pt x="276" y="231"/>
                  </a:lnTo>
                  <a:lnTo>
                    <a:pt x="271" y="226"/>
                  </a:lnTo>
                  <a:lnTo>
                    <a:pt x="271" y="226"/>
                  </a:lnTo>
                  <a:lnTo>
                    <a:pt x="257" y="214"/>
                  </a:lnTo>
                  <a:lnTo>
                    <a:pt x="247" y="205"/>
                  </a:lnTo>
                  <a:lnTo>
                    <a:pt x="243" y="204"/>
                  </a:lnTo>
                  <a:lnTo>
                    <a:pt x="242" y="205"/>
                  </a:lnTo>
                  <a:lnTo>
                    <a:pt x="243" y="210"/>
                  </a:lnTo>
                  <a:lnTo>
                    <a:pt x="247" y="217"/>
                  </a:lnTo>
                  <a:lnTo>
                    <a:pt x="247" y="217"/>
                  </a:lnTo>
                  <a:lnTo>
                    <a:pt x="250" y="223"/>
                  </a:lnTo>
                  <a:lnTo>
                    <a:pt x="249" y="226"/>
                  </a:lnTo>
                  <a:lnTo>
                    <a:pt x="247" y="224"/>
                  </a:lnTo>
                  <a:lnTo>
                    <a:pt x="242" y="223"/>
                  </a:lnTo>
                  <a:lnTo>
                    <a:pt x="236" y="219"/>
                  </a:lnTo>
                  <a:lnTo>
                    <a:pt x="231" y="219"/>
                  </a:lnTo>
                  <a:lnTo>
                    <a:pt x="228" y="219"/>
                  </a:lnTo>
                  <a:lnTo>
                    <a:pt x="226" y="224"/>
                  </a:lnTo>
                  <a:lnTo>
                    <a:pt x="226" y="224"/>
                  </a:lnTo>
                  <a:lnTo>
                    <a:pt x="224" y="228"/>
                  </a:lnTo>
                  <a:lnTo>
                    <a:pt x="222" y="231"/>
                  </a:lnTo>
                  <a:lnTo>
                    <a:pt x="215" y="233"/>
                  </a:lnTo>
                  <a:lnTo>
                    <a:pt x="205" y="233"/>
                  </a:lnTo>
                  <a:lnTo>
                    <a:pt x="193" y="233"/>
                  </a:lnTo>
                  <a:lnTo>
                    <a:pt x="167" y="226"/>
                  </a:lnTo>
                  <a:lnTo>
                    <a:pt x="144" y="216"/>
                  </a:lnTo>
                  <a:lnTo>
                    <a:pt x="144" y="216"/>
                  </a:lnTo>
                  <a:lnTo>
                    <a:pt x="128" y="207"/>
                  </a:lnTo>
                  <a:lnTo>
                    <a:pt x="114" y="197"/>
                  </a:lnTo>
                  <a:lnTo>
                    <a:pt x="104" y="186"/>
                  </a:lnTo>
                  <a:lnTo>
                    <a:pt x="92" y="176"/>
                  </a:lnTo>
                  <a:lnTo>
                    <a:pt x="92" y="176"/>
                  </a:lnTo>
                  <a:lnTo>
                    <a:pt x="90" y="174"/>
                  </a:lnTo>
                  <a:lnTo>
                    <a:pt x="90" y="172"/>
                  </a:lnTo>
                  <a:lnTo>
                    <a:pt x="94" y="169"/>
                  </a:lnTo>
                  <a:lnTo>
                    <a:pt x="101" y="167"/>
                  </a:lnTo>
                  <a:lnTo>
                    <a:pt x="111" y="163"/>
                  </a:lnTo>
                  <a:lnTo>
                    <a:pt x="135" y="156"/>
                  </a:lnTo>
                  <a:lnTo>
                    <a:pt x="146" y="151"/>
                  </a:lnTo>
                  <a:lnTo>
                    <a:pt x="149" y="148"/>
                  </a:lnTo>
                  <a:lnTo>
                    <a:pt x="151" y="146"/>
                  </a:lnTo>
                  <a:lnTo>
                    <a:pt x="151" y="146"/>
                  </a:lnTo>
                  <a:lnTo>
                    <a:pt x="153" y="143"/>
                  </a:lnTo>
                  <a:lnTo>
                    <a:pt x="151" y="141"/>
                  </a:lnTo>
                  <a:lnTo>
                    <a:pt x="146" y="141"/>
                  </a:lnTo>
                  <a:lnTo>
                    <a:pt x="123" y="146"/>
                  </a:lnTo>
                  <a:lnTo>
                    <a:pt x="101" y="151"/>
                  </a:lnTo>
                  <a:lnTo>
                    <a:pt x="94" y="151"/>
                  </a:lnTo>
                  <a:lnTo>
                    <a:pt x="92" y="150"/>
                  </a:lnTo>
                  <a:lnTo>
                    <a:pt x="92" y="148"/>
                  </a:lnTo>
                  <a:lnTo>
                    <a:pt x="92" y="148"/>
                  </a:lnTo>
                  <a:lnTo>
                    <a:pt x="94" y="143"/>
                  </a:lnTo>
                  <a:lnTo>
                    <a:pt x="92" y="143"/>
                  </a:lnTo>
                  <a:lnTo>
                    <a:pt x="83" y="148"/>
                  </a:lnTo>
                  <a:lnTo>
                    <a:pt x="74" y="150"/>
                  </a:lnTo>
                  <a:lnTo>
                    <a:pt x="66" y="151"/>
                  </a:lnTo>
                  <a:lnTo>
                    <a:pt x="55" y="150"/>
                  </a:lnTo>
                  <a:lnTo>
                    <a:pt x="45" y="143"/>
                  </a:lnTo>
                  <a:lnTo>
                    <a:pt x="45" y="143"/>
                  </a:lnTo>
                  <a:lnTo>
                    <a:pt x="26" y="129"/>
                  </a:lnTo>
                  <a:lnTo>
                    <a:pt x="12" y="116"/>
                  </a:lnTo>
                  <a:lnTo>
                    <a:pt x="5" y="111"/>
                  </a:lnTo>
                  <a:lnTo>
                    <a:pt x="1" y="106"/>
                  </a:lnTo>
                  <a:lnTo>
                    <a:pt x="0" y="101"/>
                  </a:lnTo>
                  <a:lnTo>
                    <a:pt x="0" y="96"/>
                  </a:lnTo>
                  <a:lnTo>
                    <a:pt x="0" y="96"/>
                  </a:lnTo>
                  <a:lnTo>
                    <a:pt x="0" y="92"/>
                  </a:lnTo>
                  <a:lnTo>
                    <a:pt x="3" y="92"/>
                  </a:lnTo>
                  <a:lnTo>
                    <a:pt x="10" y="90"/>
                  </a:lnTo>
                  <a:lnTo>
                    <a:pt x="34" y="94"/>
                  </a:lnTo>
                  <a:lnTo>
                    <a:pt x="48" y="96"/>
                  </a:lnTo>
                  <a:lnTo>
                    <a:pt x="61" y="97"/>
                  </a:lnTo>
                  <a:lnTo>
                    <a:pt x="69" y="96"/>
                  </a:lnTo>
                  <a:lnTo>
                    <a:pt x="73" y="94"/>
                  </a:lnTo>
                  <a:lnTo>
                    <a:pt x="76" y="90"/>
                  </a:lnTo>
                  <a:lnTo>
                    <a:pt x="76" y="90"/>
                  </a:lnTo>
                  <a:lnTo>
                    <a:pt x="76" y="89"/>
                  </a:lnTo>
                  <a:lnTo>
                    <a:pt x="73" y="89"/>
                  </a:lnTo>
                  <a:lnTo>
                    <a:pt x="66" y="87"/>
                  </a:lnTo>
                  <a:lnTo>
                    <a:pt x="41" y="87"/>
                  </a:lnTo>
                  <a:lnTo>
                    <a:pt x="29" y="85"/>
                  </a:lnTo>
                  <a:lnTo>
                    <a:pt x="19" y="83"/>
                  </a:lnTo>
                  <a:lnTo>
                    <a:pt x="15" y="82"/>
                  </a:lnTo>
                  <a:lnTo>
                    <a:pt x="13" y="78"/>
                  </a:lnTo>
                  <a:lnTo>
                    <a:pt x="13" y="76"/>
                  </a:lnTo>
                  <a:lnTo>
                    <a:pt x="15" y="73"/>
                  </a:lnTo>
                  <a:lnTo>
                    <a:pt x="15" y="73"/>
                  </a:lnTo>
                  <a:lnTo>
                    <a:pt x="20" y="66"/>
                  </a:lnTo>
                  <a:lnTo>
                    <a:pt x="26" y="61"/>
                  </a:lnTo>
                  <a:lnTo>
                    <a:pt x="34" y="56"/>
                  </a:lnTo>
                  <a:lnTo>
                    <a:pt x="43" y="50"/>
                  </a:lnTo>
                  <a:lnTo>
                    <a:pt x="47" y="47"/>
                  </a:lnTo>
                  <a:lnTo>
                    <a:pt x="48" y="42"/>
                  </a:lnTo>
                  <a:lnTo>
                    <a:pt x="48" y="42"/>
                  </a:lnTo>
                  <a:lnTo>
                    <a:pt x="54" y="31"/>
                  </a:lnTo>
                  <a:lnTo>
                    <a:pt x="57" y="28"/>
                  </a:lnTo>
                  <a:lnTo>
                    <a:pt x="61" y="26"/>
                  </a:lnTo>
                  <a:lnTo>
                    <a:pt x="69" y="24"/>
                  </a:lnTo>
                  <a:lnTo>
                    <a:pt x="83" y="22"/>
                  </a:lnTo>
                  <a:lnTo>
                    <a:pt x="83" y="22"/>
                  </a:lnTo>
                  <a:lnTo>
                    <a:pt x="95" y="22"/>
                  </a:lnTo>
                  <a:lnTo>
                    <a:pt x="97" y="21"/>
                  </a:lnTo>
                  <a:lnTo>
                    <a:pt x="99" y="19"/>
                  </a:lnTo>
                  <a:lnTo>
                    <a:pt x="97" y="15"/>
                  </a:lnTo>
                  <a:lnTo>
                    <a:pt x="92" y="12"/>
                  </a:lnTo>
                  <a:lnTo>
                    <a:pt x="87" y="9"/>
                  </a:lnTo>
                  <a:lnTo>
                    <a:pt x="85" y="5"/>
                  </a:lnTo>
                  <a:lnTo>
                    <a:pt x="87" y="3"/>
                  </a:lnTo>
                  <a:lnTo>
                    <a:pt x="88" y="2"/>
                  </a:lnTo>
                  <a:lnTo>
                    <a:pt x="102" y="0"/>
                  </a:lnTo>
                  <a:lnTo>
                    <a:pt x="10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 name="Freeform 1721">
              <a:extLst>
                <a:ext uri="{FF2B5EF4-FFF2-40B4-BE49-F238E27FC236}">
                  <a16:creationId xmlns:a16="http://schemas.microsoft.com/office/drawing/2014/main" id="{1061A0CF-2FB0-471B-A0A0-B596EDCE834D}"/>
                </a:ext>
              </a:extLst>
            </p:cNvPr>
            <p:cNvSpPr>
              <a:spLocks/>
            </p:cNvSpPr>
            <p:nvPr/>
          </p:nvSpPr>
          <p:spPr bwMode="auto">
            <a:xfrm>
              <a:off x="2365702" y="1204499"/>
              <a:ext cx="40526" cy="28192"/>
            </a:xfrm>
            <a:custGeom>
              <a:avLst/>
              <a:gdLst/>
              <a:ahLst/>
              <a:cxnLst>
                <a:cxn ang="0">
                  <a:pos x="0" y="12"/>
                </a:cxn>
                <a:cxn ang="0">
                  <a:pos x="0" y="12"/>
                </a:cxn>
                <a:cxn ang="0">
                  <a:pos x="0" y="9"/>
                </a:cxn>
                <a:cxn ang="0">
                  <a:pos x="2" y="5"/>
                </a:cxn>
                <a:cxn ang="0">
                  <a:pos x="7" y="2"/>
                </a:cxn>
                <a:cxn ang="0">
                  <a:pos x="14" y="0"/>
                </a:cxn>
                <a:cxn ang="0">
                  <a:pos x="23" y="0"/>
                </a:cxn>
                <a:cxn ang="0">
                  <a:pos x="31" y="2"/>
                </a:cxn>
                <a:cxn ang="0">
                  <a:pos x="40" y="5"/>
                </a:cxn>
                <a:cxn ang="0">
                  <a:pos x="47" y="10"/>
                </a:cxn>
                <a:cxn ang="0">
                  <a:pos x="51" y="17"/>
                </a:cxn>
                <a:cxn ang="0">
                  <a:pos x="51" y="17"/>
                </a:cxn>
                <a:cxn ang="0">
                  <a:pos x="51" y="24"/>
                </a:cxn>
                <a:cxn ang="0">
                  <a:pos x="49" y="29"/>
                </a:cxn>
                <a:cxn ang="0">
                  <a:pos x="47" y="33"/>
                </a:cxn>
                <a:cxn ang="0">
                  <a:pos x="44" y="33"/>
                </a:cxn>
                <a:cxn ang="0">
                  <a:pos x="40" y="33"/>
                </a:cxn>
                <a:cxn ang="0">
                  <a:pos x="35" y="33"/>
                </a:cxn>
                <a:cxn ang="0">
                  <a:pos x="26" y="26"/>
                </a:cxn>
                <a:cxn ang="0">
                  <a:pos x="26" y="26"/>
                </a:cxn>
                <a:cxn ang="0">
                  <a:pos x="21" y="24"/>
                </a:cxn>
                <a:cxn ang="0">
                  <a:pos x="16" y="22"/>
                </a:cxn>
                <a:cxn ang="0">
                  <a:pos x="9" y="21"/>
                </a:cxn>
                <a:cxn ang="0">
                  <a:pos x="4" y="19"/>
                </a:cxn>
                <a:cxn ang="0">
                  <a:pos x="2" y="16"/>
                </a:cxn>
                <a:cxn ang="0">
                  <a:pos x="0" y="12"/>
                </a:cxn>
                <a:cxn ang="0">
                  <a:pos x="0" y="12"/>
                </a:cxn>
              </a:cxnLst>
              <a:rect l="0" t="0" r="r" b="b"/>
              <a:pathLst>
                <a:path w="51" h="33">
                  <a:moveTo>
                    <a:pt x="0" y="12"/>
                  </a:moveTo>
                  <a:lnTo>
                    <a:pt x="0" y="12"/>
                  </a:lnTo>
                  <a:lnTo>
                    <a:pt x="0" y="9"/>
                  </a:lnTo>
                  <a:lnTo>
                    <a:pt x="2" y="5"/>
                  </a:lnTo>
                  <a:lnTo>
                    <a:pt x="7" y="2"/>
                  </a:lnTo>
                  <a:lnTo>
                    <a:pt x="14" y="0"/>
                  </a:lnTo>
                  <a:lnTo>
                    <a:pt x="23" y="0"/>
                  </a:lnTo>
                  <a:lnTo>
                    <a:pt x="31" y="2"/>
                  </a:lnTo>
                  <a:lnTo>
                    <a:pt x="40" y="5"/>
                  </a:lnTo>
                  <a:lnTo>
                    <a:pt x="47" y="10"/>
                  </a:lnTo>
                  <a:lnTo>
                    <a:pt x="51" y="17"/>
                  </a:lnTo>
                  <a:lnTo>
                    <a:pt x="51" y="17"/>
                  </a:lnTo>
                  <a:lnTo>
                    <a:pt x="51" y="24"/>
                  </a:lnTo>
                  <a:lnTo>
                    <a:pt x="49" y="29"/>
                  </a:lnTo>
                  <a:lnTo>
                    <a:pt x="47" y="33"/>
                  </a:lnTo>
                  <a:lnTo>
                    <a:pt x="44" y="33"/>
                  </a:lnTo>
                  <a:lnTo>
                    <a:pt x="40" y="33"/>
                  </a:lnTo>
                  <a:lnTo>
                    <a:pt x="35" y="33"/>
                  </a:lnTo>
                  <a:lnTo>
                    <a:pt x="26" y="26"/>
                  </a:lnTo>
                  <a:lnTo>
                    <a:pt x="26" y="26"/>
                  </a:lnTo>
                  <a:lnTo>
                    <a:pt x="21" y="24"/>
                  </a:lnTo>
                  <a:lnTo>
                    <a:pt x="16" y="22"/>
                  </a:lnTo>
                  <a:lnTo>
                    <a:pt x="9" y="21"/>
                  </a:lnTo>
                  <a:lnTo>
                    <a:pt x="4" y="19"/>
                  </a:lnTo>
                  <a:lnTo>
                    <a:pt x="2" y="16"/>
                  </a:lnTo>
                  <a:lnTo>
                    <a:pt x="0" y="12"/>
                  </a:lnTo>
                  <a:lnTo>
                    <a:pt x="0" y="1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 name="Freeform 1722">
              <a:extLst>
                <a:ext uri="{FF2B5EF4-FFF2-40B4-BE49-F238E27FC236}">
                  <a16:creationId xmlns:a16="http://schemas.microsoft.com/office/drawing/2014/main" id="{16AA20D5-A7F7-4E00-8113-68B10A7E7176}"/>
                </a:ext>
              </a:extLst>
            </p:cNvPr>
            <p:cNvSpPr>
              <a:spLocks/>
            </p:cNvSpPr>
            <p:nvPr/>
          </p:nvSpPr>
          <p:spPr bwMode="auto">
            <a:xfrm>
              <a:off x="1874102" y="1394794"/>
              <a:ext cx="348876" cy="133913"/>
            </a:xfrm>
            <a:custGeom>
              <a:avLst/>
              <a:gdLst/>
              <a:ahLst/>
              <a:cxnLst>
                <a:cxn ang="0">
                  <a:pos x="117" y="151"/>
                </a:cxn>
                <a:cxn ang="0">
                  <a:pos x="127" y="139"/>
                </a:cxn>
                <a:cxn ang="0">
                  <a:pos x="185" y="127"/>
                </a:cxn>
                <a:cxn ang="0">
                  <a:pos x="230" y="117"/>
                </a:cxn>
                <a:cxn ang="0">
                  <a:pos x="202" y="115"/>
                </a:cxn>
                <a:cxn ang="0">
                  <a:pos x="138" y="122"/>
                </a:cxn>
                <a:cxn ang="0">
                  <a:pos x="133" y="113"/>
                </a:cxn>
                <a:cxn ang="0">
                  <a:pos x="126" y="110"/>
                </a:cxn>
                <a:cxn ang="0">
                  <a:pos x="108" y="129"/>
                </a:cxn>
                <a:cxn ang="0">
                  <a:pos x="93" y="127"/>
                </a:cxn>
                <a:cxn ang="0">
                  <a:pos x="82" y="118"/>
                </a:cxn>
                <a:cxn ang="0">
                  <a:pos x="58" y="127"/>
                </a:cxn>
                <a:cxn ang="0">
                  <a:pos x="5" y="115"/>
                </a:cxn>
                <a:cxn ang="0">
                  <a:pos x="12" y="96"/>
                </a:cxn>
                <a:cxn ang="0">
                  <a:pos x="23" y="85"/>
                </a:cxn>
                <a:cxn ang="0">
                  <a:pos x="21" y="77"/>
                </a:cxn>
                <a:cxn ang="0">
                  <a:pos x="40" y="57"/>
                </a:cxn>
                <a:cxn ang="0">
                  <a:pos x="37" y="49"/>
                </a:cxn>
                <a:cxn ang="0">
                  <a:pos x="89" y="28"/>
                </a:cxn>
                <a:cxn ang="0">
                  <a:pos x="120" y="31"/>
                </a:cxn>
                <a:cxn ang="0">
                  <a:pos x="136" y="47"/>
                </a:cxn>
                <a:cxn ang="0">
                  <a:pos x="162" y="40"/>
                </a:cxn>
                <a:cxn ang="0">
                  <a:pos x="206" y="63"/>
                </a:cxn>
                <a:cxn ang="0">
                  <a:pos x="225" y="89"/>
                </a:cxn>
                <a:cxn ang="0">
                  <a:pos x="246" y="89"/>
                </a:cxn>
                <a:cxn ang="0">
                  <a:pos x="296" y="92"/>
                </a:cxn>
                <a:cxn ang="0">
                  <a:pos x="310" y="85"/>
                </a:cxn>
                <a:cxn ang="0">
                  <a:pos x="296" y="75"/>
                </a:cxn>
                <a:cxn ang="0">
                  <a:pos x="274" y="68"/>
                </a:cxn>
                <a:cxn ang="0">
                  <a:pos x="286" y="57"/>
                </a:cxn>
                <a:cxn ang="0">
                  <a:pos x="279" y="47"/>
                </a:cxn>
                <a:cxn ang="0">
                  <a:pos x="253" y="33"/>
                </a:cxn>
                <a:cxn ang="0">
                  <a:pos x="263" y="24"/>
                </a:cxn>
                <a:cxn ang="0">
                  <a:pos x="312" y="0"/>
                </a:cxn>
                <a:cxn ang="0">
                  <a:pos x="322" y="14"/>
                </a:cxn>
                <a:cxn ang="0">
                  <a:pos x="335" y="35"/>
                </a:cxn>
                <a:cxn ang="0">
                  <a:pos x="335" y="45"/>
                </a:cxn>
                <a:cxn ang="0">
                  <a:pos x="335" y="52"/>
                </a:cxn>
                <a:cxn ang="0">
                  <a:pos x="350" y="57"/>
                </a:cxn>
                <a:cxn ang="0">
                  <a:pos x="347" y="70"/>
                </a:cxn>
                <a:cxn ang="0">
                  <a:pos x="380" y="59"/>
                </a:cxn>
                <a:cxn ang="0">
                  <a:pos x="409" y="59"/>
                </a:cxn>
                <a:cxn ang="0">
                  <a:pos x="434" y="71"/>
                </a:cxn>
                <a:cxn ang="0">
                  <a:pos x="429" y="92"/>
                </a:cxn>
                <a:cxn ang="0">
                  <a:pos x="401" y="120"/>
                </a:cxn>
                <a:cxn ang="0">
                  <a:pos x="366" y="129"/>
                </a:cxn>
                <a:cxn ang="0">
                  <a:pos x="343" y="125"/>
                </a:cxn>
                <a:cxn ang="0">
                  <a:pos x="329" y="130"/>
                </a:cxn>
                <a:cxn ang="0">
                  <a:pos x="305" y="127"/>
                </a:cxn>
                <a:cxn ang="0">
                  <a:pos x="258" y="143"/>
                </a:cxn>
                <a:cxn ang="0">
                  <a:pos x="206" y="158"/>
                </a:cxn>
                <a:cxn ang="0">
                  <a:pos x="145" y="165"/>
                </a:cxn>
              </a:cxnLst>
              <a:rect l="0" t="0" r="r" b="b"/>
              <a:pathLst>
                <a:path w="436" h="167">
                  <a:moveTo>
                    <a:pt x="134" y="162"/>
                  </a:moveTo>
                  <a:lnTo>
                    <a:pt x="134" y="162"/>
                  </a:lnTo>
                  <a:lnTo>
                    <a:pt x="120" y="155"/>
                  </a:lnTo>
                  <a:lnTo>
                    <a:pt x="117" y="151"/>
                  </a:lnTo>
                  <a:lnTo>
                    <a:pt x="117" y="150"/>
                  </a:lnTo>
                  <a:lnTo>
                    <a:pt x="117" y="146"/>
                  </a:lnTo>
                  <a:lnTo>
                    <a:pt x="119" y="144"/>
                  </a:lnTo>
                  <a:lnTo>
                    <a:pt x="127" y="139"/>
                  </a:lnTo>
                  <a:lnTo>
                    <a:pt x="138" y="136"/>
                  </a:lnTo>
                  <a:lnTo>
                    <a:pt x="153" y="132"/>
                  </a:lnTo>
                  <a:lnTo>
                    <a:pt x="185" y="127"/>
                  </a:lnTo>
                  <a:lnTo>
                    <a:pt x="185" y="127"/>
                  </a:lnTo>
                  <a:lnTo>
                    <a:pt x="199" y="125"/>
                  </a:lnTo>
                  <a:lnTo>
                    <a:pt x="213" y="122"/>
                  </a:lnTo>
                  <a:lnTo>
                    <a:pt x="223" y="118"/>
                  </a:lnTo>
                  <a:lnTo>
                    <a:pt x="230" y="117"/>
                  </a:lnTo>
                  <a:lnTo>
                    <a:pt x="232" y="113"/>
                  </a:lnTo>
                  <a:lnTo>
                    <a:pt x="228" y="111"/>
                  </a:lnTo>
                  <a:lnTo>
                    <a:pt x="220" y="113"/>
                  </a:lnTo>
                  <a:lnTo>
                    <a:pt x="202" y="115"/>
                  </a:lnTo>
                  <a:lnTo>
                    <a:pt x="202" y="115"/>
                  </a:lnTo>
                  <a:lnTo>
                    <a:pt x="167" y="120"/>
                  </a:lnTo>
                  <a:lnTo>
                    <a:pt x="145" y="122"/>
                  </a:lnTo>
                  <a:lnTo>
                    <a:pt x="138" y="122"/>
                  </a:lnTo>
                  <a:lnTo>
                    <a:pt x="134" y="120"/>
                  </a:lnTo>
                  <a:lnTo>
                    <a:pt x="133" y="117"/>
                  </a:lnTo>
                  <a:lnTo>
                    <a:pt x="133" y="113"/>
                  </a:lnTo>
                  <a:lnTo>
                    <a:pt x="133" y="113"/>
                  </a:lnTo>
                  <a:lnTo>
                    <a:pt x="134" y="106"/>
                  </a:lnTo>
                  <a:lnTo>
                    <a:pt x="133" y="106"/>
                  </a:lnTo>
                  <a:lnTo>
                    <a:pt x="131" y="106"/>
                  </a:lnTo>
                  <a:lnTo>
                    <a:pt x="126" y="110"/>
                  </a:lnTo>
                  <a:lnTo>
                    <a:pt x="117" y="120"/>
                  </a:lnTo>
                  <a:lnTo>
                    <a:pt x="117" y="120"/>
                  </a:lnTo>
                  <a:lnTo>
                    <a:pt x="112" y="125"/>
                  </a:lnTo>
                  <a:lnTo>
                    <a:pt x="108" y="129"/>
                  </a:lnTo>
                  <a:lnTo>
                    <a:pt x="103" y="130"/>
                  </a:lnTo>
                  <a:lnTo>
                    <a:pt x="100" y="130"/>
                  </a:lnTo>
                  <a:lnTo>
                    <a:pt x="96" y="129"/>
                  </a:lnTo>
                  <a:lnTo>
                    <a:pt x="93" y="127"/>
                  </a:lnTo>
                  <a:lnTo>
                    <a:pt x="87" y="120"/>
                  </a:lnTo>
                  <a:lnTo>
                    <a:pt x="87" y="120"/>
                  </a:lnTo>
                  <a:lnTo>
                    <a:pt x="84" y="118"/>
                  </a:lnTo>
                  <a:lnTo>
                    <a:pt x="82" y="118"/>
                  </a:lnTo>
                  <a:lnTo>
                    <a:pt x="77" y="124"/>
                  </a:lnTo>
                  <a:lnTo>
                    <a:pt x="73" y="125"/>
                  </a:lnTo>
                  <a:lnTo>
                    <a:pt x="66" y="127"/>
                  </a:lnTo>
                  <a:lnTo>
                    <a:pt x="58" y="127"/>
                  </a:lnTo>
                  <a:lnTo>
                    <a:pt x="47" y="125"/>
                  </a:lnTo>
                  <a:lnTo>
                    <a:pt x="47" y="125"/>
                  </a:lnTo>
                  <a:lnTo>
                    <a:pt x="23" y="118"/>
                  </a:lnTo>
                  <a:lnTo>
                    <a:pt x="5" y="115"/>
                  </a:lnTo>
                  <a:lnTo>
                    <a:pt x="2" y="111"/>
                  </a:lnTo>
                  <a:lnTo>
                    <a:pt x="0" y="108"/>
                  </a:lnTo>
                  <a:lnTo>
                    <a:pt x="4" y="103"/>
                  </a:lnTo>
                  <a:lnTo>
                    <a:pt x="12" y="96"/>
                  </a:lnTo>
                  <a:lnTo>
                    <a:pt x="12" y="96"/>
                  </a:lnTo>
                  <a:lnTo>
                    <a:pt x="19" y="90"/>
                  </a:lnTo>
                  <a:lnTo>
                    <a:pt x="23" y="87"/>
                  </a:lnTo>
                  <a:lnTo>
                    <a:pt x="23" y="85"/>
                  </a:lnTo>
                  <a:lnTo>
                    <a:pt x="19" y="83"/>
                  </a:lnTo>
                  <a:lnTo>
                    <a:pt x="18" y="83"/>
                  </a:lnTo>
                  <a:lnTo>
                    <a:pt x="18" y="82"/>
                  </a:lnTo>
                  <a:lnTo>
                    <a:pt x="21" y="77"/>
                  </a:lnTo>
                  <a:lnTo>
                    <a:pt x="28" y="70"/>
                  </a:lnTo>
                  <a:lnTo>
                    <a:pt x="28" y="70"/>
                  </a:lnTo>
                  <a:lnTo>
                    <a:pt x="37" y="63"/>
                  </a:lnTo>
                  <a:lnTo>
                    <a:pt x="40" y="57"/>
                  </a:lnTo>
                  <a:lnTo>
                    <a:pt x="39" y="54"/>
                  </a:lnTo>
                  <a:lnTo>
                    <a:pt x="37" y="52"/>
                  </a:lnTo>
                  <a:lnTo>
                    <a:pt x="37" y="50"/>
                  </a:lnTo>
                  <a:lnTo>
                    <a:pt x="37" y="49"/>
                  </a:lnTo>
                  <a:lnTo>
                    <a:pt x="52" y="42"/>
                  </a:lnTo>
                  <a:lnTo>
                    <a:pt x="52" y="42"/>
                  </a:lnTo>
                  <a:lnTo>
                    <a:pt x="79" y="31"/>
                  </a:lnTo>
                  <a:lnTo>
                    <a:pt x="89" y="28"/>
                  </a:lnTo>
                  <a:lnTo>
                    <a:pt x="98" y="26"/>
                  </a:lnTo>
                  <a:lnTo>
                    <a:pt x="106" y="24"/>
                  </a:lnTo>
                  <a:lnTo>
                    <a:pt x="113" y="26"/>
                  </a:lnTo>
                  <a:lnTo>
                    <a:pt x="120" y="31"/>
                  </a:lnTo>
                  <a:lnTo>
                    <a:pt x="126" y="38"/>
                  </a:lnTo>
                  <a:lnTo>
                    <a:pt x="126" y="38"/>
                  </a:lnTo>
                  <a:lnTo>
                    <a:pt x="131" y="45"/>
                  </a:lnTo>
                  <a:lnTo>
                    <a:pt x="136" y="47"/>
                  </a:lnTo>
                  <a:lnTo>
                    <a:pt x="140" y="45"/>
                  </a:lnTo>
                  <a:lnTo>
                    <a:pt x="145" y="42"/>
                  </a:lnTo>
                  <a:lnTo>
                    <a:pt x="153" y="40"/>
                  </a:lnTo>
                  <a:lnTo>
                    <a:pt x="162" y="40"/>
                  </a:lnTo>
                  <a:lnTo>
                    <a:pt x="174" y="43"/>
                  </a:lnTo>
                  <a:lnTo>
                    <a:pt x="192" y="52"/>
                  </a:lnTo>
                  <a:lnTo>
                    <a:pt x="192" y="52"/>
                  </a:lnTo>
                  <a:lnTo>
                    <a:pt x="206" y="63"/>
                  </a:lnTo>
                  <a:lnTo>
                    <a:pt x="216" y="71"/>
                  </a:lnTo>
                  <a:lnTo>
                    <a:pt x="220" y="78"/>
                  </a:lnTo>
                  <a:lnTo>
                    <a:pt x="223" y="83"/>
                  </a:lnTo>
                  <a:lnTo>
                    <a:pt x="225" y="89"/>
                  </a:lnTo>
                  <a:lnTo>
                    <a:pt x="228" y="90"/>
                  </a:lnTo>
                  <a:lnTo>
                    <a:pt x="234" y="90"/>
                  </a:lnTo>
                  <a:lnTo>
                    <a:pt x="246" y="89"/>
                  </a:lnTo>
                  <a:lnTo>
                    <a:pt x="246" y="89"/>
                  </a:lnTo>
                  <a:lnTo>
                    <a:pt x="258" y="87"/>
                  </a:lnTo>
                  <a:lnTo>
                    <a:pt x="270" y="87"/>
                  </a:lnTo>
                  <a:lnTo>
                    <a:pt x="289" y="90"/>
                  </a:lnTo>
                  <a:lnTo>
                    <a:pt x="296" y="92"/>
                  </a:lnTo>
                  <a:lnTo>
                    <a:pt x="303" y="92"/>
                  </a:lnTo>
                  <a:lnTo>
                    <a:pt x="307" y="90"/>
                  </a:lnTo>
                  <a:lnTo>
                    <a:pt x="310" y="85"/>
                  </a:lnTo>
                  <a:lnTo>
                    <a:pt x="310" y="85"/>
                  </a:lnTo>
                  <a:lnTo>
                    <a:pt x="310" y="83"/>
                  </a:lnTo>
                  <a:lnTo>
                    <a:pt x="308" y="80"/>
                  </a:lnTo>
                  <a:lnTo>
                    <a:pt x="303" y="77"/>
                  </a:lnTo>
                  <a:lnTo>
                    <a:pt x="296" y="75"/>
                  </a:lnTo>
                  <a:lnTo>
                    <a:pt x="288" y="73"/>
                  </a:lnTo>
                  <a:lnTo>
                    <a:pt x="279" y="71"/>
                  </a:lnTo>
                  <a:lnTo>
                    <a:pt x="275" y="70"/>
                  </a:lnTo>
                  <a:lnTo>
                    <a:pt x="274" y="68"/>
                  </a:lnTo>
                  <a:lnTo>
                    <a:pt x="275" y="66"/>
                  </a:lnTo>
                  <a:lnTo>
                    <a:pt x="281" y="61"/>
                  </a:lnTo>
                  <a:lnTo>
                    <a:pt x="281" y="61"/>
                  </a:lnTo>
                  <a:lnTo>
                    <a:pt x="286" y="57"/>
                  </a:lnTo>
                  <a:lnTo>
                    <a:pt x="288" y="54"/>
                  </a:lnTo>
                  <a:lnTo>
                    <a:pt x="288" y="52"/>
                  </a:lnTo>
                  <a:lnTo>
                    <a:pt x="286" y="50"/>
                  </a:lnTo>
                  <a:lnTo>
                    <a:pt x="279" y="47"/>
                  </a:lnTo>
                  <a:lnTo>
                    <a:pt x="268" y="43"/>
                  </a:lnTo>
                  <a:lnTo>
                    <a:pt x="260" y="40"/>
                  </a:lnTo>
                  <a:lnTo>
                    <a:pt x="254" y="36"/>
                  </a:lnTo>
                  <a:lnTo>
                    <a:pt x="253" y="33"/>
                  </a:lnTo>
                  <a:lnTo>
                    <a:pt x="254" y="31"/>
                  </a:lnTo>
                  <a:lnTo>
                    <a:pt x="256" y="28"/>
                  </a:lnTo>
                  <a:lnTo>
                    <a:pt x="263" y="24"/>
                  </a:lnTo>
                  <a:lnTo>
                    <a:pt x="263" y="24"/>
                  </a:lnTo>
                  <a:lnTo>
                    <a:pt x="286" y="10"/>
                  </a:lnTo>
                  <a:lnTo>
                    <a:pt x="296" y="5"/>
                  </a:lnTo>
                  <a:lnTo>
                    <a:pt x="305" y="2"/>
                  </a:lnTo>
                  <a:lnTo>
                    <a:pt x="312" y="0"/>
                  </a:lnTo>
                  <a:lnTo>
                    <a:pt x="317" y="2"/>
                  </a:lnTo>
                  <a:lnTo>
                    <a:pt x="321" y="7"/>
                  </a:lnTo>
                  <a:lnTo>
                    <a:pt x="322" y="14"/>
                  </a:lnTo>
                  <a:lnTo>
                    <a:pt x="322" y="14"/>
                  </a:lnTo>
                  <a:lnTo>
                    <a:pt x="324" y="23"/>
                  </a:lnTo>
                  <a:lnTo>
                    <a:pt x="328" y="30"/>
                  </a:lnTo>
                  <a:lnTo>
                    <a:pt x="331" y="33"/>
                  </a:lnTo>
                  <a:lnTo>
                    <a:pt x="335" y="35"/>
                  </a:lnTo>
                  <a:lnTo>
                    <a:pt x="336" y="36"/>
                  </a:lnTo>
                  <a:lnTo>
                    <a:pt x="338" y="38"/>
                  </a:lnTo>
                  <a:lnTo>
                    <a:pt x="338" y="40"/>
                  </a:lnTo>
                  <a:lnTo>
                    <a:pt x="335" y="45"/>
                  </a:lnTo>
                  <a:lnTo>
                    <a:pt x="335" y="45"/>
                  </a:lnTo>
                  <a:lnTo>
                    <a:pt x="331" y="49"/>
                  </a:lnTo>
                  <a:lnTo>
                    <a:pt x="333" y="50"/>
                  </a:lnTo>
                  <a:lnTo>
                    <a:pt x="335" y="52"/>
                  </a:lnTo>
                  <a:lnTo>
                    <a:pt x="340" y="52"/>
                  </a:lnTo>
                  <a:lnTo>
                    <a:pt x="343" y="54"/>
                  </a:lnTo>
                  <a:lnTo>
                    <a:pt x="348" y="56"/>
                  </a:lnTo>
                  <a:lnTo>
                    <a:pt x="350" y="57"/>
                  </a:lnTo>
                  <a:lnTo>
                    <a:pt x="348" y="63"/>
                  </a:lnTo>
                  <a:lnTo>
                    <a:pt x="348" y="63"/>
                  </a:lnTo>
                  <a:lnTo>
                    <a:pt x="347" y="68"/>
                  </a:lnTo>
                  <a:lnTo>
                    <a:pt x="347" y="70"/>
                  </a:lnTo>
                  <a:lnTo>
                    <a:pt x="350" y="70"/>
                  </a:lnTo>
                  <a:lnTo>
                    <a:pt x="354" y="70"/>
                  </a:lnTo>
                  <a:lnTo>
                    <a:pt x="366" y="66"/>
                  </a:lnTo>
                  <a:lnTo>
                    <a:pt x="380" y="59"/>
                  </a:lnTo>
                  <a:lnTo>
                    <a:pt x="380" y="59"/>
                  </a:lnTo>
                  <a:lnTo>
                    <a:pt x="387" y="57"/>
                  </a:lnTo>
                  <a:lnTo>
                    <a:pt x="397" y="57"/>
                  </a:lnTo>
                  <a:lnTo>
                    <a:pt x="409" y="59"/>
                  </a:lnTo>
                  <a:lnTo>
                    <a:pt x="420" y="61"/>
                  </a:lnTo>
                  <a:lnTo>
                    <a:pt x="429" y="66"/>
                  </a:lnTo>
                  <a:lnTo>
                    <a:pt x="432" y="68"/>
                  </a:lnTo>
                  <a:lnTo>
                    <a:pt x="434" y="71"/>
                  </a:lnTo>
                  <a:lnTo>
                    <a:pt x="436" y="77"/>
                  </a:lnTo>
                  <a:lnTo>
                    <a:pt x="436" y="80"/>
                  </a:lnTo>
                  <a:lnTo>
                    <a:pt x="432" y="85"/>
                  </a:lnTo>
                  <a:lnTo>
                    <a:pt x="429" y="92"/>
                  </a:lnTo>
                  <a:lnTo>
                    <a:pt x="429" y="92"/>
                  </a:lnTo>
                  <a:lnTo>
                    <a:pt x="420" y="103"/>
                  </a:lnTo>
                  <a:lnTo>
                    <a:pt x="409" y="113"/>
                  </a:lnTo>
                  <a:lnTo>
                    <a:pt x="401" y="120"/>
                  </a:lnTo>
                  <a:lnTo>
                    <a:pt x="392" y="125"/>
                  </a:lnTo>
                  <a:lnTo>
                    <a:pt x="385" y="129"/>
                  </a:lnTo>
                  <a:lnTo>
                    <a:pt x="375" y="130"/>
                  </a:lnTo>
                  <a:lnTo>
                    <a:pt x="366" y="129"/>
                  </a:lnTo>
                  <a:lnTo>
                    <a:pt x="357" y="127"/>
                  </a:lnTo>
                  <a:lnTo>
                    <a:pt x="357" y="127"/>
                  </a:lnTo>
                  <a:lnTo>
                    <a:pt x="348" y="125"/>
                  </a:lnTo>
                  <a:lnTo>
                    <a:pt x="343" y="125"/>
                  </a:lnTo>
                  <a:lnTo>
                    <a:pt x="340" y="127"/>
                  </a:lnTo>
                  <a:lnTo>
                    <a:pt x="336" y="129"/>
                  </a:lnTo>
                  <a:lnTo>
                    <a:pt x="333" y="130"/>
                  </a:lnTo>
                  <a:lnTo>
                    <a:pt x="329" y="130"/>
                  </a:lnTo>
                  <a:lnTo>
                    <a:pt x="322" y="130"/>
                  </a:lnTo>
                  <a:lnTo>
                    <a:pt x="314" y="129"/>
                  </a:lnTo>
                  <a:lnTo>
                    <a:pt x="314" y="129"/>
                  </a:lnTo>
                  <a:lnTo>
                    <a:pt x="305" y="127"/>
                  </a:lnTo>
                  <a:lnTo>
                    <a:pt x="296" y="127"/>
                  </a:lnTo>
                  <a:lnTo>
                    <a:pt x="286" y="129"/>
                  </a:lnTo>
                  <a:lnTo>
                    <a:pt x="277" y="132"/>
                  </a:lnTo>
                  <a:lnTo>
                    <a:pt x="258" y="143"/>
                  </a:lnTo>
                  <a:lnTo>
                    <a:pt x="246" y="148"/>
                  </a:lnTo>
                  <a:lnTo>
                    <a:pt x="234" y="151"/>
                  </a:lnTo>
                  <a:lnTo>
                    <a:pt x="234" y="151"/>
                  </a:lnTo>
                  <a:lnTo>
                    <a:pt x="206" y="158"/>
                  </a:lnTo>
                  <a:lnTo>
                    <a:pt x="180" y="165"/>
                  </a:lnTo>
                  <a:lnTo>
                    <a:pt x="167" y="167"/>
                  </a:lnTo>
                  <a:lnTo>
                    <a:pt x="157" y="167"/>
                  </a:lnTo>
                  <a:lnTo>
                    <a:pt x="145" y="165"/>
                  </a:lnTo>
                  <a:lnTo>
                    <a:pt x="134" y="162"/>
                  </a:lnTo>
                  <a:lnTo>
                    <a:pt x="134" y="16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 name="Freeform 1723">
              <a:extLst>
                <a:ext uri="{FF2B5EF4-FFF2-40B4-BE49-F238E27FC236}">
                  <a16:creationId xmlns:a16="http://schemas.microsoft.com/office/drawing/2014/main" id="{66EDB407-2164-42AC-BA00-3DBF8E645FD3}"/>
                </a:ext>
              </a:extLst>
            </p:cNvPr>
            <p:cNvSpPr>
              <a:spLocks/>
            </p:cNvSpPr>
            <p:nvPr/>
          </p:nvSpPr>
          <p:spPr bwMode="auto">
            <a:xfrm>
              <a:off x="1724335" y="1356029"/>
              <a:ext cx="209679" cy="96910"/>
            </a:xfrm>
            <a:custGeom>
              <a:avLst/>
              <a:gdLst/>
              <a:ahLst/>
              <a:cxnLst>
                <a:cxn ang="0">
                  <a:pos x="186" y="83"/>
                </a:cxn>
                <a:cxn ang="0">
                  <a:pos x="178" y="77"/>
                </a:cxn>
                <a:cxn ang="0">
                  <a:pos x="179" y="56"/>
                </a:cxn>
                <a:cxn ang="0">
                  <a:pos x="178" y="49"/>
                </a:cxn>
                <a:cxn ang="0">
                  <a:pos x="160" y="56"/>
                </a:cxn>
                <a:cxn ang="0">
                  <a:pos x="157" y="64"/>
                </a:cxn>
                <a:cxn ang="0">
                  <a:pos x="150" y="82"/>
                </a:cxn>
                <a:cxn ang="0">
                  <a:pos x="134" y="99"/>
                </a:cxn>
                <a:cxn ang="0">
                  <a:pos x="125" y="96"/>
                </a:cxn>
                <a:cxn ang="0">
                  <a:pos x="118" y="97"/>
                </a:cxn>
                <a:cxn ang="0">
                  <a:pos x="113" y="113"/>
                </a:cxn>
                <a:cxn ang="0">
                  <a:pos x="96" y="120"/>
                </a:cxn>
                <a:cxn ang="0">
                  <a:pos x="80" y="106"/>
                </a:cxn>
                <a:cxn ang="0">
                  <a:pos x="75" y="99"/>
                </a:cxn>
                <a:cxn ang="0">
                  <a:pos x="66" y="108"/>
                </a:cxn>
                <a:cxn ang="0">
                  <a:pos x="56" y="108"/>
                </a:cxn>
                <a:cxn ang="0">
                  <a:pos x="42" y="101"/>
                </a:cxn>
                <a:cxn ang="0">
                  <a:pos x="30" y="104"/>
                </a:cxn>
                <a:cxn ang="0">
                  <a:pos x="12" y="111"/>
                </a:cxn>
                <a:cxn ang="0">
                  <a:pos x="9" y="108"/>
                </a:cxn>
                <a:cxn ang="0">
                  <a:pos x="10" y="101"/>
                </a:cxn>
                <a:cxn ang="0">
                  <a:pos x="0" y="96"/>
                </a:cxn>
                <a:cxn ang="0">
                  <a:pos x="9" y="83"/>
                </a:cxn>
                <a:cxn ang="0">
                  <a:pos x="23" y="75"/>
                </a:cxn>
                <a:cxn ang="0">
                  <a:pos x="37" y="77"/>
                </a:cxn>
                <a:cxn ang="0">
                  <a:pos x="57" y="66"/>
                </a:cxn>
                <a:cxn ang="0">
                  <a:pos x="70" y="56"/>
                </a:cxn>
                <a:cxn ang="0">
                  <a:pos x="87" y="49"/>
                </a:cxn>
                <a:cxn ang="0">
                  <a:pos x="110" y="31"/>
                </a:cxn>
                <a:cxn ang="0">
                  <a:pos x="137" y="16"/>
                </a:cxn>
                <a:cxn ang="0">
                  <a:pos x="174" y="10"/>
                </a:cxn>
                <a:cxn ang="0">
                  <a:pos x="204" y="12"/>
                </a:cxn>
                <a:cxn ang="0">
                  <a:pos x="212" y="3"/>
                </a:cxn>
                <a:cxn ang="0">
                  <a:pos x="225" y="0"/>
                </a:cxn>
                <a:cxn ang="0">
                  <a:pos x="249" y="7"/>
                </a:cxn>
                <a:cxn ang="0">
                  <a:pos x="259" y="16"/>
                </a:cxn>
                <a:cxn ang="0">
                  <a:pos x="242" y="24"/>
                </a:cxn>
                <a:cxn ang="0">
                  <a:pos x="235" y="31"/>
                </a:cxn>
                <a:cxn ang="0">
                  <a:pos x="242" y="36"/>
                </a:cxn>
                <a:cxn ang="0">
                  <a:pos x="254" y="52"/>
                </a:cxn>
                <a:cxn ang="0">
                  <a:pos x="238" y="63"/>
                </a:cxn>
                <a:cxn ang="0">
                  <a:pos x="212" y="68"/>
                </a:cxn>
                <a:cxn ang="0">
                  <a:pos x="212" y="80"/>
                </a:cxn>
                <a:cxn ang="0">
                  <a:pos x="204" y="87"/>
                </a:cxn>
              </a:cxnLst>
              <a:rect l="0" t="0" r="r" b="b"/>
              <a:pathLst>
                <a:path w="259" h="120">
                  <a:moveTo>
                    <a:pt x="191" y="85"/>
                  </a:moveTo>
                  <a:lnTo>
                    <a:pt x="191" y="85"/>
                  </a:lnTo>
                  <a:lnTo>
                    <a:pt x="186" y="83"/>
                  </a:lnTo>
                  <a:lnTo>
                    <a:pt x="181" y="82"/>
                  </a:lnTo>
                  <a:lnTo>
                    <a:pt x="179" y="78"/>
                  </a:lnTo>
                  <a:lnTo>
                    <a:pt x="178" y="77"/>
                  </a:lnTo>
                  <a:lnTo>
                    <a:pt x="178" y="70"/>
                  </a:lnTo>
                  <a:lnTo>
                    <a:pt x="178" y="61"/>
                  </a:lnTo>
                  <a:lnTo>
                    <a:pt x="179" y="56"/>
                  </a:lnTo>
                  <a:lnTo>
                    <a:pt x="181" y="50"/>
                  </a:lnTo>
                  <a:lnTo>
                    <a:pt x="179" y="49"/>
                  </a:lnTo>
                  <a:lnTo>
                    <a:pt x="178" y="49"/>
                  </a:lnTo>
                  <a:lnTo>
                    <a:pt x="172" y="50"/>
                  </a:lnTo>
                  <a:lnTo>
                    <a:pt x="172" y="50"/>
                  </a:lnTo>
                  <a:lnTo>
                    <a:pt x="160" y="56"/>
                  </a:lnTo>
                  <a:lnTo>
                    <a:pt x="158" y="57"/>
                  </a:lnTo>
                  <a:lnTo>
                    <a:pt x="157" y="59"/>
                  </a:lnTo>
                  <a:lnTo>
                    <a:pt x="157" y="64"/>
                  </a:lnTo>
                  <a:lnTo>
                    <a:pt x="155" y="71"/>
                  </a:lnTo>
                  <a:lnTo>
                    <a:pt x="150" y="82"/>
                  </a:lnTo>
                  <a:lnTo>
                    <a:pt x="150" y="82"/>
                  </a:lnTo>
                  <a:lnTo>
                    <a:pt x="141" y="94"/>
                  </a:lnTo>
                  <a:lnTo>
                    <a:pt x="137" y="97"/>
                  </a:lnTo>
                  <a:lnTo>
                    <a:pt x="134" y="99"/>
                  </a:lnTo>
                  <a:lnTo>
                    <a:pt x="132" y="99"/>
                  </a:lnTo>
                  <a:lnTo>
                    <a:pt x="129" y="99"/>
                  </a:lnTo>
                  <a:lnTo>
                    <a:pt x="125" y="96"/>
                  </a:lnTo>
                  <a:lnTo>
                    <a:pt x="120" y="90"/>
                  </a:lnTo>
                  <a:lnTo>
                    <a:pt x="118" y="90"/>
                  </a:lnTo>
                  <a:lnTo>
                    <a:pt x="118" y="97"/>
                  </a:lnTo>
                  <a:lnTo>
                    <a:pt x="118" y="97"/>
                  </a:lnTo>
                  <a:lnTo>
                    <a:pt x="117" y="108"/>
                  </a:lnTo>
                  <a:lnTo>
                    <a:pt x="113" y="113"/>
                  </a:lnTo>
                  <a:lnTo>
                    <a:pt x="108" y="118"/>
                  </a:lnTo>
                  <a:lnTo>
                    <a:pt x="103" y="120"/>
                  </a:lnTo>
                  <a:lnTo>
                    <a:pt x="96" y="120"/>
                  </a:lnTo>
                  <a:lnTo>
                    <a:pt x="90" y="117"/>
                  </a:lnTo>
                  <a:lnTo>
                    <a:pt x="85" y="113"/>
                  </a:lnTo>
                  <a:lnTo>
                    <a:pt x="80" y="106"/>
                  </a:lnTo>
                  <a:lnTo>
                    <a:pt x="80" y="106"/>
                  </a:lnTo>
                  <a:lnTo>
                    <a:pt x="77" y="99"/>
                  </a:lnTo>
                  <a:lnTo>
                    <a:pt x="75" y="99"/>
                  </a:lnTo>
                  <a:lnTo>
                    <a:pt x="73" y="99"/>
                  </a:lnTo>
                  <a:lnTo>
                    <a:pt x="70" y="104"/>
                  </a:lnTo>
                  <a:lnTo>
                    <a:pt x="66" y="108"/>
                  </a:lnTo>
                  <a:lnTo>
                    <a:pt x="61" y="108"/>
                  </a:lnTo>
                  <a:lnTo>
                    <a:pt x="61" y="108"/>
                  </a:lnTo>
                  <a:lnTo>
                    <a:pt x="56" y="108"/>
                  </a:lnTo>
                  <a:lnTo>
                    <a:pt x="50" y="106"/>
                  </a:lnTo>
                  <a:lnTo>
                    <a:pt x="45" y="103"/>
                  </a:lnTo>
                  <a:lnTo>
                    <a:pt x="42" y="101"/>
                  </a:lnTo>
                  <a:lnTo>
                    <a:pt x="38" y="101"/>
                  </a:lnTo>
                  <a:lnTo>
                    <a:pt x="35" y="101"/>
                  </a:lnTo>
                  <a:lnTo>
                    <a:pt x="30" y="104"/>
                  </a:lnTo>
                  <a:lnTo>
                    <a:pt x="30" y="104"/>
                  </a:lnTo>
                  <a:lnTo>
                    <a:pt x="19" y="111"/>
                  </a:lnTo>
                  <a:lnTo>
                    <a:pt x="12" y="111"/>
                  </a:lnTo>
                  <a:lnTo>
                    <a:pt x="10" y="111"/>
                  </a:lnTo>
                  <a:lnTo>
                    <a:pt x="9" y="110"/>
                  </a:lnTo>
                  <a:lnTo>
                    <a:pt x="9" y="108"/>
                  </a:lnTo>
                  <a:lnTo>
                    <a:pt x="10" y="104"/>
                  </a:lnTo>
                  <a:lnTo>
                    <a:pt x="10" y="104"/>
                  </a:lnTo>
                  <a:lnTo>
                    <a:pt x="10" y="101"/>
                  </a:lnTo>
                  <a:lnTo>
                    <a:pt x="9" y="99"/>
                  </a:lnTo>
                  <a:lnTo>
                    <a:pt x="2" y="97"/>
                  </a:lnTo>
                  <a:lnTo>
                    <a:pt x="0" y="96"/>
                  </a:lnTo>
                  <a:lnTo>
                    <a:pt x="0" y="94"/>
                  </a:lnTo>
                  <a:lnTo>
                    <a:pt x="2" y="90"/>
                  </a:lnTo>
                  <a:lnTo>
                    <a:pt x="9" y="83"/>
                  </a:lnTo>
                  <a:lnTo>
                    <a:pt x="9" y="83"/>
                  </a:lnTo>
                  <a:lnTo>
                    <a:pt x="16" y="77"/>
                  </a:lnTo>
                  <a:lnTo>
                    <a:pt x="23" y="75"/>
                  </a:lnTo>
                  <a:lnTo>
                    <a:pt x="28" y="75"/>
                  </a:lnTo>
                  <a:lnTo>
                    <a:pt x="31" y="77"/>
                  </a:lnTo>
                  <a:lnTo>
                    <a:pt x="37" y="77"/>
                  </a:lnTo>
                  <a:lnTo>
                    <a:pt x="42" y="77"/>
                  </a:lnTo>
                  <a:lnTo>
                    <a:pt x="49" y="73"/>
                  </a:lnTo>
                  <a:lnTo>
                    <a:pt x="57" y="66"/>
                  </a:lnTo>
                  <a:lnTo>
                    <a:pt x="57" y="66"/>
                  </a:lnTo>
                  <a:lnTo>
                    <a:pt x="64" y="59"/>
                  </a:lnTo>
                  <a:lnTo>
                    <a:pt x="70" y="56"/>
                  </a:lnTo>
                  <a:lnTo>
                    <a:pt x="77" y="54"/>
                  </a:lnTo>
                  <a:lnTo>
                    <a:pt x="80" y="52"/>
                  </a:lnTo>
                  <a:lnTo>
                    <a:pt x="87" y="49"/>
                  </a:lnTo>
                  <a:lnTo>
                    <a:pt x="96" y="43"/>
                  </a:lnTo>
                  <a:lnTo>
                    <a:pt x="110" y="31"/>
                  </a:lnTo>
                  <a:lnTo>
                    <a:pt x="110" y="31"/>
                  </a:lnTo>
                  <a:lnTo>
                    <a:pt x="120" y="24"/>
                  </a:lnTo>
                  <a:lnTo>
                    <a:pt x="129" y="19"/>
                  </a:lnTo>
                  <a:lnTo>
                    <a:pt x="137" y="16"/>
                  </a:lnTo>
                  <a:lnTo>
                    <a:pt x="146" y="12"/>
                  </a:lnTo>
                  <a:lnTo>
                    <a:pt x="162" y="9"/>
                  </a:lnTo>
                  <a:lnTo>
                    <a:pt x="174" y="10"/>
                  </a:lnTo>
                  <a:lnTo>
                    <a:pt x="193" y="14"/>
                  </a:lnTo>
                  <a:lnTo>
                    <a:pt x="200" y="14"/>
                  </a:lnTo>
                  <a:lnTo>
                    <a:pt x="204" y="12"/>
                  </a:lnTo>
                  <a:lnTo>
                    <a:pt x="205" y="10"/>
                  </a:lnTo>
                  <a:lnTo>
                    <a:pt x="205" y="10"/>
                  </a:lnTo>
                  <a:lnTo>
                    <a:pt x="212" y="3"/>
                  </a:lnTo>
                  <a:lnTo>
                    <a:pt x="214" y="0"/>
                  </a:lnTo>
                  <a:lnTo>
                    <a:pt x="219" y="0"/>
                  </a:lnTo>
                  <a:lnTo>
                    <a:pt x="225" y="0"/>
                  </a:lnTo>
                  <a:lnTo>
                    <a:pt x="230" y="0"/>
                  </a:lnTo>
                  <a:lnTo>
                    <a:pt x="249" y="7"/>
                  </a:lnTo>
                  <a:lnTo>
                    <a:pt x="249" y="7"/>
                  </a:lnTo>
                  <a:lnTo>
                    <a:pt x="258" y="10"/>
                  </a:lnTo>
                  <a:lnTo>
                    <a:pt x="259" y="14"/>
                  </a:lnTo>
                  <a:lnTo>
                    <a:pt x="259" y="16"/>
                  </a:lnTo>
                  <a:lnTo>
                    <a:pt x="256" y="17"/>
                  </a:lnTo>
                  <a:lnTo>
                    <a:pt x="249" y="21"/>
                  </a:lnTo>
                  <a:lnTo>
                    <a:pt x="242" y="24"/>
                  </a:lnTo>
                  <a:lnTo>
                    <a:pt x="237" y="26"/>
                  </a:lnTo>
                  <a:lnTo>
                    <a:pt x="235" y="28"/>
                  </a:lnTo>
                  <a:lnTo>
                    <a:pt x="235" y="31"/>
                  </a:lnTo>
                  <a:lnTo>
                    <a:pt x="237" y="33"/>
                  </a:lnTo>
                  <a:lnTo>
                    <a:pt x="242" y="36"/>
                  </a:lnTo>
                  <a:lnTo>
                    <a:pt x="242" y="36"/>
                  </a:lnTo>
                  <a:lnTo>
                    <a:pt x="251" y="42"/>
                  </a:lnTo>
                  <a:lnTo>
                    <a:pt x="254" y="47"/>
                  </a:lnTo>
                  <a:lnTo>
                    <a:pt x="254" y="52"/>
                  </a:lnTo>
                  <a:lnTo>
                    <a:pt x="251" y="56"/>
                  </a:lnTo>
                  <a:lnTo>
                    <a:pt x="245" y="61"/>
                  </a:lnTo>
                  <a:lnTo>
                    <a:pt x="238" y="63"/>
                  </a:lnTo>
                  <a:lnTo>
                    <a:pt x="219" y="66"/>
                  </a:lnTo>
                  <a:lnTo>
                    <a:pt x="219" y="66"/>
                  </a:lnTo>
                  <a:lnTo>
                    <a:pt x="212" y="68"/>
                  </a:lnTo>
                  <a:lnTo>
                    <a:pt x="211" y="71"/>
                  </a:lnTo>
                  <a:lnTo>
                    <a:pt x="211" y="75"/>
                  </a:lnTo>
                  <a:lnTo>
                    <a:pt x="212" y="80"/>
                  </a:lnTo>
                  <a:lnTo>
                    <a:pt x="212" y="83"/>
                  </a:lnTo>
                  <a:lnTo>
                    <a:pt x="209" y="85"/>
                  </a:lnTo>
                  <a:lnTo>
                    <a:pt x="204" y="87"/>
                  </a:lnTo>
                  <a:lnTo>
                    <a:pt x="191" y="85"/>
                  </a:lnTo>
                  <a:lnTo>
                    <a:pt x="191" y="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 name="Freeform 1724">
              <a:extLst>
                <a:ext uri="{FF2B5EF4-FFF2-40B4-BE49-F238E27FC236}">
                  <a16:creationId xmlns:a16="http://schemas.microsoft.com/office/drawing/2014/main" id="{17FD17AA-1F37-412F-A797-7FB8CDED90FF}"/>
                </a:ext>
              </a:extLst>
            </p:cNvPr>
            <p:cNvSpPr>
              <a:spLocks/>
            </p:cNvSpPr>
            <p:nvPr/>
          </p:nvSpPr>
          <p:spPr bwMode="auto">
            <a:xfrm>
              <a:off x="1997444" y="1287311"/>
              <a:ext cx="112768" cy="26429"/>
            </a:xfrm>
            <a:custGeom>
              <a:avLst/>
              <a:gdLst/>
              <a:ahLst/>
              <a:cxnLst>
                <a:cxn ang="0">
                  <a:pos x="18" y="29"/>
                </a:cxn>
                <a:cxn ang="0">
                  <a:pos x="18" y="29"/>
                </a:cxn>
                <a:cxn ang="0">
                  <a:pos x="11" y="33"/>
                </a:cxn>
                <a:cxn ang="0">
                  <a:pos x="4" y="33"/>
                </a:cxn>
                <a:cxn ang="0">
                  <a:pos x="2" y="31"/>
                </a:cxn>
                <a:cxn ang="0">
                  <a:pos x="0" y="27"/>
                </a:cxn>
                <a:cxn ang="0">
                  <a:pos x="4" y="24"/>
                </a:cxn>
                <a:cxn ang="0">
                  <a:pos x="9" y="20"/>
                </a:cxn>
                <a:cxn ang="0">
                  <a:pos x="20" y="19"/>
                </a:cxn>
                <a:cxn ang="0">
                  <a:pos x="32" y="15"/>
                </a:cxn>
                <a:cxn ang="0">
                  <a:pos x="32" y="15"/>
                </a:cxn>
                <a:cxn ang="0">
                  <a:pos x="46" y="14"/>
                </a:cxn>
                <a:cxn ang="0">
                  <a:pos x="56" y="10"/>
                </a:cxn>
                <a:cxn ang="0">
                  <a:pos x="75" y="3"/>
                </a:cxn>
                <a:cxn ang="0">
                  <a:pos x="84" y="1"/>
                </a:cxn>
                <a:cxn ang="0">
                  <a:pos x="95" y="0"/>
                </a:cxn>
                <a:cxn ang="0">
                  <a:pos x="107" y="1"/>
                </a:cxn>
                <a:cxn ang="0">
                  <a:pos x="121" y="7"/>
                </a:cxn>
                <a:cxn ang="0">
                  <a:pos x="121" y="7"/>
                </a:cxn>
                <a:cxn ang="0">
                  <a:pos x="135" y="12"/>
                </a:cxn>
                <a:cxn ang="0">
                  <a:pos x="142" y="17"/>
                </a:cxn>
                <a:cxn ang="0">
                  <a:pos x="142" y="19"/>
                </a:cxn>
                <a:cxn ang="0">
                  <a:pos x="142" y="22"/>
                </a:cxn>
                <a:cxn ang="0">
                  <a:pos x="140" y="26"/>
                </a:cxn>
                <a:cxn ang="0">
                  <a:pos x="133" y="29"/>
                </a:cxn>
                <a:cxn ang="0">
                  <a:pos x="122" y="31"/>
                </a:cxn>
                <a:cxn ang="0">
                  <a:pos x="108" y="31"/>
                </a:cxn>
                <a:cxn ang="0">
                  <a:pos x="95" y="31"/>
                </a:cxn>
                <a:cxn ang="0">
                  <a:pos x="95" y="31"/>
                </a:cxn>
                <a:cxn ang="0">
                  <a:pos x="74" y="29"/>
                </a:cxn>
                <a:cxn ang="0">
                  <a:pos x="67" y="31"/>
                </a:cxn>
                <a:cxn ang="0">
                  <a:pos x="63" y="33"/>
                </a:cxn>
                <a:cxn ang="0">
                  <a:pos x="53" y="33"/>
                </a:cxn>
                <a:cxn ang="0">
                  <a:pos x="53" y="33"/>
                </a:cxn>
                <a:cxn ang="0">
                  <a:pos x="30" y="29"/>
                </a:cxn>
                <a:cxn ang="0">
                  <a:pos x="23" y="29"/>
                </a:cxn>
                <a:cxn ang="0">
                  <a:pos x="18" y="29"/>
                </a:cxn>
                <a:cxn ang="0">
                  <a:pos x="18" y="29"/>
                </a:cxn>
              </a:cxnLst>
              <a:rect l="0" t="0" r="r" b="b"/>
              <a:pathLst>
                <a:path w="142" h="33">
                  <a:moveTo>
                    <a:pt x="18" y="29"/>
                  </a:moveTo>
                  <a:lnTo>
                    <a:pt x="18" y="29"/>
                  </a:lnTo>
                  <a:lnTo>
                    <a:pt x="11" y="33"/>
                  </a:lnTo>
                  <a:lnTo>
                    <a:pt x="4" y="33"/>
                  </a:lnTo>
                  <a:lnTo>
                    <a:pt x="2" y="31"/>
                  </a:lnTo>
                  <a:lnTo>
                    <a:pt x="0" y="27"/>
                  </a:lnTo>
                  <a:lnTo>
                    <a:pt x="4" y="24"/>
                  </a:lnTo>
                  <a:lnTo>
                    <a:pt x="9" y="20"/>
                  </a:lnTo>
                  <a:lnTo>
                    <a:pt x="20" y="19"/>
                  </a:lnTo>
                  <a:lnTo>
                    <a:pt x="32" y="15"/>
                  </a:lnTo>
                  <a:lnTo>
                    <a:pt x="32" y="15"/>
                  </a:lnTo>
                  <a:lnTo>
                    <a:pt x="46" y="14"/>
                  </a:lnTo>
                  <a:lnTo>
                    <a:pt x="56" y="10"/>
                  </a:lnTo>
                  <a:lnTo>
                    <a:pt x="75" y="3"/>
                  </a:lnTo>
                  <a:lnTo>
                    <a:pt x="84" y="1"/>
                  </a:lnTo>
                  <a:lnTo>
                    <a:pt x="95" y="0"/>
                  </a:lnTo>
                  <a:lnTo>
                    <a:pt x="107" y="1"/>
                  </a:lnTo>
                  <a:lnTo>
                    <a:pt x="121" y="7"/>
                  </a:lnTo>
                  <a:lnTo>
                    <a:pt x="121" y="7"/>
                  </a:lnTo>
                  <a:lnTo>
                    <a:pt x="135" y="12"/>
                  </a:lnTo>
                  <a:lnTo>
                    <a:pt x="142" y="17"/>
                  </a:lnTo>
                  <a:lnTo>
                    <a:pt x="142" y="19"/>
                  </a:lnTo>
                  <a:lnTo>
                    <a:pt x="142" y="22"/>
                  </a:lnTo>
                  <a:lnTo>
                    <a:pt x="140" y="26"/>
                  </a:lnTo>
                  <a:lnTo>
                    <a:pt x="133" y="29"/>
                  </a:lnTo>
                  <a:lnTo>
                    <a:pt x="122" y="31"/>
                  </a:lnTo>
                  <a:lnTo>
                    <a:pt x="108" y="31"/>
                  </a:lnTo>
                  <a:lnTo>
                    <a:pt x="95" y="31"/>
                  </a:lnTo>
                  <a:lnTo>
                    <a:pt x="95" y="31"/>
                  </a:lnTo>
                  <a:lnTo>
                    <a:pt x="74" y="29"/>
                  </a:lnTo>
                  <a:lnTo>
                    <a:pt x="67" y="31"/>
                  </a:lnTo>
                  <a:lnTo>
                    <a:pt x="63" y="33"/>
                  </a:lnTo>
                  <a:lnTo>
                    <a:pt x="53" y="33"/>
                  </a:lnTo>
                  <a:lnTo>
                    <a:pt x="53" y="33"/>
                  </a:lnTo>
                  <a:lnTo>
                    <a:pt x="30" y="29"/>
                  </a:lnTo>
                  <a:lnTo>
                    <a:pt x="23" y="29"/>
                  </a:lnTo>
                  <a:lnTo>
                    <a:pt x="18" y="29"/>
                  </a:lnTo>
                  <a:lnTo>
                    <a:pt x="18" y="2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 name="Freeform 1725">
              <a:extLst>
                <a:ext uri="{FF2B5EF4-FFF2-40B4-BE49-F238E27FC236}">
                  <a16:creationId xmlns:a16="http://schemas.microsoft.com/office/drawing/2014/main" id="{16AAA461-4356-42BC-90C4-F1EAADEA2DD3}"/>
                </a:ext>
              </a:extLst>
            </p:cNvPr>
            <p:cNvSpPr>
              <a:spLocks/>
            </p:cNvSpPr>
            <p:nvPr/>
          </p:nvSpPr>
          <p:spPr bwMode="auto">
            <a:xfrm>
              <a:off x="1993921" y="1322553"/>
              <a:ext cx="107483" cy="44050"/>
            </a:xfrm>
            <a:custGeom>
              <a:avLst/>
              <a:gdLst/>
              <a:ahLst/>
              <a:cxnLst>
                <a:cxn ang="0">
                  <a:pos x="7" y="40"/>
                </a:cxn>
                <a:cxn ang="0">
                  <a:pos x="7" y="40"/>
                </a:cxn>
                <a:cxn ang="0">
                  <a:pos x="2" y="28"/>
                </a:cxn>
                <a:cxn ang="0">
                  <a:pos x="0" y="23"/>
                </a:cxn>
                <a:cxn ang="0">
                  <a:pos x="3" y="20"/>
                </a:cxn>
                <a:cxn ang="0">
                  <a:pos x="9" y="18"/>
                </a:cxn>
                <a:cxn ang="0">
                  <a:pos x="16" y="14"/>
                </a:cxn>
                <a:cxn ang="0">
                  <a:pos x="44" y="9"/>
                </a:cxn>
                <a:cxn ang="0">
                  <a:pos x="44" y="9"/>
                </a:cxn>
                <a:cxn ang="0">
                  <a:pos x="78" y="4"/>
                </a:cxn>
                <a:cxn ang="0">
                  <a:pos x="108" y="0"/>
                </a:cxn>
                <a:cxn ang="0">
                  <a:pos x="120" y="0"/>
                </a:cxn>
                <a:cxn ang="0">
                  <a:pos x="129" y="2"/>
                </a:cxn>
                <a:cxn ang="0">
                  <a:pos x="134" y="4"/>
                </a:cxn>
                <a:cxn ang="0">
                  <a:pos x="134" y="6"/>
                </a:cxn>
                <a:cxn ang="0">
                  <a:pos x="134" y="9"/>
                </a:cxn>
                <a:cxn ang="0">
                  <a:pos x="134" y="9"/>
                </a:cxn>
                <a:cxn ang="0">
                  <a:pos x="129" y="13"/>
                </a:cxn>
                <a:cxn ang="0">
                  <a:pos x="120" y="16"/>
                </a:cxn>
                <a:cxn ang="0">
                  <a:pos x="103" y="20"/>
                </a:cxn>
                <a:cxn ang="0">
                  <a:pos x="91" y="23"/>
                </a:cxn>
                <a:cxn ang="0">
                  <a:pos x="92" y="23"/>
                </a:cxn>
                <a:cxn ang="0">
                  <a:pos x="99" y="25"/>
                </a:cxn>
                <a:cxn ang="0">
                  <a:pos x="99" y="25"/>
                </a:cxn>
                <a:cxn ang="0">
                  <a:pos x="110" y="25"/>
                </a:cxn>
                <a:cxn ang="0">
                  <a:pos x="117" y="28"/>
                </a:cxn>
                <a:cxn ang="0">
                  <a:pos x="120" y="32"/>
                </a:cxn>
                <a:cxn ang="0">
                  <a:pos x="120" y="35"/>
                </a:cxn>
                <a:cxn ang="0">
                  <a:pos x="118" y="40"/>
                </a:cxn>
                <a:cxn ang="0">
                  <a:pos x="113" y="44"/>
                </a:cxn>
                <a:cxn ang="0">
                  <a:pos x="104" y="47"/>
                </a:cxn>
                <a:cxn ang="0">
                  <a:pos x="92" y="51"/>
                </a:cxn>
                <a:cxn ang="0">
                  <a:pos x="92" y="51"/>
                </a:cxn>
                <a:cxn ang="0">
                  <a:pos x="66" y="54"/>
                </a:cxn>
                <a:cxn ang="0">
                  <a:pos x="40" y="56"/>
                </a:cxn>
                <a:cxn ang="0">
                  <a:pos x="30" y="54"/>
                </a:cxn>
                <a:cxn ang="0">
                  <a:pos x="19" y="53"/>
                </a:cxn>
                <a:cxn ang="0">
                  <a:pos x="12" y="47"/>
                </a:cxn>
                <a:cxn ang="0">
                  <a:pos x="7" y="40"/>
                </a:cxn>
                <a:cxn ang="0">
                  <a:pos x="7" y="40"/>
                </a:cxn>
              </a:cxnLst>
              <a:rect l="0" t="0" r="r" b="b"/>
              <a:pathLst>
                <a:path w="134" h="56">
                  <a:moveTo>
                    <a:pt x="7" y="40"/>
                  </a:moveTo>
                  <a:lnTo>
                    <a:pt x="7" y="40"/>
                  </a:lnTo>
                  <a:lnTo>
                    <a:pt x="2" y="28"/>
                  </a:lnTo>
                  <a:lnTo>
                    <a:pt x="0" y="23"/>
                  </a:lnTo>
                  <a:lnTo>
                    <a:pt x="3" y="20"/>
                  </a:lnTo>
                  <a:lnTo>
                    <a:pt x="9" y="18"/>
                  </a:lnTo>
                  <a:lnTo>
                    <a:pt x="16" y="14"/>
                  </a:lnTo>
                  <a:lnTo>
                    <a:pt x="44" y="9"/>
                  </a:lnTo>
                  <a:lnTo>
                    <a:pt x="44" y="9"/>
                  </a:lnTo>
                  <a:lnTo>
                    <a:pt x="78" y="4"/>
                  </a:lnTo>
                  <a:lnTo>
                    <a:pt x="108" y="0"/>
                  </a:lnTo>
                  <a:lnTo>
                    <a:pt x="120" y="0"/>
                  </a:lnTo>
                  <a:lnTo>
                    <a:pt x="129" y="2"/>
                  </a:lnTo>
                  <a:lnTo>
                    <a:pt x="134" y="4"/>
                  </a:lnTo>
                  <a:lnTo>
                    <a:pt x="134" y="6"/>
                  </a:lnTo>
                  <a:lnTo>
                    <a:pt x="134" y="9"/>
                  </a:lnTo>
                  <a:lnTo>
                    <a:pt x="134" y="9"/>
                  </a:lnTo>
                  <a:lnTo>
                    <a:pt x="129" y="13"/>
                  </a:lnTo>
                  <a:lnTo>
                    <a:pt x="120" y="16"/>
                  </a:lnTo>
                  <a:lnTo>
                    <a:pt x="103" y="20"/>
                  </a:lnTo>
                  <a:lnTo>
                    <a:pt x="91" y="23"/>
                  </a:lnTo>
                  <a:lnTo>
                    <a:pt x="92" y="23"/>
                  </a:lnTo>
                  <a:lnTo>
                    <a:pt x="99" y="25"/>
                  </a:lnTo>
                  <a:lnTo>
                    <a:pt x="99" y="25"/>
                  </a:lnTo>
                  <a:lnTo>
                    <a:pt x="110" y="25"/>
                  </a:lnTo>
                  <a:lnTo>
                    <a:pt x="117" y="28"/>
                  </a:lnTo>
                  <a:lnTo>
                    <a:pt x="120" y="32"/>
                  </a:lnTo>
                  <a:lnTo>
                    <a:pt x="120" y="35"/>
                  </a:lnTo>
                  <a:lnTo>
                    <a:pt x="118" y="40"/>
                  </a:lnTo>
                  <a:lnTo>
                    <a:pt x="113" y="44"/>
                  </a:lnTo>
                  <a:lnTo>
                    <a:pt x="104" y="47"/>
                  </a:lnTo>
                  <a:lnTo>
                    <a:pt x="92" y="51"/>
                  </a:lnTo>
                  <a:lnTo>
                    <a:pt x="92" y="51"/>
                  </a:lnTo>
                  <a:lnTo>
                    <a:pt x="66" y="54"/>
                  </a:lnTo>
                  <a:lnTo>
                    <a:pt x="40" y="56"/>
                  </a:lnTo>
                  <a:lnTo>
                    <a:pt x="30" y="54"/>
                  </a:lnTo>
                  <a:lnTo>
                    <a:pt x="19" y="53"/>
                  </a:lnTo>
                  <a:lnTo>
                    <a:pt x="12" y="47"/>
                  </a:lnTo>
                  <a:lnTo>
                    <a:pt x="7" y="40"/>
                  </a:lnTo>
                  <a:lnTo>
                    <a:pt x="7"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 name="Freeform 1726">
              <a:extLst>
                <a:ext uri="{FF2B5EF4-FFF2-40B4-BE49-F238E27FC236}">
                  <a16:creationId xmlns:a16="http://schemas.microsoft.com/office/drawing/2014/main" id="{C75A4E4B-F6FE-4C35-849B-33E50249CEBF}"/>
                </a:ext>
              </a:extLst>
            </p:cNvPr>
            <p:cNvSpPr>
              <a:spLocks/>
            </p:cNvSpPr>
            <p:nvPr/>
          </p:nvSpPr>
          <p:spPr bwMode="auto">
            <a:xfrm>
              <a:off x="2289934" y="1401843"/>
              <a:ext cx="158581" cy="96910"/>
            </a:xfrm>
            <a:custGeom>
              <a:avLst/>
              <a:gdLst/>
              <a:ahLst/>
              <a:cxnLst>
                <a:cxn ang="0">
                  <a:pos x="112" y="117"/>
                </a:cxn>
                <a:cxn ang="0">
                  <a:pos x="96" y="120"/>
                </a:cxn>
                <a:cxn ang="0">
                  <a:pos x="91" y="117"/>
                </a:cxn>
                <a:cxn ang="0">
                  <a:pos x="86" y="101"/>
                </a:cxn>
                <a:cxn ang="0">
                  <a:pos x="82" y="94"/>
                </a:cxn>
                <a:cxn ang="0">
                  <a:pos x="80" y="89"/>
                </a:cxn>
                <a:cxn ang="0">
                  <a:pos x="84" y="84"/>
                </a:cxn>
                <a:cxn ang="0">
                  <a:pos x="103" y="75"/>
                </a:cxn>
                <a:cxn ang="0">
                  <a:pos x="124" y="68"/>
                </a:cxn>
                <a:cxn ang="0">
                  <a:pos x="119" y="68"/>
                </a:cxn>
                <a:cxn ang="0">
                  <a:pos x="93" y="70"/>
                </a:cxn>
                <a:cxn ang="0">
                  <a:pos x="40" y="79"/>
                </a:cxn>
                <a:cxn ang="0">
                  <a:pos x="11" y="80"/>
                </a:cxn>
                <a:cxn ang="0">
                  <a:pos x="4" y="77"/>
                </a:cxn>
                <a:cxn ang="0">
                  <a:pos x="0" y="73"/>
                </a:cxn>
                <a:cxn ang="0">
                  <a:pos x="4" y="68"/>
                </a:cxn>
                <a:cxn ang="0">
                  <a:pos x="18" y="61"/>
                </a:cxn>
                <a:cxn ang="0">
                  <a:pos x="28" y="56"/>
                </a:cxn>
                <a:cxn ang="0">
                  <a:pos x="32" y="54"/>
                </a:cxn>
                <a:cxn ang="0">
                  <a:pos x="46" y="56"/>
                </a:cxn>
                <a:cxn ang="0">
                  <a:pos x="49" y="56"/>
                </a:cxn>
                <a:cxn ang="0">
                  <a:pos x="40" y="47"/>
                </a:cxn>
                <a:cxn ang="0">
                  <a:pos x="25" y="28"/>
                </a:cxn>
                <a:cxn ang="0">
                  <a:pos x="25" y="21"/>
                </a:cxn>
                <a:cxn ang="0">
                  <a:pos x="37" y="18"/>
                </a:cxn>
                <a:cxn ang="0">
                  <a:pos x="47" y="18"/>
                </a:cxn>
                <a:cxn ang="0">
                  <a:pos x="63" y="20"/>
                </a:cxn>
                <a:cxn ang="0">
                  <a:pos x="68" y="26"/>
                </a:cxn>
                <a:cxn ang="0">
                  <a:pos x="79" y="37"/>
                </a:cxn>
                <a:cxn ang="0">
                  <a:pos x="108" y="54"/>
                </a:cxn>
                <a:cxn ang="0">
                  <a:pos x="89" y="35"/>
                </a:cxn>
                <a:cxn ang="0">
                  <a:pos x="70" y="18"/>
                </a:cxn>
                <a:cxn ang="0">
                  <a:pos x="72" y="11"/>
                </a:cxn>
                <a:cxn ang="0">
                  <a:pos x="77" y="9"/>
                </a:cxn>
                <a:cxn ang="0">
                  <a:pos x="103" y="4"/>
                </a:cxn>
                <a:cxn ang="0">
                  <a:pos x="121" y="7"/>
                </a:cxn>
                <a:cxn ang="0">
                  <a:pos x="126" y="11"/>
                </a:cxn>
                <a:cxn ang="0">
                  <a:pos x="133" y="13"/>
                </a:cxn>
                <a:cxn ang="0">
                  <a:pos x="140" y="4"/>
                </a:cxn>
                <a:cxn ang="0">
                  <a:pos x="150" y="0"/>
                </a:cxn>
                <a:cxn ang="0">
                  <a:pos x="161" y="4"/>
                </a:cxn>
                <a:cxn ang="0">
                  <a:pos x="178" y="18"/>
                </a:cxn>
                <a:cxn ang="0">
                  <a:pos x="183" y="35"/>
                </a:cxn>
                <a:cxn ang="0">
                  <a:pos x="187" y="61"/>
                </a:cxn>
                <a:cxn ang="0">
                  <a:pos x="190" y="68"/>
                </a:cxn>
                <a:cxn ang="0">
                  <a:pos x="199" y="86"/>
                </a:cxn>
                <a:cxn ang="0">
                  <a:pos x="195" y="87"/>
                </a:cxn>
                <a:cxn ang="0">
                  <a:pos x="188" y="82"/>
                </a:cxn>
                <a:cxn ang="0">
                  <a:pos x="180" y="79"/>
                </a:cxn>
                <a:cxn ang="0">
                  <a:pos x="176" y="80"/>
                </a:cxn>
                <a:cxn ang="0">
                  <a:pos x="181" y="100"/>
                </a:cxn>
                <a:cxn ang="0">
                  <a:pos x="183" y="105"/>
                </a:cxn>
                <a:cxn ang="0">
                  <a:pos x="180" y="112"/>
                </a:cxn>
                <a:cxn ang="0">
                  <a:pos x="161" y="117"/>
                </a:cxn>
                <a:cxn ang="0">
                  <a:pos x="145" y="115"/>
                </a:cxn>
                <a:cxn ang="0">
                  <a:pos x="119" y="115"/>
                </a:cxn>
                <a:cxn ang="0">
                  <a:pos x="112" y="117"/>
                </a:cxn>
              </a:cxnLst>
              <a:rect l="0" t="0" r="r" b="b"/>
              <a:pathLst>
                <a:path w="199" h="120">
                  <a:moveTo>
                    <a:pt x="112" y="117"/>
                  </a:moveTo>
                  <a:lnTo>
                    <a:pt x="112" y="117"/>
                  </a:lnTo>
                  <a:lnTo>
                    <a:pt x="101" y="120"/>
                  </a:lnTo>
                  <a:lnTo>
                    <a:pt x="96" y="120"/>
                  </a:lnTo>
                  <a:lnTo>
                    <a:pt x="93" y="120"/>
                  </a:lnTo>
                  <a:lnTo>
                    <a:pt x="91" y="117"/>
                  </a:lnTo>
                  <a:lnTo>
                    <a:pt x="87" y="107"/>
                  </a:lnTo>
                  <a:lnTo>
                    <a:pt x="86" y="101"/>
                  </a:lnTo>
                  <a:lnTo>
                    <a:pt x="82" y="94"/>
                  </a:lnTo>
                  <a:lnTo>
                    <a:pt x="82" y="94"/>
                  </a:lnTo>
                  <a:lnTo>
                    <a:pt x="80" y="93"/>
                  </a:lnTo>
                  <a:lnTo>
                    <a:pt x="80" y="89"/>
                  </a:lnTo>
                  <a:lnTo>
                    <a:pt x="82" y="87"/>
                  </a:lnTo>
                  <a:lnTo>
                    <a:pt x="84" y="84"/>
                  </a:lnTo>
                  <a:lnTo>
                    <a:pt x="93" y="80"/>
                  </a:lnTo>
                  <a:lnTo>
                    <a:pt x="103" y="75"/>
                  </a:lnTo>
                  <a:lnTo>
                    <a:pt x="121" y="70"/>
                  </a:lnTo>
                  <a:lnTo>
                    <a:pt x="124" y="68"/>
                  </a:lnTo>
                  <a:lnTo>
                    <a:pt x="119" y="68"/>
                  </a:lnTo>
                  <a:lnTo>
                    <a:pt x="119" y="68"/>
                  </a:lnTo>
                  <a:lnTo>
                    <a:pt x="108" y="68"/>
                  </a:lnTo>
                  <a:lnTo>
                    <a:pt x="93" y="70"/>
                  </a:lnTo>
                  <a:lnTo>
                    <a:pt x="58" y="75"/>
                  </a:lnTo>
                  <a:lnTo>
                    <a:pt x="40" y="79"/>
                  </a:lnTo>
                  <a:lnTo>
                    <a:pt x="25" y="80"/>
                  </a:lnTo>
                  <a:lnTo>
                    <a:pt x="11" y="80"/>
                  </a:lnTo>
                  <a:lnTo>
                    <a:pt x="7" y="79"/>
                  </a:lnTo>
                  <a:lnTo>
                    <a:pt x="4" y="77"/>
                  </a:lnTo>
                  <a:lnTo>
                    <a:pt x="4" y="77"/>
                  </a:lnTo>
                  <a:lnTo>
                    <a:pt x="0" y="73"/>
                  </a:lnTo>
                  <a:lnTo>
                    <a:pt x="0" y="70"/>
                  </a:lnTo>
                  <a:lnTo>
                    <a:pt x="4" y="68"/>
                  </a:lnTo>
                  <a:lnTo>
                    <a:pt x="7" y="67"/>
                  </a:lnTo>
                  <a:lnTo>
                    <a:pt x="18" y="61"/>
                  </a:lnTo>
                  <a:lnTo>
                    <a:pt x="23" y="60"/>
                  </a:lnTo>
                  <a:lnTo>
                    <a:pt x="28" y="56"/>
                  </a:lnTo>
                  <a:lnTo>
                    <a:pt x="28" y="56"/>
                  </a:lnTo>
                  <a:lnTo>
                    <a:pt x="32" y="54"/>
                  </a:lnTo>
                  <a:lnTo>
                    <a:pt x="37" y="54"/>
                  </a:lnTo>
                  <a:lnTo>
                    <a:pt x="46" y="56"/>
                  </a:lnTo>
                  <a:lnTo>
                    <a:pt x="49" y="58"/>
                  </a:lnTo>
                  <a:lnTo>
                    <a:pt x="49" y="56"/>
                  </a:lnTo>
                  <a:lnTo>
                    <a:pt x="40" y="47"/>
                  </a:lnTo>
                  <a:lnTo>
                    <a:pt x="40" y="47"/>
                  </a:lnTo>
                  <a:lnTo>
                    <a:pt x="28" y="33"/>
                  </a:lnTo>
                  <a:lnTo>
                    <a:pt x="25" y="28"/>
                  </a:lnTo>
                  <a:lnTo>
                    <a:pt x="23" y="25"/>
                  </a:lnTo>
                  <a:lnTo>
                    <a:pt x="25" y="21"/>
                  </a:lnTo>
                  <a:lnTo>
                    <a:pt x="28" y="20"/>
                  </a:lnTo>
                  <a:lnTo>
                    <a:pt x="37" y="18"/>
                  </a:lnTo>
                  <a:lnTo>
                    <a:pt x="47" y="18"/>
                  </a:lnTo>
                  <a:lnTo>
                    <a:pt x="47" y="18"/>
                  </a:lnTo>
                  <a:lnTo>
                    <a:pt x="56" y="20"/>
                  </a:lnTo>
                  <a:lnTo>
                    <a:pt x="63" y="20"/>
                  </a:lnTo>
                  <a:lnTo>
                    <a:pt x="65" y="23"/>
                  </a:lnTo>
                  <a:lnTo>
                    <a:pt x="68" y="26"/>
                  </a:lnTo>
                  <a:lnTo>
                    <a:pt x="72" y="32"/>
                  </a:lnTo>
                  <a:lnTo>
                    <a:pt x="79" y="37"/>
                  </a:lnTo>
                  <a:lnTo>
                    <a:pt x="91" y="46"/>
                  </a:lnTo>
                  <a:lnTo>
                    <a:pt x="108" y="54"/>
                  </a:lnTo>
                  <a:lnTo>
                    <a:pt x="108" y="54"/>
                  </a:lnTo>
                  <a:lnTo>
                    <a:pt x="89" y="35"/>
                  </a:lnTo>
                  <a:lnTo>
                    <a:pt x="75" y="21"/>
                  </a:lnTo>
                  <a:lnTo>
                    <a:pt x="70" y="18"/>
                  </a:lnTo>
                  <a:lnTo>
                    <a:pt x="70" y="13"/>
                  </a:lnTo>
                  <a:lnTo>
                    <a:pt x="72" y="11"/>
                  </a:lnTo>
                  <a:lnTo>
                    <a:pt x="77" y="9"/>
                  </a:lnTo>
                  <a:lnTo>
                    <a:pt x="77" y="9"/>
                  </a:lnTo>
                  <a:lnTo>
                    <a:pt x="91" y="6"/>
                  </a:lnTo>
                  <a:lnTo>
                    <a:pt x="103" y="4"/>
                  </a:lnTo>
                  <a:lnTo>
                    <a:pt x="115" y="6"/>
                  </a:lnTo>
                  <a:lnTo>
                    <a:pt x="121" y="7"/>
                  </a:lnTo>
                  <a:lnTo>
                    <a:pt x="126" y="11"/>
                  </a:lnTo>
                  <a:lnTo>
                    <a:pt x="126" y="11"/>
                  </a:lnTo>
                  <a:lnTo>
                    <a:pt x="131" y="14"/>
                  </a:lnTo>
                  <a:lnTo>
                    <a:pt x="133" y="13"/>
                  </a:lnTo>
                  <a:lnTo>
                    <a:pt x="136" y="7"/>
                  </a:lnTo>
                  <a:lnTo>
                    <a:pt x="140" y="4"/>
                  </a:lnTo>
                  <a:lnTo>
                    <a:pt x="143" y="0"/>
                  </a:lnTo>
                  <a:lnTo>
                    <a:pt x="150" y="0"/>
                  </a:lnTo>
                  <a:lnTo>
                    <a:pt x="161" y="4"/>
                  </a:lnTo>
                  <a:lnTo>
                    <a:pt x="161" y="4"/>
                  </a:lnTo>
                  <a:lnTo>
                    <a:pt x="171" y="11"/>
                  </a:lnTo>
                  <a:lnTo>
                    <a:pt x="178" y="18"/>
                  </a:lnTo>
                  <a:lnTo>
                    <a:pt x="181" y="26"/>
                  </a:lnTo>
                  <a:lnTo>
                    <a:pt x="183" y="35"/>
                  </a:lnTo>
                  <a:lnTo>
                    <a:pt x="185" y="54"/>
                  </a:lnTo>
                  <a:lnTo>
                    <a:pt x="187" y="61"/>
                  </a:lnTo>
                  <a:lnTo>
                    <a:pt x="190" y="68"/>
                  </a:lnTo>
                  <a:lnTo>
                    <a:pt x="190" y="68"/>
                  </a:lnTo>
                  <a:lnTo>
                    <a:pt x="195" y="79"/>
                  </a:lnTo>
                  <a:lnTo>
                    <a:pt x="199" y="86"/>
                  </a:lnTo>
                  <a:lnTo>
                    <a:pt x="197" y="87"/>
                  </a:lnTo>
                  <a:lnTo>
                    <a:pt x="195" y="87"/>
                  </a:lnTo>
                  <a:lnTo>
                    <a:pt x="188" y="82"/>
                  </a:lnTo>
                  <a:lnTo>
                    <a:pt x="188" y="82"/>
                  </a:lnTo>
                  <a:lnTo>
                    <a:pt x="183" y="79"/>
                  </a:lnTo>
                  <a:lnTo>
                    <a:pt x="180" y="79"/>
                  </a:lnTo>
                  <a:lnTo>
                    <a:pt x="176" y="79"/>
                  </a:lnTo>
                  <a:lnTo>
                    <a:pt x="176" y="80"/>
                  </a:lnTo>
                  <a:lnTo>
                    <a:pt x="176" y="89"/>
                  </a:lnTo>
                  <a:lnTo>
                    <a:pt x="181" y="100"/>
                  </a:lnTo>
                  <a:lnTo>
                    <a:pt x="181" y="100"/>
                  </a:lnTo>
                  <a:lnTo>
                    <a:pt x="183" y="105"/>
                  </a:lnTo>
                  <a:lnTo>
                    <a:pt x="183" y="108"/>
                  </a:lnTo>
                  <a:lnTo>
                    <a:pt x="180" y="112"/>
                  </a:lnTo>
                  <a:lnTo>
                    <a:pt x="175" y="114"/>
                  </a:lnTo>
                  <a:lnTo>
                    <a:pt x="161" y="117"/>
                  </a:lnTo>
                  <a:lnTo>
                    <a:pt x="145" y="115"/>
                  </a:lnTo>
                  <a:lnTo>
                    <a:pt x="145" y="115"/>
                  </a:lnTo>
                  <a:lnTo>
                    <a:pt x="126" y="114"/>
                  </a:lnTo>
                  <a:lnTo>
                    <a:pt x="119" y="115"/>
                  </a:lnTo>
                  <a:lnTo>
                    <a:pt x="112" y="117"/>
                  </a:lnTo>
                  <a:lnTo>
                    <a:pt x="112" y="1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 name="Freeform 1727">
              <a:extLst>
                <a:ext uri="{FF2B5EF4-FFF2-40B4-BE49-F238E27FC236}">
                  <a16:creationId xmlns:a16="http://schemas.microsoft.com/office/drawing/2014/main" id="{8FBC6069-3C13-449F-A767-3A36717042A5}"/>
                </a:ext>
              </a:extLst>
            </p:cNvPr>
            <p:cNvSpPr>
              <a:spLocks/>
            </p:cNvSpPr>
            <p:nvPr/>
          </p:nvSpPr>
          <p:spPr bwMode="auto">
            <a:xfrm>
              <a:off x="1216881" y="1655571"/>
              <a:ext cx="2401605" cy="1333837"/>
            </a:xfrm>
            <a:custGeom>
              <a:avLst/>
              <a:gdLst/>
              <a:ahLst/>
              <a:cxnLst>
                <a:cxn ang="0">
                  <a:pos x="1701" y="1345"/>
                </a:cxn>
                <a:cxn ang="0">
                  <a:pos x="1825" y="1336"/>
                </a:cxn>
                <a:cxn ang="0">
                  <a:pos x="1879" y="1324"/>
                </a:cxn>
                <a:cxn ang="0">
                  <a:pos x="1973" y="1414"/>
                </a:cxn>
                <a:cxn ang="0">
                  <a:pos x="2072" y="1460"/>
                </a:cxn>
                <a:cxn ang="0">
                  <a:pos x="2140" y="1524"/>
                </a:cxn>
                <a:cxn ang="0">
                  <a:pos x="2095" y="1515"/>
                </a:cxn>
                <a:cxn ang="0">
                  <a:pos x="2051" y="1625"/>
                </a:cxn>
                <a:cxn ang="0">
                  <a:pos x="2075" y="1644"/>
                </a:cxn>
                <a:cxn ang="0">
                  <a:pos x="2150" y="1592"/>
                </a:cxn>
                <a:cxn ang="0">
                  <a:pos x="2323" y="1513"/>
                </a:cxn>
                <a:cxn ang="0">
                  <a:pos x="2478" y="1470"/>
                </a:cxn>
                <a:cxn ang="0">
                  <a:pos x="2566" y="1421"/>
                </a:cxn>
                <a:cxn ang="0">
                  <a:pos x="2685" y="1496"/>
                </a:cxn>
                <a:cxn ang="0">
                  <a:pos x="2741" y="1529"/>
                </a:cxn>
                <a:cxn ang="0">
                  <a:pos x="2673" y="1428"/>
                </a:cxn>
                <a:cxn ang="0">
                  <a:pos x="2573" y="1322"/>
                </a:cxn>
                <a:cxn ang="0">
                  <a:pos x="2600" y="1263"/>
                </a:cxn>
                <a:cxn ang="0">
                  <a:pos x="2993" y="1146"/>
                </a:cxn>
                <a:cxn ang="0">
                  <a:pos x="2835" y="1085"/>
                </a:cxn>
                <a:cxn ang="0">
                  <a:pos x="2838" y="984"/>
                </a:cxn>
                <a:cxn ang="0">
                  <a:pos x="2772" y="845"/>
                </a:cxn>
                <a:cxn ang="0">
                  <a:pos x="2645" y="749"/>
                </a:cxn>
                <a:cxn ang="0">
                  <a:pos x="2512" y="770"/>
                </a:cxn>
                <a:cxn ang="0">
                  <a:pos x="2450" y="655"/>
                </a:cxn>
                <a:cxn ang="0">
                  <a:pos x="2213" y="582"/>
                </a:cxn>
                <a:cxn ang="0">
                  <a:pos x="2199" y="775"/>
                </a:cxn>
                <a:cxn ang="0">
                  <a:pos x="2152" y="1023"/>
                </a:cxn>
                <a:cxn ang="0">
                  <a:pos x="2152" y="1191"/>
                </a:cxn>
                <a:cxn ang="0">
                  <a:pos x="2023" y="986"/>
                </a:cxn>
                <a:cxn ang="0">
                  <a:pos x="1708" y="892"/>
                </a:cxn>
                <a:cxn ang="0">
                  <a:pos x="1647" y="653"/>
                </a:cxn>
                <a:cxn ang="0">
                  <a:pos x="1792" y="500"/>
                </a:cxn>
                <a:cxn ang="0">
                  <a:pos x="1790" y="387"/>
                </a:cxn>
                <a:cxn ang="0">
                  <a:pos x="1955" y="349"/>
                </a:cxn>
                <a:cxn ang="0">
                  <a:pos x="2060" y="330"/>
                </a:cxn>
                <a:cxn ang="0">
                  <a:pos x="2095" y="215"/>
                </a:cxn>
                <a:cxn ang="0">
                  <a:pos x="1966" y="136"/>
                </a:cxn>
                <a:cxn ang="0">
                  <a:pos x="1910" y="276"/>
                </a:cxn>
                <a:cxn ang="0">
                  <a:pos x="1809" y="180"/>
                </a:cxn>
                <a:cxn ang="0">
                  <a:pos x="1734" y="152"/>
                </a:cxn>
                <a:cxn ang="0">
                  <a:pos x="1617" y="0"/>
                </a:cxn>
                <a:cxn ang="0">
                  <a:pos x="1574" y="136"/>
                </a:cxn>
                <a:cxn ang="0">
                  <a:pos x="1616" y="246"/>
                </a:cxn>
                <a:cxn ang="0">
                  <a:pos x="1546" y="234"/>
                </a:cxn>
                <a:cxn ang="0">
                  <a:pos x="1306" y="248"/>
                </a:cxn>
                <a:cxn ang="0">
                  <a:pos x="1201" y="229"/>
                </a:cxn>
                <a:cxn ang="0">
                  <a:pos x="1066" y="258"/>
                </a:cxn>
                <a:cxn ang="0">
                  <a:pos x="832" y="192"/>
                </a:cxn>
                <a:cxn ang="0">
                  <a:pos x="576" y="117"/>
                </a:cxn>
                <a:cxn ang="0">
                  <a:pos x="458" y="108"/>
                </a:cxn>
                <a:cxn ang="0">
                  <a:pos x="355" y="117"/>
                </a:cxn>
                <a:cxn ang="0">
                  <a:pos x="171" y="199"/>
                </a:cxn>
                <a:cxn ang="0">
                  <a:pos x="66" y="706"/>
                </a:cxn>
                <a:cxn ang="0">
                  <a:pos x="157" y="756"/>
                </a:cxn>
                <a:cxn ang="0">
                  <a:pos x="261" y="805"/>
                </a:cxn>
                <a:cxn ang="0">
                  <a:pos x="371" y="935"/>
                </a:cxn>
                <a:cxn ang="0">
                  <a:pos x="386" y="1063"/>
                </a:cxn>
                <a:cxn ang="0">
                  <a:pos x="449" y="1122"/>
                </a:cxn>
                <a:cxn ang="0">
                  <a:pos x="496" y="1144"/>
                </a:cxn>
                <a:cxn ang="0">
                  <a:pos x="480" y="1216"/>
                </a:cxn>
                <a:cxn ang="0">
                  <a:pos x="569" y="1244"/>
                </a:cxn>
                <a:cxn ang="0">
                  <a:pos x="594" y="1282"/>
                </a:cxn>
              </a:cxnLst>
              <a:rect l="0" t="0" r="r" b="b"/>
              <a:pathLst>
                <a:path w="2993" h="1663">
                  <a:moveTo>
                    <a:pt x="1605" y="1313"/>
                  </a:moveTo>
                  <a:lnTo>
                    <a:pt x="1605" y="1313"/>
                  </a:lnTo>
                  <a:lnTo>
                    <a:pt x="1607" y="1313"/>
                  </a:lnTo>
                  <a:lnTo>
                    <a:pt x="1607" y="1310"/>
                  </a:lnTo>
                  <a:lnTo>
                    <a:pt x="1607" y="1303"/>
                  </a:lnTo>
                  <a:lnTo>
                    <a:pt x="1607" y="1296"/>
                  </a:lnTo>
                  <a:lnTo>
                    <a:pt x="1609" y="1294"/>
                  </a:lnTo>
                  <a:lnTo>
                    <a:pt x="1612" y="1294"/>
                  </a:lnTo>
                  <a:lnTo>
                    <a:pt x="1612" y="1294"/>
                  </a:lnTo>
                  <a:lnTo>
                    <a:pt x="1617" y="1298"/>
                  </a:lnTo>
                  <a:lnTo>
                    <a:pt x="1619" y="1301"/>
                  </a:lnTo>
                  <a:lnTo>
                    <a:pt x="1623" y="1318"/>
                  </a:lnTo>
                  <a:lnTo>
                    <a:pt x="1623" y="1318"/>
                  </a:lnTo>
                  <a:lnTo>
                    <a:pt x="1624" y="1324"/>
                  </a:lnTo>
                  <a:lnTo>
                    <a:pt x="1628" y="1327"/>
                  </a:lnTo>
                  <a:lnTo>
                    <a:pt x="1631" y="1329"/>
                  </a:lnTo>
                  <a:lnTo>
                    <a:pt x="1637" y="1331"/>
                  </a:lnTo>
                  <a:lnTo>
                    <a:pt x="1645" y="1332"/>
                  </a:lnTo>
                  <a:lnTo>
                    <a:pt x="1651" y="1334"/>
                  </a:lnTo>
                  <a:lnTo>
                    <a:pt x="1654" y="1336"/>
                  </a:lnTo>
                  <a:lnTo>
                    <a:pt x="1654" y="1336"/>
                  </a:lnTo>
                  <a:lnTo>
                    <a:pt x="1656" y="1339"/>
                  </a:lnTo>
                  <a:lnTo>
                    <a:pt x="1658" y="1339"/>
                  </a:lnTo>
                  <a:lnTo>
                    <a:pt x="1663" y="1336"/>
                  </a:lnTo>
                  <a:lnTo>
                    <a:pt x="1666" y="1334"/>
                  </a:lnTo>
                  <a:lnTo>
                    <a:pt x="1671" y="1334"/>
                  </a:lnTo>
                  <a:lnTo>
                    <a:pt x="1677" y="1334"/>
                  </a:lnTo>
                  <a:lnTo>
                    <a:pt x="1685" y="1336"/>
                  </a:lnTo>
                  <a:lnTo>
                    <a:pt x="1685" y="1336"/>
                  </a:lnTo>
                  <a:lnTo>
                    <a:pt x="1692" y="1339"/>
                  </a:lnTo>
                  <a:lnTo>
                    <a:pt x="1698" y="1343"/>
                  </a:lnTo>
                  <a:lnTo>
                    <a:pt x="1701" y="1345"/>
                  </a:lnTo>
                  <a:lnTo>
                    <a:pt x="1701" y="1348"/>
                  </a:lnTo>
                  <a:lnTo>
                    <a:pt x="1703" y="1352"/>
                  </a:lnTo>
                  <a:lnTo>
                    <a:pt x="1708" y="1348"/>
                  </a:lnTo>
                  <a:lnTo>
                    <a:pt x="1708" y="1348"/>
                  </a:lnTo>
                  <a:lnTo>
                    <a:pt x="1713" y="1346"/>
                  </a:lnTo>
                  <a:lnTo>
                    <a:pt x="1717" y="1348"/>
                  </a:lnTo>
                  <a:lnTo>
                    <a:pt x="1724" y="1355"/>
                  </a:lnTo>
                  <a:lnTo>
                    <a:pt x="1727" y="1359"/>
                  </a:lnTo>
                  <a:lnTo>
                    <a:pt x="1732" y="1360"/>
                  </a:lnTo>
                  <a:lnTo>
                    <a:pt x="1738" y="1362"/>
                  </a:lnTo>
                  <a:lnTo>
                    <a:pt x="1743" y="1360"/>
                  </a:lnTo>
                  <a:lnTo>
                    <a:pt x="1743" y="1360"/>
                  </a:lnTo>
                  <a:lnTo>
                    <a:pt x="1755" y="1355"/>
                  </a:lnTo>
                  <a:lnTo>
                    <a:pt x="1757" y="1355"/>
                  </a:lnTo>
                  <a:lnTo>
                    <a:pt x="1759" y="1355"/>
                  </a:lnTo>
                  <a:lnTo>
                    <a:pt x="1762" y="1359"/>
                  </a:lnTo>
                  <a:lnTo>
                    <a:pt x="1765" y="1360"/>
                  </a:lnTo>
                  <a:lnTo>
                    <a:pt x="1772" y="1360"/>
                  </a:lnTo>
                  <a:lnTo>
                    <a:pt x="1772" y="1360"/>
                  </a:lnTo>
                  <a:lnTo>
                    <a:pt x="1783" y="1360"/>
                  </a:lnTo>
                  <a:lnTo>
                    <a:pt x="1788" y="1362"/>
                  </a:lnTo>
                  <a:lnTo>
                    <a:pt x="1792" y="1364"/>
                  </a:lnTo>
                  <a:lnTo>
                    <a:pt x="1802" y="1364"/>
                  </a:lnTo>
                  <a:lnTo>
                    <a:pt x="1802" y="1364"/>
                  </a:lnTo>
                  <a:lnTo>
                    <a:pt x="1806" y="1362"/>
                  </a:lnTo>
                  <a:lnTo>
                    <a:pt x="1806" y="1362"/>
                  </a:lnTo>
                  <a:lnTo>
                    <a:pt x="1809" y="1359"/>
                  </a:lnTo>
                  <a:lnTo>
                    <a:pt x="1812" y="1355"/>
                  </a:lnTo>
                  <a:lnTo>
                    <a:pt x="1816" y="1345"/>
                  </a:lnTo>
                  <a:lnTo>
                    <a:pt x="1816" y="1345"/>
                  </a:lnTo>
                  <a:lnTo>
                    <a:pt x="1819" y="1339"/>
                  </a:lnTo>
                  <a:lnTo>
                    <a:pt x="1825" y="1336"/>
                  </a:lnTo>
                  <a:lnTo>
                    <a:pt x="1826" y="1336"/>
                  </a:lnTo>
                  <a:lnTo>
                    <a:pt x="1828" y="1338"/>
                  </a:lnTo>
                  <a:lnTo>
                    <a:pt x="1828" y="1339"/>
                  </a:lnTo>
                  <a:lnTo>
                    <a:pt x="1828" y="1343"/>
                  </a:lnTo>
                  <a:lnTo>
                    <a:pt x="1828" y="1343"/>
                  </a:lnTo>
                  <a:lnTo>
                    <a:pt x="1826" y="1346"/>
                  </a:lnTo>
                  <a:lnTo>
                    <a:pt x="1830" y="1345"/>
                  </a:lnTo>
                  <a:lnTo>
                    <a:pt x="1833" y="1338"/>
                  </a:lnTo>
                  <a:lnTo>
                    <a:pt x="1839" y="1327"/>
                  </a:lnTo>
                  <a:lnTo>
                    <a:pt x="1839" y="1327"/>
                  </a:lnTo>
                  <a:lnTo>
                    <a:pt x="1842" y="1320"/>
                  </a:lnTo>
                  <a:lnTo>
                    <a:pt x="1844" y="1320"/>
                  </a:lnTo>
                  <a:lnTo>
                    <a:pt x="1844" y="1320"/>
                  </a:lnTo>
                  <a:lnTo>
                    <a:pt x="1846" y="1325"/>
                  </a:lnTo>
                  <a:lnTo>
                    <a:pt x="1842" y="1332"/>
                  </a:lnTo>
                  <a:lnTo>
                    <a:pt x="1842" y="1332"/>
                  </a:lnTo>
                  <a:lnTo>
                    <a:pt x="1840" y="1339"/>
                  </a:lnTo>
                  <a:lnTo>
                    <a:pt x="1840" y="1339"/>
                  </a:lnTo>
                  <a:lnTo>
                    <a:pt x="1840" y="1339"/>
                  </a:lnTo>
                  <a:lnTo>
                    <a:pt x="1851" y="1334"/>
                  </a:lnTo>
                  <a:lnTo>
                    <a:pt x="1851" y="1334"/>
                  </a:lnTo>
                  <a:lnTo>
                    <a:pt x="1854" y="1331"/>
                  </a:lnTo>
                  <a:lnTo>
                    <a:pt x="1854" y="1329"/>
                  </a:lnTo>
                  <a:lnTo>
                    <a:pt x="1853" y="1322"/>
                  </a:lnTo>
                  <a:lnTo>
                    <a:pt x="1851" y="1318"/>
                  </a:lnTo>
                  <a:lnTo>
                    <a:pt x="1851" y="1315"/>
                  </a:lnTo>
                  <a:lnTo>
                    <a:pt x="1853" y="1313"/>
                  </a:lnTo>
                  <a:lnTo>
                    <a:pt x="1853" y="1313"/>
                  </a:lnTo>
                  <a:lnTo>
                    <a:pt x="1854" y="1313"/>
                  </a:lnTo>
                  <a:lnTo>
                    <a:pt x="1858" y="1315"/>
                  </a:lnTo>
                  <a:lnTo>
                    <a:pt x="1868" y="1318"/>
                  </a:lnTo>
                  <a:lnTo>
                    <a:pt x="1879" y="1324"/>
                  </a:lnTo>
                  <a:lnTo>
                    <a:pt x="1884" y="1324"/>
                  </a:lnTo>
                  <a:lnTo>
                    <a:pt x="1889" y="1324"/>
                  </a:lnTo>
                  <a:lnTo>
                    <a:pt x="1889" y="1324"/>
                  </a:lnTo>
                  <a:lnTo>
                    <a:pt x="1896" y="1324"/>
                  </a:lnTo>
                  <a:lnTo>
                    <a:pt x="1900" y="1325"/>
                  </a:lnTo>
                  <a:lnTo>
                    <a:pt x="1903" y="1325"/>
                  </a:lnTo>
                  <a:lnTo>
                    <a:pt x="1910" y="1325"/>
                  </a:lnTo>
                  <a:lnTo>
                    <a:pt x="1910" y="1325"/>
                  </a:lnTo>
                  <a:lnTo>
                    <a:pt x="1913" y="1325"/>
                  </a:lnTo>
                  <a:lnTo>
                    <a:pt x="1917" y="1329"/>
                  </a:lnTo>
                  <a:lnTo>
                    <a:pt x="1920" y="1343"/>
                  </a:lnTo>
                  <a:lnTo>
                    <a:pt x="1922" y="1350"/>
                  </a:lnTo>
                  <a:lnTo>
                    <a:pt x="1926" y="1357"/>
                  </a:lnTo>
                  <a:lnTo>
                    <a:pt x="1931" y="1362"/>
                  </a:lnTo>
                  <a:lnTo>
                    <a:pt x="1938" y="1367"/>
                  </a:lnTo>
                  <a:lnTo>
                    <a:pt x="1938" y="1367"/>
                  </a:lnTo>
                  <a:lnTo>
                    <a:pt x="1941" y="1367"/>
                  </a:lnTo>
                  <a:lnTo>
                    <a:pt x="1948" y="1367"/>
                  </a:lnTo>
                  <a:lnTo>
                    <a:pt x="1959" y="1367"/>
                  </a:lnTo>
                  <a:lnTo>
                    <a:pt x="1962" y="1367"/>
                  </a:lnTo>
                  <a:lnTo>
                    <a:pt x="1966" y="1367"/>
                  </a:lnTo>
                  <a:lnTo>
                    <a:pt x="1967" y="1371"/>
                  </a:lnTo>
                  <a:lnTo>
                    <a:pt x="1966" y="1376"/>
                  </a:lnTo>
                  <a:lnTo>
                    <a:pt x="1966" y="1376"/>
                  </a:lnTo>
                  <a:lnTo>
                    <a:pt x="1962" y="1383"/>
                  </a:lnTo>
                  <a:lnTo>
                    <a:pt x="1964" y="1386"/>
                  </a:lnTo>
                  <a:lnTo>
                    <a:pt x="1974" y="1395"/>
                  </a:lnTo>
                  <a:lnTo>
                    <a:pt x="1974" y="1395"/>
                  </a:lnTo>
                  <a:lnTo>
                    <a:pt x="1976" y="1399"/>
                  </a:lnTo>
                  <a:lnTo>
                    <a:pt x="1976" y="1402"/>
                  </a:lnTo>
                  <a:lnTo>
                    <a:pt x="1974" y="1409"/>
                  </a:lnTo>
                  <a:lnTo>
                    <a:pt x="1973" y="1414"/>
                  </a:lnTo>
                  <a:lnTo>
                    <a:pt x="1973" y="1416"/>
                  </a:lnTo>
                  <a:lnTo>
                    <a:pt x="1974" y="1418"/>
                  </a:lnTo>
                  <a:lnTo>
                    <a:pt x="1974" y="1418"/>
                  </a:lnTo>
                  <a:lnTo>
                    <a:pt x="1978" y="1419"/>
                  </a:lnTo>
                  <a:lnTo>
                    <a:pt x="1980" y="1419"/>
                  </a:lnTo>
                  <a:lnTo>
                    <a:pt x="1981" y="1419"/>
                  </a:lnTo>
                  <a:lnTo>
                    <a:pt x="1983" y="1421"/>
                  </a:lnTo>
                  <a:lnTo>
                    <a:pt x="1983" y="1421"/>
                  </a:lnTo>
                  <a:lnTo>
                    <a:pt x="1985" y="1423"/>
                  </a:lnTo>
                  <a:lnTo>
                    <a:pt x="1983" y="1425"/>
                  </a:lnTo>
                  <a:lnTo>
                    <a:pt x="1980" y="1426"/>
                  </a:lnTo>
                  <a:lnTo>
                    <a:pt x="1978" y="1430"/>
                  </a:lnTo>
                  <a:lnTo>
                    <a:pt x="1978" y="1433"/>
                  </a:lnTo>
                  <a:lnTo>
                    <a:pt x="1978" y="1433"/>
                  </a:lnTo>
                  <a:lnTo>
                    <a:pt x="1978" y="1437"/>
                  </a:lnTo>
                  <a:lnTo>
                    <a:pt x="1981" y="1439"/>
                  </a:lnTo>
                  <a:lnTo>
                    <a:pt x="1987" y="1439"/>
                  </a:lnTo>
                  <a:lnTo>
                    <a:pt x="1994" y="1437"/>
                  </a:lnTo>
                  <a:lnTo>
                    <a:pt x="1995" y="1439"/>
                  </a:lnTo>
                  <a:lnTo>
                    <a:pt x="1995" y="1442"/>
                  </a:lnTo>
                  <a:lnTo>
                    <a:pt x="1995" y="1442"/>
                  </a:lnTo>
                  <a:lnTo>
                    <a:pt x="1995" y="1447"/>
                  </a:lnTo>
                  <a:lnTo>
                    <a:pt x="1999" y="1449"/>
                  </a:lnTo>
                  <a:lnTo>
                    <a:pt x="2004" y="1449"/>
                  </a:lnTo>
                  <a:lnTo>
                    <a:pt x="2013" y="1453"/>
                  </a:lnTo>
                  <a:lnTo>
                    <a:pt x="2013" y="1453"/>
                  </a:lnTo>
                  <a:lnTo>
                    <a:pt x="2025" y="1456"/>
                  </a:lnTo>
                  <a:lnTo>
                    <a:pt x="2039" y="1458"/>
                  </a:lnTo>
                  <a:lnTo>
                    <a:pt x="2051" y="1458"/>
                  </a:lnTo>
                  <a:lnTo>
                    <a:pt x="2063" y="1460"/>
                  </a:lnTo>
                  <a:lnTo>
                    <a:pt x="2063" y="1460"/>
                  </a:lnTo>
                  <a:lnTo>
                    <a:pt x="2072" y="1460"/>
                  </a:lnTo>
                  <a:lnTo>
                    <a:pt x="2079" y="1460"/>
                  </a:lnTo>
                  <a:lnTo>
                    <a:pt x="2084" y="1460"/>
                  </a:lnTo>
                  <a:lnTo>
                    <a:pt x="2084" y="1461"/>
                  </a:lnTo>
                  <a:lnTo>
                    <a:pt x="2084" y="1463"/>
                  </a:lnTo>
                  <a:lnTo>
                    <a:pt x="2084" y="1463"/>
                  </a:lnTo>
                  <a:lnTo>
                    <a:pt x="2084" y="1465"/>
                  </a:lnTo>
                  <a:lnTo>
                    <a:pt x="2084" y="1466"/>
                  </a:lnTo>
                  <a:lnTo>
                    <a:pt x="2089" y="1468"/>
                  </a:lnTo>
                  <a:lnTo>
                    <a:pt x="2105" y="1468"/>
                  </a:lnTo>
                  <a:lnTo>
                    <a:pt x="2105" y="1468"/>
                  </a:lnTo>
                  <a:lnTo>
                    <a:pt x="2110" y="1468"/>
                  </a:lnTo>
                  <a:lnTo>
                    <a:pt x="2114" y="1472"/>
                  </a:lnTo>
                  <a:lnTo>
                    <a:pt x="2121" y="1484"/>
                  </a:lnTo>
                  <a:lnTo>
                    <a:pt x="2126" y="1493"/>
                  </a:lnTo>
                  <a:lnTo>
                    <a:pt x="2129" y="1496"/>
                  </a:lnTo>
                  <a:lnTo>
                    <a:pt x="2131" y="1496"/>
                  </a:lnTo>
                  <a:lnTo>
                    <a:pt x="2131" y="1496"/>
                  </a:lnTo>
                  <a:lnTo>
                    <a:pt x="2133" y="1494"/>
                  </a:lnTo>
                  <a:lnTo>
                    <a:pt x="2135" y="1494"/>
                  </a:lnTo>
                  <a:lnTo>
                    <a:pt x="2136" y="1498"/>
                  </a:lnTo>
                  <a:lnTo>
                    <a:pt x="2136" y="1503"/>
                  </a:lnTo>
                  <a:lnTo>
                    <a:pt x="2136" y="1503"/>
                  </a:lnTo>
                  <a:lnTo>
                    <a:pt x="2136" y="1507"/>
                  </a:lnTo>
                  <a:lnTo>
                    <a:pt x="2138" y="1510"/>
                  </a:lnTo>
                  <a:lnTo>
                    <a:pt x="2143" y="1517"/>
                  </a:lnTo>
                  <a:lnTo>
                    <a:pt x="2149" y="1522"/>
                  </a:lnTo>
                  <a:lnTo>
                    <a:pt x="2150" y="1527"/>
                  </a:lnTo>
                  <a:lnTo>
                    <a:pt x="2150" y="1527"/>
                  </a:lnTo>
                  <a:lnTo>
                    <a:pt x="2150" y="1529"/>
                  </a:lnTo>
                  <a:lnTo>
                    <a:pt x="2149" y="1529"/>
                  </a:lnTo>
                  <a:lnTo>
                    <a:pt x="2145" y="1527"/>
                  </a:lnTo>
                  <a:lnTo>
                    <a:pt x="2140" y="1524"/>
                  </a:lnTo>
                  <a:lnTo>
                    <a:pt x="2138" y="1524"/>
                  </a:lnTo>
                  <a:lnTo>
                    <a:pt x="2136" y="1524"/>
                  </a:lnTo>
                  <a:lnTo>
                    <a:pt x="2136" y="1524"/>
                  </a:lnTo>
                  <a:lnTo>
                    <a:pt x="2136" y="1526"/>
                  </a:lnTo>
                  <a:lnTo>
                    <a:pt x="2136" y="1527"/>
                  </a:lnTo>
                  <a:lnTo>
                    <a:pt x="2138" y="1533"/>
                  </a:lnTo>
                  <a:lnTo>
                    <a:pt x="2140" y="1536"/>
                  </a:lnTo>
                  <a:lnTo>
                    <a:pt x="2140" y="1540"/>
                  </a:lnTo>
                  <a:lnTo>
                    <a:pt x="2138" y="1541"/>
                  </a:lnTo>
                  <a:lnTo>
                    <a:pt x="2138" y="1541"/>
                  </a:lnTo>
                  <a:lnTo>
                    <a:pt x="2135" y="1541"/>
                  </a:lnTo>
                  <a:lnTo>
                    <a:pt x="2131" y="1541"/>
                  </a:lnTo>
                  <a:lnTo>
                    <a:pt x="2124" y="1536"/>
                  </a:lnTo>
                  <a:lnTo>
                    <a:pt x="2115" y="1531"/>
                  </a:lnTo>
                  <a:lnTo>
                    <a:pt x="2112" y="1531"/>
                  </a:lnTo>
                  <a:lnTo>
                    <a:pt x="2110" y="1533"/>
                  </a:lnTo>
                  <a:lnTo>
                    <a:pt x="2110" y="1533"/>
                  </a:lnTo>
                  <a:lnTo>
                    <a:pt x="2107" y="1534"/>
                  </a:lnTo>
                  <a:lnTo>
                    <a:pt x="2107" y="1531"/>
                  </a:lnTo>
                  <a:lnTo>
                    <a:pt x="2105" y="1527"/>
                  </a:lnTo>
                  <a:lnTo>
                    <a:pt x="2105" y="1527"/>
                  </a:lnTo>
                  <a:lnTo>
                    <a:pt x="2103" y="1527"/>
                  </a:lnTo>
                  <a:lnTo>
                    <a:pt x="2103" y="1527"/>
                  </a:lnTo>
                  <a:lnTo>
                    <a:pt x="2100" y="1527"/>
                  </a:lnTo>
                  <a:lnTo>
                    <a:pt x="2100" y="1526"/>
                  </a:lnTo>
                  <a:lnTo>
                    <a:pt x="2102" y="1522"/>
                  </a:lnTo>
                  <a:lnTo>
                    <a:pt x="2103" y="1519"/>
                  </a:lnTo>
                  <a:lnTo>
                    <a:pt x="2103" y="1519"/>
                  </a:lnTo>
                  <a:lnTo>
                    <a:pt x="2100" y="1517"/>
                  </a:lnTo>
                  <a:lnTo>
                    <a:pt x="2100" y="1517"/>
                  </a:lnTo>
                  <a:lnTo>
                    <a:pt x="2096" y="1517"/>
                  </a:lnTo>
                  <a:lnTo>
                    <a:pt x="2095" y="1515"/>
                  </a:lnTo>
                  <a:lnTo>
                    <a:pt x="2095" y="1510"/>
                  </a:lnTo>
                  <a:lnTo>
                    <a:pt x="2093" y="1505"/>
                  </a:lnTo>
                  <a:lnTo>
                    <a:pt x="2093" y="1503"/>
                  </a:lnTo>
                  <a:lnTo>
                    <a:pt x="2091" y="1503"/>
                  </a:lnTo>
                  <a:lnTo>
                    <a:pt x="2091" y="1503"/>
                  </a:lnTo>
                  <a:lnTo>
                    <a:pt x="2086" y="1503"/>
                  </a:lnTo>
                  <a:lnTo>
                    <a:pt x="2082" y="1501"/>
                  </a:lnTo>
                  <a:lnTo>
                    <a:pt x="2081" y="1501"/>
                  </a:lnTo>
                  <a:lnTo>
                    <a:pt x="2079" y="1501"/>
                  </a:lnTo>
                  <a:lnTo>
                    <a:pt x="2079" y="1501"/>
                  </a:lnTo>
                  <a:lnTo>
                    <a:pt x="2081" y="1505"/>
                  </a:lnTo>
                  <a:lnTo>
                    <a:pt x="2084" y="1510"/>
                  </a:lnTo>
                  <a:lnTo>
                    <a:pt x="2091" y="1519"/>
                  </a:lnTo>
                  <a:lnTo>
                    <a:pt x="2095" y="1529"/>
                  </a:lnTo>
                  <a:lnTo>
                    <a:pt x="2095" y="1529"/>
                  </a:lnTo>
                  <a:lnTo>
                    <a:pt x="2095" y="1533"/>
                  </a:lnTo>
                  <a:lnTo>
                    <a:pt x="2093" y="1538"/>
                  </a:lnTo>
                  <a:lnTo>
                    <a:pt x="2086" y="1547"/>
                  </a:lnTo>
                  <a:lnTo>
                    <a:pt x="2082" y="1550"/>
                  </a:lnTo>
                  <a:lnTo>
                    <a:pt x="2081" y="1557"/>
                  </a:lnTo>
                  <a:lnTo>
                    <a:pt x="2079" y="1564"/>
                  </a:lnTo>
                  <a:lnTo>
                    <a:pt x="2079" y="1573"/>
                  </a:lnTo>
                  <a:lnTo>
                    <a:pt x="2079" y="1573"/>
                  </a:lnTo>
                  <a:lnTo>
                    <a:pt x="2079" y="1590"/>
                  </a:lnTo>
                  <a:lnTo>
                    <a:pt x="2077" y="1595"/>
                  </a:lnTo>
                  <a:lnTo>
                    <a:pt x="2074" y="1599"/>
                  </a:lnTo>
                  <a:lnTo>
                    <a:pt x="2072" y="1602"/>
                  </a:lnTo>
                  <a:lnTo>
                    <a:pt x="2067" y="1606"/>
                  </a:lnTo>
                  <a:lnTo>
                    <a:pt x="2055" y="1613"/>
                  </a:lnTo>
                  <a:lnTo>
                    <a:pt x="2055" y="1613"/>
                  </a:lnTo>
                  <a:lnTo>
                    <a:pt x="2053" y="1620"/>
                  </a:lnTo>
                  <a:lnTo>
                    <a:pt x="2051" y="1625"/>
                  </a:lnTo>
                  <a:lnTo>
                    <a:pt x="2051" y="1625"/>
                  </a:lnTo>
                  <a:lnTo>
                    <a:pt x="2051" y="1632"/>
                  </a:lnTo>
                  <a:lnTo>
                    <a:pt x="2049" y="1635"/>
                  </a:lnTo>
                  <a:lnTo>
                    <a:pt x="2046" y="1635"/>
                  </a:lnTo>
                  <a:lnTo>
                    <a:pt x="2046" y="1635"/>
                  </a:lnTo>
                  <a:lnTo>
                    <a:pt x="2051" y="1637"/>
                  </a:lnTo>
                  <a:lnTo>
                    <a:pt x="2053" y="1639"/>
                  </a:lnTo>
                  <a:lnTo>
                    <a:pt x="2055" y="1642"/>
                  </a:lnTo>
                  <a:lnTo>
                    <a:pt x="2053" y="1644"/>
                  </a:lnTo>
                  <a:lnTo>
                    <a:pt x="2048" y="1648"/>
                  </a:lnTo>
                  <a:lnTo>
                    <a:pt x="2039" y="1648"/>
                  </a:lnTo>
                  <a:lnTo>
                    <a:pt x="2039" y="1648"/>
                  </a:lnTo>
                  <a:lnTo>
                    <a:pt x="2034" y="1649"/>
                  </a:lnTo>
                  <a:lnTo>
                    <a:pt x="2032" y="1649"/>
                  </a:lnTo>
                  <a:lnTo>
                    <a:pt x="2030" y="1653"/>
                  </a:lnTo>
                  <a:lnTo>
                    <a:pt x="2030" y="1655"/>
                  </a:lnTo>
                  <a:lnTo>
                    <a:pt x="2030" y="1658"/>
                  </a:lnTo>
                  <a:lnTo>
                    <a:pt x="2032" y="1660"/>
                  </a:lnTo>
                  <a:lnTo>
                    <a:pt x="2035" y="1661"/>
                  </a:lnTo>
                  <a:lnTo>
                    <a:pt x="2039" y="1661"/>
                  </a:lnTo>
                  <a:lnTo>
                    <a:pt x="2039" y="1661"/>
                  </a:lnTo>
                  <a:lnTo>
                    <a:pt x="2044" y="1661"/>
                  </a:lnTo>
                  <a:lnTo>
                    <a:pt x="2048" y="1663"/>
                  </a:lnTo>
                  <a:lnTo>
                    <a:pt x="2049" y="1663"/>
                  </a:lnTo>
                  <a:lnTo>
                    <a:pt x="2051" y="1661"/>
                  </a:lnTo>
                  <a:lnTo>
                    <a:pt x="2051" y="1661"/>
                  </a:lnTo>
                  <a:lnTo>
                    <a:pt x="2055" y="1658"/>
                  </a:lnTo>
                  <a:lnTo>
                    <a:pt x="2060" y="1655"/>
                  </a:lnTo>
                  <a:lnTo>
                    <a:pt x="2070" y="1651"/>
                  </a:lnTo>
                  <a:lnTo>
                    <a:pt x="2070" y="1651"/>
                  </a:lnTo>
                  <a:lnTo>
                    <a:pt x="2072" y="1648"/>
                  </a:lnTo>
                  <a:lnTo>
                    <a:pt x="2075" y="1644"/>
                  </a:lnTo>
                  <a:lnTo>
                    <a:pt x="2082" y="1637"/>
                  </a:lnTo>
                  <a:lnTo>
                    <a:pt x="2088" y="1634"/>
                  </a:lnTo>
                  <a:lnTo>
                    <a:pt x="2095" y="1632"/>
                  </a:lnTo>
                  <a:lnTo>
                    <a:pt x="2103" y="1630"/>
                  </a:lnTo>
                  <a:lnTo>
                    <a:pt x="2114" y="1632"/>
                  </a:lnTo>
                  <a:lnTo>
                    <a:pt x="2114" y="1632"/>
                  </a:lnTo>
                  <a:lnTo>
                    <a:pt x="2129" y="1635"/>
                  </a:lnTo>
                  <a:lnTo>
                    <a:pt x="2131" y="1635"/>
                  </a:lnTo>
                  <a:lnTo>
                    <a:pt x="2131" y="1635"/>
                  </a:lnTo>
                  <a:lnTo>
                    <a:pt x="2128" y="1632"/>
                  </a:lnTo>
                  <a:lnTo>
                    <a:pt x="2126" y="1630"/>
                  </a:lnTo>
                  <a:lnTo>
                    <a:pt x="2126" y="1628"/>
                  </a:lnTo>
                  <a:lnTo>
                    <a:pt x="2126" y="1628"/>
                  </a:lnTo>
                  <a:lnTo>
                    <a:pt x="2129" y="1625"/>
                  </a:lnTo>
                  <a:lnTo>
                    <a:pt x="2135" y="1623"/>
                  </a:lnTo>
                  <a:lnTo>
                    <a:pt x="2150" y="1620"/>
                  </a:lnTo>
                  <a:lnTo>
                    <a:pt x="2150" y="1620"/>
                  </a:lnTo>
                  <a:lnTo>
                    <a:pt x="2168" y="1620"/>
                  </a:lnTo>
                  <a:lnTo>
                    <a:pt x="2171" y="1620"/>
                  </a:lnTo>
                  <a:lnTo>
                    <a:pt x="2173" y="1616"/>
                  </a:lnTo>
                  <a:lnTo>
                    <a:pt x="2173" y="1616"/>
                  </a:lnTo>
                  <a:lnTo>
                    <a:pt x="2173" y="1614"/>
                  </a:lnTo>
                  <a:lnTo>
                    <a:pt x="2173" y="1611"/>
                  </a:lnTo>
                  <a:lnTo>
                    <a:pt x="2175" y="1611"/>
                  </a:lnTo>
                  <a:lnTo>
                    <a:pt x="2162" y="1604"/>
                  </a:lnTo>
                  <a:lnTo>
                    <a:pt x="2162" y="1604"/>
                  </a:lnTo>
                  <a:lnTo>
                    <a:pt x="2157" y="1604"/>
                  </a:lnTo>
                  <a:lnTo>
                    <a:pt x="2152" y="1604"/>
                  </a:lnTo>
                  <a:lnTo>
                    <a:pt x="2150" y="1602"/>
                  </a:lnTo>
                  <a:lnTo>
                    <a:pt x="2149" y="1599"/>
                  </a:lnTo>
                  <a:lnTo>
                    <a:pt x="2149" y="1595"/>
                  </a:lnTo>
                  <a:lnTo>
                    <a:pt x="2150" y="1592"/>
                  </a:lnTo>
                  <a:lnTo>
                    <a:pt x="2150" y="1592"/>
                  </a:lnTo>
                  <a:lnTo>
                    <a:pt x="2156" y="1585"/>
                  </a:lnTo>
                  <a:lnTo>
                    <a:pt x="2159" y="1581"/>
                  </a:lnTo>
                  <a:lnTo>
                    <a:pt x="2162" y="1581"/>
                  </a:lnTo>
                  <a:lnTo>
                    <a:pt x="2166" y="1578"/>
                  </a:lnTo>
                  <a:lnTo>
                    <a:pt x="2166" y="1578"/>
                  </a:lnTo>
                  <a:lnTo>
                    <a:pt x="2173" y="1573"/>
                  </a:lnTo>
                  <a:lnTo>
                    <a:pt x="2182" y="1569"/>
                  </a:lnTo>
                  <a:lnTo>
                    <a:pt x="2208" y="1566"/>
                  </a:lnTo>
                  <a:lnTo>
                    <a:pt x="2208" y="1566"/>
                  </a:lnTo>
                  <a:lnTo>
                    <a:pt x="2218" y="1562"/>
                  </a:lnTo>
                  <a:lnTo>
                    <a:pt x="2222" y="1562"/>
                  </a:lnTo>
                  <a:lnTo>
                    <a:pt x="2234" y="1569"/>
                  </a:lnTo>
                  <a:lnTo>
                    <a:pt x="2234" y="1569"/>
                  </a:lnTo>
                  <a:lnTo>
                    <a:pt x="2239" y="1571"/>
                  </a:lnTo>
                  <a:lnTo>
                    <a:pt x="2243" y="1571"/>
                  </a:lnTo>
                  <a:lnTo>
                    <a:pt x="2244" y="1569"/>
                  </a:lnTo>
                  <a:lnTo>
                    <a:pt x="2246" y="1567"/>
                  </a:lnTo>
                  <a:lnTo>
                    <a:pt x="2248" y="1562"/>
                  </a:lnTo>
                  <a:lnTo>
                    <a:pt x="2250" y="1559"/>
                  </a:lnTo>
                  <a:lnTo>
                    <a:pt x="2253" y="1555"/>
                  </a:lnTo>
                  <a:lnTo>
                    <a:pt x="2253" y="1555"/>
                  </a:lnTo>
                  <a:lnTo>
                    <a:pt x="2260" y="1552"/>
                  </a:lnTo>
                  <a:lnTo>
                    <a:pt x="2269" y="1548"/>
                  </a:lnTo>
                  <a:lnTo>
                    <a:pt x="2277" y="1545"/>
                  </a:lnTo>
                  <a:lnTo>
                    <a:pt x="2286" y="1541"/>
                  </a:lnTo>
                  <a:lnTo>
                    <a:pt x="2286" y="1541"/>
                  </a:lnTo>
                  <a:lnTo>
                    <a:pt x="2298" y="1529"/>
                  </a:lnTo>
                  <a:lnTo>
                    <a:pt x="2309" y="1520"/>
                  </a:lnTo>
                  <a:lnTo>
                    <a:pt x="2317" y="1515"/>
                  </a:lnTo>
                  <a:lnTo>
                    <a:pt x="2323" y="1513"/>
                  </a:lnTo>
                  <a:lnTo>
                    <a:pt x="2323" y="1513"/>
                  </a:lnTo>
                  <a:lnTo>
                    <a:pt x="2330" y="1515"/>
                  </a:lnTo>
                  <a:lnTo>
                    <a:pt x="2338" y="1515"/>
                  </a:lnTo>
                  <a:lnTo>
                    <a:pt x="2338" y="1515"/>
                  </a:lnTo>
                  <a:lnTo>
                    <a:pt x="2438" y="1515"/>
                  </a:lnTo>
                  <a:lnTo>
                    <a:pt x="2438" y="1515"/>
                  </a:lnTo>
                  <a:lnTo>
                    <a:pt x="2438" y="1507"/>
                  </a:lnTo>
                  <a:lnTo>
                    <a:pt x="2439" y="1501"/>
                  </a:lnTo>
                  <a:lnTo>
                    <a:pt x="2443" y="1500"/>
                  </a:lnTo>
                  <a:lnTo>
                    <a:pt x="2446" y="1501"/>
                  </a:lnTo>
                  <a:lnTo>
                    <a:pt x="2446" y="1501"/>
                  </a:lnTo>
                  <a:lnTo>
                    <a:pt x="2450" y="1501"/>
                  </a:lnTo>
                  <a:lnTo>
                    <a:pt x="2452" y="1500"/>
                  </a:lnTo>
                  <a:lnTo>
                    <a:pt x="2453" y="1500"/>
                  </a:lnTo>
                  <a:lnTo>
                    <a:pt x="2457" y="1500"/>
                  </a:lnTo>
                  <a:lnTo>
                    <a:pt x="2457" y="1500"/>
                  </a:lnTo>
                  <a:lnTo>
                    <a:pt x="2458" y="1501"/>
                  </a:lnTo>
                  <a:lnTo>
                    <a:pt x="2460" y="1498"/>
                  </a:lnTo>
                  <a:lnTo>
                    <a:pt x="2460" y="1496"/>
                  </a:lnTo>
                  <a:lnTo>
                    <a:pt x="2464" y="1494"/>
                  </a:lnTo>
                  <a:lnTo>
                    <a:pt x="2464" y="1494"/>
                  </a:lnTo>
                  <a:lnTo>
                    <a:pt x="2467" y="1493"/>
                  </a:lnTo>
                  <a:lnTo>
                    <a:pt x="2465" y="1491"/>
                  </a:lnTo>
                  <a:lnTo>
                    <a:pt x="2464" y="1489"/>
                  </a:lnTo>
                  <a:lnTo>
                    <a:pt x="2464" y="1487"/>
                  </a:lnTo>
                  <a:lnTo>
                    <a:pt x="2465" y="1486"/>
                  </a:lnTo>
                  <a:lnTo>
                    <a:pt x="2469" y="1482"/>
                  </a:lnTo>
                  <a:lnTo>
                    <a:pt x="2469" y="1482"/>
                  </a:lnTo>
                  <a:lnTo>
                    <a:pt x="2474" y="1477"/>
                  </a:lnTo>
                  <a:lnTo>
                    <a:pt x="2474" y="1475"/>
                  </a:lnTo>
                  <a:lnTo>
                    <a:pt x="2474" y="1473"/>
                  </a:lnTo>
                  <a:lnTo>
                    <a:pt x="2478" y="1470"/>
                  </a:lnTo>
                  <a:lnTo>
                    <a:pt x="2478" y="1470"/>
                  </a:lnTo>
                  <a:lnTo>
                    <a:pt x="2479" y="1468"/>
                  </a:lnTo>
                  <a:lnTo>
                    <a:pt x="2481" y="1465"/>
                  </a:lnTo>
                  <a:lnTo>
                    <a:pt x="2481" y="1460"/>
                  </a:lnTo>
                  <a:lnTo>
                    <a:pt x="2481" y="1453"/>
                  </a:lnTo>
                  <a:lnTo>
                    <a:pt x="2481" y="1451"/>
                  </a:lnTo>
                  <a:lnTo>
                    <a:pt x="2485" y="1447"/>
                  </a:lnTo>
                  <a:lnTo>
                    <a:pt x="2485" y="1447"/>
                  </a:lnTo>
                  <a:lnTo>
                    <a:pt x="2488" y="1442"/>
                  </a:lnTo>
                  <a:lnTo>
                    <a:pt x="2488" y="1439"/>
                  </a:lnTo>
                  <a:lnTo>
                    <a:pt x="2490" y="1433"/>
                  </a:lnTo>
                  <a:lnTo>
                    <a:pt x="2493" y="1425"/>
                  </a:lnTo>
                  <a:lnTo>
                    <a:pt x="2493" y="1425"/>
                  </a:lnTo>
                  <a:lnTo>
                    <a:pt x="2516" y="1392"/>
                  </a:lnTo>
                  <a:lnTo>
                    <a:pt x="2516" y="1392"/>
                  </a:lnTo>
                  <a:lnTo>
                    <a:pt x="2519" y="1392"/>
                  </a:lnTo>
                  <a:lnTo>
                    <a:pt x="2523" y="1393"/>
                  </a:lnTo>
                  <a:lnTo>
                    <a:pt x="2523" y="1397"/>
                  </a:lnTo>
                  <a:lnTo>
                    <a:pt x="2523" y="1397"/>
                  </a:lnTo>
                  <a:lnTo>
                    <a:pt x="2523" y="1402"/>
                  </a:lnTo>
                  <a:lnTo>
                    <a:pt x="2526" y="1404"/>
                  </a:lnTo>
                  <a:lnTo>
                    <a:pt x="2530" y="1406"/>
                  </a:lnTo>
                  <a:lnTo>
                    <a:pt x="2535" y="1404"/>
                  </a:lnTo>
                  <a:lnTo>
                    <a:pt x="2535" y="1404"/>
                  </a:lnTo>
                  <a:lnTo>
                    <a:pt x="2540" y="1400"/>
                  </a:lnTo>
                  <a:lnTo>
                    <a:pt x="2546" y="1397"/>
                  </a:lnTo>
                  <a:lnTo>
                    <a:pt x="2551" y="1397"/>
                  </a:lnTo>
                  <a:lnTo>
                    <a:pt x="2558" y="1402"/>
                  </a:lnTo>
                  <a:lnTo>
                    <a:pt x="2558" y="1402"/>
                  </a:lnTo>
                  <a:lnTo>
                    <a:pt x="2563" y="1407"/>
                  </a:lnTo>
                  <a:lnTo>
                    <a:pt x="2566" y="1411"/>
                  </a:lnTo>
                  <a:lnTo>
                    <a:pt x="2566" y="1414"/>
                  </a:lnTo>
                  <a:lnTo>
                    <a:pt x="2566" y="1421"/>
                  </a:lnTo>
                  <a:lnTo>
                    <a:pt x="2566" y="1421"/>
                  </a:lnTo>
                  <a:lnTo>
                    <a:pt x="2566" y="1470"/>
                  </a:lnTo>
                  <a:lnTo>
                    <a:pt x="2566" y="1470"/>
                  </a:lnTo>
                  <a:lnTo>
                    <a:pt x="2566" y="1477"/>
                  </a:lnTo>
                  <a:lnTo>
                    <a:pt x="2568" y="1480"/>
                  </a:lnTo>
                  <a:lnTo>
                    <a:pt x="2570" y="1480"/>
                  </a:lnTo>
                  <a:lnTo>
                    <a:pt x="2570" y="1480"/>
                  </a:lnTo>
                  <a:lnTo>
                    <a:pt x="2579" y="1482"/>
                  </a:lnTo>
                  <a:lnTo>
                    <a:pt x="2579" y="1482"/>
                  </a:lnTo>
                  <a:lnTo>
                    <a:pt x="2580" y="1484"/>
                  </a:lnTo>
                  <a:lnTo>
                    <a:pt x="2580" y="1487"/>
                  </a:lnTo>
                  <a:lnTo>
                    <a:pt x="2580" y="1494"/>
                  </a:lnTo>
                  <a:lnTo>
                    <a:pt x="2580" y="1494"/>
                  </a:lnTo>
                  <a:lnTo>
                    <a:pt x="2580" y="1498"/>
                  </a:lnTo>
                  <a:lnTo>
                    <a:pt x="2582" y="1501"/>
                  </a:lnTo>
                  <a:lnTo>
                    <a:pt x="2586" y="1503"/>
                  </a:lnTo>
                  <a:lnTo>
                    <a:pt x="2591" y="1507"/>
                  </a:lnTo>
                  <a:lnTo>
                    <a:pt x="2591" y="1507"/>
                  </a:lnTo>
                  <a:lnTo>
                    <a:pt x="2601" y="1508"/>
                  </a:lnTo>
                  <a:lnTo>
                    <a:pt x="2610" y="1510"/>
                  </a:lnTo>
                  <a:lnTo>
                    <a:pt x="2617" y="1510"/>
                  </a:lnTo>
                  <a:lnTo>
                    <a:pt x="2626" y="1508"/>
                  </a:lnTo>
                  <a:lnTo>
                    <a:pt x="2641" y="1501"/>
                  </a:lnTo>
                  <a:lnTo>
                    <a:pt x="2659" y="1491"/>
                  </a:lnTo>
                  <a:lnTo>
                    <a:pt x="2659" y="1491"/>
                  </a:lnTo>
                  <a:lnTo>
                    <a:pt x="2666" y="1487"/>
                  </a:lnTo>
                  <a:lnTo>
                    <a:pt x="2669" y="1487"/>
                  </a:lnTo>
                  <a:lnTo>
                    <a:pt x="2671" y="1487"/>
                  </a:lnTo>
                  <a:lnTo>
                    <a:pt x="2671" y="1491"/>
                  </a:lnTo>
                  <a:lnTo>
                    <a:pt x="2673" y="1493"/>
                  </a:lnTo>
                  <a:lnTo>
                    <a:pt x="2676" y="1494"/>
                  </a:lnTo>
                  <a:lnTo>
                    <a:pt x="2685" y="1496"/>
                  </a:lnTo>
                  <a:lnTo>
                    <a:pt x="2699" y="1494"/>
                  </a:lnTo>
                  <a:lnTo>
                    <a:pt x="2699" y="1494"/>
                  </a:lnTo>
                  <a:lnTo>
                    <a:pt x="2711" y="1493"/>
                  </a:lnTo>
                  <a:lnTo>
                    <a:pt x="2702" y="1498"/>
                  </a:lnTo>
                  <a:lnTo>
                    <a:pt x="2683" y="1505"/>
                  </a:lnTo>
                  <a:lnTo>
                    <a:pt x="2662" y="1513"/>
                  </a:lnTo>
                  <a:lnTo>
                    <a:pt x="2662" y="1513"/>
                  </a:lnTo>
                  <a:lnTo>
                    <a:pt x="2652" y="1520"/>
                  </a:lnTo>
                  <a:lnTo>
                    <a:pt x="2643" y="1526"/>
                  </a:lnTo>
                  <a:lnTo>
                    <a:pt x="2636" y="1533"/>
                  </a:lnTo>
                  <a:lnTo>
                    <a:pt x="2629" y="1541"/>
                  </a:lnTo>
                  <a:lnTo>
                    <a:pt x="2626" y="1550"/>
                  </a:lnTo>
                  <a:lnTo>
                    <a:pt x="2624" y="1559"/>
                  </a:lnTo>
                  <a:lnTo>
                    <a:pt x="2626" y="1569"/>
                  </a:lnTo>
                  <a:lnTo>
                    <a:pt x="2629" y="1578"/>
                  </a:lnTo>
                  <a:lnTo>
                    <a:pt x="2629" y="1578"/>
                  </a:lnTo>
                  <a:lnTo>
                    <a:pt x="2636" y="1587"/>
                  </a:lnTo>
                  <a:lnTo>
                    <a:pt x="2641" y="1590"/>
                  </a:lnTo>
                  <a:lnTo>
                    <a:pt x="2648" y="1590"/>
                  </a:lnTo>
                  <a:lnTo>
                    <a:pt x="2653" y="1588"/>
                  </a:lnTo>
                  <a:lnTo>
                    <a:pt x="2660" y="1583"/>
                  </a:lnTo>
                  <a:lnTo>
                    <a:pt x="2669" y="1576"/>
                  </a:lnTo>
                  <a:lnTo>
                    <a:pt x="2685" y="1555"/>
                  </a:lnTo>
                  <a:lnTo>
                    <a:pt x="2685" y="1555"/>
                  </a:lnTo>
                  <a:lnTo>
                    <a:pt x="2692" y="1545"/>
                  </a:lnTo>
                  <a:lnTo>
                    <a:pt x="2699" y="1541"/>
                  </a:lnTo>
                  <a:lnTo>
                    <a:pt x="2704" y="1538"/>
                  </a:lnTo>
                  <a:lnTo>
                    <a:pt x="2709" y="1538"/>
                  </a:lnTo>
                  <a:lnTo>
                    <a:pt x="2714" y="1538"/>
                  </a:lnTo>
                  <a:lnTo>
                    <a:pt x="2721" y="1538"/>
                  </a:lnTo>
                  <a:lnTo>
                    <a:pt x="2730" y="1534"/>
                  </a:lnTo>
                  <a:lnTo>
                    <a:pt x="2741" y="1529"/>
                  </a:lnTo>
                  <a:lnTo>
                    <a:pt x="2741" y="1529"/>
                  </a:lnTo>
                  <a:lnTo>
                    <a:pt x="2753" y="1522"/>
                  </a:lnTo>
                  <a:lnTo>
                    <a:pt x="2765" y="1517"/>
                  </a:lnTo>
                  <a:lnTo>
                    <a:pt x="2788" y="1510"/>
                  </a:lnTo>
                  <a:lnTo>
                    <a:pt x="2795" y="1507"/>
                  </a:lnTo>
                  <a:lnTo>
                    <a:pt x="2800" y="1505"/>
                  </a:lnTo>
                  <a:lnTo>
                    <a:pt x="2801" y="1501"/>
                  </a:lnTo>
                  <a:lnTo>
                    <a:pt x="2800" y="1498"/>
                  </a:lnTo>
                  <a:lnTo>
                    <a:pt x="2800" y="1498"/>
                  </a:lnTo>
                  <a:lnTo>
                    <a:pt x="2782" y="1480"/>
                  </a:lnTo>
                  <a:lnTo>
                    <a:pt x="2777" y="1477"/>
                  </a:lnTo>
                  <a:lnTo>
                    <a:pt x="2774" y="1477"/>
                  </a:lnTo>
                  <a:lnTo>
                    <a:pt x="2768" y="1477"/>
                  </a:lnTo>
                  <a:lnTo>
                    <a:pt x="2763" y="1479"/>
                  </a:lnTo>
                  <a:lnTo>
                    <a:pt x="2763" y="1479"/>
                  </a:lnTo>
                  <a:lnTo>
                    <a:pt x="2758" y="1480"/>
                  </a:lnTo>
                  <a:lnTo>
                    <a:pt x="2749" y="1480"/>
                  </a:lnTo>
                  <a:lnTo>
                    <a:pt x="2739" y="1479"/>
                  </a:lnTo>
                  <a:lnTo>
                    <a:pt x="2728" y="1477"/>
                  </a:lnTo>
                  <a:lnTo>
                    <a:pt x="2718" y="1473"/>
                  </a:lnTo>
                  <a:lnTo>
                    <a:pt x="2711" y="1470"/>
                  </a:lnTo>
                  <a:lnTo>
                    <a:pt x="2706" y="1466"/>
                  </a:lnTo>
                  <a:lnTo>
                    <a:pt x="2704" y="1465"/>
                  </a:lnTo>
                  <a:lnTo>
                    <a:pt x="2706" y="1463"/>
                  </a:lnTo>
                  <a:lnTo>
                    <a:pt x="2706" y="1463"/>
                  </a:lnTo>
                  <a:lnTo>
                    <a:pt x="2706" y="1460"/>
                  </a:lnTo>
                  <a:lnTo>
                    <a:pt x="2704" y="1458"/>
                  </a:lnTo>
                  <a:lnTo>
                    <a:pt x="2695" y="1456"/>
                  </a:lnTo>
                  <a:lnTo>
                    <a:pt x="2690" y="1453"/>
                  </a:lnTo>
                  <a:lnTo>
                    <a:pt x="2683" y="1447"/>
                  </a:lnTo>
                  <a:lnTo>
                    <a:pt x="2678" y="1440"/>
                  </a:lnTo>
                  <a:lnTo>
                    <a:pt x="2673" y="1428"/>
                  </a:lnTo>
                  <a:lnTo>
                    <a:pt x="2673" y="1428"/>
                  </a:lnTo>
                  <a:lnTo>
                    <a:pt x="2669" y="1414"/>
                  </a:lnTo>
                  <a:lnTo>
                    <a:pt x="2669" y="1402"/>
                  </a:lnTo>
                  <a:lnTo>
                    <a:pt x="2671" y="1392"/>
                  </a:lnTo>
                  <a:lnTo>
                    <a:pt x="2673" y="1383"/>
                  </a:lnTo>
                  <a:lnTo>
                    <a:pt x="2674" y="1376"/>
                  </a:lnTo>
                  <a:lnTo>
                    <a:pt x="2674" y="1372"/>
                  </a:lnTo>
                  <a:lnTo>
                    <a:pt x="2671" y="1371"/>
                  </a:lnTo>
                  <a:lnTo>
                    <a:pt x="2662" y="1371"/>
                  </a:lnTo>
                  <a:lnTo>
                    <a:pt x="2662" y="1371"/>
                  </a:lnTo>
                  <a:lnTo>
                    <a:pt x="2650" y="1374"/>
                  </a:lnTo>
                  <a:lnTo>
                    <a:pt x="2643" y="1374"/>
                  </a:lnTo>
                  <a:lnTo>
                    <a:pt x="2641" y="1374"/>
                  </a:lnTo>
                  <a:lnTo>
                    <a:pt x="2643" y="1371"/>
                  </a:lnTo>
                  <a:lnTo>
                    <a:pt x="2657" y="1362"/>
                  </a:lnTo>
                  <a:lnTo>
                    <a:pt x="2676" y="1348"/>
                  </a:lnTo>
                  <a:lnTo>
                    <a:pt x="2676" y="1348"/>
                  </a:lnTo>
                  <a:lnTo>
                    <a:pt x="2690" y="1339"/>
                  </a:lnTo>
                  <a:lnTo>
                    <a:pt x="2694" y="1334"/>
                  </a:lnTo>
                  <a:lnTo>
                    <a:pt x="2694" y="1329"/>
                  </a:lnTo>
                  <a:lnTo>
                    <a:pt x="2694" y="1324"/>
                  </a:lnTo>
                  <a:lnTo>
                    <a:pt x="2690" y="1318"/>
                  </a:lnTo>
                  <a:lnTo>
                    <a:pt x="2685" y="1313"/>
                  </a:lnTo>
                  <a:lnTo>
                    <a:pt x="2678" y="1306"/>
                  </a:lnTo>
                  <a:lnTo>
                    <a:pt x="2678" y="1306"/>
                  </a:lnTo>
                  <a:lnTo>
                    <a:pt x="2673" y="1305"/>
                  </a:lnTo>
                  <a:lnTo>
                    <a:pt x="2666" y="1303"/>
                  </a:lnTo>
                  <a:lnTo>
                    <a:pt x="2657" y="1301"/>
                  </a:lnTo>
                  <a:lnTo>
                    <a:pt x="2647" y="1303"/>
                  </a:lnTo>
                  <a:lnTo>
                    <a:pt x="2622" y="1306"/>
                  </a:lnTo>
                  <a:lnTo>
                    <a:pt x="2598" y="1313"/>
                  </a:lnTo>
                  <a:lnTo>
                    <a:pt x="2573" y="1322"/>
                  </a:lnTo>
                  <a:lnTo>
                    <a:pt x="2549" y="1334"/>
                  </a:lnTo>
                  <a:lnTo>
                    <a:pt x="2530" y="1346"/>
                  </a:lnTo>
                  <a:lnTo>
                    <a:pt x="2523" y="1352"/>
                  </a:lnTo>
                  <a:lnTo>
                    <a:pt x="2518" y="1359"/>
                  </a:lnTo>
                  <a:lnTo>
                    <a:pt x="2518" y="1359"/>
                  </a:lnTo>
                  <a:lnTo>
                    <a:pt x="2502" y="1378"/>
                  </a:lnTo>
                  <a:lnTo>
                    <a:pt x="2488" y="1395"/>
                  </a:lnTo>
                  <a:lnTo>
                    <a:pt x="2476" y="1407"/>
                  </a:lnTo>
                  <a:lnTo>
                    <a:pt x="2465" y="1416"/>
                  </a:lnTo>
                  <a:lnTo>
                    <a:pt x="2458" y="1421"/>
                  </a:lnTo>
                  <a:lnTo>
                    <a:pt x="2453" y="1425"/>
                  </a:lnTo>
                  <a:lnTo>
                    <a:pt x="2453" y="1423"/>
                  </a:lnTo>
                  <a:lnTo>
                    <a:pt x="2453" y="1423"/>
                  </a:lnTo>
                  <a:lnTo>
                    <a:pt x="2458" y="1418"/>
                  </a:lnTo>
                  <a:lnTo>
                    <a:pt x="2458" y="1418"/>
                  </a:lnTo>
                  <a:lnTo>
                    <a:pt x="2469" y="1407"/>
                  </a:lnTo>
                  <a:lnTo>
                    <a:pt x="2478" y="1392"/>
                  </a:lnTo>
                  <a:lnTo>
                    <a:pt x="2502" y="1359"/>
                  </a:lnTo>
                  <a:lnTo>
                    <a:pt x="2514" y="1341"/>
                  </a:lnTo>
                  <a:lnTo>
                    <a:pt x="2528" y="1325"/>
                  </a:lnTo>
                  <a:lnTo>
                    <a:pt x="2544" y="1313"/>
                  </a:lnTo>
                  <a:lnTo>
                    <a:pt x="2551" y="1310"/>
                  </a:lnTo>
                  <a:lnTo>
                    <a:pt x="2559" y="1306"/>
                  </a:lnTo>
                  <a:lnTo>
                    <a:pt x="2559" y="1306"/>
                  </a:lnTo>
                  <a:lnTo>
                    <a:pt x="2570" y="1301"/>
                  </a:lnTo>
                  <a:lnTo>
                    <a:pt x="2577" y="1298"/>
                  </a:lnTo>
                  <a:lnTo>
                    <a:pt x="2582" y="1294"/>
                  </a:lnTo>
                  <a:lnTo>
                    <a:pt x="2586" y="1291"/>
                  </a:lnTo>
                  <a:lnTo>
                    <a:pt x="2591" y="1282"/>
                  </a:lnTo>
                  <a:lnTo>
                    <a:pt x="2593" y="1275"/>
                  </a:lnTo>
                  <a:lnTo>
                    <a:pt x="2596" y="1266"/>
                  </a:lnTo>
                  <a:lnTo>
                    <a:pt x="2600" y="1263"/>
                  </a:lnTo>
                  <a:lnTo>
                    <a:pt x="2605" y="1259"/>
                  </a:lnTo>
                  <a:lnTo>
                    <a:pt x="2612" y="1256"/>
                  </a:lnTo>
                  <a:lnTo>
                    <a:pt x="2622" y="1254"/>
                  </a:lnTo>
                  <a:lnTo>
                    <a:pt x="2652" y="1247"/>
                  </a:lnTo>
                  <a:lnTo>
                    <a:pt x="2652" y="1247"/>
                  </a:lnTo>
                  <a:lnTo>
                    <a:pt x="2673" y="1245"/>
                  </a:lnTo>
                  <a:lnTo>
                    <a:pt x="2692" y="1244"/>
                  </a:lnTo>
                  <a:lnTo>
                    <a:pt x="2709" y="1244"/>
                  </a:lnTo>
                  <a:lnTo>
                    <a:pt x="2725" y="1245"/>
                  </a:lnTo>
                  <a:lnTo>
                    <a:pt x="2753" y="1251"/>
                  </a:lnTo>
                  <a:lnTo>
                    <a:pt x="2777" y="1256"/>
                  </a:lnTo>
                  <a:lnTo>
                    <a:pt x="2798" y="1258"/>
                  </a:lnTo>
                  <a:lnTo>
                    <a:pt x="2808" y="1258"/>
                  </a:lnTo>
                  <a:lnTo>
                    <a:pt x="2821" y="1256"/>
                  </a:lnTo>
                  <a:lnTo>
                    <a:pt x="2831" y="1251"/>
                  </a:lnTo>
                  <a:lnTo>
                    <a:pt x="2843" y="1245"/>
                  </a:lnTo>
                  <a:lnTo>
                    <a:pt x="2855" y="1237"/>
                  </a:lnTo>
                  <a:lnTo>
                    <a:pt x="2869" y="1224"/>
                  </a:lnTo>
                  <a:lnTo>
                    <a:pt x="2869" y="1224"/>
                  </a:lnTo>
                  <a:lnTo>
                    <a:pt x="2894" y="1202"/>
                  </a:lnTo>
                  <a:lnTo>
                    <a:pt x="2911" y="1191"/>
                  </a:lnTo>
                  <a:lnTo>
                    <a:pt x="2923" y="1186"/>
                  </a:lnTo>
                  <a:lnTo>
                    <a:pt x="2932" y="1186"/>
                  </a:lnTo>
                  <a:lnTo>
                    <a:pt x="2943" y="1190"/>
                  </a:lnTo>
                  <a:lnTo>
                    <a:pt x="2948" y="1190"/>
                  </a:lnTo>
                  <a:lnTo>
                    <a:pt x="2955" y="1183"/>
                  </a:lnTo>
                  <a:lnTo>
                    <a:pt x="2955" y="1183"/>
                  </a:lnTo>
                  <a:lnTo>
                    <a:pt x="2962" y="1174"/>
                  </a:lnTo>
                  <a:lnTo>
                    <a:pt x="2970" y="1167"/>
                  </a:lnTo>
                  <a:lnTo>
                    <a:pt x="2984" y="1157"/>
                  </a:lnTo>
                  <a:lnTo>
                    <a:pt x="2990" y="1151"/>
                  </a:lnTo>
                  <a:lnTo>
                    <a:pt x="2993" y="1146"/>
                  </a:lnTo>
                  <a:lnTo>
                    <a:pt x="2993" y="1137"/>
                  </a:lnTo>
                  <a:lnTo>
                    <a:pt x="2988" y="1127"/>
                  </a:lnTo>
                  <a:lnTo>
                    <a:pt x="2988" y="1127"/>
                  </a:lnTo>
                  <a:lnTo>
                    <a:pt x="2984" y="1118"/>
                  </a:lnTo>
                  <a:lnTo>
                    <a:pt x="2984" y="1113"/>
                  </a:lnTo>
                  <a:lnTo>
                    <a:pt x="2986" y="1110"/>
                  </a:lnTo>
                  <a:lnTo>
                    <a:pt x="2988" y="1106"/>
                  </a:lnTo>
                  <a:lnTo>
                    <a:pt x="2990" y="1104"/>
                  </a:lnTo>
                  <a:lnTo>
                    <a:pt x="2991" y="1101"/>
                  </a:lnTo>
                  <a:lnTo>
                    <a:pt x="2991" y="1096"/>
                  </a:lnTo>
                  <a:lnTo>
                    <a:pt x="2988" y="1087"/>
                  </a:lnTo>
                  <a:lnTo>
                    <a:pt x="2988" y="1087"/>
                  </a:lnTo>
                  <a:lnTo>
                    <a:pt x="2983" y="1078"/>
                  </a:lnTo>
                  <a:lnTo>
                    <a:pt x="2977" y="1075"/>
                  </a:lnTo>
                  <a:lnTo>
                    <a:pt x="2970" y="1071"/>
                  </a:lnTo>
                  <a:lnTo>
                    <a:pt x="2965" y="1071"/>
                  </a:lnTo>
                  <a:lnTo>
                    <a:pt x="2958" y="1071"/>
                  </a:lnTo>
                  <a:lnTo>
                    <a:pt x="2951" y="1070"/>
                  </a:lnTo>
                  <a:lnTo>
                    <a:pt x="2944" y="1064"/>
                  </a:lnTo>
                  <a:lnTo>
                    <a:pt x="2937" y="1057"/>
                  </a:lnTo>
                  <a:lnTo>
                    <a:pt x="2937" y="1057"/>
                  </a:lnTo>
                  <a:lnTo>
                    <a:pt x="2929" y="1049"/>
                  </a:lnTo>
                  <a:lnTo>
                    <a:pt x="2922" y="1043"/>
                  </a:lnTo>
                  <a:lnTo>
                    <a:pt x="2913" y="1043"/>
                  </a:lnTo>
                  <a:lnTo>
                    <a:pt x="2906" y="1045"/>
                  </a:lnTo>
                  <a:lnTo>
                    <a:pt x="2897" y="1049"/>
                  </a:lnTo>
                  <a:lnTo>
                    <a:pt x="2887" y="1056"/>
                  </a:lnTo>
                  <a:lnTo>
                    <a:pt x="2862" y="1073"/>
                  </a:lnTo>
                  <a:lnTo>
                    <a:pt x="2862" y="1073"/>
                  </a:lnTo>
                  <a:lnTo>
                    <a:pt x="2849" y="1082"/>
                  </a:lnTo>
                  <a:lnTo>
                    <a:pt x="2840" y="1085"/>
                  </a:lnTo>
                  <a:lnTo>
                    <a:pt x="2835" y="1085"/>
                  </a:lnTo>
                  <a:lnTo>
                    <a:pt x="2831" y="1082"/>
                  </a:lnTo>
                  <a:lnTo>
                    <a:pt x="2831" y="1076"/>
                  </a:lnTo>
                  <a:lnTo>
                    <a:pt x="2835" y="1071"/>
                  </a:lnTo>
                  <a:lnTo>
                    <a:pt x="2842" y="1066"/>
                  </a:lnTo>
                  <a:lnTo>
                    <a:pt x="2852" y="1063"/>
                  </a:lnTo>
                  <a:lnTo>
                    <a:pt x="2852" y="1063"/>
                  </a:lnTo>
                  <a:lnTo>
                    <a:pt x="2861" y="1059"/>
                  </a:lnTo>
                  <a:lnTo>
                    <a:pt x="2869" y="1056"/>
                  </a:lnTo>
                  <a:lnTo>
                    <a:pt x="2882" y="1049"/>
                  </a:lnTo>
                  <a:lnTo>
                    <a:pt x="2894" y="1042"/>
                  </a:lnTo>
                  <a:lnTo>
                    <a:pt x="2902" y="1038"/>
                  </a:lnTo>
                  <a:lnTo>
                    <a:pt x="2915" y="1036"/>
                  </a:lnTo>
                  <a:lnTo>
                    <a:pt x="2915" y="1036"/>
                  </a:lnTo>
                  <a:lnTo>
                    <a:pt x="2925" y="1033"/>
                  </a:lnTo>
                  <a:lnTo>
                    <a:pt x="2930" y="1029"/>
                  </a:lnTo>
                  <a:lnTo>
                    <a:pt x="2932" y="1026"/>
                  </a:lnTo>
                  <a:lnTo>
                    <a:pt x="2930" y="1023"/>
                  </a:lnTo>
                  <a:lnTo>
                    <a:pt x="2927" y="1017"/>
                  </a:lnTo>
                  <a:lnTo>
                    <a:pt x="2918" y="1014"/>
                  </a:lnTo>
                  <a:lnTo>
                    <a:pt x="2909" y="1012"/>
                  </a:lnTo>
                  <a:lnTo>
                    <a:pt x="2897" y="1010"/>
                  </a:lnTo>
                  <a:lnTo>
                    <a:pt x="2897" y="1010"/>
                  </a:lnTo>
                  <a:lnTo>
                    <a:pt x="2889" y="1007"/>
                  </a:lnTo>
                  <a:lnTo>
                    <a:pt x="2882" y="1005"/>
                  </a:lnTo>
                  <a:lnTo>
                    <a:pt x="2880" y="1002"/>
                  </a:lnTo>
                  <a:lnTo>
                    <a:pt x="2878" y="998"/>
                  </a:lnTo>
                  <a:lnTo>
                    <a:pt x="2875" y="995"/>
                  </a:lnTo>
                  <a:lnTo>
                    <a:pt x="2871" y="991"/>
                  </a:lnTo>
                  <a:lnTo>
                    <a:pt x="2864" y="988"/>
                  </a:lnTo>
                  <a:lnTo>
                    <a:pt x="2850" y="986"/>
                  </a:lnTo>
                  <a:lnTo>
                    <a:pt x="2850" y="986"/>
                  </a:lnTo>
                  <a:lnTo>
                    <a:pt x="2838" y="984"/>
                  </a:lnTo>
                  <a:lnTo>
                    <a:pt x="2831" y="981"/>
                  </a:lnTo>
                  <a:lnTo>
                    <a:pt x="2829" y="977"/>
                  </a:lnTo>
                  <a:lnTo>
                    <a:pt x="2829" y="972"/>
                  </a:lnTo>
                  <a:lnTo>
                    <a:pt x="2829" y="969"/>
                  </a:lnTo>
                  <a:lnTo>
                    <a:pt x="2828" y="963"/>
                  </a:lnTo>
                  <a:lnTo>
                    <a:pt x="2824" y="958"/>
                  </a:lnTo>
                  <a:lnTo>
                    <a:pt x="2817" y="955"/>
                  </a:lnTo>
                  <a:lnTo>
                    <a:pt x="2817" y="955"/>
                  </a:lnTo>
                  <a:lnTo>
                    <a:pt x="2807" y="949"/>
                  </a:lnTo>
                  <a:lnTo>
                    <a:pt x="2798" y="944"/>
                  </a:lnTo>
                  <a:lnTo>
                    <a:pt x="2791" y="939"/>
                  </a:lnTo>
                  <a:lnTo>
                    <a:pt x="2786" y="932"/>
                  </a:lnTo>
                  <a:lnTo>
                    <a:pt x="2784" y="925"/>
                  </a:lnTo>
                  <a:lnTo>
                    <a:pt x="2782" y="916"/>
                  </a:lnTo>
                  <a:lnTo>
                    <a:pt x="2786" y="908"/>
                  </a:lnTo>
                  <a:lnTo>
                    <a:pt x="2789" y="897"/>
                  </a:lnTo>
                  <a:lnTo>
                    <a:pt x="2789" y="897"/>
                  </a:lnTo>
                  <a:lnTo>
                    <a:pt x="2793" y="892"/>
                  </a:lnTo>
                  <a:lnTo>
                    <a:pt x="2793" y="887"/>
                  </a:lnTo>
                  <a:lnTo>
                    <a:pt x="2793" y="883"/>
                  </a:lnTo>
                  <a:lnTo>
                    <a:pt x="2791" y="881"/>
                  </a:lnTo>
                  <a:lnTo>
                    <a:pt x="2786" y="876"/>
                  </a:lnTo>
                  <a:lnTo>
                    <a:pt x="2779" y="875"/>
                  </a:lnTo>
                  <a:lnTo>
                    <a:pt x="2772" y="873"/>
                  </a:lnTo>
                  <a:lnTo>
                    <a:pt x="2767" y="869"/>
                  </a:lnTo>
                  <a:lnTo>
                    <a:pt x="2765" y="868"/>
                  </a:lnTo>
                  <a:lnTo>
                    <a:pt x="2765" y="864"/>
                  </a:lnTo>
                  <a:lnTo>
                    <a:pt x="2765" y="862"/>
                  </a:lnTo>
                  <a:lnTo>
                    <a:pt x="2768" y="859"/>
                  </a:lnTo>
                  <a:lnTo>
                    <a:pt x="2768" y="859"/>
                  </a:lnTo>
                  <a:lnTo>
                    <a:pt x="2772" y="850"/>
                  </a:lnTo>
                  <a:lnTo>
                    <a:pt x="2772" y="845"/>
                  </a:lnTo>
                  <a:lnTo>
                    <a:pt x="2768" y="840"/>
                  </a:lnTo>
                  <a:lnTo>
                    <a:pt x="2765" y="836"/>
                  </a:lnTo>
                  <a:lnTo>
                    <a:pt x="2758" y="831"/>
                  </a:lnTo>
                  <a:lnTo>
                    <a:pt x="2753" y="826"/>
                  </a:lnTo>
                  <a:lnTo>
                    <a:pt x="2749" y="817"/>
                  </a:lnTo>
                  <a:lnTo>
                    <a:pt x="2746" y="808"/>
                  </a:lnTo>
                  <a:lnTo>
                    <a:pt x="2746" y="808"/>
                  </a:lnTo>
                  <a:lnTo>
                    <a:pt x="2742" y="793"/>
                  </a:lnTo>
                  <a:lnTo>
                    <a:pt x="2741" y="791"/>
                  </a:lnTo>
                  <a:lnTo>
                    <a:pt x="2739" y="789"/>
                  </a:lnTo>
                  <a:lnTo>
                    <a:pt x="2734" y="786"/>
                  </a:lnTo>
                  <a:lnTo>
                    <a:pt x="2732" y="782"/>
                  </a:lnTo>
                  <a:lnTo>
                    <a:pt x="2730" y="775"/>
                  </a:lnTo>
                  <a:lnTo>
                    <a:pt x="2730" y="775"/>
                  </a:lnTo>
                  <a:lnTo>
                    <a:pt x="2727" y="768"/>
                  </a:lnTo>
                  <a:lnTo>
                    <a:pt x="2725" y="765"/>
                  </a:lnTo>
                  <a:lnTo>
                    <a:pt x="2718" y="758"/>
                  </a:lnTo>
                  <a:lnTo>
                    <a:pt x="2713" y="754"/>
                  </a:lnTo>
                  <a:lnTo>
                    <a:pt x="2707" y="749"/>
                  </a:lnTo>
                  <a:lnTo>
                    <a:pt x="2702" y="742"/>
                  </a:lnTo>
                  <a:lnTo>
                    <a:pt x="2695" y="730"/>
                  </a:lnTo>
                  <a:lnTo>
                    <a:pt x="2695" y="730"/>
                  </a:lnTo>
                  <a:lnTo>
                    <a:pt x="2690" y="718"/>
                  </a:lnTo>
                  <a:lnTo>
                    <a:pt x="2685" y="711"/>
                  </a:lnTo>
                  <a:lnTo>
                    <a:pt x="2680" y="707"/>
                  </a:lnTo>
                  <a:lnTo>
                    <a:pt x="2676" y="707"/>
                  </a:lnTo>
                  <a:lnTo>
                    <a:pt x="2671" y="709"/>
                  </a:lnTo>
                  <a:lnTo>
                    <a:pt x="2667" y="714"/>
                  </a:lnTo>
                  <a:lnTo>
                    <a:pt x="2655" y="728"/>
                  </a:lnTo>
                  <a:lnTo>
                    <a:pt x="2655" y="728"/>
                  </a:lnTo>
                  <a:lnTo>
                    <a:pt x="2648" y="739"/>
                  </a:lnTo>
                  <a:lnTo>
                    <a:pt x="2645" y="749"/>
                  </a:lnTo>
                  <a:lnTo>
                    <a:pt x="2641" y="770"/>
                  </a:lnTo>
                  <a:lnTo>
                    <a:pt x="2640" y="779"/>
                  </a:lnTo>
                  <a:lnTo>
                    <a:pt x="2634" y="786"/>
                  </a:lnTo>
                  <a:lnTo>
                    <a:pt x="2633" y="789"/>
                  </a:lnTo>
                  <a:lnTo>
                    <a:pt x="2629" y="789"/>
                  </a:lnTo>
                  <a:lnTo>
                    <a:pt x="2626" y="789"/>
                  </a:lnTo>
                  <a:lnTo>
                    <a:pt x="2620" y="789"/>
                  </a:lnTo>
                  <a:lnTo>
                    <a:pt x="2620" y="789"/>
                  </a:lnTo>
                  <a:lnTo>
                    <a:pt x="2612" y="787"/>
                  </a:lnTo>
                  <a:lnTo>
                    <a:pt x="2608" y="787"/>
                  </a:lnTo>
                  <a:lnTo>
                    <a:pt x="2606" y="791"/>
                  </a:lnTo>
                  <a:lnTo>
                    <a:pt x="2606" y="794"/>
                  </a:lnTo>
                  <a:lnTo>
                    <a:pt x="2606" y="798"/>
                  </a:lnTo>
                  <a:lnTo>
                    <a:pt x="2603" y="803"/>
                  </a:lnTo>
                  <a:lnTo>
                    <a:pt x="2598" y="808"/>
                  </a:lnTo>
                  <a:lnTo>
                    <a:pt x="2587" y="814"/>
                  </a:lnTo>
                  <a:lnTo>
                    <a:pt x="2587" y="814"/>
                  </a:lnTo>
                  <a:lnTo>
                    <a:pt x="2575" y="815"/>
                  </a:lnTo>
                  <a:lnTo>
                    <a:pt x="2566" y="814"/>
                  </a:lnTo>
                  <a:lnTo>
                    <a:pt x="2559" y="808"/>
                  </a:lnTo>
                  <a:lnTo>
                    <a:pt x="2554" y="803"/>
                  </a:lnTo>
                  <a:lnTo>
                    <a:pt x="2549" y="796"/>
                  </a:lnTo>
                  <a:lnTo>
                    <a:pt x="2544" y="789"/>
                  </a:lnTo>
                  <a:lnTo>
                    <a:pt x="2535" y="786"/>
                  </a:lnTo>
                  <a:lnTo>
                    <a:pt x="2523" y="784"/>
                  </a:lnTo>
                  <a:lnTo>
                    <a:pt x="2523" y="784"/>
                  </a:lnTo>
                  <a:lnTo>
                    <a:pt x="2514" y="784"/>
                  </a:lnTo>
                  <a:lnTo>
                    <a:pt x="2509" y="782"/>
                  </a:lnTo>
                  <a:lnTo>
                    <a:pt x="2507" y="780"/>
                  </a:lnTo>
                  <a:lnTo>
                    <a:pt x="2509" y="777"/>
                  </a:lnTo>
                  <a:lnTo>
                    <a:pt x="2511" y="774"/>
                  </a:lnTo>
                  <a:lnTo>
                    <a:pt x="2512" y="770"/>
                  </a:lnTo>
                  <a:lnTo>
                    <a:pt x="2511" y="765"/>
                  </a:lnTo>
                  <a:lnTo>
                    <a:pt x="2507" y="761"/>
                  </a:lnTo>
                  <a:lnTo>
                    <a:pt x="2507" y="761"/>
                  </a:lnTo>
                  <a:lnTo>
                    <a:pt x="2500" y="758"/>
                  </a:lnTo>
                  <a:lnTo>
                    <a:pt x="2499" y="754"/>
                  </a:lnTo>
                  <a:lnTo>
                    <a:pt x="2500" y="751"/>
                  </a:lnTo>
                  <a:lnTo>
                    <a:pt x="2502" y="747"/>
                  </a:lnTo>
                  <a:lnTo>
                    <a:pt x="2504" y="744"/>
                  </a:lnTo>
                  <a:lnTo>
                    <a:pt x="2505" y="740"/>
                  </a:lnTo>
                  <a:lnTo>
                    <a:pt x="2505" y="735"/>
                  </a:lnTo>
                  <a:lnTo>
                    <a:pt x="2502" y="727"/>
                  </a:lnTo>
                  <a:lnTo>
                    <a:pt x="2502" y="727"/>
                  </a:lnTo>
                  <a:lnTo>
                    <a:pt x="2499" y="718"/>
                  </a:lnTo>
                  <a:lnTo>
                    <a:pt x="2499" y="707"/>
                  </a:lnTo>
                  <a:lnTo>
                    <a:pt x="2500" y="699"/>
                  </a:lnTo>
                  <a:lnTo>
                    <a:pt x="2504" y="690"/>
                  </a:lnTo>
                  <a:lnTo>
                    <a:pt x="2511" y="676"/>
                  </a:lnTo>
                  <a:lnTo>
                    <a:pt x="2512" y="669"/>
                  </a:lnTo>
                  <a:lnTo>
                    <a:pt x="2511" y="664"/>
                  </a:lnTo>
                  <a:lnTo>
                    <a:pt x="2511" y="664"/>
                  </a:lnTo>
                  <a:lnTo>
                    <a:pt x="2505" y="660"/>
                  </a:lnTo>
                  <a:lnTo>
                    <a:pt x="2502" y="660"/>
                  </a:lnTo>
                  <a:lnTo>
                    <a:pt x="2500" y="662"/>
                  </a:lnTo>
                  <a:lnTo>
                    <a:pt x="2497" y="666"/>
                  </a:lnTo>
                  <a:lnTo>
                    <a:pt x="2493" y="671"/>
                  </a:lnTo>
                  <a:lnTo>
                    <a:pt x="2492" y="673"/>
                  </a:lnTo>
                  <a:lnTo>
                    <a:pt x="2490" y="669"/>
                  </a:lnTo>
                  <a:lnTo>
                    <a:pt x="2490" y="669"/>
                  </a:lnTo>
                  <a:lnTo>
                    <a:pt x="2486" y="666"/>
                  </a:lnTo>
                  <a:lnTo>
                    <a:pt x="2478" y="664"/>
                  </a:lnTo>
                  <a:lnTo>
                    <a:pt x="2458" y="659"/>
                  </a:lnTo>
                  <a:lnTo>
                    <a:pt x="2450" y="655"/>
                  </a:lnTo>
                  <a:lnTo>
                    <a:pt x="2441" y="652"/>
                  </a:lnTo>
                  <a:lnTo>
                    <a:pt x="2436" y="646"/>
                  </a:lnTo>
                  <a:lnTo>
                    <a:pt x="2434" y="645"/>
                  </a:lnTo>
                  <a:lnTo>
                    <a:pt x="2434" y="641"/>
                  </a:lnTo>
                  <a:lnTo>
                    <a:pt x="2434" y="641"/>
                  </a:lnTo>
                  <a:lnTo>
                    <a:pt x="2434" y="634"/>
                  </a:lnTo>
                  <a:lnTo>
                    <a:pt x="2432" y="629"/>
                  </a:lnTo>
                  <a:lnTo>
                    <a:pt x="2427" y="624"/>
                  </a:lnTo>
                  <a:lnTo>
                    <a:pt x="2420" y="619"/>
                  </a:lnTo>
                  <a:lnTo>
                    <a:pt x="2382" y="592"/>
                  </a:lnTo>
                  <a:lnTo>
                    <a:pt x="2382" y="592"/>
                  </a:lnTo>
                  <a:lnTo>
                    <a:pt x="2366" y="582"/>
                  </a:lnTo>
                  <a:lnTo>
                    <a:pt x="2359" y="580"/>
                  </a:lnTo>
                  <a:lnTo>
                    <a:pt x="2356" y="580"/>
                  </a:lnTo>
                  <a:lnTo>
                    <a:pt x="2352" y="582"/>
                  </a:lnTo>
                  <a:lnTo>
                    <a:pt x="2349" y="584"/>
                  </a:lnTo>
                  <a:lnTo>
                    <a:pt x="2342" y="589"/>
                  </a:lnTo>
                  <a:lnTo>
                    <a:pt x="2337" y="592"/>
                  </a:lnTo>
                  <a:lnTo>
                    <a:pt x="2331" y="594"/>
                  </a:lnTo>
                  <a:lnTo>
                    <a:pt x="2324" y="596"/>
                  </a:lnTo>
                  <a:lnTo>
                    <a:pt x="2316" y="596"/>
                  </a:lnTo>
                  <a:lnTo>
                    <a:pt x="2304" y="596"/>
                  </a:lnTo>
                  <a:lnTo>
                    <a:pt x="2290" y="592"/>
                  </a:lnTo>
                  <a:lnTo>
                    <a:pt x="2272" y="587"/>
                  </a:lnTo>
                  <a:lnTo>
                    <a:pt x="2251" y="579"/>
                  </a:lnTo>
                  <a:lnTo>
                    <a:pt x="2251" y="579"/>
                  </a:lnTo>
                  <a:lnTo>
                    <a:pt x="2243" y="575"/>
                  </a:lnTo>
                  <a:lnTo>
                    <a:pt x="2234" y="575"/>
                  </a:lnTo>
                  <a:lnTo>
                    <a:pt x="2227" y="575"/>
                  </a:lnTo>
                  <a:lnTo>
                    <a:pt x="2222" y="575"/>
                  </a:lnTo>
                  <a:lnTo>
                    <a:pt x="2216" y="579"/>
                  </a:lnTo>
                  <a:lnTo>
                    <a:pt x="2213" y="582"/>
                  </a:lnTo>
                  <a:lnTo>
                    <a:pt x="2208" y="589"/>
                  </a:lnTo>
                  <a:lnTo>
                    <a:pt x="2204" y="599"/>
                  </a:lnTo>
                  <a:lnTo>
                    <a:pt x="2206" y="610"/>
                  </a:lnTo>
                  <a:lnTo>
                    <a:pt x="2208" y="620"/>
                  </a:lnTo>
                  <a:lnTo>
                    <a:pt x="2211" y="626"/>
                  </a:lnTo>
                  <a:lnTo>
                    <a:pt x="2211" y="626"/>
                  </a:lnTo>
                  <a:lnTo>
                    <a:pt x="2215" y="631"/>
                  </a:lnTo>
                  <a:lnTo>
                    <a:pt x="2216" y="638"/>
                  </a:lnTo>
                  <a:lnTo>
                    <a:pt x="2218" y="643"/>
                  </a:lnTo>
                  <a:lnTo>
                    <a:pt x="2218" y="650"/>
                  </a:lnTo>
                  <a:lnTo>
                    <a:pt x="2215" y="662"/>
                  </a:lnTo>
                  <a:lnTo>
                    <a:pt x="2208" y="673"/>
                  </a:lnTo>
                  <a:lnTo>
                    <a:pt x="2208" y="673"/>
                  </a:lnTo>
                  <a:lnTo>
                    <a:pt x="2206" y="676"/>
                  </a:lnTo>
                  <a:lnTo>
                    <a:pt x="2204" y="680"/>
                  </a:lnTo>
                  <a:lnTo>
                    <a:pt x="2206" y="681"/>
                  </a:lnTo>
                  <a:lnTo>
                    <a:pt x="2208" y="683"/>
                  </a:lnTo>
                  <a:lnTo>
                    <a:pt x="2215" y="692"/>
                  </a:lnTo>
                  <a:lnTo>
                    <a:pt x="2220" y="699"/>
                  </a:lnTo>
                  <a:lnTo>
                    <a:pt x="2223" y="707"/>
                  </a:lnTo>
                  <a:lnTo>
                    <a:pt x="2223" y="707"/>
                  </a:lnTo>
                  <a:lnTo>
                    <a:pt x="2227" y="718"/>
                  </a:lnTo>
                  <a:lnTo>
                    <a:pt x="2229" y="725"/>
                  </a:lnTo>
                  <a:lnTo>
                    <a:pt x="2229" y="730"/>
                  </a:lnTo>
                  <a:lnTo>
                    <a:pt x="2227" y="735"/>
                  </a:lnTo>
                  <a:lnTo>
                    <a:pt x="2222" y="744"/>
                  </a:lnTo>
                  <a:lnTo>
                    <a:pt x="2216" y="756"/>
                  </a:lnTo>
                  <a:lnTo>
                    <a:pt x="2216" y="756"/>
                  </a:lnTo>
                  <a:lnTo>
                    <a:pt x="2215" y="763"/>
                  </a:lnTo>
                  <a:lnTo>
                    <a:pt x="2211" y="768"/>
                  </a:lnTo>
                  <a:lnTo>
                    <a:pt x="2203" y="774"/>
                  </a:lnTo>
                  <a:lnTo>
                    <a:pt x="2199" y="775"/>
                  </a:lnTo>
                  <a:lnTo>
                    <a:pt x="2196" y="779"/>
                  </a:lnTo>
                  <a:lnTo>
                    <a:pt x="2194" y="784"/>
                  </a:lnTo>
                  <a:lnTo>
                    <a:pt x="2192" y="793"/>
                  </a:lnTo>
                  <a:lnTo>
                    <a:pt x="2192" y="793"/>
                  </a:lnTo>
                  <a:lnTo>
                    <a:pt x="2190" y="796"/>
                  </a:lnTo>
                  <a:lnTo>
                    <a:pt x="2192" y="800"/>
                  </a:lnTo>
                  <a:lnTo>
                    <a:pt x="2197" y="807"/>
                  </a:lnTo>
                  <a:lnTo>
                    <a:pt x="2204" y="812"/>
                  </a:lnTo>
                  <a:lnTo>
                    <a:pt x="2215" y="819"/>
                  </a:lnTo>
                  <a:lnTo>
                    <a:pt x="2227" y="828"/>
                  </a:lnTo>
                  <a:lnTo>
                    <a:pt x="2237" y="840"/>
                  </a:lnTo>
                  <a:lnTo>
                    <a:pt x="2244" y="847"/>
                  </a:lnTo>
                  <a:lnTo>
                    <a:pt x="2250" y="855"/>
                  </a:lnTo>
                  <a:lnTo>
                    <a:pt x="2253" y="868"/>
                  </a:lnTo>
                  <a:lnTo>
                    <a:pt x="2258" y="880"/>
                  </a:lnTo>
                  <a:lnTo>
                    <a:pt x="2258" y="880"/>
                  </a:lnTo>
                  <a:lnTo>
                    <a:pt x="2260" y="892"/>
                  </a:lnTo>
                  <a:lnTo>
                    <a:pt x="2262" y="904"/>
                  </a:lnTo>
                  <a:lnTo>
                    <a:pt x="2262" y="916"/>
                  </a:lnTo>
                  <a:lnTo>
                    <a:pt x="2258" y="928"/>
                  </a:lnTo>
                  <a:lnTo>
                    <a:pt x="2255" y="939"/>
                  </a:lnTo>
                  <a:lnTo>
                    <a:pt x="2251" y="948"/>
                  </a:lnTo>
                  <a:lnTo>
                    <a:pt x="2244" y="956"/>
                  </a:lnTo>
                  <a:lnTo>
                    <a:pt x="2237" y="965"/>
                  </a:lnTo>
                  <a:lnTo>
                    <a:pt x="2223" y="979"/>
                  </a:lnTo>
                  <a:lnTo>
                    <a:pt x="2206" y="991"/>
                  </a:lnTo>
                  <a:lnTo>
                    <a:pt x="2189" y="1002"/>
                  </a:lnTo>
                  <a:lnTo>
                    <a:pt x="2171" y="1009"/>
                  </a:lnTo>
                  <a:lnTo>
                    <a:pt x="2171" y="1009"/>
                  </a:lnTo>
                  <a:lnTo>
                    <a:pt x="2159" y="1014"/>
                  </a:lnTo>
                  <a:lnTo>
                    <a:pt x="2154" y="1019"/>
                  </a:lnTo>
                  <a:lnTo>
                    <a:pt x="2152" y="1023"/>
                  </a:lnTo>
                  <a:lnTo>
                    <a:pt x="2152" y="1024"/>
                  </a:lnTo>
                  <a:lnTo>
                    <a:pt x="2156" y="1029"/>
                  </a:lnTo>
                  <a:lnTo>
                    <a:pt x="2161" y="1036"/>
                  </a:lnTo>
                  <a:lnTo>
                    <a:pt x="2166" y="1045"/>
                  </a:lnTo>
                  <a:lnTo>
                    <a:pt x="2171" y="1056"/>
                  </a:lnTo>
                  <a:lnTo>
                    <a:pt x="2171" y="1063"/>
                  </a:lnTo>
                  <a:lnTo>
                    <a:pt x="2171" y="1070"/>
                  </a:lnTo>
                  <a:lnTo>
                    <a:pt x="2171" y="1070"/>
                  </a:lnTo>
                  <a:lnTo>
                    <a:pt x="2173" y="1083"/>
                  </a:lnTo>
                  <a:lnTo>
                    <a:pt x="2176" y="1096"/>
                  </a:lnTo>
                  <a:lnTo>
                    <a:pt x="2185" y="1122"/>
                  </a:lnTo>
                  <a:lnTo>
                    <a:pt x="2189" y="1134"/>
                  </a:lnTo>
                  <a:lnTo>
                    <a:pt x="2189" y="1144"/>
                  </a:lnTo>
                  <a:lnTo>
                    <a:pt x="2189" y="1153"/>
                  </a:lnTo>
                  <a:lnTo>
                    <a:pt x="2187" y="1157"/>
                  </a:lnTo>
                  <a:lnTo>
                    <a:pt x="2183" y="1158"/>
                  </a:lnTo>
                  <a:lnTo>
                    <a:pt x="2183" y="1158"/>
                  </a:lnTo>
                  <a:lnTo>
                    <a:pt x="2180" y="1160"/>
                  </a:lnTo>
                  <a:lnTo>
                    <a:pt x="2178" y="1164"/>
                  </a:lnTo>
                  <a:lnTo>
                    <a:pt x="2176" y="1170"/>
                  </a:lnTo>
                  <a:lnTo>
                    <a:pt x="2178" y="1176"/>
                  </a:lnTo>
                  <a:lnTo>
                    <a:pt x="2180" y="1183"/>
                  </a:lnTo>
                  <a:lnTo>
                    <a:pt x="2182" y="1186"/>
                  </a:lnTo>
                  <a:lnTo>
                    <a:pt x="2182" y="1188"/>
                  </a:lnTo>
                  <a:lnTo>
                    <a:pt x="2176" y="1188"/>
                  </a:lnTo>
                  <a:lnTo>
                    <a:pt x="2169" y="1183"/>
                  </a:lnTo>
                  <a:lnTo>
                    <a:pt x="2169" y="1183"/>
                  </a:lnTo>
                  <a:lnTo>
                    <a:pt x="2159" y="1179"/>
                  </a:lnTo>
                  <a:lnTo>
                    <a:pt x="2157" y="1179"/>
                  </a:lnTo>
                  <a:lnTo>
                    <a:pt x="2156" y="1181"/>
                  </a:lnTo>
                  <a:lnTo>
                    <a:pt x="2154" y="1186"/>
                  </a:lnTo>
                  <a:lnTo>
                    <a:pt x="2152" y="1191"/>
                  </a:lnTo>
                  <a:lnTo>
                    <a:pt x="2152" y="1198"/>
                  </a:lnTo>
                  <a:lnTo>
                    <a:pt x="2150" y="1204"/>
                  </a:lnTo>
                  <a:lnTo>
                    <a:pt x="2149" y="1205"/>
                  </a:lnTo>
                  <a:lnTo>
                    <a:pt x="2145" y="1205"/>
                  </a:lnTo>
                  <a:lnTo>
                    <a:pt x="2138" y="1200"/>
                  </a:lnTo>
                  <a:lnTo>
                    <a:pt x="2138" y="1200"/>
                  </a:lnTo>
                  <a:lnTo>
                    <a:pt x="2129" y="1195"/>
                  </a:lnTo>
                  <a:lnTo>
                    <a:pt x="2124" y="1190"/>
                  </a:lnTo>
                  <a:lnTo>
                    <a:pt x="2117" y="1177"/>
                  </a:lnTo>
                  <a:lnTo>
                    <a:pt x="2112" y="1169"/>
                  </a:lnTo>
                  <a:lnTo>
                    <a:pt x="2105" y="1158"/>
                  </a:lnTo>
                  <a:lnTo>
                    <a:pt x="2093" y="1146"/>
                  </a:lnTo>
                  <a:lnTo>
                    <a:pt x="2075" y="1130"/>
                  </a:lnTo>
                  <a:lnTo>
                    <a:pt x="2075" y="1130"/>
                  </a:lnTo>
                  <a:lnTo>
                    <a:pt x="2067" y="1120"/>
                  </a:lnTo>
                  <a:lnTo>
                    <a:pt x="2061" y="1111"/>
                  </a:lnTo>
                  <a:lnTo>
                    <a:pt x="2060" y="1101"/>
                  </a:lnTo>
                  <a:lnTo>
                    <a:pt x="2060" y="1092"/>
                  </a:lnTo>
                  <a:lnTo>
                    <a:pt x="2061" y="1073"/>
                  </a:lnTo>
                  <a:lnTo>
                    <a:pt x="2060" y="1064"/>
                  </a:lnTo>
                  <a:lnTo>
                    <a:pt x="2058" y="1052"/>
                  </a:lnTo>
                  <a:lnTo>
                    <a:pt x="2058" y="1052"/>
                  </a:lnTo>
                  <a:lnTo>
                    <a:pt x="2055" y="1040"/>
                  </a:lnTo>
                  <a:lnTo>
                    <a:pt x="2056" y="1029"/>
                  </a:lnTo>
                  <a:lnTo>
                    <a:pt x="2058" y="1019"/>
                  </a:lnTo>
                  <a:lnTo>
                    <a:pt x="2060" y="1012"/>
                  </a:lnTo>
                  <a:lnTo>
                    <a:pt x="2061" y="1005"/>
                  </a:lnTo>
                  <a:lnTo>
                    <a:pt x="2060" y="1000"/>
                  </a:lnTo>
                  <a:lnTo>
                    <a:pt x="2056" y="995"/>
                  </a:lnTo>
                  <a:lnTo>
                    <a:pt x="2046" y="991"/>
                  </a:lnTo>
                  <a:lnTo>
                    <a:pt x="2046" y="991"/>
                  </a:lnTo>
                  <a:lnTo>
                    <a:pt x="2023" y="986"/>
                  </a:lnTo>
                  <a:lnTo>
                    <a:pt x="2006" y="984"/>
                  </a:lnTo>
                  <a:lnTo>
                    <a:pt x="1992" y="984"/>
                  </a:lnTo>
                  <a:lnTo>
                    <a:pt x="1983" y="984"/>
                  </a:lnTo>
                  <a:lnTo>
                    <a:pt x="1971" y="986"/>
                  </a:lnTo>
                  <a:lnTo>
                    <a:pt x="1966" y="986"/>
                  </a:lnTo>
                  <a:lnTo>
                    <a:pt x="1959" y="984"/>
                  </a:lnTo>
                  <a:lnTo>
                    <a:pt x="1959" y="984"/>
                  </a:lnTo>
                  <a:lnTo>
                    <a:pt x="1954" y="982"/>
                  </a:lnTo>
                  <a:lnTo>
                    <a:pt x="1950" y="979"/>
                  </a:lnTo>
                  <a:lnTo>
                    <a:pt x="1943" y="972"/>
                  </a:lnTo>
                  <a:lnTo>
                    <a:pt x="1938" y="967"/>
                  </a:lnTo>
                  <a:lnTo>
                    <a:pt x="1929" y="962"/>
                  </a:lnTo>
                  <a:lnTo>
                    <a:pt x="1915" y="956"/>
                  </a:lnTo>
                  <a:lnTo>
                    <a:pt x="1896" y="949"/>
                  </a:lnTo>
                  <a:lnTo>
                    <a:pt x="1896" y="949"/>
                  </a:lnTo>
                  <a:lnTo>
                    <a:pt x="1879" y="944"/>
                  </a:lnTo>
                  <a:lnTo>
                    <a:pt x="1868" y="939"/>
                  </a:lnTo>
                  <a:lnTo>
                    <a:pt x="1865" y="934"/>
                  </a:lnTo>
                  <a:lnTo>
                    <a:pt x="1863" y="927"/>
                  </a:lnTo>
                  <a:lnTo>
                    <a:pt x="1859" y="920"/>
                  </a:lnTo>
                  <a:lnTo>
                    <a:pt x="1851" y="913"/>
                  </a:lnTo>
                  <a:lnTo>
                    <a:pt x="1835" y="902"/>
                  </a:lnTo>
                  <a:lnTo>
                    <a:pt x="1807" y="890"/>
                  </a:lnTo>
                  <a:lnTo>
                    <a:pt x="1807" y="890"/>
                  </a:lnTo>
                  <a:lnTo>
                    <a:pt x="1790" y="885"/>
                  </a:lnTo>
                  <a:lnTo>
                    <a:pt x="1776" y="881"/>
                  </a:lnTo>
                  <a:lnTo>
                    <a:pt x="1762" y="880"/>
                  </a:lnTo>
                  <a:lnTo>
                    <a:pt x="1752" y="880"/>
                  </a:lnTo>
                  <a:lnTo>
                    <a:pt x="1741" y="880"/>
                  </a:lnTo>
                  <a:lnTo>
                    <a:pt x="1732" y="881"/>
                  </a:lnTo>
                  <a:lnTo>
                    <a:pt x="1718" y="887"/>
                  </a:lnTo>
                  <a:lnTo>
                    <a:pt x="1708" y="892"/>
                  </a:lnTo>
                  <a:lnTo>
                    <a:pt x="1703" y="894"/>
                  </a:lnTo>
                  <a:lnTo>
                    <a:pt x="1701" y="894"/>
                  </a:lnTo>
                  <a:lnTo>
                    <a:pt x="1699" y="890"/>
                  </a:lnTo>
                  <a:lnTo>
                    <a:pt x="1698" y="878"/>
                  </a:lnTo>
                  <a:lnTo>
                    <a:pt x="1698" y="878"/>
                  </a:lnTo>
                  <a:lnTo>
                    <a:pt x="1698" y="864"/>
                  </a:lnTo>
                  <a:lnTo>
                    <a:pt x="1696" y="852"/>
                  </a:lnTo>
                  <a:lnTo>
                    <a:pt x="1691" y="838"/>
                  </a:lnTo>
                  <a:lnTo>
                    <a:pt x="1685" y="826"/>
                  </a:lnTo>
                  <a:lnTo>
                    <a:pt x="1684" y="817"/>
                  </a:lnTo>
                  <a:lnTo>
                    <a:pt x="1680" y="807"/>
                  </a:lnTo>
                  <a:lnTo>
                    <a:pt x="1680" y="807"/>
                  </a:lnTo>
                  <a:lnTo>
                    <a:pt x="1680" y="801"/>
                  </a:lnTo>
                  <a:lnTo>
                    <a:pt x="1677" y="798"/>
                  </a:lnTo>
                  <a:lnTo>
                    <a:pt x="1673" y="796"/>
                  </a:lnTo>
                  <a:lnTo>
                    <a:pt x="1670" y="794"/>
                  </a:lnTo>
                  <a:lnTo>
                    <a:pt x="1661" y="794"/>
                  </a:lnTo>
                  <a:lnTo>
                    <a:pt x="1651" y="794"/>
                  </a:lnTo>
                  <a:lnTo>
                    <a:pt x="1640" y="793"/>
                  </a:lnTo>
                  <a:lnTo>
                    <a:pt x="1635" y="791"/>
                  </a:lnTo>
                  <a:lnTo>
                    <a:pt x="1631" y="787"/>
                  </a:lnTo>
                  <a:lnTo>
                    <a:pt x="1626" y="782"/>
                  </a:lnTo>
                  <a:lnTo>
                    <a:pt x="1623" y="775"/>
                  </a:lnTo>
                  <a:lnTo>
                    <a:pt x="1621" y="767"/>
                  </a:lnTo>
                  <a:lnTo>
                    <a:pt x="1617" y="756"/>
                  </a:lnTo>
                  <a:lnTo>
                    <a:pt x="1617" y="756"/>
                  </a:lnTo>
                  <a:lnTo>
                    <a:pt x="1617" y="744"/>
                  </a:lnTo>
                  <a:lnTo>
                    <a:pt x="1619" y="730"/>
                  </a:lnTo>
                  <a:lnTo>
                    <a:pt x="1621" y="718"/>
                  </a:lnTo>
                  <a:lnTo>
                    <a:pt x="1624" y="704"/>
                  </a:lnTo>
                  <a:lnTo>
                    <a:pt x="1635" y="678"/>
                  </a:lnTo>
                  <a:lnTo>
                    <a:pt x="1647" y="653"/>
                  </a:lnTo>
                  <a:lnTo>
                    <a:pt x="1661" y="631"/>
                  </a:lnTo>
                  <a:lnTo>
                    <a:pt x="1675" y="613"/>
                  </a:lnTo>
                  <a:lnTo>
                    <a:pt x="1685" y="603"/>
                  </a:lnTo>
                  <a:lnTo>
                    <a:pt x="1691" y="601"/>
                  </a:lnTo>
                  <a:lnTo>
                    <a:pt x="1692" y="599"/>
                  </a:lnTo>
                  <a:lnTo>
                    <a:pt x="1692" y="599"/>
                  </a:lnTo>
                  <a:lnTo>
                    <a:pt x="1698" y="599"/>
                  </a:lnTo>
                  <a:lnTo>
                    <a:pt x="1699" y="596"/>
                  </a:lnTo>
                  <a:lnTo>
                    <a:pt x="1701" y="584"/>
                  </a:lnTo>
                  <a:lnTo>
                    <a:pt x="1705" y="577"/>
                  </a:lnTo>
                  <a:lnTo>
                    <a:pt x="1708" y="570"/>
                  </a:lnTo>
                  <a:lnTo>
                    <a:pt x="1715" y="565"/>
                  </a:lnTo>
                  <a:lnTo>
                    <a:pt x="1724" y="563"/>
                  </a:lnTo>
                  <a:lnTo>
                    <a:pt x="1724" y="563"/>
                  </a:lnTo>
                  <a:lnTo>
                    <a:pt x="1746" y="559"/>
                  </a:lnTo>
                  <a:lnTo>
                    <a:pt x="1757" y="558"/>
                  </a:lnTo>
                  <a:lnTo>
                    <a:pt x="1764" y="554"/>
                  </a:lnTo>
                  <a:lnTo>
                    <a:pt x="1767" y="549"/>
                  </a:lnTo>
                  <a:lnTo>
                    <a:pt x="1767" y="542"/>
                  </a:lnTo>
                  <a:lnTo>
                    <a:pt x="1764" y="535"/>
                  </a:lnTo>
                  <a:lnTo>
                    <a:pt x="1755" y="526"/>
                  </a:lnTo>
                  <a:lnTo>
                    <a:pt x="1755" y="526"/>
                  </a:lnTo>
                  <a:lnTo>
                    <a:pt x="1748" y="519"/>
                  </a:lnTo>
                  <a:lnTo>
                    <a:pt x="1748" y="516"/>
                  </a:lnTo>
                  <a:lnTo>
                    <a:pt x="1748" y="516"/>
                  </a:lnTo>
                  <a:lnTo>
                    <a:pt x="1753" y="514"/>
                  </a:lnTo>
                  <a:lnTo>
                    <a:pt x="1762" y="514"/>
                  </a:lnTo>
                  <a:lnTo>
                    <a:pt x="1771" y="514"/>
                  </a:lnTo>
                  <a:lnTo>
                    <a:pt x="1781" y="511"/>
                  </a:lnTo>
                  <a:lnTo>
                    <a:pt x="1786" y="509"/>
                  </a:lnTo>
                  <a:lnTo>
                    <a:pt x="1790" y="505"/>
                  </a:lnTo>
                  <a:lnTo>
                    <a:pt x="1792" y="500"/>
                  </a:lnTo>
                  <a:lnTo>
                    <a:pt x="1793" y="495"/>
                  </a:lnTo>
                  <a:lnTo>
                    <a:pt x="1793" y="495"/>
                  </a:lnTo>
                  <a:lnTo>
                    <a:pt x="1795" y="490"/>
                  </a:lnTo>
                  <a:lnTo>
                    <a:pt x="1797" y="486"/>
                  </a:lnTo>
                  <a:lnTo>
                    <a:pt x="1799" y="485"/>
                  </a:lnTo>
                  <a:lnTo>
                    <a:pt x="1802" y="485"/>
                  </a:lnTo>
                  <a:lnTo>
                    <a:pt x="1807" y="488"/>
                  </a:lnTo>
                  <a:lnTo>
                    <a:pt x="1816" y="493"/>
                  </a:lnTo>
                  <a:lnTo>
                    <a:pt x="1826" y="497"/>
                  </a:lnTo>
                  <a:lnTo>
                    <a:pt x="1832" y="497"/>
                  </a:lnTo>
                  <a:lnTo>
                    <a:pt x="1837" y="497"/>
                  </a:lnTo>
                  <a:lnTo>
                    <a:pt x="1842" y="493"/>
                  </a:lnTo>
                  <a:lnTo>
                    <a:pt x="1849" y="490"/>
                  </a:lnTo>
                  <a:lnTo>
                    <a:pt x="1856" y="483"/>
                  </a:lnTo>
                  <a:lnTo>
                    <a:pt x="1861" y="472"/>
                  </a:lnTo>
                  <a:lnTo>
                    <a:pt x="1861" y="472"/>
                  </a:lnTo>
                  <a:lnTo>
                    <a:pt x="1873" y="453"/>
                  </a:lnTo>
                  <a:lnTo>
                    <a:pt x="1882" y="441"/>
                  </a:lnTo>
                  <a:lnTo>
                    <a:pt x="1887" y="432"/>
                  </a:lnTo>
                  <a:lnTo>
                    <a:pt x="1889" y="427"/>
                  </a:lnTo>
                  <a:lnTo>
                    <a:pt x="1887" y="425"/>
                  </a:lnTo>
                  <a:lnTo>
                    <a:pt x="1886" y="425"/>
                  </a:lnTo>
                  <a:lnTo>
                    <a:pt x="1877" y="424"/>
                  </a:lnTo>
                  <a:lnTo>
                    <a:pt x="1861" y="420"/>
                  </a:lnTo>
                  <a:lnTo>
                    <a:pt x="1840" y="417"/>
                  </a:lnTo>
                  <a:lnTo>
                    <a:pt x="1840" y="417"/>
                  </a:lnTo>
                  <a:lnTo>
                    <a:pt x="1826" y="413"/>
                  </a:lnTo>
                  <a:lnTo>
                    <a:pt x="1816" y="408"/>
                  </a:lnTo>
                  <a:lnTo>
                    <a:pt x="1811" y="404"/>
                  </a:lnTo>
                  <a:lnTo>
                    <a:pt x="1806" y="401"/>
                  </a:lnTo>
                  <a:lnTo>
                    <a:pt x="1797" y="392"/>
                  </a:lnTo>
                  <a:lnTo>
                    <a:pt x="1790" y="387"/>
                  </a:lnTo>
                  <a:lnTo>
                    <a:pt x="1778" y="382"/>
                  </a:lnTo>
                  <a:lnTo>
                    <a:pt x="1778" y="382"/>
                  </a:lnTo>
                  <a:lnTo>
                    <a:pt x="1785" y="380"/>
                  </a:lnTo>
                  <a:lnTo>
                    <a:pt x="1793" y="382"/>
                  </a:lnTo>
                  <a:lnTo>
                    <a:pt x="1800" y="384"/>
                  </a:lnTo>
                  <a:lnTo>
                    <a:pt x="1807" y="385"/>
                  </a:lnTo>
                  <a:lnTo>
                    <a:pt x="1825" y="394"/>
                  </a:lnTo>
                  <a:lnTo>
                    <a:pt x="1840" y="403"/>
                  </a:lnTo>
                  <a:lnTo>
                    <a:pt x="1854" y="410"/>
                  </a:lnTo>
                  <a:lnTo>
                    <a:pt x="1863" y="411"/>
                  </a:lnTo>
                  <a:lnTo>
                    <a:pt x="1870" y="413"/>
                  </a:lnTo>
                  <a:lnTo>
                    <a:pt x="1877" y="413"/>
                  </a:lnTo>
                  <a:lnTo>
                    <a:pt x="1886" y="410"/>
                  </a:lnTo>
                  <a:lnTo>
                    <a:pt x="1893" y="406"/>
                  </a:lnTo>
                  <a:lnTo>
                    <a:pt x="1900" y="399"/>
                  </a:lnTo>
                  <a:lnTo>
                    <a:pt x="1900" y="399"/>
                  </a:lnTo>
                  <a:lnTo>
                    <a:pt x="1920" y="377"/>
                  </a:lnTo>
                  <a:lnTo>
                    <a:pt x="1926" y="371"/>
                  </a:lnTo>
                  <a:lnTo>
                    <a:pt x="1927" y="366"/>
                  </a:lnTo>
                  <a:lnTo>
                    <a:pt x="1927" y="363"/>
                  </a:lnTo>
                  <a:lnTo>
                    <a:pt x="1924" y="359"/>
                  </a:lnTo>
                  <a:lnTo>
                    <a:pt x="1907" y="349"/>
                  </a:lnTo>
                  <a:lnTo>
                    <a:pt x="1907" y="349"/>
                  </a:lnTo>
                  <a:lnTo>
                    <a:pt x="1898" y="343"/>
                  </a:lnTo>
                  <a:lnTo>
                    <a:pt x="1898" y="342"/>
                  </a:lnTo>
                  <a:lnTo>
                    <a:pt x="1898" y="340"/>
                  </a:lnTo>
                  <a:lnTo>
                    <a:pt x="1905" y="338"/>
                  </a:lnTo>
                  <a:lnTo>
                    <a:pt x="1913" y="337"/>
                  </a:lnTo>
                  <a:lnTo>
                    <a:pt x="1926" y="338"/>
                  </a:lnTo>
                  <a:lnTo>
                    <a:pt x="1938" y="340"/>
                  </a:lnTo>
                  <a:lnTo>
                    <a:pt x="1948" y="343"/>
                  </a:lnTo>
                  <a:lnTo>
                    <a:pt x="1955" y="349"/>
                  </a:lnTo>
                  <a:lnTo>
                    <a:pt x="1955" y="349"/>
                  </a:lnTo>
                  <a:lnTo>
                    <a:pt x="1964" y="357"/>
                  </a:lnTo>
                  <a:lnTo>
                    <a:pt x="1973" y="364"/>
                  </a:lnTo>
                  <a:lnTo>
                    <a:pt x="1981" y="371"/>
                  </a:lnTo>
                  <a:lnTo>
                    <a:pt x="1988" y="382"/>
                  </a:lnTo>
                  <a:lnTo>
                    <a:pt x="1988" y="382"/>
                  </a:lnTo>
                  <a:lnTo>
                    <a:pt x="1995" y="390"/>
                  </a:lnTo>
                  <a:lnTo>
                    <a:pt x="2001" y="394"/>
                  </a:lnTo>
                  <a:lnTo>
                    <a:pt x="2009" y="396"/>
                  </a:lnTo>
                  <a:lnTo>
                    <a:pt x="2020" y="392"/>
                  </a:lnTo>
                  <a:lnTo>
                    <a:pt x="2020" y="392"/>
                  </a:lnTo>
                  <a:lnTo>
                    <a:pt x="2021" y="392"/>
                  </a:lnTo>
                  <a:lnTo>
                    <a:pt x="2023" y="390"/>
                  </a:lnTo>
                  <a:lnTo>
                    <a:pt x="2021" y="387"/>
                  </a:lnTo>
                  <a:lnTo>
                    <a:pt x="2011" y="380"/>
                  </a:lnTo>
                  <a:lnTo>
                    <a:pt x="2004" y="375"/>
                  </a:lnTo>
                  <a:lnTo>
                    <a:pt x="1999" y="371"/>
                  </a:lnTo>
                  <a:lnTo>
                    <a:pt x="1999" y="370"/>
                  </a:lnTo>
                  <a:lnTo>
                    <a:pt x="1999" y="366"/>
                  </a:lnTo>
                  <a:lnTo>
                    <a:pt x="1999" y="364"/>
                  </a:lnTo>
                  <a:lnTo>
                    <a:pt x="2002" y="363"/>
                  </a:lnTo>
                  <a:lnTo>
                    <a:pt x="2002" y="363"/>
                  </a:lnTo>
                  <a:lnTo>
                    <a:pt x="2009" y="359"/>
                  </a:lnTo>
                  <a:lnTo>
                    <a:pt x="2014" y="354"/>
                  </a:lnTo>
                  <a:lnTo>
                    <a:pt x="2025" y="345"/>
                  </a:lnTo>
                  <a:lnTo>
                    <a:pt x="2034" y="338"/>
                  </a:lnTo>
                  <a:lnTo>
                    <a:pt x="2039" y="337"/>
                  </a:lnTo>
                  <a:lnTo>
                    <a:pt x="2044" y="337"/>
                  </a:lnTo>
                  <a:lnTo>
                    <a:pt x="2044" y="337"/>
                  </a:lnTo>
                  <a:lnTo>
                    <a:pt x="2051" y="337"/>
                  </a:lnTo>
                  <a:lnTo>
                    <a:pt x="2055" y="335"/>
                  </a:lnTo>
                  <a:lnTo>
                    <a:pt x="2060" y="330"/>
                  </a:lnTo>
                  <a:lnTo>
                    <a:pt x="2063" y="326"/>
                  </a:lnTo>
                  <a:lnTo>
                    <a:pt x="2070" y="317"/>
                  </a:lnTo>
                  <a:lnTo>
                    <a:pt x="2075" y="314"/>
                  </a:lnTo>
                  <a:lnTo>
                    <a:pt x="2081" y="312"/>
                  </a:lnTo>
                  <a:lnTo>
                    <a:pt x="2081" y="312"/>
                  </a:lnTo>
                  <a:lnTo>
                    <a:pt x="2086" y="310"/>
                  </a:lnTo>
                  <a:lnTo>
                    <a:pt x="2089" y="309"/>
                  </a:lnTo>
                  <a:lnTo>
                    <a:pt x="2091" y="303"/>
                  </a:lnTo>
                  <a:lnTo>
                    <a:pt x="2093" y="298"/>
                  </a:lnTo>
                  <a:lnTo>
                    <a:pt x="2093" y="291"/>
                  </a:lnTo>
                  <a:lnTo>
                    <a:pt x="2089" y="283"/>
                  </a:lnTo>
                  <a:lnTo>
                    <a:pt x="2082" y="276"/>
                  </a:lnTo>
                  <a:lnTo>
                    <a:pt x="2074" y="267"/>
                  </a:lnTo>
                  <a:lnTo>
                    <a:pt x="2074" y="267"/>
                  </a:lnTo>
                  <a:lnTo>
                    <a:pt x="2067" y="260"/>
                  </a:lnTo>
                  <a:lnTo>
                    <a:pt x="2063" y="255"/>
                  </a:lnTo>
                  <a:lnTo>
                    <a:pt x="2063" y="251"/>
                  </a:lnTo>
                  <a:lnTo>
                    <a:pt x="2065" y="248"/>
                  </a:lnTo>
                  <a:lnTo>
                    <a:pt x="2068" y="244"/>
                  </a:lnTo>
                  <a:lnTo>
                    <a:pt x="2068" y="241"/>
                  </a:lnTo>
                  <a:lnTo>
                    <a:pt x="2067" y="237"/>
                  </a:lnTo>
                  <a:lnTo>
                    <a:pt x="2061" y="232"/>
                  </a:lnTo>
                  <a:lnTo>
                    <a:pt x="2061" y="232"/>
                  </a:lnTo>
                  <a:lnTo>
                    <a:pt x="2056" y="227"/>
                  </a:lnTo>
                  <a:lnTo>
                    <a:pt x="2056" y="225"/>
                  </a:lnTo>
                  <a:lnTo>
                    <a:pt x="2058" y="223"/>
                  </a:lnTo>
                  <a:lnTo>
                    <a:pt x="2061" y="223"/>
                  </a:lnTo>
                  <a:lnTo>
                    <a:pt x="2068" y="223"/>
                  </a:lnTo>
                  <a:lnTo>
                    <a:pt x="2077" y="223"/>
                  </a:lnTo>
                  <a:lnTo>
                    <a:pt x="2084" y="222"/>
                  </a:lnTo>
                  <a:lnTo>
                    <a:pt x="2091" y="218"/>
                  </a:lnTo>
                  <a:lnTo>
                    <a:pt x="2095" y="215"/>
                  </a:lnTo>
                  <a:lnTo>
                    <a:pt x="2095" y="211"/>
                  </a:lnTo>
                  <a:lnTo>
                    <a:pt x="2095" y="211"/>
                  </a:lnTo>
                  <a:lnTo>
                    <a:pt x="2096" y="204"/>
                  </a:lnTo>
                  <a:lnTo>
                    <a:pt x="2095" y="201"/>
                  </a:lnTo>
                  <a:lnTo>
                    <a:pt x="2091" y="197"/>
                  </a:lnTo>
                  <a:lnTo>
                    <a:pt x="2089" y="197"/>
                  </a:lnTo>
                  <a:lnTo>
                    <a:pt x="2086" y="195"/>
                  </a:lnTo>
                  <a:lnTo>
                    <a:pt x="2084" y="194"/>
                  </a:lnTo>
                  <a:lnTo>
                    <a:pt x="2086" y="190"/>
                  </a:lnTo>
                  <a:lnTo>
                    <a:pt x="2089" y="185"/>
                  </a:lnTo>
                  <a:lnTo>
                    <a:pt x="2089" y="185"/>
                  </a:lnTo>
                  <a:lnTo>
                    <a:pt x="2093" y="180"/>
                  </a:lnTo>
                  <a:lnTo>
                    <a:pt x="2091" y="176"/>
                  </a:lnTo>
                  <a:lnTo>
                    <a:pt x="2088" y="175"/>
                  </a:lnTo>
                  <a:lnTo>
                    <a:pt x="2081" y="175"/>
                  </a:lnTo>
                  <a:lnTo>
                    <a:pt x="2074" y="173"/>
                  </a:lnTo>
                  <a:lnTo>
                    <a:pt x="2068" y="171"/>
                  </a:lnTo>
                  <a:lnTo>
                    <a:pt x="2061" y="166"/>
                  </a:lnTo>
                  <a:lnTo>
                    <a:pt x="2060" y="159"/>
                  </a:lnTo>
                  <a:lnTo>
                    <a:pt x="2060" y="159"/>
                  </a:lnTo>
                  <a:lnTo>
                    <a:pt x="2056" y="152"/>
                  </a:lnTo>
                  <a:lnTo>
                    <a:pt x="2051" y="148"/>
                  </a:lnTo>
                  <a:lnTo>
                    <a:pt x="2044" y="147"/>
                  </a:lnTo>
                  <a:lnTo>
                    <a:pt x="2035" y="147"/>
                  </a:lnTo>
                  <a:lnTo>
                    <a:pt x="2016" y="145"/>
                  </a:lnTo>
                  <a:lnTo>
                    <a:pt x="2004" y="143"/>
                  </a:lnTo>
                  <a:lnTo>
                    <a:pt x="1992" y="138"/>
                  </a:lnTo>
                  <a:lnTo>
                    <a:pt x="1992" y="138"/>
                  </a:lnTo>
                  <a:lnTo>
                    <a:pt x="1978" y="131"/>
                  </a:lnTo>
                  <a:lnTo>
                    <a:pt x="1973" y="131"/>
                  </a:lnTo>
                  <a:lnTo>
                    <a:pt x="1971" y="133"/>
                  </a:lnTo>
                  <a:lnTo>
                    <a:pt x="1966" y="136"/>
                  </a:lnTo>
                  <a:lnTo>
                    <a:pt x="1962" y="138"/>
                  </a:lnTo>
                  <a:lnTo>
                    <a:pt x="1954" y="138"/>
                  </a:lnTo>
                  <a:lnTo>
                    <a:pt x="1954" y="138"/>
                  </a:lnTo>
                  <a:lnTo>
                    <a:pt x="1947" y="138"/>
                  </a:lnTo>
                  <a:lnTo>
                    <a:pt x="1941" y="143"/>
                  </a:lnTo>
                  <a:lnTo>
                    <a:pt x="1940" y="150"/>
                  </a:lnTo>
                  <a:lnTo>
                    <a:pt x="1940" y="157"/>
                  </a:lnTo>
                  <a:lnTo>
                    <a:pt x="1943" y="166"/>
                  </a:lnTo>
                  <a:lnTo>
                    <a:pt x="1947" y="173"/>
                  </a:lnTo>
                  <a:lnTo>
                    <a:pt x="1952" y="180"/>
                  </a:lnTo>
                  <a:lnTo>
                    <a:pt x="1957" y="183"/>
                  </a:lnTo>
                  <a:lnTo>
                    <a:pt x="1957" y="183"/>
                  </a:lnTo>
                  <a:lnTo>
                    <a:pt x="1960" y="185"/>
                  </a:lnTo>
                  <a:lnTo>
                    <a:pt x="1964" y="189"/>
                  </a:lnTo>
                  <a:lnTo>
                    <a:pt x="1964" y="192"/>
                  </a:lnTo>
                  <a:lnTo>
                    <a:pt x="1964" y="197"/>
                  </a:lnTo>
                  <a:lnTo>
                    <a:pt x="1960" y="201"/>
                  </a:lnTo>
                  <a:lnTo>
                    <a:pt x="1957" y="202"/>
                  </a:lnTo>
                  <a:lnTo>
                    <a:pt x="1952" y="204"/>
                  </a:lnTo>
                  <a:lnTo>
                    <a:pt x="1948" y="204"/>
                  </a:lnTo>
                  <a:lnTo>
                    <a:pt x="1948" y="204"/>
                  </a:lnTo>
                  <a:lnTo>
                    <a:pt x="1943" y="204"/>
                  </a:lnTo>
                  <a:lnTo>
                    <a:pt x="1941" y="209"/>
                  </a:lnTo>
                  <a:lnTo>
                    <a:pt x="1941" y="223"/>
                  </a:lnTo>
                  <a:lnTo>
                    <a:pt x="1940" y="232"/>
                  </a:lnTo>
                  <a:lnTo>
                    <a:pt x="1938" y="241"/>
                  </a:lnTo>
                  <a:lnTo>
                    <a:pt x="1933" y="249"/>
                  </a:lnTo>
                  <a:lnTo>
                    <a:pt x="1924" y="256"/>
                  </a:lnTo>
                  <a:lnTo>
                    <a:pt x="1924" y="256"/>
                  </a:lnTo>
                  <a:lnTo>
                    <a:pt x="1917" y="263"/>
                  </a:lnTo>
                  <a:lnTo>
                    <a:pt x="1912" y="269"/>
                  </a:lnTo>
                  <a:lnTo>
                    <a:pt x="1910" y="276"/>
                  </a:lnTo>
                  <a:lnTo>
                    <a:pt x="1908" y="281"/>
                  </a:lnTo>
                  <a:lnTo>
                    <a:pt x="1908" y="286"/>
                  </a:lnTo>
                  <a:lnTo>
                    <a:pt x="1905" y="290"/>
                  </a:lnTo>
                  <a:lnTo>
                    <a:pt x="1901" y="293"/>
                  </a:lnTo>
                  <a:lnTo>
                    <a:pt x="1893" y="296"/>
                  </a:lnTo>
                  <a:lnTo>
                    <a:pt x="1893" y="296"/>
                  </a:lnTo>
                  <a:lnTo>
                    <a:pt x="1880" y="300"/>
                  </a:lnTo>
                  <a:lnTo>
                    <a:pt x="1877" y="298"/>
                  </a:lnTo>
                  <a:lnTo>
                    <a:pt x="1875" y="296"/>
                  </a:lnTo>
                  <a:lnTo>
                    <a:pt x="1870" y="288"/>
                  </a:lnTo>
                  <a:lnTo>
                    <a:pt x="1865" y="281"/>
                  </a:lnTo>
                  <a:lnTo>
                    <a:pt x="1856" y="272"/>
                  </a:lnTo>
                  <a:lnTo>
                    <a:pt x="1856" y="272"/>
                  </a:lnTo>
                  <a:lnTo>
                    <a:pt x="1849" y="265"/>
                  </a:lnTo>
                  <a:lnTo>
                    <a:pt x="1847" y="258"/>
                  </a:lnTo>
                  <a:lnTo>
                    <a:pt x="1847" y="255"/>
                  </a:lnTo>
                  <a:lnTo>
                    <a:pt x="1851" y="251"/>
                  </a:lnTo>
                  <a:lnTo>
                    <a:pt x="1861" y="244"/>
                  </a:lnTo>
                  <a:lnTo>
                    <a:pt x="1865" y="241"/>
                  </a:lnTo>
                  <a:lnTo>
                    <a:pt x="1866" y="236"/>
                  </a:lnTo>
                  <a:lnTo>
                    <a:pt x="1866" y="236"/>
                  </a:lnTo>
                  <a:lnTo>
                    <a:pt x="1865" y="227"/>
                  </a:lnTo>
                  <a:lnTo>
                    <a:pt x="1861" y="216"/>
                  </a:lnTo>
                  <a:lnTo>
                    <a:pt x="1854" y="204"/>
                  </a:lnTo>
                  <a:lnTo>
                    <a:pt x="1847" y="192"/>
                  </a:lnTo>
                  <a:lnTo>
                    <a:pt x="1837" y="182"/>
                  </a:lnTo>
                  <a:lnTo>
                    <a:pt x="1828" y="176"/>
                  </a:lnTo>
                  <a:lnTo>
                    <a:pt x="1823" y="175"/>
                  </a:lnTo>
                  <a:lnTo>
                    <a:pt x="1818" y="175"/>
                  </a:lnTo>
                  <a:lnTo>
                    <a:pt x="1812" y="176"/>
                  </a:lnTo>
                  <a:lnTo>
                    <a:pt x="1809" y="180"/>
                  </a:lnTo>
                  <a:lnTo>
                    <a:pt x="1809" y="180"/>
                  </a:lnTo>
                  <a:lnTo>
                    <a:pt x="1802" y="189"/>
                  </a:lnTo>
                  <a:lnTo>
                    <a:pt x="1797" y="199"/>
                  </a:lnTo>
                  <a:lnTo>
                    <a:pt x="1792" y="222"/>
                  </a:lnTo>
                  <a:lnTo>
                    <a:pt x="1790" y="229"/>
                  </a:lnTo>
                  <a:lnTo>
                    <a:pt x="1786" y="234"/>
                  </a:lnTo>
                  <a:lnTo>
                    <a:pt x="1785" y="234"/>
                  </a:lnTo>
                  <a:lnTo>
                    <a:pt x="1783" y="234"/>
                  </a:lnTo>
                  <a:lnTo>
                    <a:pt x="1776" y="227"/>
                  </a:lnTo>
                  <a:lnTo>
                    <a:pt x="1776" y="227"/>
                  </a:lnTo>
                  <a:lnTo>
                    <a:pt x="1771" y="220"/>
                  </a:lnTo>
                  <a:lnTo>
                    <a:pt x="1769" y="215"/>
                  </a:lnTo>
                  <a:lnTo>
                    <a:pt x="1769" y="211"/>
                  </a:lnTo>
                  <a:lnTo>
                    <a:pt x="1772" y="208"/>
                  </a:lnTo>
                  <a:lnTo>
                    <a:pt x="1774" y="204"/>
                  </a:lnTo>
                  <a:lnTo>
                    <a:pt x="1774" y="201"/>
                  </a:lnTo>
                  <a:lnTo>
                    <a:pt x="1772" y="195"/>
                  </a:lnTo>
                  <a:lnTo>
                    <a:pt x="1765" y="189"/>
                  </a:lnTo>
                  <a:lnTo>
                    <a:pt x="1765" y="189"/>
                  </a:lnTo>
                  <a:lnTo>
                    <a:pt x="1760" y="180"/>
                  </a:lnTo>
                  <a:lnTo>
                    <a:pt x="1759" y="178"/>
                  </a:lnTo>
                  <a:lnTo>
                    <a:pt x="1760" y="175"/>
                  </a:lnTo>
                  <a:lnTo>
                    <a:pt x="1764" y="171"/>
                  </a:lnTo>
                  <a:lnTo>
                    <a:pt x="1767" y="169"/>
                  </a:lnTo>
                  <a:lnTo>
                    <a:pt x="1772" y="168"/>
                  </a:lnTo>
                  <a:lnTo>
                    <a:pt x="1774" y="166"/>
                  </a:lnTo>
                  <a:lnTo>
                    <a:pt x="1772" y="162"/>
                  </a:lnTo>
                  <a:lnTo>
                    <a:pt x="1764" y="157"/>
                  </a:lnTo>
                  <a:lnTo>
                    <a:pt x="1764" y="157"/>
                  </a:lnTo>
                  <a:lnTo>
                    <a:pt x="1753" y="152"/>
                  </a:lnTo>
                  <a:lnTo>
                    <a:pt x="1745" y="150"/>
                  </a:lnTo>
                  <a:lnTo>
                    <a:pt x="1739" y="150"/>
                  </a:lnTo>
                  <a:lnTo>
                    <a:pt x="1734" y="152"/>
                  </a:lnTo>
                  <a:lnTo>
                    <a:pt x="1729" y="154"/>
                  </a:lnTo>
                  <a:lnTo>
                    <a:pt x="1725" y="154"/>
                  </a:lnTo>
                  <a:lnTo>
                    <a:pt x="1718" y="154"/>
                  </a:lnTo>
                  <a:lnTo>
                    <a:pt x="1710" y="150"/>
                  </a:lnTo>
                  <a:lnTo>
                    <a:pt x="1710" y="150"/>
                  </a:lnTo>
                  <a:lnTo>
                    <a:pt x="1706" y="148"/>
                  </a:lnTo>
                  <a:lnTo>
                    <a:pt x="1705" y="145"/>
                  </a:lnTo>
                  <a:lnTo>
                    <a:pt x="1705" y="143"/>
                  </a:lnTo>
                  <a:lnTo>
                    <a:pt x="1705" y="140"/>
                  </a:lnTo>
                  <a:lnTo>
                    <a:pt x="1710" y="135"/>
                  </a:lnTo>
                  <a:lnTo>
                    <a:pt x="1717" y="129"/>
                  </a:lnTo>
                  <a:lnTo>
                    <a:pt x="1731" y="117"/>
                  </a:lnTo>
                  <a:lnTo>
                    <a:pt x="1732" y="112"/>
                  </a:lnTo>
                  <a:lnTo>
                    <a:pt x="1732" y="110"/>
                  </a:lnTo>
                  <a:lnTo>
                    <a:pt x="1731" y="108"/>
                  </a:lnTo>
                  <a:lnTo>
                    <a:pt x="1731" y="108"/>
                  </a:lnTo>
                  <a:lnTo>
                    <a:pt x="1718" y="100"/>
                  </a:lnTo>
                  <a:lnTo>
                    <a:pt x="1703" y="89"/>
                  </a:lnTo>
                  <a:lnTo>
                    <a:pt x="1696" y="82"/>
                  </a:lnTo>
                  <a:lnTo>
                    <a:pt x="1691" y="75"/>
                  </a:lnTo>
                  <a:lnTo>
                    <a:pt x="1687" y="67"/>
                  </a:lnTo>
                  <a:lnTo>
                    <a:pt x="1687" y="58"/>
                  </a:lnTo>
                  <a:lnTo>
                    <a:pt x="1687" y="58"/>
                  </a:lnTo>
                  <a:lnTo>
                    <a:pt x="1687" y="53"/>
                  </a:lnTo>
                  <a:lnTo>
                    <a:pt x="1685" y="47"/>
                  </a:lnTo>
                  <a:lnTo>
                    <a:pt x="1680" y="39"/>
                  </a:lnTo>
                  <a:lnTo>
                    <a:pt x="1671" y="28"/>
                  </a:lnTo>
                  <a:lnTo>
                    <a:pt x="1663" y="20"/>
                  </a:lnTo>
                  <a:lnTo>
                    <a:pt x="1651" y="13"/>
                  </a:lnTo>
                  <a:lnTo>
                    <a:pt x="1638" y="7"/>
                  </a:lnTo>
                  <a:lnTo>
                    <a:pt x="1628" y="2"/>
                  </a:lnTo>
                  <a:lnTo>
                    <a:pt x="1617" y="0"/>
                  </a:lnTo>
                  <a:lnTo>
                    <a:pt x="1617" y="0"/>
                  </a:lnTo>
                  <a:lnTo>
                    <a:pt x="1611" y="0"/>
                  </a:lnTo>
                  <a:lnTo>
                    <a:pt x="1607" y="2"/>
                  </a:lnTo>
                  <a:lnTo>
                    <a:pt x="1605" y="4"/>
                  </a:lnTo>
                  <a:lnTo>
                    <a:pt x="1604" y="7"/>
                  </a:lnTo>
                  <a:lnTo>
                    <a:pt x="1604" y="11"/>
                  </a:lnTo>
                  <a:lnTo>
                    <a:pt x="1602" y="14"/>
                  </a:lnTo>
                  <a:lnTo>
                    <a:pt x="1597" y="18"/>
                  </a:lnTo>
                  <a:lnTo>
                    <a:pt x="1590" y="20"/>
                  </a:lnTo>
                  <a:lnTo>
                    <a:pt x="1590" y="20"/>
                  </a:lnTo>
                  <a:lnTo>
                    <a:pt x="1583" y="21"/>
                  </a:lnTo>
                  <a:lnTo>
                    <a:pt x="1579" y="25"/>
                  </a:lnTo>
                  <a:lnTo>
                    <a:pt x="1577" y="27"/>
                  </a:lnTo>
                  <a:lnTo>
                    <a:pt x="1577" y="30"/>
                  </a:lnTo>
                  <a:lnTo>
                    <a:pt x="1577" y="34"/>
                  </a:lnTo>
                  <a:lnTo>
                    <a:pt x="1576" y="37"/>
                  </a:lnTo>
                  <a:lnTo>
                    <a:pt x="1572" y="41"/>
                  </a:lnTo>
                  <a:lnTo>
                    <a:pt x="1563" y="44"/>
                  </a:lnTo>
                  <a:lnTo>
                    <a:pt x="1563" y="44"/>
                  </a:lnTo>
                  <a:lnTo>
                    <a:pt x="1557" y="49"/>
                  </a:lnTo>
                  <a:lnTo>
                    <a:pt x="1555" y="54"/>
                  </a:lnTo>
                  <a:lnTo>
                    <a:pt x="1555" y="61"/>
                  </a:lnTo>
                  <a:lnTo>
                    <a:pt x="1557" y="68"/>
                  </a:lnTo>
                  <a:lnTo>
                    <a:pt x="1563" y="86"/>
                  </a:lnTo>
                  <a:lnTo>
                    <a:pt x="1565" y="93"/>
                  </a:lnTo>
                  <a:lnTo>
                    <a:pt x="1565" y="100"/>
                  </a:lnTo>
                  <a:lnTo>
                    <a:pt x="1565" y="100"/>
                  </a:lnTo>
                  <a:lnTo>
                    <a:pt x="1562" y="112"/>
                  </a:lnTo>
                  <a:lnTo>
                    <a:pt x="1562" y="117"/>
                  </a:lnTo>
                  <a:lnTo>
                    <a:pt x="1563" y="124"/>
                  </a:lnTo>
                  <a:lnTo>
                    <a:pt x="1567" y="129"/>
                  </a:lnTo>
                  <a:lnTo>
                    <a:pt x="1574" y="136"/>
                  </a:lnTo>
                  <a:lnTo>
                    <a:pt x="1584" y="142"/>
                  </a:lnTo>
                  <a:lnTo>
                    <a:pt x="1597" y="145"/>
                  </a:lnTo>
                  <a:lnTo>
                    <a:pt x="1597" y="145"/>
                  </a:lnTo>
                  <a:lnTo>
                    <a:pt x="1612" y="150"/>
                  </a:lnTo>
                  <a:lnTo>
                    <a:pt x="1623" y="155"/>
                  </a:lnTo>
                  <a:lnTo>
                    <a:pt x="1631" y="162"/>
                  </a:lnTo>
                  <a:lnTo>
                    <a:pt x="1638" y="169"/>
                  </a:lnTo>
                  <a:lnTo>
                    <a:pt x="1640" y="175"/>
                  </a:lnTo>
                  <a:lnTo>
                    <a:pt x="1642" y="182"/>
                  </a:lnTo>
                  <a:lnTo>
                    <a:pt x="1638" y="187"/>
                  </a:lnTo>
                  <a:lnTo>
                    <a:pt x="1633" y="190"/>
                  </a:lnTo>
                  <a:lnTo>
                    <a:pt x="1633" y="190"/>
                  </a:lnTo>
                  <a:lnTo>
                    <a:pt x="1626" y="194"/>
                  </a:lnTo>
                  <a:lnTo>
                    <a:pt x="1624" y="197"/>
                  </a:lnTo>
                  <a:lnTo>
                    <a:pt x="1623" y="201"/>
                  </a:lnTo>
                  <a:lnTo>
                    <a:pt x="1624" y="204"/>
                  </a:lnTo>
                  <a:lnTo>
                    <a:pt x="1628" y="206"/>
                  </a:lnTo>
                  <a:lnTo>
                    <a:pt x="1633" y="208"/>
                  </a:lnTo>
                  <a:lnTo>
                    <a:pt x="1638" y="206"/>
                  </a:lnTo>
                  <a:lnTo>
                    <a:pt x="1645" y="202"/>
                  </a:lnTo>
                  <a:lnTo>
                    <a:pt x="1645" y="202"/>
                  </a:lnTo>
                  <a:lnTo>
                    <a:pt x="1651" y="201"/>
                  </a:lnTo>
                  <a:lnTo>
                    <a:pt x="1656" y="201"/>
                  </a:lnTo>
                  <a:lnTo>
                    <a:pt x="1659" y="202"/>
                  </a:lnTo>
                  <a:lnTo>
                    <a:pt x="1659" y="208"/>
                  </a:lnTo>
                  <a:lnTo>
                    <a:pt x="1658" y="213"/>
                  </a:lnTo>
                  <a:lnTo>
                    <a:pt x="1654" y="222"/>
                  </a:lnTo>
                  <a:lnTo>
                    <a:pt x="1645" y="229"/>
                  </a:lnTo>
                  <a:lnTo>
                    <a:pt x="1635" y="237"/>
                  </a:lnTo>
                  <a:lnTo>
                    <a:pt x="1635" y="237"/>
                  </a:lnTo>
                  <a:lnTo>
                    <a:pt x="1624" y="244"/>
                  </a:lnTo>
                  <a:lnTo>
                    <a:pt x="1616" y="246"/>
                  </a:lnTo>
                  <a:lnTo>
                    <a:pt x="1611" y="246"/>
                  </a:lnTo>
                  <a:lnTo>
                    <a:pt x="1605" y="246"/>
                  </a:lnTo>
                  <a:lnTo>
                    <a:pt x="1604" y="244"/>
                  </a:lnTo>
                  <a:lnTo>
                    <a:pt x="1600" y="244"/>
                  </a:lnTo>
                  <a:lnTo>
                    <a:pt x="1598" y="248"/>
                  </a:lnTo>
                  <a:lnTo>
                    <a:pt x="1595" y="253"/>
                  </a:lnTo>
                  <a:lnTo>
                    <a:pt x="1595" y="253"/>
                  </a:lnTo>
                  <a:lnTo>
                    <a:pt x="1595" y="262"/>
                  </a:lnTo>
                  <a:lnTo>
                    <a:pt x="1597" y="272"/>
                  </a:lnTo>
                  <a:lnTo>
                    <a:pt x="1604" y="291"/>
                  </a:lnTo>
                  <a:lnTo>
                    <a:pt x="1605" y="298"/>
                  </a:lnTo>
                  <a:lnTo>
                    <a:pt x="1605" y="303"/>
                  </a:lnTo>
                  <a:lnTo>
                    <a:pt x="1605" y="303"/>
                  </a:lnTo>
                  <a:lnTo>
                    <a:pt x="1602" y="303"/>
                  </a:lnTo>
                  <a:lnTo>
                    <a:pt x="1595" y="300"/>
                  </a:lnTo>
                  <a:lnTo>
                    <a:pt x="1595" y="300"/>
                  </a:lnTo>
                  <a:lnTo>
                    <a:pt x="1577" y="288"/>
                  </a:lnTo>
                  <a:lnTo>
                    <a:pt x="1572" y="284"/>
                  </a:lnTo>
                  <a:lnTo>
                    <a:pt x="1569" y="279"/>
                  </a:lnTo>
                  <a:lnTo>
                    <a:pt x="1569" y="276"/>
                  </a:lnTo>
                  <a:lnTo>
                    <a:pt x="1569" y="270"/>
                  </a:lnTo>
                  <a:lnTo>
                    <a:pt x="1572" y="260"/>
                  </a:lnTo>
                  <a:lnTo>
                    <a:pt x="1572" y="260"/>
                  </a:lnTo>
                  <a:lnTo>
                    <a:pt x="1577" y="249"/>
                  </a:lnTo>
                  <a:lnTo>
                    <a:pt x="1577" y="244"/>
                  </a:lnTo>
                  <a:lnTo>
                    <a:pt x="1576" y="241"/>
                  </a:lnTo>
                  <a:lnTo>
                    <a:pt x="1574" y="237"/>
                  </a:lnTo>
                  <a:lnTo>
                    <a:pt x="1570" y="236"/>
                  </a:lnTo>
                  <a:lnTo>
                    <a:pt x="1563" y="234"/>
                  </a:lnTo>
                  <a:lnTo>
                    <a:pt x="1555" y="236"/>
                  </a:lnTo>
                  <a:lnTo>
                    <a:pt x="1555" y="236"/>
                  </a:lnTo>
                  <a:lnTo>
                    <a:pt x="1546" y="234"/>
                  </a:lnTo>
                  <a:lnTo>
                    <a:pt x="1539" y="232"/>
                  </a:lnTo>
                  <a:lnTo>
                    <a:pt x="1527" y="225"/>
                  </a:lnTo>
                  <a:lnTo>
                    <a:pt x="1522" y="223"/>
                  </a:lnTo>
                  <a:lnTo>
                    <a:pt x="1515" y="222"/>
                  </a:lnTo>
                  <a:lnTo>
                    <a:pt x="1508" y="222"/>
                  </a:lnTo>
                  <a:lnTo>
                    <a:pt x="1497" y="225"/>
                  </a:lnTo>
                  <a:lnTo>
                    <a:pt x="1497" y="225"/>
                  </a:lnTo>
                  <a:lnTo>
                    <a:pt x="1489" y="230"/>
                  </a:lnTo>
                  <a:lnTo>
                    <a:pt x="1485" y="236"/>
                  </a:lnTo>
                  <a:lnTo>
                    <a:pt x="1485" y="242"/>
                  </a:lnTo>
                  <a:lnTo>
                    <a:pt x="1485" y="249"/>
                  </a:lnTo>
                  <a:lnTo>
                    <a:pt x="1487" y="255"/>
                  </a:lnTo>
                  <a:lnTo>
                    <a:pt x="1487" y="260"/>
                  </a:lnTo>
                  <a:lnTo>
                    <a:pt x="1483" y="265"/>
                  </a:lnTo>
                  <a:lnTo>
                    <a:pt x="1478" y="269"/>
                  </a:lnTo>
                  <a:lnTo>
                    <a:pt x="1478" y="269"/>
                  </a:lnTo>
                  <a:lnTo>
                    <a:pt x="1469" y="269"/>
                  </a:lnTo>
                  <a:lnTo>
                    <a:pt x="1464" y="269"/>
                  </a:lnTo>
                  <a:lnTo>
                    <a:pt x="1454" y="263"/>
                  </a:lnTo>
                  <a:lnTo>
                    <a:pt x="1447" y="262"/>
                  </a:lnTo>
                  <a:lnTo>
                    <a:pt x="1438" y="260"/>
                  </a:lnTo>
                  <a:lnTo>
                    <a:pt x="1426" y="260"/>
                  </a:lnTo>
                  <a:lnTo>
                    <a:pt x="1409" y="263"/>
                  </a:lnTo>
                  <a:lnTo>
                    <a:pt x="1409" y="263"/>
                  </a:lnTo>
                  <a:lnTo>
                    <a:pt x="1384" y="267"/>
                  </a:lnTo>
                  <a:lnTo>
                    <a:pt x="1365" y="267"/>
                  </a:lnTo>
                  <a:lnTo>
                    <a:pt x="1349" y="263"/>
                  </a:lnTo>
                  <a:lnTo>
                    <a:pt x="1339" y="258"/>
                  </a:lnTo>
                  <a:lnTo>
                    <a:pt x="1320" y="249"/>
                  </a:lnTo>
                  <a:lnTo>
                    <a:pt x="1313" y="248"/>
                  </a:lnTo>
                  <a:lnTo>
                    <a:pt x="1306" y="248"/>
                  </a:lnTo>
                  <a:lnTo>
                    <a:pt x="1306" y="248"/>
                  </a:lnTo>
                  <a:lnTo>
                    <a:pt x="1299" y="249"/>
                  </a:lnTo>
                  <a:lnTo>
                    <a:pt x="1290" y="249"/>
                  </a:lnTo>
                  <a:lnTo>
                    <a:pt x="1283" y="249"/>
                  </a:lnTo>
                  <a:lnTo>
                    <a:pt x="1276" y="246"/>
                  </a:lnTo>
                  <a:lnTo>
                    <a:pt x="1266" y="237"/>
                  </a:lnTo>
                  <a:lnTo>
                    <a:pt x="1255" y="225"/>
                  </a:lnTo>
                  <a:lnTo>
                    <a:pt x="1245" y="215"/>
                  </a:lnTo>
                  <a:lnTo>
                    <a:pt x="1236" y="204"/>
                  </a:lnTo>
                  <a:lnTo>
                    <a:pt x="1231" y="199"/>
                  </a:lnTo>
                  <a:lnTo>
                    <a:pt x="1226" y="197"/>
                  </a:lnTo>
                  <a:lnTo>
                    <a:pt x="1220" y="195"/>
                  </a:lnTo>
                  <a:lnTo>
                    <a:pt x="1215" y="195"/>
                  </a:lnTo>
                  <a:lnTo>
                    <a:pt x="1215" y="195"/>
                  </a:lnTo>
                  <a:lnTo>
                    <a:pt x="1189" y="201"/>
                  </a:lnTo>
                  <a:lnTo>
                    <a:pt x="1173" y="204"/>
                  </a:lnTo>
                  <a:lnTo>
                    <a:pt x="1160" y="209"/>
                  </a:lnTo>
                  <a:lnTo>
                    <a:pt x="1147" y="215"/>
                  </a:lnTo>
                  <a:lnTo>
                    <a:pt x="1139" y="220"/>
                  </a:lnTo>
                  <a:lnTo>
                    <a:pt x="1135" y="223"/>
                  </a:lnTo>
                  <a:lnTo>
                    <a:pt x="1133" y="227"/>
                  </a:lnTo>
                  <a:lnTo>
                    <a:pt x="1133" y="232"/>
                  </a:lnTo>
                  <a:lnTo>
                    <a:pt x="1135" y="236"/>
                  </a:lnTo>
                  <a:lnTo>
                    <a:pt x="1135" y="236"/>
                  </a:lnTo>
                  <a:lnTo>
                    <a:pt x="1139" y="239"/>
                  </a:lnTo>
                  <a:lnTo>
                    <a:pt x="1142" y="242"/>
                  </a:lnTo>
                  <a:lnTo>
                    <a:pt x="1146" y="242"/>
                  </a:lnTo>
                  <a:lnTo>
                    <a:pt x="1149" y="242"/>
                  </a:lnTo>
                  <a:lnTo>
                    <a:pt x="1160" y="241"/>
                  </a:lnTo>
                  <a:lnTo>
                    <a:pt x="1168" y="237"/>
                  </a:lnTo>
                  <a:lnTo>
                    <a:pt x="1189" y="230"/>
                  </a:lnTo>
                  <a:lnTo>
                    <a:pt x="1198" y="229"/>
                  </a:lnTo>
                  <a:lnTo>
                    <a:pt x="1201" y="229"/>
                  </a:lnTo>
                  <a:lnTo>
                    <a:pt x="1203" y="230"/>
                  </a:lnTo>
                  <a:lnTo>
                    <a:pt x="1203" y="230"/>
                  </a:lnTo>
                  <a:lnTo>
                    <a:pt x="1205" y="232"/>
                  </a:lnTo>
                  <a:lnTo>
                    <a:pt x="1207" y="234"/>
                  </a:lnTo>
                  <a:lnTo>
                    <a:pt x="1203" y="237"/>
                  </a:lnTo>
                  <a:lnTo>
                    <a:pt x="1189" y="242"/>
                  </a:lnTo>
                  <a:lnTo>
                    <a:pt x="1172" y="249"/>
                  </a:lnTo>
                  <a:lnTo>
                    <a:pt x="1165" y="255"/>
                  </a:lnTo>
                  <a:lnTo>
                    <a:pt x="1160" y="260"/>
                  </a:lnTo>
                  <a:lnTo>
                    <a:pt x="1160" y="260"/>
                  </a:lnTo>
                  <a:lnTo>
                    <a:pt x="1160" y="263"/>
                  </a:lnTo>
                  <a:lnTo>
                    <a:pt x="1161" y="269"/>
                  </a:lnTo>
                  <a:lnTo>
                    <a:pt x="1165" y="279"/>
                  </a:lnTo>
                  <a:lnTo>
                    <a:pt x="1177" y="298"/>
                  </a:lnTo>
                  <a:lnTo>
                    <a:pt x="1180" y="305"/>
                  </a:lnTo>
                  <a:lnTo>
                    <a:pt x="1180" y="307"/>
                  </a:lnTo>
                  <a:lnTo>
                    <a:pt x="1179" y="307"/>
                  </a:lnTo>
                  <a:lnTo>
                    <a:pt x="1172" y="305"/>
                  </a:lnTo>
                  <a:lnTo>
                    <a:pt x="1156" y="295"/>
                  </a:lnTo>
                  <a:lnTo>
                    <a:pt x="1156" y="295"/>
                  </a:lnTo>
                  <a:lnTo>
                    <a:pt x="1139" y="284"/>
                  </a:lnTo>
                  <a:lnTo>
                    <a:pt x="1125" y="277"/>
                  </a:lnTo>
                  <a:lnTo>
                    <a:pt x="1109" y="270"/>
                  </a:lnTo>
                  <a:lnTo>
                    <a:pt x="1100" y="267"/>
                  </a:lnTo>
                  <a:lnTo>
                    <a:pt x="1095" y="263"/>
                  </a:lnTo>
                  <a:lnTo>
                    <a:pt x="1088" y="256"/>
                  </a:lnTo>
                  <a:lnTo>
                    <a:pt x="1088" y="256"/>
                  </a:lnTo>
                  <a:lnTo>
                    <a:pt x="1083" y="251"/>
                  </a:lnTo>
                  <a:lnTo>
                    <a:pt x="1079" y="249"/>
                  </a:lnTo>
                  <a:lnTo>
                    <a:pt x="1076" y="249"/>
                  </a:lnTo>
                  <a:lnTo>
                    <a:pt x="1072" y="253"/>
                  </a:lnTo>
                  <a:lnTo>
                    <a:pt x="1066" y="258"/>
                  </a:lnTo>
                  <a:lnTo>
                    <a:pt x="1057" y="262"/>
                  </a:lnTo>
                  <a:lnTo>
                    <a:pt x="1041" y="265"/>
                  </a:lnTo>
                  <a:lnTo>
                    <a:pt x="1022" y="267"/>
                  </a:lnTo>
                  <a:lnTo>
                    <a:pt x="1022" y="267"/>
                  </a:lnTo>
                  <a:lnTo>
                    <a:pt x="971" y="269"/>
                  </a:lnTo>
                  <a:lnTo>
                    <a:pt x="949" y="267"/>
                  </a:lnTo>
                  <a:lnTo>
                    <a:pt x="930" y="265"/>
                  </a:lnTo>
                  <a:lnTo>
                    <a:pt x="914" y="263"/>
                  </a:lnTo>
                  <a:lnTo>
                    <a:pt x="904" y="260"/>
                  </a:lnTo>
                  <a:lnTo>
                    <a:pt x="902" y="256"/>
                  </a:lnTo>
                  <a:lnTo>
                    <a:pt x="900" y="255"/>
                  </a:lnTo>
                  <a:lnTo>
                    <a:pt x="902" y="251"/>
                  </a:lnTo>
                  <a:lnTo>
                    <a:pt x="907" y="248"/>
                  </a:lnTo>
                  <a:lnTo>
                    <a:pt x="907" y="248"/>
                  </a:lnTo>
                  <a:lnTo>
                    <a:pt x="916" y="241"/>
                  </a:lnTo>
                  <a:lnTo>
                    <a:pt x="926" y="239"/>
                  </a:lnTo>
                  <a:lnTo>
                    <a:pt x="942" y="236"/>
                  </a:lnTo>
                  <a:lnTo>
                    <a:pt x="947" y="236"/>
                  </a:lnTo>
                  <a:lnTo>
                    <a:pt x="949" y="234"/>
                  </a:lnTo>
                  <a:lnTo>
                    <a:pt x="947" y="230"/>
                  </a:lnTo>
                  <a:lnTo>
                    <a:pt x="942" y="223"/>
                  </a:lnTo>
                  <a:lnTo>
                    <a:pt x="942" y="223"/>
                  </a:lnTo>
                  <a:lnTo>
                    <a:pt x="926" y="209"/>
                  </a:lnTo>
                  <a:lnTo>
                    <a:pt x="918" y="202"/>
                  </a:lnTo>
                  <a:lnTo>
                    <a:pt x="909" y="197"/>
                  </a:lnTo>
                  <a:lnTo>
                    <a:pt x="900" y="194"/>
                  </a:lnTo>
                  <a:lnTo>
                    <a:pt x="890" y="192"/>
                  </a:lnTo>
                  <a:lnTo>
                    <a:pt x="877" y="190"/>
                  </a:lnTo>
                  <a:lnTo>
                    <a:pt x="862" y="192"/>
                  </a:lnTo>
                  <a:lnTo>
                    <a:pt x="862" y="192"/>
                  </a:lnTo>
                  <a:lnTo>
                    <a:pt x="848" y="192"/>
                  </a:lnTo>
                  <a:lnTo>
                    <a:pt x="832" y="192"/>
                  </a:lnTo>
                  <a:lnTo>
                    <a:pt x="818" y="189"/>
                  </a:lnTo>
                  <a:lnTo>
                    <a:pt x="804" y="185"/>
                  </a:lnTo>
                  <a:lnTo>
                    <a:pt x="776" y="176"/>
                  </a:lnTo>
                  <a:lnTo>
                    <a:pt x="749" y="169"/>
                  </a:lnTo>
                  <a:lnTo>
                    <a:pt x="749" y="169"/>
                  </a:lnTo>
                  <a:lnTo>
                    <a:pt x="735" y="166"/>
                  </a:lnTo>
                  <a:lnTo>
                    <a:pt x="721" y="161"/>
                  </a:lnTo>
                  <a:lnTo>
                    <a:pt x="696" y="148"/>
                  </a:lnTo>
                  <a:lnTo>
                    <a:pt x="684" y="143"/>
                  </a:lnTo>
                  <a:lnTo>
                    <a:pt x="672" y="140"/>
                  </a:lnTo>
                  <a:lnTo>
                    <a:pt x="660" y="138"/>
                  </a:lnTo>
                  <a:lnTo>
                    <a:pt x="646" y="138"/>
                  </a:lnTo>
                  <a:lnTo>
                    <a:pt x="646" y="138"/>
                  </a:lnTo>
                  <a:lnTo>
                    <a:pt x="635" y="140"/>
                  </a:lnTo>
                  <a:lnTo>
                    <a:pt x="628" y="143"/>
                  </a:lnTo>
                  <a:lnTo>
                    <a:pt x="625" y="148"/>
                  </a:lnTo>
                  <a:lnTo>
                    <a:pt x="623" y="154"/>
                  </a:lnTo>
                  <a:lnTo>
                    <a:pt x="621" y="159"/>
                  </a:lnTo>
                  <a:lnTo>
                    <a:pt x="618" y="162"/>
                  </a:lnTo>
                  <a:lnTo>
                    <a:pt x="611" y="164"/>
                  </a:lnTo>
                  <a:lnTo>
                    <a:pt x="601" y="164"/>
                  </a:lnTo>
                  <a:lnTo>
                    <a:pt x="601" y="164"/>
                  </a:lnTo>
                  <a:lnTo>
                    <a:pt x="595" y="162"/>
                  </a:lnTo>
                  <a:lnTo>
                    <a:pt x="590" y="161"/>
                  </a:lnTo>
                  <a:lnTo>
                    <a:pt x="587" y="157"/>
                  </a:lnTo>
                  <a:lnTo>
                    <a:pt x="585" y="154"/>
                  </a:lnTo>
                  <a:lnTo>
                    <a:pt x="583" y="145"/>
                  </a:lnTo>
                  <a:lnTo>
                    <a:pt x="585" y="135"/>
                  </a:lnTo>
                  <a:lnTo>
                    <a:pt x="585" y="126"/>
                  </a:lnTo>
                  <a:lnTo>
                    <a:pt x="581" y="121"/>
                  </a:lnTo>
                  <a:lnTo>
                    <a:pt x="580" y="117"/>
                  </a:lnTo>
                  <a:lnTo>
                    <a:pt x="576" y="117"/>
                  </a:lnTo>
                  <a:lnTo>
                    <a:pt x="571" y="115"/>
                  </a:lnTo>
                  <a:lnTo>
                    <a:pt x="564" y="117"/>
                  </a:lnTo>
                  <a:lnTo>
                    <a:pt x="564" y="117"/>
                  </a:lnTo>
                  <a:lnTo>
                    <a:pt x="559" y="119"/>
                  </a:lnTo>
                  <a:lnTo>
                    <a:pt x="557" y="122"/>
                  </a:lnTo>
                  <a:lnTo>
                    <a:pt x="554" y="129"/>
                  </a:lnTo>
                  <a:lnTo>
                    <a:pt x="552" y="150"/>
                  </a:lnTo>
                  <a:lnTo>
                    <a:pt x="550" y="159"/>
                  </a:lnTo>
                  <a:lnTo>
                    <a:pt x="548" y="162"/>
                  </a:lnTo>
                  <a:lnTo>
                    <a:pt x="545" y="164"/>
                  </a:lnTo>
                  <a:lnTo>
                    <a:pt x="541" y="166"/>
                  </a:lnTo>
                  <a:lnTo>
                    <a:pt x="536" y="166"/>
                  </a:lnTo>
                  <a:lnTo>
                    <a:pt x="529" y="164"/>
                  </a:lnTo>
                  <a:lnTo>
                    <a:pt x="522" y="161"/>
                  </a:lnTo>
                  <a:lnTo>
                    <a:pt x="522" y="161"/>
                  </a:lnTo>
                  <a:lnTo>
                    <a:pt x="517" y="157"/>
                  </a:lnTo>
                  <a:lnTo>
                    <a:pt x="512" y="154"/>
                  </a:lnTo>
                  <a:lnTo>
                    <a:pt x="503" y="142"/>
                  </a:lnTo>
                  <a:lnTo>
                    <a:pt x="487" y="114"/>
                  </a:lnTo>
                  <a:lnTo>
                    <a:pt x="479" y="101"/>
                  </a:lnTo>
                  <a:lnTo>
                    <a:pt x="470" y="93"/>
                  </a:lnTo>
                  <a:lnTo>
                    <a:pt x="467" y="89"/>
                  </a:lnTo>
                  <a:lnTo>
                    <a:pt x="461" y="89"/>
                  </a:lnTo>
                  <a:lnTo>
                    <a:pt x="456" y="89"/>
                  </a:lnTo>
                  <a:lnTo>
                    <a:pt x="453" y="91"/>
                  </a:lnTo>
                  <a:lnTo>
                    <a:pt x="453" y="91"/>
                  </a:lnTo>
                  <a:lnTo>
                    <a:pt x="444" y="98"/>
                  </a:lnTo>
                  <a:lnTo>
                    <a:pt x="444" y="101"/>
                  </a:lnTo>
                  <a:lnTo>
                    <a:pt x="444" y="103"/>
                  </a:lnTo>
                  <a:lnTo>
                    <a:pt x="447" y="105"/>
                  </a:lnTo>
                  <a:lnTo>
                    <a:pt x="453" y="107"/>
                  </a:lnTo>
                  <a:lnTo>
                    <a:pt x="458" y="108"/>
                  </a:lnTo>
                  <a:lnTo>
                    <a:pt x="460" y="110"/>
                  </a:lnTo>
                  <a:lnTo>
                    <a:pt x="460" y="112"/>
                  </a:lnTo>
                  <a:lnTo>
                    <a:pt x="453" y="119"/>
                  </a:lnTo>
                  <a:lnTo>
                    <a:pt x="437" y="131"/>
                  </a:lnTo>
                  <a:lnTo>
                    <a:pt x="437" y="131"/>
                  </a:lnTo>
                  <a:lnTo>
                    <a:pt x="421" y="140"/>
                  </a:lnTo>
                  <a:lnTo>
                    <a:pt x="420" y="140"/>
                  </a:lnTo>
                  <a:lnTo>
                    <a:pt x="420" y="138"/>
                  </a:lnTo>
                  <a:lnTo>
                    <a:pt x="416" y="136"/>
                  </a:lnTo>
                  <a:lnTo>
                    <a:pt x="409" y="136"/>
                  </a:lnTo>
                  <a:lnTo>
                    <a:pt x="397" y="138"/>
                  </a:lnTo>
                  <a:lnTo>
                    <a:pt x="376" y="145"/>
                  </a:lnTo>
                  <a:lnTo>
                    <a:pt x="376" y="145"/>
                  </a:lnTo>
                  <a:lnTo>
                    <a:pt x="341" y="157"/>
                  </a:lnTo>
                  <a:lnTo>
                    <a:pt x="336" y="157"/>
                  </a:lnTo>
                  <a:lnTo>
                    <a:pt x="336" y="157"/>
                  </a:lnTo>
                  <a:lnTo>
                    <a:pt x="336" y="155"/>
                  </a:lnTo>
                  <a:lnTo>
                    <a:pt x="352" y="147"/>
                  </a:lnTo>
                  <a:lnTo>
                    <a:pt x="379" y="133"/>
                  </a:lnTo>
                  <a:lnTo>
                    <a:pt x="379" y="133"/>
                  </a:lnTo>
                  <a:lnTo>
                    <a:pt x="402" y="121"/>
                  </a:lnTo>
                  <a:lnTo>
                    <a:pt x="407" y="117"/>
                  </a:lnTo>
                  <a:lnTo>
                    <a:pt x="409" y="115"/>
                  </a:lnTo>
                  <a:lnTo>
                    <a:pt x="409" y="114"/>
                  </a:lnTo>
                  <a:lnTo>
                    <a:pt x="406" y="114"/>
                  </a:lnTo>
                  <a:lnTo>
                    <a:pt x="390" y="117"/>
                  </a:lnTo>
                  <a:lnTo>
                    <a:pt x="390" y="117"/>
                  </a:lnTo>
                  <a:lnTo>
                    <a:pt x="383" y="117"/>
                  </a:lnTo>
                  <a:lnTo>
                    <a:pt x="376" y="117"/>
                  </a:lnTo>
                  <a:lnTo>
                    <a:pt x="367" y="115"/>
                  </a:lnTo>
                  <a:lnTo>
                    <a:pt x="362" y="115"/>
                  </a:lnTo>
                  <a:lnTo>
                    <a:pt x="355" y="117"/>
                  </a:lnTo>
                  <a:lnTo>
                    <a:pt x="346" y="122"/>
                  </a:lnTo>
                  <a:lnTo>
                    <a:pt x="336" y="129"/>
                  </a:lnTo>
                  <a:lnTo>
                    <a:pt x="336" y="129"/>
                  </a:lnTo>
                  <a:lnTo>
                    <a:pt x="324" y="136"/>
                  </a:lnTo>
                  <a:lnTo>
                    <a:pt x="317" y="140"/>
                  </a:lnTo>
                  <a:lnTo>
                    <a:pt x="312" y="140"/>
                  </a:lnTo>
                  <a:lnTo>
                    <a:pt x="308" y="140"/>
                  </a:lnTo>
                  <a:lnTo>
                    <a:pt x="303" y="140"/>
                  </a:lnTo>
                  <a:lnTo>
                    <a:pt x="298" y="142"/>
                  </a:lnTo>
                  <a:lnTo>
                    <a:pt x="289" y="147"/>
                  </a:lnTo>
                  <a:lnTo>
                    <a:pt x="277" y="155"/>
                  </a:lnTo>
                  <a:lnTo>
                    <a:pt x="277" y="155"/>
                  </a:lnTo>
                  <a:lnTo>
                    <a:pt x="251" y="173"/>
                  </a:lnTo>
                  <a:lnTo>
                    <a:pt x="233" y="182"/>
                  </a:lnTo>
                  <a:lnTo>
                    <a:pt x="228" y="187"/>
                  </a:lnTo>
                  <a:lnTo>
                    <a:pt x="226" y="190"/>
                  </a:lnTo>
                  <a:lnTo>
                    <a:pt x="226" y="194"/>
                  </a:lnTo>
                  <a:lnTo>
                    <a:pt x="228" y="199"/>
                  </a:lnTo>
                  <a:lnTo>
                    <a:pt x="228" y="199"/>
                  </a:lnTo>
                  <a:lnTo>
                    <a:pt x="230" y="204"/>
                  </a:lnTo>
                  <a:lnTo>
                    <a:pt x="228" y="204"/>
                  </a:lnTo>
                  <a:lnTo>
                    <a:pt x="218" y="202"/>
                  </a:lnTo>
                  <a:lnTo>
                    <a:pt x="212" y="201"/>
                  </a:lnTo>
                  <a:lnTo>
                    <a:pt x="204" y="199"/>
                  </a:lnTo>
                  <a:lnTo>
                    <a:pt x="197" y="199"/>
                  </a:lnTo>
                  <a:lnTo>
                    <a:pt x="190" y="202"/>
                  </a:lnTo>
                  <a:lnTo>
                    <a:pt x="190" y="202"/>
                  </a:lnTo>
                  <a:lnTo>
                    <a:pt x="184" y="206"/>
                  </a:lnTo>
                  <a:lnTo>
                    <a:pt x="179" y="206"/>
                  </a:lnTo>
                  <a:lnTo>
                    <a:pt x="177" y="204"/>
                  </a:lnTo>
                  <a:lnTo>
                    <a:pt x="174" y="202"/>
                  </a:lnTo>
                  <a:lnTo>
                    <a:pt x="171" y="199"/>
                  </a:lnTo>
                  <a:lnTo>
                    <a:pt x="165" y="197"/>
                  </a:lnTo>
                  <a:lnTo>
                    <a:pt x="158" y="194"/>
                  </a:lnTo>
                  <a:lnTo>
                    <a:pt x="146" y="194"/>
                  </a:lnTo>
                  <a:lnTo>
                    <a:pt x="146" y="194"/>
                  </a:lnTo>
                  <a:lnTo>
                    <a:pt x="127" y="192"/>
                  </a:lnTo>
                  <a:lnTo>
                    <a:pt x="111" y="187"/>
                  </a:lnTo>
                  <a:lnTo>
                    <a:pt x="94" y="178"/>
                  </a:lnTo>
                  <a:lnTo>
                    <a:pt x="78" y="169"/>
                  </a:lnTo>
                  <a:lnTo>
                    <a:pt x="61" y="162"/>
                  </a:lnTo>
                  <a:lnTo>
                    <a:pt x="42" y="155"/>
                  </a:lnTo>
                  <a:lnTo>
                    <a:pt x="23" y="150"/>
                  </a:lnTo>
                  <a:lnTo>
                    <a:pt x="10" y="148"/>
                  </a:lnTo>
                  <a:lnTo>
                    <a:pt x="0" y="148"/>
                  </a:lnTo>
                  <a:lnTo>
                    <a:pt x="0" y="706"/>
                  </a:lnTo>
                  <a:lnTo>
                    <a:pt x="0" y="706"/>
                  </a:lnTo>
                  <a:lnTo>
                    <a:pt x="9" y="709"/>
                  </a:lnTo>
                  <a:lnTo>
                    <a:pt x="14" y="711"/>
                  </a:lnTo>
                  <a:lnTo>
                    <a:pt x="17" y="711"/>
                  </a:lnTo>
                  <a:lnTo>
                    <a:pt x="17" y="709"/>
                  </a:lnTo>
                  <a:lnTo>
                    <a:pt x="19" y="706"/>
                  </a:lnTo>
                  <a:lnTo>
                    <a:pt x="21" y="706"/>
                  </a:lnTo>
                  <a:lnTo>
                    <a:pt x="23" y="706"/>
                  </a:lnTo>
                  <a:lnTo>
                    <a:pt x="23" y="706"/>
                  </a:lnTo>
                  <a:lnTo>
                    <a:pt x="29" y="711"/>
                  </a:lnTo>
                  <a:lnTo>
                    <a:pt x="35" y="713"/>
                  </a:lnTo>
                  <a:lnTo>
                    <a:pt x="38" y="711"/>
                  </a:lnTo>
                  <a:lnTo>
                    <a:pt x="42" y="707"/>
                  </a:lnTo>
                  <a:lnTo>
                    <a:pt x="42" y="707"/>
                  </a:lnTo>
                  <a:lnTo>
                    <a:pt x="49" y="704"/>
                  </a:lnTo>
                  <a:lnTo>
                    <a:pt x="57" y="702"/>
                  </a:lnTo>
                  <a:lnTo>
                    <a:pt x="64" y="704"/>
                  </a:lnTo>
                  <a:lnTo>
                    <a:pt x="66" y="706"/>
                  </a:lnTo>
                  <a:lnTo>
                    <a:pt x="66" y="707"/>
                  </a:lnTo>
                  <a:lnTo>
                    <a:pt x="66" y="707"/>
                  </a:lnTo>
                  <a:lnTo>
                    <a:pt x="64" y="713"/>
                  </a:lnTo>
                  <a:lnTo>
                    <a:pt x="63" y="716"/>
                  </a:lnTo>
                  <a:lnTo>
                    <a:pt x="64" y="721"/>
                  </a:lnTo>
                  <a:lnTo>
                    <a:pt x="70" y="725"/>
                  </a:lnTo>
                  <a:lnTo>
                    <a:pt x="70" y="725"/>
                  </a:lnTo>
                  <a:lnTo>
                    <a:pt x="80" y="730"/>
                  </a:lnTo>
                  <a:lnTo>
                    <a:pt x="83" y="735"/>
                  </a:lnTo>
                  <a:lnTo>
                    <a:pt x="87" y="742"/>
                  </a:lnTo>
                  <a:lnTo>
                    <a:pt x="92" y="746"/>
                  </a:lnTo>
                  <a:lnTo>
                    <a:pt x="101" y="753"/>
                  </a:lnTo>
                  <a:lnTo>
                    <a:pt x="101" y="753"/>
                  </a:lnTo>
                  <a:lnTo>
                    <a:pt x="110" y="758"/>
                  </a:lnTo>
                  <a:lnTo>
                    <a:pt x="115" y="763"/>
                  </a:lnTo>
                  <a:lnTo>
                    <a:pt x="118" y="768"/>
                  </a:lnTo>
                  <a:lnTo>
                    <a:pt x="120" y="772"/>
                  </a:lnTo>
                  <a:lnTo>
                    <a:pt x="120" y="777"/>
                  </a:lnTo>
                  <a:lnTo>
                    <a:pt x="122" y="779"/>
                  </a:lnTo>
                  <a:lnTo>
                    <a:pt x="125" y="780"/>
                  </a:lnTo>
                  <a:lnTo>
                    <a:pt x="125" y="780"/>
                  </a:lnTo>
                  <a:lnTo>
                    <a:pt x="127" y="780"/>
                  </a:lnTo>
                  <a:lnTo>
                    <a:pt x="129" y="780"/>
                  </a:lnTo>
                  <a:lnTo>
                    <a:pt x="132" y="777"/>
                  </a:lnTo>
                  <a:lnTo>
                    <a:pt x="139" y="772"/>
                  </a:lnTo>
                  <a:lnTo>
                    <a:pt x="150" y="768"/>
                  </a:lnTo>
                  <a:lnTo>
                    <a:pt x="150" y="768"/>
                  </a:lnTo>
                  <a:lnTo>
                    <a:pt x="155" y="767"/>
                  </a:lnTo>
                  <a:lnTo>
                    <a:pt x="157" y="765"/>
                  </a:lnTo>
                  <a:lnTo>
                    <a:pt x="158" y="763"/>
                  </a:lnTo>
                  <a:lnTo>
                    <a:pt x="157" y="760"/>
                  </a:lnTo>
                  <a:lnTo>
                    <a:pt x="157" y="756"/>
                  </a:lnTo>
                  <a:lnTo>
                    <a:pt x="158" y="754"/>
                  </a:lnTo>
                  <a:lnTo>
                    <a:pt x="162" y="753"/>
                  </a:lnTo>
                  <a:lnTo>
                    <a:pt x="162" y="753"/>
                  </a:lnTo>
                  <a:lnTo>
                    <a:pt x="167" y="751"/>
                  </a:lnTo>
                  <a:lnTo>
                    <a:pt x="165" y="747"/>
                  </a:lnTo>
                  <a:lnTo>
                    <a:pt x="165" y="746"/>
                  </a:lnTo>
                  <a:lnTo>
                    <a:pt x="165" y="744"/>
                  </a:lnTo>
                  <a:lnTo>
                    <a:pt x="169" y="742"/>
                  </a:lnTo>
                  <a:lnTo>
                    <a:pt x="169" y="742"/>
                  </a:lnTo>
                  <a:lnTo>
                    <a:pt x="184" y="737"/>
                  </a:lnTo>
                  <a:lnTo>
                    <a:pt x="195" y="737"/>
                  </a:lnTo>
                  <a:lnTo>
                    <a:pt x="198" y="737"/>
                  </a:lnTo>
                  <a:lnTo>
                    <a:pt x="202" y="739"/>
                  </a:lnTo>
                  <a:lnTo>
                    <a:pt x="207" y="746"/>
                  </a:lnTo>
                  <a:lnTo>
                    <a:pt x="207" y="746"/>
                  </a:lnTo>
                  <a:lnTo>
                    <a:pt x="209" y="753"/>
                  </a:lnTo>
                  <a:lnTo>
                    <a:pt x="209" y="754"/>
                  </a:lnTo>
                  <a:lnTo>
                    <a:pt x="209" y="754"/>
                  </a:lnTo>
                  <a:lnTo>
                    <a:pt x="211" y="760"/>
                  </a:lnTo>
                  <a:lnTo>
                    <a:pt x="211" y="760"/>
                  </a:lnTo>
                  <a:lnTo>
                    <a:pt x="216" y="765"/>
                  </a:lnTo>
                  <a:lnTo>
                    <a:pt x="221" y="767"/>
                  </a:lnTo>
                  <a:lnTo>
                    <a:pt x="226" y="770"/>
                  </a:lnTo>
                  <a:lnTo>
                    <a:pt x="231" y="779"/>
                  </a:lnTo>
                  <a:lnTo>
                    <a:pt x="231" y="779"/>
                  </a:lnTo>
                  <a:lnTo>
                    <a:pt x="235" y="784"/>
                  </a:lnTo>
                  <a:lnTo>
                    <a:pt x="238" y="787"/>
                  </a:lnTo>
                  <a:lnTo>
                    <a:pt x="245" y="791"/>
                  </a:lnTo>
                  <a:lnTo>
                    <a:pt x="252" y="796"/>
                  </a:lnTo>
                  <a:lnTo>
                    <a:pt x="256" y="800"/>
                  </a:lnTo>
                  <a:lnTo>
                    <a:pt x="261" y="805"/>
                  </a:lnTo>
                  <a:lnTo>
                    <a:pt x="261" y="805"/>
                  </a:lnTo>
                  <a:lnTo>
                    <a:pt x="305" y="875"/>
                  </a:lnTo>
                  <a:lnTo>
                    <a:pt x="305" y="875"/>
                  </a:lnTo>
                  <a:lnTo>
                    <a:pt x="306" y="880"/>
                  </a:lnTo>
                  <a:lnTo>
                    <a:pt x="305" y="883"/>
                  </a:lnTo>
                  <a:lnTo>
                    <a:pt x="305" y="885"/>
                  </a:lnTo>
                  <a:lnTo>
                    <a:pt x="308" y="887"/>
                  </a:lnTo>
                  <a:lnTo>
                    <a:pt x="308" y="887"/>
                  </a:lnTo>
                  <a:lnTo>
                    <a:pt x="312" y="887"/>
                  </a:lnTo>
                  <a:lnTo>
                    <a:pt x="312" y="888"/>
                  </a:lnTo>
                  <a:lnTo>
                    <a:pt x="312" y="892"/>
                  </a:lnTo>
                  <a:lnTo>
                    <a:pt x="312" y="895"/>
                  </a:lnTo>
                  <a:lnTo>
                    <a:pt x="313" y="897"/>
                  </a:lnTo>
                  <a:lnTo>
                    <a:pt x="315" y="899"/>
                  </a:lnTo>
                  <a:lnTo>
                    <a:pt x="315" y="899"/>
                  </a:lnTo>
                  <a:lnTo>
                    <a:pt x="319" y="901"/>
                  </a:lnTo>
                  <a:lnTo>
                    <a:pt x="319" y="902"/>
                  </a:lnTo>
                  <a:lnTo>
                    <a:pt x="320" y="908"/>
                  </a:lnTo>
                  <a:lnTo>
                    <a:pt x="320" y="911"/>
                  </a:lnTo>
                  <a:lnTo>
                    <a:pt x="322" y="911"/>
                  </a:lnTo>
                  <a:lnTo>
                    <a:pt x="327" y="911"/>
                  </a:lnTo>
                  <a:lnTo>
                    <a:pt x="327" y="911"/>
                  </a:lnTo>
                  <a:lnTo>
                    <a:pt x="331" y="911"/>
                  </a:lnTo>
                  <a:lnTo>
                    <a:pt x="332" y="911"/>
                  </a:lnTo>
                  <a:lnTo>
                    <a:pt x="336" y="915"/>
                  </a:lnTo>
                  <a:lnTo>
                    <a:pt x="343" y="920"/>
                  </a:lnTo>
                  <a:lnTo>
                    <a:pt x="348" y="923"/>
                  </a:lnTo>
                  <a:lnTo>
                    <a:pt x="355" y="925"/>
                  </a:lnTo>
                  <a:lnTo>
                    <a:pt x="355" y="925"/>
                  </a:lnTo>
                  <a:lnTo>
                    <a:pt x="362" y="928"/>
                  </a:lnTo>
                  <a:lnTo>
                    <a:pt x="367" y="930"/>
                  </a:lnTo>
                  <a:lnTo>
                    <a:pt x="369" y="934"/>
                  </a:lnTo>
                  <a:lnTo>
                    <a:pt x="371" y="935"/>
                  </a:lnTo>
                  <a:lnTo>
                    <a:pt x="371" y="939"/>
                  </a:lnTo>
                  <a:lnTo>
                    <a:pt x="376" y="939"/>
                  </a:lnTo>
                  <a:lnTo>
                    <a:pt x="376" y="939"/>
                  </a:lnTo>
                  <a:lnTo>
                    <a:pt x="383" y="939"/>
                  </a:lnTo>
                  <a:lnTo>
                    <a:pt x="385" y="942"/>
                  </a:lnTo>
                  <a:lnTo>
                    <a:pt x="385" y="946"/>
                  </a:lnTo>
                  <a:lnTo>
                    <a:pt x="383" y="949"/>
                  </a:lnTo>
                  <a:lnTo>
                    <a:pt x="383" y="949"/>
                  </a:lnTo>
                  <a:lnTo>
                    <a:pt x="383" y="956"/>
                  </a:lnTo>
                  <a:lnTo>
                    <a:pt x="383" y="962"/>
                  </a:lnTo>
                  <a:lnTo>
                    <a:pt x="385" y="974"/>
                  </a:lnTo>
                  <a:lnTo>
                    <a:pt x="386" y="984"/>
                  </a:lnTo>
                  <a:lnTo>
                    <a:pt x="386" y="988"/>
                  </a:lnTo>
                  <a:lnTo>
                    <a:pt x="383" y="991"/>
                  </a:lnTo>
                  <a:lnTo>
                    <a:pt x="383" y="991"/>
                  </a:lnTo>
                  <a:lnTo>
                    <a:pt x="379" y="995"/>
                  </a:lnTo>
                  <a:lnTo>
                    <a:pt x="379" y="996"/>
                  </a:lnTo>
                  <a:lnTo>
                    <a:pt x="379" y="1003"/>
                  </a:lnTo>
                  <a:lnTo>
                    <a:pt x="379" y="1009"/>
                  </a:lnTo>
                  <a:lnTo>
                    <a:pt x="378" y="1012"/>
                  </a:lnTo>
                  <a:lnTo>
                    <a:pt x="376" y="1016"/>
                  </a:lnTo>
                  <a:lnTo>
                    <a:pt x="376" y="1016"/>
                  </a:lnTo>
                  <a:lnTo>
                    <a:pt x="371" y="1021"/>
                  </a:lnTo>
                  <a:lnTo>
                    <a:pt x="367" y="1026"/>
                  </a:lnTo>
                  <a:lnTo>
                    <a:pt x="367" y="1029"/>
                  </a:lnTo>
                  <a:lnTo>
                    <a:pt x="369" y="1033"/>
                  </a:lnTo>
                  <a:lnTo>
                    <a:pt x="373" y="1036"/>
                  </a:lnTo>
                  <a:lnTo>
                    <a:pt x="376" y="1040"/>
                  </a:lnTo>
                  <a:lnTo>
                    <a:pt x="378" y="1043"/>
                  </a:lnTo>
                  <a:lnTo>
                    <a:pt x="378" y="1043"/>
                  </a:lnTo>
                  <a:lnTo>
                    <a:pt x="381" y="1054"/>
                  </a:lnTo>
                  <a:lnTo>
                    <a:pt x="386" y="1063"/>
                  </a:lnTo>
                  <a:lnTo>
                    <a:pt x="395" y="1073"/>
                  </a:lnTo>
                  <a:lnTo>
                    <a:pt x="404" y="1082"/>
                  </a:lnTo>
                  <a:lnTo>
                    <a:pt x="404" y="1082"/>
                  </a:lnTo>
                  <a:lnTo>
                    <a:pt x="407" y="1085"/>
                  </a:lnTo>
                  <a:lnTo>
                    <a:pt x="409" y="1083"/>
                  </a:lnTo>
                  <a:lnTo>
                    <a:pt x="411" y="1076"/>
                  </a:lnTo>
                  <a:lnTo>
                    <a:pt x="413" y="1071"/>
                  </a:lnTo>
                  <a:lnTo>
                    <a:pt x="416" y="1066"/>
                  </a:lnTo>
                  <a:lnTo>
                    <a:pt x="421" y="1061"/>
                  </a:lnTo>
                  <a:lnTo>
                    <a:pt x="430" y="1059"/>
                  </a:lnTo>
                  <a:lnTo>
                    <a:pt x="430" y="1059"/>
                  </a:lnTo>
                  <a:lnTo>
                    <a:pt x="437" y="1059"/>
                  </a:lnTo>
                  <a:lnTo>
                    <a:pt x="439" y="1059"/>
                  </a:lnTo>
                  <a:lnTo>
                    <a:pt x="433" y="1064"/>
                  </a:lnTo>
                  <a:lnTo>
                    <a:pt x="428" y="1070"/>
                  </a:lnTo>
                  <a:lnTo>
                    <a:pt x="425" y="1073"/>
                  </a:lnTo>
                  <a:lnTo>
                    <a:pt x="423" y="1080"/>
                  </a:lnTo>
                  <a:lnTo>
                    <a:pt x="423" y="1087"/>
                  </a:lnTo>
                  <a:lnTo>
                    <a:pt x="423" y="1087"/>
                  </a:lnTo>
                  <a:lnTo>
                    <a:pt x="428" y="1094"/>
                  </a:lnTo>
                  <a:lnTo>
                    <a:pt x="432" y="1097"/>
                  </a:lnTo>
                  <a:lnTo>
                    <a:pt x="433" y="1099"/>
                  </a:lnTo>
                  <a:lnTo>
                    <a:pt x="435" y="1108"/>
                  </a:lnTo>
                  <a:lnTo>
                    <a:pt x="435" y="1108"/>
                  </a:lnTo>
                  <a:lnTo>
                    <a:pt x="437" y="1113"/>
                  </a:lnTo>
                  <a:lnTo>
                    <a:pt x="440" y="1115"/>
                  </a:lnTo>
                  <a:lnTo>
                    <a:pt x="444" y="1115"/>
                  </a:lnTo>
                  <a:lnTo>
                    <a:pt x="447" y="1113"/>
                  </a:lnTo>
                  <a:lnTo>
                    <a:pt x="451" y="1111"/>
                  </a:lnTo>
                  <a:lnTo>
                    <a:pt x="453" y="1111"/>
                  </a:lnTo>
                  <a:lnTo>
                    <a:pt x="453" y="1115"/>
                  </a:lnTo>
                  <a:lnTo>
                    <a:pt x="449" y="1122"/>
                  </a:lnTo>
                  <a:lnTo>
                    <a:pt x="449" y="1122"/>
                  </a:lnTo>
                  <a:lnTo>
                    <a:pt x="444" y="1137"/>
                  </a:lnTo>
                  <a:lnTo>
                    <a:pt x="440" y="1146"/>
                  </a:lnTo>
                  <a:lnTo>
                    <a:pt x="442" y="1151"/>
                  </a:lnTo>
                  <a:lnTo>
                    <a:pt x="444" y="1151"/>
                  </a:lnTo>
                  <a:lnTo>
                    <a:pt x="444" y="1151"/>
                  </a:lnTo>
                  <a:lnTo>
                    <a:pt x="446" y="1151"/>
                  </a:lnTo>
                  <a:lnTo>
                    <a:pt x="446" y="1151"/>
                  </a:lnTo>
                  <a:lnTo>
                    <a:pt x="446" y="1158"/>
                  </a:lnTo>
                  <a:lnTo>
                    <a:pt x="447" y="1164"/>
                  </a:lnTo>
                  <a:lnTo>
                    <a:pt x="447" y="1167"/>
                  </a:lnTo>
                  <a:lnTo>
                    <a:pt x="451" y="1169"/>
                  </a:lnTo>
                  <a:lnTo>
                    <a:pt x="451" y="1169"/>
                  </a:lnTo>
                  <a:lnTo>
                    <a:pt x="454" y="1167"/>
                  </a:lnTo>
                  <a:lnTo>
                    <a:pt x="454" y="1165"/>
                  </a:lnTo>
                  <a:lnTo>
                    <a:pt x="456" y="1158"/>
                  </a:lnTo>
                  <a:lnTo>
                    <a:pt x="458" y="1150"/>
                  </a:lnTo>
                  <a:lnTo>
                    <a:pt x="460" y="1146"/>
                  </a:lnTo>
                  <a:lnTo>
                    <a:pt x="463" y="1144"/>
                  </a:lnTo>
                  <a:lnTo>
                    <a:pt x="463" y="1144"/>
                  </a:lnTo>
                  <a:lnTo>
                    <a:pt x="472" y="1139"/>
                  </a:lnTo>
                  <a:lnTo>
                    <a:pt x="477" y="1136"/>
                  </a:lnTo>
                  <a:lnTo>
                    <a:pt x="480" y="1132"/>
                  </a:lnTo>
                  <a:lnTo>
                    <a:pt x="482" y="1132"/>
                  </a:lnTo>
                  <a:lnTo>
                    <a:pt x="482" y="1134"/>
                  </a:lnTo>
                  <a:lnTo>
                    <a:pt x="482" y="1134"/>
                  </a:lnTo>
                  <a:lnTo>
                    <a:pt x="484" y="1137"/>
                  </a:lnTo>
                  <a:lnTo>
                    <a:pt x="486" y="1137"/>
                  </a:lnTo>
                  <a:lnTo>
                    <a:pt x="491" y="1137"/>
                  </a:lnTo>
                  <a:lnTo>
                    <a:pt x="496" y="1139"/>
                  </a:lnTo>
                  <a:lnTo>
                    <a:pt x="496" y="1141"/>
                  </a:lnTo>
                  <a:lnTo>
                    <a:pt x="496" y="1144"/>
                  </a:lnTo>
                  <a:lnTo>
                    <a:pt x="496" y="1144"/>
                  </a:lnTo>
                  <a:lnTo>
                    <a:pt x="496" y="1148"/>
                  </a:lnTo>
                  <a:lnTo>
                    <a:pt x="496" y="1148"/>
                  </a:lnTo>
                  <a:lnTo>
                    <a:pt x="493" y="1146"/>
                  </a:lnTo>
                  <a:lnTo>
                    <a:pt x="489" y="1144"/>
                  </a:lnTo>
                  <a:lnTo>
                    <a:pt x="486" y="1143"/>
                  </a:lnTo>
                  <a:lnTo>
                    <a:pt x="480" y="1144"/>
                  </a:lnTo>
                  <a:lnTo>
                    <a:pt x="475" y="1148"/>
                  </a:lnTo>
                  <a:lnTo>
                    <a:pt x="475" y="1148"/>
                  </a:lnTo>
                  <a:lnTo>
                    <a:pt x="465" y="1157"/>
                  </a:lnTo>
                  <a:lnTo>
                    <a:pt x="460" y="1164"/>
                  </a:lnTo>
                  <a:lnTo>
                    <a:pt x="460" y="1169"/>
                  </a:lnTo>
                  <a:lnTo>
                    <a:pt x="460" y="1176"/>
                  </a:lnTo>
                  <a:lnTo>
                    <a:pt x="460" y="1176"/>
                  </a:lnTo>
                  <a:lnTo>
                    <a:pt x="461" y="1179"/>
                  </a:lnTo>
                  <a:lnTo>
                    <a:pt x="463" y="1183"/>
                  </a:lnTo>
                  <a:lnTo>
                    <a:pt x="467" y="1184"/>
                  </a:lnTo>
                  <a:lnTo>
                    <a:pt x="468" y="1186"/>
                  </a:lnTo>
                  <a:lnTo>
                    <a:pt x="467" y="1190"/>
                  </a:lnTo>
                  <a:lnTo>
                    <a:pt x="467" y="1190"/>
                  </a:lnTo>
                  <a:lnTo>
                    <a:pt x="463" y="1191"/>
                  </a:lnTo>
                  <a:lnTo>
                    <a:pt x="463" y="1193"/>
                  </a:lnTo>
                  <a:lnTo>
                    <a:pt x="465" y="1195"/>
                  </a:lnTo>
                  <a:lnTo>
                    <a:pt x="467" y="1195"/>
                  </a:lnTo>
                  <a:lnTo>
                    <a:pt x="465" y="1198"/>
                  </a:lnTo>
                  <a:lnTo>
                    <a:pt x="465" y="1198"/>
                  </a:lnTo>
                  <a:lnTo>
                    <a:pt x="461" y="1200"/>
                  </a:lnTo>
                  <a:lnTo>
                    <a:pt x="461" y="1202"/>
                  </a:lnTo>
                  <a:lnTo>
                    <a:pt x="463" y="1205"/>
                  </a:lnTo>
                  <a:lnTo>
                    <a:pt x="465" y="1207"/>
                  </a:lnTo>
                  <a:lnTo>
                    <a:pt x="472" y="1212"/>
                  </a:lnTo>
                  <a:lnTo>
                    <a:pt x="480" y="1216"/>
                  </a:lnTo>
                  <a:lnTo>
                    <a:pt x="480" y="1216"/>
                  </a:lnTo>
                  <a:lnTo>
                    <a:pt x="487" y="1218"/>
                  </a:lnTo>
                  <a:lnTo>
                    <a:pt x="493" y="1216"/>
                  </a:lnTo>
                  <a:lnTo>
                    <a:pt x="498" y="1214"/>
                  </a:lnTo>
                  <a:lnTo>
                    <a:pt x="505" y="1214"/>
                  </a:lnTo>
                  <a:lnTo>
                    <a:pt x="505" y="1214"/>
                  </a:lnTo>
                  <a:lnTo>
                    <a:pt x="510" y="1216"/>
                  </a:lnTo>
                  <a:lnTo>
                    <a:pt x="510" y="1218"/>
                  </a:lnTo>
                  <a:lnTo>
                    <a:pt x="510" y="1219"/>
                  </a:lnTo>
                  <a:lnTo>
                    <a:pt x="515" y="1219"/>
                  </a:lnTo>
                  <a:lnTo>
                    <a:pt x="515" y="1219"/>
                  </a:lnTo>
                  <a:lnTo>
                    <a:pt x="521" y="1219"/>
                  </a:lnTo>
                  <a:lnTo>
                    <a:pt x="521" y="1223"/>
                  </a:lnTo>
                  <a:lnTo>
                    <a:pt x="519" y="1230"/>
                  </a:lnTo>
                  <a:lnTo>
                    <a:pt x="519" y="1233"/>
                  </a:lnTo>
                  <a:lnTo>
                    <a:pt x="519" y="1235"/>
                  </a:lnTo>
                  <a:lnTo>
                    <a:pt x="521" y="1237"/>
                  </a:lnTo>
                  <a:lnTo>
                    <a:pt x="526" y="1237"/>
                  </a:lnTo>
                  <a:lnTo>
                    <a:pt x="526" y="1237"/>
                  </a:lnTo>
                  <a:lnTo>
                    <a:pt x="531" y="1237"/>
                  </a:lnTo>
                  <a:lnTo>
                    <a:pt x="534" y="1238"/>
                  </a:lnTo>
                  <a:lnTo>
                    <a:pt x="536" y="1240"/>
                  </a:lnTo>
                  <a:lnTo>
                    <a:pt x="543" y="1238"/>
                  </a:lnTo>
                  <a:lnTo>
                    <a:pt x="543" y="1238"/>
                  </a:lnTo>
                  <a:lnTo>
                    <a:pt x="547" y="1237"/>
                  </a:lnTo>
                  <a:lnTo>
                    <a:pt x="552" y="1238"/>
                  </a:lnTo>
                  <a:lnTo>
                    <a:pt x="557" y="1242"/>
                  </a:lnTo>
                  <a:lnTo>
                    <a:pt x="562" y="1244"/>
                  </a:lnTo>
                  <a:lnTo>
                    <a:pt x="564" y="1245"/>
                  </a:lnTo>
                  <a:lnTo>
                    <a:pt x="568" y="1244"/>
                  </a:lnTo>
                  <a:lnTo>
                    <a:pt x="568" y="1244"/>
                  </a:lnTo>
                  <a:lnTo>
                    <a:pt x="569" y="1244"/>
                  </a:lnTo>
                  <a:lnTo>
                    <a:pt x="573" y="1244"/>
                  </a:lnTo>
                  <a:lnTo>
                    <a:pt x="574" y="1249"/>
                  </a:lnTo>
                  <a:lnTo>
                    <a:pt x="574" y="1256"/>
                  </a:lnTo>
                  <a:lnTo>
                    <a:pt x="573" y="1258"/>
                  </a:lnTo>
                  <a:lnTo>
                    <a:pt x="569" y="1259"/>
                  </a:lnTo>
                  <a:lnTo>
                    <a:pt x="569" y="1259"/>
                  </a:lnTo>
                  <a:lnTo>
                    <a:pt x="568" y="1261"/>
                  </a:lnTo>
                  <a:lnTo>
                    <a:pt x="568" y="1263"/>
                  </a:lnTo>
                  <a:lnTo>
                    <a:pt x="573" y="1270"/>
                  </a:lnTo>
                  <a:lnTo>
                    <a:pt x="581" y="1273"/>
                  </a:lnTo>
                  <a:lnTo>
                    <a:pt x="587" y="1275"/>
                  </a:lnTo>
                  <a:lnTo>
                    <a:pt x="590" y="1273"/>
                  </a:lnTo>
                  <a:lnTo>
                    <a:pt x="590" y="1273"/>
                  </a:lnTo>
                  <a:lnTo>
                    <a:pt x="597" y="1270"/>
                  </a:lnTo>
                  <a:lnTo>
                    <a:pt x="599" y="1266"/>
                  </a:lnTo>
                  <a:lnTo>
                    <a:pt x="599" y="1265"/>
                  </a:lnTo>
                  <a:lnTo>
                    <a:pt x="601" y="1265"/>
                  </a:lnTo>
                  <a:lnTo>
                    <a:pt x="601" y="1271"/>
                  </a:lnTo>
                  <a:lnTo>
                    <a:pt x="601" y="1271"/>
                  </a:lnTo>
                  <a:lnTo>
                    <a:pt x="601" y="1277"/>
                  </a:lnTo>
                  <a:lnTo>
                    <a:pt x="604" y="1280"/>
                  </a:lnTo>
                  <a:lnTo>
                    <a:pt x="606" y="1280"/>
                  </a:lnTo>
                  <a:lnTo>
                    <a:pt x="606" y="1284"/>
                  </a:lnTo>
                  <a:lnTo>
                    <a:pt x="606" y="1284"/>
                  </a:lnTo>
                  <a:lnTo>
                    <a:pt x="604" y="1285"/>
                  </a:lnTo>
                  <a:lnTo>
                    <a:pt x="604" y="1285"/>
                  </a:lnTo>
                  <a:lnTo>
                    <a:pt x="601" y="1282"/>
                  </a:lnTo>
                  <a:lnTo>
                    <a:pt x="597" y="1278"/>
                  </a:lnTo>
                  <a:lnTo>
                    <a:pt x="595" y="1278"/>
                  </a:lnTo>
                  <a:lnTo>
                    <a:pt x="594" y="1280"/>
                  </a:lnTo>
                  <a:lnTo>
                    <a:pt x="594" y="1280"/>
                  </a:lnTo>
                  <a:lnTo>
                    <a:pt x="594" y="1282"/>
                  </a:lnTo>
                  <a:lnTo>
                    <a:pt x="595" y="1285"/>
                  </a:lnTo>
                  <a:lnTo>
                    <a:pt x="601" y="1291"/>
                  </a:lnTo>
                  <a:lnTo>
                    <a:pt x="609" y="1294"/>
                  </a:lnTo>
                  <a:lnTo>
                    <a:pt x="613" y="1294"/>
                  </a:lnTo>
                  <a:lnTo>
                    <a:pt x="615" y="1292"/>
                  </a:lnTo>
                  <a:lnTo>
                    <a:pt x="615" y="1292"/>
                  </a:lnTo>
                  <a:lnTo>
                    <a:pt x="616" y="1287"/>
                  </a:lnTo>
                  <a:lnTo>
                    <a:pt x="618" y="1284"/>
                  </a:lnTo>
                  <a:lnTo>
                    <a:pt x="621" y="1284"/>
                  </a:lnTo>
                  <a:lnTo>
                    <a:pt x="621" y="1287"/>
                  </a:lnTo>
                  <a:lnTo>
                    <a:pt x="621" y="1287"/>
                  </a:lnTo>
                  <a:lnTo>
                    <a:pt x="621" y="1292"/>
                  </a:lnTo>
                  <a:lnTo>
                    <a:pt x="623" y="1299"/>
                  </a:lnTo>
                  <a:lnTo>
                    <a:pt x="625" y="1305"/>
                  </a:lnTo>
                  <a:lnTo>
                    <a:pt x="627" y="1310"/>
                  </a:lnTo>
                  <a:lnTo>
                    <a:pt x="627" y="1310"/>
                  </a:lnTo>
                  <a:lnTo>
                    <a:pt x="625" y="1315"/>
                  </a:lnTo>
                  <a:lnTo>
                    <a:pt x="627" y="1315"/>
                  </a:lnTo>
                  <a:lnTo>
                    <a:pt x="630" y="1315"/>
                  </a:lnTo>
                  <a:lnTo>
                    <a:pt x="632" y="1312"/>
                  </a:lnTo>
                  <a:lnTo>
                    <a:pt x="632" y="1312"/>
                  </a:lnTo>
                  <a:lnTo>
                    <a:pt x="634" y="1310"/>
                  </a:lnTo>
                  <a:lnTo>
                    <a:pt x="635" y="1310"/>
                  </a:lnTo>
                  <a:lnTo>
                    <a:pt x="639" y="1313"/>
                  </a:lnTo>
                  <a:lnTo>
                    <a:pt x="1605" y="13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 name="Freeform 1728">
              <a:extLst>
                <a:ext uri="{FF2B5EF4-FFF2-40B4-BE49-F238E27FC236}">
                  <a16:creationId xmlns:a16="http://schemas.microsoft.com/office/drawing/2014/main" id="{EE847166-0532-4B97-80AD-CBB232DD98F7}"/>
                </a:ext>
              </a:extLst>
            </p:cNvPr>
            <p:cNvSpPr>
              <a:spLocks/>
            </p:cNvSpPr>
            <p:nvPr/>
          </p:nvSpPr>
          <p:spPr bwMode="auto">
            <a:xfrm>
              <a:off x="2927779" y="2124266"/>
              <a:ext cx="22907" cy="38764"/>
            </a:xfrm>
            <a:custGeom>
              <a:avLst/>
              <a:gdLst/>
              <a:ahLst/>
              <a:cxnLst>
                <a:cxn ang="0">
                  <a:pos x="14" y="2"/>
                </a:cxn>
                <a:cxn ang="0">
                  <a:pos x="14" y="2"/>
                </a:cxn>
                <a:cxn ang="0">
                  <a:pos x="19" y="0"/>
                </a:cxn>
                <a:cxn ang="0">
                  <a:pos x="23" y="2"/>
                </a:cxn>
                <a:cxn ang="0">
                  <a:pos x="26" y="4"/>
                </a:cxn>
                <a:cxn ang="0">
                  <a:pos x="28" y="6"/>
                </a:cxn>
                <a:cxn ang="0">
                  <a:pos x="30" y="13"/>
                </a:cxn>
                <a:cxn ang="0">
                  <a:pos x="30" y="21"/>
                </a:cxn>
                <a:cxn ang="0">
                  <a:pos x="28" y="30"/>
                </a:cxn>
                <a:cxn ang="0">
                  <a:pos x="25" y="39"/>
                </a:cxn>
                <a:cxn ang="0">
                  <a:pos x="21" y="46"/>
                </a:cxn>
                <a:cxn ang="0">
                  <a:pos x="16" y="48"/>
                </a:cxn>
                <a:cxn ang="0">
                  <a:pos x="16" y="48"/>
                </a:cxn>
                <a:cxn ang="0">
                  <a:pos x="11" y="48"/>
                </a:cxn>
                <a:cxn ang="0">
                  <a:pos x="7" y="42"/>
                </a:cxn>
                <a:cxn ang="0">
                  <a:pos x="2" y="37"/>
                </a:cxn>
                <a:cxn ang="0">
                  <a:pos x="0" y="28"/>
                </a:cxn>
                <a:cxn ang="0">
                  <a:pos x="0" y="21"/>
                </a:cxn>
                <a:cxn ang="0">
                  <a:pos x="2" y="13"/>
                </a:cxn>
                <a:cxn ang="0">
                  <a:pos x="7" y="6"/>
                </a:cxn>
                <a:cxn ang="0">
                  <a:pos x="11" y="4"/>
                </a:cxn>
                <a:cxn ang="0">
                  <a:pos x="14" y="2"/>
                </a:cxn>
                <a:cxn ang="0">
                  <a:pos x="14" y="2"/>
                </a:cxn>
              </a:cxnLst>
              <a:rect l="0" t="0" r="r" b="b"/>
              <a:pathLst>
                <a:path w="30" h="48">
                  <a:moveTo>
                    <a:pt x="14" y="2"/>
                  </a:moveTo>
                  <a:lnTo>
                    <a:pt x="14" y="2"/>
                  </a:lnTo>
                  <a:lnTo>
                    <a:pt x="19" y="0"/>
                  </a:lnTo>
                  <a:lnTo>
                    <a:pt x="23" y="2"/>
                  </a:lnTo>
                  <a:lnTo>
                    <a:pt x="26" y="4"/>
                  </a:lnTo>
                  <a:lnTo>
                    <a:pt x="28" y="6"/>
                  </a:lnTo>
                  <a:lnTo>
                    <a:pt x="30" y="13"/>
                  </a:lnTo>
                  <a:lnTo>
                    <a:pt x="30" y="21"/>
                  </a:lnTo>
                  <a:lnTo>
                    <a:pt x="28" y="30"/>
                  </a:lnTo>
                  <a:lnTo>
                    <a:pt x="25" y="39"/>
                  </a:lnTo>
                  <a:lnTo>
                    <a:pt x="21" y="46"/>
                  </a:lnTo>
                  <a:lnTo>
                    <a:pt x="16" y="48"/>
                  </a:lnTo>
                  <a:lnTo>
                    <a:pt x="16" y="48"/>
                  </a:lnTo>
                  <a:lnTo>
                    <a:pt x="11" y="48"/>
                  </a:lnTo>
                  <a:lnTo>
                    <a:pt x="7" y="42"/>
                  </a:lnTo>
                  <a:lnTo>
                    <a:pt x="2" y="37"/>
                  </a:lnTo>
                  <a:lnTo>
                    <a:pt x="0" y="28"/>
                  </a:lnTo>
                  <a:lnTo>
                    <a:pt x="0" y="21"/>
                  </a:lnTo>
                  <a:lnTo>
                    <a:pt x="2" y="13"/>
                  </a:lnTo>
                  <a:lnTo>
                    <a:pt x="7" y="6"/>
                  </a:lnTo>
                  <a:lnTo>
                    <a:pt x="11" y="4"/>
                  </a:lnTo>
                  <a:lnTo>
                    <a:pt x="14" y="2"/>
                  </a:lnTo>
                  <a:lnTo>
                    <a:pt x="1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 name="Freeform 1729">
              <a:extLst>
                <a:ext uri="{FF2B5EF4-FFF2-40B4-BE49-F238E27FC236}">
                  <a16:creationId xmlns:a16="http://schemas.microsoft.com/office/drawing/2014/main" id="{AC9E0518-14F3-44F2-A7FC-44504C236F0C}"/>
                </a:ext>
              </a:extLst>
            </p:cNvPr>
            <p:cNvSpPr>
              <a:spLocks/>
            </p:cNvSpPr>
            <p:nvPr/>
          </p:nvSpPr>
          <p:spPr bwMode="auto">
            <a:xfrm>
              <a:off x="2235316" y="1472324"/>
              <a:ext cx="33478" cy="22906"/>
            </a:xfrm>
            <a:custGeom>
              <a:avLst/>
              <a:gdLst/>
              <a:ahLst/>
              <a:cxnLst>
                <a:cxn ang="0">
                  <a:pos x="0" y="16"/>
                </a:cxn>
                <a:cxn ang="0">
                  <a:pos x="0" y="16"/>
                </a:cxn>
                <a:cxn ang="0">
                  <a:pos x="2" y="7"/>
                </a:cxn>
                <a:cxn ang="0">
                  <a:pos x="6" y="2"/>
                </a:cxn>
                <a:cxn ang="0">
                  <a:pos x="13" y="0"/>
                </a:cxn>
                <a:cxn ang="0">
                  <a:pos x="20" y="0"/>
                </a:cxn>
                <a:cxn ang="0">
                  <a:pos x="27" y="2"/>
                </a:cxn>
                <a:cxn ang="0">
                  <a:pos x="34" y="6"/>
                </a:cxn>
                <a:cxn ang="0">
                  <a:pos x="39" y="11"/>
                </a:cxn>
                <a:cxn ang="0">
                  <a:pos x="42" y="16"/>
                </a:cxn>
                <a:cxn ang="0">
                  <a:pos x="42" y="16"/>
                </a:cxn>
                <a:cxn ang="0">
                  <a:pos x="42" y="18"/>
                </a:cxn>
                <a:cxn ang="0">
                  <a:pos x="42" y="20"/>
                </a:cxn>
                <a:cxn ang="0">
                  <a:pos x="37" y="23"/>
                </a:cxn>
                <a:cxn ang="0">
                  <a:pos x="30" y="27"/>
                </a:cxn>
                <a:cxn ang="0">
                  <a:pos x="23" y="28"/>
                </a:cxn>
                <a:cxn ang="0">
                  <a:pos x="14" y="28"/>
                </a:cxn>
                <a:cxn ang="0">
                  <a:pos x="7" y="27"/>
                </a:cxn>
                <a:cxn ang="0">
                  <a:pos x="2" y="23"/>
                </a:cxn>
                <a:cxn ang="0">
                  <a:pos x="0" y="20"/>
                </a:cxn>
                <a:cxn ang="0">
                  <a:pos x="0" y="16"/>
                </a:cxn>
                <a:cxn ang="0">
                  <a:pos x="0" y="16"/>
                </a:cxn>
              </a:cxnLst>
              <a:rect l="0" t="0" r="r" b="b"/>
              <a:pathLst>
                <a:path w="42" h="28">
                  <a:moveTo>
                    <a:pt x="0" y="16"/>
                  </a:moveTo>
                  <a:lnTo>
                    <a:pt x="0" y="16"/>
                  </a:lnTo>
                  <a:lnTo>
                    <a:pt x="2" y="7"/>
                  </a:lnTo>
                  <a:lnTo>
                    <a:pt x="6" y="2"/>
                  </a:lnTo>
                  <a:lnTo>
                    <a:pt x="13" y="0"/>
                  </a:lnTo>
                  <a:lnTo>
                    <a:pt x="20" y="0"/>
                  </a:lnTo>
                  <a:lnTo>
                    <a:pt x="27" y="2"/>
                  </a:lnTo>
                  <a:lnTo>
                    <a:pt x="34" y="6"/>
                  </a:lnTo>
                  <a:lnTo>
                    <a:pt x="39" y="11"/>
                  </a:lnTo>
                  <a:lnTo>
                    <a:pt x="42" y="16"/>
                  </a:lnTo>
                  <a:lnTo>
                    <a:pt x="42" y="16"/>
                  </a:lnTo>
                  <a:lnTo>
                    <a:pt x="42" y="18"/>
                  </a:lnTo>
                  <a:lnTo>
                    <a:pt x="42" y="20"/>
                  </a:lnTo>
                  <a:lnTo>
                    <a:pt x="37" y="23"/>
                  </a:lnTo>
                  <a:lnTo>
                    <a:pt x="30" y="27"/>
                  </a:lnTo>
                  <a:lnTo>
                    <a:pt x="23" y="28"/>
                  </a:lnTo>
                  <a:lnTo>
                    <a:pt x="14" y="28"/>
                  </a:lnTo>
                  <a:lnTo>
                    <a:pt x="7" y="27"/>
                  </a:lnTo>
                  <a:lnTo>
                    <a:pt x="2" y="23"/>
                  </a:lnTo>
                  <a:lnTo>
                    <a:pt x="0" y="20"/>
                  </a:lnTo>
                  <a:lnTo>
                    <a:pt x="0" y="16"/>
                  </a:lnTo>
                  <a:lnTo>
                    <a:pt x="0" y="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 name="Freeform 1730">
              <a:extLst>
                <a:ext uri="{FF2B5EF4-FFF2-40B4-BE49-F238E27FC236}">
                  <a16:creationId xmlns:a16="http://schemas.microsoft.com/office/drawing/2014/main" id="{E4E2ECB6-C313-4C46-AB98-FB196F5C9E13}"/>
                </a:ext>
              </a:extLst>
            </p:cNvPr>
            <p:cNvSpPr>
              <a:spLocks/>
            </p:cNvSpPr>
            <p:nvPr/>
          </p:nvSpPr>
          <p:spPr bwMode="auto">
            <a:xfrm>
              <a:off x="2238837" y="1400080"/>
              <a:ext cx="51098" cy="22907"/>
            </a:xfrm>
            <a:custGeom>
              <a:avLst/>
              <a:gdLst/>
              <a:ahLst/>
              <a:cxnLst>
                <a:cxn ang="0">
                  <a:pos x="7" y="3"/>
                </a:cxn>
                <a:cxn ang="0">
                  <a:pos x="7" y="3"/>
                </a:cxn>
                <a:cxn ang="0">
                  <a:pos x="16" y="0"/>
                </a:cxn>
                <a:cxn ang="0">
                  <a:pos x="21" y="0"/>
                </a:cxn>
                <a:cxn ang="0">
                  <a:pos x="27" y="1"/>
                </a:cxn>
                <a:cxn ang="0">
                  <a:pos x="30" y="3"/>
                </a:cxn>
                <a:cxn ang="0">
                  <a:pos x="40" y="10"/>
                </a:cxn>
                <a:cxn ang="0">
                  <a:pos x="46" y="14"/>
                </a:cxn>
                <a:cxn ang="0">
                  <a:pos x="54" y="15"/>
                </a:cxn>
                <a:cxn ang="0">
                  <a:pos x="54" y="15"/>
                </a:cxn>
                <a:cxn ang="0">
                  <a:pos x="61" y="17"/>
                </a:cxn>
                <a:cxn ang="0">
                  <a:pos x="61" y="19"/>
                </a:cxn>
                <a:cxn ang="0">
                  <a:pos x="60" y="21"/>
                </a:cxn>
                <a:cxn ang="0">
                  <a:pos x="54" y="22"/>
                </a:cxn>
                <a:cxn ang="0">
                  <a:pos x="46" y="26"/>
                </a:cxn>
                <a:cxn ang="0">
                  <a:pos x="35" y="27"/>
                </a:cxn>
                <a:cxn ang="0">
                  <a:pos x="25" y="27"/>
                </a:cxn>
                <a:cxn ang="0">
                  <a:pos x="14" y="27"/>
                </a:cxn>
                <a:cxn ang="0">
                  <a:pos x="11" y="26"/>
                </a:cxn>
                <a:cxn ang="0">
                  <a:pos x="7" y="22"/>
                </a:cxn>
                <a:cxn ang="0">
                  <a:pos x="7" y="22"/>
                </a:cxn>
                <a:cxn ang="0">
                  <a:pos x="2" y="14"/>
                </a:cxn>
                <a:cxn ang="0">
                  <a:pos x="0" y="10"/>
                </a:cxn>
                <a:cxn ang="0">
                  <a:pos x="2" y="7"/>
                </a:cxn>
                <a:cxn ang="0">
                  <a:pos x="7" y="3"/>
                </a:cxn>
                <a:cxn ang="0">
                  <a:pos x="7" y="3"/>
                </a:cxn>
              </a:cxnLst>
              <a:rect l="0" t="0" r="r" b="b"/>
              <a:pathLst>
                <a:path w="61" h="27">
                  <a:moveTo>
                    <a:pt x="7" y="3"/>
                  </a:moveTo>
                  <a:lnTo>
                    <a:pt x="7" y="3"/>
                  </a:lnTo>
                  <a:lnTo>
                    <a:pt x="16" y="0"/>
                  </a:lnTo>
                  <a:lnTo>
                    <a:pt x="21" y="0"/>
                  </a:lnTo>
                  <a:lnTo>
                    <a:pt x="27" y="1"/>
                  </a:lnTo>
                  <a:lnTo>
                    <a:pt x="30" y="3"/>
                  </a:lnTo>
                  <a:lnTo>
                    <a:pt x="40" y="10"/>
                  </a:lnTo>
                  <a:lnTo>
                    <a:pt x="46" y="14"/>
                  </a:lnTo>
                  <a:lnTo>
                    <a:pt x="54" y="15"/>
                  </a:lnTo>
                  <a:lnTo>
                    <a:pt x="54" y="15"/>
                  </a:lnTo>
                  <a:lnTo>
                    <a:pt x="61" y="17"/>
                  </a:lnTo>
                  <a:lnTo>
                    <a:pt x="61" y="19"/>
                  </a:lnTo>
                  <a:lnTo>
                    <a:pt x="60" y="21"/>
                  </a:lnTo>
                  <a:lnTo>
                    <a:pt x="54" y="22"/>
                  </a:lnTo>
                  <a:lnTo>
                    <a:pt x="46" y="26"/>
                  </a:lnTo>
                  <a:lnTo>
                    <a:pt x="35" y="27"/>
                  </a:lnTo>
                  <a:lnTo>
                    <a:pt x="25" y="27"/>
                  </a:lnTo>
                  <a:lnTo>
                    <a:pt x="14" y="27"/>
                  </a:lnTo>
                  <a:lnTo>
                    <a:pt x="11" y="26"/>
                  </a:lnTo>
                  <a:lnTo>
                    <a:pt x="7" y="22"/>
                  </a:lnTo>
                  <a:lnTo>
                    <a:pt x="7" y="22"/>
                  </a:lnTo>
                  <a:lnTo>
                    <a:pt x="2" y="14"/>
                  </a:lnTo>
                  <a:lnTo>
                    <a:pt x="0" y="10"/>
                  </a:lnTo>
                  <a:lnTo>
                    <a:pt x="2" y="7"/>
                  </a:lnTo>
                  <a:lnTo>
                    <a:pt x="7" y="3"/>
                  </a:lnTo>
                  <a:lnTo>
                    <a:pt x="7"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 name="Freeform 1731">
              <a:extLst>
                <a:ext uri="{FF2B5EF4-FFF2-40B4-BE49-F238E27FC236}">
                  <a16:creationId xmlns:a16="http://schemas.microsoft.com/office/drawing/2014/main" id="{40C639D2-2D71-45D7-8B5D-A41F92561C95}"/>
                </a:ext>
              </a:extLst>
            </p:cNvPr>
            <p:cNvSpPr>
              <a:spLocks/>
            </p:cNvSpPr>
            <p:nvPr/>
          </p:nvSpPr>
          <p:spPr bwMode="auto">
            <a:xfrm>
              <a:off x="2876681" y="2531288"/>
              <a:ext cx="40526" cy="22907"/>
            </a:xfrm>
            <a:custGeom>
              <a:avLst/>
              <a:gdLst/>
              <a:ahLst/>
              <a:cxnLst>
                <a:cxn ang="0">
                  <a:pos x="0" y="7"/>
                </a:cxn>
                <a:cxn ang="0">
                  <a:pos x="0" y="7"/>
                </a:cxn>
                <a:cxn ang="0">
                  <a:pos x="4" y="4"/>
                </a:cxn>
                <a:cxn ang="0">
                  <a:pos x="7" y="2"/>
                </a:cxn>
                <a:cxn ang="0">
                  <a:pos x="18" y="0"/>
                </a:cxn>
                <a:cxn ang="0">
                  <a:pos x="28" y="0"/>
                </a:cxn>
                <a:cxn ang="0">
                  <a:pos x="35" y="2"/>
                </a:cxn>
                <a:cxn ang="0">
                  <a:pos x="35" y="2"/>
                </a:cxn>
                <a:cxn ang="0">
                  <a:pos x="44" y="14"/>
                </a:cxn>
                <a:cxn ang="0">
                  <a:pos x="49" y="21"/>
                </a:cxn>
                <a:cxn ang="0">
                  <a:pos x="49" y="25"/>
                </a:cxn>
                <a:cxn ang="0">
                  <a:pos x="47" y="28"/>
                </a:cxn>
                <a:cxn ang="0">
                  <a:pos x="47" y="28"/>
                </a:cxn>
                <a:cxn ang="0">
                  <a:pos x="46" y="28"/>
                </a:cxn>
                <a:cxn ang="0">
                  <a:pos x="42" y="28"/>
                </a:cxn>
                <a:cxn ang="0">
                  <a:pos x="34" y="26"/>
                </a:cxn>
                <a:cxn ang="0">
                  <a:pos x="13" y="18"/>
                </a:cxn>
                <a:cxn ang="0">
                  <a:pos x="13" y="18"/>
                </a:cxn>
                <a:cxn ang="0">
                  <a:pos x="0" y="12"/>
                </a:cxn>
                <a:cxn ang="0">
                  <a:pos x="0" y="9"/>
                </a:cxn>
                <a:cxn ang="0">
                  <a:pos x="0" y="7"/>
                </a:cxn>
                <a:cxn ang="0">
                  <a:pos x="0" y="7"/>
                </a:cxn>
              </a:cxnLst>
              <a:rect l="0" t="0" r="r" b="b"/>
              <a:pathLst>
                <a:path w="49" h="28">
                  <a:moveTo>
                    <a:pt x="0" y="7"/>
                  </a:moveTo>
                  <a:lnTo>
                    <a:pt x="0" y="7"/>
                  </a:lnTo>
                  <a:lnTo>
                    <a:pt x="4" y="4"/>
                  </a:lnTo>
                  <a:lnTo>
                    <a:pt x="7" y="2"/>
                  </a:lnTo>
                  <a:lnTo>
                    <a:pt x="18" y="0"/>
                  </a:lnTo>
                  <a:lnTo>
                    <a:pt x="28" y="0"/>
                  </a:lnTo>
                  <a:lnTo>
                    <a:pt x="35" y="2"/>
                  </a:lnTo>
                  <a:lnTo>
                    <a:pt x="35" y="2"/>
                  </a:lnTo>
                  <a:lnTo>
                    <a:pt x="44" y="14"/>
                  </a:lnTo>
                  <a:lnTo>
                    <a:pt x="49" y="21"/>
                  </a:lnTo>
                  <a:lnTo>
                    <a:pt x="49" y="25"/>
                  </a:lnTo>
                  <a:lnTo>
                    <a:pt x="47" y="28"/>
                  </a:lnTo>
                  <a:lnTo>
                    <a:pt x="47" y="28"/>
                  </a:lnTo>
                  <a:lnTo>
                    <a:pt x="46" y="28"/>
                  </a:lnTo>
                  <a:lnTo>
                    <a:pt x="42" y="28"/>
                  </a:lnTo>
                  <a:lnTo>
                    <a:pt x="34" y="26"/>
                  </a:lnTo>
                  <a:lnTo>
                    <a:pt x="13" y="18"/>
                  </a:lnTo>
                  <a:lnTo>
                    <a:pt x="13" y="18"/>
                  </a:lnTo>
                  <a:lnTo>
                    <a:pt x="0" y="12"/>
                  </a:lnTo>
                  <a:lnTo>
                    <a:pt x="0" y="9"/>
                  </a:lnTo>
                  <a:lnTo>
                    <a:pt x="0" y="7"/>
                  </a:lnTo>
                  <a:lnTo>
                    <a:pt x="0" y="7"/>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 name="Freeform 1732">
              <a:extLst>
                <a:ext uri="{FF2B5EF4-FFF2-40B4-BE49-F238E27FC236}">
                  <a16:creationId xmlns:a16="http://schemas.microsoft.com/office/drawing/2014/main" id="{00EBC840-03E8-4EC0-93FE-ABF54AB89C10}"/>
                </a:ext>
              </a:extLst>
            </p:cNvPr>
            <p:cNvSpPr>
              <a:spLocks/>
            </p:cNvSpPr>
            <p:nvPr/>
          </p:nvSpPr>
          <p:spPr bwMode="auto">
            <a:xfrm>
              <a:off x="2933067" y="2386805"/>
              <a:ext cx="28192" cy="33478"/>
            </a:xfrm>
            <a:custGeom>
              <a:avLst/>
              <a:gdLst/>
              <a:ahLst/>
              <a:cxnLst>
                <a:cxn ang="0">
                  <a:pos x="0" y="40"/>
                </a:cxn>
                <a:cxn ang="0">
                  <a:pos x="0" y="40"/>
                </a:cxn>
                <a:cxn ang="0">
                  <a:pos x="0" y="36"/>
                </a:cxn>
                <a:cxn ang="0">
                  <a:pos x="0" y="35"/>
                </a:cxn>
                <a:cxn ang="0">
                  <a:pos x="7" y="26"/>
                </a:cxn>
                <a:cxn ang="0">
                  <a:pos x="7" y="26"/>
                </a:cxn>
                <a:cxn ang="0">
                  <a:pos x="11" y="22"/>
                </a:cxn>
                <a:cxn ang="0">
                  <a:pos x="12" y="19"/>
                </a:cxn>
                <a:cxn ang="0">
                  <a:pos x="16" y="17"/>
                </a:cxn>
                <a:cxn ang="0">
                  <a:pos x="18" y="14"/>
                </a:cxn>
                <a:cxn ang="0">
                  <a:pos x="18" y="14"/>
                </a:cxn>
                <a:cxn ang="0">
                  <a:pos x="18" y="10"/>
                </a:cxn>
                <a:cxn ang="0">
                  <a:pos x="18" y="7"/>
                </a:cxn>
                <a:cxn ang="0">
                  <a:pos x="18" y="5"/>
                </a:cxn>
                <a:cxn ang="0">
                  <a:pos x="18" y="3"/>
                </a:cxn>
                <a:cxn ang="0">
                  <a:pos x="18" y="3"/>
                </a:cxn>
                <a:cxn ang="0">
                  <a:pos x="19" y="3"/>
                </a:cxn>
                <a:cxn ang="0">
                  <a:pos x="19" y="5"/>
                </a:cxn>
                <a:cxn ang="0">
                  <a:pos x="19" y="12"/>
                </a:cxn>
                <a:cxn ang="0">
                  <a:pos x="19" y="12"/>
                </a:cxn>
                <a:cxn ang="0">
                  <a:pos x="19" y="15"/>
                </a:cxn>
                <a:cxn ang="0">
                  <a:pos x="21" y="15"/>
                </a:cxn>
                <a:cxn ang="0">
                  <a:pos x="24" y="7"/>
                </a:cxn>
                <a:cxn ang="0">
                  <a:pos x="24" y="7"/>
                </a:cxn>
                <a:cxn ang="0">
                  <a:pos x="26" y="0"/>
                </a:cxn>
                <a:cxn ang="0">
                  <a:pos x="28" y="2"/>
                </a:cxn>
                <a:cxn ang="0">
                  <a:pos x="31" y="3"/>
                </a:cxn>
                <a:cxn ang="0">
                  <a:pos x="31" y="3"/>
                </a:cxn>
                <a:cxn ang="0">
                  <a:pos x="37" y="9"/>
                </a:cxn>
                <a:cxn ang="0">
                  <a:pos x="37" y="12"/>
                </a:cxn>
                <a:cxn ang="0">
                  <a:pos x="35" y="19"/>
                </a:cxn>
                <a:cxn ang="0">
                  <a:pos x="35" y="19"/>
                </a:cxn>
                <a:cxn ang="0">
                  <a:pos x="31" y="35"/>
                </a:cxn>
                <a:cxn ang="0">
                  <a:pos x="30" y="38"/>
                </a:cxn>
                <a:cxn ang="0">
                  <a:pos x="26" y="40"/>
                </a:cxn>
                <a:cxn ang="0">
                  <a:pos x="26" y="40"/>
                </a:cxn>
                <a:cxn ang="0">
                  <a:pos x="26" y="40"/>
                </a:cxn>
                <a:cxn ang="0">
                  <a:pos x="26" y="38"/>
                </a:cxn>
                <a:cxn ang="0">
                  <a:pos x="28" y="31"/>
                </a:cxn>
                <a:cxn ang="0">
                  <a:pos x="30" y="24"/>
                </a:cxn>
                <a:cxn ang="0">
                  <a:pos x="30" y="22"/>
                </a:cxn>
                <a:cxn ang="0">
                  <a:pos x="28" y="21"/>
                </a:cxn>
                <a:cxn ang="0">
                  <a:pos x="28" y="21"/>
                </a:cxn>
                <a:cxn ang="0">
                  <a:pos x="24" y="24"/>
                </a:cxn>
                <a:cxn ang="0">
                  <a:pos x="23" y="31"/>
                </a:cxn>
                <a:cxn ang="0">
                  <a:pos x="19" y="36"/>
                </a:cxn>
                <a:cxn ang="0">
                  <a:pos x="18" y="40"/>
                </a:cxn>
                <a:cxn ang="0">
                  <a:pos x="14" y="40"/>
                </a:cxn>
                <a:cxn ang="0">
                  <a:pos x="14" y="40"/>
                </a:cxn>
                <a:cxn ang="0">
                  <a:pos x="9" y="42"/>
                </a:cxn>
                <a:cxn ang="0">
                  <a:pos x="14" y="33"/>
                </a:cxn>
                <a:cxn ang="0">
                  <a:pos x="14" y="33"/>
                </a:cxn>
                <a:cxn ang="0">
                  <a:pos x="16" y="28"/>
                </a:cxn>
                <a:cxn ang="0">
                  <a:pos x="16" y="26"/>
                </a:cxn>
                <a:cxn ang="0">
                  <a:pos x="11" y="31"/>
                </a:cxn>
                <a:cxn ang="0">
                  <a:pos x="11" y="31"/>
                </a:cxn>
                <a:cxn ang="0">
                  <a:pos x="4" y="40"/>
                </a:cxn>
                <a:cxn ang="0">
                  <a:pos x="2" y="42"/>
                </a:cxn>
                <a:cxn ang="0">
                  <a:pos x="0" y="40"/>
                </a:cxn>
                <a:cxn ang="0">
                  <a:pos x="0" y="40"/>
                </a:cxn>
              </a:cxnLst>
              <a:rect l="0" t="0" r="r" b="b"/>
              <a:pathLst>
                <a:path w="37" h="42">
                  <a:moveTo>
                    <a:pt x="0" y="40"/>
                  </a:moveTo>
                  <a:lnTo>
                    <a:pt x="0" y="40"/>
                  </a:lnTo>
                  <a:lnTo>
                    <a:pt x="0" y="36"/>
                  </a:lnTo>
                  <a:lnTo>
                    <a:pt x="0" y="35"/>
                  </a:lnTo>
                  <a:lnTo>
                    <a:pt x="7" y="26"/>
                  </a:lnTo>
                  <a:lnTo>
                    <a:pt x="7" y="26"/>
                  </a:lnTo>
                  <a:lnTo>
                    <a:pt x="11" y="22"/>
                  </a:lnTo>
                  <a:lnTo>
                    <a:pt x="12" y="19"/>
                  </a:lnTo>
                  <a:lnTo>
                    <a:pt x="16" y="17"/>
                  </a:lnTo>
                  <a:lnTo>
                    <a:pt x="18" y="14"/>
                  </a:lnTo>
                  <a:lnTo>
                    <a:pt x="18" y="14"/>
                  </a:lnTo>
                  <a:lnTo>
                    <a:pt x="18" y="10"/>
                  </a:lnTo>
                  <a:lnTo>
                    <a:pt x="18" y="7"/>
                  </a:lnTo>
                  <a:lnTo>
                    <a:pt x="18" y="5"/>
                  </a:lnTo>
                  <a:lnTo>
                    <a:pt x="18" y="3"/>
                  </a:lnTo>
                  <a:lnTo>
                    <a:pt x="18" y="3"/>
                  </a:lnTo>
                  <a:lnTo>
                    <a:pt x="19" y="3"/>
                  </a:lnTo>
                  <a:lnTo>
                    <a:pt x="19" y="5"/>
                  </a:lnTo>
                  <a:lnTo>
                    <a:pt x="19" y="12"/>
                  </a:lnTo>
                  <a:lnTo>
                    <a:pt x="19" y="12"/>
                  </a:lnTo>
                  <a:lnTo>
                    <a:pt x="19" y="15"/>
                  </a:lnTo>
                  <a:lnTo>
                    <a:pt x="21" y="15"/>
                  </a:lnTo>
                  <a:lnTo>
                    <a:pt x="24" y="7"/>
                  </a:lnTo>
                  <a:lnTo>
                    <a:pt x="24" y="7"/>
                  </a:lnTo>
                  <a:lnTo>
                    <a:pt x="26" y="0"/>
                  </a:lnTo>
                  <a:lnTo>
                    <a:pt x="28" y="2"/>
                  </a:lnTo>
                  <a:lnTo>
                    <a:pt x="31" y="3"/>
                  </a:lnTo>
                  <a:lnTo>
                    <a:pt x="31" y="3"/>
                  </a:lnTo>
                  <a:lnTo>
                    <a:pt x="37" y="9"/>
                  </a:lnTo>
                  <a:lnTo>
                    <a:pt x="37" y="12"/>
                  </a:lnTo>
                  <a:lnTo>
                    <a:pt x="35" y="19"/>
                  </a:lnTo>
                  <a:lnTo>
                    <a:pt x="35" y="19"/>
                  </a:lnTo>
                  <a:lnTo>
                    <a:pt x="31" y="35"/>
                  </a:lnTo>
                  <a:lnTo>
                    <a:pt x="30" y="38"/>
                  </a:lnTo>
                  <a:lnTo>
                    <a:pt x="26" y="40"/>
                  </a:lnTo>
                  <a:lnTo>
                    <a:pt x="26" y="40"/>
                  </a:lnTo>
                  <a:lnTo>
                    <a:pt x="26" y="40"/>
                  </a:lnTo>
                  <a:lnTo>
                    <a:pt x="26" y="38"/>
                  </a:lnTo>
                  <a:lnTo>
                    <a:pt x="28" y="31"/>
                  </a:lnTo>
                  <a:lnTo>
                    <a:pt x="30" y="24"/>
                  </a:lnTo>
                  <a:lnTo>
                    <a:pt x="30" y="22"/>
                  </a:lnTo>
                  <a:lnTo>
                    <a:pt x="28" y="21"/>
                  </a:lnTo>
                  <a:lnTo>
                    <a:pt x="28" y="21"/>
                  </a:lnTo>
                  <a:lnTo>
                    <a:pt x="24" y="24"/>
                  </a:lnTo>
                  <a:lnTo>
                    <a:pt x="23" y="31"/>
                  </a:lnTo>
                  <a:lnTo>
                    <a:pt x="19" y="36"/>
                  </a:lnTo>
                  <a:lnTo>
                    <a:pt x="18" y="40"/>
                  </a:lnTo>
                  <a:lnTo>
                    <a:pt x="14" y="40"/>
                  </a:lnTo>
                  <a:lnTo>
                    <a:pt x="14" y="40"/>
                  </a:lnTo>
                  <a:lnTo>
                    <a:pt x="9" y="42"/>
                  </a:lnTo>
                  <a:lnTo>
                    <a:pt x="14" y="33"/>
                  </a:lnTo>
                  <a:lnTo>
                    <a:pt x="14" y="33"/>
                  </a:lnTo>
                  <a:lnTo>
                    <a:pt x="16" y="28"/>
                  </a:lnTo>
                  <a:lnTo>
                    <a:pt x="16" y="26"/>
                  </a:lnTo>
                  <a:lnTo>
                    <a:pt x="11" y="31"/>
                  </a:lnTo>
                  <a:lnTo>
                    <a:pt x="11" y="31"/>
                  </a:lnTo>
                  <a:lnTo>
                    <a:pt x="4" y="40"/>
                  </a:lnTo>
                  <a:lnTo>
                    <a:pt x="2" y="42"/>
                  </a:lnTo>
                  <a:lnTo>
                    <a:pt x="0" y="40"/>
                  </a:lnTo>
                  <a:lnTo>
                    <a:pt x="0" y="4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 name="Freeform 1733">
              <a:extLst>
                <a:ext uri="{FF2B5EF4-FFF2-40B4-BE49-F238E27FC236}">
                  <a16:creationId xmlns:a16="http://schemas.microsoft.com/office/drawing/2014/main" id="{1C499AF3-670A-4D08-9B60-F2BF94BA49E7}"/>
                </a:ext>
              </a:extLst>
            </p:cNvPr>
            <p:cNvSpPr>
              <a:spLocks/>
            </p:cNvSpPr>
            <p:nvPr/>
          </p:nvSpPr>
          <p:spPr bwMode="auto">
            <a:xfrm>
              <a:off x="5033368" y="1840582"/>
              <a:ext cx="368257" cy="636084"/>
            </a:xfrm>
            <a:custGeom>
              <a:avLst/>
              <a:gdLst/>
              <a:ahLst/>
              <a:cxnLst>
                <a:cxn ang="0">
                  <a:pos x="19" y="594"/>
                </a:cxn>
                <a:cxn ang="0">
                  <a:pos x="24" y="554"/>
                </a:cxn>
                <a:cxn ang="0">
                  <a:pos x="45" y="533"/>
                </a:cxn>
                <a:cxn ang="0">
                  <a:pos x="40" y="486"/>
                </a:cxn>
                <a:cxn ang="0">
                  <a:pos x="55" y="472"/>
                </a:cxn>
                <a:cxn ang="0">
                  <a:pos x="34" y="423"/>
                </a:cxn>
                <a:cxn ang="0">
                  <a:pos x="33" y="380"/>
                </a:cxn>
                <a:cxn ang="0">
                  <a:pos x="29" y="354"/>
                </a:cxn>
                <a:cxn ang="0">
                  <a:pos x="45" y="317"/>
                </a:cxn>
                <a:cxn ang="0">
                  <a:pos x="106" y="291"/>
                </a:cxn>
                <a:cxn ang="0">
                  <a:pos x="90" y="268"/>
                </a:cxn>
                <a:cxn ang="0">
                  <a:pos x="118" y="218"/>
                </a:cxn>
                <a:cxn ang="0">
                  <a:pos x="116" y="180"/>
                </a:cxn>
                <a:cxn ang="0">
                  <a:pos x="151" y="155"/>
                </a:cxn>
                <a:cxn ang="0">
                  <a:pos x="184" y="119"/>
                </a:cxn>
                <a:cxn ang="0">
                  <a:pos x="193" y="77"/>
                </a:cxn>
                <a:cxn ang="0">
                  <a:pos x="236" y="68"/>
                </a:cxn>
                <a:cxn ang="0">
                  <a:pos x="243" y="33"/>
                </a:cxn>
                <a:cxn ang="0">
                  <a:pos x="318" y="35"/>
                </a:cxn>
                <a:cxn ang="0">
                  <a:pos x="322" y="7"/>
                </a:cxn>
                <a:cxn ang="0">
                  <a:pos x="348" y="12"/>
                </a:cxn>
                <a:cxn ang="0">
                  <a:pos x="421" y="53"/>
                </a:cxn>
                <a:cxn ang="0">
                  <a:pos x="433" y="75"/>
                </a:cxn>
                <a:cxn ang="0">
                  <a:pos x="437" y="100"/>
                </a:cxn>
                <a:cxn ang="0">
                  <a:pos x="437" y="122"/>
                </a:cxn>
                <a:cxn ang="0">
                  <a:pos x="442" y="159"/>
                </a:cxn>
                <a:cxn ang="0">
                  <a:pos x="452" y="201"/>
                </a:cxn>
                <a:cxn ang="0">
                  <a:pos x="412" y="201"/>
                </a:cxn>
                <a:cxn ang="0">
                  <a:pos x="379" y="223"/>
                </a:cxn>
                <a:cxn ang="0">
                  <a:pos x="353" y="256"/>
                </a:cxn>
                <a:cxn ang="0">
                  <a:pos x="358" y="284"/>
                </a:cxn>
                <a:cxn ang="0">
                  <a:pos x="323" y="321"/>
                </a:cxn>
                <a:cxn ang="0">
                  <a:pos x="297" y="338"/>
                </a:cxn>
                <a:cxn ang="0">
                  <a:pos x="269" y="352"/>
                </a:cxn>
                <a:cxn ang="0">
                  <a:pos x="236" y="382"/>
                </a:cxn>
                <a:cxn ang="0">
                  <a:pos x="217" y="392"/>
                </a:cxn>
                <a:cxn ang="0">
                  <a:pos x="224" y="413"/>
                </a:cxn>
                <a:cxn ang="0">
                  <a:pos x="212" y="453"/>
                </a:cxn>
                <a:cxn ang="0">
                  <a:pos x="226" y="502"/>
                </a:cxn>
                <a:cxn ang="0">
                  <a:pos x="256" y="517"/>
                </a:cxn>
                <a:cxn ang="0">
                  <a:pos x="278" y="545"/>
                </a:cxn>
                <a:cxn ang="0">
                  <a:pos x="224" y="563"/>
                </a:cxn>
                <a:cxn ang="0">
                  <a:pos x="184" y="564"/>
                </a:cxn>
                <a:cxn ang="0">
                  <a:pos x="236" y="577"/>
                </a:cxn>
                <a:cxn ang="0">
                  <a:pos x="256" y="582"/>
                </a:cxn>
                <a:cxn ang="0">
                  <a:pos x="236" y="599"/>
                </a:cxn>
                <a:cxn ang="0">
                  <a:pos x="200" y="615"/>
                </a:cxn>
                <a:cxn ang="0">
                  <a:pos x="196" y="631"/>
                </a:cxn>
                <a:cxn ang="0">
                  <a:pos x="191" y="669"/>
                </a:cxn>
                <a:cxn ang="0">
                  <a:pos x="177" y="726"/>
                </a:cxn>
                <a:cxn ang="0">
                  <a:pos x="134" y="749"/>
                </a:cxn>
                <a:cxn ang="0">
                  <a:pos x="111" y="773"/>
                </a:cxn>
                <a:cxn ang="0">
                  <a:pos x="61" y="789"/>
                </a:cxn>
                <a:cxn ang="0">
                  <a:pos x="52" y="744"/>
                </a:cxn>
                <a:cxn ang="0">
                  <a:pos x="62" y="725"/>
                </a:cxn>
                <a:cxn ang="0">
                  <a:pos x="22" y="658"/>
                </a:cxn>
                <a:cxn ang="0">
                  <a:pos x="12" y="636"/>
                </a:cxn>
                <a:cxn ang="0">
                  <a:pos x="0" y="596"/>
                </a:cxn>
              </a:cxnLst>
              <a:rect l="0" t="0" r="r" b="b"/>
              <a:pathLst>
                <a:path w="458" h="794">
                  <a:moveTo>
                    <a:pt x="3" y="587"/>
                  </a:moveTo>
                  <a:lnTo>
                    <a:pt x="3" y="587"/>
                  </a:lnTo>
                  <a:lnTo>
                    <a:pt x="5" y="587"/>
                  </a:lnTo>
                  <a:lnTo>
                    <a:pt x="7" y="589"/>
                  </a:lnTo>
                  <a:lnTo>
                    <a:pt x="10" y="598"/>
                  </a:lnTo>
                  <a:lnTo>
                    <a:pt x="10" y="598"/>
                  </a:lnTo>
                  <a:lnTo>
                    <a:pt x="12" y="599"/>
                  </a:lnTo>
                  <a:lnTo>
                    <a:pt x="14" y="599"/>
                  </a:lnTo>
                  <a:lnTo>
                    <a:pt x="17" y="598"/>
                  </a:lnTo>
                  <a:lnTo>
                    <a:pt x="19" y="594"/>
                  </a:lnTo>
                  <a:lnTo>
                    <a:pt x="21" y="589"/>
                  </a:lnTo>
                  <a:lnTo>
                    <a:pt x="22" y="584"/>
                  </a:lnTo>
                  <a:lnTo>
                    <a:pt x="21" y="577"/>
                  </a:lnTo>
                  <a:lnTo>
                    <a:pt x="19" y="570"/>
                  </a:lnTo>
                  <a:lnTo>
                    <a:pt x="19" y="570"/>
                  </a:lnTo>
                  <a:lnTo>
                    <a:pt x="17" y="564"/>
                  </a:lnTo>
                  <a:lnTo>
                    <a:pt x="17" y="561"/>
                  </a:lnTo>
                  <a:lnTo>
                    <a:pt x="19" y="559"/>
                  </a:lnTo>
                  <a:lnTo>
                    <a:pt x="21" y="557"/>
                  </a:lnTo>
                  <a:lnTo>
                    <a:pt x="24" y="554"/>
                  </a:lnTo>
                  <a:lnTo>
                    <a:pt x="24" y="550"/>
                  </a:lnTo>
                  <a:lnTo>
                    <a:pt x="24" y="547"/>
                  </a:lnTo>
                  <a:lnTo>
                    <a:pt x="24" y="547"/>
                  </a:lnTo>
                  <a:lnTo>
                    <a:pt x="24" y="544"/>
                  </a:lnTo>
                  <a:lnTo>
                    <a:pt x="27" y="544"/>
                  </a:lnTo>
                  <a:lnTo>
                    <a:pt x="34" y="542"/>
                  </a:lnTo>
                  <a:lnTo>
                    <a:pt x="38" y="540"/>
                  </a:lnTo>
                  <a:lnTo>
                    <a:pt x="41" y="537"/>
                  </a:lnTo>
                  <a:lnTo>
                    <a:pt x="41" y="537"/>
                  </a:lnTo>
                  <a:lnTo>
                    <a:pt x="45" y="533"/>
                  </a:lnTo>
                  <a:lnTo>
                    <a:pt x="47" y="530"/>
                  </a:lnTo>
                  <a:lnTo>
                    <a:pt x="47" y="526"/>
                  </a:lnTo>
                  <a:lnTo>
                    <a:pt x="45" y="521"/>
                  </a:lnTo>
                  <a:lnTo>
                    <a:pt x="47" y="519"/>
                  </a:lnTo>
                  <a:lnTo>
                    <a:pt x="48" y="516"/>
                  </a:lnTo>
                  <a:lnTo>
                    <a:pt x="48" y="516"/>
                  </a:lnTo>
                  <a:lnTo>
                    <a:pt x="50" y="512"/>
                  </a:lnTo>
                  <a:lnTo>
                    <a:pt x="50" y="507"/>
                  </a:lnTo>
                  <a:lnTo>
                    <a:pt x="45" y="497"/>
                  </a:lnTo>
                  <a:lnTo>
                    <a:pt x="40" y="486"/>
                  </a:lnTo>
                  <a:lnTo>
                    <a:pt x="38" y="483"/>
                  </a:lnTo>
                  <a:lnTo>
                    <a:pt x="38" y="479"/>
                  </a:lnTo>
                  <a:lnTo>
                    <a:pt x="38" y="479"/>
                  </a:lnTo>
                  <a:lnTo>
                    <a:pt x="40" y="477"/>
                  </a:lnTo>
                  <a:lnTo>
                    <a:pt x="41" y="477"/>
                  </a:lnTo>
                  <a:lnTo>
                    <a:pt x="47" y="476"/>
                  </a:lnTo>
                  <a:lnTo>
                    <a:pt x="50" y="476"/>
                  </a:lnTo>
                  <a:lnTo>
                    <a:pt x="54" y="474"/>
                  </a:lnTo>
                  <a:lnTo>
                    <a:pt x="55" y="472"/>
                  </a:lnTo>
                  <a:lnTo>
                    <a:pt x="55" y="472"/>
                  </a:lnTo>
                  <a:lnTo>
                    <a:pt x="59" y="465"/>
                  </a:lnTo>
                  <a:lnTo>
                    <a:pt x="59" y="460"/>
                  </a:lnTo>
                  <a:lnTo>
                    <a:pt x="59" y="456"/>
                  </a:lnTo>
                  <a:lnTo>
                    <a:pt x="55" y="455"/>
                  </a:lnTo>
                  <a:lnTo>
                    <a:pt x="47" y="448"/>
                  </a:lnTo>
                  <a:lnTo>
                    <a:pt x="47" y="448"/>
                  </a:lnTo>
                  <a:lnTo>
                    <a:pt x="38" y="443"/>
                  </a:lnTo>
                  <a:lnTo>
                    <a:pt x="34" y="436"/>
                  </a:lnTo>
                  <a:lnTo>
                    <a:pt x="34" y="430"/>
                  </a:lnTo>
                  <a:lnTo>
                    <a:pt x="34" y="423"/>
                  </a:lnTo>
                  <a:lnTo>
                    <a:pt x="40" y="411"/>
                  </a:lnTo>
                  <a:lnTo>
                    <a:pt x="40" y="404"/>
                  </a:lnTo>
                  <a:lnTo>
                    <a:pt x="36" y="397"/>
                  </a:lnTo>
                  <a:lnTo>
                    <a:pt x="36" y="397"/>
                  </a:lnTo>
                  <a:lnTo>
                    <a:pt x="33" y="392"/>
                  </a:lnTo>
                  <a:lnTo>
                    <a:pt x="31" y="389"/>
                  </a:lnTo>
                  <a:lnTo>
                    <a:pt x="31" y="387"/>
                  </a:lnTo>
                  <a:lnTo>
                    <a:pt x="31" y="383"/>
                  </a:lnTo>
                  <a:lnTo>
                    <a:pt x="33" y="382"/>
                  </a:lnTo>
                  <a:lnTo>
                    <a:pt x="33" y="380"/>
                  </a:lnTo>
                  <a:lnTo>
                    <a:pt x="33" y="376"/>
                  </a:lnTo>
                  <a:lnTo>
                    <a:pt x="33" y="376"/>
                  </a:lnTo>
                  <a:lnTo>
                    <a:pt x="31" y="375"/>
                  </a:lnTo>
                  <a:lnTo>
                    <a:pt x="31" y="371"/>
                  </a:lnTo>
                  <a:lnTo>
                    <a:pt x="33" y="368"/>
                  </a:lnTo>
                  <a:lnTo>
                    <a:pt x="36" y="362"/>
                  </a:lnTo>
                  <a:lnTo>
                    <a:pt x="34" y="361"/>
                  </a:lnTo>
                  <a:lnTo>
                    <a:pt x="33" y="359"/>
                  </a:lnTo>
                  <a:lnTo>
                    <a:pt x="33" y="359"/>
                  </a:lnTo>
                  <a:lnTo>
                    <a:pt x="29" y="354"/>
                  </a:lnTo>
                  <a:lnTo>
                    <a:pt x="27" y="350"/>
                  </a:lnTo>
                  <a:lnTo>
                    <a:pt x="29" y="347"/>
                  </a:lnTo>
                  <a:lnTo>
                    <a:pt x="31" y="343"/>
                  </a:lnTo>
                  <a:lnTo>
                    <a:pt x="36" y="338"/>
                  </a:lnTo>
                  <a:lnTo>
                    <a:pt x="36" y="336"/>
                  </a:lnTo>
                  <a:lnTo>
                    <a:pt x="34" y="333"/>
                  </a:lnTo>
                  <a:lnTo>
                    <a:pt x="34" y="333"/>
                  </a:lnTo>
                  <a:lnTo>
                    <a:pt x="34" y="329"/>
                  </a:lnTo>
                  <a:lnTo>
                    <a:pt x="36" y="326"/>
                  </a:lnTo>
                  <a:lnTo>
                    <a:pt x="45" y="317"/>
                  </a:lnTo>
                  <a:lnTo>
                    <a:pt x="57" y="308"/>
                  </a:lnTo>
                  <a:lnTo>
                    <a:pt x="69" y="302"/>
                  </a:lnTo>
                  <a:lnTo>
                    <a:pt x="69" y="302"/>
                  </a:lnTo>
                  <a:lnTo>
                    <a:pt x="73" y="300"/>
                  </a:lnTo>
                  <a:lnTo>
                    <a:pt x="78" y="300"/>
                  </a:lnTo>
                  <a:lnTo>
                    <a:pt x="88" y="303"/>
                  </a:lnTo>
                  <a:lnTo>
                    <a:pt x="94" y="303"/>
                  </a:lnTo>
                  <a:lnTo>
                    <a:pt x="99" y="303"/>
                  </a:lnTo>
                  <a:lnTo>
                    <a:pt x="102" y="298"/>
                  </a:lnTo>
                  <a:lnTo>
                    <a:pt x="106" y="291"/>
                  </a:lnTo>
                  <a:lnTo>
                    <a:pt x="106" y="291"/>
                  </a:lnTo>
                  <a:lnTo>
                    <a:pt x="106" y="286"/>
                  </a:lnTo>
                  <a:lnTo>
                    <a:pt x="106" y="282"/>
                  </a:lnTo>
                  <a:lnTo>
                    <a:pt x="104" y="281"/>
                  </a:lnTo>
                  <a:lnTo>
                    <a:pt x="102" y="279"/>
                  </a:lnTo>
                  <a:lnTo>
                    <a:pt x="97" y="277"/>
                  </a:lnTo>
                  <a:lnTo>
                    <a:pt x="90" y="274"/>
                  </a:lnTo>
                  <a:lnTo>
                    <a:pt x="90" y="274"/>
                  </a:lnTo>
                  <a:lnTo>
                    <a:pt x="88" y="272"/>
                  </a:lnTo>
                  <a:lnTo>
                    <a:pt x="90" y="268"/>
                  </a:lnTo>
                  <a:lnTo>
                    <a:pt x="97" y="256"/>
                  </a:lnTo>
                  <a:lnTo>
                    <a:pt x="106" y="246"/>
                  </a:lnTo>
                  <a:lnTo>
                    <a:pt x="109" y="241"/>
                  </a:lnTo>
                  <a:lnTo>
                    <a:pt x="111" y="237"/>
                  </a:lnTo>
                  <a:lnTo>
                    <a:pt x="111" y="237"/>
                  </a:lnTo>
                  <a:lnTo>
                    <a:pt x="113" y="232"/>
                  </a:lnTo>
                  <a:lnTo>
                    <a:pt x="116" y="228"/>
                  </a:lnTo>
                  <a:lnTo>
                    <a:pt x="118" y="227"/>
                  </a:lnTo>
                  <a:lnTo>
                    <a:pt x="118" y="218"/>
                  </a:lnTo>
                  <a:lnTo>
                    <a:pt x="118" y="218"/>
                  </a:lnTo>
                  <a:lnTo>
                    <a:pt x="116" y="213"/>
                  </a:lnTo>
                  <a:lnTo>
                    <a:pt x="118" y="209"/>
                  </a:lnTo>
                  <a:lnTo>
                    <a:pt x="120" y="204"/>
                  </a:lnTo>
                  <a:lnTo>
                    <a:pt x="121" y="201"/>
                  </a:lnTo>
                  <a:lnTo>
                    <a:pt x="120" y="195"/>
                  </a:lnTo>
                  <a:lnTo>
                    <a:pt x="120" y="190"/>
                  </a:lnTo>
                  <a:lnTo>
                    <a:pt x="116" y="181"/>
                  </a:lnTo>
                  <a:lnTo>
                    <a:pt x="116" y="181"/>
                  </a:lnTo>
                  <a:lnTo>
                    <a:pt x="116" y="181"/>
                  </a:lnTo>
                  <a:lnTo>
                    <a:pt x="116" y="180"/>
                  </a:lnTo>
                  <a:lnTo>
                    <a:pt x="121" y="178"/>
                  </a:lnTo>
                  <a:lnTo>
                    <a:pt x="135" y="176"/>
                  </a:lnTo>
                  <a:lnTo>
                    <a:pt x="142" y="174"/>
                  </a:lnTo>
                  <a:lnTo>
                    <a:pt x="148" y="173"/>
                  </a:lnTo>
                  <a:lnTo>
                    <a:pt x="151" y="169"/>
                  </a:lnTo>
                  <a:lnTo>
                    <a:pt x="151" y="167"/>
                  </a:lnTo>
                  <a:lnTo>
                    <a:pt x="149" y="164"/>
                  </a:lnTo>
                  <a:lnTo>
                    <a:pt x="149" y="164"/>
                  </a:lnTo>
                  <a:lnTo>
                    <a:pt x="148" y="159"/>
                  </a:lnTo>
                  <a:lnTo>
                    <a:pt x="151" y="155"/>
                  </a:lnTo>
                  <a:lnTo>
                    <a:pt x="156" y="152"/>
                  </a:lnTo>
                  <a:lnTo>
                    <a:pt x="160" y="148"/>
                  </a:lnTo>
                  <a:lnTo>
                    <a:pt x="163" y="143"/>
                  </a:lnTo>
                  <a:lnTo>
                    <a:pt x="163" y="143"/>
                  </a:lnTo>
                  <a:lnTo>
                    <a:pt x="170" y="134"/>
                  </a:lnTo>
                  <a:lnTo>
                    <a:pt x="175" y="131"/>
                  </a:lnTo>
                  <a:lnTo>
                    <a:pt x="181" y="127"/>
                  </a:lnTo>
                  <a:lnTo>
                    <a:pt x="184" y="122"/>
                  </a:lnTo>
                  <a:lnTo>
                    <a:pt x="184" y="122"/>
                  </a:lnTo>
                  <a:lnTo>
                    <a:pt x="184" y="119"/>
                  </a:lnTo>
                  <a:lnTo>
                    <a:pt x="184" y="115"/>
                  </a:lnTo>
                  <a:lnTo>
                    <a:pt x="179" y="110"/>
                  </a:lnTo>
                  <a:lnTo>
                    <a:pt x="174" y="105"/>
                  </a:lnTo>
                  <a:lnTo>
                    <a:pt x="172" y="103"/>
                  </a:lnTo>
                  <a:lnTo>
                    <a:pt x="174" y="101"/>
                  </a:lnTo>
                  <a:lnTo>
                    <a:pt x="174" y="101"/>
                  </a:lnTo>
                  <a:lnTo>
                    <a:pt x="175" y="98"/>
                  </a:lnTo>
                  <a:lnTo>
                    <a:pt x="179" y="96"/>
                  </a:lnTo>
                  <a:lnTo>
                    <a:pt x="186" y="89"/>
                  </a:lnTo>
                  <a:lnTo>
                    <a:pt x="193" y="77"/>
                  </a:lnTo>
                  <a:lnTo>
                    <a:pt x="193" y="77"/>
                  </a:lnTo>
                  <a:lnTo>
                    <a:pt x="196" y="70"/>
                  </a:lnTo>
                  <a:lnTo>
                    <a:pt x="202" y="66"/>
                  </a:lnTo>
                  <a:lnTo>
                    <a:pt x="214" y="60"/>
                  </a:lnTo>
                  <a:lnTo>
                    <a:pt x="214" y="60"/>
                  </a:lnTo>
                  <a:lnTo>
                    <a:pt x="216" y="60"/>
                  </a:lnTo>
                  <a:lnTo>
                    <a:pt x="219" y="60"/>
                  </a:lnTo>
                  <a:lnTo>
                    <a:pt x="226" y="63"/>
                  </a:lnTo>
                  <a:lnTo>
                    <a:pt x="233" y="66"/>
                  </a:lnTo>
                  <a:lnTo>
                    <a:pt x="236" y="68"/>
                  </a:lnTo>
                  <a:lnTo>
                    <a:pt x="238" y="66"/>
                  </a:lnTo>
                  <a:lnTo>
                    <a:pt x="238" y="66"/>
                  </a:lnTo>
                  <a:lnTo>
                    <a:pt x="243" y="63"/>
                  </a:lnTo>
                  <a:lnTo>
                    <a:pt x="245" y="58"/>
                  </a:lnTo>
                  <a:lnTo>
                    <a:pt x="245" y="53"/>
                  </a:lnTo>
                  <a:lnTo>
                    <a:pt x="243" y="49"/>
                  </a:lnTo>
                  <a:lnTo>
                    <a:pt x="242" y="39"/>
                  </a:lnTo>
                  <a:lnTo>
                    <a:pt x="242" y="35"/>
                  </a:lnTo>
                  <a:lnTo>
                    <a:pt x="243" y="33"/>
                  </a:lnTo>
                  <a:lnTo>
                    <a:pt x="243" y="33"/>
                  </a:lnTo>
                  <a:lnTo>
                    <a:pt x="250" y="32"/>
                  </a:lnTo>
                  <a:lnTo>
                    <a:pt x="259" y="32"/>
                  </a:lnTo>
                  <a:lnTo>
                    <a:pt x="268" y="33"/>
                  </a:lnTo>
                  <a:lnTo>
                    <a:pt x="278" y="37"/>
                  </a:lnTo>
                  <a:lnTo>
                    <a:pt x="297" y="44"/>
                  </a:lnTo>
                  <a:lnTo>
                    <a:pt x="306" y="44"/>
                  </a:lnTo>
                  <a:lnTo>
                    <a:pt x="313" y="42"/>
                  </a:lnTo>
                  <a:lnTo>
                    <a:pt x="313" y="42"/>
                  </a:lnTo>
                  <a:lnTo>
                    <a:pt x="318" y="39"/>
                  </a:lnTo>
                  <a:lnTo>
                    <a:pt x="318" y="35"/>
                  </a:lnTo>
                  <a:lnTo>
                    <a:pt x="317" y="35"/>
                  </a:lnTo>
                  <a:lnTo>
                    <a:pt x="315" y="33"/>
                  </a:lnTo>
                  <a:lnTo>
                    <a:pt x="311" y="33"/>
                  </a:lnTo>
                  <a:lnTo>
                    <a:pt x="311" y="32"/>
                  </a:lnTo>
                  <a:lnTo>
                    <a:pt x="311" y="28"/>
                  </a:lnTo>
                  <a:lnTo>
                    <a:pt x="317" y="23"/>
                  </a:lnTo>
                  <a:lnTo>
                    <a:pt x="317" y="23"/>
                  </a:lnTo>
                  <a:lnTo>
                    <a:pt x="322" y="16"/>
                  </a:lnTo>
                  <a:lnTo>
                    <a:pt x="323" y="12"/>
                  </a:lnTo>
                  <a:lnTo>
                    <a:pt x="322" y="7"/>
                  </a:lnTo>
                  <a:lnTo>
                    <a:pt x="320" y="6"/>
                  </a:lnTo>
                  <a:lnTo>
                    <a:pt x="318" y="2"/>
                  </a:lnTo>
                  <a:lnTo>
                    <a:pt x="318" y="0"/>
                  </a:lnTo>
                  <a:lnTo>
                    <a:pt x="332" y="0"/>
                  </a:lnTo>
                  <a:lnTo>
                    <a:pt x="332" y="0"/>
                  </a:lnTo>
                  <a:lnTo>
                    <a:pt x="339" y="2"/>
                  </a:lnTo>
                  <a:lnTo>
                    <a:pt x="339" y="4"/>
                  </a:lnTo>
                  <a:lnTo>
                    <a:pt x="339" y="6"/>
                  </a:lnTo>
                  <a:lnTo>
                    <a:pt x="339" y="7"/>
                  </a:lnTo>
                  <a:lnTo>
                    <a:pt x="348" y="12"/>
                  </a:lnTo>
                  <a:lnTo>
                    <a:pt x="348" y="12"/>
                  </a:lnTo>
                  <a:lnTo>
                    <a:pt x="374" y="30"/>
                  </a:lnTo>
                  <a:lnTo>
                    <a:pt x="386" y="37"/>
                  </a:lnTo>
                  <a:lnTo>
                    <a:pt x="391" y="39"/>
                  </a:lnTo>
                  <a:lnTo>
                    <a:pt x="397" y="39"/>
                  </a:lnTo>
                  <a:lnTo>
                    <a:pt x="397" y="39"/>
                  </a:lnTo>
                  <a:lnTo>
                    <a:pt x="407" y="40"/>
                  </a:lnTo>
                  <a:lnTo>
                    <a:pt x="414" y="44"/>
                  </a:lnTo>
                  <a:lnTo>
                    <a:pt x="419" y="49"/>
                  </a:lnTo>
                  <a:lnTo>
                    <a:pt x="421" y="53"/>
                  </a:lnTo>
                  <a:lnTo>
                    <a:pt x="421" y="53"/>
                  </a:lnTo>
                  <a:lnTo>
                    <a:pt x="419" y="54"/>
                  </a:lnTo>
                  <a:lnTo>
                    <a:pt x="423" y="54"/>
                  </a:lnTo>
                  <a:lnTo>
                    <a:pt x="428" y="58"/>
                  </a:lnTo>
                  <a:lnTo>
                    <a:pt x="428" y="58"/>
                  </a:lnTo>
                  <a:lnTo>
                    <a:pt x="438" y="66"/>
                  </a:lnTo>
                  <a:lnTo>
                    <a:pt x="438" y="68"/>
                  </a:lnTo>
                  <a:lnTo>
                    <a:pt x="438" y="70"/>
                  </a:lnTo>
                  <a:lnTo>
                    <a:pt x="433" y="73"/>
                  </a:lnTo>
                  <a:lnTo>
                    <a:pt x="433" y="75"/>
                  </a:lnTo>
                  <a:lnTo>
                    <a:pt x="433" y="80"/>
                  </a:lnTo>
                  <a:lnTo>
                    <a:pt x="433" y="80"/>
                  </a:lnTo>
                  <a:lnTo>
                    <a:pt x="435" y="91"/>
                  </a:lnTo>
                  <a:lnTo>
                    <a:pt x="433" y="93"/>
                  </a:lnTo>
                  <a:lnTo>
                    <a:pt x="431" y="94"/>
                  </a:lnTo>
                  <a:lnTo>
                    <a:pt x="431" y="98"/>
                  </a:lnTo>
                  <a:lnTo>
                    <a:pt x="431" y="98"/>
                  </a:lnTo>
                  <a:lnTo>
                    <a:pt x="431" y="100"/>
                  </a:lnTo>
                  <a:lnTo>
                    <a:pt x="433" y="100"/>
                  </a:lnTo>
                  <a:lnTo>
                    <a:pt x="437" y="100"/>
                  </a:lnTo>
                  <a:lnTo>
                    <a:pt x="440" y="100"/>
                  </a:lnTo>
                  <a:lnTo>
                    <a:pt x="442" y="100"/>
                  </a:lnTo>
                  <a:lnTo>
                    <a:pt x="444" y="101"/>
                  </a:lnTo>
                  <a:lnTo>
                    <a:pt x="444" y="101"/>
                  </a:lnTo>
                  <a:lnTo>
                    <a:pt x="442" y="105"/>
                  </a:lnTo>
                  <a:lnTo>
                    <a:pt x="438" y="108"/>
                  </a:lnTo>
                  <a:lnTo>
                    <a:pt x="437" y="113"/>
                  </a:lnTo>
                  <a:lnTo>
                    <a:pt x="437" y="119"/>
                  </a:lnTo>
                  <a:lnTo>
                    <a:pt x="437" y="119"/>
                  </a:lnTo>
                  <a:lnTo>
                    <a:pt x="437" y="122"/>
                  </a:lnTo>
                  <a:lnTo>
                    <a:pt x="440" y="126"/>
                  </a:lnTo>
                  <a:lnTo>
                    <a:pt x="445" y="131"/>
                  </a:lnTo>
                  <a:lnTo>
                    <a:pt x="449" y="134"/>
                  </a:lnTo>
                  <a:lnTo>
                    <a:pt x="451" y="138"/>
                  </a:lnTo>
                  <a:lnTo>
                    <a:pt x="449" y="140"/>
                  </a:lnTo>
                  <a:lnTo>
                    <a:pt x="449" y="140"/>
                  </a:lnTo>
                  <a:lnTo>
                    <a:pt x="447" y="145"/>
                  </a:lnTo>
                  <a:lnTo>
                    <a:pt x="447" y="148"/>
                  </a:lnTo>
                  <a:lnTo>
                    <a:pt x="447" y="152"/>
                  </a:lnTo>
                  <a:lnTo>
                    <a:pt x="442" y="159"/>
                  </a:lnTo>
                  <a:lnTo>
                    <a:pt x="442" y="159"/>
                  </a:lnTo>
                  <a:lnTo>
                    <a:pt x="438" y="164"/>
                  </a:lnTo>
                  <a:lnTo>
                    <a:pt x="438" y="167"/>
                  </a:lnTo>
                  <a:lnTo>
                    <a:pt x="440" y="173"/>
                  </a:lnTo>
                  <a:lnTo>
                    <a:pt x="444" y="178"/>
                  </a:lnTo>
                  <a:lnTo>
                    <a:pt x="451" y="188"/>
                  </a:lnTo>
                  <a:lnTo>
                    <a:pt x="454" y="194"/>
                  </a:lnTo>
                  <a:lnTo>
                    <a:pt x="458" y="199"/>
                  </a:lnTo>
                  <a:lnTo>
                    <a:pt x="458" y="199"/>
                  </a:lnTo>
                  <a:lnTo>
                    <a:pt x="452" y="201"/>
                  </a:lnTo>
                  <a:lnTo>
                    <a:pt x="449" y="201"/>
                  </a:lnTo>
                  <a:lnTo>
                    <a:pt x="440" y="201"/>
                  </a:lnTo>
                  <a:lnTo>
                    <a:pt x="433" y="199"/>
                  </a:lnTo>
                  <a:lnTo>
                    <a:pt x="428" y="201"/>
                  </a:lnTo>
                  <a:lnTo>
                    <a:pt x="423" y="202"/>
                  </a:lnTo>
                  <a:lnTo>
                    <a:pt x="423" y="202"/>
                  </a:lnTo>
                  <a:lnTo>
                    <a:pt x="419" y="204"/>
                  </a:lnTo>
                  <a:lnTo>
                    <a:pt x="416" y="204"/>
                  </a:lnTo>
                  <a:lnTo>
                    <a:pt x="414" y="202"/>
                  </a:lnTo>
                  <a:lnTo>
                    <a:pt x="412" y="201"/>
                  </a:lnTo>
                  <a:lnTo>
                    <a:pt x="411" y="197"/>
                  </a:lnTo>
                  <a:lnTo>
                    <a:pt x="409" y="195"/>
                  </a:lnTo>
                  <a:lnTo>
                    <a:pt x="405" y="197"/>
                  </a:lnTo>
                  <a:lnTo>
                    <a:pt x="405" y="197"/>
                  </a:lnTo>
                  <a:lnTo>
                    <a:pt x="390" y="209"/>
                  </a:lnTo>
                  <a:lnTo>
                    <a:pt x="384" y="214"/>
                  </a:lnTo>
                  <a:lnTo>
                    <a:pt x="381" y="220"/>
                  </a:lnTo>
                  <a:lnTo>
                    <a:pt x="381" y="220"/>
                  </a:lnTo>
                  <a:lnTo>
                    <a:pt x="381" y="221"/>
                  </a:lnTo>
                  <a:lnTo>
                    <a:pt x="379" y="223"/>
                  </a:lnTo>
                  <a:lnTo>
                    <a:pt x="374" y="223"/>
                  </a:lnTo>
                  <a:lnTo>
                    <a:pt x="370" y="225"/>
                  </a:lnTo>
                  <a:lnTo>
                    <a:pt x="369" y="227"/>
                  </a:lnTo>
                  <a:lnTo>
                    <a:pt x="367" y="230"/>
                  </a:lnTo>
                  <a:lnTo>
                    <a:pt x="365" y="235"/>
                  </a:lnTo>
                  <a:lnTo>
                    <a:pt x="365" y="235"/>
                  </a:lnTo>
                  <a:lnTo>
                    <a:pt x="364" y="241"/>
                  </a:lnTo>
                  <a:lnTo>
                    <a:pt x="362" y="246"/>
                  </a:lnTo>
                  <a:lnTo>
                    <a:pt x="357" y="251"/>
                  </a:lnTo>
                  <a:lnTo>
                    <a:pt x="353" y="256"/>
                  </a:lnTo>
                  <a:lnTo>
                    <a:pt x="351" y="260"/>
                  </a:lnTo>
                  <a:lnTo>
                    <a:pt x="353" y="263"/>
                  </a:lnTo>
                  <a:lnTo>
                    <a:pt x="353" y="263"/>
                  </a:lnTo>
                  <a:lnTo>
                    <a:pt x="355" y="268"/>
                  </a:lnTo>
                  <a:lnTo>
                    <a:pt x="358" y="272"/>
                  </a:lnTo>
                  <a:lnTo>
                    <a:pt x="364" y="275"/>
                  </a:lnTo>
                  <a:lnTo>
                    <a:pt x="365" y="277"/>
                  </a:lnTo>
                  <a:lnTo>
                    <a:pt x="365" y="279"/>
                  </a:lnTo>
                  <a:lnTo>
                    <a:pt x="364" y="281"/>
                  </a:lnTo>
                  <a:lnTo>
                    <a:pt x="358" y="284"/>
                  </a:lnTo>
                  <a:lnTo>
                    <a:pt x="358" y="284"/>
                  </a:lnTo>
                  <a:lnTo>
                    <a:pt x="351" y="291"/>
                  </a:lnTo>
                  <a:lnTo>
                    <a:pt x="346" y="296"/>
                  </a:lnTo>
                  <a:lnTo>
                    <a:pt x="339" y="308"/>
                  </a:lnTo>
                  <a:lnTo>
                    <a:pt x="336" y="317"/>
                  </a:lnTo>
                  <a:lnTo>
                    <a:pt x="332" y="319"/>
                  </a:lnTo>
                  <a:lnTo>
                    <a:pt x="329" y="319"/>
                  </a:lnTo>
                  <a:lnTo>
                    <a:pt x="329" y="319"/>
                  </a:lnTo>
                  <a:lnTo>
                    <a:pt x="325" y="321"/>
                  </a:lnTo>
                  <a:lnTo>
                    <a:pt x="323" y="321"/>
                  </a:lnTo>
                  <a:lnTo>
                    <a:pt x="322" y="324"/>
                  </a:lnTo>
                  <a:lnTo>
                    <a:pt x="318" y="328"/>
                  </a:lnTo>
                  <a:lnTo>
                    <a:pt x="317" y="329"/>
                  </a:lnTo>
                  <a:lnTo>
                    <a:pt x="313" y="329"/>
                  </a:lnTo>
                  <a:lnTo>
                    <a:pt x="313" y="329"/>
                  </a:lnTo>
                  <a:lnTo>
                    <a:pt x="310" y="329"/>
                  </a:lnTo>
                  <a:lnTo>
                    <a:pt x="308" y="329"/>
                  </a:lnTo>
                  <a:lnTo>
                    <a:pt x="304" y="333"/>
                  </a:lnTo>
                  <a:lnTo>
                    <a:pt x="301" y="336"/>
                  </a:lnTo>
                  <a:lnTo>
                    <a:pt x="297" y="338"/>
                  </a:lnTo>
                  <a:lnTo>
                    <a:pt x="292" y="338"/>
                  </a:lnTo>
                  <a:lnTo>
                    <a:pt x="292" y="338"/>
                  </a:lnTo>
                  <a:lnTo>
                    <a:pt x="289" y="338"/>
                  </a:lnTo>
                  <a:lnTo>
                    <a:pt x="285" y="342"/>
                  </a:lnTo>
                  <a:lnTo>
                    <a:pt x="282" y="349"/>
                  </a:lnTo>
                  <a:lnTo>
                    <a:pt x="280" y="354"/>
                  </a:lnTo>
                  <a:lnTo>
                    <a:pt x="276" y="355"/>
                  </a:lnTo>
                  <a:lnTo>
                    <a:pt x="273" y="354"/>
                  </a:lnTo>
                  <a:lnTo>
                    <a:pt x="273" y="354"/>
                  </a:lnTo>
                  <a:lnTo>
                    <a:pt x="269" y="352"/>
                  </a:lnTo>
                  <a:lnTo>
                    <a:pt x="266" y="354"/>
                  </a:lnTo>
                  <a:lnTo>
                    <a:pt x="261" y="362"/>
                  </a:lnTo>
                  <a:lnTo>
                    <a:pt x="259" y="366"/>
                  </a:lnTo>
                  <a:lnTo>
                    <a:pt x="256" y="371"/>
                  </a:lnTo>
                  <a:lnTo>
                    <a:pt x="250" y="375"/>
                  </a:lnTo>
                  <a:lnTo>
                    <a:pt x="243" y="378"/>
                  </a:lnTo>
                  <a:lnTo>
                    <a:pt x="243" y="378"/>
                  </a:lnTo>
                  <a:lnTo>
                    <a:pt x="238" y="378"/>
                  </a:lnTo>
                  <a:lnTo>
                    <a:pt x="235" y="380"/>
                  </a:lnTo>
                  <a:lnTo>
                    <a:pt x="236" y="382"/>
                  </a:lnTo>
                  <a:lnTo>
                    <a:pt x="238" y="383"/>
                  </a:lnTo>
                  <a:lnTo>
                    <a:pt x="240" y="385"/>
                  </a:lnTo>
                  <a:lnTo>
                    <a:pt x="242" y="389"/>
                  </a:lnTo>
                  <a:lnTo>
                    <a:pt x="240" y="390"/>
                  </a:lnTo>
                  <a:lnTo>
                    <a:pt x="235" y="394"/>
                  </a:lnTo>
                  <a:lnTo>
                    <a:pt x="235" y="394"/>
                  </a:lnTo>
                  <a:lnTo>
                    <a:pt x="229" y="396"/>
                  </a:lnTo>
                  <a:lnTo>
                    <a:pt x="224" y="396"/>
                  </a:lnTo>
                  <a:lnTo>
                    <a:pt x="221" y="394"/>
                  </a:lnTo>
                  <a:lnTo>
                    <a:pt x="217" y="392"/>
                  </a:lnTo>
                  <a:lnTo>
                    <a:pt x="217" y="397"/>
                  </a:lnTo>
                  <a:lnTo>
                    <a:pt x="217" y="397"/>
                  </a:lnTo>
                  <a:lnTo>
                    <a:pt x="217" y="401"/>
                  </a:lnTo>
                  <a:lnTo>
                    <a:pt x="219" y="404"/>
                  </a:lnTo>
                  <a:lnTo>
                    <a:pt x="222" y="404"/>
                  </a:lnTo>
                  <a:lnTo>
                    <a:pt x="226" y="404"/>
                  </a:lnTo>
                  <a:lnTo>
                    <a:pt x="226" y="406"/>
                  </a:lnTo>
                  <a:lnTo>
                    <a:pt x="226" y="408"/>
                  </a:lnTo>
                  <a:lnTo>
                    <a:pt x="224" y="413"/>
                  </a:lnTo>
                  <a:lnTo>
                    <a:pt x="224" y="413"/>
                  </a:lnTo>
                  <a:lnTo>
                    <a:pt x="221" y="420"/>
                  </a:lnTo>
                  <a:lnTo>
                    <a:pt x="221" y="425"/>
                  </a:lnTo>
                  <a:lnTo>
                    <a:pt x="222" y="434"/>
                  </a:lnTo>
                  <a:lnTo>
                    <a:pt x="222" y="441"/>
                  </a:lnTo>
                  <a:lnTo>
                    <a:pt x="222" y="443"/>
                  </a:lnTo>
                  <a:lnTo>
                    <a:pt x="219" y="443"/>
                  </a:lnTo>
                  <a:lnTo>
                    <a:pt x="219" y="443"/>
                  </a:lnTo>
                  <a:lnTo>
                    <a:pt x="217" y="444"/>
                  </a:lnTo>
                  <a:lnTo>
                    <a:pt x="216" y="446"/>
                  </a:lnTo>
                  <a:lnTo>
                    <a:pt x="212" y="453"/>
                  </a:lnTo>
                  <a:lnTo>
                    <a:pt x="212" y="462"/>
                  </a:lnTo>
                  <a:lnTo>
                    <a:pt x="212" y="472"/>
                  </a:lnTo>
                  <a:lnTo>
                    <a:pt x="212" y="483"/>
                  </a:lnTo>
                  <a:lnTo>
                    <a:pt x="216" y="491"/>
                  </a:lnTo>
                  <a:lnTo>
                    <a:pt x="217" y="498"/>
                  </a:lnTo>
                  <a:lnTo>
                    <a:pt x="219" y="500"/>
                  </a:lnTo>
                  <a:lnTo>
                    <a:pt x="222" y="500"/>
                  </a:lnTo>
                  <a:lnTo>
                    <a:pt x="222" y="500"/>
                  </a:lnTo>
                  <a:lnTo>
                    <a:pt x="226" y="500"/>
                  </a:lnTo>
                  <a:lnTo>
                    <a:pt x="226" y="502"/>
                  </a:lnTo>
                  <a:lnTo>
                    <a:pt x="226" y="503"/>
                  </a:lnTo>
                  <a:lnTo>
                    <a:pt x="228" y="507"/>
                  </a:lnTo>
                  <a:lnTo>
                    <a:pt x="233" y="505"/>
                  </a:lnTo>
                  <a:lnTo>
                    <a:pt x="233" y="505"/>
                  </a:lnTo>
                  <a:lnTo>
                    <a:pt x="236" y="505"/>
                  </a:lnTo>
                  <a:lnTo>
                    <a:pt x="240" y="505"/>
                  </a:lnTo>
                  <a:lnTo>
                    <a:pt x="245" y="509"/>
                  </a:lnTo>
                  <a:lnTo>
                    <a:pt x="249" y="514"/>
                  </a:lnTo>
                  <a:lnTo>
                    <a:pt x="256" y="517"/>
                  </a:lnTo>
                  <a:lnTo>
                    <a:pt x="256" y="517"/>
                  </a:lnTo>
                  <a:lnTo>
                    <a:pt x="257" y="519"/>
                  </a:lnTo>
                  <a:lnTo>
                    <a:pt x="259" y="521"/>
                  </a:lnTo>
                  <a:lnTo>
                    <a:pt x="257" y="526"/>
                  </a:lnTo>
                  <a:lnTo>
                    <a:pt x="257" y="530"/>
                  </a:lnTo>
                  <a:lnTo>
                    <a:pt x="257" y="530"/>
                  </a:lnTo>
                  <a:lnTo>
                    <a:pt x="261" y="530"/>
                  </a:lnTo>
                  <a:lnTo>
                    <a:pt x="261" y="530"/>
                  </a:lnTo>
                  <a:lnTo>
                    <a:pt x="266" y="531"/>
                  </a:lnTo>
                  <a:lnTo>
                    <a:pt x="271" y="535"/>
                  </a:lnTo>
                  <a:lnTo>
                    <a:pt x="278" y="545"/>
                  </a:lnTo>
                  <a:lnTo>
                    <a:pt x="278" y="545"/>
                  </a:lnTo>
                  <a:lnTo>
                    <a:pt x="278" y="547"/>
                  </a:lnTo>
                  <a:lnTo>
                    <a:pt x="276" y="550"/>
                  </a:lnTo>
                  <a:lnTo>
                    <a:pt x="266" y="557"/>
                  </a:lnTo>
                  <a:lnTo>
                    <a:pt x="242" y="571"/>
                  </a:lnTo>
                  <a:lnTo>
                    <a:pt x="242" y="571"/>
                  </a:lnTo>
                  <a:lnTo>
                    <a:pt x="238" y="573"/>
                  </a:lnTo>
                  <a:lnTo>
                    <a:pt x="235" y="571"/>
                  </a:lnTo>
                  <a:lnTo>
                    <a:pt x="229" y="568"/>
                  </a:lnTo>
                  <a:lnTo>
                    <a:pt x="224" y="563"/>
                  </a:lnTo>
                  <a:lnTo>
                    <a:pt x="221" y="561"/>
                  </a:lnTo>
                  <a:lnTo>
                    <a:pt x="219" y="563"/>
                  </a:lnTo>
                  <a:lnTo>
                    <a:pt x="219" y="563"/>
                  </a:lnTo>
                  <a:lnTo>
                    <a:pt x="217" y="563"/>
                  </a:lnTo>
                  <a:lnTo>
                    <a:pt x="214" y="563"/>
                  </a:lnTo>
                  <a:lnTo>
                    <a:pt x="207" y="561"/>
                  </a:lnTo>
                  <a:lnTo>
                    <a:pt x="196" y="561"/>
                  </a:lnTo>
                  <a:lnTo>
                    <a:pt x="191" y="561"/>
                  </a:lnTo>
                  <a:lnTo>
                    <a:pt x="184" y="564"/>
                  </a:lnTo>
                  <a:lnTo>
                    <a:pt x="184" y="564"/>
                  </a:lnTo>
                  <a:lnTo>
                    <a:pt x="179" y="568"/>
                  </a:lnTo>
                  <a:lnTo>
                    <a:pt x="186" y="568"/>
                  </a:lnTo>
                  <a:lnTo>
                    <a:pt x="193" y="566"/>
                  </a:lnTo>
                  <a:lnTo>
                    <a:pt x="202" y="568"/>
                  </a:lnTo>
                  <a:lnTo>
                    <a:pt x="210" y="570"/>
                  </a:lnTo>
                  <a:lnTo>
                    <a:pt x="217" y="573"/>
                  </a:lnTo>
                  <a:lnTo>
                    <a:pt x="217" y="573"/>
                  </a:lnTo>
                  <a:lnTo>
                    <a:pt x="222" y="578"/>
                  </a:lnTo>
                  <a:lnTo>
                    <a:pt x="229" y="578"/>
                  </a:lnTo>
                  <a:lnTo>
                    <a:pt x="236" y="577"/>
                  </a:lnTo>
                  <a:lnTo>
                    <a:pt x="243" y="575"/>
                  </a:lnTo>
                  <a:lnTo>
                    <a:pt x="254" y="570"/>
                  </a:lnTo>
                  <a:lnTo>
                    <a:pt x="257" y="570"/>
                  </a:lnTo>
                  <a:lnTo>
                    <a:pt x="259" y="570"/>
                  </a:lnTo>
                  <a:lnTo>
                    <a:pt x="259" y="570"/>
                  </a:lnTo>
                  <a:lnTo>
                    <a:pt x="261" y="575"/>
                  </a:lnTo>
                  <a:lnTo>
                    <a:pt x="263" y="577"/>
                  </a:lnTo>
                  <a:lnTo>
                    <a:pt x="261" y="578"/>
                  </a:lnTo>
                  <a:lnTo>
                    <a:pt x="259" y="580"/>
                  </a:lnTo>
                  <a:lnTo>
                    <a:pt x="256" y="582"/>
                  </a:lnTo>
                  <a:lnTo>
                    <a:pt x="254" y="582"/>
                  </a:lnTo>
                  <a:lnTo>
                    <a:pt x="254" y="584"/>
                  </a:lnTo>
                  <a:lnTo>
                    <a:pt x="254" y="584"/>
                  </a:lnTo>
                  <a:lnTo>
                    <a:pt x="254" y="585"/>
                  </a:lnTo>
                  <a:lnTo>
                    <a:pt x="254" y="587"/>
                  </a:lnTo>
                  <a:lnTo>
                    <a:pt x="249" y="589"/>
                  </a:lnTo>
                  <a:lnTo>
                    <a:pt x="243" y="591"/>
                  </a:lnTo>
                  <a:lnTo>
                    <a:pt x="238" y="598"/>
                  </a:lnTo>
                  <a:lnTo>
                    <a:pt x="238" y="598"/>
                  </a:lnTo>
                  <a:lnTo>
                    <a:pt x="236" y="599"/>
                  </a:lnTo>
                  <a:lnTo>
                    <a:pt x="235" y="599"/>
                  </a:lnTo>
                  <a:lnTo>
                    <a:pt x="231" y="596"/>
                  </a:lnTo>
                  <a:lnTo>
                    <a:pt x="228" y="594"/>
                  </a:lnTo>
                  <a:lnTo>
                    <a:pt x="228" y="596"/>
                  </a:lnTo>
                  <a:lnTo>
                    <a:pt x="226" y="599"/>
                  </a:lnTo>
                  <a:lnTo>
                    <a:pt x="226" y="599"/>
                  </a:lnTo>
                  <a:lnTo>
                    <a:pt x="224" y="603"/>
                  </a:lnTo>
                  <a:lnTo>
                    <a:pt x="221" y="606"/>
                  </a:lnTo>
                  <a:lnTo>
                    <a:pt x="209" y="611"/>
                  </a:lnTo>
                  <a:lnTo>
                    <a:pt x="200" y="615"/>
                  </a:lnTo>
                  <a:lnTo>
                    <a:pt x="198" y="617"/>
                  </a:lnTo>
                  <a:lnTo>
                    <a:pt x="198" y="620"/>
                  </a:lnTo>
                  <a:lnTo>
                    <a:pt x="198" y="620"/>
                  </a:lnTo>
                  <a:lnTo>
                    <a:pt x="200" y="622"/>
                  </a:lnTo>
                  <a:lnTo>
                    <a:pt x="200" y="624"/>
                  </a:lnTo>
                  <a:lnTo>
                    <a:pt x="196" y="624"/>
                  </a:lnTo>
                  <a:lnTo>
                    <a:pt x="195" y="625"/>
                  </a:lnTo>
                  <a:lnTo>
                    <a:pt x="195" y="627"/>
                  </a:lnTo>
                  <a:lnTo>
                    <a:pt x="196" y="631"/>
                  </a:lnTo>
                  <a:lnTo>
                    <a:pt x="196" y="631"/>
                  </a:lnTo>
                  <a:lnTo>
                    <a:pt x="198" y="636"/>
                  </a:lnTo>
                  <a:lnTo>
                    <a:pt x="196" y="641"/>
                  </a:lnTo>
                  <a:lnTo>
                    <a:pt x="195" y="645"/>
                  </a:lnTo>
                  <a:lnTo>
                    <a:pt x="196" y="648"/>
                  </a:lnTo>
                  <a:lnTo>
                    <a:pt x="196" y="648"/>
                  </a:lnTo>
                  <a:lnTo>
                    <a:pt x="196" y="651"/>
                  </a:lnTo>
                  <a:lnTo>
                    <a:pt x="196" y="655"/>
                  </a:lnTo>
                  <a:lnTo>
                    <a:pt x="195" y="660"/>
                  </a:lnTo>
                  <a:lnTo>
                    <a:pt x="191" y="665"/>
                  </a:lnTo>
                  <a:lnTo>
                    <a:pt x="191" y="669"/>
                  </a:lnTo>
                  <a:lnTo>
                    <a:pt x="191" y="672"/>
                  </a:lnTo>
                  <a:lnTo>
                    <a:pt x="191" y="672"/>
                  </a:lnTo>
                  <a:lnTo>
                    <a:pt x="191" y="679"/>
                  </a:lnTo>
                  <a:lnTo>
                    <a:pt x="189" y="686"/>
                  </a:lnTo>
                  <a:lnTo>
                    <a:pt x="188" y="695"/>
                  </a:lnTo>
                  <a:lnTo>
                    <a:pt x="188" y="702"/>
                  </a:lnTo>
                  <a:lnTo>
                    <a:pt x="188" y="702"/>
                  </a:lnTo>
                  <a:lnTo>
                    <a:pt x="186" y="709"/>
                  </a:lnTo>
                  <a:lnTo>
                    <a:pt x="182" y="716"/>
                  </a:lnTo>
                  <a:lnTo>
                    <a:pt x="177" y="726"/>
                  </a:lnTo>
                  <a:lnTo>
                    <a:pt x="172" y="740"/>
                  </a:lnTo>
                  <a:lnTo>
                    <a:pt x="172" y="740"/>
                  </a:lnTo>
                  <a:lnTo>
                    <a:pt x="167" y="751"/>
                  </a:lnTo>
                  <a:lnTo>
                    <a:pt x="165" y="752"/>
                  </a:lnTo>
                  <a:lnTo>
                    <a:pt x="163" y="752"/>
                  </a:lnTo>
                  <a:lnTo>
                    <a:pt x="155" y="749"/>
                  </a:lnTo>
                  <a:lnTo>
                    <a:pt x="149" y="747"/>
                  </a:lnTo>
                  <a:lnTo>
                    <a:pt x="141" y="749"/>
                  </a:lnTo>
                  <a:lnTo>
                    <a:pt x="141" y="749"/>
                  </a:lnTo>
                  <a:lnTo>
                    <a:pt x="134" y="749"/>
                  </a:lnTo>
                  <a:lnTo>
                    <a:pt x="128" y="751"/>
                  </a:lnTo>
                  <a:lnTo>
                    <a:pt x="127" y="752"/>
                  </a:lnTo>
                  <a:lnTo>
                    <a:pt x="127" y="754"/>
                  </a:lnTo>
                  <a:lnTo>
                    <a:pt x="127" y="758"/>
                  </a:lnTo>
                  <a:lnTo>
                    <a:pt x="120" y="758"/>
                  </a:lnTo>
                  <a:lnTo>
                    <a:pt x="120" y="758"/>
                  </a:lnTo>
                  <a:lnTo>
                    <a:pt x="116" y="758"/>
                  </a:lnTo>
                  <a:lnTo>
                    <a:pt x="113" y="761"/>
                  </a:lnTo>
                  <a:lnTo>
                    <a:pt x="111" y="766"/>
                  </a:lnTo>
                  <a:lnTo>
                    <a:pt x="111" y="773"/>
                  </a:lnTo>
                  <a:lnTo>
                    <a:pt x="109" y="786"/>
                  </a:lnTo>
                  <a:lnTo>
                    <a:pt x="108" y="789"/>
                  </a:lnTo>
                  <a:lnTo>
                    <a:pt x="102" y="791"/>
                  </a:lnTo>
                  <a:lnTo>
                    <a:pt x="102" y="791"/>
                  </a:lnTo>
                  <a:lnTo>
                    <a:pt x="95" y="791"/>
                  </a:lnTo>
                  <a:lnTo>
                    <a:pt x="87" y="791"/>
                  </a:lnTo>
                  <a:lnTo>
                    <a:pt x="71" y="794"/>
                  </a:lnTo>
                  <a:lnTo>
                    <a:pt x="66" y="794"/>
                  </a:lnTo>
                  <a:lnTo>
                    <a:pt x="61" y="793"/>
                  </a:lnTo>
                  <a:lnTo>
                    <a:pt x="61" y="789"/>
                  </a:lnTo>
                  <a:lnTo>
                    <a:pt x="62" y="784"/>
                  </a:lnTo>
                  <a:lnTo>
                    <a:pt x="62" y="784"/>
                  </a:lnTo>
                  <a:lnTo>
                    <a:pt x="64" y="779"/>
                  </a:lnTo>
                  <a:lnTo>
                    <a:pt x="64" y="775"/>
                  </a:lnTo>
                  <a:lnTo>
                    <a:pt x="62" y="768"/>
                  </a:lnTo>
                  <a:lnTo>
                    <a:pt x="59" y="759"/>
                  </a:lnTo>
                  <a:lnTo>
                    <a:pt x="54" y="752"/>
                  </a:lnTo>
                  <a:lnTo>
                    <a:pt x="47" y="744"/>
                  </a:lnTo>
                  <a:lnTo>
                    <a:pt x="47" y="742"/>
                  </a:lnTo>
                  <a:lnTo>
                    <a:pt x="52" y="744"/>
                  </a:lnTo>
                  <a:lnTo>
                    <a:pt x="52" y="744"/>
                  </a:lnTo>
                  <a:lnTo>
                    <a:pt x="57" y="745"/>
                  </a:lnTo>
                  <a:lnTo>
                    <a:pt x="55" y="742"/>
                  </a:lnTo>
                  <a:lnTo>
                    <a:pt x="54" y="737"/>
                  </a:lnTo>
                  <a:lnTo>
                    <a:pt x="54" y="735"/>
                  </a:lnTo>
                  <a:lnTo>
                    <a:pt x="55" y="733"/>
                  </a:lnTo>
                  <a:lnTo>
                    <a:pt x="55" y="733"/>
                  </a:lnTo>
                  <a:lnTo>
                    <a:pt x="61" y="730"/>
                  </a:lnTo>
                  <a:lnTo>
                    <a:pt x="64" y="726"/>
                  </a:lnTo>
                  <a:lnTo>
                    <a:pt x="62" y="725"/>
                  </a:lnTo>
                  <a:lnTo>
                    <a:pt x="62" y="723"/>
                  </a:lnTo>
                  <a:lnTo>
                    <a:pt x="57" y="723"/>
                  </a:lnTo>
                  <a:lnTo>
                    <a:pt x="57" y="723"/>
                  </a:lnTo>
                  <a:lnTo>
                    <a:pt x="52" y="721"/>
                  </a:lnTo>
                  <a:lnTo>
                    <a:pt x="48" y="718"/>
                  </a:lnTo>
                  <a:lnTo>
                    <a:pt x="40" y="702"/>
                  </a:lnTo>
                  <a:lnTo>
                    <a:pt x="31" y="685"/>
                  </a:lnTo>
                  <a:lnTo>
                    <a:pt x="24" y="665"/>
                  </a:lnTo>
                  <a:lnTo>
                    <a:pt x="24" y="665"/>
                  </a:lnTo>
                  <a:lnTo>
                    <a:pt x="22" y="658"/>
                  </a:lnTo>
                  <a:lnTo>
                    <a:pt x="22" y="653"/>
                  </a:lnTo>
                  <a:lnTo>
                    <a:pt x="24" y="646"/>
                  </a:lnTo>
                  <a:lnTo>
                    <a:pt x="26" y="641"/>
                  </a:lnTo>
                  <a:lnTo>
                    <a:pt x="26" y="638"/>
                  </a:lnTo>
                  <a:lnTo>
                    <a:pt x="24" y="634"/>
                  </a:lnTo>
                  <a:lnTo>
                    <a:pt x="24" y="634"/>
                  </a:lnTo>
                  <a:lnTo>
                    <a:pt x="22" y="631"/>
                  </a:lnTo>
                  <a:lnTo>
                    <a:pt x="21" y="631"/>
                  </a:lnTo>
                  <a:lnTo>
                    <a:pt x="17" y="632"/>
                  </a:lnTo>
                  <a:lnTo>
                    <a:pt x="12" y="636"/>
                  </a:lnTo>
                  <a:lnTo>
                    <a:pt x="8" y="634"/>
                  </a:lnTo>
                  <a:lnTo>
                    <a:pt x="7" y="632"/>
                  </a:lnTo>
                  <a:lnTo>
                    <a:pt x="7" y="632"/>
                  </a:lnTo>
                  <a:lnTo>
                    <a:pt x="3" y="627"/>
                  </a:lnTo>
                  <a:lnTo>
                    <a:pt x="3" y="624"/>
                  </a:lnTo>
                  <a:lnTo>
                    <a:pt x="3" y="615"/>
                  </a:lnTo>
                  <a:lnTo>
                    <a:pt x="3" y="608"/>
                  </a:lnTo>
                  <a:lnTo>
                    <a:pt x="1" y="601"/>
                  </a:lnTo>
                  <a:lnTo>
                    <a:pt x="1" y="601"/>
                  </a:lnTo>
                  <a:lnTo>
                    <a:pt x="0" y="596"/>
                  </a:lnTo>
                  <a:lnTo>
                    <a:pt x="1" y="592"/>
                  </a:lnTo>
                  <a:lnTo>
                    <a:pt x="1" y="589"/>
                  </a:lnTo>
                  <a:lnTo>
                    <a:pt x="3" y="587"/>
                  </a:lnTo>
                  <a:lnTo>
                    <a:pt x="3" y="58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 name="Freeform 1734">
              <a:extLst>
                <a:ext uri="{FF2B5EF4-FFF2-40B4-BE49-F238E27FC236}">
                  <a16:creationId xmlns:a16="http://schemas.microsoft.com/office/drawing/2014/main" id="{B7538037-E7D9-47F9-B845-61315FBCB4CF}"/>
                </a:ext>
              </a:extLst>
            </p:cNvPr>
            <p:cNvSpPr>
              <a:spLocks/>
            </p:cNvSpPr>
            <p:nvPr/>
          </p:nvSpPr>
          <p:spPr bwMode="auto">
            <a:xfrm>
              <a:off x="5301196" y="1787723"/>
              <a:ext cx="306588" cy="491599"/>
            </a:xfrm>
            <a:custGeom>
              <a:avLst/>
              <a:gdLst/>
              <a:ahLst/>
              <a:cxnLst>
                <a:cxn ang="0">
                  <a:pos x="16" y="76"/>
                </a:cxn>
                <a:cxn ang="0">
                  <a:pos x="75" y="104"/>
                </a:cxn>
                <a:cxn ang="0">
                  <a:pos x="96" y="122"/>
                </a:cxn>
                <a:cxn ang="0">
                  <a:pos x="101" y="144"/>
                </a:cxn>
                <a:cxn ang="0">
                  <a:pos x="99" y="164"/>
                </a:cxn>
                <a:cxn ang="0">
                  <a:pos x="110" y="169"/>
                </a:cxn>
                <a:cxn ang="0">
                  <a:pos x="113" y="195"/>
                </a:cxn>
                <a:cxn ang="0">
                  <a:pos x="115" y="216"/>
                </a:cxn>
                <a:cxn ang="0">
                  <a:pos x="119" y="252"/>
                </a:cxn>
                <a:cxn ang="0">
                  <a:pos x="152" y="273"/>
                </a:cxn>
                <a:cxn ang="0">
                  <a:pos x="162" y="298"/>
                </a:cxn>
                <a:cxn ang="0">
                  <a:pos x="162" y="317"/>
                </a:cxn>
                <a:cxn ang="0">
                  <a:pos x="126" y="345"/>
                </a:cxn>
                <a:cxn ang="0">
                  <a:pos x="98" y="371"/>
                </a:cxn>
                <a:cxn ang="0">
                  <a:pos x="79" y="388"/>
                </a:cxn>
                <a:cxn ang="0">
                  <a:pos x="63" y="397"/>
                </a:cxn>
                <a:cxn ang="0">
                  <a:pos x="56" y="411"/>
                </a:cxn>
                <a:cxn ang="0">
                  <a:pos x="35" y="416"/>
                </a:cxn>
                <a:cxn ang="0">
                  <a:pos x="19" y="442"/>
                </a:cxn>
                <a:cxn ang="0">
                  <a:pos x="25" y="479"/>
                </a:cxn>
                <a:cxn ang="0">
                  <a:pos x="35" y="505"/>
                </a:cxn>
                <a:cxn ang="0">
                  <a:pos x="28" y="517"/>
                </a:cxn>
                <a:cxn ang="0">
                  <a:pos x="25" y="567"/>
                </a:cxn>
                <a:cxn ang="0">
                  <a:pos x="65" y="585"/>
                </a:cxn>
                <a:cxn ang="0">
                  <a:pos x="75" y="599"/>
                </a:cxn>
                <a:cxn ang="0">
                  <a:pos x="85" y="602"/>
                </a:cxn>
                <a:cxn ang="0">
                  <a:pos x="106" y="602"/>
                </a:cxn>
                <a:cxn ang="0">
                  <a:pos x="180" y="585"/>
                </a:cxn>
                <a:cxn ang="0">
                  <a:pos x="200" y="580"/>
                </a:cxn>
                <a:cxn ang="0">
                  <a:pos x="242" y="573"/>
                </a:cxn>
                <a:cxn ang="0">
                  <a:pos x="315" y="514"/>
                </a:cxn>
                <a:cxn ang="0">
                  <a:pos x="383" y="432"/>
                </a:cxn>
                <a:cxn ang="0">
                  <a:pos x="368" y="411"/>
                </a:cxn>
                <a:cxn ang="0">
                  <a:pos x="333" y="381"/>
                </a:cxn>
                <a:cxn ang="0">
                  <a:pos x="347" y="355"/>
                </a:cxn>
                <a:cxn ang="0">
                  <a:pos x="331" y="339"/>
                </a:cxn>
                <a:cxn ang="0">
                  <a:pos x="321" y="319"/>
                </a:cxn>
                <a:cxn ang="0">
                  <a:pos x="324" y="303"/>
                </a:cxn>
                <a:cxn ang="0">
                  <a:pos x="319" y="291"/>
                </a:cxn>
                <a:cxn ang="0">
                  <a:pos x="322" y="275"/>
                </a:cxn>
                <a:cxn ang="0">
                  <a:pos x="333" y="263"/>
                </a:cxn>
                <a:cxn ang="0">
                  <a:pos x="296" y="191"/>
                </a:cxn>
                <a:cxn ang="0">
                  <a:pos x="333" y="150"/>
                </a:cxn>
                <a:cxn ang="0">
                  <a:pos x="307" y="124"/>
                </a:cxn>
                <a:cxn ang="0">
                  <a:pos x="279" y="106"/>
                </a:cxn>
                <a:cxn ang="0">
                  <a:pos x="287" y="82"/>
                </a:cxn>
                <a:cxn ang="0">
                  <a:pos x="277" y="71"/>
                </a:cxn>
                <a:cxn ang="0">
                  <a:pos x="301" y="40"/>
                </a:cxn>
                <a:cxn ang="0">
                  <a:pos x="270" y="12"/>
                </a:cxn>
                <a:cxn ang="0">
                  <a:pos x="242" y="3"/>
                </a:cxn>
                <a:cxn ang="0">
                  <a:pos x="207" y="7"/>
                </a:cxn>
                <a:cxn ang="0">
                  <a:pos x="183" y="38"/>
                </a:cxn>
                <a:cxn ang="0">
                  <a:pos x="183" y="68"/>
                </a:cxn>
                <a:cxn ang="0">
                  <a:pos x="159" y="87"/>
                </a:cxn>
                <a:cxn ang="0">
                  <a:pos x="117" y="78"/>
                </a:cxn>
                <a:cxn ang="0">
                  <a:pos x="89" y="87"/>
                </a:cxn>
                <a:cxn ang="0">
                  <a:pos x="61" y="76"/>
                </a:cxn>
                <a:cxn ang="0">
                  <a:pos x="26" y="47"/>
                </a:cxn>
                <a:cxn ang="0">
                  <a:pos x="18" y="64"/>
                </a:cxn>
                <a:cxn ang="0">
                  <a:pos x="0" y="64"/>
                </a:cxn>
              </a:cxnLst>
              <a:rect l="0" t="0" r="r" b="b"/>
              <a:pathLst>
                <a:path w="383" h="613">
                  <a:moveTo>
                    <a:pt x="0" y="64"/>
                  </a:moveTo>
                  <a:lnTo>
                    <a:pt x="0" y="64"/>
                  </a:lnTo>
                  <a:lnTo>
                    <a:pt x="7" y="66"/>
                  </a:lnTo>
                  <a:lnTo>
                    <a:pt x="7" y="68"/>
                  </a:lnTo>
                  <a:lnTo>
                    <a:pt x="7" y="70"/>
                  </a:lnTo>
                  <a:lnTo>
                    <a:pt x="7" y="71"/>
                  </a:lnTo>
                  <a:lnTo>
                    <a:pt x="16" y="76"/>
                  </a:lnTo>
                  <a:lnTo>
                    <a:pt x="16" y="76"/>
                  </a:lnTo>
                  <a:lnTo>
                    <a:pt x="42" y="94"/>
                  </a:lnTo>
                  <a:lnTo>
                    <a:pt x="54" y="101"/>
                  </a:lnTo>
                  <a:lnTo>
                    <a:pt x="59" y="103"/>
                  </a:lnTo>
                  <a:lnTo>
                    <a:pt x="65" y="103"/>
                  </a:lnTo>
                  <a:lnTo>
                    <a:pt x="65" y="103"/>
                  </a:lnTo>
                  <a:lnTo>
                    <a:pt x="75" y="104"/>
                  </a:lnTo>
                  <a:lnTo>
                    <a:pt x="82" y="108"/>
                  </a:lnTo>
                  <a:lnTo>
                    <a:pt x="87" y="113"/>
                  </a:lnTo>
                  <a:lnTo>
                    <a:pt x="89" y="117"/>
                  </a:lnTo>
                  <a:lnTo>
                    <a:pt x="89" y="117"/>
                  </a:lnTo>
                  <a:lnTo>
                    <a:pt x="87" y="118"/>
                  </a:lnTo>
                  <a:lnTo>
                    <a:pt x="91" y="118"/>
                  </a:lnTo>
                  <a:lnTo>
                    <a:pt x="96" y="122"/>
                  </a:lnTo>
                  <a:lnTo>
                    <a:pt x="96" y="122"/>
                  </a:lnTo>
                  <a:lnTo>
                    <a:pt x="106" y="130"/>
                  </a:lnTo>
                  <a:lnTo>
                    <a:pt x="106" y="132"/>
                  </a:lnTo>
                  <a:lnTo>
                    <a:pt x="106" y="134"/>
                  </a:lnTo>
                  <a:lnTo>
                    <a:pt x="101" y="137"/>
                  </a:lnTo>
                  <a:lnTo>
                    <a:pt x="101" y="139"/>
                  </a:lnTo>
                  <a:lnTo>
                    <a:pt x="101" y="144"/>
                  </a:lnTo>
                  <a:lnTo>
                    <a:pt x="101" y="144"/>
                  </a:lnTo>
                  <a:lnTo>
                    <a:pt x="103" y="155"/>
                  </a:lnTo>
                  <a:lnTo>
                    <a:pt x="101" y="157"/>
                  </a:lnTo>
                  <a:lnTo>
                    <a:pt x="99" y="158"/>
                  </a:lnTo>
                  <a:lnTo>
                    <a:pt x="99" y="162"/>
                  </a:lnTo>
                  <a:lnTo>
                    <a:pt x="99" y="162"/>
                  </a:lnTo>
                  <a:lnTo>
                    <a:pt x="99" y="164"/>
                  </a:lnTo>
                  <a:lnTo>
                    <a:pt x="101" y="164"/>
                  </a:lnTo>
                  <a:lnTo>
                    <a:pt x="105" y="164"/>
                  </a:lnTo>
                  <a:lnTo>
                    <a:pt x="108" y="164"/>
                  </a:lnTo>
                  <a:lnTo>
                    <a:pt x="110" y="164"/>
                  </a:lnTo>
                  <a:lnTo>
                    <a:pt x="112" y="165"/>
                  </a:lnTo>
                  <a:lnTo>
                    <a:pt x="112" y="165"/>
                  </a:lnTo>
                  <a:lnTo>
                    <a:pt x="110" y="169"/>
                  </a:lnTo>
                  <a:lnTo>
                    <a:pt x="106" y="172"/>
                  </a:lnTo>
                  <a:lnTo>
                    <a:pt x="105" y="177"/>
                  </a:lnTo>
                  <a:lnTo>
                    <a:pt x="105" y="183"/>
                  </a:lnTo>
                  <a:lnTo>
                    <a:pt x="105" y="183"/>
                  </a:lnTo>
                  <a:lnTo>
                    <a:pt x="105" y="186"/>
                  </a:lnTo>
                  <a:lnTo>
                    <a:pt x="108" y="190"/>
                  </a:lnTo>
                  <a:lnTo>
                    <a:pt x="113" y="195"/>
                  </a:lnTo>
                  <a:lnTo>
                    <a:pt x="117" y="198"/>
                  </a:lnTo>
                  <a:lnTo>
                    <a:pt x="119" y="202"/>
                  </a:lnTo>
                  <a:lnTo>
                    <a:pt x="117" y="204"/>
                  </a:lnTo>
                  <a:lnTo>
                    <a:pt x="117" y="204"/>
                  </a:lnTo>
                  <a:lnTo>
                    <a:pt x="115" y="209"/>
                  </a:lnTo>
                  <a:lnTo>
                    <a:pt x="115" y="212"/>
                  </a:lnTo>
                  <a:lnTo>
                    <a:pt x="115" y="216"/>
                  </a:lnTo>
                  <a:lnTo>
                    <a:pt x="110" y="223"/>
                  </a:lnTo>
                  <a:lnTo>
                    <a:pt x="110" y="223"/>
                  </a:lnTo>
                  <a:lnTo>
                    <a:pt x="106" y="228"/>
                  </a:lnTo>
                  <a:lnTo>
                    <a:pt x="106" y="231"/>
                  </a:lnTo>
                  <a:lnTo>
                    <a:pt x="108" y="237"/>
                  </a:lnTo>
                  <a:lnTo>
                    <a:pt x="112" y="242"/>
                  </a:lnTo>
                  <a:lnTo>
                    <a:pt x="119" y="252"/>
                  </a:lnTo>
                  <a:lnTo>
                    <a:pt x="122" y="258"/>
                  </a:lnTo>
                  <a:lnTo>
                    <a:pt x="126" y="263"/>
                  </a:lnTo>
                  <a:lnTo>
                    <a:pt x="126" y="263"/>
                  </a:lnTo>
                  <a:lnTo>
                    <a:pt x="134" y="265"/>
                  </a:lnTo>
                  <a:lnTo>
                    <a:pt x="139" y="268"/>
                  </a:lnTo>
                  <a:lnTo>
                    <a:pt x="143" y="270"/>
                  </a:lnTo>
                  <a:lnTo>
                    <a:pt x="152" y="273"/>
                  </a:lnTo>
                  <a:lnTo>
                    <a:pt x="152" y="273"/>
                  </a:lnTo>
                  <a:lnTo>
                    <a:pt x="160" y="277"/>
                  </a:lnTo>
                  <a:lnTo>
                    <a:pt x="164" y="278"/>
                  </a:lnTo>
                  <a:lnTo>
                    <a:pt x="164" y="282"/>
                  </a:lnTo>
                  <a:lnTo>
                    <a:pt x="164" y="289"/>
                  </a:lnTo>
                  <a:lnTo>
                    <a:pt x="162" y="298"/>
                  </a:lnTo>
                  <a:lnTo>
                    <a:pt x="162" y="298"/>
                  </a:lnTo>
                  <a:lnTo>
                    <a:pt x="162" y="305"/>
                  </a:lnTo>
                  <a:lnTo>
                    <a:pt x="164" y="308"/>
                  </a:lnTo>
                  <a:lnTo>
                    <a:pt x="167" y="310"/>
                  </a:lnTo>
                  <a:lnTo>
                    <a:pt x="167" y="313"/>
                  </a:lnTo>
                  <a:lnTo>
                    <a:pt x="167" y="313"/>
                  </a:lnTo>
                  <a:lnTo>
                    <a:pt x="164" y="317"/>
                  </a:lnTo>
                  <a:lnTo>
                    <a:pt x="162" y="317"/>
                  </a:lnTo>
                  <a:lnTo>
                    <a:pt x="157" y="317"/>
                  </a:lnTo>
                  <a:lnTo>
                    <a:pt x="146" y="319"/>
                  </a:lnTo>
                  <a:lnTo>
                    <a:pt x="146" y="319"/>
                  </a:lnTo>
                  <a:lnTo>
                    <a:pt x="141" y="320"/>
                  </a:lnTo>
                  <a:lnTo>
                    <a:pt x="138" y="324"/>
                  </a:lnTo>
                  <a:lnTo>
                    <a:pt x="133" y="332"/>
                  </a:lnTo>
                  <a:lnTo>
                    <a:pt x="126" y="345"/>
                  </a:lnTo>
                  <a:lnTo>
                    <a:pt x="120" y="350"/>
                  </a:lnTo>
                  <a:lnTo>
                    <a:pt x="112" y="357"/>
                  </a:lnTo>
                  <a:lnTo>
                    <a:pt x="112" y="357"/>
                  </a:lnTo>
                  <a:lnTo>
                    <a:pt x="105" y="362"/>
                  </a:lnTo>
                  <a:lnTo>
                    <a:pt x="99" y="366"/>
                  </a:lnTo>
                  <a:lnTo>
                    <a:pt x="98" y="369"/>
                  </a:lnTo>
                  <a:lnTo>
                    <a:pt x="98" y="371"/>
                  </a:lnTo>
                  <a:lnTo>
                    <a:pt x="98" y="372"/>
                  </a:lnTo>
                  <a:lnTo>
                    <a:pt x="92" y="374"/>
                  </a:lnTo>
                  <a:lnTo>
                    <a:pt x="92" y="374"/>
                  </a:lnTo>
                  <a:lnTo>
                    <a:pt x="87" y="376"/>
                  </a:lnTo>
                  <a:lnTo>
                    <a:pt x="84" y="379"/>
                  </a:lnTo>
                  <a:lnTo>
                    <a:pt x="80" y="385"/>
                  </a:lnTo>
                  <a:lnTo>
                    <a:pt x="79" y="388"/>
                  </a:lnTo>
                  <a:lnTo>
                    <a:pt x="77" y="390"/>
                  </a:lnTo>
                  <a:lnTo>
                    <a:pt x="75" y="390"/>
                  </a:lnTo>
                  <a:lnTo>
                    <a:pt x="75" y="390"/>
                  </a:lnTo>
                  <a:lnTo>
                    <a:pt x="72" y="388"/>
                  </a:lnTo>
                  <a:lnTo>
                    <a:pt x="68" y="390"/>
                  </a:lnTo>
                  <a:lnTo>
                    <a:pt x="66" y="393"/>
                  </a:lnTo>
                  <a:lnTo>
                    <a:pt x="63" y="397"/>
                  </a:lnTo>
                  <a:lnTo>
                    <a:pt x="61" y="399"/>
                  </a:lnTo>
                  <a:lnTo>
                    <a:pt x="59" y="399"/>
                  </a:lnTo>
                  <a:lnTo>
                    <a:pt x="59" y="399"/>
                  </a:lnTo>
                  <a:lnTo>
                    <a:pt x="58" y="399"/>
                  </a:lnTo>
                  <a:lnTo>
                    <a:pt x="56" y="400"/>
                  </a:lnTo>
                  <a:lnTo>
                    <a:pt x="56" y="406"/>
                  </a:lnTo>
                  <a:lnTo>
                    <a:pt x="56" y="411"/>
                  </a:lnTo>
                  <a:lnTo>
                    <a:pt x="56" y="414"/>
                  </a:lnTo>
                  <a:lnTo>
                    <a:pt x="52" y="418"/>
                  </a:lnTo>
                  <a:lnTo>
                    <a:pt x="52" y="418"/>
                  </a:lnTo>
                  <a:lnTo>
                    <a:pt x="51" y="418"/>
                  </a:lnTo>
                  <a:lnTo>
                    <a:pt x="47" y="419"/>
                  </a:lnTo>
                  <a:lnTo>
                    <a:pt x="40" y="418"/>
                  </a:lnTo>
                  <a:lnTo>
                    <a:pt x="35" y="416"/>
                  </a:lnTo>
                  <a:lnTo>
                    <a:pt x="33" y="418"/>
                  </a:lnTo>
                  <a:lnTo>
                    <a:pt x="33" y="419"/>
                  </a:lnTo>
                  <a:lnTo>
                    <a:pt x="33" y="419"/>
                  </a:lnTo>
                  <a:lnTo>
                    <a:pt x="32" y="423"/>
                  </a:lnTo>
                  <a:lnTo>
                    <a:pt x="30" y="428"/>
                  </a:lnTo>
                  <a:lnTo>
                    <a:pt x="23" y="437"/>
                  </a:lnTo>
                  <a:lnTo>
                    <a:pt x="19" y="442"/>
                  </a:lnTo>
                  <a:lnTo>
                    <a:pt x="18" y="449"/>
                  </a:lnTo>
                  <a:lnTo>
                    <a:pt x="18" y="456"/>
                  </a:lnTo>
                  <a:lnTo>
                    <a:pt x="21" y="465"/>
                  </a:lnTo>
                  <a:lnTo>
                    <a:pt x="21" y="465"/>
                  </a:lnTo>
                  <a:lnTo>
                    <a:pt x="25" y="472"/>
                  </a:lnTo>
                  <a:lnTo>
                    <a:pt x="25" y="477"/>
                  </a:lnTo>
                  <a:lnTo>
                    <a:pt x="25" y="479"/>
                  </a:lnTo>
                  <a:lnTo>
                    <a:pt x="23" y="482"/>
                  </a:lnTo>
                  <a:lnTo>
                    <a:pt x="21" y="484"/>
                  </a:lnTo>
                  <a:lnTo>
                    <a:pt x="21" y="487"/>
                  </a:lnTo>
                  <a:lnTo>
                    <a:pt x="25" y="493"/>
                  </a:lnTo>
                  <a:lnTo>
                    <a:pt x="30" y="500"/>
                  </a:lnTo>
                  <a:lnTo>
                    <a:pt x="30" y="500"/>
                  </a:lnTo>
                  <a:lnTo>
                    <a:pt x="35" y="505"/>
                  </a:lnTo>
                  <a:lnTo>
                    <a:pt x="35" y="508"/>
                  </a:lnTo>
                  <a:lnTo>
                    <a:pt x="35" y="510"/>
                  </a:lnTo>
                  <a:lnTo>
                    <a:pt x="33" y="510"/>
                  </a:lnTo>
                  <a:lnTo>
                    <a:pt x="30" y="512"/>
                  </a:lnTo>
                  <a:lnTo>
                    <a:pt x="28" y="514"/>
                  </a:lnTo>
                  <a:lnTo>
                    <a:pt x="28" y="517"/>
                  </a:lnTo>
                  <a:lnTo>
                    <a:pt x="28" y="517"/>
                  </a:lnTo>
                  <a:lnTo>
                    <a:pt x="30" y="524"/>
                  </a:lnTo>
                  <a:lnTo>
                    <a:pt x="30" y="531"/>
                  </a:lnTo>
                  <a:lnTo>
                    <a:pt x="26" y="550"/>
                  </a:lnTo>
                  <a:lnTo>
                    <a:pt x="26" y="550"/>
                  </a:lnTo>
                  <a:lnTo>
                    <a:pt x="23" y="559"/>
                  </a:lnTo>
                  <a:lnTo>
                    <a:pt x="23" y="566"/>
                  </a:lnTo>
                  <a:lnTo>
                    <a:pt x="25" y="567"/>
                  </a:lnTo>
                  <a:lnTo>
                    <a:pt x="28" y="569"/>
                  </a:lnTo>
                  <a:lnTo>
                    <a:pt x="38" y="573"/>
                  </a:lnTo>
                  <a:lnTo>
                    <a:pt x="38" y="573"/>
                  </a:lnTo>
                  <a:lnTo>
                    <a:pt x="59" y="576"/>
                  </a:lnTo>
                  <a:lnTo>
                    <a:pt x="65" y="580"/>
                  </a:lnTo>
                  <a:lnTo>
                    <a:pt x="66" y="581"/>
                  </a:lnTo>
                  <a:lnTo>
                    <a:pt x="65" y="585"/>
                  </a:lnTo>
                  <a:lnTo>
                    <a:pt x="65" y="585"/>
                  </a:lnTo>
                  <a:lnTo>
                    <a:pt x="65" y="592"/>
                  </a:lnTo>
                  <a:lnTo>
                    <a:pt x="66" y="599"/>
                  </a:lnTo>
                  <a:lnTo>
                    <a:pt x="68" y="601"/>
                  </a:lnTo>
                  <a:lnTo>
                    <a:pt x="70" y="602"/>
                  </a:lnTo>
                  <a:lnTo>
                    <a:pt x="72" y="601"/>
                  </a:lnTo>
                  <a:lnTo>
                    <a:pt x="75" y="599"/>
                  </a:lnTo>
                  <a:lnTo>
                    <a:pt x="75" y="599"/>
                  </a:lnTo>
                  <a:lnTo>
                    <a:pt x="80" y="594"/>
                  </a:lnTo>
                  <a:lnTo>
                    <a:pt x="85" y="594"/>
                  </a:lnTo>
                  <a:lnTo>
                    <a:pt x="87" y="594"/>
                  </a:lnTo>
                  <a:lnTo>
                    <a:pt x="89" y="595"/>
                  </a:lnTo>
                  <a:lnTo>
                    <a:pt x="87" y="599"/>
                  </a:lnTo>
                  <a:lnTo>
                    <a:pt x="85" y="602"/>
                  </a:lnTo>
                  <a:lnTo>
                    <a:pt x="85" y="602"/>
                  </a:lnTo>
                  <a:lnTo>
                    <a:pt x="82" y="609"/>
                  </a:lnTo>
                  <a:lnTo>
                    <a:pt x="80" y="613"/>
                  </a:lnTo>
                  <a:lnTo>
                    <a:pt x="85" y="611"/>
                  </a:lnTo>
                  <a:lnTo>
                    <a:pt x="98" y="606"/>
                  </a:lnTo>
                  <a:lnTo>
                    <a:pt x="98" y="606"/>
                  </a:lnTo>
                  <a:lnTo>
                    <a:pt x="106" y="602"/>
                  </a:lnTo>
                  <a:lnTo>
                    <a:pt x="119" y="601"/>
                  </a:lnTo>
                  <a:lnTo>
                    <a:pt x="134" y="597"/>
                  </a:lnTo>
                  <a:lnTo>
                    <a:pt x="160" y="588"/>
                  </a:lnTo>
                  <a:lnTo>
                    <a:pt x="160" y="588"/>
                  </a:lnTo>
                  <a:lnTo>
                    <a:pt x="169" y="585"/>
                  </a:lnTo>
                  <a:lnTo>
                    <a:pt x="174" y="583"/>
                  </a:lnTo>
                  <a:lnTo>
                    <a:pt x="180" y="585"/>
                  </a:lnTo>
                  <a:lnTo>
                    <a:pt x="181" y="585"/>
                  </a:lnTo>
                  <a:lnTo>
                    <a:pt x="185" y="587"/>
                  </a:lnTo>
                  <a:lnTo>
                    <a:pt x="188" y="583"/>
                  </a:lnTo>
                  <a:lnTo>
                    <a:pt x="188" y="583"/>
                  </a:lnTo>
                  <a:lnTo>
                    <a:pt x="193" y="578"/>
                  </a:lnTo>
                  <a:lnTo>
                    <a:pt x="197" y="578"/>
                  </a:lnTo>
                  <a:lnTo>
                    <a:pt x="200" y="580"/>
                  </a:lnTo>
                  <a:lnTo>
                    <a:pt x="206" y="578"/>
                  </a:lnTo>
                  <a:lnTo>
                    <a:pt x="213" y="576"/>
                  </a:lnTo>
                  <a:lnTo>
                    <a:pt x="213" y="576"/>
                  </a:lnTo>
                  <a:lnTo>
                    <a:pt x="220" y="573"/>
                  </a:lnTo>
                  <a:lnTo>
                    <a:pt x="225" y="573"/>
                  </a:lnTo>
                  <a:lnTo>
                    <a:pt x="234" y="573"/>
                  </a:lnTo>
                  <a:lnTo>
                    <a:pt x="242" y="573"/>
                  </a:lnTo>
                  <a:lnTo>
                    <a:pt x="247" y="571"/>
                  </a:lnTo>
                  <a:lnTo>
                    <a:pt x="254" y="569"/>
                  </a:lnTo>
                  <a:lnTo>
                    <a:pt x="254" y="569"/>
                  </a:lnTo>
                  <a:lnTo>
                    <a:pt x="263" y="559"/>
                  </a:lnTo>
                  <a:lnTo>
                    <a:pt x="275" y="550"/>
                  </a:lnTo>
                  <a:lnTo>
                    <a:pt x="293" y="536"/>
                  </a:lnTo>
                  <a:lnTo>
                    <a:pt x="315" y="514"/>
                  </a:lnTo>
                  <a:lnTo>
                    <a:pt x="315" y="514"/>
                  </a:lnTo>
                  <a:lnTo>
                    <a:pt x="341" y="489"/>
                  </a:lnTo>
                  <a:lnTo>
                    <a:pt x="359" y="468"/>
                  </a:lnTo>
                  <a:lnTo>
                    <a:pt x="382" y="440"/>
                  </a:lnTo>
                  <a:lnTo>
                    <a:pt x="382" y="440"/>
                  </a:lnTo>
                  <a:lnTo>
                    <a:pt x="383" y="433"/>
                  </a:lnTo>
                  <a:lnTo>
                    <a:pt x="383" y="432"/>
                  </a:lnTo>
                  <a:lnTo>
                    <a:pt x="382" y="430"/>
                  </a:lnTo>
                  <a:lnTo>
                    <a:pt x="378" y="426"/>
                  </a:lnTo>
                  <a:lnTo>
                    <a:pt x="376" y="423"/>
                  </a:lnTo>
                  <a:lnTo>
                    <a:pt x="375" y="419"/>
                  </a:lnTo>
                  <a:lnTo>
                    <a:pt x="375" y="419"/>
                  </a:lnTo>
                  <a:lnTo>
                    <a:pt x="371" y="416"/>
                  </a:lnTo>
                  <a:lnTo>
                    <a:pt x="368" y="411"/>
                  </a:lnTo>
                  <a:lnTo>
                    <a:pt x="357" y="404"/>
                  </a:lnTo>
                  <a:lnTo>
                    <a:pt x="345" y="397"/>
                  </a:lnTo>
                  <a:lnTo>
                    <a:pt x="333" y="390"/>
                  </a:lnTo>
                  <a:lnTo>
                    <a:pt x="333" y="390"/>
                  </a:lnTo>
                  <a:lnTo>
                    <a:pt x="331" y="386"/>
                  </a:lnTo>
                  <a:lnTo>
                    <a:pt x="331" y="383"/>
                  </a:lnTo>
                  <a:lnTo>
                    <a:pt x="333" y="381"/>
                  </a:lnTo>
                  <a:lnTo>
                    <a:pt x="336" y="379"/>
                  </a:lnTo>
                  <a:lnTo>
                    <a:pt x="345" y="372"/>
                  </a:lnTo>
                  <a:lnTo>
                    <a:pt x="348" y="369"/>
                  </a:lnTo>
                  <a:lnTo>
                    <a:pt x="350" y="362"/>
                  </a:lnTo>
                  <a:lnTo>
                    <a:pt x="350" y="362"/>
                  </a:lnTo>
                  <a:lnTo>
                    <a:pt x="350" y="359"/>
                  </a:lnTo>
                  <a:lnTo>
                    <a:pt x="347" y="355"/>
                  </a:lnTo>
                  <a:lnTo>
                    <a:pt x="340" y="352"/>
                  </a:lnTo>
                  <a:lnTo>
                    <a:pt x="333" y="348"/>
                  </a:lnTo>
                  <a:lnTo>
                    <a:pt x="331" y="346"/>
                  </a:lnTo>
                  <a:lnTo>
                    <a:pt x="331" y="345"/>
                  </a:lnTo>
                  <a:lnTo>
                    <a:pt x="331" y="345"/>
                  </a:lnTo>
                  <a:lnTo>
                    <a:pt x="333" y="341"/>
                  </a:lnTo>
                  <a:lnTo>
                    <a:pt x="331" y="339"/>
                  </a:lnTo>
                  <a:lnTo>
                    <a:pt x="329" y="338"/>
                  </a:lnTo>
                  <a:lnTo>
                    <a:pt x="334" y="332"/>
                  </a:lnTo>
                  <a:lnTo>
                    <a:pt x="334" y="332"/>
                  </a:lnTo>
                  <a:lnTo>
                    <a:pt x="336" y="331"/>
                  </a:lnTo>
                  <a:lnTo>
                    <a:pt x="336" y="329"/>
                  </a:lnTo>
                  <a:lnTo>
                    <a:pt x="329" y="324"/>
                  </a:lnTo>
                  <a:lnTo>
                    <a:pt x="321" y="319"/>
                  </a:lnTo>
                  <a:lnTo>
                    <a:pt x="317" y="317"/>
                  </a:lnTo>
                  <a:lnTo>
                    <a:pt x="315" y="313"/>
                  </a:lnTo>
                  <a:lnTo>
                    <a:pt x="315" y="313"/>
                  </a:lnTo>
                  <a:lnTo>
                    <a:pt x="315" y="310"/>
                  </a:lnTo>
                  <a:lnTo>
                    <a:pt x="317" y="308"/>
                  </a:lnTo>
                  <a:lnTo>
                    <a:pt x="322" y="305"/>
                  </a:lnTo>
                  <a:lnTo>
                    <a:pt x="324" y="303"/>
                  </a:lnTo>
                  <a:lnTo>
                    <a:pt x="324" y="301"/>
                  </a:lnTo>
                  <a:lnTo>
                    <a:pt x="324" y="299"/>
                  </a:lnTo>
                  <a:lnTo>
                    <a:pt x="321" y="298"/>
                  </a:lnTo>
                  <a:lnTo>
                    <a:pt x="321" y="298"/>
                  </a:lnTo>
                  <a:lnTo>
                    <a:pt x="317" y="296"/>
                  </a:lnTo>
                  <a:lnTo>
                    <a:pt x="317" y="294"/>
                  </a:lnTo>
                  <a:lnTo>
                    <a:pt x="319" y="291"/>
                  </a:lnTo>
                  <a:lnTo>
                    <a:pt x="321" y="285"/>
                  </a:lnTo>
                  <a:lnTo>
                    <a:pt x="321" y="285"/>
                  </a:lnTo>
                  <a:lnTo>
                    <a:pt x="321" y="280"/>
                  </a:lnTo>
                  <a:lnTo>
                    <a:pt x="324" y="278"/>
                  </a:lnTo>
                  <a:lnTo>
                    <a:pt x="326" y="278"/>
                  </a:lnTo>
                  <a:lnTo>
                    <a:pt x="322" y="275"/>
                  </a:lnTo>
                  <a:lnTo>
                    <a:pt x="322" y="275"/>
                  </a:lnTo>
                  <a:lnTo>
                    <a:pt x="321" y="271"/>
                  </a:lnTo>
                  <a:lnTo>
                    <a:pt x="321" y="270"/>
                  </a:lnTo>
                  <a:lnTo>
                    <a:pt x="331" y="271"/>
                  </a:lnTo>
                  <a:lnTo>
                    <a:pt x="331" y="271"/>
                  </a:lnTo>
                  <a:lnTo>
                    <a:pt x="333" y="271"/>
                  </a:lnTo>
                  <a:lnTo>
                    <a:pt x="334" y="270"/>
                  </a:lnTo>
                  <a:lnTo>
                    <a:pt x="333" y="263"/>
                  </a:lnTo>
                  <a:lnTo>
                    <a:pt x="324" y="240"/>
                  </a:lnTo>
                  <a:lnTo>
                    <a:pt x="312" y="218"/>
                  </a:lnTo>
                  <a:lnTo>
                    <a:pt x="305" y="207"/>
                  </a:lnTo>
                  <a:lnTo>
                    <a:pt x="300" y="202"/>
                  </a:lnTo>
                  <a:lnTo>
                    <a:pt x="300" y="202"/>
                  </a:lnTo>
                  <a:lnTo>
                    <a:pt x="296" y="197"/>
                  </a:lnTo>
                  <a:lnTo>
                    <a:pt x="296" y="191"/>
                  </a:lnTo>
                  <a:lnTo>
                    <a:pt x="300" y="186"/>
                  </a:lnTo>
                  <a:lnTo>
                    <a:pt x="305" y="179"/>
                  </a:lnTo>
                  <a:lnTo>
                    <a:pt x="317" y="167"/>
                  </a:lnTo>
                  <a:lnTo>
                    <a:pt x="328" y="157"/>
                  </a:lnTo>
                  <a:lnTo>
                    <a:pt x="328" y="157"/>
                  </a:lnTo>
                  <a:lnTo>
                    <a:pt x="331" y="153"/>
                  </a:lnTo>
                  <a:lnTo>
                    <a:pt x="333" y="150"/>
                  </a:lnTo>
                  <a:lnTo>
                    <a:pt x="331" y="148"/>
                  </a:lnTo>
                  <a:lnTo>
                    <a:pt x="329" y="146"/>
                  </a:lnTo>
                  <a:lnTo>
                    <a:pt x="321" y="141"/>
                  </a:lnTo>
                  <a:lnTo>
                    <a:pt x="317" y="136"/>
                  </a:lnTo>
                  <a:lnTo>
                    <a:pt x="312" y="130"/>
                  </a:lnTo>
                  <a:lnTo>
                    <a:pt x="312" y="130"/>
                  </a:lnTo>
                  <a:lnTo>
                    <a:pt x="307" y="124"/>
                  </a:lnTo>
                  <a:lnTo>
                    <a:pt x="303" y="122"/>
                  </a:lnTo>
                  <a:lnTo>
                    <a:pt x="298" y="122"/>
                  </a:lnTo>
                  <a:lnTo>
                    <a:pt x="294" y="122"/>
                  </a:lnTo>
                  <a:lnTo>
                    <a:pt x="291" y="122"/>
                  </a:lnTo>
                  <a:lnTo>
                    <a:pt x="287" y="120"/>
                  </a:lnTo>
                  <a:lnTo>
                    <a:pt x="282" y="115"/>
                  </a:lnTo>
                  <a:lnTo>
                    <a:pt x="279" y="106"/>
                  </a:lnTo>
                  <a:lnTo>
                    <a:pt x="279" y="106"/>
                  </a:lnTo>
                  <a:lnTo>
                    <a:pt x="277" y="99"/>
                  </a:lnTo>
                  <a:lnTo>
                    <a:pt x="277" y="94"/>
                  </a:lnTo>
                  <a:lnTo>
                    <a:pt x="279" y="90"/>
                  </a:lnTo>
                  <a:lnTo>
                    <a:pt x="282" y="89"/>
                  </a:lnTo>
                  <a:lnTo>
                    <a:pt x="286" y="83"/>
                  </a:lnTo>
                  <a:lnTo>
                    <a:pt x="287" y="82"/>
                  </a:lnTo>
                  <a:lnTo>
                    <a:pt x="287" y="78"/>
                  </a:lnTo>
                  <a:lnTo>
                    <a:pt x="287" y="78"/>
                  </a:lnTo>
                  <a:lnTo>
                    <a:pt x="286" y="76"/>
                  </a:lnTo>
                  <a:lnTo>
                    <a:pt x="282" y="75"/>
                  </a:lnTo>
                  <a:lnTo>
                    <a:pt x="277" y="75"/>
                  </a:lnTo>
                  <a:lnTo>
                    <a:pt x="275" y="73"/>
                  </a:lnTo>
                  <a:lnTo>
                    <a:pt x="277" y="71"/>
                  </a:lnTo>
                  <a:lnTo>
                    <a:pt x="293" y="64"/>
                  </a:lnTo>
                  <a:lnTo>
                    <a:pt x="293" y="64"/>
                  </a:lnTo>
                  <a:lnTo>
                    <a:pt x="287" y="61"/>
                  </a:lnTo>
                  <a:lnTo>
                    <a:pt x="286" y="56"/>
                  </a:lnTo>
                  <a:lnTo>
                    <a:pt x="287" y="52"/>
                  </a:lnTo>
                  <a:lnTo>
                    <a:pt x="293" y="49"/>
                  </a:lnTo>
                  <a:lnTo>
                    <a:pt x="301" y="40"/>
                  </a:lnTo>
                  <a:lnTo>
                    <a:pt x="303" y="36"/>
                  </a:lnTo>
                  <a:lnTo>
                    <a:pt x="303" y="33"/>
                  </a:lnTo>
                  <a:lnTo>
                    <a:pt x="303" y="33"/>
                  </a:lnTo>
                  <a:lnTo>
                    <a:pt x="300" y="28"/>
                  </a:lnTo>
                  <a:lnTo>
                    <a:pt x="294" y="24"/>
                  </a:lnTo>
                  <a:lnTo>
                    <a:pt x="282" y="19"/>
                  </a:lnTo>
                  <a:lnTo>
                    <a:pt x="270" y="12"/>
                  </a:lnTo>
                  <a:lnTo>
                    <a:pt x="265" y="9"/>
                  </a:lnTo>
                  <a:lnTo>
                    <a:pt x="261" y="5"/>
                  </a:lnTo>
                  <a:lnTo>
                    <a:pt x="261" y="5"/>
                  </a:lnTo>
                  <a:lnTo>
                    <a:pt x="258" y="2"/>
                  </a:lnTo>
                  <a:lnTo>
                    <a:pt x="253" y="0"/>
                  </a:lnTo>
                  <a:lnTo>
                    <a:pt x="247" y="0"/>
                  </a:lnTo>
                  <a:lnTo>
                    <a:pt x="242" y="3"/>
                  </a:lnTo>
                  <a:lnTo>
                    <a:pt x="242" y="3"/>
                  </a:lnTo>
                  <a:lnTo>
                    <a:pt x="232" y="7"/>
                  </a:lnTo>
                  <a:lnTo>
                    <a:pt x="225" y="9"/>
                  </a:lnTo>
                  <a:lnTo>
                    <a:pt x="221" y="9"/>
                  </a:lnTo>
                  <a:lnTo>
                    <a:pt x="216" y="9"/>
                  </a:lnTo>
                  <a:lnTo>
                    <a:pt x="211" y="7"/>
                  </a:lnTo>
                  <a:lnTo>
                    <a:pt x="207" y="7"/>
                  </a:lnTo>
                  <a:lnTo>
                    <a:pt x="204" y="10"/>
                  </a:lnTo>
                  <a:lnTo>
                    <a:pt x="204" y="10"/>
                  </a:lnTo>
                  <a:lnTo>
                    <a:pt x="195" y="17"/>
                  </a:lnTo>
                  <a:lnTo>
                    <a:pt x="188" y="24"/>
                  </a:lnTo>
                  <a:lnTo>
                    <a:pt x="185" y="31"/>
                  </a:lnTo>
                  <a:lnTo>
                    <a:pt x="183" y="38"/>
                  </a:lnTo>
                  <a:lnTo>
                    <a:pt x="183" y="38"/>
                  </a:lnTo>
                  <a:lnTo>
                    <a:pt x="181" y="43"/>
                  </a:lnTo>
                  <a:lnTo>
                    <a:pt x="180" y="49"/>
                  </a:lnTo>
                  <a:lnTo>
                    <a:pt x="180" y="54"/>
                  </a:lnTo>
                  <a:lnTo>
                    <a:pt x="181" y="61"/>
                  </a:lnTo>
                  <a:lnTo>
                    <a:pt x="181" y="61"/>
                  </a:lnTo>
                  <a:lnTo>
                    <a:pt x="183" y="66"/>
                  </a:lnTo>
                  <a:lnTo>
                    <a:pt x="183" y="68"/>
                  </a:lnTo>
                  <a:lnTo>
                    <a:pt x="180" y="70"/>
                  </a:lnTo>
                  <a:lnTo>
                    <a:pt x="176" y="71"/>
                  </a:lnTo>
                  <a:lnTo>
                    <a:pt x="167" y="75"/>
                  </a:lnTo>
                  <a:lnTo>
                    <a:pt x="164" y="76"/>
                  </a:lnTo>
                  <a:lnTo>
                    <a:pt x="160" y="80"/>
                  </a:lnTo>
                  <a:lnTo>
                    <a:pt x="160" y="80"/>
                  </a:lnTo>
                  <a:lnTo>
                    <a:pt x="159" y="87"/>
                  </a:lnTo>
                  <a:lnTo>
                    <a:pt x="155" y="90"/>
                  </a:lnTo>
                  <a:lnTo>
                    <a:pt x="150" y="94"/>
                  </a:lnTo>
                  <a:lnTo>
                    <a:pt x="150" y="94"/>
                  </a:lnTo>
                  <a:lnTo>
                    <a:pt x="141" y="87"/>
                  </a:lnTo>
                  <a:lnTo>
                    <a:pt x="131" y="82"/>
                  </a:lnTo>
                  <a:lnTo>
                    <a:pt x="117" y="78"/>
                  </a:lnTo>
                  <a:lnTo>
                    <a:pt x="117" y="78"/>
                  </a:lnTo>
                  <a:lnTo>
                    <a:pt x="113" y="78"/>
                  </a:lnTo>
                  <a:lnTo>
                    <a:pt x="112" y="80"/>
                  </a:lnTo>
                  <a:lnTo>
                    <a:pt x="106" y="85"/>
                  </a:lnTo>
                  <a:lnTo>
                    <a:pt x="98" y="89"/>
                  </a:lnTo>
                  <a:lnTo>
                    <a:pt x="98" y="89"/>
                  </a:lnTo>
                  <a:lnTo>
                    <a:pt x="91" y="89"/>
                  </a:lnTo>
                  <a:lnTo>
                    <a:pt x="89" y="87"/>
                  </a:lnTo>
                  <a:lnTo>
                    <a:pt x="84" y="85"/>
                  </a:lnTo>
                  <a:lnTo>
                    <a:pt x="73" y="85"/>
                  </a:lnTo>
                  <a:lnTo>
                    <a:pt x="73" y="85"/>
                  </a:lnTo>
                  <a:lnTo>
                    <a:pt x="63" y="83"/>
                  </a:lnTo>
                  <a:lnTo>
                    <a:pt x="61" y="83"/>
                  </a:lnTo>
                  <a:lnTo>
                    <a:pt x="61" y="82"/>
                  </a:lnTo>
                  <a:lnTo>
                    <a:pt x="61" y="76"/>
                  </a:lnTo>
                  <a:lnTo>
                    <a:pt x="59" y="73"/>
                  </a:lnTo>
                  <a:lnTo>
                    <a:pt x="56" y="68"/>
                  </a:lnTo>
                  <a:lnTo>
                    <a:pt x="56" y="68"/>
                  </a:lnTo>
                  <a:lnTo>
                    <a:pt x="44" y="57"/>
                  </a:lnTo>
                  <a:lnTo>
                    <a:pt x="35" y="50"/>
                  </a:lnTo>
                  <a:lnTo>
                    <a:pt x="30" y="49"/>
                  </a:lnTo>
                  <a:lnTo>
                    <a:pt x="26" y="47"/>
                  </a:lnTo>
                  <a:lnTo>
                    <a:pt x="21" y="47"/>
                  </a:lnTo>
                  <a:lnTo>
                    <a:pt x="18" y="50"/>
                  </a:lnTo>
                  <a:lnTo>
                    <a:pt x="18" y="50"/>
                  </a:lnTo>
                  <a:lnTo>
                    <a:pt x="16" y="54"/>
                  </a:lnTo>
                  <a:lnTo>
                    <a:pt x="16" y="57"/>
                  </a:lnTo>
                  <a:lnTo>
                    <a:pt x="18" y="61"/>
                  </a:lnTo>
                  <a:lnTo>
                    <a:pt x="18" y="64"/>
                  </a:lnTo>
                  <a:lnTo>
                    <a:pt x="18" y="64"/>
                  </a:lnTo>
                  <a:lnTo>
                    <a:pt x="14" y="64"/>
                  </a:lnTo>
                  <a:lnTo>
                    <a:pt x="9" y="63"/>
                  </a:lnTo>
                  <a:lnTo>
                    <a:pt x="4" y="61"/>
                  </a:lnTo>
                  <a:lnTo>
                    <a:pt x="2" y="63"/>
                  </a:lnTo>
                  <a:lnTo>
                    <a:pt x="0" y="64"/>
                  </a:lnTo>
                  <a:lnTo>
                    <a:pt x="0" y="6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 name="Freeform 1735">
              <a:extLst>
                <a:ext uri="{FF2B5EF4-FFF2-40B4-BE49-F238E27FC236}">
                  <a16:creationId xmlns:a16="http://schemas.microsoft.com/office/drawing/2014/main" id="{D82CF83C-45C8-4C5D-AE08-9284667FA6E7}"/>
                </a:ext>
              </a:extLst>
            </p:cNvPr>
            <p:cNvSpPr>
              <a:spLocks/>
            </p:cNvSpPr>
            <p:nvPr/>
          </p:nvSpPr>
          <p:spPr bwMode="auto">
            <a:xfrm>
              <a:off x="5343482" y="2601767"/>
              <a:ext cx="509217" cy="327732"/>
            </a:xfrm>
            <a:custGeom>
              <a:avLst/>
              <a:gdLst/>
              <a:ahLst/>
              <a:cxnLst>
                <a:cxn ang="0">
                  <a:pos x="61" y="68"/>
                </a:cxn>
                <a:cxn ang="0">
                  <a:pos x="72" y="97"/>
                </a:cxn>
                <a:cxn ang="0">
                  <a:pos x="25" y="141"/>
                </a:cxn>
                <a:cxn ang="0">
                  <a:pos x="23" y="169"/>
                </a:cxn>
                <a:cxn ang="0">
                  <a:pos x="9" y="188"/>
                </a:cxn>
                <a:cxn ang="0">
                  <a:pos x="18" y="221"/>
                </a:cxn>
                <a:cxn ang="0">
                  <a:pos x="28" y="230"/>
                </a:cxn>
                <a:cxn ang="0">
                  <a:pos x="42" y="225"/>
                </a:cxn>
                <a:cxn ang="0">
                  <a:pos x="82" y="230"/>
                </a:cxn>
                <a:cxn ang="0">
                  <a:pos x="112" y="233"/>
                </a:cxn>
                <a:cxn ang="0">
                  <a:pos x="159" y="214"/>
                </a:cxn>
                <a:cxn ang="0">
                  <a:pos x="192" y="202"/>
                </a:cxn>
                <a:cxn ang="0">
                  <a:pos x="237" y="223"/>
                </a:cxn>
                <a:cxn ang="0">
                  <a:pos x="248" y="244"/>
                </a:cxn>
                <a:cxn ang="0">
                  <a:pos x="262" y="261"/>
                </a:cxn>
                <a:cxn ang="0">
                  <a:pos x="274" y="299"/>
                </a:cxn>
                <a:cxn ang="0">
                  <a:pos x="267" y="306"/>
                </a:cxn>
                <a:cxn ang="0">
                  <a:pos x="239" y="308"/>
                </a:cxn>
                <a:cxn ang="0">
                  <a:pos x="227" y="343"/>
                </a:cxn>
                <a:cxn ang="0">
                  <a:pos x="227" y="367"/>
                </a:cxn>
                <a:cxn ang="0">
                  <a:pos x="251" y="357"/>
                </a:cxn>
                <a:cxn ang="0">
                  <a:pos x="263" y="348"/>
                </a:cxn>
                <a:cxn ang="0">
                  <a:pos x="298" y="322"/>
                </a:cxn>
                <a:cxn ang="0">
                  <a:pos x="328" y="296"/>
                </a:cxn>
                <a:cxn ang="0">
                  <a:pos x="347" y="279"/>
                </a:cxn>
                <a:cxn ang="0">
                  <a:pos x="359" y="301"/>
                </a:cxn>
                <a:cxn ang="0">
                  <a:pos x="343" y="312"/>
                </a:cxn>
                <a:cxn ang="0">
                  <a:pos x="389" y="322"/>
                </a:cxn>
                <a:cxn ang="0">
                  <a:pos x="406" y="331"/>
                </a:cxn>
                <a:cxn ang="0">
                  <a:pos x="368" y="360"/>
                </a:cxn>
                <a:cxn ang="0">
                  <a:pos x="399" y="392"/>
                </a:cxn>
                <a:cxn ang="0">
                  <a:pos x="424" y="404"/>
                </a:cxn>
                <a:cxn ang="0">
                  <a:pos x="462" y="381"/>
                </a:cxn>
                <a:cxn ang="0">
                  <a:pos x="504" y="373"/>
                </a:cxn>
                <a:cxn ang="0">
                  <a:pos x="498" y="353"/>
                </a:cxn>
                <a:cxn ang="0">
                  <a:pos x="455" y="346"/>
                </a:cxn>
                <a:cxn ang="0">
                  <a:pos x="457" y="315"/>
                </a:cxn>
                <a:cxn ang="0">
                  <a:pos x="486" y="296"/>
                </a:cxn>
                <a:cxn ang="0">
                  <a:pos x="549" y="272"/>
                </a:cxn>
                <a:cxn ang="0">
                  <a:pos x="568" y="249"/>
                </a:cxn>
                <a:cxn ang="0">
                  <a:pos x="615" y="235"/>
                </a:cxn>
                <a:cxn ang="0">
                  <a:pos x="617" y="197"/>
                </a:cxn>
                <a:cxn ang="0">
                  <a:pos x="629" y="179"/>
                </a:cxn>
                <a:cxn ang="0">
                  <a:pos x="634" y="158"/>
                </a:cxn>
                <a:cxn ang="0">
                  <a:pos x="615" y="141"/>
                </a:cxn>
                <a:cxn ang="0">
                  <a:pos x="580" y="124"/>
                </a:cxn>
                <a:cxn ang="0">
                  <a:pos x="545" y="113"/>
                </a:cxn>
                <a:cxn ang="0">
                  <a:pos x="502" y="110"/>
                </a:cxn>
                <a:cxn ang="0">
                  <a:pos x="469" y="96"/>
                </a:cxn>
                <a:cxn ang="0">
                  <a:pos x="441" y="63"/>
                </a:cxn>
                <a:cxn ang="0">
                  <a:pos x="424" y="40"/>
                </a:cxn>
                <a:cxn ang="0">
                  <a:pos x="418" y="7"/>
                </a:cxn>
                <a:cxn ang="0">
                  <a:pos x="397" y="0"/>
                </a:cxn>
                <a:cxn ang="0">
                  <a:pos x="363" y="3"/>
                </a:cxn>
                <a:cxn ang="0">
                  <a:pos x="338" y="14"/>
                </a:cxn>
                <a:cxn ang="0">
                  <a:pos x="298" y="45"/>
                </a:cxn>
                <a:cxn ang="0">
                  <a:pos x="265" y="50"/>
                </a:cxn>
                <a:cxn ang="0">
                  <a:pos x="237" y="43"/>
                </a:cxn>
                <a:cxn ang="0">
                  <a:pos x="201" y="40"/>
                </a:cxn>
                <a:cxn ang="0">
                  <a:pos x="138" y="24"/>
                </a:cxn>
                <a:cxn ang="0">
                  <a:pos x="70" y="40"/>
                </a:cxn>
              </a:cxnLst>
              <a:rect l="0" t="0" r="r" b="b"/>
              <a:pathLst>
                <a:path w="634" h="407">
                  <a:moveTo>
                    <a:pt x="53" y="45"/>
                  </a:moveTo>
                  <a:lnTo>
                    <a:pt x="53" y="45"/>
                  </a:lnTo>
                  <a:lnTo>
                    <a:pt x="54" y="49"/>
                  </a:lnTo>
                  <a:lnTo>
                    <a:pt x="54" y="50"/>
                  </a:lnTo>
                  <a:lnTo>
                    <a:pt x="53" y="54"/>
                  </a:lnTo>
                  <a:lnTo>
                    <a:pt x="53" y="57"/>
                  </a:lnTo>
                  <a:lnTo>
                    <a:pt x="54" y="59"/>
                  </a:lnTo>
                  <a:lnTo>
                    <a:pt x="61" y="68"/>
                  </a:lnTo>
                  <a:lnTo>
                    <a:pt x="61" y="68"/>
                  </a:lnTo>
                  <a:lnTo>
                    <a:pt x="70" y="80"/>
                  </a:lnTo>
                  <a:lnTo>
                    <a:pt x="70" y="84"/>
                  </a:lnTo>
                  <a:lnTo>
                    <a:pt x="70" y="84"/>
                  </a:lnTo>
                  <a:lnTo>
                    <a:pt x="65" y="84"/>
                  </a:lnTo>
                  <a:lnTo>
                    <a:pt x="65" y="85"/>
                  </a:lnTo>
                  <a:lnTo>
                    <a:pt x="67" y="87"/>
                  </a:lnTo>
                  <a:lnTo>
                    <a:pt x="67" y="87"/>
                  </a:lnTo>
                  <a:lnTo>
                    <a:pt x="70" y="92"/>
                  </a:lnTo>
                  <a:lnTo>
                    <a:pt x="72" y="97"/>
                  </a:lnTo>
                  <a:lnTo>
                    <a:pt x="70" y="99"/>
                  </a:lnTo>
                  <a:lnTo>
                    <a:pt x="68" y="101"/>
                  </a:lnTo>
                  <a:lnTo>
                    <a:pt x="60" y="104"/>
                  </a:lnTo>
                  <a:lnTo>
                    <a:pt x="60" y="104"/>
                  </a:lnTo>
                  <a:lnTo>
                    <a:pt x="56" y="106"/>
                  </a:lnTo>
                  <a:lnTo>
                    <a:pt x="51" y="110"/>
                  </a:lnTo>
                  <a:lnTo>
                    <a:pt x="42" y="118"/>
                  </a:lnTo>
                  <a:lnTo>
                    <a:pt x="25" y="141"/>
                  </a:lnTo>
                  <a:lnTo>
                    <a:pt x="25" y="141"/>
                  </a:lnTo>
                  <a:lnTo>
                    <a:pt x="21" y="144"/>
                  </a:lnTo>
                  <a:lnTo>
                    <a:pt x="21" y="148"/>
                  </a:lnTo>
                  <a:lnTo>
                    <a:pt x="21" y="153"/>
                  </a:lnTo>
                  <a:lnTo>
                    <a:pt x="23" y="158"/>
                  </a:lnTo>
                  <a:lnTo>
                    <a:pt x="23" y="160"/>
                  </a:lnTo>
                  <a:lnTo>
                    <a:pt x="23" y="164"/>
                  </a:lnTo>
                  <a:lnTo>
                    <a:pt x="23" y="164"/>
                  </a:lnTo>
                  <a:lnTo>
                    <a:pt x="21" y="165"/>
                  </a:lnTo>
                  <a:lnTo>
                    <a:pt x="23" y="169"/>
                  </a:lnTo>
                  <a:lnTo>
                    <a:pt x="27" y="172"/>
                  </a:lnTo>
                  <a:lnTo>
                    <a:pt x="27" y="174"/>
                  </a:lnTo>
                  <a:lnTo>
                    <a:pt x="25" y="174"/>
                  </a:lnTo>
                  <a:lnTo>
                    <a:pt x="16" y="172"/>
                  </a:lnTo>
                  <a:lnTo>
                    <a:pt x="16" y="172"/>
                  </a:lnTo>
                  <a:lnTo>
                    <a:pt x="14" y="178"/>
                  </a:lnTo>
                  <a:lnTo>
                    <a:pt x="11" y="184"/>
                  </a:lnTo>
                  <a:lnTo>
                    <a:pt x="11" y="184"/>
                  </a:lnTo>
                  <a:lnTo>
                    <a:pt x="9" y="188"/>
                  </a:lnTo>
                  <a:lnTo>
                    <a:pt x="6" y="191"/>
                  </a:lnTo>
                  <a:lnTo>
                    <a:pt x="2" y="197"/>
                  </a:lnTo>
                  <a:lnTo>
                    <a:pt x="0" y="205"/>
                  </a:lnTo>
                  <a:lnTo>
                    <a:pt x="0" y="205"/>
                  </a:lnTo>
                  <a:lnTo>
                    <a:pt x="6" y="207"/>
                  </a:lnTo>
                  <a:lnTo>
                    <a:pt x="9" y="211"/>
                  </a:lnTo>
                  <a:lnTo>
                    <a:pt x="14" y="216"/>
                  </a:lnTo>
                  <a:lnTo>
                    <a:pt x="16" y="221"/>
                  </a:lnTo>
                  <a:lnTo>
                    <a:pt x="18" y="221"/>
                  </a:lnTo>
                  <a:lnTo>
                    <a:pt x="21" y="221"/>
                  </a:lnTo>
                  <a:lnTo>
                    <a:pt x="21" y="221"/>
                  </a:lnTo>
                  <a:lnTo>
                    <a:pt x="25" y="221"/>
                  </a:lnTo>
                  <a:lnTo>
                    <a:pt x="27" y="223"/>
                  </a:lnTo>
                  <a:lnTo>
                    <a:pt x="28" y="225"/>
                  </a:lnTo>
                  <a:lnTo>
                    <a:pt x="27" y="226"/>
                  </a:lnTo>
                  <a:lnTo>
                    <a:pt x="27" y="226"/>
                  </a:lnTo>
                  <a:lnTo>
                    <a:pt x="27" y="228"/>
                  </a:lnTo>
                  <a:lnTo>
                    <a:pt x="28" y="230"/>
                  </a:lnTo>
                  <a:lnTo>
                    <a:pt x="28" y="230"/>
                  </a:lnTo>
                  <a:lnTo>
                    <a:pt x="30" y="228"/>
                  </a:lnTo>
                  <a:lnTo>
                    <a:pt x="32" y="228"/>
                  </a:lnTo>
                  <a:lnTo>
                    <a:pt x="32" y="228"/>
                  </a:lnTo>
                  <a:lnTo>
                    <a:pt x="35" y="225"/>
                  </a:lnTo>
                  <a:lnTo>
                    <a:pt x="35" y="225"/>
                  </a:lnTo>
                  <a:lnTo>
                    <a:pt x="37" y="223"/>
                  </a:lnTo>
                  <a:lnTo>
                    <a:pt x="39" y="223"/>
                  </a:lnTo>
                  <a:lnTo>
                    <a:pt x="42" y="225"/>
                  </a:lnTo>
                  <a:lnTo>
                    <a:pt x="47" y="228"/>
                  </a:lnTo>
                  <a:lnTo>
                    <a:pt x="51" y="228"/>
                  </a:lnTo>
                  <a:lnTo>
                    <a:pt x="54" y="228"/>
                  </a:lnTo>
                  <a:lnTo>
                    <a:pt x="54" y="228"/>
                  </a:lnTo>
                  <a:lnTo>
                    <a:pt x="65" y="230"/>
                  </a:lnTo>
                  <a:lnTo>
                    <a:pt x="70" y="230"/>
                  </a:lnTo>
                  <a:lnTo>
                    <a:pt x="75" y="232"/>
                  </a:lnTo>
                  <a:lnTo>
                    <a:pt x="82" y="230"/>
                  </a:lnTo>
                  <a:lnTo>
                    <a:pt x="82" y="230"/>
                  </a:lnTo>
                  <a:lnTo>
                    <a:pt x="86" y="230"/>
                  </a:lnTo>
                  <a:lnTo>
                    <a:pt x="89" y="232"/>
                  </a:lnTo>
                  <a:lnTo>
                    <a:pt x="94" y="237"/>
                  </a:lnTo>
                  <a:lnTo>
                    <a:pt x="98" y="242"/>
                  </a:lnTo>
                  <a:lnTo>
                    <a:pt x="101" y="242"/>
                  </a:lnTo>
                  <a:lnTo>
                    <a:pt x="103" y="240"/>
                  </a:lnTo>
                  <a:lnTo>
                    <a:pt x="103" y="240"/>
                  </a:lnTo>
                  <a:lnTo>
                    <a:pt x="108" y="235"/>
                  </a:lnTo>
                  <a:lnTo>
                    <a:pt x="112" y="233"/>
                  </a:lnTo>
                  <a:lnTo>
                    <a:pt x="117" y="232"/>
                  </a:lnTo>
                  <a:lnTo>
                    <a:pt x="129" y="230"/>
                  </a:lnTo>
                  <a:lnTo>
                    <a:pt x="129" y="230"/>
                  </a:lnTo>
                  <a:lnTo>
                    <a:pt x="136" y="228"/>
                  </a:lnTo>
                  <a:lnTo>
                    <a:pt x="140" y="226"/>
                  </a:lnTo>
                  <a:lnTo>
                    <a:pt x="145" y="223"/>
                  </a:lnTo>
                  <a:lnTo>
                    <a:pt x="150" y="218"/>
                  </a:lnTo>
                  <a:lnTo>
                    <a:pt x="154" y="216"/>
                  </a:lnTo>
                  <a:lnTo>
                    <a:pt x="159" y="214"/>
                  </a:lnTo>
                  <a:lnTo>
                    <a:pt x="159" y="214"/>
                  </a:lnTo>
                  <a:lnTo>
                    <a:pt x="161" y="211"/>
                  </a:lnTo>
                  <a:lnTo>
                    <a:pt x="164" y="209"/>
                  </a:lnTo>
                  <a:lnTo>
                    <a:pt x="173" y="207"/>
                  </a:lnTo>
                  <a:lnTo>
                    <a:pt x="182" y="205"/>
                  </a:lnTo>
                  <a:lnTo>
                    <a:pt x="185" y="205"/>
                  </a:lnTo>
                  <a:lnTo>
                    <a:pt x="188" y="204"/>
                  </a:lnTo>
                  <a:lnTo>
                    <a:pt x="188" y="204"/>
                  </a:lnTo>
                  <a:lnTo>
                    <a:pt x="192" y="202"/>
                  </a:lnTo>
                  <a:lnTo>
                    <a:pt x="197" y="204"/>
                  </a:lnTo>
                  <a:lnTo>
                    <a:pt x="208" y="209"/>
                  </a:lnTo>
                  <a:lnTo>
                    <a:pt x="218" y="216"/>
                  </a:lnTo>
                  <a:lnTo>
                    <a:pt x="223" y="218"/>
                  </a:lnTo>
                  <a:lnTo>
                    <a:pt x="227" y="218"/>
                  </a:lnTo>
                  <a:lnTo>
                    <a:pt x="227" y="218"/>
                  </a:lnTo>
                  <a:lnTo>
                    <a:pt x="230" y="218"/>
                  </a:lnTo>
                  <a:lnTo>
                    <a:pt x="234" y="219"/>
                  </a:lnTo>
                  <a:lnTo>
                    <a:pt x="237" y="223"/>
                  </a:lnTo>
                  <a:lnTo>
                    <a:pt x="241" y="228"/>
                  </a:lnTo>
                  <a:lnTo>
                    <a:pt x="242" y="228"/>
                  </a:lnTo>
                  <a:lnTo>
                    <a:pt x="244" y="228"/>
                  </a:lnTo>
                  <a:lnTo>
                    <a:pt x="244" y="228"/>
                  </a:lnTo>
                  <a:lnTo>
                    <a:pt x="248" y="226"/>
                  </a:lnTo>
                  <a:lnTo>
                    <a:pt x="249" y="228"/>
                  </a:lnTo>
                  <a:lnTo>
                    <a:pt x="251" y="232"/>
                  </a:lnTo>
                  <a:lnTo>
                    <a:pt x="249" y="237"/>
                  </a:lnTo>
                  <a:lnTo>
                    <a:pt x="248" y="244"/>
                  </a:lnTo>
                  <a:lnTo>
                    <a:pt x="248" y="244"/>
                  </a:lnTo>
                  <a:lnTo>
                    <a:pt x="248" y="249"/>
                  </a:lnTo>
                  <a:lnTo>
                    <a:pt x="249" y="256"/>
                  </a:lnTo>
                  <a:lnTo>
                    <a:pt x="253" y="259"/>
                  </a:lnTo>
                  <a:lnTo>
                    <a:pt x="256" y="259"/>
                  </a:lnTo>
                  <a:lnTo>
                    <a:pt x="258" y="259"/>
                  </a:lnTo>
                  <a:lnTo>
                    <a:pt x="258" y="259"/>
                  </a:lnTo>
                  <a:lnTo>
                    <a:pt x="260" y="259"/>
                  </a:lnTo>
                  <a:lnTo>
                    <a:pt x="262" y="261"/>
                  </a:lnTo>
                  <a:lnTo>
                    <a:pt x="262" y="268"/>
                  </a:lnTo>
                  <a:lnTo>
                    <a:pt x="263" y="277"/>
                  </a:lnTo>
                  <a:lnTo>
                    <a:pt x="265" y="280"/>
                  </a:lnTo>
                  <a:lnTo>
                    <a:pt x="269" y="282"/>
                  </a:lnTo>
                  <a:lnTo>
                    <a:pt x="269" y="282"/>
                  </a:lnTo>
                  <a:lnTo>
                    <a:pt x="272" y="285"/>
                  </a:lnTo>
                  <a:lnTo>
                    <a:pt x="274" y="289"/>
                  </a:lnTo>
                  <a:lnTo>
                    <a:pt x="274" y="294"/>
                  </a:lnTo>
                  <a:lnTo>
                    <a:pt x="274" y="299"/>
                  </a:lnTo>
                  <a:lnTo>
                    <a:pt x="276" y="301"/>
                  </a:lnTo>
                  <a:lnTo>
                    <a:pt x="277" y="305"/>
                  </a:lnTo>
                  <a:lnTo>
                    <a:pt x="277" y="305"/>
                  </a:lnTo>
                  <a:lnTo>
                    <a:pt x="281" y="308"/>
                  </a:lnTo>
                  <a:lnTo>
                    <a:pt x="279" y="310"/>
                  </a:lnTo>
                  <a:lnTo>
                    <a:pt x="276" y="310"/>
                  </a:lnTo>
                  <a:lnTo>
                    <a:pt x="272" y="308"/>
                  </a:lnTo>
                  <a:lnTo>
                    <a:pt x="272" y="308"/>
                  </a:lnTo>
                  <a:lnTo>
                    <a:pt x="267" y="306"/>
                  </a:lnTo>
                  <a:lnTo>
                    <a:pt x="262" y="308"/>
                  </a:lnTo>
                  <a:lnTo>
                    <a:pt x="255" y="308"/>
                  </a:lnTo>
                  <a:lnTo>
                    <a:pt x="253" y="306"/>
                  </a:lnTo>
                  <a:lnTo>
                    <a:pt x="251" y="305"/>
                  </a:lnTo>
                  <a:lnTo>
                    <a:pt x="251" y="305"/>
                  </a:lnTo>
                  <a:lnTo>
                    <a:pt x="248" y="303"/>
                  </a:lnTo>
                  <a:lnTo>
                    <a:pt x="246" y="303"/>
                  </a:lnTo>
                  <a:lnTo>
                    <a:pt x="241" y="305"/>
                  </a:lnTo>
                  <a:lnTo>
                    <a:pt x="239" y="308"/>
                  </a:lnTo>
                  <a:lnTo>
                    <a:pt x="239" y="312"/>
                  </a:lnTo>
                  <a:lnTo>
                    <a:pt x="241" y="313"/>
                  </a:lnTo>
                  <a:lnTo>
                    <a:pt x="241" y="313"/>
                  </a:lnTo>
                  <a:lnTo>
                    <a:pt x="242" y="319"/>
                  </a:lnTo>
                  <a:lnTo>
                    <a:pt x="242" y="322"/>
                  </a:lnTo>
                  <a:lnTo>
                    <a:pt x="239" y="327"/>
                  </a:lnTo>
                  <a:lnTo>
                    <a:pt x="235" y="331"/>
                  </a:lnTo>
                  <a:lnTo>
                    <a:pt x="229" y="339"/>
                  </a:lnTo>
                  <a:lnTo>
                    <a:pt x="227" y="343"/>
                  </a:lnTo>
                  <a:lnTo>
                    <a:pt x="225" y="346"/>
                  </a:lnTo>
                  <a:lnTo>
                    <a:pt x="225" y="346"/>
                  </a:lnTo>
                  <a:lnTo>
                    <a:pt x="225" y="352"/>
                  </a:lnTo>
                  <a:lnTo>
                    <a:pt x="222" y="353"/>
                  </a:lnTo>
                  <a:lnTo>
                    <a:pt x="218" y="353"/>
                  </a:lnTo>
                  <a:lnTo>
                    <a:pt x="215" y="355"/>
                  </a:lnTo>
                  <a:lnTo>
                    <a:pt x="215" y="355"/>
                  </a:lnTo>
                  <a:lnTo>
                    <a:pt x="222" y="362"/>
                  </a:lnTo>
                  <a:lnTo>
                    <a:pt x="227" y="367"/>
                  </a:lnTo>
                  <a:lnTo>
                    <a:pt x="232" y="367"/>
                  </a:lnTo>
                  <a:lnTo>
                    <a:pt x="234" y="364"/>
                  </a:lnTo>
                  <a:lnTo>
                    <a:pt x="234" y="364"/>
                  </a:lnTo>
                  <a:lnTo>
                    <a:pt x="235" y="362"/>
                  </a:lnTo>
                  <a:lnTo>
                    <a:pt x="239" y="362"/>
                  </a:lnTo>
                  <a:lnTo>
                    <a:pt x="242" y="362"/>
                  </a:lnTo>
                  <a:lnTo>
                    <a:pt x="248" y="359"/>
                  </a:lnTo>
                  <a:lnTo>
                    <a:pt x="248" y="359"/>
                  </a:lnTo>
                  <a:lnTo>
                    <a:pt x="251" y="357"/>
                  </a:lnTo>
                  <a:lnTo>
                    <a:pt x="256" y="357"/>
                  </a:lnTo>
                  <a:lnTo>
                    <a:pt x="263" y="359"/>
                  </a:lnTo>
                  <a:lnTo>
                    <a:pt x="265" y="362"/>
                  </a:lnTo>
                  <a:lnTo>
                    <a:pt x="269" y="366"/>
                  </a:lnTo>
                  <a:lnTo>
                    <a:pt x="269" y="366"/>
                  </a:lnTo>
                  <a:lnTo>
                    <a:pt x="269" y="359"/>
                  </a:lnTo>
                  <a:lnTo>
                    <a:pt x="267" y="355"/>
                  </a:lnTo>
                  <a:lnTo>
                    <a:pt x="265" y="353"/>
                  </a:lnTo>
                  <a:lnTo>
                    <a:pt x="263" y="348"/>
                  </a:lnTo>
                  <a:lnTo>
                    <a:pt x="263" y="348"/>
                  </a:lnTo>
                  <a:lnTo>
                    <a:pt x="263" y="343"/>
                  </a:lnTo>
                  <a:lnTo>
                    <a:pt x="267" y="341"/>
                  </a:lnTo>
                  <a:lnTo>
                    <a:pt x="272" y="343"/>
                  </a:lnTo>
                  <a:lnTo>
                    <a:pt x="277" y="341"/>
                  </a:lnTo>
                  <a:lnTo>
                    <a:pt x="281" y="338"/>
                  </a:lnTo>
                  <a:lnTo>
                    <a:pt x="281" y="338"/>
                  </a:lnTo>
                  <a:lnTo>
                    <a:pt x="291" y="329"/>
                  </a:lnTo>
                  <a:lnTo>
                    <a:pt x="298" y="322"/>
                  </a:lnTo>
                  <a:lnTo>
                    <a:pt x="302" y="315"/>
                  </a:lnTo>
                  <a:lnTo>
                    <a:pt x="303" y="306"/>
                  </a:lnTo>
                  <a:lnTo>
                    <a:pt x="303" y="306"/>
                  </a:lnTo>
                  <a:lnTo>
                    <a:pt x="303" y="303"/>
                  </a:lnTo>
                  <a:lnTo>
                    <a:pt x="305" y="301"/>
                  </a:lnTo>
                  <a:lnTo>
                    <a:pt x="309" y="299"/>
                  </a:lnTo>
                  <a:lnTo>
                    <a:pt x="312" y="298"/>
                  </a:lnTo>
                  <a:lnTo>
                    <a:pt x="321" y="298"/>
                  </a:lnTo>
                  <a:lnTo>
                    <a:pt x="328" y="296"/>
                  </a:lnTo>
                  <a:lnTo>
                    <a:pt x="328" y="296"/>
                  </a:lnTo>
                  <a:lnTo>
                    <a:pt x="335" y="294"/>
                  </a:lnTo>
                  <a:lnTo>
                    <a:pt x="338" y="296"/>
                  </a:lnTo>
                  <a:lnTo>
                    <a:pt x="342" y="296"/>
                  </a:lnTo>
                  <a:lnTo>
                    <a:pt x="342" y="291"/>
                  </a:lnTo>
                  <a:lnTo>
                    <a:pt x="342" y="291"/>
                  </a:lnTo>
                  <a:lnTo>
                    <a:pt x="343" y="277"/>
                  </a:lnTo>
                  <a:lnTo>
                    <a:pt x="345" y="273"/>
                  </a:lnTo>
                  <a:lnTo>
                    <a:pt x="347" y="279"/>
                  </a:lnTo>
                  <a:lnTo>
                    <a:pt x="347" y="279"/>
                  </a:lnTo>
                  <a:lnTo>
                    <a:pt x="347" y="287"/>
                  </a:lnTo>
                  <a:lnTo>
                    <a:pt x="347" y="294"/>
                  </a:lnTo>
                  <a:lnTo>
                    <a:pt x="349" y="296"/>
                  </a:lnTo>
                  <a:lnTo>
                    <a:pt x="352" y="298"/>
                  </a:lnTo>
                  <a:lnTo>
                    <a:pt x="357" y="299"/>
                  </a:lnTo>
                  <a:lnTo>
                    <a:pt x="366" y="299"/>
                  </a:lnTo>
                  <a:lnTo>
                    <a:pt x="366" y="299"/>
                  </a:lnTo>
                  <a:lnTo>
                    <a:pt x="359" y="301"/>
                  </a:lnTo>
                  <a:lnTo>
                    <a:pt x="354" y="303"/>
                  </a:lnTo>
                  <a:lnTo>
                    <a:pt x="343" y="301"/>
                  </a:lnTo>
                  <a:lnTo>
                    <a:pt x="336" y="299"/>
                  </a:lnTo>
                  <a:lnTo>
                    <a:pt x="333" y="299"/>
                  </a:lnTo>
                  <a:lnTo>
                    <a:pt x="333" y="301"/>
                  </a:lnTo>
                  <a:lnTo>
                    <a:pt x="333" y="301"/>
                  </a:lnTo>
                  <a:lnTo>
                    <a:pt x="333" y="303"/>
                  </a:lnTo>
                  <a:lnTo>
                    <a:pt x="336" y="306"/>
                  </a:lnTo>
                  <a:lnTo>
                    <a:pt x="343" y="312"/>
                  </a:lnTo>
                  <a:lnTo>
                    <a:pt x="352" y="317"/>
                  </a:lnTo>
                  <a:lnTo>
                    <a:pt x="356" y="320"/>
                  </a:lnTo>
                  <a:lnTo>
                    <a:pt x="356" y="322"/>
                  </a:lnTo>
                  <a:lnTo>
                    <a:pt x="356" y="322"/>
                  </a:lnTo>
                  <a:lnTo>
                    <a:pt x="357" y="324"/>
                  </a:lnTo>
                  <a:lnTo>
                    <a:pt x="361" y="324"/>
                  </a:lnTo>
                  <a:lnTo>
                    <a:pt x="371" y="322"/>
                  </a:lnTo>
                  <a:lnTo>
                    <a:pt x="383" y="322"/>
                  </a:lnTo>
                  <a:lnTo>
                    <a:pt x="389" y="322"/>
                  </a:lnTo>
                  <a:lnTo>
                    <a:pt x="392" y="324"/>
                  </a:lnTo>
                  <a:lnTo>
                    <a:pt x="392" y="324"/>
                  </a:lnTo>
                  <a:lnTo>
                    <a:pt x="394" y="324"/>
                  </a:lnTo>
                  <a:lnTo>
                    <a:pt x="397" y="324"/>
                  </a:lnTo>
                  <a:lnTo>
                    <a:pt x="401" y="324"/>
                  </a:lnTo>
                  <a:lnTo>
                    <a:pt x="403" y="324"/>
                  </a:lnTo>
                  <a:lnTo>
                    <a:pt x="406" y="327"/>
                  </a:lnTo>
                  <a:lnTo>
                    <a:pt x="406" y="327"/>
                  </a:lnTo>
                  <a:lnTo>
                    <a:pt x="406" y="331"/>
                  </a:lnTo>
                  <a:lnTo>
                    <a:pt x="406" y="332"/>
                  </a:lnTo>
                  <a:lnTo>
                    <a:pt x="401" y="336"/>
                  </a:lnTo>
                  <a:lnTo>
                    <a:pt x="385" y="345"/>
                  </a:lnTo>
                  <a:lnTo>
                    <a:pt x="370" y="352"/>
                  </a:lnTo>
                  <a:lnTo>
                    <a:pt x="364" y="355"/>
                  </a:lnTo>
                  <a:lnTo>
                    <a:pt x="364" y="357"/>
                  </a:lnTo>
                  <a:lnTo>
                    <a:pt x="364" y="359"/>
                  </a:lnTo>
                  <a:lnTo>
                    <a:pt x="364" y="359"/>
                  </a:lnTo>
                  <a:lnTo>
                    <a:pt x="368" y="360"/>
                  </a:lnTo>
                  <a:lnTo>
                    <a:pt x="373" y="362"/>
                  </a:lnTo>
                  <a:lnTo>
                    <a:pt x="385" y="366"/>
                  </a:lnTo>
                  <a:lnTo>
                    <a:pt x="390" y="367"/>
                  </a:lnTo>
                  <a:lnTo>
                    <a:pt x="396" y="371"/>
                  </a:lnTo>
                  <a:lnTo>
                    <a:pt x="401" y="374"/>
                  </a:lnTo>
                  <a:lnTo>
                    <a:pt x="401" y="381"/>
                  </a:lnTo>
                  <a:lnTo>
                    <a:pt x="401" y="381"/>
                  </a:lnTo>
                  <a:lnTo>
                    <a:pt x="401" y="388"/>
                  </a:lnTo>
                  <a:lnTo>
                    <a:pt x="399" y="392"/>
                  </a:lnTo>
                  <a:lnTo>
                    <a:pt x="396" y="395"/>
                  </a:lnTo>
                  <a:lnTo>
                    <a:pt x="396" y="395"/>
                  </a:lnTo>
                  <a:lnTo>
                    <a:pt x="396" y="397"/>
                  </a:lnTo>
                  <a:lnTo>
                    <a:pt x="401" y="404"/>
                  </a:lnTo>
                  <a:lnTo>
                    <a:pt x="401" y="404"/>
                  </a:lnTo>
                  <a:lnTo>
                    <a:pt x="408" y="407"/>
                  </a:lnTo>
                  <a:lnTo>
                    <a:pt x="413" y="407"/>
                  </a:lnTo>
                  <a:lnTo>
                    <a:pt x="418" y="407"/>
                  </a:lnTo>
                  <a:lnTo>
                    <a:pt x="424" y="404"/>
                  </a:lnTo>
                  <a:lnTo>
                    <a:pt x="432" y="395"/>
                  </a:lnTo>
                  <a:lnTo>
                    <a:pt x="443" y="386"/>
                  </a:lnTo>
                  <a:lnTo>
                    <a:pt x="443" y="386"/>
                  </a:lnTo>
                  <a:lnTo>
                    <a:pt x="446" y="385"/>
                  </a:lnTo>
                  <a:lnTo>
                    <a:pt x="450" y="385"/>
                  </a:lnTo>
                  <a:lnTo>
                    <a:pt x="453" y="385"/>
                  </a:lnTo>
                  <a:lnTo>
                    <a:pt x="455" y="385"/>
                  </a:lnTo>
                  <a:lnTo>
                    <a:pt x="462" y="381"/>
                  </a:lnTo>
                  <a:lnTo>
                    <a:pt x="462" y="381"/>
                  </a:lnTo>
                  <a:lnTo>
                    <a:pt x="467" y="376"/>
                  </a:lnTo>
                  <a:lnTo>
                    <a:pt x="472" y="373"/>
                  </a:lnTo>
                  <a:lnTo>
                    <a:pt x="476" y="373"/>
                  </a:lnTo>
                  <a:lnTo>
                    <a:pt x="478" y="374"/>
                  </a:lnTo>
                  <a:lnTo>
                    <a:pt x="484" y="378"/>
                  </a:lnTo>
                  <a:lnTo>
                    <a:pt x="490" y="378"/>
                  </a:lnTo>
                  <a:lnTo>
                    <a:pt x="495" y="378"/>
                  </a:lnTo>
                  <a:lnTo>
                    <a:pt x="495" y="378"/>
                  </a:lnTo>
                  <a:lnTo>
                    <a:pt x="504" y="373"/>
                  </a:lnTo>
                  <a:lnTo>
                    <a:pt x="505" y="373"/>
                  </a:lnTo>
                  <a:lnTo>
                    <a:pt x="505" y="371"/>
                  </a:lnTo>
                  <a:lnTo>
                    <a:pt x="504" y="367"/>
                  </a:lnTo>
                  <a:lnTo>
                    <a:pt x="504" y="366"/>
                  </a:lnTo>
                  <a:lnTo>
                    <a:pt x="505" y="362"/>
                  </a:lnTo>
                  <a:lnTo>
                    <a:pt x="505" y="362"/>
                  </a:lnTo>
                  <a:lnTo>
                    <a:pt x="507" y="359"/>
                  </a:lnTo>
                  <a:lnTo>
                    <a:pt x="505" y="355"/>
                  </a:lnTo>
                  <a:lnTo>
                    <a:pt x="498" y="353"/>
                  </a:lnTo>
                  <a:lnTo>
                    <a:pt x="488" y="355"/>
                  </a:lnTo>
                  <a:lnTo>
                    <a:pt x="488" y="355"/>
                  </a:lnTo>
                  <a:lnTo>
                    <a:pt x="483" y="357"/>
                  </a:lnTo>
                  <a:lnTo>
                    <a:pt x="478" y="359"/>
                  </a:lnTo>
                  <a:lnTo>
                    <a:pt x="472" y="362"/>
                  </a:lnTo>
                  <a:lnTo>
                    <a:pt x="469" y="362"/>
                  </a:lnTo>
                  <a:lnTo>
                    <a:pt x="465" y="360"/>
                  </a:lnTo>
                  <a:lnTo>
                    <a:pt x="460" y="355"/>
                  </a:lnTo>
                  <a:lnTo>
                    <a:pt x="455" y="346"/>
                  </a:lnTo>
                  <a:lnTo>
                    <a:pt x="455" y="346"/>
                  </a:lnTo>
                  <a:lnTo>
                    <a:pt x="446" y="331"/>
                  </a:lnTo>
                  <a:lnTo>
                    <a:pt x="444" y="322"/>
                  </a:lnTo>
                  <a:lnTo>
                    <a:pt x="444" y="320"/>
                  </a:lnTo>
                  <a:lnTo>
                    <a:pt x="446" y="319"/>
                  </a:lnTo>
                  <a:lnTo>
                    <a:pt x="450" y="317"/>
                  </a:lnTo>
                  <a:lnTo>
                    <a:pt x="450" y="317"/>
                  </a:lnTo>
                  <a:lnTo>
                    <a:pt x="455" y="313"/>
                  </a:lnTo>
                  <a:lnTo>
                    <a:pt x="457" y="315"/>
                  </a:lnTo>
                  <a:lnTo>
                    <a:pt x="458" y="315"/>
                  </a:lnTo>
                  <a:lnTo>
                    <a:pt x="457" y="319"/>
                  </a:lnTo>
                  <a:lnTo>
                    <a:pt x="457" y="322"/>
                  </a:lnTo>
                  <a:lnTo>
                    <a:pt x="457" y="322"/>
                  </a:lnTo>
                  <a:lnTo>
                    <a:pt x="460" y="320"/>
                  </a:lnTo>
                  <a:lnTo>
                    <a:pt x="460" y="320"/>
                  </a:lnTo>
                  <a:lnTo>
                    <a:pt x="469" y="312"/>
                  </a:lnTo>
                  <a:lnTo>
                    <a:pt x="478" y="303"/>
                  </a:lnTo>
                  <a:lnTo>
                    <a:pt x="486" y="296"/>
                  </a:lnTo>
                  <a:lnTo>
                    <a:pt x="490" y="294"/>
                  </a:lnTo>
                  <a:lnTo>
                    <a:pt x="493" y="294"/>
                  </a:lnTo>
                  <a:lnTo>
                    <a:pt x="493" y="294"/>
                  </a:lnTo>
                  <a:lnTo>
                    <a:pt x="500" y="296"/>
                  </a:lnTo>
                  <a:lnTo>
                    <a:pt x="507" y="294"/>
                  </a:lnTo>
                  <a:lnTo>
                    <a:pt x="516" y="291"/>
                  </a:lnTo>
                  <a:lnTo>
                    <a:pt x="525" y="285"/>
                  </a:lnTo>
                  <a:lnTo>
                    <a:pt x="540" y="277"/>
                  </a:lnTo>
                  <a:lnTo>
                    <a:pt x="549" y="272"/>
                  </a:lnTo>
                  <a:lnTo>
                    <a:pt x="549" y="272"/>
                  </a:lnTo>
                  <a:lnTo>
                    <a:pt x="558" y="273"/>
                  </a:lnTo>
                  <a:lnTo>
                    <a:pt x="561" y="275"/>
                  </a:lnTo>
                  <a:lnTo>
                    <a:pt x="563" y="277"/>
                  </a:lnTo>
                  <a:lnTo>
                    <a:pt x="566" y="273"/>
                  </a:lnTo>
                  <a:lnTo>
                    <a:pt x="566" y="273"/>
                  </a:lnTo>
                  <a:lnTo>
                    <a:pt x="565" y="261"/>
                  </a:lnTo>
                  <a:lnTo>
                    <a:pt x="566" y="254"/>
                  </a:lnTo>
                  <a:lnTo>
                    <a:pt x="568" y="249"/>
                  </a:lnTo>
                  <a:lnTo>
                    <a:pt x="572" y="247"/>
                  </a:lnTo>
                  <a:lnTo>
                    <a:pt x="580" y="244"/>
                  </a:lnTo>
                  <a:lnTo>
                    <a:pt x="584" y="242"/>
                  </a:lnTo>
                  <a:lnTo>
                    <a:pt x="585" y="238"/>
                  </a:lnTo>
                  <a:lnTo>
                    <a:pt x="585" y="238"/>
                  </a:lnTo>
                  <a:lnTo>
                    <a:pt x="587" y="235"/>
                  </a:lnTo>
                  <a:lnTo>
                    <a:pt x="592" y="233"/>
                  </a:lnTo>
                  <a:lnTo>
                    <a:pt x="603" y="233"/>
                  </a:lnTo>
                  <a:lnTo>
                    <a:pt x="615" y="235"/>
                  </a:lnTo>
                  <a:lnTo>
                    <a:pt x="620" y="233"/>
                  </a:lnTo>
                  <a:lnTo>
                    <a:pt x="624" y="230"/>
                  </a:lnTo>
                  <a:lnTo>
                    <a:pt x="624" y="230"/>
                  </a:lnTo>
                  <a:lnTo>
                    <a:pt x="627" y="219"/>
                  </a:lnTo>
                  <a:lnTo>
                    <a:pt x="627" y="211"/>
                  </a:lnTo>
                  <a:lnTo>
                    <a:pt x="624" y="204"/>
                  </a:lnTo>
                  <a:lnTo>
                    <a:pt x="619" y="198"/>
                  </a:lnTo>
                  <a:lnTo>
                    <a:pt x="619" y="198"/>
                  </a:lnTo>
                  <a:lnTo>
                    <a:pt x="617" y="197"/>
                  </a:lnTo>
                  <a:lnTo>
                    <a:pt x="615" y="195"/>
                  </a:lnTo>
                  <a:lnTo>
                    <a:pt x="615" y="193"/>
                  </a:lnTo>
                  <a:lnTo>
                    <a:pt x="617" y="191"/>
                  </a:lnTo>
                  <a:lnTo>
                    <a:pt x="622" y="188"/>
                  </a:lnTo>
                  <a:lnTo>
                    <a:pt x="627" y="186"/>
                  </a:lnTo>
                  <a:lnTo>
                    <a:pt x="627" y="186"/>
                  </a:lnTo>
                  <a:lnTo>
                    <a:pt x="631" y="184"/>
                  </a:lnTo>
                  <a:lnTo>
                    <a:pt x="631" y="181"/>
                  </a:lnTo>
                  <a:lnTo>
                    <a:pt x="629" y="179"/>
                  </a:lnTo>
                  <a:lnTo>
                    <a:pt x="624" y="178"/>
                  </a:lnTo>
                  <a:lnTo>
                    <a:pt x="624" y="178"/>
                  </a:lnTo>
                  <a:lnTo>
                    <a:pt x="619" y="178"/>
                  </a:lnTo>
                  <a:lnTo>
                    <a:pt x="620" y="174"/>
                  </a:lnTo>
                  <a:lnTo>
                    <a:pt x="624" y="171"/>
                  </a:lnTo>
                  <a:lnTo>
                    <a:pt x="631" y="165"/>
                  </a:lnTo>
                  <a:lnTo>
                    <a:pt x="631" y="165"/>
                  </a:lnTo>
                  <a:lnTo>
                    <a:pt x="634" y="160"/>
                  </a:lnTo>
                  <a:lnTo>
                    <a:pt x="634" y="158"/>
                  </a:lnTo>
                  <a:lnTo>
                    <a:pt x="632" y="155"/>
                  </a:lnTo>
                  <a:lnTo>
                    <a:pt x="631" y="148"/>
                  </a:lnTo>
                  <a:lnTo>
                    <a:pt x="631" y="148"/>
                  </a:lnTo>
                  <a:lnTo>
                    <a:pt x="631" y="144"/>
                  </a:lnTo>
                  <a:lnTo>
                    <a:pt x="631" y="144"/>
                  </a:lnTo>
                  <a:lnTo>
                    <a:pt x="626" y="146"/>
                  </a:lnTo>
                  <a:lnTo>
                    <a:pt x="620" y="146"/>
                  </a:lnTo>
                  <a:lnTo>
                    <a:pt x="617" y="144"/>
                  </a:lnTo>
                  <a:lnTo>
                    <a:pt x="615" y="141"/>
                  </a:lnTo>
                  <a:lnTo>
                    <a:pt x="615" y="141"/>
                  </a:lnTo>
                  <a:lnTo>
                    <a:pt x="612" y="137"/>
                  </a:lnTo>
                  <a:lnTo>
                    <a:pt x="608" y="136"/>
                  </a:lnTo>
                  <a:lnTo>
                    <a:pt x="601" y="134"/>
                  </a:lnTo>
                  <a:lnTo>
                    <a:pt x="592" y="132"/>
                  </a:lnTo>
                  <a:lnTo>
                    <a:pt x="589" y="131"/>
                  </a:lnTo>
                  <a:lnTo>
                    <a:pt x="585" y="129"/>
                  </a:lnTo>
                  <a:lnTo>
                    <a:pt x="585" y="129"/>
                  </a:lnTo>
                  <a:lnTo>
                    <a:pt x="580" y="124"/>
                  </a:lnTo>
                  <a:lnTo>
                    <a:pt x="575" y="122"/>
                  </a:lnTo>
                  <a:lnTo>
                    <a:pt x="572" y="122"/>
                  </a:lnTo>
                  <a:lnTo>
                    <a:pt x="568" y="124"/>
                  </a:lnTo>
                  <a:lnTo>
                    <a:pt x="559" y="125"/>
                  </a:lnTo>
                  <a:lnTo>
                    <a:pt x="556" y="125"/>
                  </a:lnTo>
                  <a:lnTo>
                    <a:pt x="551" y="122"/>
                  </a:lnTo>
                  <a:lnTo>
                    <a:pt x="551" y="122"/>
                  </a:lnTo>
                  <a:lnTo>
                    <a:pt x="547" y="117"/>
                  </a:lnTo>
                  <a:lnTo>
                    <a:pt x="545" y="113"/>
                  </a:lnTo>
                  <a:lnTo>
                    <a:pt x="540" y="104"/>
                  </a:lnTo>
                  <a:lnTo>
                    <a:pt x="538" y="103"/>
                  </a:lnTo>
                  <a:lnTo>
                    <a:pt x="535" y="103"/>
                  </a:lnTo>
                  <a:lnTo>
                    <a:pt x="530" y="103"/>
                  </a:lnTo>
                  <a:lnTo>
                    <a:pt x="521" y="106"/>
                  </a:lnTo>
                  <a:lnTo>
                    <a:pt x="521" y="106"/>
                  </a:lnTo>
                  <a:lnTo>
                    <a:pt x="514" y="110"/>
                  </a:lnTo>
                  <a:lnTo>
                    <a:pt x="507" y="111"/>
                  </a:lnTo>
                  <a:lnTo>
                    <a:pt x="502" y="110"/>
                  </a:lnTo>
                  <a:lnTo>
                    <a:pt x="498" y="108"/>
                  </a:lnTo>
                  <a:lnTo>
                    <a:pt x="490" y="103"/>
                  </a:lnTo>
                  <a:lnTo>
                    <a:pt x="486" y="103"/>
                  </a:lnTo>
                  <a:lnTo>
                    <a:pt x="479" y="103"/>
                  </a:lnTo>
                  <a:lnTo>
                    <a:pt x="479" y="103"/>
                  </a:lnTo>
                  <a:lnTo>
                    <a:pt x="474" y="104"/>
                  </a:lnTo>
                  <a:lnTo>
                    <a:pt x="471" y="104"/>
                  </a:lnTo>
                  <a:lnTo>
                    <a:pt x="469" y="101"/>
                  </a:lnTo>
                  <a:lnTo>
                    <a:pt x="469" y="96"/>
                  </a:lnTo>
                  <a:lnTo>
                    <a:pt x="467" y="84"/>
                  </a:lnTo>
                  <a:lnTo>
                    <a:pt x="465" y="77"/>
                  </a:lnTo>
                  <a:lnTo>
                    <a:pt x="462" y="70"/>
                  </a:lnTo>
                  <a:lnTo>
                    <a:pt x="462" y="70"/>
                  </a:lnTo>
                  <a:lnTo>
                    <a:pt x="455" y="63"/>
                  </a:lnTo>
                  <a:lnTo>
                    <a:pt x="451" y="61"/>
                  </a:lnTo>
                  <a:lnTo>
                    <a:pt x="450" y="61"/>
                  </a:lnTo>
                  <a:lnTo>
                    <a:pt x="444" y="63"/>
                  </a:lnTo>
                  <a:lnTo>
                    <a:pt x="441" y="63"/>
                  </a:lnTo>
                  <a:lnTo>
                    <a:pt x="436" y="61"/>
                  </a:lnTo>
                  <a:lnTo>
                    <a:pt x="436" y="61"/>
                  </a:lnTo>
                  <a:lnTo>
                    <a:pt x="429" y="57"/>
                  </a:lnTo>
                  <a:lnTo>
                    <a:pt x="429" y="56"/>
                  </a:lnTo>
                  <a:lnTo>
                    <a:pt x="429" y="52"/>
                  </a:lnTo>
                  <a:lnTo>
                    <a:pt x="425" y="47"/>
                  </a:lnTo>
                  <a:lnTo>
                    <a:pt x="425" y="47"/>
                  </a:lnTo>
                  <a:lnTo>
                    <a:pt x="424" y="42"/>
                  </a:lnTo>
                  <a:lnTo>
                    <a:pt x="424" y="40"/>
                  </a:lnTo>
                  <a:lnTo>
                    <a:pt x="429" y="35"/>
                  </a:lnTo>
                  <a:lnTo>
                    <a:pt x="434" y="30"/>
                  </a:lnTo>
                  <a:lnTo>
                    <a:pt x="434" y="28"/>
                  </a:lnTo>
                  <a:lnTo>
                    <a:pt x="430" y="26"/>
                  </a:lnTo>
                  <a:lnTo>
                    <a:pt x="430" y="26"/>
                  </a:lnTo>
                  <a:lnTo>
                    <a:pt x="424" y="21"/>
                  </a:lnTo>
                  <a:lnTo>
                    <a:pt x="420" y="16"/>
                  </a:lnTo>
                  <a:lnTo>
                    <a:pt x="418" y="12"/>
                  </a:lnTo>
                  <a:lnTo>
                    <a:pt x="418" y="7"/>
                  </a:lnTo>
                  <a:lnTo>
                    <a:pt x="417" y="3"/>
                  </a:lnTo>
                  <a:lnTo>
                    <a:pt x="417" y="2"/>
                  </a:lnTo>
                  <a:lnTo>
                    <a:pt x="413" y="2"/>
                  </a:lnTo>
                  <a:lnTo>
                    <a:pt x="408" y="3"/>
                  </a:lnTo>
                  <a:lnTo>
                    <a:pt x="408" y="3"/>
                  </a:lnTo>
                  <a:lnTo>
                    <a:pt x="404" y="5"/>
                  </a:lnTo>
                  <a:lnTo>
                    <a:pt x="403" y="5"/>
                  </a:lnTo>
                  <a:lnTo>
                    <a:pt x="399" y="2"/>
                  </a:lnTo>
                  <a:lnTo>
                    <a:pt x="397" y="0"/>
                  </a:lnTo>
                  <a:lnTo>
                    <a:pt x="394" y="0"/>
                  </a:lnTo>
                  <a:lnTo>
                    <a:pt x="392" y="0"/>
                  </a:lnTo>
                  <a:lnTo>
                    <a:pt x="387" y="3"/>
                  </a:lnTo>
                  <a:lnTo>
                    <a:pt x="387" y="3"/>
                  </a:lnTo>
                  <a:lnTo>
                    <a:pt x="383" y="5"/>
                  </a:lnTo>
                  <a:lnTo>
                    <a:pt x="378" y="7"/>
                  </a:lnTo>
                  <a:lnTo>
                    <a:pt x="370" y="5"/>
                  </a:lnTo>
                  <a:lnTo>
                    <a:pt x="366" y="3"/>
                  </a:lnTo>
                  <a:lnTo>
                    <a:pt x="363" y="3"/>
                  </a:lnTo>
                  <a:lnTo>
                    <a:pt x="361" y="5"/>
                  </a:lnTo>
                  <a:lnTo>
                    <a:pt x="359" y="10"/>
                  </a:lnTo>
                  <a:lnTo>
                    <a:pt x="359" y="10"/>
                  </a:lnTo>
                  <a:lnTo>
                    <a:pt x="357" y="14"/>
                  </a:lnTo>
                  <a:lnTo>
                    <a:pt x="356" y="17"/>
                  </a:lnTo>
                  <a:lnTo>
                    <a:pt x="354" y="17"/>
                  </a:lnTo>
                  <a:lnTo>
                    <a:pt x="350" y="17"/>
                  </a:lnTo>
                  <a:lnTo>
                    <a:pt x="338" y="14"/>
                  </a:lnTo>
                  <a:lnTo>
                    <a:pt x="338" y="14"/>
                  </a:lnTo>
                  <a:lnTo>
                    <a:pt x="330" y="14"/>
                  </a:lnTo>
                  <a:lnTo>
                    <a:pt x="321" y="16"/>
                  </a:lnTo>
                  <a:lnTo>
                    <a:pt x="314" y="19"/>
                  </a:lnTo>
                  <a:lnTo>
                    <a:pt x="309" y="23"/>
                  </a:lnTo>
                  <a:lnTo>
                    <a:pt x="303" y="26"/>
                  </a:lnTo>
                  <a:lnTo>
                    <a:pt x="300" y="33"/>
                  </a:lnTo>
                  <a:lnTo>
                    <a:pt x="298" y="38"/>
                  </a:lnTo>
                  <a:lnTo>
                    <a:pt x="298" y="45"/>
                  </a:lnTo>
                  <a:lnTo>
                    <a:pt x="298" y="45"/>
                  </a:lnTo>
                  <a:lnTo>
                    <a:pt x="298" y="56"/>
                  </a:lnTo>
                  <a:lnTo>
                    <a:pt x="296" y="61"/>
                  </a:lnTo>
                  <a:lnTo>
                    <a:pt x="295" y="61"/>
                  </a:lnTo>
                  <a:lnTo>
                    <a:pt x="293" y="59"/>
                  </a:lnTo>
                  <a:lnTo>
                    <a:pt x="286" y="52"/>
                  </a:lnTo>
                  <a:lnTo>
                    <a:pt x="286" y="52"/>
                  </a:lnTo>
                  <a:lnTo>
                    <a:pt x="282" y="50"/>
                  </a:lnTo>
                  <a:lnTo>
                    <a:pt x="274" y="49"/>
                  </a:lnTo>
                  <a:lnTo>
                    <a:pt x="265" y="50"/>
                  </a:lnTo>
                  <a:lnTo>
                    <a:pt x="258" y="52"/>
                  </a:lnTo>
                  <a:lnTo>
                    <a:pt x="258" y="52"/>
                  </a:lnTo>
                  <a:lnTo>
                    <a:pt x="255" y="54"/>
                  </a:lnTo>
                  <a:lnTo>
                    <a:pt x="253" y="52"/>
                  </a:lnTo>
                  <a:lnTo>
                    <a:pt x="251" y="45"/>
                  </a:lnTo>
                  <a:lnTo>
                    <a:pt x="249" y="42"/>
                  </a:lnTo>
                  <a:lnTo>
                    <a:pt x="248" y="40"/>
                  </a:lnTo>
                  <a:lnTo>
                    <a:pt x="244" y="40"/>
                  </a:lnTo>
                  <a:lnTo>
                    <a:pt x="237" y="43"/>
                  </a:lnTo>
                  <a:lnTo>
                    <a:pt x="237" y="43"/>
                  </a:lnTo>
                  <a:lnTo>
                    <a:pt x="230" y="49"/>
                  </a:lnTo>
                  <a:lnTo>
                    <a:pt x="229" y="49"/>
                  </a:lnTo>
                  <a:lnTo>
                    <a:pt x="229" y="47"/>
                  </a:lnTo>
                  <a:lnTo>
                    <a:pt x="227" y="45"/>
                  </a:lnTo>
                  <a:lnTo>
                    <a:pt x="222" y="42"/>
                  </a:lnTo>
                  <a:lnTo>
                    <a:pt x="213" y="40"/>
                  </a:lnTo>
                  <a:lnTo>
                    <a:pt x="201" y="40"/>
                  </a:lnTo>
                  <a:lnTo>
                    <a:pt x="201" y="40"/>
                  </a:lnTo>
                  <a:lnTo>
                    <a:pt x="185" y="40"/>
                  </a:lnTo>
                  <a:lnTo>
                    <a:pt x="180" y="37"/>
                  </a:lnTo>
                  <a:lnTo>
                    <a:pt x="176" y="35"/>
                  </a:lnTo>
                  <a:lnTo>
                    <a:pt x="169" y="33"/>
                  </a:lnTo>
                  <a:lnTo>
                    <a:pt x="169" y="33"/>
                  </a:lnTo>
                  <a:lnTo>
                    <a:pt x="164" y="33"/>
                  </a:lnTo>
                  <a:lnTo>
                    <a:pt x="159" y="31"/>
                  </a:lnTo>
                  <a:lnTo>
                    <a:pt x="147" y="28"/>
                  </a:lnTo>
                  <a:lnTo>
                    <a:pt x="138" y="24"/>
                  </a:lnTo>
                  <a:lnTo>
                    <a:pt x="129" y="23"/>
                  </a:lnTo>
                  <a:lnTo>
                    <a:pt x="117" y="23"/>
                  </a:lnTo>
                  <a:lnTo>
                    <a:pt x="101" y="23"/>
                  </a:lnTo>
                  <a:lnTo>
                    <a:pt x="101" y="23"/>
                  </a:lnTo>
                  <a:lnTo>
                    <a:pt x="89" y="26"/>
                  </a:lnTo>
                  <a:lnTo>
                    <a:pt x="81" y="28"/>
                  </a:lnTo>
                  <a:lnTo>
                    <a:pt x="75" y="31"/>
                  </a:lnTo>
                  <a:lnTo>
                    <a:pt x="72" y="35"/>
                  </a:lnTo>
                  <a:lnTo>
                    <a:pt x="70" y="40"/>
                  </a:lnTo>
                  <a:lnTo>
                    <a:pt x="68" y="42"/>
                  </a:lnTo>
                  <a:lnTo>
                    <a:pt x="65" y="40"/>
                  </a:lnTo>
                  <a:lnTo>
                    <a:pt x="65" y="40"/>
                  </a:lnTo>
                  <a:lnTo>
                    <a:pt x="60" y="40"/>
                  </a:lnTo>
                  <a:lnTo>
                    <a:pt x="56" y="42"/>
                  </a:lnTo>
                  <a:lnTo>
                    <a:pt x="53" y="45"/>
                  </a:lnTo>
                  <a:lnTo>
                    <a:pt x="53"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 name="Freeform 1736">
              <a:extLst>
                <a:ext uri="{FF2B5EF4-FFF2-40B4-BE49-F238E27FC236}">
                  <a16:creationId xmlns:a16="http://schemas.microsoft.com/office/drawing/2014/main" id="{B0084CE5-08ED-4974-8EAC-5A770E81EC4D}"/>
                </a:ext>
              </a:extLst>
            </p:cNvPr>
            <p:cNvSpPr>
              <a:spLocks/>
            </p:cNvSpPr>
            <p:nvPr/>
          </p:nvSpPr>
          <p:spPr bwMode="auto">
            <a:xfrm>
              <a:off x="7193580" y="2615864"/>
              <a:ext cx="903906" cy="422881"/>
            </a:xfrm>
            <a:custGeom>
              <a:avLst/>
              <a:gdLst/>
              <a:ahLst/>
              <a:cxnLst>
                <a:cxn ang="0">
                  <a:pos x="982" y="188"/>
                </a:cxn>
                <a:cxn ang="0">
                  <a:pos x="973" y="215"/>
                </a:cxn>
                <a:cxn ang="0">
                  <a:pos x="989" y="221"/>
                </a:cxn>
                <a:cxn ang="0">
                  <a:pos x="1029" y="221"/>
                </a:cxn>
                <a:cxn ang="0">
                  <a:pos x="1048" y="213"/>
                </a:cxn>
                <a:cxn ang="0">
                  <a:pos x="1084" y="215"/>
                </a:cxn>
                <a:cxn ang="0">
                  <a:pos x="1123" y="258"/>
                </a:cxn>
                <a:cxn ang="0">
                  <a:pos x="1119" y="279"/>
                </a:cxn>
                <a:cxn ang="0">
                  <a:pos x="1084" y="275"/>
                </a:cxn>
                <a:cxn ang="0">
                  <a:pos x="1055" y="281"/>
                </a:cxn>
                <a:cxn ang="0">
                  <a:pos x="1011" y="295"/>
                </a:cxn>
                <a:cxn ang="0">
                  <a:pos x="995" y="319"/>
                </a:cxn>
                <a:cxn ang="0">
                  <a:pos x="961" y="342"/>
                </a:cxn>
                <a:cxn ang="0">
                  <a:pos x="933" y="349"/>
                </a:cxn>
                <a:cxn ang="0">
                  <a:pos x="900" y="371"/>
                </a:cxn>
                <a:cxn ang="0">
                  <a:pos x="846" y="356"/>
                </a:cxn>
                <a:cxn ang="0">
                  <a:pos x="830" y="390"/>
                </a:cxn>
                <a:cxn ang="0">
                  <a:pos x="846" y="420"/>
                </a:cxn>
                <a:cxn ang="0">
                  <a:pos x="809" y="446"/>
                </a:cxn>
                <a:cxn ang="0">
                  <a:pos x="766" y="483"/>
                </a:cxn>
                <a:cxn ang="0">
                  <a:pos x="740" y="486"/>
                </a:cxn>
                <a:cxn ang="0">
                  <a:pos x="705" y="486"/>
                </a:cxn>
                <a:cxn ang="0">
                  <a:pos x="670" y="495"/>
                </a:cxn>
                <a:cxn ang="0">
                  <a:pos x="604" y="526"/>
                </a:cxn>
                <a:cxn ang="0">
                  <a:pos x="590" y="524"/>
                </a:cxn>
                <a:cxn ang="0">
                  <a:pos x="578" y="514"/>
                </a:cxn>
                <a:cxn ang="0">
                  <a:pos x="541" y="509"/>
                </a:cxn>
                <a:cxn ang="0">
                  <a:pos x="503" y="495"/>
                </a:cxn>
                <a:cxn ang="0">
                  <a:pos x="442" y="474"/>
                </a:cxn>
                <a:cxn ang="0">
                  <a:pos x="316" y="469"/>
                </a:cxn>
                <a:cxn ang="0">
                  <a:pos x="294" y="462"/>
                </a:cxn>
                <a:cxn ang="0">
                  <a:pos x="271" y="413"/>
                </a:cxn>
                <a:cxn ang="0">
                  <a:pos x="240" y="390"/>
                </a:cxn>
                <a:cxn ang="0">
                  <a:pos x="177" y="361"/>
                </a:cxn>
                <a:cxn ang="0">
                  <a:pos x="114" y="350"/>
                </a:cxn>
                <a:cxn ang="0">
                  <a:pos x="102" y="322"/>
                </a:cxn>
                <a:cxn ang="0">
                  <a:pos x="107" y="282"/>
                </a:cxn>
                <a:cxn ang="0">
                  <a:pos x="80" y="223"/>
                </a:cxn>
                <a:cxn ang="0">
                  <a:pos x="67" y="216"/>
                </a:cxn>
                <a:cxn ang="0">
                  <a:pos x="57" y="208"/>
                </a:cxn>
                <a:cxn ang="0">
                  <a:pos x="22" y="194"/>
                </a:cxn>
                <a:cxn ang="0">
                  <a:pos x="0" y="150"/>
                </a:cxn>
                <a:cxn ang="0">
                  <a:pos x="36" y="133"/>
                </a:cxn>
                <a:cxn ang="0">
                  <a:pos x="62" y="115"/>
                </a:cxn>
                <a:cxn ang="0">
                  <a:pos x="118" y="82"/>
                </a:cxn>
                <a:cxn ang="0">
                  <a:pos x="177" y="72"/>
                </a:cxn>
                <a:cxn ang="0">
                  <a:pos x="226" y="82"/>
                </a:cxn>
                <a:cxn ang="0">
                  <a:pos x="273" y="108"/>
                </a:cxn>
                <a:cxn ang="0">
                  <a:pos x="362" y="103"/>
                </a:cxn>
                <a:cxn ang="0">
                  <a:pos x="355" y="68"/>
                </a:cxn>
                <a:cxn ang="0">
                  <a:pos x="374" y="11"/>
                </a:cxn>
                <a:cxn ang="0">
                  <a:pos x="430" y="16"/>
                </a:cxn>
                <a:cxn ang="0">
                  <a:pos x="504" y="39"/>
                </a:cxn>
                <a:cxn ang="0">
                  <a:pos x="525" y="89"/>
                </a:cxn>
                <a:cxn ang="0">
                  <a:pos x="602" y="89"/>
                </a:cxn>
                <a:cxn ang="0">
                  <a:pos x="670" y="100"/>
                </a:cxn>
                <a:cxn ang="0">
                  <a:pos x="717" y="134"/>
                </a:cxn>
                <a:cxn ang="0">
                  <a:pos x="806" y="147"/>
                </a:cxn>
                <a:cxn ang="0">
                  <a:pos x="858" y="133"/>
                </a:cxn>
                <a:cxn ang="0">
                  <a:pos x="903" y="107"/>
                </a:cxn>
                <a:cxn ang="0">
                  <a:pos x="935" y="93"/>
                </a:cxn>
                <a:cxn ang="0">
                  <a:pos x="985" y="108"/>
                </a:cxn>
              </a:cxnLst>
              <a:rect l="0" t="0" r="r" b="b"/>
              <a:pathLst>
                <a:path w="1126" h="528">
                  <a:moveTo>
                    <a:pt x="1013" y="115"/>
                  </a:moveTo>
                  <a:lnTo>
                    <a:pt x="1013" y="115"/>
                  </a:lnTo>
                  <a:lnTo>
                    <a:pt x="999" y="145"/>
                  </a:lnTo>
                  <a:lnTo>
                    <a:pt x="989" y="166"/>
                  </a:lnTo>
                  <a:lnTo>
                    <a:pt x="985" y="180"/>
                  </a:lnTo>
                  <a:lnTo>
                    <a:pt x="982" y="188"/>
                  </a:lnTo>
                  <a:lnTo>
                    <a:pt x="982" y="195"/>
                  </a:lnTo>
                  <a:lnTo>
                    <a:pt x="975" y="202"/>
                  </a:lnTo>
                  <a:lnTo>
                    <a:pt x="975" y="202"/>
                  </a:lnTo>
                  <a:lnTo>
                    <a:pt x="973" y="206"/>
                  </a:lnTo>
                  <a:lnTo>
                    <a:pt x="971" y="209"/>
                  </a:lnTo>
                  <a:lnTo>
                    <a:pt x="973" y="215"/>
                  </a:lnTo>
                  <a:lnTo>
                    <a:pt x="975" y="218"/>
                  </a:lnTo>
                  <a:lnTo>
                    <a:pt x="978" y="221"/>
                  </a:lnTo>
                  <a:lnTo>
                    <a:pt x="982" y="223"/>
                  </a:lnTo>
                  <a:lnTo>
                    <a:pt x="987" y="223"/>
                  </a:lnTo>
                  <a:lnTo>
                    <a:pt x="989" y="221"/>
                  </a:lnTo>
                  <a:lnTo>
                    <a:pt x="989" y="221"/>
                  </a:lnTo>
                  <a:lnTo>
                    <a:pt x="997" y="218"/>
                  </a:lnTo>
                  <a:lnTo>
                    <a:pt x="1008" y="216"/>
                  </a:lnTo>
                  <a:lnTo>
                    <a:pt x="1020" y="216"/>
                  </a:lnTo>
                  <a:lnTo>
                    <a:pt x="1025" y="218"/>
                  </a:lnTo>
                  <a:lnTo>
                    <a:pt x="1029" y="221"/>
                  </a:lnTo>
                  <a:lnTo>
                    <a:pt x="1029" y="221"/>
                  </a:lnTo>
                  <a:lnTo>
                    <a:pt x="1034" y="225"/>
                  </a:lnTo>
                  <a:lnTo>
                    <a:pt x="1037" y="225"/>
                  </a:lnTo>
                  <a:lnTo>
                    <a:pt x="1039" y="223"/>
                  </a:lnTo>
                  <a:lnTo>
                    <a:pt x="1041" y="220"/>
                  </a:lnTo>
                  <a:lnTo>
                    <a:pt x="1043" y="216"/>
                  </a:lnTo>
                  <a:lnTo>
                    <a:pt x="1048" y="213"/>
                  </a:lnTo>
                  <a:lnTo>
                    <a:pt x="1053" y="211"/>
                  </a:lnTo>
                  <a:lnTo>
                    <a:pt x="1062" y="209"/>
                  </a:lnTo>
                  <a:lnTo>
                    <a:pt x="1062" y="209"/>
                  </a:lnTo>
                  <a:lnTo>
                    <a:pt x="1070" y="209"/>
                  </a:lnTo>
                  <a:lnTo>
                    <a:pt x="1077" y="213"/>
                  </a:lnTo>
                  <a:lnTo>
                    <a:pt x="1084" y="215"/>
                  </a:lnTo>
                  <a:lnTo>
                    <a:pt x="1088" y="220"/>
                  </a:lnTo>
                  <a:lnTo>
                    <a:pt x="1096" y="228"/>
                  </a:lnTo>
                  <a:lnTo>
                    <a:pt x="1105" y="239"/>
                  </a:lnTo>
                  <a:lnTo>
                    <a:pt x="1105" y="239"/>
                  </a:lnTo>
                  <a:lnTo>
                    <a:pt x="1114" y="249"/>
                  </a:lnTo>
                  <a:lnTo>
                    <a:pt x="1123" y="258"/>
                  </a:lnTo>
                  <a:lnTo>
                    <a:pt x="1124" y="263"/>
                  </a:lnTo>
                  <a:lnTo>
                    <a:pt x="1126" y="268"/>
                  </a:lnTo>
                  <a:lnTo>
                    <a:pt x="1126" y="272"/>
                  </a:lnTo>
                  <a:lnTo>
                    <a:pt x="1123" y="275"/>
                  </a:lnTo>
                  <a:lnTo>
                    <a:pt x="1123" y="275"/>
                  </a:lnTo>
                  <a:lnTo>
                    <a:pt x="1119" y="279"/>
                  </a:lnTo>
                  <a:lnTo>
                    <a:pt x="1114" y="279"/>
                  </a:lnTo>
                  <a:lnTo>
                    <a:pt x="1102" y="277"/>
                  </a:lnTo>
                  <a:lnTo>
                    <a:pt x="1091" y="274"/>
                  </a:lnTo>
                  <a:lnTo>
                    <a:pt x="1086" y="274"/>
                  </a:lnTo>
                  <a:lnTo>
                    <a:pt x="1084" y="275"/>
                  </a:lnTo>
                  <a:lnTo>
                    <a:pt x="1084" y="275"/>
                  </a:lnTo>
                  <a:lnTo>
                    <a:pt x="1081" y="277"/>
                  </a:lnTo>
                  <a:lnTo>
                    <a:pt x="1079" y="277"/>
                  </a:lnTo>
                  <a:lnTo>
                    <a:pt x="1072" y="275"/>
                  </a:lnTo>
                  <a:lnTo>
                    <a:pt x="1065" y="275"/>
                  </a:lnTo>
                  <a:lnTo>
                    <a:pt x="1060" y="277"/>
                  </a:lnTo>
                  <a:lnTo>
                    <a:pt x="1055" y="281"/>
                  </a:lnTo>
                  <a:lnTo>
                    <a:pt x="1055" y="281"/>
                  </a:lnTo>
                  <a:lnTo>
                    <a:pt x="1049" y="284"/>
                  </a:lnTo>
                  <a:lnTo>
                    <a:pt x="1043" y="286"/>
                  </a:lnTo>
                  <a:lnTo>
                    <a:pt x="1030" y="288"/>
                  </a:lnTo>
                  <a:lnTo>
                    <a:pt x="1016" y="291"/>
                  </a:lnTo>
                  <a:lnTo>
                    <a:pt x="1011" y="295"/>
                  </a:lnTo>
                  <a:lnTo>
                    <a:pt x="1004" y="300"/>
                  </a:lnTo>
                  <a:lnTo>
                    <a:pt x="1004" y="300"/>
                  </a:lnTo>
                  <a:lnTo>
                    <a:pt x="999" y="305"/>
                  </a:lnTo>
                  <a:lnTo>
                    <a:pt x="997" y="309"/>
                  </a:lnTo>
                  <a:lnTo>
                    <a:pt x="997" y="314"/>
                  </a:lnTo>
                  <a:lnTo>
                    <a:pt x="995" y="319"/>
                  </a:lnTo>
                  <a:lnTo>
                    <a:pt x="994" y="322"/>
                  </a:lnTo>
                  <a:lnTo>
                    <a:pt x="990" y="326"/>
                  </a:lnTo>
                  <a:lnTo>
                    <a:pt x="990" y="326"/>
                  </a:lnTo>
                  <a:lnTo>
                    <a:pt x="980" y="335"/>
                  </a:lnTo>
                  <a:lnTo>
                    <a:pt x="971" y="340"/>
                  </a:lnTo>
                  <a:lnTo>
                    <a:pt x="961" y="342"/>
                  </a:lnTo>
                  <a:lnTo>
                    <a:pt x="948" y="340"/>
                  </a:lnTo>
                  <a:lnTo>
                    <a:pt x="948" y="340"/>
                  </a:lnTo>
                  <a:lnTo>
                    <a:pt x="942" y="340"/>
                  </a:lnTo>
                  <a:lnTo>
                    <a:pt x="938" y="342"/>
                  </a:lnTo>
                  <a:lnTo>
                    <a:pt x="936" y="345"/>
                  </a:lnTo>
                  <a:lnTo>
                    <a:pt x="933" y="349"/>
                  </a:lnTo>
                  <a:lnTo>
                    <a:pt x="931" y="354"/>
                  </a:lnTo>
                  <a:lnTo>
                    <a:pt x="926" y="359"/>
                  </a:lnTo>
                  <a:lnTo>
                    <a:pt x="921" y="364"/>
                  </a:lnTo>
                  <a:lnTo>
                    <a:pt x="912" y="368"/>
                  </a:lnTo>
                  <a:lnTo>
                    <a:pt x="912" y="368"/>
                  </a:lnTo>
                  <a:lnTo>
                    <a:pt x="900" y="371"/>
                  </a:lnTo>
                  <a:lnTo>
                    <a:pt x="891" y="371"/>
                  </a:lnTo>
                  <a:lnTo>
                    <a:pt x="882" y="369"/>
                  </a:lnTo>
                  <a:lnTo>
                    <a:pt x="874" y="366"/>
                  </a:lnTo>
                  <a:lnTo>
                    <a:pt x="860" y="357"/>
                  </a:lnTo>
                  <a:lnTo>
                    <a:pt x="853" y="356"/>
                  </a:lnTo>
                  <a:lnTo>
                    <a:pt x="846" y="356"/>
                  </a:lnTo>
                  <a:lnTo>
                    <a:pt x="846" y="356"/>
                  </a:lnTo>
                  <a:lnTo>
                    <a:pt x="841" y="359"/>
                  </a:lnTo>
                  <a:lnTo>
                    <a:pt x="837" y="361"/>
                  </a:lnTo>
                  <a:lnTo>
                    <a:pt x="834" y="368"/>
                  </a:lnTo>
                  <a:lnTo>
                    <a:pt x="832" y="378"/>
                  </a:lnTo>
                  <a:lnTo>
                    <a:pt x="830" y="390"/>
                  </a:lnTo>
                  <a:lnTo>
                    <a:pt x="830" y="390"/>
                  </a:lnTo>
                  <a:lnTo>
                    <a:pt x="830" y="396"/>
                  </a:lnTo>
                  <a:lnTo>
                    <a:pt x="832" y="401"/>
                  </a:lnTo>
                  <a:lnTo>
                    <a:pt x="841" y="411"/>
                  </a:lnTo>
                  <a:lnTo>
                    <a:pt x="844" y="415"/>
                  </a:lnTo>
                  <a:lnTo>
                    <a:pt x="846" y="420"/>
                  </a:lnTo>
                  <a:lnTo>
                    <a:pt x="846" y="423"/>
                  </a:lnTo>
                  <a:lnTo>
                    <a:pt x="841" y="429"/>
                  </a:lnTo>
                  <a:lnTo>
                    <a:pt x="841" y="429"/>
                  </a:lnTo>
                  <a:lnTo>
                    <a:pt x="828" y="434"/>
                  </a:lnTo>
                  <a:lnTo>
                    <a:pt x="820" y="439"/>
                  </a:lnTo>
                  <a:lnTo>
                    <a:pt x="809" y="446"/>
                  </a:lnTo>
                  <a:lnTo>
                    <a:pt x="799" y="458"/>
                  </a:lnTo>
                  <a:lnTo>
                    <a:pt x="799" y="458"/>
                  </a:lnTo>
                  <a:lnTo>
                    <a:pt x="787" y="470"/>
                  </a:lnTo>
                  <a:lnTo>
                    <a:pt x="778" y="476"/>
                  </a:lnTo>
                  <a:lnTo>
                    <a:pt x="771" y="477"/>
                  </a:lnTo>
                  <a:lnTo>
                    <a:pt x="766" y="483"/>
                  </a:lnTo>
                  <a:lnTo>
                    <a:pt x="766" y="483"/>
                  </a:lnTo>
                  <a:lnTo>
                    <a:pt x="762" y="484"/>
                  </a:lnTo>
                  <a:lnTo>
                    <a:pt x="760" y="486"/>
                  </a:lnTo>
                  <a:lnTo>
                    <a:pt x="753" y="486"/>
                  </a:lnTo>
                  <a:lnTo>
                    <a:pt x="746" y="484"/>
                  </a:lnTo>
                  <a:lnTo>
                    <a:pt x="740" y="486"/>
                  </a:lnTo>
                  <a:lnTo>
                    <a:pt x="740" y="486"/>
                  </a:lnTo>
                  <a:lnTo>
                    <a:pt x="733" y="488"/>
                  </a:lnTo>
                  <a:lnTo>
                    <a:pt x="727" y="488"/>
                  </a:lnTo>
                  <a:lnTo>
                    <a:pt x="719" y="486"/>
                  </a:lnTo>
                  <a:lnTo>
                    <a:pt x="705" y="486"/>
                  </a:lnTo>
                  <a:lnTo>
                    <a:pt x="705" y="486"/>
                  </a:lnTo>
                  <a:lnTo>
                    <a:pt x="693" y="486"/>
                  </a:lnTo>
                  <a:lnTo>
                    <a:pt x="687" y="484"/>
                  </a:lnTo>
                  <a:lnTo>
                    <a:pt x="684" y="486"/>
                  </a:lnTo>
                  <a:lnTo>
                    <a:pt x="675" y="491"/>
                  </a:lnTo>
                  <a:lnTo>
                    <a:pt x="675" y="491"/>
                  </a:lnTo>
                  <a:lnTo>
                    <a:pt x="670" y="495"/>
                  </a:lnTo>
                  <a:lnTo>
                    <a:pt x="665" y="497"/>
                  </a:lnTo>
                  <a:lnTo>
                    <a:pt x="654" y="498"/>
                  </a:lnTo>
                  <a:lnTo>
                    <a:pt x="646" y="502"/>
                  </a:lnTo>
                  <a:lnTo>
                    <a:pt x="637" y="507"/>
                  </a:lnTo>
                  <a:lnTo>
                    <a:pt x="623" y="514"/>
                  </a:lnTo>
                  <a:lnTo>
                    <a:pt x="604" y="526"/>
                  </a:lnTo>
                  <a:lnTo>
                    <a:pt x="604" y="526"/>
                  </a:lnTo>
                  <a:lnTo>
                    <a:pt x="600" y="528"/>
                  </a:lnTo>
                  <a:lnTo>
                    <a:pt x="598" y="526"/>
                  </a:lnTo>
                  <a:lnTo>
                    <a:pt x="595" y="523"/>
                  </a:lnTo>
                  <a:lnTo>
                    <a:pt x="590" y="524"/>
                  </a:lnTo>
                  <a:lnTo>
                    <a:pt x="590" y="524"/>
                  </a:lnTo>
                  <a:lnTo>
                    <a:pt x="586" y="524"/>
                  </a:lnTo>
                  <a:lnTo>
                    <a:pt x="586" y="523"/>
                  </a:lnTo>
                  <a:lnTo>
                    <a:pt x="585" y="517"/>
                  </a:lnTo>
                  <a:lnTo>
                    <a:pt x="585" y="516"/>
                  </a:lnTo>
                  <a:lnTo>
                    <a:pt x="583" y="514"/>
                  </a:lnTo>
                  <a:lnTo>
                    <a:pt x="578" y="514"/>
                  </a:lnTo>
                  <a:lnTo>
                    <a:pt x="572" y="516"/>
                  </a:lnTo>
                  <a:lnTo>
                    <a:pt x="572" y="516"/>
                  </a:lnTo>
                  <a:lnTo>
                    <a:pt x="564" y="517"/>
                  </a:lnTo>
                  <a:lnTo>
                    <a:pt x="557" y="516"/>
                  </a:lnTo>
                  <a:lnTo>
                    <a:pt x="548" y="512"/>
                  </a:lnTo>
                  <a:lnTo>
                    <a:pt x="541" y="509"/>
                  </a:lnTo>
                  <a:lnTo>
                    <a:pt x="527" y="502"/>
                  </a:lnTo>
                  <a:lnTo>
                    <a:pt x="520" y="500"/>
                  </a:lnTo>
                  <a:lnTo>
                    <a:pt x="513" y="500"/>
                  </a:lnTo>
                  <a:lnTo>
                    <a:pt x="513" y="500"/>
                  </a:lnTo>
                  <a:lnTo>
                    <a:pt x="508" y="498"/>
                  </a:lnTo>
                  <a:lnTo>
                    <a:pt x="503" y="495"/>
                  </a:lnTo>
                  <a:lnTo>
                    <a:pt x="491" y="486"/>
                  </a:lnTo>
                  <a:lnTo>
                    <a:pt x="482" y="481"/>
                  </a:lnTo>
                  <a:lnTo>
                    <a:pt x="470" y="476"/>
                  </a:lnTo>
                  <a:lnTo>
                    <a:pt x="457" y="474"/>
                  </a:lnTo>
                  <a:lnTo>
                    <a:pt x="442" y="474"/>
                  </a:lnTo>
                  <a:lnTo>
                    <a:pt x="442" y="474"/>
                  </a:lnTo>
                  <a:lnTo>
                    <a:pt x="412" y="477"/>
                  </a:lnTo>
                  <a:lnTo>
                    <a:pt x="390" y="479"/>
                  </a:lnTo>
                  <a:lnTo>
                    <a:pt x="363" y="476"/>
                  </a:lnTo>
                  <a:lnTo>
                    <a:pt x="329" y="470"/>
                  </a:lnTo>
                  <a:lnTo>
                    <a:pt x="329" y="470"/>
                  </a:lnTo>
                  <a:lnTo>
                    <a:pt x="316" y="469"/>
                  </a:lnTo>
                  <a:lnTo>
                    <a:pt x="308" y="470"/>
                  </a:lnTo>
                  <a:lnTo>
                    <a:pt x="304" y="470"/>
                  </a:lnTo>
                  <a:lnTo>
                    <a:pt x="301" y="469"/>
                  </a:lnTo>
                  <a:lnTo>
                    <a:pt x="297" y="467"/>
                  </a:lnTo>
                  <a:lnTo>
                    <a:pt x="294" y="462"/>
                  </a:lnTo>
                  <a:lnTo>
                    <a:pt x="294" y="462"/>
                  </a:lnTo>
                  <a:lnTo>
                    <a:pt x="290" y="455"/>
                  </a:lnTo>
                  <a:lnTo>
                    <a:pt x="285" y="451"/>
                  </a:lnTo>
                  <a:lnTo>
                    <a:pt x="280" y="444"/>
                  </a:lnTo>
                  <a:lnTo>
                    <a:pt x="275" y="427"/>
                  </a:lnTo>
                  <a:lnTo>
                    <a:pt x="275" y="427"/>
                  </a:lnTo>
                  <a:lnTo>
                    <a:pt x="271" y="413"/>
                  </a:lnTo>
                  <a:lnTo>
                    <a:pt x="271" y="411"/>
                  </a:lnTo>
                  <a:lnTo>
                    <a:pt x="269" y="410"/>
                  </a:lnTo>
                  <a:lnTo>
                    <a:pt x="259" y="404"/>
                  </a:lnTo>
                  <a:lnTo>
                    <a:pt x="252" y="399"/>
                  </a:lnTo>
                  <a:lnTo>
                    <a:pt x="240" y="390"/>
                  </a:lnTo>
                  <a:lnTo>
                    <a:pt x="240" y="390"/>
                  </a:lnTo>
                  <a:lnTo>
                    <a:pt x="226" y="380"/>
                  </a:lnTo>
                  <a:lnTo>
                    <a:pt x="214" y="373"/>
                  </a:lnTo>
                  <a:lnTo>
                    <a:pt x="203" y="366"/>
                  </a:lnTo>
                  <a:lnTo>
                    <a:pt x="195" y="363"/>
                  </a:lnTo>
                  <a:lnTo>
                    <a:pt x="186" y="361"/>
                  </a:lnTo>
                  <a:lnTo>
                    <a:pt x="177" y="361"/>
                  </a:lnTo>
                  <a:lnTo>
                    <a:pt x="161" y="359"/>
                  </a:lnTo>
                  <a:lnTo>
                    <a:pt x="161" y="359"/>
                  </a:lnTo>
                  <a:lnTo>
                    <a:pt x="148" y="359"/>
                  </a:lnTo>
                  <a:lnTo>
                    <a:pt x="137" y="356"/>
                  </a:lnTo>
                  <a:lnTo>
                    <a:pt x="114" y="350"/>
                  </a:lnTo>
                  <a:lnTo>
                    <a:pt x="114" y="350"/>
                  </a:lnTo>
                  <a:lnTo>
                    <a:pt x="109" y="349"/>
                  </a:lnTo>
                  <a:lnTo>
                    <a:pt x="104" y="347"/>
                  </a:lnTo>
                  <a:lnTo>
                    <a:pt x="102" y="343"/>
                  </a:lnTo>
                  <a:lnTo>
                    <a:pt x="101" y="340"/>
                  </a:lnTo>
                  <a:lnTo>
                    <a:pt x="99" y="331"/>
                  </a:lnTo>
                  <a:lnTo>
                    <a:pt x="102" y="322"/>
                  </a:lnTo>
                  <a:lnTo>
                    <a:pt x="102" y="322"/>
                  </a:lnTo>
                  <a:lnTo>
                    <a:pt x="107" y="310"/>
                  </a:lnTo>
                  <a:lnTo>
                    <a:pt x="107" y="303"/>
                  </a:lnTo>
                  <a:lnTo>
                    <a:pt x="106" y="296"/>
                  </a:lnTo>
                  <a:lnTo>
                    <a:pt x="107" y="282"/>
                  </a:lnTo>
                  <a:lnTo>
                    <a:pt x="107" y="282"/>
                  </a:lnTo>
                  <a:lnTo>
                    <a:pt x="107" y="274"/>
                  </a:lnTo>
                  <a:lnTo>
                    <a:pt x="106" y="263"/>
                  </a:lnTo>
                  <a:lnTo>
                    <a:pt x="101" y="255"/>
                  </a:lnTo>
                  <a:lnTo>
                    <a:pt x="95" y="246"/>
                  </a:lnTo>
                  <a:lnTo>
                    <a:pt x="85" y="228"/>
                  </a:lnTo>
                  <a:lnTo>
                    <a:pt x="80" y="223"/>
                  </a:lnTo>
                  <a:lnTo>
                    <a:pt x="78" y="218"/>
                  </a:lnTo>
                  <a:lnTo>
                    <a:pt x="78" y="218"/>
                  </a:lnTo>
                  <a:lnTo>
                    <a:pt x="76" y="215"/>
                  </a:lnTo>
                  <a:lnTo>
                    <a:pt x="74" y="215"/>
                  </a:lnTo>
                  <a:lnTo>
                    <a:pt x="71" y="216"/>
                  </a:lnTo>
                  <a:lnTo>
                    <a:pt x="67" y="216"/>
                  </a:lnTo>
                  <a:lnTo>
                    <a:pt x="66" y="218"/>
                  </a:lnTo>
                  <a:lnTo>
                    <a:pt x="62" y="216"/>
                  </a:lnTo>
                  <a:lnTo>
                    <a:pt x="60" y="213"/>
                  </a:lnTo>
                  <a:lnTo>
                    <a:pt x="60" y="213"/>
                  </a:lnTo>
                  <a:lnTo>
                    <a:pt x="59" y="208"/>
                  </a:lnTo>
                  <a:lnTo>
                    <a:pt x="57" y="208"/>
                  </a:lnTo>
                  <a:lnTo>
                    <a:pt x="52" y="208"/>
                  </a:lnTo>
                  <a:lnTo>
                    <a:pt x="45" y="209"/>
                  </a:lnTo>
                  <a:lnTo>
                    <a:pt x="40" y="208"/>
                  </a:lnTo>
                  <a:lnTo>
                    <a:pt x="34" y="206"/>
                  </a:lnTo>
                  <a:lnTo>
                    <a:pt x="34" y="206"/>
                  </a:lnTo>
                  <a:lnTo>
                    <a:pt x="22" y="194"/>
                  </a:lnTo>
                  <a:lnTo>
                    <a:pt x="8" y="181"/>
                  </a:lnTo>
                  <a:lnTo>
                    <a:pt x="5" y="173"/>
                  </a:lnTo>
                  <a:lnTo>
                    <a:pt x="1" y="166"/>
                  </a:lnTo>
                  <a:lnTo>
                    <a:pt x="0" y="157"/>
                  </a:lnTo>
                  <a:lnTo>
                    <a:pt x="0" y="150"/>
                  </a:lnTo>
                  <a:lnTo>
                    <a:pt x="0" y="150"/>
                  </a:lnTo>
                  <a:lnTo>
                    <a:pt x="8" y="141"/>
                  </a:lnTo>
                  <a:lnTo>
                    <a:pt x="13" y="136"/>
                  </a:lnTo>
                  <a:lnTo>
                    <a:pt x="17" y="133"/>
                  </a:lnTo>
                  <a:lnTo>
                    <a:pt x="22" y="133"/>
                  </a:lnTo>
                  <a:lnTo>
                    <a:pt x="31" y="134"/>
                  </a:lnTo>
                  <a:lnTo>
                    <a:pt x="36" y="133"/>
                  </a:lnTo>
                  <a:lnTo>
                    <a:pt x="45" y="131"/>
                  </a:lnTo>
                  <a:lnTo>
                    <a:pt x="45" y="131"/>
                  </a:lnTo>
                  <a:lnTo>
                    <a:pt x="53" y="127"/>
                  </a:lnTo>
                  <a:lnTo>
                    <a:pt x="59" y="124"/>
                  </a:lnTo>
                  <a:lnTo>
                    <a:pt x="60" y="119"/>
                  </a:lnTo>
                  <a:lnTo>
                    <a:pt x="62" y="115"/>
                  </a:lnTo>
                  <a:lnTo>
                    <a:pt x="64" y="112"/>
                  </a:lnTo>
                  <a:lnTo>
                    <a:pt x="69" y="107"/>
                  </a:lnTo>
                  <a:lnTo>
                    <a:pt x="76" y="101"/>
                  </a:lnTo>
                  <a:lnTo>
                    <a:pt x="88" y="94"/>
                  </a:lnTo>
                  <a:lnTo>
                    <a:pt x="88" y="94"/>
                  </a:lnTo>
                  <a:lnTo>
                    <a:pt x="118" y="82"/>
                  </a:lnTo>
                  <a:lnTo>
                    <a:pt x="142" y="72"/>
                  </a:lnTo>
                  <a:lnTo>
                    <a:pt x="151" y="68"/>
                  </a:lnTo>
                  <a:lnTo>
                    <a:pt x="161" y="68"/>
                  </a:lnTo>
                  <a:lnTo>
                    <a:pt x="168" y="68"/>
                  </a:lnTo>
                  <a:lnTo>
                    <a:pt x="177" y="72"/>
                  </a:lnTo>
                  <a:lnTo>
                    <a:pt x="177" y="72"/>
                  </a:lnTo>
                  <a:lnTo>
                    <a:pt x="184" y="75"/>
                  </a:lnTo>
                  <a:lnTo>
                    <a:pt x="191" y="77"/>
                  </a:lnTo>
                  <a:lnTo>
                    <a:pt x="207" y="75"/>
                  </a:lnTo>
                  <a:lnTo>
                    <a:pt x="214" y="75"/>
                  </a:lnTo>
                  <a:lnTo>
                    <a:pt x="221" y="77"/>
                  </a:lnTo>
                  <a:lnTo>
                    <a:pt x="226" y="82"/>
                  </a:lnTo>
                  <a:lnTo>
                    <a:pt x="229" y="91"/>
                  </a:lnTo>
                  <a:lnTo>
                    <a:pt x="229" y="91"/>
                  </a:lnTo>
                  <a:lnTo>
                    <a:pt x="233" y="94"/>
                  </a:lnTo>
                  <a:lnTo>
                    <a:pt x="236" y="98"/>
                  </a:lnTo>
                  <a:lnTo>
                    <a:pt x="252" y="103"/>
                  </a:lnTo>
                  <a:lnTo>
                    <a:pt x="273" y="108"/>
                  </a:lnTo>
                  <a:lnTo>
                    <a:pt x="296" y="112"/>
                  </a:lnTo>
                  <a:lnTo>
                    <a:pt x="318" y="112"/>
                  </a:lnTo>
                  <a:lnTo>
                    <a:pt x="339" y="110"/>
                  </a:lnTo>
                  <a:lnTo>
                    <a:pt x="348" y="108"/>
                  </a:lnTo>
                  <a:lnTo>
                    <a:pt x="356" y="107"/>
                  </a:lnTo>
                  <a:lnTo>
                    <a:pt x="362" y="103"/>
                  </a:lnTo>
                  <a:lnTo>
                    <a:pt x="363" y="98"/>
                  </a:lnTo>
                  <a:lnTo>
                    <a:pt x="363" y="98"/>
                  </a:lnTo>
                  <a:lnTo>
                    <a:pt x="365" y="89"/>
                  </a:lnTo>
                  <a:lnTo>
                    <a:pt x="363" y="80"/>
                  </a:lnTo>
                  <a:lnTo>
                    <a:pt x="358" y="75"/>
                  </a:lnTo>
                  <a:lnTo>
                    <a:pt x="355" y="68"/>
                  </a:lnTo>
                  <a:lnTo>
                    <a:pt x="351" y="61"/>
                  </a:lnTo>
                  <a:lnTo>
                    <a:pt x="350" y="54"/>
                  </a:lnTo>
                  <a:lnTo>
                    <a:pt x="351" y="44"/>
                  </a:lnTo>
                  <a:lnTo>
                    <a:pt x="360" y="32"/>
                  </a:lnTo>
                  <a:lnTo>
                    <a:pt x="360" y="32"/>
                  </a:lnTo>
                  <a:lnTo>
                    <a:pt x="374" y="11"/>
                  </a:lnTo>
                  <a:lnTo>
                    <a:pt x="379" y="4"/>
                  </a:lnTo>
                  <a:lnTo>
                    <a:pt x="384" y="0"/>
                  </a:lnTo>
                  <a:lnTo>
                    <a:pt x="391" y="0"/>
                  </a:lnTo>
                  <a:lnTo>
                    <a:pt x="400" y="2"/>
                  </a:lnTo>
                  <a:lnTo>
                    <a:pt x="430" y="16"/>
                  </a:lnTo>
                  <a:lnTo>
                    <a:pt x="430" y="16"/>
                  </a:lnTo>
                  <a:lnTo>
                    <a:pt x="449" y="23"/>
                  </a:lnTo>
                  <a:lnTo>
                    <a:pt x="464" y="26"/>
                  </a:lnTo>
                  <a:lnTo>
                    <a:pt x="489" y="28"/>
                  </a:lnTo>
                  <a:lnTo>
                    <a:pt x="496" y="30"/>
                  </a:lnTo>
                  <a:lnTo>
                    <a:pt x="501" y="33"/>
                  </a:lnTo>
                  <a:lnTo>
                    <a:pt x="504" y="39"/>
                  </a:lnTo>
                  <a:lnTo>
                    <a:pt x="504" y="49"/>
                  </a:lnTo>
                  <a:lnTo>
                    <a:pt x="504" y="49"/>
                  </a:lnTo>
                  <a:lnTo>
                    <a:pt x="506" y="61"/>
                  </a:lnTo>
                  <a:lnTo>
                    <a:pt x="511" y="72"/>
                  </a:lnTo>
                  <a:lnTo>
                    <a:pt x="517" y="82"/>
                  </a:lnTo>
                  <a:lnTo>
                    <a:pt x="525" y="89"/>
                  </a:lnTo>
                  <a:lnTo>
                    <a:pt x="538" y="96"/>
                  </a:lnTo>
                  <a:lnTo>
                    <a:pt x="550" y="98"/>
                  </a:lnTo>
                  <a:lnTo>
                    <a:pt x="562" y="100"/>
                  </a:lnTo>
                  <a:lnTo>
                    <a:pt x="578" y="96"/>
                  </a:lnTo>
                  <a:lnTo>
                    <a:pt x="578" y="96"/>
                  </a:lnTo>
                  <a:lnTo>
                    <a:pt x="602" y="89"/>
                  </a:lnTo>
                  <a:lnTo>
                    <a:pt x="611" y="87"/>
                  </a:lnTo>
                  <a:lnTo>
                    <a:pt x="621" y="86"/>
                  </a:lnTo>
                  <a:lnTo>
                    <a:pt x="632" y="87"/>
                  </a:lnTo>
                  <a:lnTo>
                    <a:pt x="642" y="89"/>
                  </a:lnTo>
                  <a:lnTo>
                    <a:pt x="670" y="100"/>
                  </a:lnTo>
                  <a:lnTo>
                    <a:pt x="670" y="100"/>
                  </a:lnTo>
                  <a:lnTo>
                    <a:pt x="684" y="107"/>
                  </a:lnTo>
                  <a:lnTo>
                    <a:pt x="694" y="112"/>
                  </a:lnTo>
                  <a:lnTo>
                    <a:pt x="699" y="117"/>
                  </a:lnTo>
                  <a:lnTo>
                    <a:pt x="705" y="124"/>
                  </a:lnTo>
                  <a:lnTo>
                    <a:pt x="710" y="129"/>
                  </a:lnTo>
                  <a:lnTo>
                    <a:pt x="717" y="134"/>
                  </a:lnTo>
                  <a:lnTo>
                    <a:pt x="729" y="138"/>
                  </a:lnTo>
                  <a:lnTo>
                    <a:pt x="746" y="143"/>
                  </a:lnTo>
                  <a:lnTo>
                    <a:pt x="746" y="143"/>
                  </a:lnTo>
                  <a:lnTo>
                    <a:pt x="774" y="148"/>
                  </a:lnTo>
                  <a:lnTo>
                    <a:pt x="794" y="148"/>
                  </a:lnTo>
                  <a:lnTo>
                    <a:pt x="806" y="147"/>
                  </a:lnTo>
                  <a:lnTo>
                    <a:pt x="814" y="143"/>
                  </a:lnTo>
                  <a:lnTo>
                    <a:pt x="821" y="140"/>
                  </a:lnTo>
                  <a:lnTo>
                    <a:pt x="830" y="136"/>
                  </a:lnTo>
                  <a:lnTo>
                    <a:pt x="841" y="133"/>
                  </a:lnTo>
                  <a:lnTo>
                    <a:pt x="858" y="133"/>
                  </a:lnTo>
                  <a:lnTo>
                    <a:pt x="858" y="133"/>
                  </a:lnTo>
                  <a:lnTo>
                    <a:pt x="868" y="133"/>
                  </a:lnTo>
                  <a:lnTo>
                    <a:pt x="875" y="131"/>
                  </a:lnTo>
                  <a:lnTo>
                    <a:pt x="882" y="127"/>
                  </a:lnTo>
                  <a:lnTo>
                    <a:pt x="888" y="124"/>
                  </a:lnTo>
                  <a:lnTo>
                    <a:pt x="896" y="115"/>
                  </a:lnTo>
                  <a:lnTo>
                    <a:pt x="903" y="107"/>
                  </a:lnTo>
                  <a:lnTo>
                    <a:pt x="910" y="98"/>
                  </a:lnTo>
                  <a:lnTo>
                    <a:pt x="914" y="94"/>
                  </a:lnTo>
                  <a:lnTo>
                    <a:pt x="917" y="91"/>
                  </a:lnTo>
                  <a:lnTo>
                    <a:pt x="922" y="91"/>
                  </a:lnTo>
                  <a:lnTo>
                    <a:pt x="928" y="91"/>
                  </a:lnTo>
                  <a:lnTo>
                    <a:pt x="935" y="93"/>
                  </a:lnTo>
                  <a:lnTo>
                    <a:pt x="942" y="96"/>
                  </a:lnTo>
                  <a:lnTo>
                    <a:pt x="942" y="96"/>
                  </a:lnTo>
                  <a:lnTo>
                    <a:pt x="957" y="103"/>
                  </a:lnTo>
                  <a:lnTo>
                    <a:pt x="968" y="107"/>
                  </a:lnTo>
                  <a:lnTo>
                    <a:pt x="978" y="108"/>
                  </a:lnTo>
                  <a:lnTo>
                    <a:pt x="985" y="108"/>
                  </a:lnTo>
                  <a:lnTo>
                    <a:pt x="992" y="107"/>
                  </a:lnTo>
                  <a:lnTo>
                    <a:pt x="997" y="108"/>
                  </a:lnTo>
                  <a:lnTo>
                    <a:pt x="1004" y="110"/>
                  </a:lnTo>
                  <a:lnTo>
                    <a:pt x="1013" y="115"/>
                  </a:lnTo>
                  <a:lnTo>
                    <a:pt x="1013" y="11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 name="Freeform 1737">
              <a:extLst>
                <a:ext uri="{FF2B5EF4-FFF2-40B4-BE49-F238E27FC236}">
                  <a16:creationId xmlns:a16="http://schemas.microsoft.com/office/drawing/2014/main" id="{2B490B78-C16F-4FB7-A13D-9F81696A3E85}"/>
                </a:ext>
              </a:extLst>
            </p:cNvPr>
            <p:cNvSpPr>
              <a:spLocks/>
            </p:cNvSpPr>
            <p:nvPr/>
          </p:nvSpPr>
          <p:spPr bwMode="auto">
            <a:xfrm>
              <a:off x="5939038" y="4925855"/>
              <a:ext cx="202630" cy="473979"/>
            </a:xfrm>
            <a:custGeom>
              <a:avLst/>
              <a:gdLst/>
              <a:ahLst/>
              <a:cxnLst>
                <a:cxn ang="0">
                  <a:pos x="200" y="18"/>
                </a:cxn>
                <a:cxn ang="0">
                  <a:pos x="207" y="6"/>
                </a:cxn>
                <a:cxn ang="0">
                  <a:pos x="216" y="4"/>
                </a:cxn>
                <a:cxn ang="0">
                  <a:pos x="225" y="28"/>
                </a:cxn>
                <a:cxn ang="0">
                  <a:pos x="233" y="39"/>
                </a:cxn>
                <a:cxn ang="0">
                  <a:pos x="245" y="108"/>
                </a:cxn>
                <a:cxn ang="0">
                  <a:pos x="249" y="129"/>
                </a:cxn>
                <a:cxn ang="0">
                  <a:pos x="251" y="154"/>
                </a:cxn>
                <a:cxn ang="0">
                  <a:pos x="244" y="171"/>
                </a:cxn>
                <a:cxn ang="0">
                  <a:pos x="238" y="168"/>
                </a:cxn>
                <a:cxn ang="0">
                  <a:pos x="228" y="148"/>
                </a:cxn>
                <a:cxn ang="0">
                  <a:pos x="225" y="157"/>
                </a:cxn>
                <a:cxn ang="0">
                  <a:pos x="228" y="171"/>
                </a:cxn>
                <a:cxn ang="0">
                  <a:pos x="230" y="188"/>
                </a:cxn>
                <a:cxn ang="0">
                  <a:pos x="230" y="204"/>
                </a:cxn>
                <a:cxn ang="0">
                  <a:pos x="223" y="216"/>
                </a:cxn>
                <a:cxn ang="0">
                  <a:pos x="218" y="230"/>
                </a:cxn>
                <a:cxn ang="0">
                  <a:pos x="219" y="253"/>
                </a:cxn>
                <a:cxn ang="0">
                  <a:pos x="214" y="282"/>
                </a:cxn>
                <a:cxn ang="0">
                  <a:pos x="191" y="350"/>
                </a:cxn>
                <a:cxn ang="0">
                  <a:pos x="150" y="524"/>
                </a:cxn>
                <a:cxn ang="0">
                  <a:pos x="131" y="570"/>
                </a:cxn>
                <a:cxn ang="0">
                  <a:pos x="118" y="573"/>
                </a:cxn>
                <a:cxn ang="0">
                  <a:pos x="83" y="589"/>
                </a:cxn>
                <a:cxn ang="0">
                  <a:pos x="64" y="591"/>
                </a:cxn>
                <a:cxn ang="0">
                  <a:pos x="57" y="584"/>
                </a:cxn>
                <a:cxn ang="0">
                  <a:pos x="40" y="575"/>
                </a:cxn>
                <a:cxn ang="0">
                  <a:pos x="23" y="552"/>
                </a:cxn>
                <a:cxn ang="0">
                  <a:pos x="16" y="526"/>
                </a:cxn>
                <a:cxn ang="0">
                  <a:pos x="17" y="500"/>
                </a:cxn>
                <a:cxn ang="0">
                  <a:pos x="14" y="488"/>
                </a:cxn>
                <a:cxn ang="0">
                  <a:pos x="0" y="457"/>
                </a:cxn>
                <a:cxn ang="0">
                  <a:pos x="3" y="425"/>
                </a:cxn>
                <a:cxn ang="0">
                  <a:pos x="9" y="408"/>
                </a:cxn>
                <a:cxn ang="0">
                  <a:pos x="17" y="403"/>
                </a:cxn>
                <a:cxn ang="0">
                  <a:pos x="23" y="392"/>
                </a:cxn>
                <a:cxn ang="0">
                  <a:pos x="28" y="376"/>
                </a:cxn>
                <a:cxn ang="0">
                  <a:pos x="42" y="350"/>
                </a:cxn>
                <a:cxn ang="0">
                  <a:pos x="43" y="333"/>
                </a:cxn>
                <a:cxn ang="0">
                  <a:pos x="35" y="303"/>
                </a:cxn>
                <a:cxn ang="0">
                  <a:pos x="35" y="291"/>
                </a:cxn>
                <a:cxn ang="0">
                  <a:pos x="30" y="272"/>
                </a:cxn>
                <a:cxn ang="0">
                  <a:pos x="30" y="258"/>
                </a:cxn>
                <a:cxn ang="0">
                  <a:pos x="26" y="241"/>
                </a:cxn>
                <a:cxn ang="0">
                  <a:pos x="28" y="225"/>
                </a:cxn>
                <a:cxn ang="0">
                  <a:pos x="38" y="202"/>
                </a:cxn>
                <a:cxn ang="0">
                  <a:pos x="42" y="180"/>
                </a:cxn>
                <a:cxn ang="0">
                  <a:pos x="50" y="178"/>
                </a:cxn>
                <a:cxn ang="0">
                  <a:pos x="61" y="176"/>
                </a:cxn>
                <a:cxn ang="0">
                  <a:pos x="68" y="168"/>
                </a:cxn>
                <a:cxn ang="0">
                  <a:pos x="78" y="164"/>
                </a:cxn>
                <a:cxn ang="0">
                  <a:pos x="108" y="157"/>
                </a:cxn>
                <a:cxn ang="0">
                  <a:pos x="129" y="133"/>
                </a:cxn>
                <a:cxn ang="0">
                  <a:pos x="155" y="107"/>
                </a:cxn>
                <a:cxn ang="0">
                  <a:pos x="165" y="87"/>
                </a:cxn>
                <a:cxn ang="0">
                  <a:pos x="160" y="72"/>
                </a:cxn>
                <a:cxn ang="0">
                  <a:pos x="183" y="67"/>
                </a:cxn>
                <a:cxn ang="0">
                  <a:pos x="195" y="51"/>
                </a:cxn>
                <a:cxn ang="0">
                  <a:pos x="198" y="35"/>
                </a:cxn>
              </a:cxnLst>
              <a:rect l="0" t="0" r="r" b="b"/>
              <a:pathLst>
                <a:path w="252" h="592">
                  <a:moveTo>
                    <a:pt x="198" y="35"/>
                  </a:moveTo>
                  <a:lnTo>
                    <a:pt x="198" y="35"/>
                  </a:lnTo>
                  <a:lnTo>
                    <a:pt x="200" y="18"/>
                  </a:lnTo>
                  <a:lnTo>
                    <a:pt x="202" y="13"/>
                  </a:lnTo>
                  <a:lnTo>
                    <a:pt x="207" y="6"/>
                  </a:lnTo>
                  <a:lnTo>
                    <a:pt x="207" y="6"/>
                  </a:lnTo>
                  <a:lnTo>
                    <a:pt x="211" y="0"/>
                  </a:lnTo>
                  <a:lnTo>
                    <a:pt x="212" y="0"/>
                  </a:lnTo>
                  <a:lnTo>
                    <a:pt x="216" y="4"/>
                  </a:lnTo>
                  <a:lnTo>
                    <a:pt x="218" y="9"/>
                  </a:lnTo>
                  <a:lnTo>
                    <a:pt x="221" y="23"/>
                  </a:lnTo>
                  <a:lnTo>
                    <a:pt x="225" y="28"/>
                  </a:lnTo>
                  <a:lnTo>
                    <a:pt x="230" y="33"/>
                  </a:lnTo>
                  <a:lnTo>
                    <a:pt x="230" y="33"/>
                  </a:lnTo>
                  <a:lnTo>
                    <a:pt x="233" y="39"/>
                  </a:lnTo>
                  <a:lnTo>
                    <a:pt x="237" y="49"/>
                  </a:lnTo>
                  <a:lnTo>
                    <a:pt x="242" y="77"/>
                  </a:lnTo>
                  <a:lnTo>
                    <a:pt x="245" y="108"/>
                  </a:lnTo>
                  <a:lnTo>
                    <a:pt x="247" y="121"/>
                  </a:lnTo>
                  <a:lnTo>
                    <a:pt x="249" y="129"/>
                  </a:lnTo>
                  <a:lnTo>
                    <a:pt x="249" y="129"/>
                  </a:lnTo>
                  <a:lnTo>
                    <a:pt x="252" y="138"/>
                  </a:lnTo>
                  <a:lnTo>
                    <a:pt x="252" y="145"/>
                  </a:lnTo>
                  <a:lnTo>
                    <a:pt x="251" y="154"/>
                  </a:lnTo>
                  <a:lnTo>
                    <a:pt x="249" y="162"/>
                  </a:lnTo>
                  <a:lnTo>
                    <a:pt x="247" y="168"/>
                  </a:lnTo>
                  <a:lnTo>
                    <a:pt x="244" y="171"/>
                  </a:lnTo>
                  <a:lnTo>
                    <a:pt x="242" y="171"/>
                  </a:lnTo>
                  <a:lnTo>
                    <a:pt x="238" y="168"/>
                  </a:lnTo>
                  <a:lnTo>
                    <a:pt x="238" y="168"/>
                  </a:lnTo>
                  <a:lnTo>
                    <a:pt x="235" y="157"/>
                  </a:lnTo>
                  <a:lnTo>
                    <a:pt x="231" y="150"/>
                  </a:lnTo>
                  <a:lnTo>
                    <a:pt x="228" y="148"/>
                  </a:lnTo>
                  <a:lnTo>
                    <a:pt x="226" y="150"/>
                  </a:lnTo>
                  <a:lnTo>
                    <a:pt x="225" y="152"/>
                  </a:lnTo>
                  <a:lnTo>
                    <a:pt x="225" y="157"/>
                  </a:lnTo>
                  <a:lnTo>
                    <a:pt x="226" y="164"/>
                  </a:lnTo>
                  <a:lnTo>
                    <a:pt x="228" y="171"/>
                  </a:lnTo>
                  <a:lnTo>
                    <a:pt x="228" y="171"/>
                  </a:lnTo>
                  <a:lnTo>
                    <a:pt x="230" y="176"/>
                  </a:lnTo>
                  <a:lnTo>
                    <a:pt x="231" y="181"/>
                  </a:lnTo>
                  <a:lnTo>
                    <a:pt x="230" y="188"/>
                  </a:lnTo>
                  <a:lnTo>
                    <a:pt x="228" y="195"/>
                  </a:lnTo>
                  <a:lnTo>
                    <a:pt x="230" y="204"/>
                  </a:lnTo>
                  <a:lnTo>
                    <a:pt x="230" y="204"/>
                  </a:lnTo>
                  <a:lnTo>
                    <a:pt x="230" y="209"/>
                  </a:lnTo>
                  <a:lnTo>
                    <a:pt x="228" y="211"/>
                  </a:lnTo>
                  <a:lnTo>
                    <a:pt x="223" y="216"/>
                  </a:lnTo>
                  <a:lnTo>
                    <a:pt x="219" y="218"/>
                  </a:lnTo>
                  <a:lnTo>
                    <a:pt x="218" y="223"/>
                  </a:lnTo>
                  <a:lnTo>
                    <a:pt x="218" y="230"/>
                  </a:lnTo>
                  <a:lnTo>
                    <a:pt x="218" y="241"/>
                  </a:lnTo>
                  <a:lnTo>
                    <a:pt x="218" y="241"/>
                  </a:lnTo>
                  <a:lnTo>
                    <a:pt x="219" y="253"/>
                  </a:lnTo>
                  <a:lnTo>
                    <a:pt x="219" y="262"/>
                  </a:lnTo>
                  <a:lnTo>
                    <a:pt x="218" y="272"/>
                  </a:lnTo>
                  <a:lnTo>
                    <a:pt x="214" y="282"/>
                  </a:lnTo>
                  <a:lnTo>
                    <a:pt x="204" y="310"/>
                  </a:lnTo>
                  <a:lnTo>
                    <a:pt x="191" y="350"/>
                  </a:lnTo>
                  <a:lnTo>
                    <a:pt x="191" y="350"/>
                  </a:lnTo>
                  <a:lnTo>
                    <a:pt x="174" y="423"/>
                  </a:lnTo>
                  <a:lnTo>
                    <a:pt x="157" y="493"/>
                  </a:lnTo>
                  <a:lnTo>
                    <a:pt x="150" y="524"/>
                  </a:lnTo>
                  <a:lnTo>
                    <a:pt x="141" y="549"/>
                  </a:lnTo>
                  <a:lnTo>
                    <a:pt x="134" y="564"/>
                  </a:lnTo>
                  <a:lnTo>
                    <a:pt x="131" y="570"/>
                  </a:lnTo>
                  <a:lnTo>
                    <a:pt x="127" y="571"/>
                  </a:lnTo>
                  <a:lnTo>
                    <a:pt x="127" y="571"/>
                  </a:lnTo>
                  <a:lnTo>
                    <a:pt x="118" y="573"/>
                  </a:lnTo>
                  <a:lnTo>
                    <a:pt x="110" y="577"/>
                  </a:lnTo>
                  <a:lnTo>
                    <a:pt x="92" y="585"/>
                  </a:lnTo>
                  <a:lnTo>
                    <a:pt x="83" y="589"/>
                  </a:lnTo>
                  <a:lnTo>
                    <a:pt x="75" y="592"/>
                  </a:lnTo>
                  <a:lnTo>
                    <a:pt x="68" y="592"/>
                  </a:lnTo>
                  <a:lnTo>
                    <a:pt x="64" y="591"/>
                  </a:lnTo>
                  <a:lnTo>
                    <a:pt x="63" y="589"/>
                  </a:lnTo>
                  <a:lnTo>
                    <a:pt x="63" y="589"/>
                  </a:lnTo>
                  <a:lnTo>
                    <a:pt x="57" y="584"/>
                  </a:lnTo>
                  <a:lnTo>
                    <a:pt x="54" y="582"/>
                  </a:lnTo>
                  <a:lnTo>
                    <a:pt x="43" y="578"/>
                  </a:lnTo>
                  <a:lnTo>
                    <a:pt x="40" y="575"/>
                  </a:lnTo>
                  <a:lnTo>
                    <a:pt x="35" y="571"/>
                  </a:lnTo>
                  <a:lnTo>
                    <a:pt x="30" y="563"/>
                  </a:lnTo>
                  <a:lnTo>
                    <a:pt x="23" y="552"/>
                  </a:lnTo>
                  <a:lnTo>
                    <a:pt x="23" y="552"/>
                  </a:lnTo>
                  <a:lnTo>
                    <a:pt x="17" y="538"/>
                  </a:lnTo>
                  <a:lnTo>
                    <a:pt x="16" y="526"/>
                  </a:lnTo>
                  <a:lnTo>
                    <a:pt x="14" y="517"/>
                  </a:lnTo>
                  <a:lnTo>
                    <a:pt x="16" y="511"/>
                  </a:lnTo>
                  <a:lnTo>
                    <a:pt x="17" y="500"/>
                  </a:lnTo>
                  <a:lnTo>
                    <a:pt x="16" y="495"/>
                  </a:lnTo>
                  <a:lnTo>
                    <a:pt x="14" y="488"/>
                  </a:lnTo>
                  <a:lnTo>
                    <a:pt x="14" y="488"/>
                  </a:lnTo>
                  <a:lnTo>
                    <a:pt x="7" y="474"/>
                  </a:lnTo>
                  <a:lnTo>
                    <a:pt x="2" y="464"/>
                  </a:lnTo>
                  <a:lnTo>
                    <a:pt x="0" y="457"/>
                  </a:lnTo>
                  <a:lnTo>
                    <a:pt x="0" y="448"/>
                  </a:lnTo>
                  <a:lnTo>
                    <a:pt x="0" y="437"/>
                  </a:lnTo>
                  <a:lnTo>
                    <a:pt x="3" y="425"/>
                  </a:lnTo>
                  <a:lnTo>
                    <a:pt x="3" y="425"/>
                  </a:lnTo>
                  <a:lnTo>
                    <a:pt x="5" y="413"/>
                  </a:lnTo>
                  <a:lnTo>
                    <a:pt x="9" y="408"/>
                  </a:lnTo>
                  <a:lnTo>
                    <a:pt x="12" y="404"/>
                  </a:lnTo>
                  <a:lnTo>
                    <a:pt x="14" y="403"/>
                  </a:lnTo>
                  <a:lnTo>
                    <a:pt x="17" y="403"/>
                  </a:lnTo>
                  <a:lnTo>
                    <a:pt x="19" y="401"/>
                  </a:lnTo>
                  <a:lnTo>
                    <a:pt x="21" y="399"/>
                  </a:lnTo>
                  <a:lnTo>
                    <a:pt x="23" y="392"/>
                  </a:lnTo>
                  <a:lnTo>
                    <a:pt x="23" y="392"/>
                  </a:lnTo>
                  <a:lnTo>
                    <a:pt x="24" y="383"/>
                  </a:lnTo>
                  <a:lnTo>
                    <a:pt x="28" y="376"/>
                  </a:lnTo>
                  <a:lnTo>
                    <a:pt x="35" y="364"/>
                  </a:lnTo>
                  <a:lnTo>
                    <a:pt x="40" y="357"/>
                  </a:lnTo>
                  <a:lnTo>
                    <a:pt x="42" y="350"/>
                  </a:lnTo>
                  <a:lnTo>
                    <a:pt x="43" y="342"/>
                  </a:lnTo>
                  <a:lnTo>
                    <a:pt x="43" y="333"/>
                  </a:lnTo>
                  <a:lnTo>
                    <a:pt x="43" y="333"/>
                  </a:lnTo>
                  <a:lnTo>
                    <a:pt x="40" y="317"/>
                  </a:lnTo>
                  <a:lnTo>
                    <a:pt x="36" y="309"/>
                  </a:lnTo>
                  <a:lnTo>
                    <a:pt x="35" y="303"/>
                  </a:lnTo>
                  <a:lnTo>
                    <a:pt x="35" y="296"/>
                  </a:lnTo>
                  <a:lnTo>
                    <a:pt x="35" y="296"/>
                  </a:lnTo>
                  <a:lnTo>
                    <a:pt x="35" y="291"/>
                  </a:lnTo>
                  <a:lnTo>
                    <a:pt x="35" y="288"/>
                  </a:lnTo>
                  <a:lnTo>
                    <a:pt x="31" y="281"/>
                  </a:lnTo>
                  <a:lnTo>
                    <a:pt x="30" y="272"/>
                  </a:lnTo>
                  <a:lnTo>
                    <a:pt x="28" y="267"/>
                  </a:lnTo>
                  <a:lnTo>
                    <a:pt x="30" y="258"/>
                  </a:lnTo>
                  <a:lnTo>
                    <a:pt x="30" y="258"/>
                  </a:lnTo>
                  <a:lnTo>
                    <a:pt x="30" y="251"/>
                  </a:lnTo>
                  <a:lnTo>
                    <a:pt x="30" y="246"/>
                  </a:lnTo>
                  <a:lnTo>
                    <a:pt x="26" y="241"/>
                  </a:lnTo>
                  <a:lnTo>
                    <a:pt x="26" y="237"/>
                  </a:lnTo>
                  <a:lnTo>
                    <a:pt x="26" y="232"/>
                  </a:lnTo>
                  <a:lnTo>
                    <a:pt x="28" y="225"/>
                  </a:lnTo>
                  <a:lnTo>
                    <a:pt x="33" y="215"/>
                  </a:lnTo>
                  <a:lnTo>
                    <a:pt x="33" y="215"/>
                  </a:lnTo>
                  <a:lnTo>
                    <a:pt x="38" y="202"/>
                  </a:lnTo>
                  <a:lnTo>
                    <a:pt x="40" y="194"/>
                  </a:lnTo>
                  <a:lnTo>
                    <a:pt x="42" y="183"/>
                  </a:lnTo>
                  <a:lnTo>
                    <a:pt x="42" y="180"/>
                  </a:lnTo>
                  <a:lnTo>
                    <a:pt x="43" y="178"/>
                  </a:lnTo>
                  <a:lnTo>
                    <a:pt x="45" y="178"/>
                  </a:lnTo>
                  <a:lnTo>
                    <a:pt x="50" y="178"/>
                  </a:lnTo>
                  <a:lnTo>
                    <a:pt x="50" y="178"/>
                  </a:lnTo>
                  <a:lnTo>
                    <a:pt x="57" y="178"/>
                  </a:lnTo>
                  <a:lnTo>
                    <a:pt x="61" y="176"/>
                  </a:lnTo>
                  <a:lnTo>
                    <a:pt x="63" y="174"/>
                  </a:lnTo>
                  <a:lnTo>
                    <a:pt x="64" y="173"/>
                  </a:lnTo>
                  <a:lnTo>
                    <a:pt x="68" y="168"/>
                  </a:lnTo>
                  <a:lnTo>
                    <a:pt x="71" y="166"/>
                  </a:lnTo>
                  <a:lnTo>
                    <a:pt x="78" y="164"/>
                  </a:lnTo>
                  <a:lnTo>
                    <a:pt x="78" y="164"/>
                  </a:lnTo>
                  <a:lnTo>
                    <a:pt x="92" y="162"/>
                  </a:lnTo>
                  <a:lnTo>
                    <a:pt x="103" y="161"/>
                  </a:lnTo>
                  <a:lnTo>
                    <a:pt x="108" y="157"/>
                  </a:lnTo>
                  <a:lnTo>
                    <a:pt x="113" y="152"/>
                  </a:lnTo>
                  <a:lnTo>
                    <a:pt x="122" y="140"/>
                  </a:lnTo>
                  <a:lnTo>
                    <a:pt x="129" y="133"/>
                  </a:lnTo>
                  <a:lnTo>
                    <a:pt x="137" y="122"/>
                  </a:lnTo>
                  <a:lnTo>
                    <a:pt x="137" y="122"/>
                  </a:lnTo>
                  <a:lnTo>
                    <a:pt x="155" y="107"/>
                  </a:lnTo>
                  <a:lnTo>
                    <a:pt x="164" y="96"/>
                  </a:lnTo>
                  <a:lnTo>
                    <a:pt x="165" y="93"/>
                  </a:lnTo>
                  <a:lnTo>
                    <a:pt x="165" y="87"/>
                  </a:lnTo>
                  <a:lnTo>
                    <a:pt x="162" y="77"/>
                  </a:lnTo>
                  <a:lnTo>
                    <a:pt x="162" y="77"/>
                  </a:lnTo>
                  <a:lnTo>
                    <a:pt x="160" y="72"/>
                  </a:lnTo>
                  <a:lnTo>
                    <a:pt x="164" y="70"/>
                  </a:lnTo>
                  <a:lnTo>
                    <a:pt x="174" y="68"/>
                  </a:lnTo>
                  <a:lnTo>
                    <a:pt x="183" y="67"/>
                  </a:lnTo>
                  <a:lnTo>
                    <a:pt x="190" y="61"/>
                  </a:lnTo>
                  <a:lnTo>
                    <a:pt x="191" y="58"/>
                  </a:lnTo>
                  <a:lnTo>
                    <a:pt x="195" y="51"/>
                  </a:lnTo>
                  <a:lnTo>
                    <a:pt x="197" y="44"/>
                  </a:lnTo>
                  <a:lnTo>
                    <a:pt x="198" y="35"/>
                  </a:lnTo>
                  <a:lnTo>
                    <a:pt x="198" y="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3" name="Freeform 1738">
              <a:extLst>
                <a:ext uri="{FF2B5EF4-FFF2-40B4-BE49-F238E27FC236}">
                  <a16:creationId xmlns:a16="http://schemas.microsoft.com/office/drawing/2014/main" id="{32EF4426-7AB6-4EC3-8344-E7E539BA0C31}"/>
                </a:ext>
              </a:extLst>
            </p:cNvPr>
            <p:cNvSpPr>
              <a:spLocks/>
            </p:cNvSpPr>
            <p:nvPr/>
          </p:nvSpPr>
          <p:spPr bwMode="auto">
            <a:xfrm>
              <a:off x="6638549" y="3255474"/>
              <a:ext cx="822853" cy="988485"/>
            </a:xfrm>
            <a:custGeom>
              <a:avLst/>
              <a:gdLst/>
              <a:ahLst/>
              <a:cxnLst>
                <a:cxn ang="0">
                  <a:pos x="64" y="592"/>
                </a:cxn>
                <a:cxn ang="0">
                  <a:pos x="48" y="644"/>
                </a:cxn>
                <a:cxn ang="0">
                  <a:pos x="146" y="622"/>
                </a:cxn>
                <a:cxn ang="0">
                  <a:pos x="158" y="665"/>
                </a:cxn>
                <a:cxn ang="0">
                  <a:pos x="214" y="949"/>
                </a:cxn>
                <a:cxn ang="0">
                  <a:pos x="304" y="1214"/>
                </a:cxn>
                <a:cxn ang="0">
                  <a:pos x="365" y="1186"/>
                </a:cxn>
                <a:cxn ang="0">
                  <a:pos x="390" y="1153"/>
                </a:cxn>
                <a:cxn ang="0">
                  <a:pos x="414" y="1059"/>
                </a:cxn>
                <a:cxn ang="0">
                  <a:pos x="419" y="911"/>
                </a:cxn>
                <a:cxn ang="0">
                  <a:pos x="484" y="879"/>
                </a:cxn>
                <a:cxn ang="0">
                  <a:pos x="600" y="740"/>
                </a:cxn>
                <a:cxn ang="0">
                  <a:pos x="658" y="662"/>
                </a:cxn>
                <a:cxn ang="0">
                  <a:pos x="722" y="646"/>
                </a:cxn>
                <a:cxn ang="0">
                  <a:pos x="729" y="590"/>
                </a:cxn>
                <a:cxn ang="0">
                  <a:pos x="724" y="540"/>
                </a:cxn>
                <a:cxn ang="0">
                  <a:pos x="712" y="495"/>
                </a:cxn>
                <a:cxn ang="0">
                  <a:pos x="710" y="467"/>
                </a:cxn>
                <a:cxn ang="0">
                  <a:pos x="719" y="430"/>
                </a:cxn>
                <a:cxn ang="0">
                  <a:pos x="757" y="444"/>
                </a:cxn>
                <a:cxn ang="0">
                  <a:pos x="856" y="505"/>
                </a:cxn>
                <a:cxn ang="0">
                  <a:pos x="813" y="571"/>
                </a:cxn>
                <a:cxn ang="0">
                  <a:pos x="847" y="568"/>
                </a:cxn>
                <a:cxn ang="0">
                  <a:pos x="875" y="629"/>
                </a:cxn>
                <a:cxn ang="0">
                  <a:pos x="884" y="540"/>
                </a:cxn>
                <a:cxn ang="0">
                  <a:pos x="935" y="495"/>
                </a:cxn>
                <a:cxn ang="0">
                  <a:pos x="945" y="434"/>
                </a:cxn>
                <a:cxn ang="0">
                  <a:pos x="1008" y="399"/>
                </a:cxn>
                <a:cxn ang="0">
                  <a:pos x="1025" y="355"/>
                </a:cxn>
                <a:cxn ang="0">
                  <a:pos x="985" y="320"/>
                </a:cxn>
                <a:cxn ang="0">
                  <a:pos x="962" y="312"/>
                </a:cxn>
                <a:cxn ang="0">
                  <a:pos x="884" y="336"/>
                </a:cxn>
                <a:cxn ang="0">
                  <a:pos x="825" y="374"/>
                </a:cxn>
                <a:cxn ang="0">
                  <a:pos x="841" y="409"/>
                </a:cxn>
                <a:cxn ang="0">
                  <a:pos x="792" y="420"/>
                </a:cxn>
                <a:cxn ang="0">
                  <a:pos x="736" y="416"/>
                </a:cxn>
                <a:cxn ang="0">
                  <a:pos x="705" y="373"/>
                </a:cxn>
                <a:cxn ang="0">
                  <a:pos x="680" y="437"/>
                </a:cxn>
                <a:cxn ang="0">
                  <a:pos x="625" y="427"/>
                </a:cxn>
                <a:cxn ang="0">
                  <a:pos x="581" y="406"/>
                </a:cxn>
                <a:cxn ang="0">
                  <a:pos x="539" y="388"/>
                </a:cxn>
                <a:cxn ang="0">
                  <a:pos x="485" y="369"/>
                </a:cxn>
                <a:cxn ang="0">
                  <a:pos x="419" y="324"/>
                </a:cxn>
                <a:cxn ang="0">
                  <a:pos x="444" y="272"/>
                </a:cxn>
                <a:cxn ang="0">
                  <a:pos x="388" y="212"/>
                </a:cxn>
                <a:cxn ang="0">
                  <a:pos x="363" y="157"/>
                </a:cxn>
                <a:cxn ang="0">
                  <a:pos x="397" y="139"/>
                </a:cxn>
                <a:cxn ang="0">
                  <a:pos x="379" y="92"/>
                </a:cxn>
                <a:cxn ang="0">
                  <a:pos x="426" y="47"/>
                </a:cxn>
                <a:cxn ang="0">
                  <a:pos x="414" y="16"/>
                </a:cxn>
                <a:cxn ang="0">
                  <a:pos x="337" y="23"/>
                </a:cxn>
                <a:cxn ang="0">
                  <a:pos x="261" y="68"/>
                </a:cxn>
                <a:cxn ang="0">
                  <a:pos x="200" y="87"/>
                </a:cxn>
                <a:cxn ang="0">
                  <a:pos x="207" y="122"/>
                </a:cxn>
                <a:cxn ang="0">
                  <a:pos x="231" y="160"/>
                </a:cxn>
                <a:cxn ang="0">
                  <a:pos x="221" y="228"/>
                </a:cxn>
                <a:cxn ang="0">
                  <a:pos x="172" y="313"/>
                </a:cxn>
                <a:cxn ang="0">
                  <a:pos x="130" y="369"/>
                </a:cxn>
                <a:cxn ang="0">
                  <a:pos x="60" y="390"/>
                </a:cxn>
                <a:cxn ang="0">
                  <a:pos x="69" y="460"/>
                </a:cxn>
                <a:cxn ang="0">
                  <a:pos x="101" y="522"/>
                </a:cxn>
                <a:cxn ang="0">
                  <a:pos x="67" y="533"/>
                </a:cxn>
                <a:cxn ang="0">
                  <a:pos x="20" y="545"/>
                </a:cxn>
              </a:cxnLst>
              <a:rect l="0" t="0" r="r" b="b"/>
              <a:pathLst>
                <a:path w="1025" h="1233">
                  <a:moveTo>
                    <a:pt x="0" y="557"/>
                  </a:moveTo>
                  <a:lnTo>
                    <a:pt x="0" y="557"/>
                  </a:lnTo>
                  <a:lnTo>
                    <a:pt x="3" y="561"/>
                  </a:lnTo>
                  <a:lnTo>
                    <a:pt x="6" y="562"/>
                  </a:lnTo>
                  <a:lnTo>
                    <a:pt x="10" y="566"/>
                  </a:lnTo>
                  <a:lnTo>
                    <a:pt x="15" y="573"/>
                  </a:lnTo>
                  <a:lnTo>
                    <a:pt x="15" y="573"/>
                  </a:lnTo>
                  <a:lnTo>
                    <a:pt x="19" y="580"/>
                  </a:lnTo>
                  <a:lnTo>
                    <a:pt x="24" y="585"/>
                  </a:lnTo>
                  <a:lnTo>
                    <a:pt x="31" y="590"/>
                  </a:lnTo>
                  <a:lnTo>
                    <a:pt x="38" y="594"/>
                  </a:lnTo>
                  <a:lnTo>
                    <a:pt x="45" y="595"/>
                  </a:lnTo>
                  <a:lnTo>
                    <a:pt x="52" y="597"/>
                  </a:lnTo>
                  <a:lnTo>
                    <a:pt x="59" y="595"/>
                  </a:lnTo>
                  <a:lnTo>
                    <a:pt x="64" y="592"/>
                  </a:lnTo>
                  <a:lnTo>
                    <a:pt x="64" y="592"/>
                  </a:lnTo>
                  <a:lnTo>
                    <a:pt x="69" y="590"/>
                  </a:lnTo>
                  <a:lnTo>
                    <a:pt x="73" y="590"/>
                  </a:lnTo>
                  <a:lnTo>
                    <a:pt x="76" y="592"/>
                  </a:lnTo>
                  <a:lnTo>
                    <a:pt x="76" y="595"/>
                  </a:lnTo>
                  <a:lnTo>
                    <a:pt x="76" y="601"/>
                  </a:lnTo>
                  <a:lnTo>
                    <a:pt x="71" y="606"/>
                  </a:lnTo>
                  <a:lnTo>
                    <a:pt x="66" y="609"/>
                  </a:lnTo>
                  <a:lnTo>
                    <a:pt x="55" y="613"/>
                  </a:lnTo>
                  <a:lnTo>
                    <a:pt x="55" y="613"/>
                  </a:lnTo>
                  <a:lnTo>
                    <a:pt x="45" y="615"/>
                  </a:lnTo>
                  <a:lnTo>
                    <a:pt x="36" y="613"/>
                  </a:lnTo>
                  <a:lnTo>
                    <a:pt x="24" y="611"/>
                  </a:lnTo>
                  <a:lnTo>
                    <a:pt x="24" y="611"/>
                  </a:lnTo>
                  <a:lnTo>
                    <a:pt x="24" y="613"/>
                  </a:lnTo>
                  <a:lnTo>
                    <a:pt x="26" y="618"/>
                  </a:lnTo>
                  <a:lnTo>
                    <a:pt x="48" y="644"/>
                  </a:lnTo>
                  <a:lnTo>
                    <a:pt x="48" y="644"/>
                  </a:lnTo>
                  <a:lnTo>
                    <a:pt x="74" y="674"/>
                  </a:lnTo>
                  <a:lnTo>
                    <a:pt x="83" y="683"/>
                  </a:lnTo>
                  <a:lnTo>
                    <a:pt x="92" y="688"/>
                  </a:lnTo>
                  <a:lnTo>
                    <a:pt x="101" y="688"/>
                  </a:lnTo>
                  <a:lnTo>
                    <a:pt x="109" y="686"/>
                  </a:lnTo>
                  <a:lnTo>
                    <a:pt x="120" y="679"/>
                  </a:lnTo>
                  <a:lnTo>
                    <a:pt x="134" y="669"/>
                  </a:lnTo>
                  <a:lnTo>
                    <a:pt x="134" y="669"/>
                  </a:lnTo>
                  <a:lnTo>
                    <a:pt x="139" y="662"/>
                  </a:lnTo>
                  <a:lnTo>
                    <a:pt x="142" y="653"/>
                  </a:lnTo>
                  <a:lnTo>
                    <a:pt x="142" y="646"/>
                  </a:lnTo>
                  <a:lnTo>
                    <a:pt x="142" y="639"/>
                  </a:lnTo>
                  <a:lnTo>
                    <a:pt x="142" y="632"/>
                  </a:lnTo>
                  <a:lnTo>
                    <a:pt x="144" y="627"/>
                  </a:lnTo>
                  <a:lnTo>
                    <a:pt x="146" y="622"/>
                  </a:lnTo>
                  <a:lnTo>
                    <a:pt x="151" y="618"/>
                  </a:lnTo>
                  <a:lnTo>
                    <a:pt x="151" y="618"/>
                  </a:lnTo>
                  <a:lnTo>
                    <a:pt x="158" y="618"/>
                  </a:lnTo>
                  <a:lnTo>
                    <a:pt x="160" y="618"/>
                  </a:lnTo>
                  <a:lnTo>
                    <a:pt x="160" y="620"/>
                  </a:lnTo>
                  <a:lnTo>
                    <a:pt x="158" y="622"/>
                  </a:lnTo>
                  <a:lnTo>
                    <a:pt x="154" y="630"/>
                  </a:lnTo>
                  <a:lnTo>
                    <a:pt x="154" y="634"/>
                  </a:lnTo>
                  <a:lnTo>
                    <a:pt x="156" y="639"/>
                  </a:lnTo>
                  <a:lnTo>
                    <a:pt x="156" y="639"/>
                  </a:lnTo>
                  <a:lnTo>
                    <a:pt x="158" y="644"/>
                  </a:lnTo>
                  <a:lnTo>
                    <a:pt x="158" y="646"/>
                  </a:lnTo>
                  <a:lnTo>
                    <a:pt x="156" y="651"/>
                  </a:lnTo>
                  <a:lnTo>
                    <a:pt x="156" y="655"/>
                  </a:lnTo>
                  <a:lnTo>
                    <a:pt x="156" y="660"/>
                  </a:lnTo>
                  <a:lnTo>
                    <a:pt x="158" y="665"/>
                  </a:lnTo>
                  <a:lnTo>
                    <a:pt x="161" y="674"/>
                  </a:lnTo>
                  <a:lnTo>
                    <a:pt x="161" y="674"/>
                  </a:lnTo>
                  <a:lnTo>
                    <a:pt x="165" y="683"/>
                  </a:lnTo>
                  <a:lnTo>
                    <a:pt x="165" y="690"/>
                  </a:lnTo>
                  <a:lnTo>
                    <a:pt x="163" y="703"/>
                  </a:lnTo>
                  <a:lnTo>
                    <a:pt x="161" y="712"/>
                  </a:lnTo>
                  <a:lnTo>
                    <a:pt x="160" y="724"/>
                  </a:lnTo>
                  <a:lnTo>
                    <a:pt x="160" y="743"/>
                  </a:lnTo>
                  <a:lnTo>
                    <a:pt x="163" y="768"/>
                  </a:lnTo>
                  <a:lnTo>
                    <a:pt x="163" y="768"/>
                  </a:lnTo>
                  <a:lnTo>
                    <a:pt x="179" y="853"/>
                  </a:lnTo>
                  <a:lnTo>
                    <a:pt x="184" y="879"/>
                  </a:lnTo>
                  <a:lnTo>
                    <a:pt x="191" y="897"/>
                  </a:lnTo>
                  <a:lnTo>
                    <a:pt x="191" y="897"/>
                  </a:lnTo>
                  <a:lnTo>
                    <a:pt x="200" y="918"/>
                  </a:lnTo>
                  <a:lnTo>
                    <a:pt x="214" y="949"/>
                  </a:lnTo>
                  <a:lnTo>
                    <a:pt x="226" y="987"/>
                  </a:lnTo>
                  <a:lnTo>
                    <a:pt x="231" y="1005"/>
                  </a:lnTo>
                  <a:lnTo>
                    <a:pt x="235" y="1022"/>
                  </a:lnTo>
                  <a:lnTo>
                    <a:pt x="235" y="1022"/>
                  </a:lnTo>
                  <a:lnTo>
                    <a:pt x="236" y="1036"/>
                  </a:lnTo>
                  <a:lnTo>
                    <a:pt x="242" y="1046"/>
                  </a:lnTo>
                  <a:lnTo>
                    <a:pt x="252" y="1066"/>
                  </a:lnTo>
                  <a:lnTo>
                    <a:pt x="259" y="1078"/>
                  </a:lnTo>
                  <a:lnTo>
                    <a:pt x="266" y="1092"/>
                  </a:lnTo>
                  <a:lnTo>
                    <a:pt x="271" y="1109"/>
                  </a:lnTo>
                  <a:lnTo>
                    <a:pt x="276" y="1132"/>
                  </a:lnTo>
                  <a:lnTo>
                    <a:pt x="276" y="1132"/>
                  </a:lnTo>
                  <a:lnTo>
                    <a:pt x="283" y="1156"/>
                  </a:lnTo>
                  <a:lnTo>
                    <a:pt x="290" y="1177"/>
                  </a:lnTo>
                  <a:lnTo>
                    <a:pt x="297" y="1198"/>
                  </a:lnTo>
                  <a:lnTo>
                    <a:pt x="304" y="1214"/>
                  </a:lnTo>
                  <a:lnTo>
                    <a:pt x="313" y="1224"/>
                  </a:lnTo>
                  <a:lnTo>
                    <a:pt x="318" y="1227"/>
                  </a:lnTo>
                  <a:lnTo>
                    <a:pt x="322" y="1231"/>
                  </a:lnTo>
                  <a:lnTo>
                    <a:pt x="327" y="1233"/>
                  </a:lnTo>
                  <a:lnTo>
                    <a:pt x="330" y="1233"/>
                  </a:lnTo>
                  <a:lnTo>
                    <a:pt x="336" y="1231"/>
                  </a:lnTo>
                  <a:lnTo>
                    <a:pt x="339" y="1227"/>
                  </a:lnTo>
                  <a:lnTo>
                    <a:pt x="339" y="1227"/>
                  </a:lnTo>
                  <a:lnTo>
                    <a:pt x="346" y="1219"/>
                  </a:lnTo>
                  <a:lnTo>
                    <a:pt x="350" y="1214"/>
                  </a:lnTo>
                  <a:lnTo>
                    <a:pt x="351" y="1207"/>
                  </a:lnTo>
                  <a:lnTo>
                    <a:pt x="351" y="1201"/>
                  </a:lnTo>
                  <a:lnTo>
                    <a:pt x="353" y="1196"/>
                  </a:lnTo>
                  <a:lnTo>
                    <a:pt x="355" y="1193"/>
                  </a:lnTo>
                  <a:lnTo>
                    <a:pt x="358" y="1189"/>
                  </a:lnTo>
                  <a:lnTo>
                    <a:pt x="365" y="1186"/>
                  </a:lnTo>
                  <a:lnTo>
                    <a:pt x="365" y="1186"/>
                  </a:lnTo>
                  <a:lnTo>
                    <a:pt x="381" y="1184"/>
                  </a:lnTo>
                  <a:lnTo>
                    <a:pt x="390" y="1184"/>
                  </a:lnTo>
                  <a:lnTo>
                    <a:pt x="395" y="1184"/>
                  </a:lnTo>
                  <a:lnTo>
                    <a:pt x="397" y="1184"/>
                  </a:lnTo>
                  <a:lnTo>
                    <a:pt x="397" y="1182"/>
                  </a:lnTo>
                  <a:lnTo>
                    <a:pt x="397" y="1182"/>
                  </a:lnTo>
                  <a:lnTo>
                    <a:pt x="397" y="1180"/>
                  </a:lnTo>
                  <a:lnTo>
                    <a:pt x="393" y="1179"/>
                  </a:lnTo>
                  <a:lnTo>
                    <a:pt x="386" y="1177"/>
                  </a:lnTo>
                  <a:lnTo>
                    <a:pt x="383" y="1174"/>
                  </a:lnTo>
                  <a:lnTo>
                    <a:pt x="381" y="1170"/>
                  </a:lnTo>
                  <a:lnTo>
                    <a:pt x="381" y="1167"/>
                  </a:lnTo>
                  <a:lnTo>
                    <a:pt x="384" y="1160"/>
                  </a:lnTo>
                  <a:lnTo>
                    <a:pt x="384" y="1160"/>
                  </a:lnTo>
                  <a:lnTo>
                    <a:pt x="390" y="1153"/>
                  </a:lnTo>
                  <a:lnTo>
                    <a:pt x="391" y="1147"/>
                  </a:lnTo>
                  <a:lnTo>
                    <a:pt x="391" y="1142"/>
                  </a:lnTo>
                  <a:lnTo>
                    <a:pt x="391" y="1140"/>
                  </a:lnTo>
                  <a:lnTo>
                    <a:pt x="393" y="1139"/>
                  </a:lnTo>
                  <a:lnTo>
                    <a:pt x="403" y="1139"/>
                  </a:lnTo>
                  <a:lnTo>
                    <a:pt x="403" y="1139"/>
                  </a:lnTo>
                  <a:lnTo>
                    <a:pt x="410" y="1137"/>
                  </a:lnTo>
                  <a:lnTo>
                    <a:pt x="412" y="1135"/>
                  </a:lnTo>
                  <a:lnTo>
                    <a:pt x="412" y="1132"/>
                  </a:lnTo>
                  <a:lnTo>
                    <a:pt x="412" y="1125"/>
                  </a:lnTo>
                  <a:lnTo>
                    <a:pt x="410" y="1116"/>
                  </a:lnTo>
                  <a:lnTo>
                    <a:pt x="409" y="1104"/>
                  </a:lnTo>
                  <a:lnTo>
                    <a:pt x="409" y="1090"/>
                  </a:lnTo>
                  <a:lnTo>
                    <a:pt x="409" y="1074"/>
                  </a:lnTo>
                  <a:lnTo>
                    <a:pt x="414" y="1059"/>
                  </a:lnTo>
                  <a:lnTo>
                    <a:pt x="414" y="1059"/>
                  </a:lnTo>
                  <a:lnTo>
                    <a:pt x="421" y="1039"/>
                  </a:lnTo>
                  <a:lnTo>
                    <a:pt x="426" y="1024"/>
                  </a:lnTo>
                  <a:lnTo>
                    <a:pt x="428" y="1015"/>
                  </a:lnTo>
                  <a:lnTo>
                    <a:pt x="428" y="1005"/>
                  </a:lnTo>
                  <a:lnTo>
                    <a:pt x="426" y="992"/>
                  </a:lnTo>
                  <a:lnTo>
                    <a:pt x="423" y="979"/>
                  </a:lnTo>
                  <a:lnTo>
                    <a:pt x="423" y="979"/>
                  </a:lnTo>
                  <a:lnTo>
                    <a:pt x="421" y="968"/>
                  </a:lnTo>
                  <a:lnTo>
                    <a:pt x="423" y="963"/>
                  </a:lnTo>
                  <a:lnTo>
                    <a:pt x="423" y="956"/>
                  </a:lnTo>
                  <a:lnTo>
                    <a:pt x="419" y="938"/>
                  </a:lnTo>
                  <a:lnTo>
                    <a:pt x="419" y="938"/>
                  </a:lnTo>
                  <a:lnTo>
                    <a:pt x="417" y="928"/>
                  </a:lnTo>
                  <a:lnTo>
                    <a:pt x="416" y="921"/>
                  </a:lnTo>
                  <a:lnTo>
                    <a:pt x="417" y="916"/>
                  </a:lnTo>
                  <a:lnTo>
                    <a:pt x="419" y="911"/>
                  </a:lnTo>
                  <a:lnTo>
                    <a:pt x="421" y="907"/>
                  </a:lnTo>
                  <a:lnTo>
                    <a:pt x="424" y="905"/>
                  </a:lnTo>
                  <a:lnTo>
                    <a:pt x="431" y="902"/>
                  </a:lnTo>
                  <a:lnTo>
                    <a:pt x="440" y="900"/>
                  </a:lnTo>
                  <a:lnTo>
                    <a:pt x="449" y="898"/>
                  </a:lnTo>
                  <a:lnTo>
                    <a:pt x="456" y="895"/>
                  </a:lnTo>
                  <a:lnTo>
                    <a:pt x="457" y="891"/>
                  </a:lnTo>
                  <a:lnTo>
                    <a:pt x="459" y="888"/>
                  </a:lnTo>
                  <a:lnTo>
                    <a:pt x="459" y="888"/>
                  </a:lnTo>
                  <a:lnTo>
                    <a:pt x="461" y="879"/>
                  </a:lnTo>
                  <a:lnTo>
                    <a:pt x="463" y="876"/>
                  </a:lnTo>
                  <a:lnTo>
                    <a:pt x="464" y="876"/>
                  </a:lnTo>
                  <a:lnTo>
                    <a:pt x="468" y="878"/>
                  </a:lnTo>
                  <a:lnTo>
                    <a:pt x="473" y="881"/>
                  </a:lnTo>
                  <a:lnTo>
                    <a:pt x="478" y="881"/>
                  </a:lnTo>
                  <a:lnTo>
                    <a:pt x="484" y="879"/>
                  </a:lnTo>
                  <a:lnTo>
                    <a:pt x="492" y="872"/>
                  </a:lnTo>
                  <a:lnTo>
                    <a:pt x="492" y="872"/>
                  </a:lnTo>
                  <a:lnTo>
                    <a:pt x="498" y="865"/>
                  </a:lnTo>
                  <a:lnTo>
                    <a:pt x="499" y="862"/>
                  </a:lnTo>
                  <a:lnTo>
                    <a:pt x="499" y="858"/>
                  </a:lnTo>
                  <a:lnTo>
                    <a:pt x="499" y="857"/>
                  </a:lnTo>
                  <a:lnTo>
                    <a:pt x="499" y="853"/>
                  </a:lnTo>
                  <a:lnTo>
                    <a:pt x="503" y="848"/>
                  </a:lnTo>
                  <a:lnTo>
                    <a:pt x="511" y="841"/>
                  </a:lnTo>
                  <a:lnTo>
                    <a:pt x="524" y="829"/>
                  </a:lnTo>
                  <a:lnTo>
                    <a:pt x="524" y="829"/>
                  </a:lnTo>
                  <a:lnTo>
                    <a:pt x="539" y="815"/>
                  </a:lnTo>
                  <a:lnTo>
                    <a:pt x="553" y="799"/>
                  </a:lnTo>
                  <a:lnTo>
                    <a:pt x="574" y="773"/>
                  </a:lnTo>
                  <a:lnTo>
                    <a:pt x="592" y="750"/>
                  </a:lnTo>
                  <a:lnTo>
                    <a:pt x="600" y="740"/>
                  </a:lnTo>
                  <a:lnTo>
                    <a:pt x="611" y="731"/>
                  </a:lnTo>
                  <a:lnTo>
                    <a:pt x="611" y="731"/>
                  </a:lnTo>
                  <a:lnTo>
                    <a:pt x="618" y="728"/>
                  </a:lnTo>
                  <a:lnTo>
                    <a:pt x="623" y="726"/>
                  </a:lnTo>
                  <a:lnTo>
                    <a:pt x="630" y="726"/>
                  </a:lnTo>
                  <a:lnTo>
                    <a:pt x="633" y="724"/>
                  </a:lnTo>
                  <a:lnTo>
                    <a:pt x="639" y="723"/>
                  </a:lnTo>
                  <a:lnTo>
                    <a:pt x="644" y="716"/>
                  </a:lnTo>
                  <a:lnTo>
                    <a:pt x="652" y="705"/>
                  </a:lnTo>
                  <a:lnTo>
                    <a:pt x="652" y="705"/>
                  </a:lnTo>
                  <a:lnTo>
                    <a:pt x="659" y="695"/>
                  </a:lnTo>
                  <a:lnTo>
                    <a:pt x="661" y="684"/>
                  </a:lnTo>
                  <a:lnTo>
                    <a:pt x="661" y="677"/>
                  </a:lnTo>
                  <a:lnTo>
                    <a:pt x="659" y="670"/>
                  </a:lnTo>
                  <a:lnTo>
                    <a:pt x="658" y="665"/>
                  </a:lnTo>
                  <a:lnTo>
                    <a:pt x="658" y="662"/>
                  </a:lnTo>
                  <a:lnTo>
                    <a:pt x="663" y="656"/>
                  </a:lnTo>
                  <a:lnTo>
                    <a:pt x="672" y="651"/>
                  </a:lnTo>
                  <a:lnTo>
                    <a:pt x="672" y="651"/>
                  </a:lnTo>
                  <a:lnTo>
                    <a:pt x="682" y="646"/>
                  </a:lnTo>
                  <a:lnTo>
                    <a:pt x="691" y="641"/>
                  </a:lnTo>
                  <a:lnTo>
                    <a:pt x="699" y="634"/>
                  </a:lnTo>
                  <a:lnTo>
                    <a:pt x="701" y="632"/>
                  </a:lnTo>
                  <a:lnTo>
                    <a:pt x="703" y="632"/>
                  </a:lnTo>
                  <a:lnTo>
                    <a:pt x="705" y="641"/>
                  </a:lnTo>
                  <a:lnTo>
                    <a:pt x="705" y="641"/>
                  </a:lnTo>
                  <a:lnTo>
                    <a:pt x="706" y="646"/>
                  </a:lnTo>
                  <a:lnTo>
                    <a:pt x="708" y="649"/>
                  </a:lnTo>
                  <a:lnTo>
                    <a:pt x="710" y="649"/>
                  </a:lnTo>
                  <a:lnTo>
                    <a:pt x="713" y="649"/>
                  </a:lnTo>
                  <a:lnTo>
                    <a:pt x="719" y="648"/>
                  </a:lnTo>
                  <a:lnTo>
                    <a:pt x="722" y="646"/>
                  </a:lnTo>
                  <a:lnTo>
                    <a:pt x="726" y="648"/>
                  </a:lnTo>
                  <a:lnTo>
                    <a:pt x="726" y="648"/>
                  </a:lnTo>
                  <a:lnTo>
                    <a:pt x="733" y="649"/>
                  </a:lnTo>
                  <a:lnTo>
                    <a:pt x="734" y="649"/>
                  </a:lnTo>
                  <a:lnTo>
                    <a:pt x="736" y="646"/>
                  </a:lnTo>
                  <a:lnTo>
                    <a:pt x="734" y="642"/>
                  </a:lnTo>
                  <a:lnTo>
                    <a:pt x="734" y="642"/>
                  </a:lnTo>
                  <a:lnTo>
                    <a:pt x="733" y="636"/>
                  </a:lnTo>
                  <a:lnTo>
                    <a:pt x="733" y="634"/>
                  </a:lnTo>
                  <a:lnTo>
                    <a:pt x="736" y="632"/>
                  </a:lnTo>
                  <a:lnTo>
                    <a:pt x="736" y="632"/>
                  </a:lnTo>
                  <a:lnTo>
                    <a:pt x="736" y="625"/>
                  </a:lnTo>
                  <a:lnTo>
                    <a:pt x="734" y="620"/>
                  </a:lnTo>
                  <a:lnTo>
                    <a:pt x="731" y="604"/>
                  </a:lnTo>
                  <a:lnTo>
                    <a:pt x="731" y="604"/>
                  </a:lnTo>
                  <a:lnTo>
                    <a:pt x="729" y="590"/>
                  </a:lnTo>
                  <a:lnTo>
                    <a:pt x="731" y="582"/>
                  </a:lnTo>
                  <a:lnTo>
                    <a:pt x="731" y="580"/>
                  </a:lnTo>
                  <a:lnTo>
                    <a:pt x="727" y="578"/>
                  </a:lnTo>
                  <a:lnTo>
                    <a:pt x="727" y="578"/>
                  </a:lnTo>
                  <a:lnTo>
                    <a:pt x="722" y="576"/>
                  </a:lnTo>
                  <a:lnTo>
                    <a:pt x="724" y="573"/>
                  </a:lnTo>
                  <a:lnTo>
                    <a:pt x="724" y="568"/>
                  </a:lnTo>
                  <a:lnTo>
                    <a:pt x="722" y="566"/>
                  </a:lnTo>
                  <a:lnTo>
                    <a:pt x="720" y="562"/>
                  </a:lnTo>
                  <a:lnTo>
                    <a:pt x="720" y="562"/>
                  </a:lnTo>
                  <a:lnTo>
                    <a:pt x="717" y="557"/>
                  </a:lnTo>
                  <a:lnTo>
                    <a:pt x="719" y="554"/>
                  </a:lnTo>
                  <a:lnTo>
                    <a:pt x="722" y="550"/>
                  </a:lnTo>
                  <a:lnTo>
                    <a:pt x="724" y="545"/>
                  </a:lnTo>
                  <a:lnTo>
                    <a:pt x="724" y="540"/>
                  </a:lnTo>
                  <a:lnTo>
                    <a:pt x="724" y="540"/>
                  </a:lnTo>
                  <a:lnTo>
                    <a:pt x="722" y="533"/>
                  </a:lnTo>
                  <a:lnTo>
                    <a:pt x="719" y="529"/>
                  </a:lnTo>
                  <a:lnTo>
                    <a:pt x="710" y="526"/>
                  </a:lnTo>
                  <a:lnTo>
                    <a:pt x="706" y="524"/>
                  </a:lnTo>
                  <a:lnTo>
                    <a:pt x="703" y="522"/>
                  </a:lnTo>
                  <a:lnTo>
                    <a:pt x="699" y="517"/>
                  </a:lnTo>
                  <a:lnTo>
                    <a:pt x="701" y="510"/>
                  </a:lnTo>
                  <a:lnTo>
                    <a:pt x="701" y="510"/>
                  </a:lnTo>
                  <a:lnTo>
                    <a:pt x="701" y="505"/>
                  </a:lnTo>
                  <a:lnTo>
                    <a:pt x="703" y="503"/>
                  </a:lnTo>
                  <a:lnTo>
                    <a:pt x="706" y="503"/>
                  </a:lnTo>
                  <a:lnTo>
                    <a:pt x="708" y="503"/>
                  </a:lnTo>
                  <a:lnTo>
                    <a:pt x="710" y="503"/>
                  </a:lnTo>
                  <a:lnTo>
                    <a:pt x="712" y="503"/>
                  </a:lnTo>
                  <a:lnTo>
                    <a:pt x="712" y="500"/>
                  </a:lnTo>
                  <a:lnTo>
                    <a:pt x="712" y="495"/>
                  </a:lnTo>
                  <a:lnTo>
                    <a:pt x="712" y="495"/>
                  </a:lnTo>
                  <a:lnTo>
                    <a:pt x="713" y="491"/>
                  </a:lnTo>
                  <a:lnTo>
                    <a:pt x="715" y="489"/>
                  </a:lnTo>
                  <a:lnTo>
                    <a:pt x="724" y="489"/>
                  </a:lnTo>
                  <a:lnTo>
                    <a:pt x="733" y="491"/>
                  </a:lnTo>
                  <a:lnTo>
                    <a:pt x="733" y="489"/>
                  </a:lnTo>
                  <a:lnTo>
                    <a:pt x="731" y="484"/>
                  </a:lnTo>
                  <a:lnTo>
                    <a:pt x="731" y="484"/>
                  </a:lnTo>
                  <a:lnTo>
                    <a:pt x="727" y="477"/>
                  </a:lnTo>
                  <a:lnTo>
                    <a:pt x="726" y="477"/>
                  </a:lnTo>
                  <a:lnTo>
                    <a:pt x="720" y="477"/>
                  </a:lnTo>
                  <a:lnTo>
                    <a:pt x="720" y="477"/>
                  </a:lnTo>
                  <a:lnTo>
                    <a:pt x="717" y="477"/>
                  </a:lnTo>
                  <a:lnTo>
                    <a:pt x="715" y="475"/>
                  </a:lnTo>
                  <a:lnTo>
                    <a:pt x="713" y="472"/>
                  </a:lnTo>
                  <a:lnTo>
                    <a:pt x="710" y="467"/>
                  </a:lnTo>
                  <a:lnTo>
                    <a:pt x="706" y="465"/>
                  </a:lnTo>
                  <a:lnTo>
                    <a:pt x="703" y="463"/>
                  </a:lnTo>
                  <a:lnTo>
                    <a:pt x="703" y="463"/>
                  </a:lnTo>
                  <a:lnTo>
                    <a:pt x="699" y="460"/>
                  </a:lnTo>
                  <a:lnTo>
                    <a:pt x="699" y="458"/>
                  </a:lnTo>
                  <a:lnTo>
                    <a:pt x="706" y="449"/>
                  </a:lnTo>
                  <a:lnTo>
                    <a:pt x="713" y="441"/>
                  </a:lnTo>
                  <a:lnTo>
                    <a:pt x="715" y="437"/>
                  </a:lnTo>
                  <a:lnTo>
                    <a:pt x="713" y="435"/>
                  </a:lnTo>
                  <a:lnTo>
                    <a:pt x="713" y="435"/>
                  </a:lnTo>
                  <a:lnTo>
                    <a:pt x="710" y="430"/>
                  </a:lnTo>
                  <a:lnTo>
                    <a:pt x="708" y="428"/>
                  </a:lnTo>
                  <a:lnTo>
                    <a:pt x="710" y="427"/>
                  </a:lnTo>
                  <a:lnTo>
                    <a:pt x="715" y="428"/>
                  </a:lnTo>
                  <a:lnTo>
                    <a:pt x="715" y="428"/>
                  </a:lnTo>
                  <a:lnTo>
                    <a:pt x="719" y="430"/>
                  </a:lnTo>
                  <a:lnTo>
                    <a:pt x="720" y="434"/>
                  </a:lnTo>
                  <a:lnTo>
                    <a:pt x="722" y="439"/>
                  </a:lnTo>
                  <a:lnTo>
                    <a:pt x="722" y="441"/>
                  </a:lnTo>
                  <a:lnTo>
                    <a:pt x="724" y="442"/>
                  </a:lnTo>
                  <a:lnTo>
                    <a:pt x="727" y="442"/>
                  </a:lnTo>
                  <a:lnTo>
                    <a:pt x="731" y="441"/>
                  </a:lnTo>
                  <a:lnTo>
                    <a:pt x="731" y="441"/>
                  </a:lnTo>
                  <a:lnTo>
                    <a:pt x="734" y="441"/>
                  </a:lnTo>
                  <a:lnTo>
                    <a:pt x="738" y="442"/>
                  </a:lnTo>
                  <a:lnTo>
                    <a:pt x="743" y="449"/>
                  </a:lnTo>
                  <a:lnTo>
                    <a:pt x="745" y="453"/>
                  </a:lnTo>
                  <a:lnTo>
                    <a:pt x="748" y="454"/>
                  </a:lnTo>
                  <a:lnTo>
                    <a:pt x="752" y="453"/>
                  </a:lnTo>
                  <a:lnTo>
                    <a:pt x="753" y="447"/>
                  </a:lnTo>
                  <a:lnTo>
                    <a:pt x="753" y="447"/>
                  </a:lnTo>
                  <a:lnTo>
                    <a:pt x="757" y="444"/>
                  </a:lnTo>
                  <a:lnTo>
                    <a:pt x="759" y="444"/>
                  </a:lnTo>
                  <a:lnTo>
                    <a:pt x="760" y="453"/>
                  </a:lnTo>
                  <a:lnTo>
                    <a:pt x="760" y="467"/>
                  </a:lnTo>
                  <a:lnTo>
                    <a:pt x="760" y="481"/>
                  </a:lnTo>
                  <a:lnTo>
                    <a:pt x="760" y="481"/>
                  </a:lnTo>
                  <a:lnTo>
                    <a:pt x="762" y="484"/>
                  </a:lnTo>
                  <a:lnTo>
                    <a:pt x="764" y="486"/>
                  </a:lnTo>
                  <a:lnTo>
                    <a:pt x="773" y="489"/>
                  </a:lnTo>
                  <a:lnTo>
                    <a:pt x="787" y="491"/>
                  </a:lnTo>
                  <a:lnTo>
                    <a:pt x="804" y="493"/>
                  </a:lnTo>
                  <a:lnTo>
                    <a:pt x="835" y="493"/>
                  </a:lnTo>
                  <a:lnTo>
                    <a:pt x="847" y="495"/>
                  </a:lnTo>
                  <a:lnTo>
                    <a:pt x="851" y="496"/>
                  </a:lnTo>
                  <a:lnTo>
                    <a:pt x="853" y="500"/>
                  </a:lnTo>
                  <a:lnTo>
                    <a:pt x="853" y="500"/>
                  </a:lnTo>
                  <a:lnTo>
                    <a:pt x="856" y="505"/>
                  </a:lnTo>
                  <a:lnTo>
                    <a:pt x="853" y="503"/>
                  </a:lnTo>
                  <a:lnTo>
                    <a:pt x="851" y="503"/>
                  </a:lnTo>
                  <a:lnTo>
                    <a:pt x="847" y="505"/>
                  </a:lnTo>
                  <a:lnTo>
                    <a:pt x="846" y="508"/>
                  </a:lnTo>
                  <a:lnTo>
                    <a:pt x="844" y="514"/>
                  </a:lnTo>
                  <a:lnTo>
                    <a:pt x="844" y="514"/>
                  </a:lnTo>
                  <a:lnTo>
                    <a:pt x="842" y="522"/>
                  </a:lnTo>
                  <a:lnTo>
                    <a:pt x="839" y="528"/>
                  </a:lnTo>
                  <a:lnTo>
                    <a:pt x="832" y="531"/>
                  </a:lnTo>
                  <a:lnTo>
                    <a:pt x="825" y="536"/>
                  </a:lnTo>
                  <a:lnTo>
                    <a:pt x="820" y="540"/>
                  </a:lnTo>
                  <a:lnTo>
                    <a:pt x="813" y="545"/>
                  </a:lnTo>
                  <a:lnTo>
                    <a:pt x="811" y="552"/>
                  </a:lnTo>
                  <a:lnTo>
                    <a:pt x="809" y="561"/>
                  </a:lnTo>
                  <a:lnTo>
                    <a:pt x="809" y="561"/>
                  </a:lnTo>
                  <a:lnTo>
                    <a:pt x="813" y="571"/>
                  </a:lnTo>
                  <a:lnTo>
                    <a:pt x="814" y="580"/>
                  </a:lnTo>
                  <a:lnTo>
                    <a:pt x="818" y="585"/>
                  </a:lnTo>
                  <a:lnTo>
                    <a:pt x="821" y="589"/>
                  </a:lnTo>
                  <a:lnTo>
                    <a:pt x="825" y="589"/>
                  </a:lnTo>
                  <a:lnTo>
                    <a:pt x="828" y="585"/>
                  </a:lnTo>
                  <a:lnTo>
                    <a:pt x="832" y="578"/>
                  </a:lnTo>
                  <a:lnTo>
                    <a:pt x="835" y="566"/>
                  </a:lnTo>
                  <a:lnTo>
                    <a:pt x="835" y="566"/>
                  </a:lnTo>
                  <a:lnTo>
                    <a:pt x="839" y="559"/>
                  </a:lnTo>
                  <a:lnTo>
                    <a:pt x="841" y="555"/>
                  </a:lnTo>
                  <a:lnTo>
                    <a:pt x="844" y="555"/>
                  </a:lnTo>
                  <a:lnTo>
                    <a:pt x="846" y="555"/>
                  </a:lnTo>
                  <a:lnTo>
                    <a:pt x="847" y="557"/>
                  </a:lnTo>
                  <a:lnTo>
                    <a:pt x="847" y="562"/>
                  </a:lnTo>
                  <a:lnTo>
                    <a:pt x="847" y="568"/>
                  </a:lnTo>
                  <a:lnTo>
                    <a:pt x="847" y="568"/>
                  </a:lnTo>
                  <a:lnTo>
                    <a:pt x="847" y="576"/>
                  </a:lnTo>
                  <a:lnTo>
                    <a:pt x="847" y="583"/>
                  </a:lnTo>
                  <a:lnTo>
                    <a:pt x="851" y="595"/>
                  </a:lnTo>
                  <a:lnTo>
                    <a:pt x="856" y="609"/>
                  </a:lnTo>
                  <a:lnTo>
                    <a:pt x="858" y="620"/>
                  </a:lnTo>
                  <a:lnTo>
                    <a:pt x="860" y="632"/>
                  </a:lnTo>
                  <a:lnTo>
                    <a:pt x="860" y="632"/>
                  </a:lnTo>
                  <a:lnTo>
                    <a:pt x="861" y="627"/>
                  </a:lnTo>
                  <a:lnTo>
                    <a:pt x="865" y="625"/>
                  </a:lnTo>
                  <a:lnTo>
                    <a:pt x="865" y="627"/>
                  </a:lnTo>
                  <a:lnTo>
                    <a:pt x="867" y="629"/>
                  </a:lnTo>
                  <a:lnTo>
                    <a:pt x="868" y="632"/>
                  </a:lnTo>
                  <a:lnTo>
                    <a:pt x="870" y="634"/>
                  </a:lnTo>
                  <a:lnTo>
                    <a:pt x="872" y="632"/>
                  </a:lnTo>
                  <a:lnTo>
                    <a:pt x="875" y="629"/>
                  </a:lnTo>
                  <a:lnTo>
                    <a:pt x="875" y="629"/>
                  </a:lnTo>
                  <a:lnTo>
                    <a:pt x="879" y="618"/>
                  </a:lnTo>
                  <a:lnTo>
                    <a:pt x="879" y="613"/>
                  </a:lnTo>
                  <a:lnTo>
                    <a:pt x="877" y="608"/>
                  </a:lnTo>
                  <a:lnTo>
                    <a:pt x="875" y="602"/>
                  </a:lnTo>
                  <a:lnTo>
                    <a:pt x="875" y="602"/>
                  </a:lnTo>
                  <a:lnTo>
                    <a:pt x="875" y="592"/>
                  </a:lnTo>
                  <a:lnTo>
                    <a:pt x="877" y="587"/>
                  </a:lnTo>
                  <a:lnTo>
                    <a:pt x="881" y="587"/>
                  </a:lnTo>
                  <a:lnTo>
                    <a:pt x="882" y="587"/>
                  </a:lnTo>
                  <a:lnTo>
                    <a:pt x="886" y="587"/>
                  </a:lnTo>
                  <a:lnTo>
                    <a:pt x="888" y="583"/>
                  </a:lnTo>
                  <a:lnTo>
                    <a:pt x="888" y="575"/>
                  </a:lnTo>
                  <a:lnTo>
                    <a:pt x="886" y="559"/>
                  </a:lnTo>
                  <a:lnTo>
                    <a:pt x="886" y="559"/>
                  </a:lnTo>
                  <a:lnTo>
                    <a:pt x="884" y="543"/>
                  </a:lnTo>
                  <a:lnTo>
                    <a:pt x="884" y="540"/>
                  </a:lnTo>
                  <a:lnTo>
                    <a:pt x="884" y="538"/>
                  </a:lnTo>
                  <a:lnTo>
                    <a:pt x="889" y="540"/>
                  </a:lnTo>
                  <a:lnTo>
                    <a:pt x="898" y="543"/>
                  </a:lnTo>
                  <a:lnTo>
                    <a:pt x="898" y="543"/>
                  </a:lnTo>
                  <a:lnTo>
                    <a:pt x="903" y="545"/>
                  </a:lnTo>
                  <a:lnTo>
                    <a:pt x="907" y="548"/>
                  </a:lnTo>
                  <a:lnTo>
                    <a:pt x="910" y="550"/>
                  </a:lnTo>
                  <a:lnTo>
                    <a:pt x="912" y="550"/>
                  </a:lnTo>
                  <a:lnTo>
                    <a:pt x="914" y="547"/>
                  </a:lnTo>
                  <a:lnTo>
                    <a:pt x="917" y="533"/>
                  </a:lnTo>
                  <a:lnTo>
                    <a:pt x="917" y="533"/>
                  </a:lnTo>
                  <a:lnTo>
                    <a:pt x="921" y="522"/>
                  </a:lnTo>
                  <a:lnTo>
                    <a:pt x="924" y="515"/>
                  </a:lnTo>
                  <a:lnTo>
                    <a:pt x="931" y="505"/>
                  </a:lnTo>
                  <a:lnTo>
                    <a:pt x="935" y="498"/>
                  </a:lnTo>
                  <a:lnTo>
                    <a:pt x="935" y="495"/>
                  </a:lnTo>
                  <a:lnTo>
                    <a:pt x="931" y="491"/>
                  </a:lnTo>
                  <a:lnTo>
                    <a:pt x="931" y="491"/>
                  </a:lnTo>
                  <a:lnTo>
                    <a:pt x="929" y="488"/>
                  </a:lnTo>
                  <a:lnTo>
                    <a:pt x="928" y="486"/>
                  </a:lnTo>
                  <a:lnTo>
                    <a:pt x="929" y="484"/>
                  </a:lnTo>
                  <a:lnTo>
                    <a:pt x="931" y="481"/>
                  </a:lnTo>
                  <a:lnTo>
                    <a:pt x="940" y="474"/>
                  </a:lnTo>
                  <a:lnTo>
                    <a:pt x="943" y="468"/>
                  </a:lnTo>
                  <a:lnTo>
                    <a:pt x="947" y="461"/>
                  </a:lnTo>
                  <a:lnTo>
                    <a:pt x="947" y="461"/>
                  </a:lnTo>
                  <a:lnTo>
                    <a:pt x="950" y="453"/>
                  </a:lnTo>
                  <a:lnTo>
                    <a:pt x="950" y="447"/>
                  </a:lnTo>
                  <a:lnTo>
                    <a:pt x="950" y="444"/>
                  </a:lnTo>
                  <a:lnTo>
                    <a:pt x="948" y="442"/>
                  </a:lnTo>
                  <a:lnTo>
                    <a:pt x="947" y="437"/>
                  </a:lnTo>
                  <a:lnTo>
                    <a:pt x="945" y="434"/>
                  </a:lnTo>
                  <a:lnTo>
                    <a:pt x="947" y="430"/>
                  </a:lnTo>
                  <a:lnTo>
                    <a:pt x="947" y="430"/>
                  </a:lnTo>
                  <a:lnTo>
                    <a:pt x="950" y="425"/>
                  </a:lnTo>
                  <a:lnTo>
                    <a:pt x="954" y="425"/>
                  </a:lnTo>
                  <a:lnTo>
                    <a:pt x="955" y="425"/>
                  </a:lnTo>
                  <a:lnTo>
                    <a:pt x="957" y="423"/>
                  </a:lnTo>
                  <a:lnTo>
                    <a:pt x="961" y="421"/>
                  </a:lnTo>
                  <a:lnTo>
                    <a:pt x="966" y="416"/>
                  </a:lnTo>
                  <a:lnTo>
                    <a:pt x="966" y="416"/>
                  </a:lnTo>
                  <a:lnTo>
                    <a:pt x="975" y="406"/>
                  </a:lnTo>
                  <a:lnTo>
                    <a:pt x="987" y="397"/>
                  </a:lnTo>
                  <a:lnTo>
                    <a:pt x="992" y="394"/>
                  </a:lnTo>
                  <a:lnTo>
                    <a:pt x="999" y="394"/>
                  </a:lnTo>
                  <a:lnTo>
                    <a:pt x="1004" y="394"/>
                  </a:lnTo>
                  <a:lnTo>
                    <a:pt x="1008" y="399"/>
                  </a:lnTo>
                  <a:lnTo>
                    <a:pt x="1008" y="399"/>
                  </a:lnTo>
                  <a:lnTo>
                    <a:pt x="1013" y="404"/>
                  </a:lnTo>
                  <a:lnTo>
                    <a:pt x="1015" y="406"/>
                  </a:lnTo>
                  <a:lnTo>
                    <a:pt x="1016" y="406"/>
                  </a:lnTo>
                  <a:lnTo>
                    <a:pt x="1016" y="404"/>
                  </a:lnTo>
                  <a:lnTo>
                    <a:pt x="1016" y="402"/>
                  </a:lnTo>
                  <a:lnTo>
                    <a:pt x="1013" y="392"/>
                  </a:lnTo>
                  <a:lnTo>
                    <a:pt x="1013" y="392"/>
                  </a:lnTo>
                  <a:lnTo>
                    <a:pt x="1011" y="387"/>
                  </a:lnTo>
                  <a:lnTo>
                    <a:pt x="1011" y="383"/>
                  </a:lnTo>
                  <a:lnTo>
                    <a:pt x="1015" y="380"/>
                  </a:lnTo>
                  <a:lnTo>
                    <a:pt x="1016" y="376"/>
                  </a:lnTo>
                  <a:lnTo>
                    <a:pt x="1020" y="373"/>
                  </a:lnTo>
                  <a:lnTo>
                    <a:pt x="1023" y="367"/>
                  </a:lnTo>
                  <a:lnTo>
                    <a:pt x="1025" y="362"/>
                  </a:lnTo>
                  <a:lnTo>
                    <a:pt x="1025" y="355"/>
                  </a:lnTo>
                  <a:lnTo>
                    <a:pt x="1025" y="355"/>
                  </a:lnTo>
                  <a:lnTo>
                    <a:pt x="1022" y="352"/>
                  </a:lnTo>
                  <a:lnTo>
                    <a:pt x="1016" y="348"/>
                  </a:lnTo>
                  <a:lnTo>
                    <a:pt x="1009" y="347"/>
                  </a:lnTo>
                  <a:lnTo>
                    <a:pt x="995" y="347"/>
                  </a:lnTo>
                  <a:lnTo>
                    <a:pt x="995" y="347"/>
                  </a:lnTo>
                  <a:lnTo>
                    <a:pt x="987" y="347"/>
                  </a:lnTo>
                  <a:lnTo>
                    <a:pt x="987" y="345"/>
                  </a:lnTo>
                  <a:lnTo>
                    <a:pt x="990" y="343"/>
                  </a:lnTo>
                  <a:lnTo>
                    <a:pt x="997" y="336"/>
                  </a:lnTo>
                  <a:lnTo>
                    <a:pt x="999" y="331"/>
                  </a:lnTo>
                  <a:lnTo>
                    <a:pt x="999" y="324"/>
                  </a:lnTo>
                  <a:lnTo>
                    <a:pt x="999" y="324"/>
                  </a:lnTo>
                  <a:lnTo>
                    <a:pt x="997" y="320"/>
                  </a:lnTo>
                  <a:lnTo>
                    <a:pt x="994" y="320"/>
                  </a:lnTo>
                  <a:lnTo>
                    <a:pt x="987" y="320"/>
                  </a:lnTo>
                  <a:lnTo>
                    <a:pt x="985" y="320"/>
                  </a:lnTo>
                  <a:lnTo>
                    <a:pt x="985" y="320"/>
                  </a:lnTo>
                  <a:lnTo>
                    <a:pt x="989" y="313"/>
                  </a:lnTo>
                  <a:lnTo>
                    <a:pt x="989" y="313"/>
                  </a:lnTo>
                  <a:lnTo>
                    <a:pt x="992" y="308"/>
                  </a:lnTo>
                  <a:lnTo>
                    <a:pt x="992" y="306"/>
                  </a:lnTo>
                  <a:lnTo>
                    <a:pt x="990" y="306"/>
                  </a:lnTo>
                  <a:lnTo>
                    <a:pt x="989" y="306"/>
                  </a:lnTo>
                  <a:lnTo>
                    <a:pt x="987" y="306"/>
                  </a:lnTo>
                  <a:lnTo>
                    <a:pt x="985" y="303"/>
                  </a:lnTo>
                  <a:lnTo>
                    <a:pt x="985" y="303"/>
                  </a:lnTo>
                  <a:lnTo>
                    <a:pt x="983" y="301"/>
                  </a:lnTo>
                  <a:lnTo>
                    <a:pt x="980" y="299"/>
                  </a:lnTo>
                  <a:lnTo>
                    <a:pt x="973" y="301"/>
                  </a:lnTo>
                  <a:lnTo>
                    <a:pt x="968" y="305"/>
                  </a:lnTo>
                  <a:lnTo>
                    <a:pt x="962" y="312"/>
                  </a:lnTo>
                  <a:lnTo>
                    <a:pt x="962" y="312"/>
                  </a:lnTo>
                  <a:lnTo>
                    <a:pt x="959" y="315"/>
                  </a:lnTo>
                  <a:lnTo>
                    <a:pt x="954" y="317"/>
                  </a:lnTo>
                  <a:lnTo>
                    <a:pt x="947" y="315"/>
                  </a:lnTo>
                  <a:lnTo>
                    <a:pt x="938" y="310"/>
                  </a:lnTo>
                  <a:lnTo>
                    <a:pt x="938" y="310"/>
                  </a:lnTo>
                  <a:lnTo>
                    <a:pt x="935" y="308"/>
                  </a:lnTo>
                  <a:lnTo>
                    <a:pt x="931" y="306"/>
                  </a:lnTo>
                  <a:lnTo>
                    <a:pt x="928" y="308"/>
                  </a:lnTo>
                  <a:lnTo>
                    <a:pt x="924" y="308"/>
                  </a:lnTo>
                  <a:lnTo>
                    <a:pt x="917" y="315"/>
                  </a:lnTo>
                  <a:lnTo>
                    <a:pt x="908" y="324"/>
                  </a:lnTo>
                  <a:lnTo>
                    <a:pt x="908" y="324"/>
                  </a:lnTo>
                  <a:lnTo>
                    <a:pt x="905" y="329"/>
                  </a:lnTo>
                  <a:lnTo>
                    <a:pt x="900" y="331"/>
                  </a:lnTo>
                  <a:lnTo>
                    <a:pt x="891" y="334"/>
                  </a:lnTo>
                  <a:lnTo>
                    <a:pt x="884" y="336"/>
                  </a:lnTo>
                  <a:lnTo>
                    <a:pt x="881" y="338"/>
                  </a:lnTo>
                  <a:lnTo>
                    <a:pt x="879" y="343"/>
                  </a:lnTo>
                  <a:lnTo>
                    <a:pt x="879" y="343"/>
                  </a:lnTo>
                  <a:lnTo>
                    <a:pt x="877" y="347"/>
                  </a:lnTo>
                  <a:lnTo>
                    <a:pt x="875" y="350"/>
                  </a:lnTo>
                  <a:lnTo>
                    <a:pt x="870" y="353"/>
                  </a:lnTo>
                  <a:lnTo>
                    <a:pt x="865" y="357"/>
                  </a:lnTo>
                  <a:lnTo>
                    <a:pt x="863" y="359"/>
                  </a:lnTo>
                  <a:lnTo>
                    <a:pt x="863" y="362"/>
                  </a:lnTo>
                  <a:lnTo>
                    <a:pt x="863" y="362"/>
                  </a:lnTo>
                  <a:lnTo>
                    <a:pt x="863" y="366"/>
                  </a:lnTo>
                  <a:lnTo>
                    <a:pt x="861" y="369"/>
                  </a:lnTo>
                  <a:lnTo>
                    <a:pt x="858" y="371"/>
                  </a:lnTo>
                  <a:lnTo>
                    <a:pt x="853" y="373"/>
                  </a:lnTo>
                  <a:lnTo>
                    <a:pt x="841" y="376"/>
                  </a:lnTo>
                  <a:lnTo>
                    <a:pt x="825" y="374"/>
                  </a:lnTo>
                  <a:lnTo>
                    <a:pt x="825" y="374"/>
                  </a:lnTo>
                  <a:lnTo>
                    <a:pt x="825" y="380"/>
                  </a:lnTo>
                  <a:lnTo>
                    <a:pt x="825" y="385"/>
                  </a:lnTo>
                  <a:lnTo>
                    <a:pt x="827" y="388"/>
                  </a:lnTo>
                  <a:lnTo>
                    <a:pt x="827" y="390"/>
                  </a:lnTo>
                  <a:lnTo>
                    <a:pt x="830" y="390"/>
                  </a:lnTo>
                  <a:lnTo>
                    <a:pt x="834" y="390"/>
                  </a:lnTo>
                  <a:lnTo>
                    <a:pt x="834" y="390"/>
                  </a:lnTo>
                  <a:lnTo>
                    <a:pt x="839" y="390"/>
                  </a:lnTo>
                  <a:lnTo>
                    <a:pt x="841" y="390"/>
                  </a:lnTo>
                  <a:lnTo>
                    <a:pt x="842" y="392"/>
                  </a:lnTo>
                  <a:lnTo>
                    <a:pt x="841" y="394"/>
                  </a:lnTo>
                  <a:lnTo>
                    <a:pt x="841" y="400"/>
                  </a:lnTo>
                  <a:lnTo>
                    <a:pt x="839" y="404"/>
                  </a:lnTo>
                  <a:lnTo>
                    <a:pt x="841" y="409"/>
                  </a:lnTo>
                  <a:lnTo>
                    <a:pt x="841" y="409"/>
                  </a:lnTo>
                  <a:lnTo>
                    <a:pt x="841" y="414"/>
                  </a:lnTo>
                  <a:lnTo>
                    <a:pt x="841" y="416"/>
                  </a:lnTo>
                  <a:lnTo>
                    <a:pt x="839" y="416"/>
                  </a:lnTo>
                  <a:lnTo>
                    <a:pt x="834" y="414"/>
                  </a:lnTo>
                  <a:lnTo>
                    <a:pt x="832" y="416"/>
                  </a:lnTo>
                  <a:lnTo>
                    <a:pt x="828" y="418"/>
                  </a:lnTo>
                  <a:lnTo>
                    <a:pt x="828" y="418"/>
                  </a:lnTo>
                  <a:lnTo>
                    <a:pt x="827" y="420"/>
                  </a:lnTo>
                  <a:lnTo>
                    <a:pt x="823" y="418"/>
                  </a:lnTo>
                  <a:lnTo>
                    <a:pt x="818" y="418"/>
                  </a:lnTo>
                  <a:lnTo>
                    <a:pt x="813" y="418"/>
                  </a:lnTo>
                  <a:lnTo>
                    <a:pt x="806" y="420"/>
                  </a:lnTo>
                  <a:lnTo>
                    <a:pt x="806" y="420"/>
                  </a:lnTo>
                  <a:lnTo>
                    <a:pt x="800" y="421"/>
                  </a:lnTo>
                  <a:lnTo>
                    <a:pt x="795" y="421"/>
                  </a:lnTo>
                  <a:lnTo>
                    <a:pt x="792" y="420"/>
                  </a:lnTo>
                  <a:lnTo>
                    <a:pt x="790" y="418"/>
                  </a:lnTo>
                  <a:lnTo>
                    <a:pt x="787" y="416"/>
                  </a:lnTo>
                  <a:lnTo>
                    <a:pt x="783" y="416"/>
                  </a:lnTo>
                  <a:lnTo>
                    <a:pt x="780" y="416"/>
                  </a:lnTo>
                  <a:lnTo>
                    <a:pt x="773" y="420"/>
                  </a:lnTo>
                  <a:lnTo>
                    <a:pt x="773" y="420"/>
                  </a:lnTo>
                  <a:lnTo>
                    <a:pt x="766" y="421"/>
                  </a:lnTo>
                  <a:lnTo>
                    <a:pt x="760" y="421"/>
                  </a:lnTo>
                  <a:lnTo>
                    <a:pt x="757" y="421"/>
                  </a:lnTo>
                  <a:lnTo>
                    <a:pt x="755" y="420"/>
                  </a:lnTo>
                  <a:lnTo>
                    <a:pt x="750" y="416"/>
                  </a:lnTo>
                  <a:lnTo>
                    <a:pt x="746" y="416"/>
                  </a:lnTo>
                  <a:lnTo>
                    <a:pt x="745" y="416"/>
                  </a:lnTo>
                  <a:lnTo>
                    <a:pt x="745" y="416"/>
                  </a:lnTo>
                  <a:lnTo>
                    <a:pt x="741" y="416"/>
                  </a:lnTo>
                  <a:lnTo>
                    <a:pt x="736" y="416"/>
                  </a:lnTo>
                  <a:lnTo>
                    <a:pt x="729" y="409"/>
                  </a:lnTo>
                  <a:lnTo>
                    <a:pt x="726" y="406"/>
                  </a:lnTo>
                  <a:lnTo>
                    <a:pt x="726" y="402"/>
                  </a:lnTo>
                  <a:lnTo>
                    <a:pt x="726" y="399"/>
                  </a:lnTo>
                  <a:lnTo>
                    <a:pt x="729" y="395"/>
                  </a:lnTo>
                  <a:lnTo>
                    <a:pt x="729" y="395"/>
                  </a:lnTo>
                  <a:lnTo>
                    <a:pt x="727" y="388"/>
                  </a:lnTo>
                  <a:lnTo>
                    <a:pt x="727" y="381"/>
                  </a:lnTo>
                  <a:lnTo>
                    <a:pt x="729" y="367"/>
                  </a:lnTo>
                  <a:lnTo>
                    <a:pt x="727" y="364"/>
                  </a:lnTo>
                  <a:lnTo>
                    <a:pt x="726" y="362"/>
                  </a:lnTo>
                  <a:lnTo>
                    <a:pt x="724" y="362"/>
                  </a:lnTo>
                  <a:lnTo>
                    <a:pt x="715" y="364"/>
                  </a:lnTo>
                  <a:lnTo>
                    <a:pt x="703" y="371"/>
                  </a:lnTo>
                  <a:lnTo>
                    <a:pt x="703" y="371"/>
                  </a:lnTo>
                  <a:lnTo>
                    <a:pt x="705" y="373"/>
                  </a:lnTo>
                  <a:lnTo>
                    <a:pt x="705" y="374"/>
                  </a:lnTo>
                  <a:lnTo>
                    <a:pt x="705" y="380"/>
                  </a:lnTo>
                  <a:lnTo>
                    <a:pt x="699" y="388"/>
                  </a:lnTo>
                  <a:lnTo>
                    <a:pt x="699" y="388"/>
                  </a:lnTo>
                  <a:lnTo>
                    <a:pt x="698" y="395"/>
                  </a:lnTo>
                  <a:lnTo>
                    <a:pt x="698" y="400"/>
                  </a:lnTo>
                  <a:lnTo>
                    <a:pt x="701" y="409"/>
                  </a:lnTo>
                  <a:lnTo>
                    <a:pt x="705" y="418"/>
                  </a:lnTo>
                  <a:lnTo>
                    <a:pt x="705" y="423"/>
                  </a:lnTo>
                  <a:lnTo>
                    <a:pt x="703" y="428"/>
                  </a:lnTo>
                  <a:lnTo>
                    <a:pt x="703" y="428"/>
                  </a:lnTo>
                  <a:lnTo>
                    <a:pt x="699" y="437"/>
                  </a:lnTo>
                  <a:lnTo>
                    <a:pt x="698" y="437"/>
                  </a:lnTo>
                  <a:lnTo>
                    <a:pt x="698" y="437"/>
                  </a:lnTo>
                  <a:lnTo>
                    <a:pt x="691" y="437"/>
                  </a:lnTo>
                  <a:lnTo>
                    <a:pt x="680" y="437"/>
                  </a:lnTo>
                  <a:lnTo>
                    <a:pt x="680" y="437"/>
                  </a:lnTo>
                  <a:lnTo>
                    <a:pt x="673" y="437"/>
                  </a:lnTo>
                  <a:lnTo>
                    <a:pt x="670" y="437"/>
                  </a:lnTo>
                  <a:lnTo>
                    <a:pt x="666" y="435"/>
                  </a:lnTo>
                  <a:lnTo>
                    <a:pt x="666" y="434"/>
                  </a:lnTo>
                  <a:lnTo>
                    <a:pt x="665" y="430"/>
                  </a:lnTo>
                  <a:lnTo>
                    <a:pt x="663" y="430"/>
                  </a:lnTo>
                  <a:lnTo>
                    <a:pt x="658" y="432"/>
                  </a:lnTo>
                  <a:lnTo>
                    <a:pt x="658" y="432"/>
                  </a:lnTo>
                  <a:lnTo>
                    <a:pt x="654" y="435"/>
                  </a:lnTo>
                  <a:lnTo>
                    <a:pt x="649" y="434"/>
                  </a:lnTo>
                  <a:lnTo>
                    <a:pt x="642" y="430"/>
                  </a:lnTo>
                  <a:lnTo>
                    <a:pt x="635" y="425"/>
                  </a:lnTo>
                  <a:lnTo>
                    <a:pt x="630" y="425"/>
                  </a:lnTo>
                  <a:lnTo>
                    <a:pt x="625" y="427"/>
                  </a:lnTo>
                  <a:lnTo>
                    <a:pt x="625" y="427"/>
                  </a:lnTo>
                  <a:lnTo>
                    <a:pt x="621" y="428"/>
                  </a:lnTo>
                  <a:lnTo>
                    <a:pt x="619" y="427"/>
                  </a:lnTo>
                  <a:lnTo>
                    <a:pt x="618" y="425"/>
                  </a:lnTo>
                  <a:lnTo>
                    <a:pt x="618" y="423"/>
                  </a:lnTo>
                  <a:lnTo>
                    <a:pt x="616" y="418"/>
                  </a:lnTo>
                  <a:lnTo>
                    <a:pt x="612" y="416"/>
                  </a:lnTo>
                  <a:lnTo>
                    <a:pt x="609" y="418"/>
                  </a:lnTo>
                  <a:lnTo>
                    <a:pt x="609" y="418"/>
                  </a:lnTo>
                  <a:lnTo>
                    <a:pt x="602" y="420"/>
                  </a:lnTo>
                  <a:lnTo>
                    <a:pt x="600" y="420"/>
                  </a:lnTo>
                  <a:lnTo>
                    <a:pt x="597" y="418"/>
                  </a:lnTo>
                  <a:lnTo>
                    <a:pt x="590" y="413"/>
                  </a:lnTo>
                  <a:lnTo>
                    <a:pt x="590" y="413"/>
                  </a:lnTo>
                  <a:lnTo>
                    <a:pt x="585" y="411"/>
                  </a:lnTo>
                  <a:lnTo>
                    <a:pt x="581" y="409"/>
                  </a:lnTo>
                  <a:lnTo>
                    <a:pt x="581" y="406"/>
                  </a:lnTo>
                  <a:lnTo>
                    <a:pt x="581" y="404"/>
                  </a:lnTo>
                  <a:lnTo>
                    <a:pt x="581" y="400"/>
                  </a:lnTo>
                  <a:lnTo>
                    <a:pt x="579" y="397"/>
                  </a:lnTo>
                  <a:lnTo>
                    <a:pt x="576" y="394"/>
                  </a:lnTo>
                  <a:lnTo>
                    <a:pt x="571" y="390"/>
                  </a:lnTo>
                  <a:lnTo>
                    <a:pt x="571" y="390"/>
                  </a:lnTo>
                  <a:lnTo>
                    <a:pt x="565" y="388"/>
                  </a:lnTo>
                  <a:lnTo>
                    <a:pt x="560" y="388"/>
                  </a:lnTo>
                  <a:lnTo>
                    <a:pt x="558" y="388"/>
                  </a:lnTo>
                  <a:lnTo>
                    <a:pt x="557" y="390"/>
                  </a:lnTo>
                  <a:lnTo>
                    <a:pt x="555" y="394"/>
                  </a:lnTo>
                  <a:lnTo>
                    <a:pt x="553" y="394"/>
                  </a:lnTo>
                  <a:lnTo>
                    <a:pt x="550" y="392"/>
                  </a:lnTo>
                  <a:lnTo>
                    <a:pt x="550" y="392"/>
                  </a:lnTo>
                  <a:lnTo>
                    <a:pt x="545" y="390"/>
                  </a:lnTo>
                  <a:lnTo>
                    <a:pt x="539" y="388"/>
                  </a:lnTo>
                  <a:lnTo>
                    <a:pt x="527" y="390"/>
                  </a:lnTo>
                  <a:lnTo>
                    <a:pt x="522" y="390"/>
                  </a:lnTo>
                  <a:lnTo>
                    <a:pt x="518" y="388"/>
                  </a:lnTo>
                  <a:lnTo>
                    <a:pt x="515" y="387"/>
                  </a:lnTo>
                  <a:lnTo>
                    <a:pt x="511" y="381"/>
                  </a:lnTo>
                  <a:lnTo>
                    <a:pt x="511" y="381"/>
                  </a:lnTo>
                  <a:lnTo>
                    <a:pt x="510" y="376"/>
                  </a:lnTo>
                  <a:lnTo>
                    <a:pt x="508" y="378"/>
                  </a:lnTo>
                  <a:lnTo>
                    <a:pt x="506" y="380"/>
                  </a:lnTo>
                  <a:lnTo>
                    <a:pt x="503" y="380"/>
                  </a:lnTo>
                  <a:lnTo>
                    <a:pt x="501" y="378"/>
                  </a:lnTo>
                  <a:lnTo>
                    <a:pt x="496" y="374"/>
                  </a:lnTo>
                  <a:lnTo>
                    <a:pt x="496" y="374"/>
                  </a:lnTo>
                  <a:lnTo>
                    <a:pt x="491" y="371"/>
                  </a:lnTo>
                  <a:lnTo>
                    <a:pt x="489" y="369"/>
                  </a:lnTo>
                  <a:lnTo>
                    <a:pt x="485" y="369"/>
                  </a:lnTo>
                  <a:lnTo>
                    <a:pt x="484" y="369"/>
                  </a:lnTo>
                  <a:lnTo>
                    <a:pt x="480" y="369"/>
                  </a:lnTo>
                  <a:lnTo>
                    <a:pt x="477" y="366"/>
                  </a:lnTo>
                  <a:lnTo>
                    <a:pt x="470" y="360"/>
                  </a:lnTo>
                  <a:lnTo>
                    <a:pt x="470" y="360"/>
                  </a:lnTo>
                  <a:lnTo>
                    <a:pt x="449" y="341"/>
                  </a:lnTo>
                  <a:lnTo>
                    <a:pt x="440" y="334"/>
                  </a:lnTo>
                  <a:lnTo>
                    <a:pt x="437" y="333"/>
                  </a:lnTo>
                  <a:lnTo>
                    <a:pt x="435" y="336"/>
                  </a:lnTo>
                  <a:lnTo>
                    <a:pt x="435" y="336"/>
                  </a:lnTo>
                  <a:lnTo>
                    <a:pt x="435" y="338"/>
                  </a:lnTo>
                  <a:lnTo>
                    <a:pt x="431" y="338"/>
                  </a:lnTo>
                  <a:lnTo>
                    <a:pt x="428" y="336"/>
                  </a:lnTo>
                  <a:lnTo>
                    <a:pt x="424" y="333"/>
                  </a:lnTo>
                  <a:lnTo>
                    <a:pt x="421" y="329"/>
                  </a:lnTo>
                  <a:lnTo>
                    <a:pt x="419" y="324"/>
                  </a:lnTo>
                  <a:lnTo>
                    <a:pt x="419" y="319"/>
                  </a:lnTo>
                  <a:lnTo>
                    <a:pt x="421" y="315"/>
                  </a:lnTo>
                  <a:lnTo>
                    <a:pt x="421" y="315"/>
                  </a:lnTo>
                  <a:lnTo>
                    <a:pt x="424" y="313"/>
                  </a:lnTo>
                  <a:lnTo>
                    <a:pt x="424" y="310"/>
                  </a:lnTo>
                  <a:lnTo>
                    <a:pt x="424" y="306"/>
                  </a:lnTo>
                  <a:lnTo>
                    <a:pt x="423" y="303"/>
                  </a:lnTo>
                  <a:lnTo>
                    <a:pt x="424" y="301"/>
                  </a:lnTo>
                  <a:lnTo>
                    <a:pt x="426" y="298"/>
                  </a:lnTo>
                  <a:lnTo>
                    <a:pt x="426" y="298"/>
                  </a:lnTo>
                  <a:lnTo>
                    <a:pt x="430" y="296"/>
                  </a:lnTo>
                  <a:lnTo>
                    <a:pt x="430" y="293"/>
                  </a:lnTo>
                  <a:lnTo>
                    <a:pt x="431" y="286"/>
                  </a:lnTo>
                  <a:lnTo>
                    <a:pt x="433" y="282"/>
                  </a:lnTo>
                  <a:lnTo>
                    <a:pt x="437" y="279"/>
                  </a:lnTo>
                  <a:lnTo>
                    <a:pt x="444" y="272"/>
                  </a:lnTo>
                  <a:lnTo>
                    <a:pt x="452" y="265"/>
                  </a:lnTo>
                  <a:lnTo>
                    <a:pt x="452" y="265"/>
                  </a:lnTo>
                  <a:lnTo>
                    <a:pt x="449" y="259"/>
                  </a:lnTo>
                  <a:lnTo>
                    <a:pt x="440" y="252"/>
                  </a:lnTo>
                  <a:lnTo>
                    <a:pt x="430" y="246"/>
                  </a:lnTo>
                  <a:lnTo>
                    <a:pt x="419" y="235"/>
                  </a:lnTo>
                  <a:lnTo>
                    <a:pt x="419" y="235"/>
                  </a:lnTo>
                  <a:lnTo>
                    <a:pt x="414" y="232"/>
                  </a:lnTo>
                  <a:lnTo>
                    <a:pt x="410" y="230"/>
                  </a:lnTo>
                  <a:lnTo>
                    <a:pt x="407" y="232"/>
                  </a:lnTo>
                  <a:lnTo>
                    <a:pt x="403" y="232"/>
                  </a:lnTo>
                  <a:lnTo>
                    <a:pt x="400" y="230"/>
                  </a:lnTo>
                  <a:lnTo>
                    <a:pt x="397" y="225"/>
                  </a:lnTo>
                  <a:lnTo>
                    <a:pt x="391" y="218"/>
                  </a:lnTo>
                  <a:lnTo>
                    <a:pt x="391" y="218"/>
                  </a:lnTo>
                  <a:lnTo>
                    <a:pt x="388" y="212"/>
                  </a:lnTo>
                  <a:lnTo>
                    <a:pt x="384" y="211"/>
                  </a:lnTo>
                  <a:lnTo>
                    <a:pt x="381" y="212"/>
                  </a:lnTo>
                  <a:lnTo>
                    <a:pt x="379" y="212"/>
                  </a:lnTo>
                  <a:lnTo>
                    <a:pt x="376" y="214"/>
                  </a:lnTo>
                  <a:lnTo>
                    <a:pt x="374" y="214"/>
                  </a:lnTo>
                  <a:lnTo>
                    <a:pt x="374" y="212"/>
                  </a:lnTo>
                  <a:lnTo>
                    <a:pt x="374" y="207"/>
                  </a:lnTo>
                  <a:lnTo>
                    <a:pt x="374" y="207"/>
                  </a:lnTo>
                  <a:lnTo>
                    <a:pt x="374" y="195"/>
                  </a:lnTo>
                  <a:lnTo>
                    <a:pt x="372" y="185"/>
                  </a:lnTo>
                  <a:lnTo>
                    <a:pt x="369" y="174"/>
                  </a:lnTo>
                  <a:lnTo>
                    <a:pt x="363" y="165"/>
                  </a:lnTo>
                  <a:lnTo>
                    <a:pt x="363" y="165"/>
                  </a:lnTo>
                  <a:lnTo>
                    <a:pt x="362" y="162"/>
                  </a:lnTo>
                  <a:lnTo>
                    <a:pt x="362" y="158"/>
                  </a:lnTo>
                  <a:lnTo>
                    <a:pt x="363" y="157"/>
                  </a:lnTo>
                  <a:lnTo>
                    <a:pt x="365" y="157"/>
                  </a:lnTo>
                  <a:lnTo>
                    <a:pt x="370" y="157"/>
                  </a:lnTo>
                  <a:lnTo>
                    <a:pt x="374" y="158"/>
                  </a:lnTo>
                  <a:lnTo>
                    <a:pt x="376" y="160"/>
                  </a:lnTo>
                  <a:lnTo>
                    <a:pt x="376" y="160"/>
                  </a:lnTo>
                  <a:lnTo>
                    <a:pt x="381" y="167"/>
                  </a:lnTo>
                  <a:lnTo>
                    <a:pt x="383" y="167"/>
                  </a:lnTo>
                  <a:lnTo>
                    <a:pt x="384" y="165"/>
                  </a:lnTo>
                  <a:lnTo>
                    <a:pt x="388" y="164"/>
                  </a:lnTo>
                  <a:lnTo>
                    <a:pt x="393" y="160"/>
                  </a:lnTo>
                  <a:lnTo>
                    <a:pt x="393" y="160"/>
                  </a:lnTo>
                  <a:lnTo>
                    <a:pt x="398" y="157"/>
                  </a:lnTo>
                  <a:lnTo>
                    <a:pt x="400" y="153"/>
                  </a:lnTo>
                  <a:lnTo>
                    <a:pt x="400" y="150"/>
                  </a:lnTo>
                  <a:lnTo>
                    <a:pt x="400" y="146"/>
                  </a:lnTo>
                  <a:lnTo>
                    <a:pt x="397" y="139"/>
                  </a:lnTo>
                  <a:lnTo>
                    <a:pt x="395" y="136"/>
                  </a:lnTo>
                  <a:lnTo>
                    <a:pt x="395" y="132"/>
                  </a:lnTo>
                  <a:lnTo>
                    <a:pt x="395" y="132"/>
                  </a:lnTo>
                  <a:lnTo>
                    <a:pt x="395" y="131"/>
                  </a:lnTo>
                  <a:lnTo>
                    <a:pt x="391" y="129"/>
                  </a:lnTo>
                  <a:lnTo>
                    <a:pt x="384" y="125"/>
                  </a:lnTo>
                  <a:lnTo>
                    <a:pt x="381" y="124"/>
                  </a:lnTo>
                  <a:lnTo>
                    <a:pt x="379" y="120"/>
                  </a:lnTo>
                  <a:lnTo>
                    <a:pt x="379" y="117"/>
                  </a:lnTo>
                  <a:lnTo>
                    <a:pt x="381" y="110"/>
                  </a:lnTo>
                  <a:lnTo>
                    <a:pt x="381" y="110"/>
                  </a:lnTo>
                  <a:lnTo>
                    <a:pt x="383" y="106"/>
                  </a:lnTo>
                  <a:lnTo>
                    <a:pt x="381" y="103"/>
                  </a:lnTo>
                  <a:lnTo>
                    <a:pt x="379" y="96"/>
                  </a:lnTo>
                  <a:lnTo>
                    <a:pt x="377" y="94"/>
                  </a:lnTo>
                  <a:lnTo>
                    <a:pt x="379" y="92"/>
                  </a:lnTo>
                  <a:lnTo>
                    <a:pt x="383" y="91"/>
                  </a:lnTo>
                  <a:lnTo>
                    <a:pt x="390" y="91"/>
                  </a:lnTo>
                  <a:lnTo>
                    <a:pt x="390" y="91"/>
                  </a:lnTo>
                  <a:lnTo>
                    <a:pt x="397" y="89"/>
                  </a:lnTo>
                  <a:lnTo>
                    <a:pt x="400" y="87"/>
                  </a:lnTo>
                  <a:lnTo>
                    <a:pt x="402" y="85"/>
                  </a:lnTo>
                  <a:lnTo>
                    <a:pt x="402" y="82"/>
                  </a:lnTo>
                  <a:lnTo>
                    <a:pt x="402" y="78"/>
                  </a:lnTo>
                  <a:lnTo>
                    <a:pt x="403" y="73"/>
                  </a:lnTo>
                  <a:lnTo>
                    <a:pt x="409" y="68"/>
                  </a:lnTo>
                  <a:lnTo>
                    <a:pt x="416" y="61"/>
                  </a:lnTo>
                  <a:lnTo>
                    <a:pt x="416" y="61"/>
                  </a:lnTo>
                  <a:lnTo>
                    <a:pt x="421" y="57"/>
                  </a:lnTo>
                  <a:lnTo>
                    <a:pt x="424" y="54"/>
                  </a:lnTo>
                  <a:lnTo>
                    <a:pt x="424" y="51"/>
                  </a:lnTo>
                  <a:lnTo>
                    <a:pt x="426" y="47"/>
                  </a:lnTo>
                  <a:lnTo>
                    <a:pt x="424" y="42"/>
                  </a:lnTo>
                  <a:lnTo>
                    <a:pt x="426" y="38"/>
                  </a:lnTo>
                  <a:lnTo>
                    <a:pt x="428" y="33"/>
                  </a:lnTo>
                  <a:lnTo>
                    <a:pt x="428" y="33"/>
                  </a:lnTo>
                  <a:lnTo>
                    <a:pt x="430" y="28"/>
                  </a:lnTo>
                  <a:lnTo>
                    <a:pt x="431" y="24"/>
                  </a:lnTo>
                  <a:lnTo>
                    <a:pt x="430" y="21"/>
                  </a:lnTo>
                  <a:lnTo>
                    <a:pt x="430" y="19"/>
                  </a:lnTo>
                  <a:lnTo>
                    <a:pt x="426" y="19"/>
                  </a:lnTo>
                  <a:lnTo>
                    <a:pt x="423" y="23"/>
                  </a:lnTo>
                  <a:lnTo>
                    <a:pt x="423" y="23"/>
                  </a:lnTo>
                  <a:lnTo>
                    <a:pt x="421" y="24"/>
                  </a:lnTo>
                  <a:lnTo>
                    <a:pt x="419" y="24"/>
                  </a:lnTo>
                  <a:lnTo>
                    <a:pt x="417" y="21"/>
                  </a:lnTo>
                  <a:lnTo>
                    <a:pt x="416" y="17"/>
                  </a:lnTo>
                  <a:lnTo>
                    <a:pt x="414" y="16"/>
                  </a:lnTo>
                  <a:lnTo>
                    <a:pt x="414" y="16"/>
                  </a:lnTo>
                  <a:lnTo>
                    <a:pt x="410" y="17"/>
                  </a:lnTo>
                  <a:lnTo>
                    <a:pt x="409" y="16"/>
                  </a:lnTo>
                  <a:lnTo>
                    <a:pt x="405" y="9"/>
                  </a:lnTo>
                  <a:lnTo>
                    <a:pt x="402" y="5"/>
                  </a:lnTo>
                  <a:lnTo>
                    <a:pt x="398" y="2"/>
                  </a:lnTo>
                  <a:lnTo>
                    <a:pt x="393" y="0"/>
                  </a:lnTo>
                  <a:lnTo>
                    <a:pt x="384" y="0"/>
                  </a:lnTo>
                  <a:lnTo>
                    <a:pt x="384" y="0"/>
                  </a:lnTo>
                  <a:lnTo>
                    <a:pt x="376" y="4"/>
                  </a:lnTo>
                  <a:lnTo>
                    <a:pt x="369" y="5"/>
                  </a:lnTo>
                  <a:lnTo>
                    <a:pt x="362" y="10"/>
                  </a:lnTo>
                  <a:lnTo>
                    <a:pt x="355" y="16"/>
                  </a:lnTo>
                  <a:lnTo>
                    <a:pt x="350" y="17"/>
                  </a:lnTo>
                  <a:lnTo>
                    <a:pt x="343" y="21"/>
                  </a:lnTo>
                  <a:lnTo>
                    <a:pt x="337" y="23"/>
                  </a:lnTo>
                  <a:lnTo>
                    <a:pt x="337" y="23"/>
                  </a:lnTo>
                  <a:lnTo>
                    <a:pt x="327" y="28"/>
                  </a:lnTo>
                  <a:lnTo>
                    <a:pt x="320" y="35"/>
                  </a:lnTo>
                  <a:lnTo>
                    <a:pt x="315" y="42"/>
                  </a:lnTo>
                  <a:lnTo>
                    <a:pt x="313" y="47"/>
                  </a:lnTo>
                  <a:lnTo>
                    <a:pt x="311" y="52"/>
                  </a:lnTo>
                  <a:lnTo>
                    <a:pt x="308" y="56"/>
                  </a:lnTo>
                  <a:lnTo>
                    <a:pt x="304" y="57"/>
                  </a:lnTo>
                  <a:lnTo>
                    <a:pt x="299" y="56"/>
                  </a:lnTo>
                  <a:lnTo>
                    <a:pt x="299" y="56"/>
                  </a:lnTo>
                  <a:lnTo>
                    <a:pt x="294" y="56"/>
                  </a:lnTo>
                  <a:lnTo>
                    <a:pt x="289" y="57"/>
                  </a:lnTo>
                  <a:lnTo>
                    <a:pt x="278" y="63"/>
                  </a:lnTo>
                  <a:lnTo>
                    <a:pt x="273" y="66"/>
                  </a:lnTo>
                  <a:lnTo>
                    <a:pt x="266" y="68"/>
                  </a:lnTo>
                  <a:lnTo>
                    <a:pt x="261" y="68"/>
                  </a:lnTo>
                  <a:lnTo>
                    <a:pt x="252" y="66"/>
                  </a:lnTo>
                  <a:lnTo>
                    <a:pt x="252" y="66"/>
                  </a:lnTo>
                  <a:lnTo>
                    <a:pt x="238" y="61"/>
                  </a:lnTo>
                  <a:lnTo>
                    <a:pt x="226" y="57"/>
                  </a:lnTo>
                  <a:lnTo>
                    <a:pt x="215" y="57"/>
                  </a:lnTo>
                  <a:lnTo>
                    <a:pt x="207" y="59"/>
                  </a:lnTo>
                  <a:lnTo>
                    <a:pt x="201" y="63"/>
                  </a:lnTo>
                  <a:lnTo>
                    <a:pt x="198" y="66"/>
                  </a:lnTo>
                  <a:lnTo>
                    <a:pt x="198" y="71"/>
                  </a:lnTo>
                  <a:lnTo>
                    <a:pt x="201" y="75"/>
                  </a:lnTo>
                  <a:lnTo>
                    <a:pt x="201" y="75"/>
                  </a:lnTo>
                  <a:lnTo>
                    <a:pt x="205" y="80"/>
                  </a:lnTo>
                  <a:lnTo>
                    <a:pt x="205" y="82"/>
                  </a:lnTo>
                  <a:lnTo>
                    <a:pt x="203" y="85"/>
                  </a:lnTo>
                  <a:lnTo>
                    <a:pt x="201" y="87"/>
                  </a:lnTo>
                  <a:lnTo>
                    <a:pt x="200" y="87"/>
                  </a:lnTo>
                  <a:lnTo>
                    <a:pt x="201" y="89"/>
                  </a:lnTo>
                  <a:lnTo>
                    <a:pt x="210" y="91"/>
                  </a:lnTo>
                  <a:lnTo>
                    <a:pt x="210" y="91"/>
                  </a:lnTo>
                  <a:lnTo>
                    <a:pt x="217" y="91"/>
                  </a:lnTo>
                  <a:lnTo>
                    <a:pt x="219" y="92"/>
                  </a:lnTo>
                  <a:lnTo>
                    <a:pt x="214" y="96"/>
                  </a:lnTo>
                  <a:lnTo>
                    <a:pt x="208" y="98"/>
                  </a:lnTo>
                  <a:lnTo>
                    <a:pt x="205" y="99"/>
                  </a:lnTo>
                  <a:lnTo>
                    <a:pt x="205" y="103"/>
                  </a:lnTo>
                  <a:lnTo>
                    <a:pt x="208" y="108"/>
                  </a:lnTo>
                  <a:lnTo>
                    <a:pt x="208" y="108"/>
                  </a:lnTo>
                  <a:lnTo>
                    <a:pt x="212" y="111"/>
                  </a:lnTo>
                  <a:lnTo>
                    <a:pt x="214" y="115"/>
                  </a:lnTo>
                  <a:lnTo>
                    <a:pt x="212" y="118"/>
                  </a:lnTo>
                  <a:lnTo>
                    <a:pt x="210" y="120"/>
                  </a:lnTo>
                  <a:lnTo>
                    <a:pt x="207" y="122"/>
                  </a:lnTo>
                  <a:lnTo>
                    <a:pt x="207" y="125"/>
                  </a:lnTo>
                  <a:lnTo>
                    <a:pt x="207" y="127"/>
                  </a:lnTo>
                  <a:lnTo>
                    <a:pt x="210" y="131"/>
                  </a:lnTo>
                  <a:lnTo>
                    <a:pt x="210" y="131"/>
                  </a:lnTo>
                  <a:lnTo>
                    <a:pt x="214" y="134"/>
                  </a:lnTo>
                  <a:lnTo>
                    <a:pt x="217" y="138"/>
                  </a:lnTo>
                  <a:lnTo>
                    <a:pt x="219" y="145"/>
                  </a:lnTo>
                  <a:lnTo>
                    <a:pt x="221" y="146"/>
                  </a:lnTo>
                  <a:lnTo>
                    <a:pt x="226" y="146"/>
                  </a:lnTo>
                  <a:lnTo>
                    <a:pt x="226" y="146"/>
                  </a:lnTo>
                  <a:lnTo>
                    <a:pt x="229" y="146"/>
                  </a:lnTo>
                  <a:lnTo>
                    <a:pt x="231" y="148"/>
                  </a:lnTo>
                  <a:lnTo>
                    <a:pt x="231" y="152"/>
                  </a:lnTo>
                  <a:lnTo>
                    <a:pt x="229" y="155"/>
                  </a:lnTo>
                  <a:lnTo>
                    <a:pt x="229" y="157"/>
                  </a:lnTo>
                  <a:lnTo>
                    <a:pt x="231" y="160"/>
                  </a:lnTo>
                  <a:lnTo>
                    <a:pt x="235" y="162"/>
                  </a:lnTo>
                  <a:lnTo>
                    <a:pt x="235" y="162"/>
                  </a:lnTo>
                  <a:lnTo>
                    <a:pt x="249" y="165"/>
                  </a:lnTo>
                  <a:lnTo>
                    <a:pt x="254" y="167"/>
                  </a:lnTo>
                  <a:lnTo>
                    <a:pt x="255" y="169"/>
                  </a:lnTo>
                  <a:lnTo>
                    <a:pt x="254" y="172"/>
                  </a:lnTo>
                  <a:lnTo>
                    <a:pt x="250" y="176"/>
                  </a:lnTo>
                  <a:lnTo>
                    <a:pt x="235" y="185"/>
                  </a:lnTo>
                  <a:lnTo>
                    <a:pt x="235" y="185"/>
                  </a:lnTo>
                  <a:lnTo>
                    <a:pt x="226" y="188"/>
                  </a:lnTo>
                  <a:lnTo>
                    <a:pt x="224" y="192"/>
                  </a:lnTo>
                  <a:lnTo>
                    <a:pt x="224" y="197"/>
                  </a:lnTo>
                  <a:lnTo>
                    <a:pt x="224" y="200"/>
                  </a:lnTo>
                  <a:lnTo>
                    <a:pt x="226" y="207"/>
                  </a:lnTo>
                  <a:lnTo>
                    <a:pt x="226" y="216"/>
                  </a:lnTo>
                  <a:lnTo>
                    <a:pt x="221" y="228"/>
                  </a:lnTo>
                  <a:lnTo>
                    <a:pt x="210" y="242"/>
                  </a:lnTo>
                  <a:lnTo>
                    <a:pt x="210" y="242"/>
                  </a:lnTo>
                  <a:lnTo>
                    <a:pt x="207" y="251"/>
                  </a:lnTo>
                  <a:lnTo>
                    <a:pt x="205" y="258"/>
                  </a:lnTo>
                  <a:lnTo>
                    <a:pt x="205" y="261"/>
                  </a:lnTo>
                  <a:lnTo>
                    <a:pt x="205" y="265"/>
                  </a:lnTo>
                  <a:lnTo>
                    <a:pt x="207" y="266"/>
                  </a:lnTo>
                  <a:lnTo>
                    <a:pt x="205" y="268"/>
                  </a:lnTo>
                  <a:lnTo>
                    <a:pt x="196" y="272"/>
                  </a:lnTo>
                  <a:lnTo>
                    <a:pt x="196" y="272"/>
                  </a:lnTo>
                  <a:lnTo>
                    <a:pt x="188" y="275"/>
                  </a:lnTo>
                  <a:lnTo>
                    <a:pt x="182" y="282"/>
                  </a:lnTo>
                  <a:lnTo>
                    <a:pt x="179" y="289"/>
                  </a:lnTo>
                  <a:lnTo>
                    <a:pt x="177" y="298"/>
                  </a:lnTo>
                  <a:lnTo>
                    <a:pt x="174" y="306"/>
                  </a:lnTo>
                  <a:lnTo>
                    <a:pt x="172" y="313"/>
                  </a:lnTo>
                  <a:lnTo>
                    <a:pt x="167" y="319"/>
                  </a:lnTo>
                  <a:lnTo>
                    <a:pt x="160" y="324"/>
                  </a:lnTo>
                  <a:lnTo>
                    <a:pt x="160" y="324"/>
                  </a:lnTo>
                  <a:lnTo>
                    <a:pt x="154" y="326"/>
                  </a:lnTo>
                  <a:lnTo>
                    <a:pt x="149" y="329"/>
                  </a:lnTo>
                  <a:lnTo>
                    <a:pt x="148" y="333"/>
                  </a:lnTo>
                  <a:lnTo>
                    <a:pt x="146" y="338"/>
                  </a:lnTo>
                  <a:lnTo>
                    <a:pt x="144" y="345"/>
                  </a:lnTo>
                  <a:lnTo>
                    <a:pt x="142" y="348"/>
                  </a:lnTo>
                  <a:lnTo>
                    <a:pt x="139" y="352"/>
                  </a:lnTo>
                  <a:lnTo>
                    <a:pt x="139" y="352"/>
                  </a:lnTo>
                  <a:lnTo>
                    <a:pt x="135" y="355"/>
                  </a:lnTo>
                  <a:lnTo>
                    <a:pt x="135" y="357"/>
                  </a:lnTo>
                  <a:lnTo>
                    <a:pt x="134" y="364"/>
                  </a:lnTo>
                  <a:lnTo>
                    <a:pt x="132" y="367"/>
                  </a:lnTo>
                  <a:lnTo>
                    <a:pt x="130" y="369"/>
                  </a:lnTo>
                  <a:lnTo>
                    <a:pt x="127" y="369"/>
                  </a:lnTo>
                  <a:lnTo>
                    <a:pt x="127" y="369"/>
                  </a:lnTo>
                  <a:lnTo>
                    <a:pt x="113" y="373"/>
                  </a:lnTo>
                  <a:lnTo>
                    <a:pt x="102" y="376"/>
                  </a:lnTo>
                  <a:lnTo>
                    <a:pt x="99" y="376"/>
                  </a:lnTo>
                  <a:lnTo>
                    <a:pt x="95" y="376"/>
                  </a:lnTo>
                  <a:lnTo>
                    <a:pt x="92" y="373"/>
                  </a:lnTo>
                  <a:lnTo>
                    <a:pt x="88" y="369"/>
                  </a:lnTo>
                  <a:lnTo>
                    <a:pt x="88" y="369"/>
                  </a:lnTo>
                  <a:lnTo>
                    <a:pt x="85" y="364"/>
                  </a:lnTo>
                  <a:lnTo>
                    <a:pt x="80" y="362"/>
                  </a:lnTo>
                  <a:lnTo>
                    <a:pt x="76" y="364"/>
                  </a:lnTo>
                  <a:lnTo>
                    <a:pt x="74" y="367"/>
                  </a:lnTo>
                  <a:lnTo>
                    <a:pt x="67" y="378"/>
                  </a:lnTo>
                  <a:lnTo>
                    <a:pt x="60" y="390"/>
                  </a:lnTo>
                  <a:lnTo>
                    <a:pt x="60" y="390"/>
                  </a:lnTo>
                  <a:lnTo>
                    <a:pt x="52" y="402"/>
                  </a:lnTo>
                  <a:lnTo>
                    <a:pt x="48" y="407"/>
                  </a:lnTo>
                  <a:lnTo>
                    <a:pt x="47" y="413"/>
                  </a:lnTo>
                  <a:lnTo>
                    <a:pt x="45" y="416"/>
                  </a:lnTo>
                  <a:lnTo>
                    <a:pt x="47" y="421"/>
                  </a:lnTo>
                  <a:lnTo>
                    <a:pt x="52" y="423"/>
                  </a:lnTo>
                  <a:lnTo>
                    <a:pt x="60" y="427"/>
                  </a:lnTo>
                  <a:lnTo>
                    <a:pt x="60" y="427"/>
                  </a:lnTo>
                  <a:lnTo>
                    <a:pt x="64" y="427"/>
                  </a:lnTo>
                  <a:lnTo>
                    <a:pt x="67" y="428"/>
                  </a:lnTo>
                  <a:lnTo>
                    <a:pt x="69" y="432"/>
                  </a:lnTo>
                  <a:lnTo>
                    <a:pt x="71" y="434"/>
                  </a:lnTo>
                  <a:lnTo>
                    <a:pt x="71" y="441"/>
                  </a:lnTo>
                  <a:lnTo>
                    <a:pt x="69" y="447"/>
                  </a:lnTo>
                  <a:lnTo>
                    <a:pt x="69" y="454"/>
                  </a:lnTo>
                  <a:lnTo>
                    <a:pt x="69" y="460"/>
                  </a:lnTo>
                  <a:lnTo>
                    <a:pt x="71" y="463"/>
                  </a:lnTo>
                  <a:lnTo>
                    <a:pt x="74" y="465"/>
                  </a:lnTo>
                  <a:lnTo>
                    <a:pt x="83" y="467"/>
                  </a:lnTo>
                  <a:lnTo>
                    <a:pt x="83" y="467"/>
                  </a:lnTo>
                  <a:lnTo>
                    <a:pt x="90" y="468"/>
                  </a:lnTo>
                  <a:lnTo>
                    <a:pt x="90" y="474"/>
                  </a:lnTo>
                  <a:lnTo>
                    <a:pt x="88" y="477"/>
                  </a:lnTo>
                  <a:lnTo>
                    <a:pt x="90" y="482"/>
                  </a:lnTo>
                  <a:lnTo>
                    <a:pt x="94" y="491"/>
                  </a:lnTo>
                  <a:lnTo>
                    <a:pt x="101" y="501"/>
                  </a:lnTo>
                  <a:lnTo>
                    <a:pt x="101" y="501"/>
                  </a:lnTo>
                  <a:lnTo>
                    <a:pt x="102" y="507"/>
                  </a:lnTo>
                  <a:lnTo>
                    <a:pt x="104" y="510"/>
                  </a:lnTo>
                  <a:lnTo>
                    <a:pt x="102" y="515"/>
                  </a:lnTo>
                  <a:lnTo>
                    <a:pt x="101" y="521"/>
                  </a:lnTo>
                  <a:lnTo>
                    <a:pt x="101" y="522"/>
                  </a:lnTo>
                  <a:lnTo>
                    <a:pt x="102" y="524"/>
                  </a:lnTo>
                  <a:lnTo>
                    <a:pt x="102" y="524"/>
                  </a:lnTo>
                  <a:lnTo>
                    <a:pt x="102" y="526"/>
                  </a:lnTo>
                  <a:lnTo>
                    <a:pt x="102" y="528"/>
                  </a:lnTo>
                  <a:lnTo>
                    <a:pt x="97" y="531"/>
                  </a:lnTo>
                  <a:lnTo>
                    <a:pt x="90" y="533"/>
                  </a:lnTo>
                  <a:lnTo>
                    <a:pt x="87" y="531"/>
                  </a:lnTo>
                  <a:lnTo>
                    <a:pt x="85" y="529"/>
                  </a:lnTo>
                  <a:lnTo>
                    <a:pt x="85" y="529"/>
                  </a:lnTo>
                  <a:lnTo>
                    <a:pt x="85" y="526"/>
                  </a:lnTo>
                  <a:lnTo>
                    <a:pt x="83" y="524"/>
                  </a:lnTo>
                  <a:lnTo>
                    <a:pt x="81" y="524"/>
                  </a:lnTo>
                  <a:lnTo>
                    <a:pt x="80" y="524"/>
                  </a:lnTo>
                  <a:lnTo>
                    <a:pt x="73" y="528"/>
                  </a:lnTo>
                  <a:lnTo>
                    <a:pt x="67" y="533"/>
                  </a:lnTo>
                  <a:lnTo>
                    <a:pt x="67" y="533"/>
                  </a:lnTo>
                  <a:lnTo>
                    <a:pt x="64" y="536"/>
                  </a:lnTo>
                  <a:lnTo>
                    <a:pt x="62" y="536"/>
                  </a:lnTo>
                  <a:lnTo>
                    <a:pt x="59" y="535"/>
                  </a:lnTo>
                  <a:lnTo>
                    <a:pt x="53" y="531"/>
                  </a:lnTo>
                  <a:lnTo>
                    <a:pt x="48" y="529"/>
                  </a:lnTo>
                  <a:lnTo>
                    <a:pt x="43" y="531"/>
                  </a:lnTo>
                  <a:lnTo>
                    <a:pt x="43" y="531"/>
                  </a:lnTo>
                  <a:lnTo>
                    <a:pt x="34" y="531"/>
                  </a:lnTo>
                  <a:lnTo>
                    <a:pt x="27" y="529"/>
                  </a:lnTo>
                  <a:lnTo>
                    <a:pt x="24" y="529"/>
                  </a:lnTo>
                  <a:lnTo>
                    <a:pt x="22" y="531"/>
                  </a:lnTo>
                  <a:lnTo>
                    <a:pt x="22" y="533"/>
                  </a:lnTo>
                  <a:lnTo>
                    <a:pt x="22" y="538"/>
                  </a:lnTo>
                  <a:lnTo>
                    <a:pt x="22" y="538"/>
                  </a:lnTo>
                  <a:lnTo>
                    <a:pt x="22" y="543"/>
                  </a:lnTo>
                  <a:lnTo>
                    <a:pt x="20" y="545"/>
                  </a:lnTo>
                  <a:lnTo>
                    <a:pt x="17" y="547"/>
                  </a:lnTo>
                  <a:lnTo>
                    <a:pt x="13" y="547"/>
                  </a:lnTo>
                  <a:lnTo>
                    <a:pt x="10" y="548"/>
                  </a:lnTo>
                  <a:lnTo>
                    <a:pt x="5" y="548"/>
                  </a:lnTo>
                  <a:lnTo>
                    <a:pt x="1" y="552"/>
                  </a:lnTo>
                  <a:lnTo>
                    <a:pt x="0" y="557"/>
                  </a:lnTo>
                  <a:lnTo>
                    <a:pt x="0" y="55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4" name="Freeform 1739">
              <a:extLst>
                <a:ext uri="{FF2B5EF4-FFF2-40B4-BE49-F238E27FC236}">
                  <a16:creationId xmlns:a16="http://schemas.microsoft.com/office/drawing/2014/main" id="{68F8473E-ED9A-45B9-94F6-253054FBAC9A}"/>
                </a:ext>
              </a:extLst>
            </p:cNvPr>
            <p:cNvSpPr>
              <a:spLocks/>
            </p:cNvSpPr>
            <p:nvPr/>
          </p:nvSpPr>
          <p:spPr bwMode="auto">
            <a:xfrm>
              <a:off x="6423587" y="3160325"/>
              <a:ext cx="399975" cy="336543"/>
            </a:xfrm>
            <a:custGeom>
              <a:avLst/>
              <a:gdLst/>
              <a:ahLst/>
              <a:cxnLst>
                <a:cxn ang="0">
                  <a:pos x="14" y="176"/>
                </a:cxn>
                <a:cxn ang="0">
                  <a:pos x="2" y="213"/>
                </a:cxn>
                <a:cxn ang="0">
                  <a:pos x="13" y="312"/>
                </a:cxn>
                <a:cxn ang="0">
                  <a:pos x="30" y="328"/>
                </a:cxn>
                <a:cxn ang="0">
                  <a:pos x="49" y="335"/>
                </a:cxn>
                <a:cxn ang="0">
                  <a:pos x="39" y="366"/>
                </a:cxn>
                <a:cxn ang="0">
                  <a:pos x="14" y="397"/>
                </a:cxn>
                <a:cxn ang="0">
                  <a:pos x="84" y="420"/>
                </a:cxn>
                <a:cxn ang="0">
                  <a:pos x="185" y="403"/>
                </a:cxn>
                <a:cxn ang="0">
                  <a:pos x="206" y="371"/>
                </a:cxn>
                <a:cxn ang="0">
                  <a:pos x="225" y="340"/>
                </a:cxn>
                <a:cxn ang="0">
                  <a:pos x="270" y="312"/>
                </a:cxn>
                <a:cxn ang="0">
                  <a:pos x="302" y="316"/>
                </a:cxn>
                <a:cxn ang="0">
                  <a:pos x="309" y="296"/>
                </a:cxn>
                <a:cxn ang="0">
                  <a:pos x="322" y="251"/>
                </a:cxn>
                <a:cxn ang="0">
                  <a:pos x="343" y="234"/>
                </a:cxn>
                <a:cxn ang="0">
                  <a:pos x="333" y="208"/>
                </a:cxn>
                <a:cxn ang="0">
                  <a:pos x="368" y="208"/>
                </a:cxn>
                <a:cxn ang="0">
                  <a:pos x="378" y="194"/>
                </a:cxn>
                <a:cxn ang="0">
                  <a:pos x="390" y="155"/>
                </a:cxn>
                <a:cxn ang="0">
                  <a:pos x="380" y="119"/>
                </a:cxn>
                <a:cxn ang="0">
                  <a:pos x="423" y="80"/>
                </a:cxn>
                <a:cxn ang="0">
                  <a:pos x="469" y="74"/>
                </a:cxn>
                <a:cxn ang="0">
                  <a:pos x="493" y="65"/>
                </a:cxn>
                <a:cxn ang="0">
                  <a:pos x="502" y="56"/>
                </a:cxn>
                <a:cxn ang="0">
                  <a:pos x="495" y="47"/>
                </a:cxn>
                <a:cxn ang="0">
                  <a:pos x="470" y="56"/>
                </a:cxn>
                <a:cxn ang="0">
                  <a:pos x="465" y="53"/>
                </a:cxn>
                <a:cxn ang="0">
                  <a:pos x="446" y="49"/>
                </a:cxn>
                <a:cxn ang="0">
                  <a:pos x="430" y="61"/>
                </a:cxn>
                <a:cxn ang="0">
                  <a:pos x="415" y="72"/>
                </a:cxn>
                <a:cxn ang="0">
                  <a:pos x="390" y="80"/>
                </a:cxn>
                <a:cxn ang="0">
                  <a:pos x="387" y="35"/>
                </a:cxn>
                <a:cxn ang="0">
                  <a:pos x="380" y="25"/>
                </a:cxn>
                <a:cxn ang="0">
                  <a:pos x="382" y="11"/>
                </a:cxn>
                <a:cxn ang="0">
                  <a:pos x="373" y="0"/>
                </a:cxn>
                <a:cxn ang="0">
                  <a:pos x="350" y="14"/>
                </a:cxn>
                <a:cxn ang="0">
                  <a:pos x="342" y="25"/>
                </a:cxn>
                <a:cxn ang="0">
                  <a:pos x="343" y="40"/>
                </a:cxn>
                <a:cxn ang="0">
                  <a:pos x="322" y="39"/>
                </a:cxn>
                <a:cxn ang="0">
                  <a:pos x="314" y="53"/>
                </a:cxn>
                <a:cxn ang="0">
                  <a:pos x="310" y="61"/>
                </a:cxn>
                <a:cxn ang="0">
                  <a:pos x="295" y="54"/>
                </a:cxn>
                <a:cxn ang="0">
                  <a:pos x="272" y="67"/>
                </a:cxn>
                <a:cxn ang="0">
                  <a:pos x="256" y="60"/>
                </a:cxn>
                <a:cxn ang="0">
                  <a:pos x="241" y="60"/>
                </a:cxn>
                <a:cxn ang="0">
                  <a:pos x="227" y="49"/>
                </a:cxn>
                <a:cxn ang="0">
                  <a:pos x="202" y="51"/>
                </a:cxn>
                <a:cxn ang="0">
                  <a:pos x="181" y="46"/>
                </a:cxn>
                <a:cxn ang="0">
                  <a:pos x="157" y="61"/>
                </a:cxn>
                <a:cxn ang="0">
                  <a:pos x="143" y="96"/>
                </a:cxn>
                <a:cxn ang="0">
                  <a:pos x="108" y="119"/>
                </a:cxn>
                <a:cxn ang="0">
                  <a:pos x="87" y="143"/>
                </a:cxn>
                <a:cxn ang="0">
                  <a:pos x="65" y="152"/>
                </a:cxn>
                <a:cxn ang="0">
                  <a:pos x="53" y="140"/>
                </a:cxn>
                <a:cxn ang="0">
                  <a:pos x="37" y="141"/>
                </a:cxn>
                <a:cxn ang="0">
                  <a:pos x="30" y="133"/>
                </a:cxn>
              </a:cxnLst>
              <a:rect l="0" t="0" r="r" b="b"/>
              <a:pathLst>
                <a:path w="502" h="420">
                  <a:moveTo>
                    <a:pt x="30" y="133"/>
                  </a:moveTo>
                  <a:lnTo>
                    <a:pt x="30" y="133"/>
                  </a:lnTo>
                  <a:lnTo>
                    <a:pt x="25" y="154"/>
                  </a:lnTo>
                  <a:lnTo>
                    <a:pt x="20" y="168"/>
                  </a:lnTo>
                  <a:lnTo>
                    <a:pt x="14" y="176"/>
                  </a:lnTo>
                  <a:lnTo>
                    <a:pt x="9" y="183"/>
                  </a:lnTo>
                  <a:lnTo>
                    <a:pt x="6" y="190"/>
                  </a:lnTo>
                  <a:lnTo>
                    <a:pt x="2" y="195"/>
                  </a:lnTo>
                  <a:lnTo>
                    <a:pt x="0" y="202"/>
                  </a:lnTo>
                  <a:lnTo>
                    <a:pt x="2" y="213"/>
                  </a:lnTo>
                  <a:lnTo>
                    <a:pt x="2" y="213"/>
                  </a:lnTo>
                  <a:lnTo>
                    <a:pt x="11" y="263"/>
                  </a:lnTo>
                  <a:lnTo>
                    <a:pt x="13" y="288"/>
                  </a:lnTo>
                  <a:lnTo>
                    <a:pt x="13" y="312"/>
                  </a:lnTo>
                  <a:lnTo>
                    <a:pt x="13" y="312"/>
                  </a:lnTo>
                  <a:lnTo>
                    <a:pt x="13" y="321"/>
                  </a:lnTo>
                  <a:lnTo>
                    <a:pt x="14" y="324"/>
                  </a:lnTo>
                  <a:lnTo>
                    <a:pt x="18" y="326"/>
                  </a:lnTo>
                  <a:lnTo>
                    <a:pt x="23" y="328"/>
                  </a:lnTo>
                  <a:lnTo>
                    <a:pt x="30" y="328"/>
                  </a:lnTo>
                  <a:lnTo>
                    <a:pt x="37" y="328"/>
                  </a:lnTo>
                  <a:lnTo>
                    <a:pt x="42" y="328"/>
                  </a:lnTo>
                  <a:lnTo>
                    <a:pt x="46" y="329"/>
                  </a:lnTo>
                  <a:lnTo>
                    <a:pt x="47" y="331"/>
                  </a:lnTo>
                  <a:lnTo>
                    <a:pt x="49" y="335"/>
                  </a:lnTo>
                  <a:lnTo>
                    <a:pt x="49" y="340"/>
                  </a:lnTo>
                  <a:lnTo>
                    <a:pt x="49" y="340"/>
                  </a:lnTo>
                  <a:lnTo>
                    <a:pt x="49" y="350"/>
                  </a:lnTo>
                  <a:lnTo>
                    <a:pt x="44" y="359"/>
                  </a:lnTo>
                  <a:lnTo>
                    <a:pt x="39" y="366"/>
                  </a:lnTo>
                  <a:lnTo>
                    <a:pt x="32" y="373"/>
                  </a:lnTo>
                  <a:lnTo>
                    <a:pt x="20" y="385"/>
                  </a:lnTo>
                  <a:lnTo>
                    <a:pt x="16" y="390"/>
                  </a:lnTo>
                  <a:lnTo>
                    <a:pt x="14" y="397"/>
                  </a:lnTo>
                  <a:lnTo>
                    <a:pt x="14" y="397"/>
                  </a:lnTo>
                  <a:lnTo>
                    <a:pt x="23" y="397"/>
                  </a:lnTo>
                  <a:lnTo>
                    <a:pt x="32" y="401"/>
                  </a:lnTo>
                  <a:lnTo>
                    <a:pt x="53" y="411"/>
                  </a:lnTo>
                  <a:lnTo>
                    <a:pt x="67" y="416"/>
                  </a:lnTo>
                  <a:lnTo>
                    <a:pt x="84" y="420"/>
                  </a:lnTo>
                  <a:lnTo>
                    <a:pt x="105" y="420"/>
                  </a:lnTo>
                  <a:lnTo>
                    <a:pt x="129" y="416"/>
                  </a:lnTo>
                  <a:lnTo>
                    <a:pt x="129" y="416"/>
                  </a:lnTo>
                  <a:lnTo>
                    <a:pt x="173" y="406"/>
                  </a:lnTo>
                  <a:lnTo>
                    <a:pt x="185" y="403"/>
                  </a:lnTo>
                  <a:lnTo>
                    <a:pt x="195" y="399"/>
                  </a:lnTo>
                  <a:lnTo>
                    <a:pt x="202" y="394"/>
                  </a:lnTo>
                  <a:lnTo>
                    <a:pt x="206" y="389"/>
                  </a:lnTo>
                  <a:lnTo>
                    <a:pt x="206" y="382"/>
                  </a:lnTo>
                  <a:lnTo>
                    <a:pt x="206" y="371"/>
                  </a:lnTo>
                  <a:lnTo>
                    <a:pt x="206" y="371"/>
                  </a:lnTo>
                  <a:lnTo>
                    <a:pt x="206" y="361"/>
                  </a:lnTo>
                  <a:lnTo>
                    <a:pt x="211" y="352"/>
                  </a:lnTo>
                  <a:lnTo>
                    <a:pt x="216" y="345"/>
                  </a:lnTo>
                  <a:lnTo>
                    <a:pt x="225" y="340"/>
                  </a:lnTo>
                  <a:lnTo>
                    <a:pt x="244" y="329"/>
                  </a:lnTo>
                  <a:lnTo>
                    <a:pt x="255" y="324"/>
                  </a:lnTo>
                  <a:lnTo>
                    <a:pt x="263" y="317"/>
                  </a:lnTo>
                  <a:lnTo>
                    <a:pt x="263" y="317"/>
                  </a:lnTo>
                  <a:lnTo>
                    <a:pt x="270" y="312"/>
                  </a:lnTo>
                  <a:lnTo>
                    <a:pt x="277" y="310"/>
                  </a:lnTo>
                  <a:lnTo>
                    <a:pt x="282" y="310"/>
                  </a:lnTo>
                  <a:lnTo>
                    <a:pt x="288" y="312"/>
                  </a:lnTo>
                  <a:lnTo>
                    <a:pt x="298" y="316"/>
                  </a:lnTo>
                  <a:lnTo>
                    <a:pt x="302" y="316"/>
                  </a:lnTo>
                  <a:lnTo>
                    <a:pt x="305" y="312"/>
                  </a:lnTo>
                  <a:lnTo>
                    <a:pt x="305" y="312"/>
                  </a:lnTo>
                  <a:lnTo>
                    <a:pt x="307" y="309"/>
                  </a:lnTo>
                  <a:lnTo>
                    <a:pt x="309" y="305"/>
                  </a:lnTo>
                  <a:lnTo>
                    <a:pt x="309" y="296"/>
                  </a:lnTo>
                  <a:lnTo>
                    <a:pt x="309" y="286"/>
                  </a:lnTo>
                  <a:lnTo>
                    <a:pt x="312" y="269"/>
                  </a:lnTo>
                  <a:lnTo>
                    <a:pt x="312" y="269"/>
                  </a:lnTo>
                  <a:lnTo>
                    <a:pt x="316" y="258"/>
                  </a:lnTo>
                  <a:lnTo>
                    <a:pt x="322" y="251"/>
                  </a:lnTo>
                  <a:lnTo>
                    <a:pt x="329" y="248"/>
                  </a:lnTo>
                  <a:lnTo>
                    <a:pt x="336" y="246"/>
                  </a:lnTo>
                  <a:lnTo>
                    <a:pt x="342" y="242"/>
                  </a:lnTo>
                  <a:lnTo>
                    <a:pt x="343" y="239"/>
                  </a:lnTo>
                  <a:lnTo>
                    <a:pt x="343" y="234"/>
                  </a:lnTo>
                  <a:lnTo>
                    <a:pt x="338" y="225"/>
                  </a:lnTo>
                  <a:lnTo>
                    <a:pt x="338" y="225"/>
                  </a:lnTo>
                  <a:lnTo>
                    <a:pt x="333" y="213"/>
                  </a:lnTo>
                  <a:lnTo>
                    <a:pt x="333" y="209"/>
                  </a:lnTo>
                  <a:lnTo>
                    <a:pt x="333" y="208"/>
                  </a:lnTo>
                  <a:lnTo>
                    <a:pt x="336" y="206"/>
                  </a:lnTo>
                  <a:lnTo>
                    <a:pt x="340" y="206"/>
                  </a:lnTo>
                  <a:lnTo>
                    <a:pt x="349" y="206"/>
                  </a:lnTo>
                  <a:lnTo>
                    <a:pt x="359" y="208"/>
                  </a:lnTo>
                  <a:lnTo>
                    <a:pt x="368" y="208"/>
                  </a:lnTo>
                  <a:lnTo>
                    <a:pt x="371" y="206"/>
                  </a:lnTo>
                  <a:lnTo>
                    <a:pt x="375" y="204"/>
                  </a:lnTo>
                  <a:lnTo>
                    <a:pt x="376" y="199"/>
                  </a:lnTo>
                  <a:lnTo>
                    <a:pt x="378" y="194"/>
                  </a:lnTo>
                  <a:lnTo>
                    <a:pt x="378" y="194"/>
                  </a:lnTo>
                  <a:lnTo>
                    <a:pt x="378" y="187"/>
                  </a:lnTo>
                  <a:lnTo>
                    <a:pt x="382" y="180"/>
                  </a:lnTo>
                  <a:lnTo>
                    <a:pt x="387" y="168"/>
                  </a:lnTo>
                  <a:lnTo>
                    <a:pt x="389" y="162"/>
                  </a:lnTo>
                  <a:lnTo>
                    <a:pt x="390" y="155"/>
                  </a:lnTo>
                  <a:lnTo>
                    <a:pt x="389" y="147"/>
                  </a:lnTo>
                  <a:lnTo>
                    <a:pt x="387" y="136"/>
                  </a:lnTo>
                  <a:lnTo>
                    <a:pt x="387" y="136"/>
                  </a:lnTo>
                  <a:lnTo>
                    <a:pt x="382" y="127"/>
                  </a:lnTo>
                  <a:lnTo>
                    <a:pt x="380" y="119"/>
                  </a:lnTo>
                  <a:lnTo>
                    <a:pt x="382" y="112"/>
                  </a:lnTo>
                  <a:lnTo>
                    <a:pt x="383" y="105"/>
                  </a:lnTo>
                  <a:lnTo>
                    <a:pt x="389" y="100"/>
                  </a:lnTo>
                  <a:lnTo>
                    <a:pt x="397" y="93"/>
                  </a:lnTo>
                  <a:lnTo>
                    <a:pt x="423" y="80"/>
                  </a:lnTo>
                  <a:lnTo>
                    <a:pt x="423" y="80"/>
                  </a:lnTo>
                  <a:lnTo>
                    <a:pt x="437" y="74"/>
                  </a:lnTo>
                  <a:lnTo>
                    <a:pt x="451" y="72"/>
                  </a:lnTo>
                  <a:lnTo>
                    <a:pt x="460" y="72"/>
                  </a:lnTo>
                  <a:lnTo>
                    <a:pt x="469" y="74"/>
                  </a:lnTo>
                  <a:lnTo>
                    <a:pt x="477" y="75"/>
                  </a:lnTo>
                  <a:lnTo>
                    <a:pt x="483" y="74"/>
                  </a:lnTo>
                  <a:lnTo>
                    <a:pt x="488" y="72"/>
                  </a:lnTo>
                  <a:lnTo>
                    <a:pt x="493" y="65"/>
                  </a:lnTo>
                  <a:lnTo>
                    <a:pt x="493" y="65"/>
                  </a:lnTo>
                  <a:lnTo>
                    <a:pt x="491" y="61"/>
                  </a:lnTo>
                  <a:lnTo>
                    <a:pt x="490" y="58"/>
                  </a:lnTo>
                  <a:lnTo>
                    <a:pt x="491" y="56"/>
                  </a:lnTo>
                  <a:lnTo>
                    <a:pt x="493" y="56"/>
                  </a:lnTo>
                  <a:lnTo>
                    <a:pt x="502" y="56"/>
                  </a:lnTo>
                  <a:lnTo>
                    <a:pt x="502" y="56"/>
                  </a:lnTo>
                  <a:lnTo>
                    <a:pt x="502" y="53"/>
                  </a:lnTo>
                  <a:lnTo>
                    <a:pt x="502" y="51"/>
                  </a:lnTo>
                  <a:lnTo>
                    <a:pt x="498" y="49"/>
                  </a:lnTo>
                  <a:lnTo>
                    <a:pt x="495" y="47"/>
                  </a:lnTo>
                  <a:lnTo>
                    <a:pt x="488" y="47"/>
                  </a:lnTo>
                  <a:lnTo>
                    <a:pt x="483" y="49"/>
                  </a:lnTo>
                  <a:lnTo>
                    <a:pt x="479" y="51"/>
                  </a:lnTo>
                  <a:lnTo>
                    <a:pt x="479" y="51"/>
                  </a:lnTo>
                  <a:lnTo>
                    <a:pt x="470" y="56"/>
                  </a:lnTo>
                  <a:lnTo>
                    <a:pt x="465" y="58"/>
                  </a:lnTo>
                  <a:lnTo>
                    <a:pt x="464" y="58"/>
                  </a:lnTo>
                  <a:lnTo>
                    <a:pt x="464" y="56"/>
                  </a:lnTo>
                  <a:lnTo>
                    <a:pt x="465" y="53"/>
                  </a:lnTo>
                  <a:lnTo>
                    <a:pt x="465" y="53"/>
                  </a:lnTo>
                  <a:lnTo>
                    <a:pt x="467" y="49"/>
                  </a:lnTo>
                  <a:lnTo>
                    <a:pt x="465" y="47"/>
                  </a:lnTo>
                  <a:lnTo>
                    <a:pt x="460" y="46"/>
                  </a:lnTo>
                  <a:lnTo>
                    <a:pt x="453" y="46"/>
                  </a:lnTo>
                  <a:lnTo>
                    <a:pt x="446" y="49"/>
                  </a:lnTo>
                  <a:lnTo>
                    <a:pt x="446" y="49"/>
                  </a:lnTo>
                  <a:lnTo>
                    <a:pt x="441" y="51"/>
                  </a:lnTo>
                  <a:lnTo>
                    <a:pt x="437" y="54"/>
                  </a:lnTo>
                  <a:lnTo>
                    <a:pt x="434" y="56"/>
                  </a:lnTo>
                  <a:lnTo>
                    <a:pt x="430" y="61"/>
                  </a:lnTo>
                  <a:lnTo>
                    <a:pt x="430" y="61"/>
                  </a:lnTo>
                  <a:lnTo>
                    <a:pt x="430" y="65"/>
                  </a:lnTo>
                  <a:lnTo>
                    <a:pt x="429" y="67"/>
                  </a:lnTo>
                  <a:lnTo>
                    <a:pt x="422" y="68"/>
                  </a:lnTo>
                  <a:lnTo>
                    <a:pt x="415" y="72"/>
                  </a:lnTo>
                  <a:lnTo>
                    <a:pt x="404" y="79"/>
                  </a:lnTo>
                  <a:lnTo>
                    <a:pt x="404" y="79"/>
                  </a:lnTo>
                  <a:lnTo>
                    <a:pt x="399" y="82"/>
                  </a:lnTo>
                  <a:lnTo>
                    <a:pt x="394" y="82"/>
                  </a:lnTo>
                  <a:lnTo>
                    <a:pt x="390" y="80"/>
                  </a:lnTo>
                  <a:lnTo>
                    <a:pt x="389" y="77"/>
                  </a:lnTo>
                  <a:lnTo>
                    <a:pt x="387" y="70"/>
                  </a:lnTo>
                  <a:lnTo>
                    <a:pt x="385" y="61"/>
                  </a:lnTo>
                  <a:lnTo>
                    <a:pt x="387" y="35"/>
                  </a:lnTo>
                  <a:lnTo>
                    <a:pt x="387" y="35"/>
                  </a:lnTo>
                  <a:lnTo>
                    <a:pt x="389" y="25"/>
                  </a:lnTo>
                  <a:lnTo>
                    <a:pt x="387" y="23"/>
                  </a:lnTo>
                  <a:lnTo>
                    <a:pt x="387" y="23"/>
                  </a:lnTo>
                  <a:lnTo>
                    <a:pt x="383" y="25"/>
                  </a:lnTo>
                  <a:lnTo>
                    <a:pt x="380" y="25"/>
                  </a:lnTo>
                  <a:lnTo>
                    <a:pt x="378" y="23"/>
                  </a:lnTo>
                  <a:lnTo>
                    <a:pt x="378" y="23"/>
                  </a:lnTo>
                  <a:lnTo>
                    <a:pt x="378" y="21"/>
                  </a:lnTo>
                  <a:lnTo>
                    <a:pt x="378" y="18"/>
                  </a:lnTo>
                  <a:lnTo>
                    <a:pt x="382" y="11"/>
                  </a:lnTo>
                  <a:lnTo>
                    <a:pt x="383" y="7"/>
                  </a:lnTo>
                  <a:lnTo>
                    <a:pt x="382" y="6"/>
                  </a:lnTo>
                  <a:lnTo>
                    <a:pt x="378" y="4"/>
                  </a:lnTo>
                  <a:lnTo>
                    <a:pt x="373" y="0"/>
                  </a:lnTo>
                  <a:lnTo>
                    <a:pt x="373" y="0"/>
                  </a:lnTo>
                  <a:lnTo>
                    <a:pt x="366" y="0"/>
                  </a:lnTo>
                  <a:lnTo>
                    <a:pt x="361" y="2"/>
                  </a:lnTo>
                  <a:lnTo>
                    <a:pt x="357" y="4"/>
                  </a:lnTo>
                  <a:lnTo>
                    <a:pt x="356" y="7"/>
                  </a:lnTo>
                  <a:lnTo>
                    <a:pt x="350" y="14"/>
                  </a:lnTo>
                  <a:lnTo>
                    <a:pt x="349" y="18"/>
                  </a:lnTo>
                  <a:lnTo>
                    <a:pt x="345" y="20"/>
                  </a:lnTo>
                  <a:lnTo>
                    <a:pt x="345" y="20"/>
                  </a:lnTo>
                  <a:lnTo>
                    <a:pt x="342" y="23"/>
                  </a:lnTo>
                  <a:lnTo>
                    <a:pt x="342" y="25"/>
                  </a:lnTo>
                  <a:lnTo>
                    <a:pt x="343" y="32"/>
                  </a:lnTo>
                  <a:lnTo>
                    <a:pt x="345" y="37"/>
                  </a:lnTo>
                  <a:lnTo>
                    <a:pt x="345" y="39"/>
                  </a:lnTo>
                  <a:lnTo>
                    <a:pt x="343" y="40"/>
                  </a:lnTo>
                  <a:lnTo>
                    <a:pt x="343" y="40"/>
                  </a:lnTo>
                  <a:lnTo>
                    <a:pt x="340" y="42"/>
                  </a:lnTo>
                  <a:lnTo>
                    <a:pt x="336" y="42"/>
                  </a:lnTo>
                  <a:lnTo>
                    <a:pt x="331" y="40"/>
                  </a:lnTo>
                  <a:lnTo>
                    <a:pt x="326" y="39"/>
                  </a:lnTo>
                  <a:lnTo>
                    <a:pt x="322" y="39"/>
                  </a:lnTo>
                  <a:lnTo>
                    <a:pt x="319" y="40"/>
                  </a:lnTo>
                  <a:lnTo>
                    <a:pt x="319" y="40"/>
                  </a:lnTo>
                  <a:lnTo>
                    <a:pt x="316" y="42"/>
                  </a:lnTo>
                  <a:lnTo>
                    <a:pt x="314" y="46"/>
                  </a:lnTo>
                  <a:lnTo>
                    <a:pt x="314" y="53"/>
                  </a:lnTo>
                  <a:lnTo>
                    <a:pt x="314" y="58"/>
                  </a:lnTo>
                  <a:lnTo>
                    <a:pt x="314" y="61"/>
                  </a:lnTo>
                  <a:lnTo>
                    <a:pt x="312" y="61"/>
                  </a:lnTo>
                  <a:lnTo>
                    <a:pt x="312" y="61"/>
                  </a:lnTo>
                  <a:lnTo>
                    <a:pt x="310" y="61"/>
                  </a:lnTo>
                  <a:lnTo>
                    <a:pt x="309" y="61"/>
                  </a:lnTo>
                  <a:lnTo>
                    <a:pt x="305" y="58"/>
                  </a:lnTo>
                  <a:lnTo>
                    <a:pt x="300" y="54"/>
                  </a:lnTo>
                  <a:lnTo>
                    <a:pt x="296" y="54"/>
                  </a:lnTo>
                  <a:lnTo>
                    <a:pt x="295" y="54"/>
                  </a:lnTo>
                  <a:lnTo>
                    <a:pt x="295" y="54"/>
                  </a:lnTo>
                  <a:lnTo>
                    <a:pt x="281" y="58"/>
                  </a:lnTo>
                  <a:lnTo>
                    <a:pt x="275" y="61"/>
                  </a:lnTo>
                  <a:lnTo>
                    <a:pt x="272" y="67"/>
                  </a:lnTo>
                  <a:lnTo>
                    <a:pt x="272" y="67"/>
                  </a:lnTo>
                  <a:lnTo>
                    <a:pt x="269" y="70"/>
                  </a:lnTo>
                  <a:lnTo>
                    <a:pt x="267" y="72"/>
                  </a:lnTo>
                  <a:lnTo>
                    <a:pt x="263" y="72"/>
                  </a:lnTo>
                  <a:lnTo>
                    <a:pt x="262" y="70"/>
                  </a:lnTo>
                  <a:lnTo>
                    <a:pt x="256" y="60"/>
                  </a:lnTo>
                  <a:lnTo>
                    <a:pt x="256" y="60"/>
                  </a:lnTo>
                  <a:lnTo>
                    <a:pt x="249" y="56"/>
                  </a:lnTo>
                  <a:lnTo>
                    <a:pt x="246" y="58"/>
                  </a:lnTo>
                  <a:lnTo>
                    <a:pt x="241" y="60"/>
                  </a:lnTo>
                  <a:lnTo>
                    <a:pt x="241" y="60"/>
                  </a:lnTo>
                  <a:lnTo>
                    <a:pt x="239" y="60"/>
                  </a:lnTo>
                  <a:lnTo>
                    <a:pt x="237" y="58"/>
                  </a:lnTo>
                  <a:lnTo>
                    <a:pt x="234" y="54"/>
                  </a:lnTo>
                  <a:lnTo>
                    <a:pt x="232" y="51"/>
                  </a:lnTo>
                  <a:lnTo>
                    <a:pt x="227" y="49"/>
                  </a:lnTo>
                  <a:lnTo>
                    <a:pt x="222" y="49"/>
                  </a:lnTo>
                  <a:lnTo>
                    <a:pt x="213" y="53"/>
                  </a:lnTo>
                  <a:lnTo>
                    <a:pt x="213" y="53"/>
                  </a:lnTo>
                  <a:lnTo>
                    <a:pt x="208" y="53"/>
                  </a:lnTo>
                  <a:lnTo>
                    <a:pt x="202" y="51"/>
                  </a:lnTo>
                  <a:lnTo>
                    <a:pt x="194" y="46"/>
                  </a:lnTo>
                  <a:lnTo>
                    <a:pt x="190" y="42"/>
                  </a:lnTo>
                  <a:lnTo>
                    <a:pt x="188" y="42"/>
                  </a:lnTo>
                  <a:lnTo>
                    <a:pt x="185" y="42"/>
                  </a:lnTo>
                  <a:lnTo>
                    <a:pt x="181" y="46"/>
                  </a:lnTo>
                  <a:lnTo>
                    <a:pt x="181" y="46"/>
                  </a:lnTo>
                  <a:lnTo>
                    <a:pt x="176" y="51"/>
                  </a:lnTo>
                  <a:lnTo>
                    <a:pt x="171" y="54"/>
                  </a:lnTo>
                  <a:lnTo>
                    <a:pt x="161" y="60"/>
                  </a:lnTo>
                  <a:lnTo>
                    <a:pt x="157" y="61"/>
                  </a:lnTo>
                  <a:lnTo>
                    <a:pt x="152" y="67"/>
                  </a:lnTo>
                  <a:lnTo>
                    <a:pt x="148" y="74"/>
                  </a:lnTo>
                  <a:lnTo>
                    <a:pt x="145" y="84"/>
                  </a:lnTo>
                  <a:lnTo>
                    <a:pt x="145" y="84"/>
                  </a:lnTo>
                  <a:lnTo>
                    <a:pt x="143" y="96"/>
                  </a:lnTo>
                  <a:lnTo>
                    <a:pt x="140" y="103"/>
                  </a:lnTo>
                  <a:lnTo>
                    <a:pt x="134" y="108"/>
                  </a:lnTo>
                  <a:lnTo>
                    <a:pt x="129" y="112"/>
                  </a:lnTo>
                  <a:lnTo>
                    <a:pt x="119" y="115"/>
                  </a:lnTo>
                  <a:lnTo>
                    <a:pt x="108" y="119"/>
                  </a:lnTo>
                  <a:lnTo>
                    <a:pt x="108" y="119"/>
                  </a:lnTo>
                  <a:lnTo>
                    <a:pt x="105" y="121"/>
                  </a:lnTo>
                  <a:lnTo>
                    <a:pt x="101" y="126"/>
                  </a:lnTo>
                  <a:lnTo>
                    <a:pt x="94" y="134"/>
                  </a:lnTo>
                  <a:lnTo>
                    <a:pt x="87" y="143"/>
                  </a:lnTo>
                  <a:lnTo>
                    <a:pt x="82" y="147"/>
                  </a:lnTo>
                  <a:lnTo>
                    <a:pt x="77" y="150"/>
                  </a:lnTo>
                  <a:lnTo>
                    <a:pt x="77" y="150"/>
                  </a:lnTo>
                  <a:lnTo>
                    <a:pt x="70" y="152"/>
                  </a:lnTo>
                  <a:lnTo>
                    <a:pt x="65" y="152"/>
                  </a:lnTo>
                  <a:lnTo>
                    <a:pt x="61" y="150"/>
                  </a:lnTo>
                  <a:lnTo>
                    <a:pt x="60" y="147"/>
                  </a:lnTo>
                  <a:lnTo>
                    <a:pt x="58" y="143"/>
                  </a:lnTo>
                  <a:lnTo>
                    <a:pt x="56" y="141"/>
                  </a:lnTo>
                  <a:lnTo>
                    <a:pt x="53" y="140"/>
                  </a:lnTo>
                  <a:lnTo>
                    <a:pt x="47" y="141"/>
                  </a:lnTo>
                  <a:lnTo>
                    <a:pt x="47" y="141"/>
                  </a:lnTo>
                  <a:lnTo>
                    <a:pt x="42" y="141"/>
                  </a:lnTo>
                  <a:lnTo>
                    <a:pt x="39" y="141"/>
                  </a:lnTo>
                  <a:lnTo>
                    <a:pt x="37" y="141"/>
                  </a:lnTo>
                  <a:lnTo>
                    <a:pt x="35" y="140"/>
                  </a:lnTo>
                  <a:lnTo>
                    <a:pt x="33" y="136"/>
                  </a:lnTo>
                  <a:lnTo>
                    <a:pt x="32" y="134"/>
                  </a:lnTo>
                  <a:lnTo>
                    <a:pt x="30" y="133"/>
                  </a:lnTo>
                  <a:lnTo>
                    <a:pt x="30" y="1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5" name="Freeform 1740">
              <a:extLst>
                <a:ext uri="{FF2B5EF4-FFF2-40B4-BE49-F238E27FC236}">
                  <a16:creationId xmlns:a16="http://schemas.microsoft.com/office/drawing/2014/main" id="{F5481AA6-7E28-4C21-9406-12B658F88399}"/>
                </a:ext>
              </a:extLst>
            </p:cNvPr>
            <p:cNvSpPr>
              <a:spLocks/>
            </p:cNvSpPr>
            <p:nvPr/>
          </p:nvSpPr>
          <p:spPr bwMode="auto">
            <a:xfrm>
              <a:off x="6434160" y="3211423"/>
              <a:ext cx="475741" cy="489837"/>
            </a:xfrm>
            <a:custGeom>
              <a:avLst/>
              <a:gdLst/>
              <a:ahLst/>
              <a:cxnLst>
                <a:cxn ang="0">
                  <a:pos x="509" y="7"/>
                </a:cxn>
                <a:cxn ang="0">
                  <a:pos x="523" y="15"/>
                </a:cxn>
                <a:cxn ang="0">
                  <a:pos x="531" y="38"/>
                </a:cxn>
                <a:cxn ang="0">
                  <a:pos x="542" y="57"/>
                </a:cxn>
                <a:cxn ang="0">
                  <a:pos x="559" y="64"/>
                </a:cxn>
                <a:cxn ang="0">
                  <a:pos x="568" y="99"/>
                </a:cxn>
                <a:cxn ang="0">
                  <a:pos x="544" y="109"/>
                </a:cxn>
                <a:cxn ang="0">
                  <a:pos x="493" y="113"/>
                </a:cxn>
                <a:cxn ang="0">
                  <a:pos x="456" y="127"/>
                </a:cxn>
                <a:cxn ang="0">
                  <a:pos x="456" y="141"/>
                </a:cxn>
                <a:cxn ang="0">
                  <a:pos x="460" y="151"/>
                </a:cxn>
                <a:cxn ang="0">
                  <a:pos x="465" y="172"/>
                </a:cxn>
                <a:cxn ang="0">
                  <a:pos x="472" y="190"/>
                </a:cxn>
                <a:cxn ang="0">
                  <a:pos x="486" y="204"/>
                </a:cxn>
                <a:cxn ang="0">
                  <a:pos x="509" y="219"/>
                </a:cxn>
                <a:cxn ang="0">
                  <a:pos x="479" y="244"/>
                </a:cxn>
                <a:cxn ang="0">
                  <a:pos x="465" y="294"/>
                </a:cxn>
                <a:cxn ang="0">
                  <a:pos x="451" y="324"/>
                </a:cxn>
                <a:cxn ang="0">
                  <a:pos x="427" y="365"/>
                </a:cxn>
                <a:cxn ang="0">
                  <a:pos x="401" y="390"/>
                </a:cxn>
                <a:cxn ang="0">
                  <a:pos x="389" y="416"/>
                </a:cxn>
                <a:cxn ang="0">
                  <a:pos x="354" y="428"/>
                </a:cxn>
                <a:cxn ang="0">
                  <a:pos x="331" y="416"/>
                </a:cxn>
                <a:cxn ang="0">
                  <a:pos x="302" y="465"/>
                </a:cxn>
                <a:cxn ang="0">
                  <a:pos x="322" y="480"/>
                </a:cxn>
                <a:cxn ang="0">
                  <a:pos x="326" y="515"/>
                </a:cxn>
                <a:cxn ang="0">
                  <a:pos x="345" y="534"/>
                </a:cxn>
                <a:cxn ang="0">
                  <a:pos x="356" y="573"/>
                </a:cxn>
                <a:cxn ang="0">
                  <a:pos x="345" y="585"/>
                </a:cxn>
                <a:cxn ang="0">
                  <a:pos x="335" y="576"/>
                </a:cxn>
                <a:cxn ang="0">
                  <a:pos x="308" y="583"/>
                </a:cxn>
                <a:cxn ang="0">
                  <a:pos x="277" y="583"/>
                </a:cxn>
                <a:cxn ang="0">
                  <a:pos x="268" y="599"/>
                </a:cxn>
                <a:cxn ang="0">
                  <a:pos x="248" y="602"/>
                </a:cxn>
                <a:cxn ang="0">
                  <a:pos x="230" y="599"/>
                </a:cxn>
                <a:cxn ang="0">
                  <a:pos x="227" y="581"/>
                </a:cxn>
                <a:cxn ang="0">
                  <a:pos x="220" y="560"/>
                </a:cxn>
                <a:cxn ang="0">
                  <a:pos x="204" y="547"/>
                </a:cxn>
                <a:cxn ang="0">
                  <a:pos x="147" y="536"/>
                </a:cxn>
                <a:cxn ang="0">
                  <a:pos x="107" y="536"/>
                </a:cxn>
                <a:cxn ang="0">
                  <a:pos x="91" y="543"/>
                </a:cxn>
                <a:cxn ang="0">
                  <a:pos x="58" y="540"/>
                </a:cxn>
                <a:cxn ang="0">
                  <a:pos x="39" y="547"/>
                </a:cxn>
                <a:cxn ang="0">
                  <a:pos x="30" y="522"/>
                </a:cxn>
                <a:cxn ang="0">
                  <a:pos x="49" y="489"/>
                </a:cxn>
                <a:cxn ang="0">
                  <a:pos x="77" y="477"/>
                </a:cxn>
                <a:cxn ang="0">
                  <a:pos x="84" y="451"/>
                </a:cxn>
                <a:cxn ang="0">
                  <a:pos x="68" y="444"/>
                </a:cxn>
                <a:cxn ang="0">
                  <a:pos x="66" y="404"/>
                </a:cxn>
                <a:cxn ang="0">
                  <a:pos x="51" y="395"/>
                </a:cxn>
                <a:cxn ang="0">
                  <a:pos x="19" y="362"/>
                </a:cxn>
                <a:cxn ang="0">
                  <a:pos x="39" y="346"/>
                </a:cxn>
                <a:cxn ang="0">
                  <a:pos x="171" y="338"/>
                </a:cxn>
                <a:cxn ang="0">
                  <a:pos x="192" y="296"/>
                </a:cxn>
                <a:cxn ang="0">
                  <a:pos x="249" y="252"/>
                </a:cxn>
                <a:cxn ang="0">
                  <a:pos x="291" y="247"/>
                </a:cxn>
                <a:cxn ang="0">
                  <a:pos x="298" y="204"/>
                </a:cxn>
                <a:cxn ang="0">
                  <a:pos x="329" y="169"/>
                </a:cxn>
                <a:cxn ang="0">
                  <a:pos x="326" y="141"/>
                </a:cxn>
                <a:cxn ang="0">
                  <a:pos x="364" y="129"/>
                </a:cxn>
                <a:cxn ang="0">
                  <a:pos x="375" y="82"/>
                </a:cxn>
                <a:cxn ang="0">
                  <a:pos x="375" y="35"/>
                </a:cxn>
                <a:cxn ang="0">
                  <a:pos x="455" y="9"/>
                </a:cxn>
              </a:cxnLst>
              <a:rect l="0" t="0" r="r" b="b"/>
              <a:pathLst>
                <a:path w="592" h="609">
                  <a:moveTo>
                    <a:pt x="479" y="0"/>
                  </a:moveTo>
                  <a:lnTo>
                    <a:pt x="479" y="0"/>
                  </a:lnTo>
                  <a:lnTo>
                    <a:pt x="484" y="2"/>
                  </a:lnTo>
                  <a:lnTo>
                    <a:pt x="490" y="3"/>
                  </a:lnTo>
                  <a:lnTo>
                    <a:pt x="498" y="3"/>
                  </a:lnTo>
                  <a:lnTo>
                    <a:pt x="505" y="3"/>
                  </a:lnTo>
                  <a:lnTo>
                    <a:pt x="509" y="7"/>
                  </a:lnTo>
                  <a:lnTo>
                    <a:pt x="510" y="10"/>
                  </a:lnTo>
                  <a:lnTo>
                    <a:pt x="510" y="10"/>
                  </a:lnTo>
                  <a:lnTo>
                    <a:pt x="512" y="12"/>
                  </a:lnTo>
                  <a:lnTo>
                    <a:pt x="514" y="14"/>
                  </a:lnTo>
                  <a:lnTo>
                    <a:pt x="517" y="14"/>
                  </a:lnTo>
                  <a:lnTo>
                    <a:pt x="519" y="14"/>
                  </a:lnTo>
                  <a:lnTo>
                    <a:pt x="523" y="15"/>
                  </a:lnTo>
                  <a:lnTo>
                    <a:pt x="524" y="19"/>
                  </a:lnTo>
                  <a:lnTo>
                    <a:pt x="530" y="24"/>
                  </a:lnTo>
                  <a:lnTo>
                    <a:pt x="530" y="24"/>
                  </a:lnTo>
                  <a:lnTo>
                    <a:pt x="531" y="29"/>
                  </a:lnTo>
                  <a:lnTo>
                    <a:pt x="533" y="35"/>
                  </a:lnTo>
                  <a:lnTo>
                    <a:pt x="533" y="36"/>
                  </a:lnTo>
                  <a:lnTo>
                    <a:pt x="531" y="38"/>
                  </a:lnTo>
                  <a:lnTo>
                    <a:pt x="530" y="42"/>
                  </a:lnTo>
                  <a:lnTo>
                    <a:pt x="530" y="45"/>
                  </a:lnTo>
                  <a:lnTo>
                    <a:pt x="531" y="49"/>
                  </a:lnTo>
                  <a:lnTo>
                    <a:pt x="531" y="49"/>
                  </a:lnTo>
                  <a:lnTo>
                    <a:pt x="535" y="54"/>
                  </a:lnTo>
                  <a:lnTo>
                    <a:pt x="538" y="57"/>
                  </a:lnTo>
                  <a:lnTo>
                    <a:pt x="542" y="57"/>
                  </a:lnTo>
                  <a:lnTo>
                    <a:pt x="545" y="57"/>
                  </a:lnTo>
                  <a:lnTo>
                    <a:pt x="549" y="56"/>
                  </a:lnTo>
                  <a:lnTo>
                    <a:pt x="551" y="56"/>
                  </a:lnTo>
                  <a:lnTo>
                    <a:pt x="552" y="57"/>
                  </a:lnTo>
                  <a:lnTo>
                    <a:pt x="552" y="57"/>
                  </a:lnTo>
                  <a:lnTo>
                    <a:pt x="556" y="61"/>
                  </a:lnTo>
                  <a:lnTo>
                    <a:pt x="559" y="64"/>
                  </a:lnTo>
                  <a:lnTo>
                    <a:pt x="568" y="68"/>
                  </a:lnTo>
                  <a:lnTo>
                    <a:pt x="592" y="75"/>
                  </a:lnTo>
                  <a:lnTo>
                    <a:pt x="592" y="75"/>
                  </a:lnTo>
                  <a:lnTo>
                    <a:pt x="582" y="80"/>
                  </a:lnTo>
                  <a:lnTo>
                    <a:pt x="575" y="87"/>
                  </a:lnTo>
                  <a:lnTo>
                    <a:pt x="570" y="94"/>
                  </a:lnTo>
                  <a:lnTo>
                    <a:pt x="568" y="99"/>
                  </a:lnTo>
                  <a:lnTo>
                    <a:pt x="566" y="104"/>
                  </a:lnTo>
                  <a:lnTo>
                    <a:pt x="563" y="108"/>
                  </a:lnTo>
                  <a:lnTo>
                    <a:pt x="559" y="109"/>
                  </a:lnTo>
                  <a:lnTo>
                    <a:pt x="554" y="108"/>
                  </a:lnTo>
                  <a:lnTo>
                    <a:pt x="554" y="108"/>
                  </a:lnTo>
                  <a:lnTo>
                    <a:pt x="549" y="108"/>
                  </a:lnTo>
                  <a:lnTo>
                    <a:pt x="544" y="109"/>
                  </a:lnTo>
                  <a:lnTo>
                    <a:pt x="533" y="115"/>
                  </a:lnTo>
                  <a:lnTo>
                    <a:pt x="528" y="118"/>
                  </a:lnTo>
                  <a:lnTo>
                    <a:pt x="521" y="120"/>
                  </a:lnTo>
                  <a:lnTo>
                    <a:pt x="516" y="120"/>
                  </a:lnTo>
                  <a:lnTo>
                    <a:pt x="507" y="118"/>
                  </a:lnTo>
                  <a:lnTo>
                    <a:pt x="507" y="118"/>
                  </a:lnTo>
                  <a:lnTo>
                    <a:pt x="493" y="113"/>
                  </a:lnTo>
                  <a:lnTo>
                    <a:pt x="481" y="109"/>
                  </a:lnTo>
                  <a:lnTo>
                    <a:pt x="470" y="109"/>
                  </a:lnTo>
                  <a:lnTo>
                    <a:pt x="462" y="111"/>
                  </a:lnTo>
                  <a:lnTo>
                    <a:pt x="456" y="115"/>
                  </a:lnTo>
                  <a:lnTo>
                    <a:pt x="453" y="118"/>
                  </a:lnTo>
                  <a:lnTo>
                    <a:pt x="453" y="123"/>
                  </a:lnTo>
                  <a:lnTo>
                    <a:pt x="456" y="127"/>
                  </a:lnTo>
                  <a:lnTo>
                    <a:pt x="456" y="127"/>
                  </a:lnTo>
                  <a:lnTo>
                    <a:pt x="460" y="132"/>
                  </a:lnTo>
                  <a:lnTo>
                    <a:pt x="460" y="134"/>
                  </a:lnTo>
                  <a:lnTo>
                    <a:pt x="458" y="137"/>
                  </a:lnTo>
                  <a:lnTo>
                    <a:pt x="456" y="139"/>
                  </a:lnTo>
                  <a:lnTo>
                    <a:pt x="455" y="139"/>
                  </a:lnTo>
                  <a:lnTo>
                    <a:pt x="456" y="141"/>
                  </a:lnTo>
                  <a:lnTo>
                    <a:pt x="465" y="143"/>
                  </a:lnTo>
                  <a:lnTo>
                    <a:pt x="465" y="143"/>
                  </a:lnTo>
                  <a:lnTo>
                    <a:pt x="472" y="143"/>
                  </a:lnTo>
                  <a:lnTo>
                    <a:pt x="474" y="144"/>
                  </a:lnTo>
                  <a:lnTo>
                    <a:pt x="469" y="148"/>
                  </a:lnTo>
                  <a:lnTo>
                    <a:pt x="463" y="150"/>
                  </a:lnTo>
                  <a:lnTo>
                    <a:pt x="460" y="151"/>
                  </a:lnTo>
                  <a:lnTo>
                    <a:pt x="460" y="155"/>
                  </a:lnTo>
                  <a:lnTo>
                    <a:pt x="463" y="160"/>
                  </a:lnTo>
                  <a:lnTo>
                    <a:pt x="463" y="160"/>
                  </a:lnTo>
                  <a:lnTo>
                    <a:pt x="467" y="163"/>
                  </a:lnTo>
                  <a:lnTo>
                    <a:pt x="469" y="167"/>
                  </a:lnTo>
                  <a:lnTo>
                    <a:pt x="467" y="170"/>
                  </a:lnTo>
                  <a:lnTo>
                    <a:pt x="465" y="172"/>
                  </a:lnTo>
                  <a:lnTo>
                    <a:pt x="462" y="174"/>
                  </a:lnTo>
                  <a:lnTo>
                    <a:pt x="462" y="177"/>
                  </a:lnTo>
                  <a:lnTo>
                    <a:pt x="462" y="179"/>
                  </a:lnTo>
                  <a:lnTo>
                    <a:pt x="465" y="183"/>
                  </a:lnTo>
                  <a:lnTo>
                    <a:pt x="465" y="183"/>
                  </a:lnTo>
                  <a:lnTo>
                    <a:pt x="469" y="186"/>
                  </a:lnTo>
                  <a:lnTo>
                    <a:pt x="472" y="190"/>
                  </a:lnTo>
                  <a:lnTo>
                    <a:pt x="474" y="197"/>
                  </a:lnTo>
                  <a:lnTo>
                    <a:pt x="476" y="198"/>
                  </a:lnTo>
                  <a:lnTo>
                    <a:pt x="481" y="198"/>
                  </a:lnTo>
                  <a:lnTo>
                    <a:pt x="481" y="198"/>
                  </a:lnTo>
                  <a:lnTo>
                    <a:pt x="484" y="198"/>
                  </a:lnTo>
                  <a:lnTo>
                    <a:pt x="486" y="200"/>
                  </a:lnTo>
                  <a:lnTo>
                    <a:pt x="486" y="204"/>
                  </a:lnTo>
                  <a:lnTo>
                    <a:pt x="484" y="207"/>
                  </a:lnTo>
                  <a:lnTo>
                    <a:pt x="484" y="209"/>
                  </a:lnTo>
                  <a:lnTo>
                    <a:pt x="486" y="212"/>
                  </a:lnTo>
                  <a:lnTo>
                    <a:pt x="490" y="214"/>
                  </a:lnTo>
                  <a:lnTo>
                    <a:pt x="490" y="214"/>
                  </a:lnTo>
                  <a:lnTo>
                    <a:pt x="504" y="217"/>
                  </a:lnTo>
                  <a:lnTo>
                    <a:pt x="509" y="219"/>
                  </a:lnTo>
                  <a:lnTo>
                    <a:pt x="510" y="221"/>
                  </a:lnTo>
                  <a:lnTo>
                    <a:pt x="509" y="224"/>
                  </a:lnTo>
                  <a:lnTo>
                    <a:pt x="505" y="228"/>
                  </a:lnTo>
                  <a:lnTo>
                    <a:pt x="490" y="237"/>
                  </a:lnTo>
                  <a:lnTo>
                    <a:pt x="490" y="237"/>
                  </a:lnTo>
                  <a:lnTo>
                    <a:pt x="481" y="240"/>
                  </a:lnTo>
                  <a:lnTo>
                    <a:pt x="479" y="244"/>
                  </a:lnTo>
                  <a:lnTo>
                    <a:pt x="479" y="249"/>
                  </a:lnTo>
                  <a:lnTo>
                    <a:pt x="479" y="252"/>
                  </a:lnTo>
                  <a:lnTo>
                    <a:pt x="481" y="259"/>
                  </a:lnTo>
                  <a:lnTo>
                    <a:pt x="481" y="268"/>
                  </a:lnTo>
                  <a:lnTo>
                    <a:pt x="476" y="280"/>
                  </a:lnTo>
                  <a:lnTo>
                    <a:pt x="465" y="294"/>
                  </a:lnTo>
                  <a:lnTo>
                    <a:pt x="465" y="294"/>
                  </a:lnTo>
                  <a:lnTo>
                    <a:pt x="462" y="303"/>
                  </a:lnTo>
                  <a:lnTo>
                    <a:pt x="460" y="310"/>
                  </a:lnTo>
                  <a:lnTo>
                    <a:pt x="460" y="313"/>
                  </a:lnTo>
                  <a:lnTo>
                    <a:pt x="460" y="317"/>
                  </a:lnTo>
                  <a:lnTo>
                    <a:pt x="462" y="318"/>
                  </a:lnTo>
                  <a:lnTo>
                    <a:pt x="460" y="320"/>
                  </a:lnTo>
                  <a:lnTo>
                    <a:pt x="451" y="324"/>
                  </a:lnTo>
                  <a:lnTo>
                    <a:pt x="451" y="324"/>
                  </a:lnTo>
                  <a:lnTo>
                    <a:pt x="443" y="327"/>
                  </a:lnTo>
                  <a:lnTo>
                    <a:pt x="437" y="334"/>
                  </a:lnTo>
                  <a:lnTo>
                    <a:pt x="434" y="341"/>
                  </a:lnTo>
                  <a:lnTo>
                    <a:pt x="432" y="350"/>
                  </a:lnTo>
                  <a:lnTo>
                    <a:pt x="429" y="358"/>
                  </a:lnTo>
                  <a:lnTo>
                    <a:pt x="427" y="365"/>
                  </a:lnTo>
                  <a:lnTo>
                    <a:pt x="422" y="371"/>
                  </a:lnTo>
                  <a:lnTo>
                    <a:pt x="415" y="376"/>
                  </a:lnTo>
                  <a:lnTo>
                    <a:pt x="415" y="376"/>
                  </a:lnTo>
                  <a:lnTo>
                    <a:pt x="409" y="378"/>
                  </a:lnTo>
                  <a:lnTo>
                    <a:pt x="404" y="381"/>
                  </a:lnTo>
                  <a:lnTo>
                    <a:pt x="403" y="385"/>
                  </a:lnTo>
                  <a:lnTo>
                    <a:pt x="401" y="390"/>
                  </a:lnTo>
                  <a:lnTo>
                    <a:pt x="399" y="397"/>
                  </a:lnTo>
                  <a:lnTo>
                    <a:pt x="397" y="400"/>
                  </a:lnTo>
                  <a:lnTo>
                    <a:pt x="394" y="404"/>
                  </a:lnTo>
                  <a:lnTo>
                    <a:pt x="394" y="404"/>
                  </a:lnTo>
                  <a:lnTo>
                    <a:pt x="390" y="407"/>
                  </a:lnTo>
                  <a:lnTo>
                    <a:pt x="390" y="409"/>
                  </a:lnTo>
                  <a:lnTo>
                    <a:pt x="389" y="416"/>
                  </a:lnTo>
                  <a:lnTo>
                    <a:pt x="387" y="419"/>
                  </a:lnTo>
                  <a:lnTo>
                    <a:pt x="385" y="421"/>
                  </a:lnTo>
                  <a:lnTo>
                    <a:pt x="382" y="421"/>
                  </a:lnTo>
                  <a:lnTo>
                    <a:pt x="382" y="421"/>
                  </a:lnTo>
                  <a:lnTo>
                    <a:pt x="368" y="425"/>
                  </a:lnTo>
                  <a:lnTo>
                    <a:pt x="357" y="428"/>
                  </a:lnTo>
                  <a:lnTo>
                    <a:pt x="354" y="428"/>
                  </a:lnTo>
                  <a:lnTo>
                    <a:pt x="350" y="428"/>
                  </a:lnTo>
                  <a:lnTo>
                    <a:pt x="347" y="425"/>
                  </a:lnTo>
                  <a:lnTo>
                    <a:pt x="343" y="421"/>
                  </a:lnTo>
                  <a:lnTo>
                    <a:pt x="343" y="421"/>
                  </a:lnTo>
                  <a:lnTo>
                    <a:pt x="340" y="416"/>
                  </a:lnTo>
                  <a:lnTo>
                    <a:pt x="335" y="414"/>
                  </a:lnTo>
                  <a:lnTo>
                    <a:pt x="331" y="416"/>
                  </a:lnTo>
                  <a:lnTo>
                    <a:pt x="329" y="419"/>
                  </a:lnTo>
                  <a:lnTo>
                    <a:pt x="322" y="430"/>
                  </a:lnTo>
                  <a:lnTo>
                    <a:pt x="315" y="442"/>
                  </a:lnTo>
                  <a:lnTo>
                    <a:pt x="315" y="442"/>
                  </a:lnTo>
                  <a:lnTo>
                    <a:pt x="307" y="454"/>
                  </a:lnTo>
                  <a:lnTo>
                    <a:pt x="303" y="459"/>
                  </a:lnTo>
                  <a:lnTo>
                    <a:pt x="302" y="465"/>
                  </a:lnTo>
                  <a:lnTo>
                    <a:pt x="300" y="468"/>
                  </a:lnTo>
                  <a:lnTo>
                    <a:pt x="302" y="473"/>
                  </a:lnTo>
                  <a:lnTo>
                    <a:pt x="307" y="475"/>
                  </a:lnTo>
                  <a:lnTo>
                    <a:pt x="315" y="479"/>
                  </a:lnTo>
                  <a:lnTo>
                    <a:pt x="315" y="479"/>
                  </a:lnTo>
                  <a:lnTo>
                    <a:pt x="319" y="479"/>
                  </a:lnTo>
                  <a:lnTo>
                    <a:pt x="322" y="480"/>
                  </a:lnTo>
                  <a:lnTo>
                    <a:pt x="324" y="484"/>
                  </a:lnTo>
                  <a:lnTo>
                    <a:pt x="326" y="486"/>
                  </a:lnTo>
                  <a:lnTo>
                    <a:pt x="326" y="493"/>
                  </a:lnTo>
                  <a:lnTo>
                    <a:pt x="324" y="499"/>
                  </a:lnTo>
                  <a:lnTo>
                    <a:pt x="324" y="506"/>
                  </a:lnTo>
                  <a:lnTo>
                    <a:pt x="324" y="512"/>
                  </a:lnTo>
                  <a:lnTo>
                    <a:pt x="326" y="515"/>
                  </a:lnTo>
                  <a:lnTo>
                    <a:pt x="329" y="517"/>
                  </a:lnTo>
                  <a:lnTo>
                    <a:pt x="338" y="519"/>
                  </a:lnTo>
                  <a:lnTo>
                    <a:pt x="338" y="519"/>
                  </a:lnTo>
                  <a:lnTo>
                    <a:pt x="345" y="520"/>
                  </a:lnTo>
                  <a:lnTo>
                    <a:pt x="345" y="526"/>
                  </a:lnTo>
                  <a:lnTo>
                    <a:pt x="343" y="529"/>
                  </a:lnTo>
                  <a:lnTo>
                    <a:pt x="345" y="534"/>
                  </a:lnTo>
                  <a:lnTo>
                    <a:pt x="349" y="543"/>
                  </a:lnTo>
                  <a:lnTo>
                    <a:pt x="356" y="553"/>
                  </a:lnTo>
                  <a:lnTo>
                    <a:pt x="356" y="553"/>
                  </a:lnTo>
                  <a:lnTo>
                    <a:pt x="357" y="559"/>
                  </a:lnTo>
                  <a:lnTo>
                    <a:pt x="359" y="562"/>
                  </a:lnTo>
                  <a:lnTo>
                    <a:pt x="357" y="567"/>
                  </a:lnTo>
                  <a:lnTo>
                    <a:pt x="356" y="573"/>
                  </a:lnTo>
                  <a:lnTo>
                    <a:pt x="356" y="574"/>
                  </a:lnTo>
                  <a:lnTo>
                    <a:pt x="357" y="576"/>
                  </a:lnTo>
                  <a:lnTo>
                    <a:pt x="357" y="576"/>
                  </a:lnTo>
                  <a:lnTo>
                    <a:pt x="357" y="578"/>
                  </a:lnTo>
                  <a:lnTo>
                    <a:pt x="357" y="580"/>
                  </a:lnTo>
                  <a:lnTo>
                    <a:pt x="352" y="583"/>
                  </a:lnTo>
                  <a:lnTo>
                    <a:pt x="345" y="585"/>
                  </a:lnTo>
                  <a:lnTo>
                    <a:pt x="342" y="583"/>
                  </a:lnTo>
                  <a:lnTo>
                    <a:pt x="340" y="581"/>
                  </a:lnTo>
                  <a:lnTo>
                    <a:pt x="340" y="581"/>
                  </a:lnTo>
                  <a:lnTo>
                    <a:pt x="340" y="578"/>
                  </a:lnTo>
                  <a:lnTo>
                    <a:pt x="338" y="576"/>
                  </a:lnTo>
                  <a:lnTo>
                    <a:pt x="336" y="576"/>
                  </a:lnTo>
                  <a:lnTo>
                    <a:pt x="335" y="576"/>
                  </a:lnTo>
                  <a:lnTo>
                    <a:pt x="328" y="580"/>
                  </a:lnTo>
                  <a:lnTo>
                    <a:pt x="322" y="585"/>
                  </a:lnTo>
                  <a:lnTo>
                    <a:pt x="322" y="585"/>
                  </a:lnTo>
                  <a:lnTo>
                    <a:pt x="319" y="588"/>
                  </a:lnTo>
                  <a:lnTo>
                    <a:pt x="317" y="588"/>
                  </a:lnTo>
                  <a:lnTo>
                    <a:pt x="314" y="587"/>
                  </a:lnTo>
                  <a:lnTo>
                    <a:pt x="308" y="583"/>
                  </a:lnTo>
                  <a:lnTo>
                    <a:pt x="303" y="581"/>
                  </a:lnTo>
                  <a:lnTo>
                    <a:pt x="298" y="583"/>
                  </a:lnTo>
                  <a:lnTo>
                    <a:pt x="298" y="583"/>
                  </a:lnTo>
                  <a:lnTo>
                    <a:pt x="289" y="583"/>
                  </a:lnTo>
                  <a:lnTo>
                    <a:pt x="282" y="581"/>
                  </a:lnTo>
                  <a:lnTo>
                    <a:pt x="279" y="581"/>
                  </a:lnTo>
                  <a:lnTo>
                    <a:pt x="277" y="583"/>
                  </a:lnTo>
                  <a:lnTo>
                    <a:pt x="277" y="585"/>
                  </a:lnTo>
                  <a:lnTo>
                    <a:pt x="277" y="590"/>
                  </a:lnTo>
                  <a:lnTo>
                    <a:pt x="277" y="590"/>
                  </a:lnTo>
                  <a:lnTo>
                    <a:pt x="277" y="595"/>
                  </a:lnTo>
                  <a:lnTo>
                    <a:pt x="275" y="597"/>
                  </a:lnTo>
                  <a:lnTo>
                    <a:pt x="272" y="599"/>
                  </a:lnTo>
                  <a:lnTo>
                    <a:pt x="268" y="599"/>
                  </a:lnTo>
                  <a:lnTo>
                    <a:pt x="265" y="600"/>
                  </a:lnTo>
                  <a:lnTo>
                    <a:pt x="260" y="600"/>
                  </a:lnTo>
                  <a:lnTo>
                    <a:pt x="256" y="604"/>
                  </a:lnTo>
                  <a:lnTo>
                    <a:pt x="255" y="609"/>
                  </a:lnTo>
                  <a:lnTo>
                    <a:pt x="255" y="609"/>
                  </a:lnTo>
                  <a:lnTo>
                    <a:pt x="249" y="604"/>
                  </a:lnTo>
                  <a:lnTo>
                    <a:pt x="248" y="602"/>
                  </a:lnTo>
                  <a:lnTo>
                    <a:pt x="244" y="602"/>
                  </a:lnTo>
                  <a:lnTo>
                    <a:pt x="242" y="602"/>
                  </a:lnTo>
                  <a:lnTo>
                    <a:pt x="239" y="604"/>
                  </a:lnTo>
                  <a:lnTo>
                    <a:pt x="237" y="604"/>
                  </a:lnTo>
                  <a:lnTo>
                    <a:pt x="234" y="602"/>
                  </a:lnTo>
                  <a:lnTo>
                    <a:pt x="234" y="602"/>
                  </a:lnTo>
                  <a:lnTo>
                    <a:pt x="230" y="599"/>
                  </a:lnTo>
                  <a:lnTo>
                    <a:pt x="230" y="597"/>
                  </a:lnTo>
                  <a:lnTo>
                    <a:pt x="232" y="595"/>
                  </a:lnTo>
                  <a:lnTo>
                    <a:pt x="228" y="592"/>
                  </a:lnTo>
                  <a:lnTo>
                    <a:pt x="228" y="592"/>
                  </a:lnTo>
                  <a:lnTo>
                    <a:pt x="227" y="588"/>
                  </a:lnTo>
                  <a:lnTo>
                    <a:pt x="227" y="585"/>
                  </a:lnTo>
                  <a:lnTo>
                    <a:pt x="227" y="581"/>
                  </a:lnTo>
                  <a:lnTo>
                    <a:pt x="223" y="576"/>
                  </a:lnTo>
                  <a:lnTo>
                    <a:pt x="223" y="576"/>
                  </a:lnTo>
                  <a:lnTo>
                    <a:pt x="221" y="574"/>
                  </a:lnTo>
                  <a:lnTo>
                    <a:pt x="221" y="571"/>
                  </a:lnTo>
                  <a:lnTo>
                    <a:pt x="221" y="566"/>
                  </a:lnTo>
                  <a:lnTo>
                    <a:pt x="221" y="562"/>
                  </a:lnTo>
                  <a:lnTo>
                    <a:pt x="220" y="560"/>
                  </a:lnTo>
                  <a:lnTo>
                    <a:pt x="218" y="559"/>
                  </a:lnTo>
                  <a:lnTo>
                    <a:pt x="213" y="559"/>
                  </a:lnTo>
                  <a:lnTo>
                    <a:pt x="213" y="559"/>
                  </a:lnTo>
                  <a:lnTo>
                    <a:pt x="206" y="557"/>
                  </a:lnTo>
                  <a:lnTo>
                    <a:pt x="204" y="555"/>
                  </a:lnTo>
                  <a:lnTo>
                    <a:pt x="202" y="552"/>
                  </a:lnTo>
                  <a:lnTo>
                    <a:pt x="204" y="547"/>
                  </a:lnTo>
                  <a:lnTo>
                    <a:pt x="202" y="538"/>
                  </a:lnTo>
                  <a:lnTo>
                    <a:pt x="202" y="538"/>
                  </a:lnTo>
                  <a:lnTo>
                    <a:pt x="202" y="536"/>
                  </a:lnTo>
                  <a:lnTo>
                    <a:pt x="199" y="534"/>
                  </a:lnTo>
                  <a:lnTo>
                    <a:pt x="192" y="533"/>
                  </a:lnTo>
                  <a:lnTo>
                    <a:pt x="169" y="533"/>
                  </a:lnTo>
                  <a:lnTo>
                    <a:pt x="147" y="536"/>
                  </a:lnTo>
                  <a:lnTo>
                    <a:pt x="140" y="538"/>
                  </a:lnTo>
                  <a:lnTo>
                    <a:pt x="136" y="540"/>
                  </a:lnTo>
                  <a:lnTo>
                    <a:pt x="136" y="540"/>
                  </a:lnTo>
                  <a:lnTo>
                    <a:pt x="133" y="543"/>
                  </a:lnTo>
                  <a:lnTo>
                    <a:pt x="129" y="541"/>
                  </a:lnTo>
                  <a:lnTo>
                    <a:pt x="120" y="540"/>
                  </a:lnTo>
                  <a:lnTo>
                    <a:pt x="107" y="536"/>
                  </a:lnTo>
                  <a:lnTo>
                    <a:pt x="107" y="536"/>
                  </a:lnTo>
                  <a:lnTo>
                    <a:pt x="100" y="536"/>
                  </a:lnTo>
                  <a:lnTo>
                    <a:pt x="96" y="536"/>
                  </a:lnTo>
                  <a:lnTo>
                    <a:pt x="94" y="538"/>
                  </a:lnTo>
                  <a:lnTo>
                    <a:pt x="93" y="540"/>
                  </a:lnTo>
                  <a:lnTo>
                    <a:pt x="93" y="541"/>
                  </a:lnTo>
                  <a:lnTo>
                    <a:pt x="91" y="543"/>
                  </a:lnTo>
                  <a:lnTo>
                    <a:pt x="86" y="541"/>
                  </a:lnTo>
                  <a:lnTo>
                    <a:pt x="79" y="540"/>
                  </a:lnTo>
                  <a:lnTo>
                    <a:pt x="79" y="540"/>
                  </a:lnTo>
                  <a:lnTo>
                    <a:pt x="70" y="538"/>
                  </a:lnTo>
                  <a:lnTo>
                    <a:pt x="65" y="538"/>
                  </a:lnTo>
                  <a:lnTo>
                    <a:pt x="60" y="538"/>
                  </a:lnTo>
                  <a:lnTo>
                    <a:pt x="58" y="540"/>
                  </a:lnTo>
                  <a:lnTo>
                    <a:pt x="54" y="543"/>
                  </a:lnTo>
                  <a:lnTo>
                    <a:pt x="53" y="543"/>
                  </a:lnTo>
                  <a:lnTo>
                    <a:pt x="51" y="543"/>
                  </a:lnTo>
                  <a:lnTo>
                    <a:pt x="51" y="543"/>
                  </a:lnTo>
                  <a:lnTo>
                    <a:pt x="49" y="541"/>
                  </a:lnTo>
                  <a:lnTo>
                    <a:pt x="46" y="543"/>
                  </a:lnTo>
                  <a:lnTo>
                    <a:pt x="39" y="547"/>
                  </a:lnTo>
                  <a:lnTo>
                    <a:pt x="37" y="548"/>
                  </a:lnTo>
                  <a:lnTo>
                    <a:pt x="33" y="548"/>
                  </a:lnTo>
                  <a:lnTo>
                    <a:pt x="30" y="547"/>
                  </a:lnTo>
                  <a:lnTo>
                    <a:pt x="26" y="540"/>
                  </a:lnTo>
                  <a:lnTo>
                    <a:pt x="26" y="540"/>
                  </a:lnTo>
                  <a:lnTo>
                    <a:pt x="28" y="531"/>
                  </a:lnTo>
                  <a:lnTo>
                    <a:pt x="30" y="522"/>
                  </a:lnTo>
                  <a:lnTo>
                    <a:pt x="30" y="512"/>
                  </a:lnTo>
                  <a:lnTo>
                    <a:pt x="33" y="501"/>
                  </a:lnTo>
                  <a:lnTo>
                    <a:pt x="33" y="501"/>
                  </a:lnTo>
                  <a:lnTo>
                    <a:pt x="35" y="496"/>
                  </a:lnTo>
                  <a:lnTo>
                    <a:pt x="37" y="494"/>
                  </a:lnTo>
                  <a:lnTo>
                    <a:pt x="44" y="491"/>
                  </a:lnTo>
                  <a:lnTo>
                    <a:pt x="49" y="489"/>
                  </a:lnTo>
                  <a:lnTo>
                    <a:pt x="51" y="487"/>
                  </a:lnTo>
                  <a:lnTo>
                    <a:pt x="51" y="486"/>
                  </a:lnTo>
                  <a:lnTo>
                    <a:pt x="51" y="486"/>
                  </a:lnTo>
                  <a:lnTo>
                    <a:pt x="53" y="482"/>
                  </a:lnTo>
                  <a:lnTo>
                    <a:pt x="56" y="480"/>
                  </a:lnTo>
                  <a:lnTo>
                    <a:pt x="66" y="479"/>
                  </a:lnTo>
                  <a:lnTo>
                    <a:pt x="77" y="477"/>
                  </a:lnTo>
                  <a:lnTo>
                    <a:pt x="80" y="475"/>
                  </a:lnTo>
                  <a:lnTo>
                    <a:pt x="82" y="472"/>
                  </a:lnTo>
                  <a:lnTo>
                    <a:pt x="82" y="472"/>
                  </a:lnTo>
                  <a:lnTo>
                    <a:pt x="82" y="466"/>
                  </a:lnTo>
                  <a:lnTo>
                    <a:pt x="84" y="459"/>
                  </a:lnTo>
                  <a:lnTo>
                    <a:pt x="86" y="456"/>
                  </a:lnTo>
                  <a:lnTo>
                    <a:pt x="84" y="451"/>
                  </a:lnTo>
                  <a:lnTo>
                    <a:pt x="84" y="451"/>
                  </a:lnTo>
                  <a:lnTo>
                    <a:pt x="82" y="451"/>
                  </a:lnTo>
                  <a:lnTo>
                    <a:pt x="79" y="449"/>
                  </a:lnTo>
                  <a:lnTo>
                    <a:pt x="73" y="451"/>
                  </a:lnTo>
                  <a:lnTo>
                    <a:pt x="68" y="449"/>
                  </a:lnTo>
                  <a:lnTo>
                    <a:pt x="66" y="447"/>
                  </a:lnTo>
                  <a:lnTo>
                    <a:pt x="68" y="444"/>
                  </a:lnTo>
                  <a:lnTo>
                    <a:pt x="68" y="444"/>
                  </a:lnTo>
                  <a:lnTo>
                    <a:pt x="70" y="437"/>
                  </a:lnTo>
                  <a:lnTo>
                    <a:pt x="70" y="426"/>
                  </a:lnTo>
                  <a:lnTo>
                    <a:pt x="68" y="418"/>
                  </a:lnTo>
                  <a:lnTo>
                    <a:pt x="66" y="409"/>
                  </a:lnTo>
                  <a:lnTo>
                    <a:pt x="66" y="409"/>
                  </a:lnTo>
                  <a:lnTo>
                    <a:pt x="66" y="404"/>
                  </a:lnTo>
                  <a:lnTo>
                    <a:pt x="65" y="404"/>
                  </a:lnTo>
                  <a:lnTo>
                    <a:pt x="61" y="405"/>
                  </a:lnTo>
                  <a:lnTo>
                    <a:pt x="60" y="404"/>
                  </a:lnTo>
                  <a:lnTo>
                    <a:pt x="58" y="402"/>
                  </a:lnTo>
                  <a:lnTo>
                    <a:pt x="58" y="402"/>
                  </a:lnTo>
                  <a:lnTo>
                    <a:pt x="54" y="399"/>
                  </a:lnTo>
                  <a:lnTo>
                    <a:pt x="51" y="395"/>
                  </a:lnTo>
                  <a:lnTo>
                    <a:pt x="42" y="393"/>
                  </a:lnTo>
                  <a:lnTo>
                    <a:pt x="37" y="392"/>
                  </a:lnTo>
                  <a:lnTo>
                    <a:pt x="33" y="388"/>
                  </a:lnTo>
                  <a:lnTo>
                    <a:pt x="28" y="383"/>
                  </a:lnTo>
                  <a:lnTo>
                    <a:pt x="25" y="376"/>
                  </a:lnTo>
                  <a:lnTo>
                    <a:pt x="25" y="376"/>
                  </a:lnTo>
                  <a:lnTo>
                    <a:pt x="19" y="362"/>
                  </a:lnTo>
                  <a:lnTo>
                    <a:pt x="14" y="351"/>
                  </a:lnTo>
                  <a:lnTo>
                    <a:pt x="7" y="341"/>
                  </a:lnTo>
                  <a:lnTo>
                    <a:pt x="0" y="332"/>
                  </a:lnTo>
                  <a:lnTo>
                    <a:pt x="0" y="332"/>
                  </a:lnTo>
                  <a:lnTo>
                    <a:pt x="9" y="332"/>
                  </a:lnTo>
                  <a:lnTo>
                    <a:pt x="18" y="336"/>
                  </a:lnTo>
                  <a:lnTo>
                    <a:pt x="39" y="346"/>
                  </a:lnTo>
                  <a:lnTo>
                    <a:pt x="53" y="351"/>
                  </a:lnTo>
                  <a:lnTo>
                    <a:pt x="70" y="355"/>
                  </a:lnTo>
                  <a:lnTo>
                    <a:pt x="91" y="355"/>
                  </a:lnTo>
                  <a:lnTo>
                    <a:pt x="115" y="351"/>
                  </a:lnTo>
                  <a:lnTo>
                    <a:pt x="115" y="351"/>
                  </a:lnTo>
                  <a:lnTo>
                    <a:pt x="159" y="341"/>
                  </a:lnTo>
                  <a:lnTo>
                    <a:pt x="171" y="338"/>
                  </a:lnTo>
                  <a:lnTo>
                    <a:pt x="181" y="334"/>
                  </a:lnTo>
                  <a:lnTo>
                    <a:pt x="188" y="329"/>
                  </a:lnTo>
                  <a:lnTo>
                    <a:pt x="192" y="324"/>
                  </a:lnTo>
                  <a:lnTo>
                    <a:pt x="192" y="317"/>
                  </a:lnTo>
                  <a:lnTo>
                    <a:pt x="192" y="306"/>
                  </a:lnTo>
                  <a:lnTo>
                    <a:pt x="192" y="306"/>
                  </a:lnTo>
                  <a:lnTo>
                    <a:pt x="192" y="296"/>
                  </a:lnTo>
                  <a:lnTo>
                    <a:pt x="197" y="287"/>
                  </a:lnTo>
                  <a:lnTo>
                    <a:pt x="202" y="280"/>
                  </a:lnTo>
                  <a:lnTo>
                    <a:pt x="211" y="275"/>
                  </a:lnTo>
                  <a:lnTo>
                    <a:pt x="230" y="264"/>
                  </a:lnTo>
                  <a:lnTo>
                    <a:pt x="241" y="259"/>
                  </a:lnTo>
                  <a:lnTo>
                    <a:pt x="249" y="252"/>
                  </a:lnTo>
                  <a:lnTo>
                    <a:pt x="249" y="252"/>
                  </a:lnTo>
                  <a:lnTo>
                    <a:pt x="256" y="247"/>
                  </a:lnTo>
                  <a:lnTo>
                    <a:pt x="263" y="245"/>
                  </a:lnTo>
                  <a:lnTo>
                    <a:pt x="268" y="245"/>
                  </a:lnTo>
                  <a:lnTo>
                    <a:pt x="274" y="247"/>
                  </a:lnTo>
                  <a:lnTo>
                    <a:pt x="284" y="251"/>
                  </a:lnTo>
                  <a:lnTo>
                    <a:pt x="288" y="251"/>
                  </a:lnTo>
                  <a:lnTo>
                    <a:pt x="291" y="247"/>
                  </a:lnTo>
                  <a:lnTo>
                    <a:pt x="291" y="247"/>
                  </a:lnTo>
                  <a:lnTo>
                    <a:pt x="293" y="244"/>
                  </a:lnTo>
                  <a:lnTo>
                    <a:pt x="295" y="240"/>
                  </a:lnTo>
                  <a:lnTo>
                    <a:pt x="295" y="231"/>
                  </a:lnTo>
                  <a:lnTo>
                    <a:pt x="295" y="221"/>
                  </a:lnTo>
                  <a:lnTo>
                    <a:pt x="298" y="204"/>
                  </a:lnTo>
                  <a:lnTo>
                    <a:pt x="298" y="204"/>
                  </a:lnTo>
                  <a:lnTo>
                    <a:pt x="302" y="193"/>
                  </a:lnTo>
                  <a:lnTo>
                    <a:pt x="308" y="186"/>
                  </a:lnTo>
                  <a:lnTo>
                    <a:pt x="315" y="183"/>
                  </a:lnTo>
                  <a:lnTo>
                    <a:pt x="322" y="181"/>
                  </a:lnTo>
                  <a:lnTo>
                    <a:pt x="328" y="177"/>
                  </a:lnTo>
                  <a:lnTo>
                    <a:pt x="329" y="174"/>
                  </a:lnTo>
                  <a:lnTo>
                    <a:pt x="329" y="169"/>
                  </a:lnTo>
                  <a:lnTo>
                    <a:pt x="324" y="160"/>
                  </a:lnTo>
                  <a:lnTo>
                    <a:pt x="324" y="160"/>
                  </a:lnTo>
                  <a:lnTo>
                    <a:pt x="319" y="148"/>
                  </a:lnTo>
                  <a:lnTo>
                    <a:pt x="319" y="144"/>
                  </a:lnTo>
                  <a:lnTo>
                    <a:pt x="319" y="143"/>
                  </a:lnTo>
                  <a:lnTo>
                    <a:pt x="322" y="141"/>
                  </a:lnTo>
                  <a:lnTo>
                    <a:pt x="326" y="141"/>
                  </a:lnTo>
                  <a:lnTo>
                    <a:pt x="335" y="141"/>
                  </a:lnTo>
                  <a:lnTo>
                    <a:pt x="345" y="143"/>
                  </a:lnTo>
                  <a:lnTo>
                    <a:pt x="354" y="143"/>
                  </a:lnTo>
                  <a:lnTo>
                    <a:pt x="357" y="141"/>
                  </a:lnTo>
                  <a:lnTo>
                    <a:pt x="361" y="139"/>
                  </a:lnTo>
                  <a:lnTo>
                    <a:pt x="362" y="134"/>
                  </a:lnTo>
                  <a:lnTo>
                    <a:pt x="364" y="129"/>
                  </a:lnTo>
                  <a:lnTo>
                    <a:pt x="364" y="129"/>
                  </a:lnTo>
                  <a:lnTo>
                    <a:pt x="364" y="122"/>
                  </a:lnTo>
                  <a:lnTo>
                    <a:pt x="368" y="115"/>
                  </a:lnTo>
                  <a:lnTo>
                    <a:pt x="373" y="103"/>
                  </a:lnTo>
                  <a:lnTo>
                    <a:pt x="375" y="97"/>
                  </a:lnTo>
                  <a:lnTo>
                    <a:pt x="376" y="90"/>
                  </a:lnTo>
                  <a:lnTo>
                    <a:pt x="375" y="82"/>
                  </a:lnTo>
                  <a:lnTo>
                    <a:pt x="373" y="71"/>
                  </a:lnTo>
                  <a:lnTo>
                    <a:pt x="373" y="71"/>
                  </a:lnTo>
                  <a:lnTo>
                    <a:pt x="368" y="62"/>
                  </a:lnTo>
                  <a:lnTo>
                    <a:pt x="366" y="54"/>
                  </a:lnTo>
                  <a:lnTo>
                    <a:pt x="368" y="47"/>
                  </a:lnTo>
                  <a:lnTo>
                    <a:pt x="369" y="40"/>
                  </a:lnTo>
                  <a:lnTo>
                    <a:pt x="375" y="35"/>
                  </a:lnTo>
                  <a:lnTo>
                    <a:pt x="383" y="28"/>
                  </a:lnTo>
                  <a:lnTo>
                    <a:pt x="409" y="15"/>
                  </a:lnTo>
                  <a:lnTo>
                    <a:pt x="409" y="15"/>
                  </a:lnTo>
                  <a:lnTo>
                    <a:pt x="423" y="9"/>
                  </a:lnTo>
                  <a:lnTo>
                    <a:pt x="437" y="7"/>
                  </a:lnTo>
                  <a:lnTo>
                    <a:pt x="446" y="7"/>
                  </a:lnTo>
                  <a:lnTo>
                    <a:pt x="455" y="9"/>
                  </a:lnTo>
                  <a:lnTo>
                    <a:pt x="463" y="10"/>
                  </a:lnTo>
                  <a:lnTo>
                    <a:pt x="469" y="9"/>
                  </a:lnTo>
                  <a:lnTo>
                    <a:pt x="474" y="7"/>
                  </a:lnTo>
                  <a:lnTo>
                    <a:pt x="479" y="0"/>
                  </a:lnTo>
                  <a:lnTo>
                    <a:pt x="479"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6" name="Freeform 1741">
              <a:extLst>
                <a:ext uri="{FF2B5EF4-FFF2-40B4-BE49-F238E27FC236}">
                  <a16:creationId xmlns:a16="http://schemas.microsoft.com/office/drawing/2014/main" id="{EBDE9B9C-EB77-4DB2-B342-CE7B25AC9CE7}"/>
                </a:ext>
              </a:extLst>
            </p:cNvPr>
            <p:cNvSpPr>
              <a:spLocks/>
            </p:cNvSpPr>
            <p:nvPr/>
          </p:nvSpPr>
          <p:spPr bwMode="auto">
            <a:xfrm>
              <a:off x="5961944" y="3109227"/>
              <a:ext cx="539173" cy="542699"/>
            </a:xfrm>
            <a:custGeom>
              <a:avLst/>
              <a:gdLst/>
              <a:ahLst/>
              <a:cxnLst>
                <a:cxn ang="0">
                  <a:pos x="207" y="110"/>
                </a:cxn>
                <a:cxn ang="0">
                  <a:pos x="259" y="148"/>
                </a:cxn>
                <a:cxn ang="0">
                  <a:pos x="345" y="136"/>
                </a:cxn>
                <a:cxn ang="0">
                  <a:pos x="352" y="138"/>
                </a:cxn>
                <a:cxn ang="0">
                  <a:pos x="378" y="97"/>
                </a:cxn>
                <a:cxn ang="0">
                  <a:pos x="432" y="78"/>
                </a:cxn>
                <a:cxn ang="0">
                  <a:pos x="460" y="73"/>
                </a:cxn>
                <a:cxn ang="0">
                  <a:pos x="493" y="92"/>
                </a:cxn>
                <a:cxn ang="0">
                  <a:pos x="524" y="101"/>
                </a:cxn>
                <a:cxn ang="0">
                  <a:pos x="550" y="125"/>
                </a:cxn>
                <a:cxn ang="0">
                  <a:pos x="599" y="148"/>
                </a:cxn>
                <a:cxn ang="0">
                  <a:pos x="601" y="176"/>
                </a:cxn>
                <a:cxn ang="0">
                  <a:pos x="601" y="218"/>
                </a:cxn>
                <a:cxn ang="0">
                  <a:pos x="587" y="327"/>
                </a:cxn>
                <a:cxn ang="0">
                  <a:pos x="613" y="392"/>
                </a:cxn>
                <a:cxn ang="0">
                  <a:pos x="615" y="430"/>
                </a:cxn>
                <a:cxn ang="0">
                  <a:pos x="615" y="505"/>
                </a:cxn>
                <a:cxn ang="0">
                  <a:pos x="648" y="531"/>
                </a:cxn>
                <a:cxn ang="0">
                  <a:pos x="660" y="566"/>
                </a:cxn>
                <a:cxn ang="0">
                  <a:pos x="674" y="580"/>
                </a:cxn>
                <a:cxn ang="0">
                  <a:pos x="646" y="609"/>
                </a:cxn>
                <a:cxn ang="0">
                  <a:pos x="623" y="630"/>
                </a:cxn>
                <a:cxn ang="0">
                  <a:pos x="613" y="674"/>
                </a:cxn>
                <a:cxn ang="0">
                  <a:pos x="582" y="665"/>
                </a:cxn>
                <a:cxn ang="0">
                  <a:pos x="545" y="660"/>
                </a:cxn>
                <a:cxn ang="0">
                  <a:pos x="510" y="653"/>
                </a:cxn>
                <a:cxn ang="0">
                  <a:pos x="477" y="648"/>
                </a:cxn>
                <a:cxn ang="0">
                  <a:pos x="448" y="587"/>
                </a:cxn>
                <a:cxn ang="0">
                  <a:pos x="413" y="590"/>
                </a:cxn>
                <a:cxn ang="0">
                  <a:pos x="390" y="602"/>
                </a:cxn>
                <a:cxn ang="0">
                  <a:pos x="348" y="602"/>
                </a:cxn>
                <a:cxn ang="0">
                  <a:pos x="300" y="573"/>
                </a:cxn>
                <a:cxn ang="0">
                  <a:pos x="256" y="541"/>
                </a:cxn>
                <a:cxn ang="0">
                  <a:pos x="237" y="498"/>
                </a:cxn>
                <a:cxn ang="0">
                  <a:pos x="211" y="449"/>
                </a:cxn>
                <a:cxn ang="0">
                  <a:pos x="174" y="442"/>
                </a:cxn>
                <a:cxn ang="0">
                  <a:pos x="155" y="451"/>
                </a:cxn>
                <a:cxn ang="0">
                  <a:pos x="132" y="409"/>
                </a:cxn>
                <a:cxn ang="0">
                  <a:pos x="127" y="357"/>
                </a:cxn>
                <a:cxn ang="0">
                  <a:pos x="73" y="299"/>
                </a:cxn>
                <a:cxn ang="0">
                  <a:pos x="54" y="242"/>
                </a:cxn>
                <a:cxn ang="0">
                  <a:pos x="70" y="197"/>
                </a:cxn>
                <a:cxn ang="0">
                  <a:pos x="63" y="183"/>
                </a:cxn>
                <a:cxn ang="0">
                  <a:pos x="26" y="124"/>
                </a:cxn>
                <a:cxn ang="0">
                  <a:pos x="5" y="89"/>
                </a:cxn>
                <a:cxn ang="0">
                  <a:pos x="10" y="66"/>
                </a:cxn>
                <a:cxn ang="0">
                  <a:pos x="4" y="37"/>
                </a:cxn>
                <a:cxn ang="0">
                  <a:pos x="0" y="17"/>
                </a:cxn>
                <a:cxn ang="0">
                  <a:pos x="17" y="0"/>
                </a:cxn>
                <a:cxn ang="0">
                  <a:pos x="51" y="37"/>
                </a:cxn>
                <a:cxn ang="0">
                  <a:pos x="84" y="42"/>
                </a:cxn>
                <a:cxn ang="0">
                  <a:pos x="117" y="16"/>
                </a:cxn>
                <a:cxn ang="0">
                  <a:pos x="150" y="21"/>
                </a:cxn>
                <a:cxn ang="0">
                  <a:pos x="150" y="35"/>
                </a:cxn>
                <a:cxn ang="0">
                  <a:pos x="145" y="47"/>
                </a:cxn>
                <a:cxn ang="0">
                  <a:pos x="153" y="54"/>
                </a:cxn>
              </a:cxnLst>
              <a:rect l="0" t="0" r="r" b="b"/>
              <a:pathLst>
                <a:path w="676" h="676">
                  <a:moveTo>
                    <a:pt x="169" y="64"/>
                  </a:moveTo>
                  <a:lnTo>
                    <a:pt x="169" y="64"/>
                  </a:lnTo>
                  <a:lnTo>
                    <a:pt x="172" y="85"/>
                  </a:lnTo>
                  <a:lnTo>
                    <a:pt x="174" y="94"/>
                  </a:lnTo>
                  <a:lnTo>
                    <a:pt x="176" y="99"/>
                  </a:lnTo>
                  <a:lnTo>
                    <a:pt x="179" y="103"/>
                  </a:lnTo>
                  <a:lnTo>
                    <a:pt x="183" y="106"/>
                  </a:lnTo>
                  <a:lnTo>
                    <a:pt x="192" y="110"/>
                  </a:lnTo>
                  <a:lnTo>
                    <a:pt x="207" y="110"/>
                  </a:lnTo>
                  <a:lnTo>
                    <a:pt x="212" y="111"/>
                  </a:lnTo>
                  <a:lnTo>
                    <a:pt x="216" y="115"/>
                  </a:lnTo>
                  <a:lnTo>
                    <a:pt x="218" y="118"/>
                  </a:lnTo>
                  <a:lnTo>
                    <a:pt x="218" y="118"/>
                  </a:lnTo>
                  <a:lnTo>
                    <a:pt x="223" y="127"/>
                  </a:lnTo>
                  <a:lnTo>
                    <a:pt x="232" y="134"/>
                  </a:lnTo>
                  <a:lnTo>
                    <a:pt x="240" y="141"/>
                  </a:lnTo>
                  <a:lnTo>
                    <a:pt x="251" y="144"/>
                  </a:lnTo>
                  <a:lnTo>
                    <a:pt x="259" y="148"/>
                  </a:lnTo>
                  <a:lnTo>
                    <a:pt x="270" y="151"/>
                  </a:lnTo>
                  <a:lnTo>
                    <a:pt x="277" y="151"/>
                  </a:lnTo>
                  <a:lnTo>
                    <a:pt x="282" y="151"/>
                  </a:lnTo>
                  <a:lnTo>
                    <a:pt x="282" y="151"/>
                  </a:lnTo>
                  <a:lnTo>
                    <a:pt x="315" y="141"/>
                  </a:lnTo>
                  <a:lnTo>
                    <a:pt x="334" y="138"/>
                  </a:lnTo>
                  <a:lnTo>
                    <a:pt x="345" y="136"/>
                  </a:lnTo>
                  <a:lnTo>
                    <a:pt x="345" y="136"/>
                  </a:lnTo>
                  <a:lnTo>
                    <a:pt x="345" y="136"/>
                  </a:lnTo>
                  <a:lnTo>
                    <a:pt x="343" y="138"/>
                  </a:lnTo>
                  <a:lnTo>
                    <a:pt x="340" y="139"/>
                  </a:lnTo>
                  <a:lnTo>
                    <a:pt x="338" y="141"/>
                  </a:lnTo>
                  <a:lnTo>
                    <a:pt x="338" y="141"/>
                  </a:lnTo>
                  <a:lnTo>
                    <a:pt x="347" y="143"/>
                  </a:lnTo>
                  <a:lnTo>
                    <a:pt x="347" y="143"/>
                  </a:lnTo>
                  <a:lnTo>
                    <a:pt x="350" y="143"/>
                  </a:lnTo>
                  <a:lnTo>
                    <a:pt x="352" y="139"/>
                  </a:lnTo>
                  <a:lnTo>
                    <a:pt x="352" y="138"/>
                  </a:lnTo>
                  <a:lnTo>
                    <a:pt x="352" y="132"/>
                  </a:lnTo>
                  <a:lnTo>
                    <a:pt x="347" y="115"/>
                  </a:lnTo>
                  <a:lnTo>
                    <a:pt x="347" y="115"/>
                  </a:lnTo>
                  <a:lnTo>
                    <a:pt x="362" y="115"/>
                  </a:lnTo>
                  <a:lnTo>
                    <a:pt x="371" y="111"/>
                  </a:lnTo>
                  <a:lnTo>
                    <a:pt x="374" y="110"/>
                  </a:lnTo>
                  <a:lnTo>
                    <a:pt x="376" y="106"/>
                  </a:lnTo>
                  <a:lnTo>
                    <a:pt x="376" y="103"/>
                  </a:lnTo>
                  <a:lnTo>
                    <a:pt x="378" y="97"/>
                  </a:lnTo>
                  <a:lnTo>
                    <a:pt x="383" y="92"/>
                  </a:lnTo>
                  <a:lnTo>
                    <a:pt x="392" y="85"/>
                  </a:lnTo>
                  <a:lnTo>
                    <a:pt x="392" y="85"/>
                  </a:lnTo>
                  <a:lnTo>
                    <a:pt x="399" y="82"/>
                  </a:lnTo>
                  <a:lnTo>
                    <a:pt x="407" y="82"/>
                  </a:lnTo>
                  <a:lnTo>
                    <a:pt x="420" y="82"/>
                  </a:lnTo>
                  <a:lnTo>
                    <a:pt x="427" y="84"/>
                  </a:lnTo>
                  <a:lnTo>
                    <a:pt x="430" y="82"/>
                  </a:lnTo>
                  <a:lnTo>
                    <a:pt x="432" y="78"/>
                  </a:lnTo>
                  <a:lnTo>
                    <a:pt x="432" y="78"/>
                  </a:lnTo>
                  <a:lnTo>
                    <a:pt x="435" y="73"/>
                  </a:lnTo>
                  <a:lnTo>
                    <a:pt x="441" y="71"/>
                  </a:lnTo>
                  <a:lnTo>
                    <a:pt x="446" y="71"/>
                  </a:lnTo>
                  <a:lnTo>
                    <a:pt x="451" y="75"/>
                  </a:lnTo>
                  <a:lnTo>
                    <a:pt x="451" y="75"/>
                  </a:lnTo>
                  <a:lnTo>
                    <a:pt x="454" y="75"/>
                  </a:lnTo>
                  <a:lnTo>
                    <a:pt x="456" y="75"/>
                  </a:lnTo>
                  <a:lnTo>
                    <a:pt x="460" y="73"/>
                  </a:lnTo>
                  <a:lnTo>
                    <a:pt x="460" y="71"/>
                  </a:lnTo>
                  <a:lnTo>
                    <a:pt x="461" y="71"/>
                  </a:lnTo>
                  <a:lnTo>
                    <a:pt x="463" y="73"/>
                  </a:lnTo>
                  <a:lnTo>
                    <a:pt x="465" y="77"/>
                  </a:lnTo>
                  <a:lnTo>
                    <a:pt x="465" y="77"/>
                  </a:lnTo>
                  <a:lnTo>
                    <a:pt x="468" y="82"/>
                  </a:lnTo>
                  <a:lnTo>
                    <a:pt x="472" y="85"/>
                  </a:lnTo>
                  <a:lnTo>
                    <a:pt x="482" y="89"/>
                  </a:lnTo>
                  <a:lnTo>
                    <a:pt x="493" y="92"/>
                  </a:lnTo>
                  <a:lnTo>
                    <a:pt x="496" y="94"/>
                  </a:lnTo>
                  <a:lnTo>
                    <a:pt x="498" y="97"/>
                  </a:lnTo>
                  <a:lnTo>
                    <a:pt x="498" y="97"/>
                  </a:lnTo>
                  <a:lnTo>
                    <a:pt x="500" y="103"/>
                  </a:lnTo>
                  <a:lnTo>
                    <a:pt x="503" y="101"/>
                  </a:lnTo>
                  <a:lnTo>
                    <a:pt x="512" y="99"/>
                  </a:lnTo>
                  <a:lnTo>
                    <a:pt x="517" y="99"/>
                  </a:lnTo>
                  <a:lnTo>
                    <a:pt x="524" y="101"/>
                  </a:lnTo>
                  <a:lnTo>
                    <a:pt x="524" y="101"/>
                  </a:lnTo>
                  <a:lnTo>
                    <a:pt x="531" y="104"/>
                  </a:lnTo>
                  <a:lnTo>
                    <a:pt x="536" y="106"/>
                  </a:lnTo>
                  <a:lnTo>
                    <a:pt x="538" y="110"/>
                  </a:lnTo>
                  <a:lnTo>
                    <a:pt x="538" y="113"/>
                  </a:lnTo>
                  <a:lnTo>
                    <a:pt x="538" y="117"/>
                  </a:lnTo>
                  <a:lnTo>
                    <a:pt x="540" y="118"/>
                  </a:lnTo>
                  <a:lnTo>
                    <a:pt x="543" y="122"/>
                  </a:lnTo>
                  <a:lnTo>
                    <a:pt x="550" y="125"/>
                  </a:lnTo>
                  <a:lnTo>
                    <a:pt x="550" y="125"/>
                  </a:lnTo>
                  <a:lnTo>
                    <a:pt x="557" y="129"/>
                  </a:lnTo>
                  <a:lnTo>
                    <a:pt x="562" y="132"/>
                  </a:lnTo>
                  <a:lnTo>
                    <a:pt x="568" y="139"/>
                  </a:lnTo>
                  <a:lnTo>
                    <a:pt x="571" y="146"/>
                  </a:lnTo>
                  <a:lnTo>
                    <a:pt x="573" y="148"/>
                  </a:lnTo>
                  <a:lnTo>
                    <a:pt x="578" y="148"/>
                  </a:lnTo>
                  <a:lnTo>
                    <a:pt x="578" y="148"/>
                  </a:lnTo>
                  <a:lnTo>
                    <a:pt x="594" y="148"/>
                  </a:lnTo>
                  <a:lnTo>
                    <a:pt x="599" y="148"/>
                  </a:lnTo>
                  <a:lnTo>
                    <a:pt x="602" y="151"/>
                  </a:lnTo>
                  <a:lnTo>
                    <a:pt x="602" y="151"/>
                  </a:lnTo>
                  <a:lnTo>
                    <a:pt x="602" y="155"/>
                  </a:lnTo>
                  <a:lnTo>
                    <a:pt x="601" y="158"/>
                  </a:lnTo>
                  <a:lnTo>
                    <a:pt x="601" y="160"/>
                  </a:lnTo>
                  <a:lnTo>
                    <a:pt x="601" y="165"/>
                  </a:lnTo>
                  <a:lnTo>
                    <a:pt x="601" y="165"/>
                  </a:lnTo>
                  <a:lnTo>
                    <a:pt x="602" y="171"/>
                  </a:lnTo>
                  <a:lnTo>
                    <a:pt x="601" y="176"/>
                  </a:lnTo>
                  <a:lnTo>
                    <a:pt x="599" y="179"/>
                  </a:lnTo>
                  <a:lnTo>
                    <a:pt x="602" y="181"/>
                  </a:lnTo>
                  <a:lnTo>
                    <a:pt x="602" y="181"/>
                  </a:lnTo>
                  <a:lnTo>
                    <a:pt x="604" y="185"/>
                  </a:lnTo>
                  <a:lnTo>
                    <a:pt x="604" y="188"/>
                  </a:lnTo>
                  <a:lnTo>
                    <a:pt x="602" y="193"/>
                  </a:lnTo>
                  <a:lnTo>
                    <a:pt x="606" y="197"/>
                  </a:lnTo>
                  <a:lnTo>
                    <a:pt x="606" y="197"/>
                  </a:lnTo>
                  <a:lnTo>
                    <a:pt x="601" y="218"/>
                  </a:lnTo>
                  <a:lnTo>
                    <a:pt x="596" y="232"/>
                  </a:lnTo>
                  <a:lnTo>
                    <a:pt x="590" y="240"/>
                  </a:lnTo>
                  <a:lnTo>
                    <a:pt x="585" y="247"/>
                  </a:lnTo>
                  <a:lnTo>
                    <a:pt x="582" y="254"/>
                  </a:lnTo>
                  <a:lnTo>
                    <a:pt x="578" y="259"/>
                  </a:lnTo>
                  <a:lnTo>
                    <a:pt x="576" y="266"/>
                  </a:lnTo>
                  <a:lnTo>
                    <a:pt x="578" y="277"/>
                  </a:lnTo>
                  <a:lnTo>
                    <a:pt x="578" y="277"/>
                  </a:lnTo>
                  <a:lnTo>
                    <a:pt x="587" y="327"/>
                  </a:lnTo>
                  <a:lnTo>
                    <a:pt x="589" y="352"/>
                  </a:lnTo>
                  <a:lnTo>
                    <a:pt x="589" y="376"/>
                  </a:lnTo>
                  <a:lnTo>
                    <a:pt x="589" y="376"/>
                  </a:lnTo>
                  <a:lnTo>
                    <a:pt x="589" y="385"/>
                  </a:lnTo>
                  <a:lnTo>
                    <a:pt x="590" y="388"/>
                  </a:lnTo>
                  <a:lnTo>
                    <a:pt x="594" y="390"/>
                  </a:lnTo>
                  <a:lnTo>
                    <a:pt x="599" y="392"/>
                  </a:lnTo>
                  <a:lnTo>
                    <a:pt x="606" y="392"/>
                  </a:lnTo>
                  <a:lnTo>
                    <a:pt x="613" y="392"/>
                  </a:lnTo>
                  <a:lnTo>
                    <a:pt x="618" y="392"/>
                  </a:lnTo>
                  <a:lnTo>
                    <a:pt x="622" y="393"/>
                  </a:lnTo>
                  <a:lnTo>
                    <a:pt x="623" y="395"/>
                  </a:lnTo>
                  <a:lnTo>
                    <a:pt x="625" y="399"/>
                  </a:lnTo>
                  <a:lnTo>
                    <a:pt x="625" y="404"/>
                  </a:lnTo>
                  <a:lnTo>
                    <a:pt x="625" y="404"/>
                  </a:lnTo>
                  <a:lnTo>
                    <a:pt x="625" y="414"/>
                  </a:lnTo>
                  <a:lnTo>
                    <a:pt x="620" y="423"/>
                  </a:lnTo>
                  <a:lnTo>
                    <a:pt x="615" y="430"/>
                  </a:lnTo>
                  <a:lnTo>
                    <a:pt x="608" y="437"/>
                  </a:lnTo>
                  <a:lnTo>
                    <a:pt x="596" y="449"/>
                  </a:lnTo>
                  <a:lnTo>
                    <a:pt x="592" y="454"/>
                  </a:lnTo>
                  <a:lnTo>
                    <a:pt x="590" y="461"/>
                  </a:lnTo>
                  <a:lnTo>
                    <a:pt x="590" y="461"/>
                  </a:lnTo>
                  <a:lnTo>
                    <a:pt x="597" y="470"/>
                  </a:lnTo>
                  <a:lnTo>
                    <a:pt x="604" y="480"/>
                  </a:lnTo>
                  <a:lnTo>
                    <a:pt x="609" y="491"/>
                  </a:lnTo>
                  <a:lnTo>
                    <a:pt x="615" y="505"/>
                  </a:lnTo>
                  <a:lnTo>
                    <a:pt x="615" y="505"/>
                  </a:lnTo>
                  <a:lnTo>
                    <a:pt x="618" y="512"/>
                  </a:lnTo>
                  <a:lnTo>
                    <a:pt x="623" y="517"/>
                  </a:lnTo>
                  <a:lnTo>
                    <a:pt x="627" y="521"/>
                  </a:lnTo>
                  <a:lnTo>
                    <a:pt x="632" y="522"/>
                  </a:lnTo>
                  <a:lnTo>
                    <a:pt x="641" y="524"/>
                  </a:lnTo>
                  <a:lnTo>
                    <a:pt x="644" y="528"/>
                  </a:lnTo>
                  <a:lnTo>
                    <a:pt x="648" y="531"/>
                  </a:lnTo>
                  <a:lnTo>
                    <a:pt x="648" y="531"/>
                  </a:lnTo>
                  <a:lnTo>
                    <a:pt x="650" y="533"/>
                  </a:lnTo>
                  <a:lnTo>
                    <a:pt x="651" y="534"/>
                  </a:lnTo>
                  <a:lnTo>
                    <a:pt x="655" y="533"/>
                  </a:lnTo>
                  <a:lnTo>
                    <a:pt x="656" y="533"/>
                  </a:lnTo>
                  <a:lnTo>
                    <a:pt x="656" y="538"/>
                  </a:lnTo>
                  <a:lnTo>
                    <a:pt x="656" y="538"/>
                  </a:lnTo>
                  <a:lnTo>
                    <a:pt x="658" y="547"/>
                  </a:lnTo>
                  <a:lnTo>
                    <a:pt x="660" y="555"/>
                  </a:lnTo>
                  <a:lnTo>
                    <a:pt x="660" y="566"/>
                  </a:lnTo>
                  <a:lnTo>
                    <a:pt x="658" y="573"/>
                  </a:lnTo>
                  <a:lnTo>
                    <a:pt x="658" y="573"/>
                  </a:lnTo>
                  <a:lnTo>
                    <a:pt x="656" y="576"/>
                  </a:lnTo>
                  <a:lnTo>
                    <a:pt x="658" y="578"/>
                  </a:lnTo>
                  <a:lnTo>
                    <a:pt x="663" y="580"/>
                  </a:lnTo>
                  <a:lnTo>
                    <a:pt x="669" y="578"/>
                  </a:lnTo>
                  <a:lnTo>
                    <a:pt x="672" y="580"/>
                  </a:lnTo>
                  <a:lnTo>
                    <a:pt x="674" y="580"/>
                  </a:lnTo>
                  <a:lnTo>
                    <a:pt x="674" y="580"/>
                  </a:lnTo>
                  <a:lnTo>
                    <a:pt x="676" y="585"/>
                  </a:lnTo>
                  <a:lnTo>
                    <a:pt x="674" y="588"/>
                  </a:lnTo>
                  <a:lnTo>
                    <a:pt x="672" y="595"/>
                  </a:lnTo>
                  <a:lnTo>
                    <a:pt x="672" y="601"/>
                  </a:lnTo>
                  <a:lnTo>
                    <a:pt x="672" y="601"/>
                  </a:lnTo>
                  <a:lnTo>
                    <a:pt x="670" y="604"/>
                  </a:lnTo>
                  <a:lnTo>
                    <a:pt x="667" y="606"/>
                  </a:lnTo>
                  <a:lnTo>
                    <a:pt x="656" y="608"/>
                  </a:lnTo>
                  <a:lnTo>
                    <a:pt x="646" y="609"/>
                  </a:lnTo>
                  <a:lnTo>
                    <a:pt x="643" y="611"/>
                  </a:lnTo>
                  <a:lnTo>
                    <a:pt x="641" y="615"/>
                  </a:lnTo>
                  <a:lnTo>
                    <a:pt x="641" y="615"/>
                  </a:lnTo>
                  <a:lnTo>
                    <a:pt x="641" y="616"/>
                  </a:lnTo>
                  <a:lnTo>
                    <a:pt x="639" y="618"/>
                  </a:lnTo>
                  <a:lnTo>
                    <a:pt x="634" y="620"/>
                  </a:lnTo>
                  <a:lnTo>
                    <a:pt x="627" y="623"/>
                  </a:lnTo>
                  <a:lnTo>
                    <a:pt x="625" y="625"/>
                  </a:lnTo>
                  <a:lnTo>
                    <a:pt x="623" y="630"/>
                  </a:lnTo>
                  <a:lnTo>
                    <a:pt x="623" y="630"/>
                  </a:lnTo>
                  <a:lnTo>
                    <a:pt x="620" y="641"/>
                  </a:lnTo>
                  <a:lnTo>
                    <a:pt x="620" y="651"/>
                  </a:lnTo>
                  <a:lnTo>
                    <a:pt x="618" y="660"/>
                  </a:lnTo>
                  <a:lnTo>
                    <a:pt x="616" y="669"/>
                  </a:lnTo>
                  <a:lnTo>
                    <a:pt x="616" y="669"/>
                  </a:lnTo>
                  <a:lnTo>
                    <a:pt x="615" y="669"/>
                  </a:lnTo>
                  <a:lnTo>
                    <a:pt x="613" y="670"/>
                  </a:lnTo>
                  <a:lnTo>
                    <a:pt x="613" y="674"/>
                  </a:lnTo>
                  <a:lnTo>
                    <a:pt x="611" y="676"/>
                  </a:lnTo>
                  <a:lnTo>
                    <a:pt x="609" y="676"/>
                  </a:lnTo>
                  <a:lnTo>
                    <a:pt x="606" y="674"/>
                  </a:lnTo>
                  <a:lnTo>
                    <a:pt x="606" y="674"/>
                  </a:lnTo>
                  <a:lnTo>
                    <a:pt x="597" y="670"/>
                  </a:lnTo>
                  <a:lnTo>
                    <a:pt x="590" y="670"/>
                  </a:lnTo>
                  <a:lnTo>
                    <a:pt x="585" y="669"/>
                  </a:lnTo>
                  <a:lnTo>
                    <a:pt x="582" y="665"/>
                  </a:lnTo>
                  <a:lnTo>
                    <a:pt x="582" y="665"/>
                  </a:lnTo>
                  <a:lnTo>
                    <a:pt x="578" y="660"/>
                  </a:lnTo>
                  <a:lnTo>
                    <a:pt x="576" y="660"/>
                  </a:lnTo>
                  <a:lnTo>
                    <a:pt x="575" y="662"/>
                  </a:lnTo>
                  <a:lnTo>
                    <a:pt x="575" y="665"/>
                  </a:lnTo>
                  <a:lnTo>
                    <a:pt x="575" y="665"/>
                  </a:lnTo>
                  <a:lnTo>
                    <a:pt x="575" y="667"/>
                  </a:lnTo>
                  <a:lnTo>
                    <a:pt x="571" y="667"/>
                  </a:lnTo>
                  <a:lnTo>
                    <a:pt x="559" y="663"/>
                  </a:lnTo>
                  <a:lnTo>
                    <a:pt x="545" y="660"/>
                  </a:lnTo>
                  <a:lnTo>
                    <a:pt x="540" y="660"/>
                  </a:lnTo>
                  <a:lnTo>
                    <a:pt x="535" y="662"/>
                  </a:lnTo>
                  <a:lnTo>
                    <a:pt x="535" y="662"/>
                  </a:lnTo>
                  <a:lnTo>
                    <a:pt x="531" y="662"/>
                  </a:lnTo>
                  <a:lnTo>
                    <a:pt x="529" y="662"/>
                  </a:lnTo>
                  <a:lnTo>
                    <a:pt x="524" y="660"/>
                  </a:lnTo>
                  <a:lnTo>
                    <a:pt x="519" y="656"/>
                  </a:lnTo>
                  <a:lnTo>
                    <a:pt x="515" y="655"/>
                  </a:lnTo>
                  <a:lnTo>
                    <a:pt x="510" y="653"/>
                  </a:lnTo>
                  <a:lnTo>
                    <a:pt x="510" y="653"/>
                  </a:lnTo>
                  <a:lnTo>
                    <a:pt x="501" y="653"/>
                  </a:lnTo>
                  <a:lnTo>
                    <a:pt x="498" y="655"/>
                  </a:lnTo>
                  <a:lnTo>
                    <a:pt x="495" y="655"/>
                  </a:lnTo>
                  <a:lnTo>
                    <a:pt x="491" y="653"/>
                  </a:lnTo>
                  <a:lnTo>
                    <a:pt x="491" y="653"/>
                  </a:lnTo>
                  <a:lnTo>
                    <a:pt x="489" y="651"/>
                  </a:lnTo>
                  <a:lnTo>
                    <a:pt x="484" y="649"/>
                  </a:lnTo>
                  <a:lnTo>
                    <a:pt x="477" y="648"/>
                  </a:lnTo>
                  <a:lnTo>
                    <a:pt x="468" y="646"/>
                  </a:lnTo>
                  <a:lnTo>
                    <a:pt x="465" y="644"/>
                  </a:lnTo>
                  <a:lnTo>
                    <a:pt x="463" y="641"/>
                  </a:lnTo>
                  <a:lnTo>
                    <a:pt x="463" y="641"/>
                  </a:lnTo>
                  <a:lnTo>
                    <a:pt x="461" y="627"/>
                  </a:lnTo>
                  <a:lnTo>
                    <a:pt x="458" y="609"/>
                  </a:lnTo>
                  <a:lnTo>
                    <a:pt x="456" y="601"/>
                  </a:lnTo>
                  <a:lnTo>
                    <a:pt x="453" y="592"/>
                  </a:lnTo>
                  <a:lnTo>
                    <a:pt x="448" y="587"/>
                  </a:lnTo>
                  <a:lnTo>
                    <a:pt x="441" y="581"/>
                  </a:lnTo>
                  <a:lnTo>
                    <a:pt x="441" y="581"/>
                  </a:lnTo>
                  <a:lnTo>
                    <a:pt x="435" y="581"/>
                  </a:lnTo>
                  <a:lnTo>
                    <a:pt x="430" y="581"/>
                  </a:lnTo>
                  <a:lnTo>
                    <a:pt x="427" y="581"/>
                  </a:lnTo>
                  <a:lnTo>
                    <a:pt x="423" y="583"/>
                  </a:lnTo>
                  <a:lnTo>
                    <a:pt x="420" y="588"/>
                  </a:lnTo>
                  <a:lnTo>
                    <a:pt x="416" y="590"/>
                  </a:lnTo>
                  <a:lnTo>
                    <a:pt x="413" y="590"/>
                  </a:lnTo>
                  <a:lnTo>
                    <a:pt x="413" y="590"/>
                  </a:lnTo>
                  <a:lnTo>
                    <a:pt x="409" y="592"/>
                  </a:lnTo>
                  <a:lnTo>
                    <a:pt x="407" y="592"/>
                  </a:lnTo>
                  <a:lnTo>
                    <a:pt x="406" y="595"/>
                  </a:lnTo>
                  <a:lnTo>
                    <a:pt x="404" y="599"/>
                  </a:lnTo>
                  <a:lnTo>
                    <a:pt x="399" y="601"/>
                  </a:lnTo>
                  <a:lnTo>
                    <a:pt x="399" y="601"/>
                  </a:lnTo>
                  <a:lnTo>
                    <a:pt x="394" y="601"/>
                  </a:lnTo>
                  <a:lnTo>
                    <a:pt x="390" y="602"/>
                  </a:lnTo>
                  <a:lnTo>
                    <a:pt x="383" y="609"/>
                  </a:lnTo>
                  <a:lnTo>
                    <a:pt x="378" y="611"/>
                  </a:lnTo>
                  <a:lnTo>
                    <a:pt x="374" y="613"/>
                  </a:lnTo>
                  <a:lnTo>
                    <a:pt x="371" y="611"/>
                  </a:lnTo>
                  <a:lnTo>
                    <a:pt x="366" y="608"/>
                  </a:lnTo>
                  <a:lnTo>
                    <a:pt x="366" y="608"/>
                  </a:lnTo>
                  <a:lnTo>
                    <a:pt x="362" y="604"/>
                  </a:lnTo>
                  <a:lnTo>
                    <a:pt x="357" y="602"/>
                  </a:lnTo>
                  <a:lnTo>
                    <a:pt x="348" y="602"/>
                  </a:lnTo>
                  <a:lnTo>
                    <a:pt x="343" y="602"/>
                  </a:lnTo>
                  <a:lnTo>
                    <a:pt x="338" y="601"/>
                  </a:lnTo>
                  <a:lnTo>
                    <a:pt x="331" y="597"/>
                  </a:lnTo>
                  <a:lnTo>
                    <a:pt x="324" y="590"/>
                  </a:lnTo>
                  <a:lnTo>
                    <a:pt x="324" y="590"/>
                  </a:lnTo>
                  <a:lnTo>
                    <a:pt x="319" y="587"/>
                  </a:lnTo>
                  <a:lnTo>
                    <a:pt x="310" y="581"/>
                  </a:lnTo>
                  <a:lnTo>
                    <a:pt x="303" y="576"/>
                  </a:lnTo>
                  <a:lnTo>
                    <a:pt x="300" y="573"/>
                  </a:lnTo>
                  <a:lnTo>
                    <a:pt x="300" y="571"/>
                  </a:lnTo>
                  <a:lnTo>
                    <a:pt x="300" y="571"/>
                  </a:lnTo>
                  <a:lnTo>
                    <a:pt x="300" y="568"/>
                  </a:lnTo>
                  <a:lnTo>
                    <a:pt x="296" y="564"/>
                  </a:lnTo>
                  <a:lnTo>
                    <a:pt x="284" y="559"/>
                  </a:lnTo>
                  <a:lnTo>
                    <a:pt x="268" y="552"/>
                  </a:lnTo>
                  <a:lnTo>
                    <a:pt x="261" y="547"/>
                  </a:lnTo>
                  <a:lnTo>
                    <a:pt x="256" y="541"/>
                  </a:lnTo>
                  <a:lnTo>
                    <a:pt x="256" y="541"/>
                  </a:lnTo>
                  <a:lnTo>
                    <a:pt x="251" y="534"/>
                  </a:lnTo>
                  <a:lnTo>
                    <a:pt x="249" y="531"/>
                  </a:lnTo>
                  <a:lnTo>
                    <a:pt x="247" y="524"/>
                  </a:lnTo>
                  <a:lnTo>
                    <a:pt x="247" y="517"/>
                  </a:lnTo>
                  <a:lnTo>
                    <a:pt x="246" y="514"/>
                  </a:lnTo>
                  <a:lnTo>
                    <a:pt x="242" y="508"/>
                  </a:lnTo>
                  <a:lnTo>
                    <a:pt x="242" y="508"/>
                  </a:lnTo>
                  <a:lnTo>
                    <a:pt x="239" y="503"/>
                  </a:lnTo>
                  <a:lnTo>
                    <a:pt x="237" y="498"/>
                  </a:lnTo>
                  <a:lnTo>
                    <a:pt x="233" y="489"/>
                  </a:lnTo>
                  <a:lnTo>
                    <a:pt x="230" y="479"/>
                  </a:lnTo>
                  <a:lnTo>
                    <a:pt x="226" y="475"/>
                  </a:lnTo>
                  <a:lnTo>
                    <a:pt x="223" y="470"/>
                  </a:lnTo>
                  <a:lnTo>
                    <a:pt x="223" y="470"/>
                  </a:lnTo>
                  <a:lnTo>
                    <a:pt x="218" y="465"/>
                  </a:lnTo>
                  <a:lnTo>
                    <a:pt x="216" y="460"/>
                  </a:lnTo>
                  <a:lnTo>
                    <a:pt x="212" y="451"/>
                  </a:lnTo>
                  <a:lnTo>
                    <a:pt x="211" y="449"/>
                  </a:lnTo>
                  <a:lnTo>
                    <a:pt x="209" y="447"/>
                  </a:lnTo>
                  <a:lnTo>
                    <a:pt x="207" y="447"/>
                  </a:lnTo>
                  <a:lnTo>
                    <a:pt x="202" y="451"/>
                  </a:lnTo>
                  <a:lnTo>
                    <a:pt x="202" y="451"/>
                  </a:lnTo>
                  <a:lnTo>
                    <a:pt x="197" y="453"/>
                  </a:lnTo>
                  <a:lnTo>
                    <a:pt x="192" y="453"/>
                  </a:lnTo>
                  <a:lnTo>
                    <a:pt x="186" y="449"/>
                  </a:lnTo>
                  <a:lnTo>
                    <a:pt x="181" y="446"/>
                  </a:lnTo>
                  <a:lnTo>
                    <a:pt x="174" y="442"/>
                  </a:lnTo>
                  <a:lnTo>
                    <a:pt x="172" y="442"/>
                  </a:lnTo>
                  <a:lnTo>
                    <a:pt x="171" y="446"/>
                  </a:lnTo>
                  <a:lnTo>
                    <a:pt x="171" y="446"/>
                  </a:lnTo>
                  <a:lnTo>
                    <a:pt x="169" y="451"/>
                  </a:lnTo>
                  <a:lnTo>
                    <a:pt x="167" y="454"/>
                  </a:lnTo>
                  <a:lnTo>
                    <a:pt x="164" y="454"/>
                  </a:lnTo>
                  <a:lnTo>
                    <a:pt x="157" y="458"/>
                  </a:lnTo>
                  <a:lnTo>
                    <a:pt x="157" y="458"/>
                  </a:lnTo>
                  <a:lnTo>
                    <a:pt x="155" y="451"/>
                  </a:lnTo>
                  <a:lnTo>
                    <a:pt x="153" y="446"/>
                  </a:lnTo>
                  <a:lnTo>
                    <a:pt x="150" y="442"/>
                  </a:lnTo>
                  <a:lnTo>
                    <a:pt x="145" y="439"/>
                  </a:lnTo>
                  <a:lnTo>
                    <a:pt x="145" y="439"/>
                  </a:lnTo>
                  <a:lnTo>
                    <a:pt x="143" y="435"/>
                  </a:lnTo>
                  <a:lnTo>
                    <a:pt x="141" y="433"/>
                  </a:lnTo>
                  <a:lnTo>
                    <a:pt x="139" y="427"/>
                  </a:lnTo>
                  <a:lnTo>
                    <a:pt x="136" y="418"/>
                  </a:lnTo>
                  <a:lnTo>
                    <a:pt x="132" y="409"/>
                  </a:lnTo>
                  <a:lnTo>
                    <a:pt x="132" y="409"/>
                  </a:lnTo>
                  <a:lnTo>
                    <a:pt x="129" y="406"/>
                  </a:lnTo>
                  <a:lnTo>
                    <a:pt x="129" y="400"/>
                  </a:lnTo>
                  <a:lnTo>
                    <a:pt x="131" y="388"/>
                  </a:lnTo>
                  <a:lnTo>
                    <a:pt x="131" y="381"/>
                  </a:lnTo>
                  <a:lnTo>
                    <a:pt x="132" y="373"/>
                  </a:lnTo>
                  <a:lnTo>
                    <a:pt x="131" y="366"/>
                  </a:lnTo>
                  <a:lnTo>
                    <a:pt x="127" y="357"/>
                  </a:lnTo>
                  <a:lnTo>
                    <a:pt x="127" y="357"/>
                  </a:lnTo>
                  <a:lnTo>
                    <a:pt x="122" y="350"/>
                  </a:lnTo>
                  <a:lnTo>
                    <a:pt x="113" y="343"/>
                  </a:lnTo>
                  <a:lnTo>
                    <a:pt x="98" y="333"/>
                  </a:lnTo>
                  <a:lnTo>
                    <a:pt x="91" y="327"/>
                  </a:lnTo>
                  <a:lnTo>
                    <a:pt x="84" y="320"/>
                  </a:lnTo>
                  <a:lnTo>
                    <a:pt x="78" y="315"/>
                  </a:lnTo>
                  <a:lnTo>
                    <a:pt x="75" y="306"/>
                  </a:lnTo>
                  <a:lnTo>
                    <a:pt x="75" y="306"/>
                  </a:lnTo>
                  <a:lnTo>
                    <a:pt x="73" y="299"/>
                  </a:lnTo>
                  <a:lnTo>
                    <a:pt x="70" y="294"/>
                  </a:lnTo>
                  <a:lnTo>
                    <a:pt x="59" y="285"/>
                  </a:lnTo>
                  <a:lnTo>
                    <a:pt x="56" y="282"/>
                  </a:lnTo>
                  <a:lnTo>
                    <a:pt x="52" y="277"/>
                  </a:lnTo>
                  <a:lnTo>
                    <a:pt x="49" y="270"/>
                  </a:lnTo>
                  <a:lnTo>
                    <a:pt x="49" y="259"/>
                  </a:lnTo>
                  <a:lnTo>
                    <a:pt x="49" y="259"/>
                  </a:lnTo>
                  <a:lnTo>
                    <a:pt x="51" y="251"/>
                  </a:lnTo>
                  <a:lnTo>
                    <a:pt x="54" y="242"/>
                  </a:lnTo>
                  <a:lnTo>
                    <a:pt x="59" y="237"/>
                  </a:lnTo>
                  <a:lnTo>
                    <a:pt x="64" y="232"/>
                  </a:lnTo>
                  <a:lnTo>
                    <a:pt x="70" y="226"/>
                  </a:lnTo>
                  <a:lnTo>
                    <a:pt x="73" y="221"/>
                  </a:lnTo>
                  <a:lnTo>
                    <a:pt x="73" y="214"/>
                  </a:lnTo>
                  <a:lnTo>
                    <a:pt x="71" y="207"/>
                  </a:lnTo>
                  <a:lnTo>
                    <a:pt x="71" y="207"/>
                  </a:lnTo>
                  <a:lnTo>
                    <a:pt x="70" y="202"/>
                  </a:lnTo>
                  <a:lnTo>
                    <a:pt x="70" y="197"/>
                  </a:lnTo>
                  <a:lnTo>
                    <a:pt x="71" y="195"/>
                  </a:lnTo>
                  <a:lnTo>
                    <a:pt x="75" y="193"/>
                  </a:lnTo>
                  <a:lnTo>
                    <a:pt x="80" y="191"/>
                  </a:lnTo>
                  <a:lnTo>
                    <a:pt x="82" y="190"/>
                  </a:lnTo>
                  <a:lnTo>
                    <a:pt x="80" y="188"/>
                  </a:lnTo>
                  <a:lnTo>
                    <a:pt x="80" y="188"/>
                  </a:lnTo>
                  <a:lnTo>
                    <a:pt x="78" y="185"/>
                  </a:lnTo>
                  <a:lnTo>
                    <a:pt x="75" y="185"/>
                  </a:lnTo>
                  <a:lnTo>
                    <a:pt x="63" y="183"/>
                  </a:lnTo>
                  <a:lnTo>
                    <a:pt x="56" y="183"/>
                  </a:lnTo>
                  <a:lnTo>
                    <a:pt x="51" y="181"/>
                  </a:lnTo>
                  <a:lnTo>
                    <a:pt x="47" y="178"/>
                  </a:lnTo>
                  <a:lnTo>
                    <a:pt x="45" y="172"/>
                  </a:lnTo>
                  <a:lnTo>
                    <a:pt x="45" y="172"/>
                  </a:lnTo>
                  <a:lnTo>
                    <a:pt x="42" y="164"/>
                  </a:lnTo>
                  <a:lnTo>
                    <a:pt x="38" y="153"/>
                  </a:lnTo>
                  <a:lnTo>
                    <a:pt x="31" y="141"/>
                  </a:lnTo>
                  <a:lnTo>
                    <a:pt x="26" y="124"/>
                  </a:lnTo>
                  <a:lnTo>
                    <a:pt x="26" y="124"/>
                  </a:lnTo>
                  <a:lnTo>
                    <a:pt x="24" y="117"/>
                  </a:lnTo>
                  <a:lnTo>
                    <a:pt x="21" y="111"/>
                  </a:lnTo>
                  <a:lnTo>
                    <a:pt x="19" y="108"/>
                  </a:lnTo>
                  <a:lnTo>
                    <a:pt x="21" y="97"/>
                  </a:lnTo>
                  <a:lnTo>
                    <a:pt x="21" y="97"/>
                  </a:lnTo>
                  <a:lnTo>
                    <a:pt x="17" y="96"/>
                  </a:lnTo>
                  <a:lnTo>
                    <a:pt x="14" y="92"/>
                  </a:lnTo>
                  <a:lnTo>
                    <a:pt x="5" y="89"/>
                  </a:lnTo>
                  <a:lnTo>
                    <a:pt x="5" y="89"/>
                  </a:lnTo>
                  <a:lnTo>
                    <a:pt x="7" y="84"/>
                  </a:lnTo>
                  <a:lnTo>
                    <a:pt x="10" y="80"/>
                  </a:lnTo>
                  <a:lnTo>
                    <a:pt x="14" y="75"/>
                  </a:lnTo>
                  <a:lnTo>
                    <a:pt x="16" y="70"/>
                  </a:lnTo>
                  <a:lnTo>
                    <a:pt x="16" y="70"/>
                  </a:lnTo>
                  <a:lnTo>
                    <a:pt x="14" y="66"/>
                  </a:lnTo>
                  <a:lnTo>
                    <a:pt x="12" y="66"/>
                  </a:lnTo>
                  <a:lnTo>
                    <a:pt x="10" y="66"/>
                  </a:lnTo>
                  <a:lnTo>
                    <a:pt x="9" y="64"/>
                  </a:lnTo>
                  <a:lnTo>
                    <a:pt x="9" y="64"/>
                  </a:lnTo>
                  <a:lnTo>
                    <a:pt x="9" y="54"/>
                  </a:lnTo>
                  <a:lnTo>
                    <a:pt x="9" y="45"/>
                  </a:lnTo>
                  <a:lnTo>
                    <a:pt x="9" y="45"/>
                  </a:lnTo>
                  <a:lnTo>
                    <a:pt x="9" y="43"/>
                  </a:lnTo>
                  <a:lnTo>
                    <a:pt x="7" y="42"/>
                  </a:lnTo>
                  <a:lnTo>
                    <a:pt x="5" y="40"/>
                  </a:lnTo>
                  <a:lnTo>
                    <a:pt x="4" y="37"/>
                  </a:lnTo>
                  <a:lnTo>
                    <a:pt x="4" y="37"/>
                  </a:lnTo>
                  <a:lnTo>
                    <a:pt x="5" y="31"/>
                  </a:lnTo>
                  <a:lnTo>
                    <a:pt x="5" y="31"/>
                  </a:lnTo>
                  <a:lnTo>
                    <a:pt x="5" y="28"/>
                  </a:lnTo>
                  <a:lnTo>
                    <a:pt x="4" y="24"/>
                  </a:lnTo>
                  <a:lnTo>
                    <a:pt x="0" y="23"/>
                  </a:lnTo>
                  <a:lnTo>
                    <a:pt x="0" y="19"/>
                  </a:lnTo>
                  <a:lnTo>
                    <a:pt x="0" y="19"/>
                  </a:lnTo>
                  <a:lnTo>
                    <a:pt x="0" y="17"/>
                  </a:lnTo>
                  <a:lnTo>
                    <a:pt x="2" y="17"/>
                  </a:lnTo>
                  <a:lnTo>
                    <a:pt x="5" y="17"/>
                  </a:lnTo>
                  <a:lnTo>
                    <a:pt x="10" y="17"/>
                  </a:lnTo>
                  <a:lnTo>
                    <a:pt x="14" y="16"/>
                  </a:lnTo>
                  <a:lnTo>
                    <a:pt x="14" y="16"/>
                  </a:lnTo>
                  <a:lnTo>
                    <a:pt x="14" y="10"/>
                  </a:lnTo>
                  <a:lnTo>
                    <a:pt x="16" y="3"/>
                  </a:lnTo>
                  <a:lnTo>
                    <a:pt x="16" y="2"/>
                  </a:lnTo>
                  <a:lnTo>
                    <a:pt x="17" y="0"/>
                  </a:lnTo>
                  <a:lnTo>
                    <a:pt x="19" y="0"/>
                  </a:lnTo>
                  <a:lnTo>
                    <a:pt x="23" y="3"/>
                  </a:lnTo>
                  <a:lnTo>
                    <a:pt x="23" y="3"/>
                  </a:lnTo>
                  <a:lnTo>
                    <a:pt x="24" y="3"/>
                  </a:lnTo>
                  <a:lnTo>
                    <a:pt x="26" y="3"/>
                  </a:lnTo>
                  <a:lnTo>
                    <a:pt x="26" y="3"/>
                  </a:lnTo>
                  <a:lnTo>
                    <a:pt x="33" y="16"/>
                  </a:lnTo>
                  <a:lnTo>
                    <a:pt x="40" y="26"/>
                  </a:lnTo>
                  <a:lnTo>
                    <a:pt x="51" y="37"/>
                  </a:lnTo>
                  <a:lnTo>
                    <a:pt x="56" y="40"/>
                  </a:lnTo>
                  <a:lnTo>
                    <a:pt x="64" y="42"/>
                  </a:lnTo>
                  <a:lnTo>
                    <a:pt x="64" y="42"/>
                  </a:lnTo>
                  <a:lnTo>
                    <a:pt x="71" y="43"/>
                  </a:lnTo>
                  <a:lnTo>
                    <a:pt x="75" y="43"/>
                  </a:lnTo>
                  <a:lnTo>
                    <a:pt x="75" y="43"/>
                  </a:lnTo>
                  <a:lnTo>
                    <a:pt x="80" y="42"/>
                  </a:lnTo>
                  <a:lnTo>
                    <a:pt x="80" y="42"/>
                  </a:lnTo>
                  <a:lnTo>
                    <a:pt x="84" y="42"/>
                  </a:lnTo>
                  <a:lnTo>
                    <a:pt x="87" y="43"/>
                  </a:lnTo>
                  <a:lnTo>
                    <a:pt x="87" y="43"/>
                  </a:lnTo>
                  <a:lnTo>
                    <a:pt x="89" y="42"/>
                  </a:lnTo>
                  <a:lnTo>
                    <a:pt x="89" y="42"/>
                  </a:lnTo>
                  <a:lnTo>
                    <a:pt x="92" y="35"/>
                  </a:lnTo>
                  <a:lnTo>
                    <a:pt x="98" y="30"/>
                  </a:lnTo>
                  <a:lnTo>
                    <a:pt x="105" y="28"/>
                  </a:lnTo>
                  <a:lnTo>
                    <a:pt x="105" y="28"/>
                  </a:lnTo>
                  <a:lnTo>
                    <a:pt x="117" y="16"/>
                  </a:lnTo>
                  <a:lnTo>
                    <a:pt x="117" y="16"/>
                  </a:lnTo>
                  <a:lnTo>
                    <a:pt x="127" y="7"/>
                  </a:lnTo>
                  <a:lnTo>
                    <a:pt x="132" y="3"/>
                  </a:lnTo>
                  <a:lnTo>
                    <a:pt x="138" y="3"/>
                  </a:lnTo>
                  <a:lnTo>
                    <a:pt x="138" y="3"/>
                  </a:lnTo>
                  <a:lnTo>
                    <a:pt x="146" y="10"/>
                  </a:lnTo>
                  <a:lnTo>
                    <a:pt x="152" y="19"/>
                  </a:lnTo>
                  <a:lnTo>
                    <a:pt x="152" y="19"/>
                  </a:lnTo>
                  <a:lnTo>
                    <a:pt x="150" y="21"/>
                  </a:lnTo>
                  <a:lnTo>
                    <a:pt x="146" y="21"/>
                  </a:lnTo>
                  <a:lnTo>
                    <a:pt x="145" y="23"/>
                  </a:lnTo>
                  <a:lnTo>
                    <a:pt x="143" y="24"/>
                  </a:lnTo>
                  <a:lnTo>
                    <a:pt x="143" y="24"/>
                  </a:lnTo>
                  <a:lnTo>
                    <a:pt x="145" y="28"/>
                  </a:lnTo>
                  <a:lnTo>
                    <a:pt x="146" y="30"/>
                  </a:lnTo>
                  <a:lnTo>
                    <a:pt x="150" y="31"/>
                  </a:lnTo>
                  <a:lnTo>
                    <a:pt x="150" y="35"/>
                  </a:lnTo>
                  <a:lnTo>
                    <a:pt x="150" y="35"/>
                  </a:lnTo>
                  <a:lnTo>
                    <a:pt x="148" y="38"/>
                  </a:lnTo>
                  <a:lnTo>
                    <a:pt x="145" y="38"/>
                  </a:lnTo>
                  <a:lnTo>
                    <a:pt x="141" y="40"/>
                  </a:lnTo>
                  <a:lnTo>
                    <a:pt x="139" y="42"/>
                  </a:lnTo>
                  <a:lnTo>
                    <a:pt x="139" y="42"/>
                  </a:lnTo>
                  <a:lnTo>
                    <a:pt x="139" y="43"/>
                  </a:lnTo>
                  <a:lnTo>
                    <a:pt x="141" y="45"/>
                  </a:lnTo>
                  <a:lnTo>
                    <a:pt x="141" y="45"/>
                  </a:lnTo>
                  <a:lnTo>
                    <a:pt x="145" y="47"/>
                  </a:lnTo>
                  <a:lnTo>
                    <a:pt x="148" y="50"/>
                  </a:lnTo>
                  <a:lnTo>
                    <a:pt x="148" y="50"/>
                  </a:lnTo>
                  <a:lnTo>
                    <a:pt x="148" y="54"/>
                  </a:lnTo>
                  <a:lnTo>
                    <a:pt x="150" y="56"/>
                  </a:lnTo>
                  <a:lnTo>
                    <a:pt x="150" y="56"/>
                  </a:lnTo>
                  <a:lnTo>
                    <a:pt x="150" y="56"/>
                  </a:lnTo>
                  <a:lnTo>
                    <a:pt x="152" y="56"/>
                  </a:lnTo>
                  <a:lnTo>
                    <a:pt x="153" y="54"/>
                  </a:lnTo>
                  <a:lnTo>
                    <a:pt x="153" y="54"/>
                  </a:lnTo>
                  <a:lnTo>
                    <a:pt x="157" y="56"/>
                  </a:lnTo>
                  <a:lnTo>
                    <a:pt x="157" y="57"/>
                  </a:lnTo>
                  <a:lnTo>
                    <a:pt x="158" y="63"/>
                  </a:lnTo>
                  <a:lnTo>
                    <a:pt x="158" y="64"/>
                  </a:lnTo>
                  <a:lnTo>
                    <a:pt x="160" y="66"/>
                  </a:lnTo>
                  <a:lnTo>
                    <a:pt x="164" y="66"/>
                  </a:lnTo>
                  <a:lnTo>
                    <a:pt x="169" y="64"/>
                  </a:lnTo>
                  <a:lnTo>
                    <a:pt x="169" y="6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7" name="Freeform 1742">
              <a:extLst>
                <a:ext uri="{FF2B5EF4-FFF2-40B4-BE49-F238E27FC236}">
                  <a16:creationId xmlns:a16="http://schemas.microsoft.com/office/drawing/2014/main" id="{21452D29-29F5-4EF1-98A0-EAD8B323DE37}"/>
                </a:ext>
              </a:extLst>
            </p:cNvPr>
            <p:cNvSpPr>
              <a:spLocks/>
            </p:cNvSpPr>
            <p:nvPr/>
          </p:nvSpPr>
          <p:spPr bwMode="auto">
            <a:xfrm>
              <a:off x="8266638" y="3294236"/>
              <a:ext cx="5287" cy="5284"/>
            </a:xfrm>
            <a:custGeom>
              <a:avLst/>
              <a:gdLst/>
              <a:ahLst/>
              <a:cxnLst>
                <a:cxn ang="0">
                  <a:pos x="5" y="8"/>
                </a:cxn>
                <a:cxn ang="0">
                  <a:pos x="5" y="8"/>
                </a:cxn>
                <a:cxn ang="0">
                  <a:pos x="2" y="3"/>
                </a:cxn>
                <a:cxn ang="0">
                  <a:pos x="0" y="2"/>
                </a:cxn>
                <a:cxn ang="0">
                  <a:pos x="2" y="0"/>
                </a:cxn>
                <a:cxn ang="0">
                  <a:pos x="2" y="0"/>
                </a:cxn>
                <a:cxn ang="0">
                  <a:pos x="3" y="0"/>
                </a:cxn>
                <a:cxn ang="0">
                  <a:pos x="5" y="2"/>
                </a:cxn>
                <a:cxn ang="0">
                  <a:pos x="7" y="7"/>
                </a:cxn>
                <a:cxn ang="0">
                  <a:pos x="7" y="7"/>
                </a:cxn>
                <a:cxn ang="0">
                  <a:pos x="7" y="8"/>
                </a:cxn>
                <a:cxn ang="0">
                  <a:pos x="5" y="8"/>
                </a:cxn>
                <a:cxn ang="0">
                  <a:pos x="5" y="8"/>
                </a:cxn>
              </a:cxnLst>
              <a:rect l="0" t="0" r="r" b="b"/>
              <a:pathLst>
                <a:path w="7" h="8">
                  <a:moveTo>
                    <a:pt x="5" y="8"/>
                  </a:moveTo>
                  <a:lnTo>
                    <a:pt x="5" y="8"/>
                  </a:lnTo>
                  <a:lnTo>
                    <a:pt x="2" y="3"/>
                  </a:lnTo>
                  <a:lnTo>
                    <a:pt x="0" y="2"/>
                  </a:lnTo>
                  <a:lnTo>
                    <a:pt x="2" y="0"/>
                  </a:lnTo>
                  <a:lnTo>
                    <a:pt x="2" y="0"/>
                  </a:lnTo>
                  <a:lnTo>
                    <a:pt x="3" y="0"/>
                  </a:lnTo>
                  <a:lnTo>
                    <a:pt x="5" y="2"/>
                  </a:lnTo>
                  <a:lnTo>
                    <a:pt x="7" y="7"/>
                  </a:lnTo>
                  <a:lnTo>
                    <a:pt x="7" y="7"/>
                  </a:lnTo>
                  <a:lnTo>
                    <a:pt x="7" y="8"/>
                  </a:lnTo>
                  <a:lnTo>
                    <a:pt x="5" y="8"/>
                  </a:lnTo>
                  <a:lnTo>
                    <a:pt x="5"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8" name="Freeform 1743">
              <a:extLst>
                <a:ext uri="{FF2B5EF4-FFF2-40B4-BE49-F238E27FC236}">
                  <a16:creationId xmlns:a16="http://schemas.microsoft.com/office/drawing/2014/main" id="{7F39B527-1D67-4516-9A69-B2282F358263}"/>
                </a:ext>
              </a:extLst>
            </p:cNvPr>
            <p:cNvSpPr>
              <a:spLocks/>
            </p:cNvSpPr>
            <p:nvPr/>
          </p:nvSpPr>
          <p:spPr bwMode="auto">
            <a:xfrm>
              <a:off x="7461406" y="3814029"/>
              <a:ext cx="232584" cy="510982"/>
            </a:xfrm>
            <a:custGeom>
              <a:avLst/>
              <a:gdLst/>
              <a:ahLst/>
              <a:cxnLst>
                <a:cxn ang="0">
                  <a:pos x="179" y="360"/>
                </a:cxn>
                <a:cxn ang="0">
                  <a:pos x="151" y="334"/>
                </a:cxn>
                <a:cxn ang="0">
                  <a:pos x="130" y="336"/>
                </a:cxn>
                <a:cxn ang="0">
                  <a:pos x="123" y="301"/>
                </a:cxn>
                <a:cxn ang="0">
                  <a:pos x="90" y="306"/>
                </a:cxn>
                <a:cxn ang="0">
                  <a:pos x="87" y="369"/>
                </a:cxn>
                <a:cxn ang="0">
                  <a:pos x="69" y="418"/>
                </a:cxn>
                <a:cxn ang="0">
                  <a:pos x="71" y="484"/>
                </a:cxn>
                <a:cxn ang="0">
                  <a:pos x="94" y="514"/>
                </a:cxn>
                <a:cxn ang="0">
                  <a:pos x="110" y="559"/>
                </a:cxn>
                <a:cxn ang="0">
                  <a:pos x="139" y="580"/>
                </a:cxn>
                <a:cxn ang="0">
                  <a:pos x="158" y="628"/>
                </a:cxn>
                <a:cxn ang="0">
                  <a:pos x="134" y="634"/>
                </a:cxn>
                <a:cxn ang="0">
                  <a:pos x="132" y="609"/>
                </a:cxn>
                <a:cxn ang="0">
                  <a:pos x="120" y="604"/>
                </a:cxn>
                <a:cxn ang="0">
                  <a:pos x="101" y="588"/>
                </a:cxn>
                <a:cxn ang="0">
                  <a:pos x="83" y="587"/>
                </a:cxn>
                <a:cxn ang="0">
                  <a:pos x="69" y="566"/>
                </a:cxn>
                <a:cxn ang="0">
                  <a:pos x="40" y="519"/>
                </a:cxn>
                <a:cxn ang="0">
                  <a:pos x="29" y="515"/>
                </a:cxn>
                <a:cxn ang="0">
                  <a:pos x="36" y="474"/>
                </a:cxn>
                <a:cxn ang="0">
                  <a:pos x="47" y="437"/>
                </a:cxn>
                <a:cxn ang="0">
                  <a:pos x="69" y="392"/>
                </a:cxn>
                <a:cxn ang="0">
                  <a:pos x="78" y="364"/>
                </a:cxn>
                <a:cxn ang="0">
                  <a:pos x="68" y="331"/>
                </a:cxn>
                <a:cxn ang="0">
                  <a:pos x="57" y="279"/>
                </a:cxn>
                <a:cxn ang="0">
                  <a:pos x="29" y="226"/>
                </a:cxn>
                <a:cxn ang="0">
                  <a:pos x="40" y="221"/>
                </a:cxn>
                <a:cxn ang="0">
                  <a:pos x="50" y="186"/>
                </a:cxn>
                <a:cxn ang="0">
                  <a:pos x="45" y="181"/>
                </a:cxn>
                <a:cxn ang="0">
                  <a:pos x="35" y="146"/>
                </a:cxn>
                <a:cxn ang="0">
                  <a:pos x="9" y="94"/>
                </a:cxn>
                <a:cxn ang="0">
                  <a:pos x="0" y="84"/>
                </a:cxn>
                <a:cxn ang="0">
                  <a:pos x="10" y="68"/>
                </a:cxn>
                <a:cxn ang="0">
                  <a:pos x="14" y="45"/>
                </a:cxn>
                <a:cxn ang="0">
                  <a:pos x="33" y="33"/>
                </a:cxn>
                <a:cxn ang="0">
                  <a:pos x="61" y="14"/>
                </a:cxn>
                <a:cxn ang="0">
                  <a:pos x="75" y="10"/>
                </a:cxn>
                <a:cxn ang="0">
                  <a:pos x="90" y="0"/>
                </a:cxn>
                <a:cxn ang="0">
                  <a:pos x="108" y="7"/>
                </a:cxn>
                <a:cxn ang="0">
                  <a:pos x="111" y="40"/>
                </a:cxn>
                <a:cxn ang="0">
                  <a:pos x="136" y="42"/>
                </a:cxn>
                <a:cxn ang="0">
                  <a:pos x="130" y="85"/>
                </a:cxn>
                <a:cxn ang="0">
                  <a:pos x="125" y="124"/>
                </a:cxn>
                <a:cxn ang="0">
                  <a:pos x="158" y="103"/>
                </a:cxn>
                <a:cxn ang="0">
                  <a:pos x="179" y="106"/>
                </a:cxn>
                <a:cxn ang="0">
                  <a:pos x="204" y="94"/>
                </a:cxn>
                <a:cxn ang="0">
                  <a:pos x="230" y="92"/>
                </a:cxn>
                <a:cxn ang="0">
                  <a:pos x="258" y="129"/>
                </a:cxn>
                <a:cxn ang="0">
                  <a:pos x="268" y="185"/>
                </a:cxn>
                <a:cxn ang="0">
                  <a:pos x="287" y="211"/>
                </a:cxn>
                <a:cxn ang="0">
                  <a:pos x="275" y="266"/>
                </a:cxn>
                <a:cxn ang="0">
                  <a:pos x="254" y="259"/>
                </a:cxn>
                <a:cxn ang="0">
                  <a:pos x="191" y="277"/>
                </a:cxn>
                <a:cxn ang="0">
                  <a:pos x="176" y="298"/>
                </a:cxn>
                <a:cxn ang="0">
                  <a:pos x="181" y="336"/>
                </a:cxn>
                <a:cxn ang="0">
                  <a:pos x="195" y="378"/>
                </a:cxn>
              </a:cxnLst>
              <a:rect l="0" t="0" r="r" b="b"/>
              <a:pathLst>
                <a:path w="289" h="635">
                  <a:moveTo>
                    <a:pt x="195" y="378"/>
                  </a:moveTo>
                  <a:lnTo>
                    <a:pt x="195" y="378"/>
                  </a:lnTo>
                  <a:lnTo>
                    <a:pt x="191" y="376"/>
                  </a:lnTo>
                  <a:lnTo>
                    <a:pt x="190" y="374"/>
                  </a:lnTo>
                  <a:lnTo>
                    <a:pt x="188" y="369"/>
                  </a:lnTo>
                  <a:lnTo>
                    <a:pt x="184" y="364"/>
                  </a:lnTo>
                  <a:lnTo>
                    <a:pt x="183" y="360"/>
                  </a:lnTo>
                  <a:lnTo>
                    <a:pt x="179" y="360"/>
                  </a:lnTo>
                  <a:lnTo>
                    <a:pt x="179" y="360"/>
                  </a:lnTo>
                  <a:lnTo>
                    <a:pt x="176" y="359"/>
                  </a:lnTo>
                  <a:lnTo>
                    <a:pt x="174" y="355"/>
                  </a:lnTo>
                  <a:lnTo>
                    <a:pt x="167" y="350"/>
                  </a:lnTo>
                  <a:lnTo>
                    <a:pt x="162" y="343"/>
                  </a:lnTo>
                  <a:lnTo>
                    <a:pt x="155" y="336"/>
                  </a:lnTo>
                  <a:lnTo>
                    <a:pt x="155" y="336"/>
                  </a:lnTo>
                  <a:lnTo>
                    <a:pt x="151" y="334"/>
                  </a:lnTo>
                  <a:lnTo>
                    <a:pt x="150" y="334"/>
                  </a:lnTo>
                  <a:lnTo>
                    <a:pt x="146" y="336"/>
                  </a:lnTo>
                  <a:lnTo>
                    <a:pt x="141" y="338"/>
                  </a:lnTo>
                  <a:lnTo>
                    <a:pt x="139" y="338"/>
                  </a:lnTo>
                  <a:lnTo>
                    <a:pt x="136" y="338"/>
                  </a:lnTo>
                  <a:lnTo>
                    <a:pt x="136" y="338"/>
                  </a:lnTo>
                  <a:lnTo>
                    <a:pt x="132" y="336"/>
                  </a:lnTo>
                  <a:lnTo>
                    <a:pt x="130" y="336"/>
                  </a:lnTo>
                  <a:lnTo>
                    <a:pt x="123" y="338"/>
                  </a:lnTo>
                  <a:lnTo>
                    <a:pt x="122" y="338"/>
                  </a:lnTo>
                  <a:lnTo>
                    <a:pt x="120" y="336"/>
                  </a:lnTo>
                  <a:lnTo>
                    <a:pt x="120" y="327"/>
                  </a:lnTo>
                  <a:lnTo>
                    <a:pt x="120" y="327"/>
                  </a:lnTo>
                  <a:lnTo>
                    <a:pt x="123" y="313"/>
                  </a:lnTo>
                  <a:lnTo>
                    <a:pt x="123" y="305"/>
                  </a:lnTo>
                  <a:lnTo>
                    <a:pt x="123" y="301"/>
                  </a:lnTo>
                  <a:lnTo>
                    <a:pt x="122" y="299"/>
                  </a:lnTo>
                  <a:lnTo>
                    <a:pt x="116" y="299"/>
                  </a:lnTo>
                  <a:lnTo>
                    <a:pt x="111" y="298"/>
                  </a:lnTo>
                  <a:lnTo>
                    <a:pt x="111" y="298"/>
                  </a:lnTo>
                  <a:lnTo>
                    <a:pt x="99" y="299"/>
                  </a:lnTo>
                  <a:lnTo>
                    <a:pt x="94" y="301"/>
                  </a:lnTo>
                  <a:lnTo>
                    <a:pt x="92" y="303"/>
                  </a:lnTo>
                  <a:lnTo>
                    <a:pt x="90" y="306"/>
                  </a:lnTo>
                  <a:lnTo>
                    <a:pt x="90" y="308"/>
                  </a:lnTo>
                  <a:lnTo>
                    <a:pt x="92" y="312"/>
                  </a:lnTo>
                  <a:lnTo>
                    <a:pt x="94" y="315"/>
                  </a:lnTo>
                  <a:lnTo>
                    <a:pt x="94" y="315"/>
                  </a:lnTo>
                  <a:lnTo>
                    <a:pt x="96" y="319"/>
                  </a:lnTo>
                  <a:lnTo>
                    <a:pt x="94" y="326"/>
                  </a:lnTo>
                  <a:lnTo>
                    <a:pt x="90" y="346"/>
                  </a:lnTo>
                  <a:lnTo>
                    <a:pt x="87" y="369"/>
                  </a:lnTo>
                  <a:lnTo>
                    <a:pt x="82" y="383"/>
                  </a:lnTo>
                  <a:lnTo>
                    <a:pt x="82" y="383"/>
                  </a:lnTo>
                  <a:lnTo>
                    <a:pt x="78" y="392"/>
                  </a:lnTo>
                  <a:lnTo>
                    <a:pt x="76" y="400"/>
                  </a:lnTo>
                  <a:lnTo>
                    <a:pt x="75" y="411"/>
                  </a:lnTo>
                  <a:lnTo>
                    <a:pt x="71" y="414"/>
                  </a:lnTo>
                  <a:lnTo>
                    <a:pt x="69" y="418"/>
                  </a:lnTo>
                  <a:lnTo>
                    <a:pt x="69" y="418"/>
                  </a:lnTo>
                  <a:lnTo>
                    <a:pt x="66" y="423"/>
                  </a:lnTo>
                  <a:lnTo>
                    <a:pt x="66" y="432"/>
                  </a:lnTo>
                  <a:lnTo>
                    <a:pt x="64" y="449"/>
                  </a:lnTo>
                  <a:lnTo>
                    <a:pt x="66" y="475"/>
                  </a:lnTo>
                  <a:lnTo>
                    <a:pt x="66" y="475"/>
                  </a:lnTo>
                  <a:lnTo>
                    <a:pt x="66" y="480"/>
                  </a:lnTo>
                  <a:lnTo>
                    <a:pt x="68" y="484"/>
                  </a:lnTo>
                  <a:lnTo>
                    <a:pt x="71" y="484"/>
                  </a:lnTo>
                  <a:lnTo>
                    <a:pt x="75" y="482"/>
                  </a:lnTo>
                  <a:lnTo>
                    <a:pt x="83" y="479"/>
                  </a:lnTo>
                  <a:lnTo>
                    <a:pt x="85" y="479"/>
                  </a:lnTo>
                  <a:lnTo>
                    <a:pt x="87" y="482"/>
                  </a:lnTo>
                  <a:lnTo>
                    <a:pt x="87" y="482"/>
                  </a:lnTo>
                  <a:lnTo>
                    <a:pt x="89" y="494"/>
                  </a:lnTo>
                  <a:lnTo>
                    <a:pt x="90" y="505"/>
                  </a:lnTo>
                  <a:lnTo>
                    <a:pt x="94" y="514"/>
                  </a:lnTo>
                  <a:lnTo>
                    <a:pt x="97" y="515"/>
                  </a:lnTo>
                  <a:lnTo>
                    <a:pt x="99" y="515"/>
                  </a:lnTo>
                  <a:lnTo>
                    <a:pt x="99" y="515"/>
                  </a:lnTo>
                  <a:lnTo>
                    <a:pt x="101" y="515"/>
                  </a:lnTo>
                  <a:lnTo>
                    <a:pt x="101" y="515"/>
                  </a:lnTo>
                  <a:lnTo>
                    <a:pt x="103" y="521"/>
                  </a:lnTo>
                  <a:lnTo>
                    <a:pt x="106" y="538"/>
                  </a:lnTo>
                  <a:lnTo>
                    <a:pt x="110" y="559"/>
                  </a:lnTo>
                  <a:lnTo>
                    <a:pt x="111" y="568"/>
                  </a:lnTo>
                  <a:lnTo>
                    <a:pt x="116" y="573"/>
                  </a:lnTo>
                  <a:lnTo>
                    <a:pt x="116" y="573"/>
                  </a:lnTo>
                  <a:lnTo>
                    <a:pt x="123" y="580"/>
                  </a:lnTo>
                  <a:lnTo>
                    <a:pt x="129" y="583"/>
                  </a:lnTo>
                  <a:lnTo>
                    <a:pt x="132" y="583"/>
                  </a:lnTo>
                  <a:lnTo>
                    <a:pt x="136" y="581"/>
                  </a:lnTo>
                  <a:lnTo>
                    <a:pt x="139" y="580"/>
                  </a:lnTo>
                  <a:lnTo>
                    <a:pt x="143" y="581"/>
                  </a:lnTo>
                  <a:lnTo>
                    <a:pt x="146" y="585"/>
                  </a:lnTo>
                  <a:lnTo>
                    <a:pt x="146" y="585"/>
                  </a:lnTo>
                  <a:lnTo>
                    <a:pt x="157" y="601"/>
                  </a:lnTo>
                  <a:lnTo>
                    <a:pt x="165" y="609"/>
                  </a:lnTo>
                  <a:lnTo>
                    <a:pt x="165" y="609"/>
                  </a:lnTo>
                  <a:lnTo>
                    <a:pt x="162" y="623"/>
                  </a:lnTo>
                  <a:lnTo>
                    <a:pt x="158" y="628"/>
                  </a:lnTo>
                  <a:lnTo>
                    <a:pt x="157" y="630"/>
                  </a:lnTo>
                  <a:lnTo>
                    <a:pt x="155" y="630"/>
                  </a:lnTo>
                  <a:lnTo>
                    <a:pt x="150" y="625"/>
                  </a:lnTo>
                  <a:lnTo>
                    <a:pt x="150" y="625"/>
                  </a:lnTo>
                  <a:lnTo>
                    <a:pt x="146" y="623"/>
                  </a:lnTo>
                  <a:lnTo>
                    <a:pt x="144" y="623"/>
                  </a:lnTo>
                  <a:lnTo>
                    <a:pt x="139" y="628"/>
                  </a:lnTo>
                  <a:lnTo>
                    <a:pt x="134" y="634"/>
                  </a:lnTo>
                  <a:lnTo>
                    <a:pt x="132" y="635"/>
                  </a:lnTo>
                  <a:lnTo>
                    <a:pt x="129" y="634"/>
                  </a:lnTo>
                  <a:lnTo>
                    <a:pt x="129" y="634"/>
                  </a:lnTo>
                  <a:lnTo>
                    <a:pt x="127" y="632"/>
                  </a:lnTo>
                  <a:lnTo>
                    <a:pt x="127" y="628"/>
                  </a:lnTo>
                  <a:lnTo>
                    <a:pt x="129" y="623"/>
                  </a:lnTo>
                  <a:lnTo>
                    <a:pt x="130" y="616"/>
                  </a:lnTo>
                  <a:lnTo>
                    <a:pt x="132" y="609"/>
                  </a:lnTo>
                  <a:lnTo>
                    <a:pt x="132" y="609"/>
                  </a:lnTo>
                  <a:lnTo>
                    <a:pt x="130" y="608"/>
                  </a:lnTo>
                  <a:lnTo>
                    <a:pt x="130" y="608"/>
                  </a:lnTo>
                  <a:lnTo>
                    <a:pt x="127" y="608"/>
                  </a:lnTo>
                  <a:lnTo>
                    <a:pt x="123" y="608"/>
                  </a:lnTo>
                  <a:lnTo>
                    <a:pt x="122" y="608"/>
                  </a:lnTo>
                  <a:lnTo>
                    <a:pt x="120" y="604"/>
                  </a:lnTo>
                  <a:lnTo>
                    <a:pt x="120" y="604"/>
                  </a:lnTo>
                  <a:lnTo>
                    <a:pt x="120" y="601"/>
                  </a:lnTo>
                  <a:lnTo>
                    <a:pt x="118" y="599"/>
                  </a:lnTo>
                  <a:lnTo>
                    <a:pt x="113" y="597"/>
                  </a:lnTo>
                  <a:lnTo>
                    <a:pt x="108" y="597"/>
                  </a:lnTo>
                  <a:lnTo>
                    <a:pt x="106" y="595"/>
                  </a:lnTo>
                  <a:lnTo>
                    <a:pt x="104" y="594"/>
                  </a:lnTo>
                  <a:lnTo>
                    <a:pt x="104" y="594"/>
                  </a:lnTo>
                  <a:lnTo>
                    <a:pt x="101" y="588"/>
                  </a:lnTo>
                  <a:lnTo>
                    <a:pt x="101" y="588"/>
                  </a:lnTo>
                  <a:lnTo>
                    <a:pt x="99" y="590"/>
                  </a:lnTo>
                  <a:lnTo>
                    <a:pt x="97" y="594"/>
                  </a:lnTo>
                  <a:lnTo>
                    <a:pt x="96" y="602"/>
                  </a:lnTo>
                  <a:lnTo>
                    <a:pt x="96" y="602"/>
                  </a:lnTo>
                  <a:lnTo>
                    <a:pt x="90" y="594"/>
                  </a:lnTo>
                  <a:lnTo>
                    <a:pt x="83" y="587"/>
                  </a:lnTo>
                  <a:lnTo>
                    <a:pt x="83" y="587"/>
                  </a:lnTo>
                  <a:lnTo>
                    <a:pt x="80" y="581"/>
                  </a:lnTo>
                  <a:lnTo>
                    <a:pt x="78" y="578"/>
                  </a:lnTo>
                  <a:lnTo>
                    <a:pt x="78" y="573"/>
                  </a:lnTo>
                  <a:lnTo>
                    <a:pt x="78" y="569"/>
                  </a:lnTo>
                  <a:lnTo>
                    <a:pt x="78" y="569"/>
                  </a:lnTo>
                  <a:lnTo>
                    <a:pt x="76" y="566"/>
                  </a:lnTo>
                  <a:lnTo>
                    <a:pt x="73" y="566"/>
                  </a:lnTo>
                  <a:lnTo>
                    <a:pt x="69" y="566"/>
                  </a:lnTo>
                  <a:lnTo>
                    <a:pt x="66" y="562"/>
                  </a:lnTo>
                  <a:lnTo>
                    <a:pt x="66" y="562"/>
                  </a:lnTo>
                  <a:lnTo>
                    <a:pt x="59" y="548"/>
                  </a:lnTo>
                  <a:lnTo>
                    <a:pt x="52" y="536"/>
                  </a:lnTo>
                  <a:lnTo>
                    <a:pt x="47" y="526"/>
                  </a:lnTo>
                  <a:lnTo>
                    <a:pt x="42" y="519"/>
                  </a:lnTo>
                  <a:lnTo>
                    <a:pt x="42" y="519"/>
                  </a:lnTo>
                  <a:lnTo>
                    <a:pt x="40" y="519"/>
                  </a:lnTo>
                  <a:lnTo>
                    <a:pt x="40" y="521"/>
                  </a:lnTo>
                  <a:lnTo>
                    <a:pt x="38" y="526"/>
                  </a:lnTo>
                  <a:lnTo>
                    <a:pt x="35" y="529"/>
                  </a:lnTo>
                  <a:lnTo>
                    <a:pt x="33" y="529"/>
                  </a:lnTo>
                  <a:lnTo>
                    <a:pt x="31" y="526"/>
                  </a:lnTo>
                  <a:lnTo>
                    <a:pt x="31" y="526"/>
                  </a:lnTo>
                  <a:lnTo>
                    <a:pt x="29" y="522"/>
                  </a:lnTo>
                  <a:lnTo>
                    <a:pt x="29" y="515"/>
                  </a:lnTo>
                  <a:lnTo>
                    <a:pt x="29" y="507"/>
                  </a:lnTo>
                  <a:lnTo>
                    <a:pt x="33" y="498"/>
                  </a:lnTo>
                  <a:lnTo>
                    <a:pt x="33" y="498"/>
                  </a:lnTo>
                  <a:lnTo>
                    <a:pt x="33" y="493"/>
                  </a:lnTo>
                  <a:lnTo>
                    <a:pt x="33" y="489"/>
                  </a:lnTo>
                  <a:lnTo>
                    <a:pt x="33" y="484"/>
                  </a:lnTo>
                  <a:lnTo>
                    <a:pt x="36" y="474"/>
                  </a:lnTo>
                  <a:lnTo>
                    <a:pt x="36" y="474"/>
                  </a:lnTo>
                  <a:lnTo>
                    <a:pt x="38" y="470"/>
                  </a:lnTo>
                  <a:lnTo>
                    <a:pt x="38" y="468"/>
                  </a:lnTo>
                  <a:lnTo>
                    <a:pt x="38" y="465"/>
                  </a:lnTo>
                  <a:lnTo>
                    <a:pt x="40" y="458"/>
                  </a:lnTo>
                  <a:lnTo>
                    <a:pt x="40" y="458"/>
                  </a:lnTo>
                  <a:lnTo>
                    <a:pt x="47" y="444"/>
                  </a:lnTo>
                  <a:lnTo>
                    <a:pt x="47" y="440"/>
                  </a:lnTo>
                  <a:lnTo>
                    <a:pt x="47" y="437"/>
                  </a:lnTo>
                  <a:lnTo>
                    <a:pt x="47" y="437"/>
                  </a:lnTo>
                  <a:lnTo>
                    <a:pt x="49" y="430"/>
                  </a:lnTo>
                  <a:lnTo>
                    <a:pt x="50" y="423"/>
                  </a:lnTo>
                  <a:lnTo>
                    <a:pt x="50" y="418"/>
                  </a:lnTo>
                  <a:lnTo>
                    <a:pt x="57" y="409"/>
                  </a:lnTo>
                  <a:lnTo>
                    <a:pt x="57" y="409"/>
                  </a:lnTo>
                  <a:lnTo>
                    <a:pt x="66" y="399"/>
                  </a:lnTo>
                  <a:lnTo>
                    <a:pt x="69" y="392"/>
                  </a:lnTo>
                  <a:lnTo>
                    <a:pt x="71" y="386"/>
                  </a:lnTo>
                  <a:lnTo>
                    <a:pt x="76" y="380"/>
                  </a:lnTo>
                  <a:lnTo>
                    <a:pt x="76" y="380"/>
                  </a:lnTo>
                  <a:lnTo>
                    <a:pt x="80" y="374"/>
                  </a:lnTo>
                  <a:lnTo>
                    <a:pt x="80" y="373"/>
                  </a:lnTo>
                  <a:lnTo>
                    <a:pt x="78" y="369"/>
                  </a:lnTo>
                  <a:lnTo>
                    <a:pt x="78" y="364"/>
                  </a:lnTo>
                  <a:lnTo>
                    <a:pt x="78" y="364"/>
                  </a:lnTo>
                  <a:lnTo>
                    <a:pt x="76" y="360"/>
                  </a:lnTo>
                  <a:lnTo>
                    <a:pt x="76" y="359"/>
                  </a:lnTo>
                  <a:lnTo>
                    <a:pt x="73" y="359"/>
                  </a:lnTo>
                  <a:lnTo>
                    <a:pt x="73" y="355"/>
                  </a:lnTo>
                  <a:lnTo>
                    <a:pt x="73" y="355"/>
                  </a:lnTo>
                  <a:lnTo>
                    <a:pt x="71" y="350"/>
                  </a:lnTo>
                  <a:lnTo>
                    <a:pt x="71" y="343"/>
                  </a:lnTo>
                  <a:lnTo>
                    <a:pt x="68" y="331"/>
                  </a:lnTo>
                  <a:lnTo>
                    <a:pt x="59" y="317"/>
                  </a:lnTo>
                  <a:lnTo>
                    <a:pt x="59" y="317"/>
                  </a:lnTo>
                  <a:lnTo>
                    <a:pt x="63" y="310"/>
                  </a:lnTo>
                  <a:lnTo>
                    <a:pt x="64" y="303"/>
                  </a:lnTo>
                  <a:lnTo>
                    <a:pt x="64" y="298"/>
                  </a:lnTo>
                  <a:lnTo>
                    <a:pt x="63" y="291"/>
                  </a:lnTo>
                  <a:lnTo>
                    <a:pt x="61" y="285"/>
                  </a:lnTo>
                  <a:lnTo>
                    <a:pt x="57" y="279"/>
                  </a:lnTo>
                  <a:lnTo>
                    <a:pt x="45" y="265"/>
                  </a:lnTo>
                  <a:lnTo>
                    <a:pt x="45" y="265"/>
                  </a:lnTo>
                  <a:lnTo>
                    <a:pt x="38" y="258"/>
                  </a:lnTo>
                  <a:lnTo>
                    <a:pt x="35" y="251"/>
                  </a:lnTo>
                  <a:lnTo>
                    <a:pt x="31" y="242"/>
                  </a:lnTo>
                  <a:lnTo>
                    <a:pt x="29" y="237"/>
                  </a:lnTo>
                  <a:lnTo>
                    <a:pt x="29" y="230"/>
                  </a:lnTo>
                  <a:lnTo>
                    <a:pt x="29" y="226"/>
                  </a:lnTo>
                  <a:lnTo>
                    <a:pt x="31" y="225"/>
                  </a:lnTo>
                  <a:lnTo>
                    <a:pt x="33" y="225"/>
                  </a:lnTo>
                  <a:lnTo>
                    <a:pt x="33" y="225"/>
                  </a:lnTo>
                  <a:lnTo>
                    <a:pt x="36" y="225"/>
                  </a:lnTo>
                  <a:lnTo>
                    <a:pt x="36" y="223"/>
                  </a:lnTo>
                  <a:lnTo>
                    <a:pt x="36" y="221"/>
                  </a:lnTo>
                  <a:lnTo>
                    <a:pt x="40" y="221"/>
                  </a:lnTo>
                  <a:lnTo>
                    <a:pt x="40" y="221"/>
                  </a:lnTo>
                  <a:lnTo>
                    <a:pt x="42" y="219"/>
                  </a:lnTo>
                  <a:lnTo>
                    <a:pt x="43" y="218"/>
                  </a:lnTo>
                  <a:lnTo>
                    <a:pt x="42" y="207"/>
                  </a:lnTo>
                  <a:lnTo>
                    <a:pt x="42" y="195"/>
                  </a:lnTo>
                  <a:lnTo>
                    <a:pt x="43" y="191"/>
                  </a:lnTo>
                  <a:lnTo>
                    <a:pt x="47" y="188"/>
                  </a:lnTo>
                  <a:lnTo>
                    <a:pt x="47" y="188"/>
                  </a:lnTo>
                  <a:lnTo>
                    <a:pt x="50" y="186"/>
                  </a:lnTo>
                  <a:lnTo>
                    <a:pt x="52" y="183"/>
                  </a:lnTo>
                  <a:lnTo>
                    <a:pt x="54" y="176"/>
                  </a:lnTo>
                  <a:lnTo>
                    <a:pt x="52" y="174"/>
                  </a:lnTo>
                  <a:lnTo>
                    <a:pt x="52" y="174"/>
                  </a:lnTo>
                  <a:lnTo>
                    <a:pt x="49" y="174"/>
                  </a:lnTo>
                  <a:lnTo>
                    <a:pt x="47" y="179"/>
                  </a:lnTo>
                  <a:lnTo>
                    <a:pt x="47" y="179"/>
                  </a:lnTo>
                  <a:lnTo>
                    <a:pt x="45" y="181"/>
                  </a:lnTo>
                  <a:lnTo>
                    <a:pt x="45" y="181"/>
                  </a:lnTo>
                  <a:lnTo>
                    <a:pt x="42" y="176"/>
                  </a:lnTo>
                  <a:lnTo>
                    <a:pt x="40" y="167"/>
                  </a:lnTo>
                  <a:lnTo>
                    <a:pt x="38" y="157"/>
                  </a:lnTo>
                  <a:lnTo>
                    <a:pt x="38" y="157"/>
                  </a:lnTo>
                  <a:lnTo>
                    <a:pt x="38" y="151"/>
                  </a:lnTo>
                  <a:lnTo>
                    <a:pt x="38" y="148"/>
                  </a:lnTo>
                  <a:lnTo>
                    <a:pt x="35" y="146"/>
                  </a:lnTo>
                  <a:lnTo>
                    <a:pt x="29" y="141"/>
                  </a:lnTo>
                  <a:lnTo>
                    <a:pt x="29" y="141"/>
                  </a:lnTo>
                  <a:lnTo>
                    <a:pt x="22" y="132"/>
                  </a:lnTo>
                  <a:lnTo>
                    <a:pt x="17" y="124"/>
                  </a:lnTo>
                  <a:lnTo>
                    <a:pt x="12" y="113"/>
                  </a:lnTo>
                  <a:lnTo>
                    <a:pt x="10" y="101"/>
                  </a:lnTo>
                  <a:lnTo>
                    <a:pt x="10" y="101"/>
                  </a:lnTo>
                  <a:lnTo>
                    <a:pt x="9" y="94"/>
                  </a:lnTo>
                  <a:lnTo>
                    <a:pt x="9" y="94"/>
                  </a:lnTo>
                  <a:lnTo>
                    <a:pt x="7" y="94"/>
                  </a:lnTo>
                  <a:lnTo>
                    <a:pt x="5" y="94"/>
                  </a:lnTo>
                  <a:lnTo>
                    <a:pt x="3" y="94"/>
                  </a:lnTo>
                  <a:lnTo>
                    <a:pt x="2" y="92"/>
                  </a:lnTo>
                  <a:lnTo>
                    <a:pt x="0" y="87"/>
                  </a:lnTo>
                  <a:lnTo>
                    <a:pt x="0" y="87"/>
                  </a:lnTo>
                  <a:lnTo>
                    <a:pt x="0" y="84"/>
                  </a:lnTo>
                  <a:lnTo>
                    <a:pt x="2" y="82"/>
                  </a:lnTo>
                  <a:lnTo>
                    <a:pt x="7" y="82"/>
                  </a:lnTo>
                  <a:lnTo>
                    <a:pt x="10" y="82"/>
                  </a:lnTo>
                  <a:lnTo>
                    <a:pt x="12" y="82"/>
                  </a:lnTo>
                  <a:lnTo>
                    <a:pt x="14" y="78"/>
                  </a:lnTo>
                  <a:lnTo>
                    <a:pt x="12" y="73"/>
                  </a:lnTo>
                  <a:lnTo>
                    <a:pt x="12" y="73"/>
                  </a:lnTo>
                  <a:lnTo>
                    <a:pt x="10" y="68"/>
                  </a:lnTo>
                  <a:lnTo>
                    <a:pt x="10" y="64"/>
                  </a:lnTo>
                  <a:lnTo>
                    <a:pt x="12" y="63"/>
                  </a:lnTo>
                  <a:lnTo>
                    <a:pt x="14" y="61"/>
                  </a:lnTo>
                  <a:lnTo>
                    <a:pt x="17" y="57"/>
                  </a:lnTo>
                  <a:lnTo>
                    <a:pt x="17" y="56"/>
                  </a:lnTo>
                  <a:lnTo>
                    <a:pt x="16" y="52"/>
                  </a:lnTo>
                  <a:lnTo>
                    <a:pt x="16" y="52"/>
                  </a:lnTo>
                  <a:lnTo>
                    <a:pt x="14" y="45"/>
                  </a:lnTo>
                  <a:lnTo>
                    <a:pt x="16" y="42"/>
                  </a:lnTo>
                  <a:lnTo>
                    <a:pt x="19" y="38"/>
                  </a:lnTo>
                  <a:lnTo>
                    <a:pt x="22" y="31"/>
                  </a:lnTo>
                  <a:lnTo>
                    <a:pt x="22" y="31"/>
                  </a:lnTo>
                  <a:lnTo>
                    <a:pt x="24" y="28"/>
                  </a:lnTo>
                  <a:lnTo>
                    <a:pt x="28" y="30"/>
                  </a:lnTo>
                  <a:lnTo>
                    <a:pt x="31" y="33"/>
                  </a:lnTo>
                  <a:lnTo>
                    <a:pt x="33" y="33"/>
                  </a:lnTo>
                  <a:lnTo>
                    <a:pt x="36" y="33"/>
                  </a:lnTo>
                  <a:lnTo>
                    <a:pt x="36" y="33"/>
                  </a:lnTo>
                  <a:lnTo>
                    <a:pt x="47" y="30"/>
                  </a:lnTo>
                  <a:lnTo>
                    <a:pt x="52" y="28"/>
                  </a:lnTo>
                  <a:lnTo>
                    <a:pt x="56" y="28"/>
                  </a:lnTo>
                  <a:lnTo>
                    <a:pt x="57" y="23"/>
                  </a:lnTo>
                  <a:lnTo>
                    <a:pt x="57" y="23"/>
                  </a:lnTo>
                  <a:lnTo>
                    <a:pt x="61" y="14"/>
                  </a:lnTo>
                  <a:lnTo>
                    <a:pt x="63" y="12"/>
                  </a:lnTo>
                  <a:lnTo>
                    <a:pt x="64" y="14"/>
                  </a:lnTo>
                  <a:lnTo>
                    <a:pt x="68" y="16"/>
                  </a:lnTo>
                  <a:lnTo>
                    <a:pt x="69" y="16"/>
                  </a:lnTo>
                  <a:lnTo>
                    <a:pt x="71" y="14"/>
                  </a:lnTo>
                  <a:lnTo>
                    <a:pt x="71" y="14"/>
                  </a:lnTo>
                  <a:lnTo>
                    <a:pt x="73" y="14"/>
                  </a:lnTo>
                  <a:lnTo>
                    <a:pt x="75" y="10"/>
                  </a:lnTo>
                  <a:lnTo>
                    <a:pt x="73" y="7"/>
                  </a:lnTo>
                  <a:lnTo>
                    <a:pt x="73" y="3"/>
                  </a:lnTo>
                  <a:lnTo>
                    <a:pt x="75" y="3"/>
                  </a:lnTo>
                  <a:lnTo>
                    <a:pt x="78" y="3"/>
                  </a:lnTo>
                  <a:lnTo>
                    <a:pt x="78" y="3"/>
                  </a:lnTo>
                  <a:lnTo>
                    <a:pt x="85" y="3"/>
                  </a:lnTo>
                  <a:lnTo>
                    <a:pt x="87" y="2"/>
                  </a:lnTo>
                  <a:lnTo>
                    <a:pt x="90" y="0"/>
                  </a:lnTo>
                  <a:lnTo>
                    <a:pt x="96" y="2"/>
                  </a:lnTo>
                  <a:lnTo>
                    <a:pt x="96" y="2"/>
                  </a:lnTo>
                  <a:lnTo>
                    <a:pt x="96" y="7"/>
                  </a:lnTo>
                  <a:lnTo>
                    <a:pt x="99" y="5"/>
                  </a:lnTo>
                  <a:lnTo>
                    <a:pt x="103" y="3"/>
                  </a:lnTo>
                  <a:lnTo>
                    <a:pt x="104" y="3"/>
                  </a:lnTo>
                  <a:lnTo>
                    <a:pt x="108" y="7"/>
                  </a:lnTo>
                  <a:lnTo>
                    <a:pt x="108" y="7"/>
                  </a:lnTo>
                  <a:lnTo>
                    <a:pt x="111" y="10"/>
                  </a:lnTo>
                  <a:lnTo>
                    <a:pt x="111" y="16"/>
                  </a:lnTo>
                  <a:lnTo>
                    <a:pt x="108" y="28"/>
                  </a:lnTo>
                  <a:lnTo>
                    <a:pt x="106" y="31"/>
                  </a:lnTo>
                  <a:lnTo>
                    <a:pt x="106" y="37"/>
                  </a:lnTo>
                  <a:lnTo>
                    <a:pt x="108" y="38"/>
                  </a:lnTo>
                  <a:lnTo>
                    <a:pt x="111" y="40"/>
                  </a:lnTo>
                  <a:lnTo>
                    <a:pt x="111" y="40"/>
                  </a:lnTo>
                  <a:lnTo>
                    <a:pt x="120" y="40"/>
                  </a:lnTo>
                  <a:lnTo>
                    <a:pt x="122" y="37"/>
                  </a:lnTo>
                  <a:lnTo>
                    <a:pt x="125" y="35"/>
                  </a:lnTo>
                  <a:lnTo>
                    <a:pt x="130" y="35"/>
                  </a:lnTo>
                  <a:lnTo>
                    <a:pt x="130" y="35"/>
                  </a:lnTo>
                  <a:lnTo>
                    <a:pt x="134" y="37"/>
                  </a:lnTo>
                  <a:lnTo>
                    <a:pt x="136" y="38"/>
                  </a:lnTo>
                  <a:lnTo>
                    <a:pt x="136" y="42"/>
                  </a:lnTo>
                  <a:lnTo>
                    <a:pt x="134" y="49"/>
                  </a:lnTo>
                  <a:lnTo>
                    <a:pt x="136" y="52"/>
                  </a:lnTo>
                  <a:lnTo>
                    <a:pt x="137" y="56"/>
                  </a:lnTo>
                  <a:lnTo>
                    <a:pt x="137" y="56"/>
                  </a:lnTo>
                  <a:lnTo>
                    <a:pt x="139" y="61"/>
                  </a:lnTo>
                  <a:lnTo>
                    <a:pt x="139" y="64"/>
                  </a:lnTo>
                  <a:lnTo>
                    <a:pt x="134" y="77"/>
                  </a:lnTo>
                  <a:lnTo>
                    <a:pt x="130" y="85"/>
                  </a:lnTo>
                  <a:lnTo>
                    <a:pt x="129" y="89"/>
                  </a:lnTo>
                  <a:lnTo>
                    <a:pt x="130" y="90"/>
                  </a:lnTo>
                  <a:lnTo>
                    <a:pt x="130" y="90"/>
                  </a:lnTo>
                  <a:lnTo>
                    <a:pt x="134" y="94"/>
                  </a:lnTo>
                  <a:lnTo>
                    <a:pt x="134" y="99"/>
                  </a:lnTo>
                  <a:lnTo>
                    <a:pt x="130" y="110"/>
                  </a:lnTo>
                  <a:lnTo>
                    <a:pt x="125" y="120"/>
                  </a:lnTo>
                  <a:lnTo>
                    <a:pt x="125" y="124"/>
                  </a:lnTo>
                  <a:lnTo>
                    <a:pt x="125" y="125"/>
                  </a:lnTo>
                  <a:lnTo>
                    <a:pt x="125" y="125"/>
                  </a:lnTo>
                  <a:lnTo>
                    <a:pt x="130" y="127"/>
                  </a:lnTo>
                  <a:lnTo>
                    <a:pt x="134" y="127"/>
                  </a:lnTo>
                  <a:lnTo>
                    <a:pt x="141" y="122"/>
                  </a:lnTo>
                  <a:lnTo>
                    <a:pt x="151" y="108"/>
                  </a:lnTo>
                  <a:lnTo>
                    <a:pt x="151" y="108"/>
                  </a:lnTo>
                  <a:lnTo>
                    <a:pt x="158" y="103"/>
                  </a:lnTo>
                  <a:lnTo>
                    <a:pt x="162" y="99"/>
                  </a:lnTo>
                  <a:lnTo>
                    <a:pt x="165" y="97"/>
                  </a:lnTo>
                  <a:lnTo>
                    <a:pt x="169" y="99"/>
                  </a:lnTo>
                  <a:lnTo>
                    <a:pt x="172" y="103"/>
                  </a:lnTo>
                  <a:lnTo>
                    <a:pt x="174" y="106"/>
                  </a:lnTo>
                  <a:lnTo>
                    <a:pt x="177" y="106"/>
                  </a:lnTo>
                  <a:lnTo>
                    <a:pt x="177" y="106"/>
                  </a:lnTo>
                  <a:lnTo>
                    <a:pt x="179" y="106"/>
                  </a:lnTo>
                  <a:lnTo>
                    <a:pt x="181" y="108"/>
                  </a:lnTo>
                  <a:lnTo>
                    <a:pt x="183" y="111"/>
                  </a:lnTo>
                  <a:lnTo>
                    <a:pt x="183" y="113"/>
                  </a:lnTo>
                  <a:lnTo>
                    <a:pt x="188" y="111"/>
                  </a:lnTo>
                  <a:lnTo>
                    <a:pt x="188" y="111"/>
                  </a:lnTo>
                  <a:lnTo>
                    <a:pt x="193" y="108"/>
                  </a:lnTo>
                  <a:lnTo>
                    <a:pt x="198" y="103"/>
                  </a:lnTo>
                  <a:lnTo>
                    <a:pt x="204" y="94"/>
                  </a:lnTo>
                  <a:lnTo>
                    <a:pt x="205" y="90"/>
                  </a:lnTo>
                  <a:lnTo>
                    <a:pt x="209" y="89"/>
                  </a:lnTo>
                  <a:lnTo>
                    <a:pt x="212" y="89"/>
                  </a:lnTo>
                  <a:lnTo>
                    <a:pt x="216" y="89"/>
                  </a:lnTo>
                  <a:lnTo>
                    <a:pt x="216" y="89"/>
                  </a:lnTo>
                  <a:lnTo>
                    <a:pt x="221" y="92"/>
                  </a:lnTo>
                  <a:lnTo>
                    <a:pt x="224" y="92"/>
                  </a:lnTo>
                  <a:lnTo>
                    <a:pt x="230" y="92"/>
                  </a:lnTo>
                  <a:lnTo>
                    <a:pt x="233" y="92"/>
                  </a:lnTo>
                  <a:lnTo>
                    <a:pt x="235" y="94"/>
                  </a:lnTo>
                  <a:lnTo>
                    <a:pt x="238" y="103"/>
                  </a:lnTo>
                  <a:lnTo>
                    <a:pt x="238" y="103"/>
                  </a:lnTo>
                  <a:lnTo>
                    <a:pt x="242" y="111"/>
                  </a:lnTo>
                  <a:lnTo>
                    <a:pt x="247" y="117"/>
                  </a:lnTo>
                  <a:lnTo>
                    <a:pt x="254" y="124"/>
                  </a:lnTo>
                  <a:lnTo>
                    <a:pt x="258" y="129"/>
                  </a:lnTo>
                  <a:lnTo>
                    <a:pt x="259" y="134"/>
                  </a:lnTo>
                  <a:lnTo>
                    <a:pt x="261" y="141"/>
                  </a:lnTo>
                  <a:lnTo>
                    <a:pt x="259" y="153"/>
                  </a:lnTo>
                  <a:lnTo>
                    <a:pt x="259" y="153"/>
                  </a:lnTo>
                  <a:lnTo>
                    <a:pt x="258" y="164"/>
                  </a:lnTo>
                  <a:lnTo>
                    <a:pt x="259" y="172"/>
                  </a:lnTo>
                  <a:lnTo>
                    <a:pt x="264" y="179"/>
                  </a:lnTo>
                  <a:lnTo>
                    <a:pt x="268" y="185"/>
                  </a:lnTo>
                  <a:lnTo>
                    <a:pt x="277" y="190"/>
                  </a:lnTo>
                  <a:lnTo>
                    <a:pt x="280" y="193"/>
                  </a:lnTo>
                  <a:lnTo>
                    <a:pt x="280" y="195"/>
                  </a:lnTo>
                  <a:lnTo>
                    <a:pt x="280" y="195"/>
                  </a:lnTo>
                  <a:lnTo>
                    <a:pt x="280" y="197"/>
                  </a:lnTo>
                  <a:lnTo>
                    <a:pt x="282" y="200"/>
                  </a:lnTo>
                  <a:lnTo>
                    <a:pt x="285" y="205"/>
                  </a:lnTo>
                  <a:lnTo>
                    <a:pt x="287" y="211"/>
                  </a:lnTo>
                  <a:lnTo>
                    <a:pt x="289" y="218"/>
                  </a:lnTo>
                  <a:lnTo>
                    <a:pt x="289" y="228"/>
                  </a:lnTo>
                  <a:lnTo>
                    <a:pt x="285" y="242"/>
                  </a:lnTo>
                  <a:lnTo>
                    <a:pt x="285" y="242"/>
                  </a:lnTo>
                  <a:lnTo>
                    <a:pt x="285" y="247"/>
                  </a:lnTo>
                  <a:lnTo>
                    <a:pt x="285" y="252"/>
                  </a:lnTo>
                  <a:lnTo>
                    <a:pt x="284" y="258"/>
                  </a:lnTo>
                  <a:lnTo>
                    <a:pt x="275" y="266"/>
                  </a:lnTo>
                  <a:lnTo>
                    <a:pt x="275" y="266"/>
                  </a:lnTo>
                  <a:lnTo>
                    <a:pt x="271" y="268"/>
                  </a:lnTo>
                  <a:lnTo>
                    <a:pt x="270" y="268"/>
                  </a:lnTo>
                  <a:lnTo>
                    <a:pt x="268" y="265"/>
                  </a:lnTo>
                  <a:lnTo>
                    <a:pt x="266" y="263"/>
                  </a:lnTo>
                  <a:lnTo>
                    <a:pt x="264" y="261"/>
                  </a:lnTo>
                  <a:lnTo>
                    <a:pt x="259" y="259"/>
                  </a:lnTo>
                  <a:lnTo>
                    <a:pt x="254" y="259"/>
                  </a:lnTo>
                  <a:lnTo>
                    <a:pt x="254" y="259"/>
                  </a:lnTo>
                  <a:lnTo>
                    <a:pt x="237" y="261"/>
                  </a:lnTo>
                  <a:lnTo>
                    <a:pt x="217" y="261"/>
                  </a:lnTo>
                  <a:lnTo>
                    <a:pt x="209" y="263"/>
                  </a:lnTo>
                  <a:lnTo>
                    <a:pt x="202" y="265"/>
                  </a:lnTo>
                  <a:lnTo>
                    <a:pt x="195" y="270"/>
                  </a:lnTo>
                  <a:lnTo>
                    <a:pt x="191" y="277"/>
                  </a:lnTo>
                  <a:lnTo>
                    <a:pt x="191" y="277"/>
                  </a:lnTo>
                  <a:lnTo>
                    <a:pt x="186" y="287"/>
                  </a:lnTo>
                  <a:lnTo>
                    <a:pt x="183" y="292"/>
                  </a:lnTo>
                  <a:lnTo>
                    <a:pt x="181" y="292"/>
                  </a:lnTo>
                  <a:lnTo>
                    <a:pt x="181" y="294"/>
                  </a:lnTo>
                  <a:lnTo>
                    <a:pt x="181" y="294"/>
                  </a:lnTo>
                  <a:lnTo>
                    <a:pt x="181" y="296"/>
                  </a:lnTo>
                  <a:lnTo>
                    <a:pt x="179" y="298"/>
                  </a:lnTo>
                  <a:lnTo>
                    <a:pt x="176" y="298"/>
                  </a:lnTo>
                  <a:lnTo>
                    <a:pt x="174" y="298"/>
                  </a:lnTo>
                  <a:lnTo>
                    <a:pt x="172" y="299"/>
                  </a:lnTo>
                  <a:lnTo>
                    <a:pt x="172" y="303"/>
                  </a:lnTo>
                  <a:lnTo>
                    <a:pt x="176" y="310"/>
                  </a:lnTo>
                  <a:lnTo>
                    <a:pt x="176" y="310"/>
                  </a:lnTo>
                  <a:lnTo>
                    <a:pt x="179" y="322"/>
                  </a:lnTo>
                  <a:lnTo>
                    <a:pt x="179" y="331"/>
                  </a:lnTo>
                  <a:lnTo>
                    <a:pt x="181" y="336"/>
                  </a:lnTo>
                  <a:lnTo>
                    <a:pt x="186" y="341"/>
                  </a:lnTo>
                  <a:lnTo>
                    <a:pt x="186" y="341"/>
                  </a:lnTo>
                  <a:lnTo>
                    <a:pt x="188" y="345"/>
                  </a:lnTo>
                  <a:lnTo>
                    <a:pt x="190" y="348"/>
                  </a:lnTo>
                  <a:lnTo>
                    <a:pt x="190" y="353"/>
                  </a:lnTo>
                  <a:lnTo>
                    <a:pt x="190" y="364"/>
                  </a:lnTo>
                  <a:lnTo>
                    <a:pt x="191" y="369"/>
                  </a:lnTo>
                  <a:lnTo>
                    <a:pt x="195" y="378"/>
                  </a:lnTo>
                  <a:lnTo>
                    <a:pt x="195" y="378"/>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9" name="Freeform 1744">
              <a:extLst>
                <a:ext uri="{FF2B5EF4-FFF2-40B4-BE49-F238E27FC236}">
                  <a16:creationId xmlns:a16="http://schemas.microsoft.com/office/drawing/2014/main" id="{57DE363A-53F0-46D8-B34A-7D22BC12CF32}"/>
                </a:ext>
              </a:extLst>
            </p:cNvPr>
            <p:cNvSpPr>
              <a:spLocks/>
            </p:cNvSpPr>
            <p:nvPr/>
          </p:nvSpPr>
          <p:spPr bwMode="auto">
            <a:xfrm>
              <a:off x="7597077" y="3711832"/>
              <a:ext cx="204392" cy="514505"/>
            </a:xfrm>
            <a:custGeom>
              <a:avLst/>
              <a:gdLst/>
              <a:ahLst/>
              <a:cxnLst>
                <a:cxn ang="0">
                  <a:pos x="186" y="77"/>
                </a:cxn>
                <a:cxn ang="0">
                  <a:pos x="172" y="66"/>
                </a:cxn>
                <a:cxn ang="0">
                  <a:pos x="158" y="49"/>
                </a:cxn>
                <a:cxn ang="0">
                  <a:pos x="162" y="23"/>
                </a:cxn>
                <a:cxn ang="0">
                  <a:pos x="136" y="19"/>
                </a:cxn>
                <a:cxn ang="0">
                  <a:pos x="110" y="0"/>
                </a:cxn>
                <a:cxn ang="0">
                  <a:pos x="94" y="19"/>
                </a:cxn>
                <a:cxn ang="0">
                  <a:pos x="73" y="24"/>
                </a:cxn>
                <a:cxn ang="0">
                  <a:pos x="63" y="37"/>
                </a:cxn>
                <a:cxn ang="0">
                  <a:pos x="49" y="31"/>
                </a:cxn>
                <a:cxn ang="0">
                  <a:pos x="33" y="40"/>
                </a:cxn>
                <a:cxn ang="0">
                  <a:pos x="19" y="30"/>
                </a:cxn>
                <a:cxn ang="0">
                  <a:pos x="0" y="44"/>
                </a:cxn>
                <a:cxn ang="0">
                  <a:pos x="24" y="68"/>
                </a:cxn>
                <a:cxn ang="0">
                  <a:pos x="30" y="78"/>
                </a:cxn>
                <a:cxn ang="0">
                  <a:pos x="26" y="92"/>
                </a:cxn>
                <a:cxn ang="0">
                  <a:pos x="40" y="112"/>
                </a:cxn>
                <a:cxn ang="0">
                  <a:pos x="57" y="115"/>
                </a:cxn>
                <a:cxn ang="0">
                  <a:pos x="80" y="112"/>
                </a:cxn>
                <a:cxn ang="0">
                  <a:pos x="80" y="129"/>
                </a:cxn>
                <a:cxn ang="0">
                  <a:pos x="92" y="139"/>
                </a:cxn>
                <a:cxn ang="0">
                  <a:pos x="94" y="152"/>
                </a:cxn>
                <a:cxn ang="0">
                  <a:pos x="68" y="160"/>
                </a:cxn>
                <a:cxn ang="0">
                  <a:pos x="63" y="176"/>
                </a:cxn>
                <a:cxn ang="0">
                  <a:pos x="103" y="202"/>
                </a:cxn>
                <a:cxn ang="0">
                  <a:pos x="106" y="219"/>
                </a:cxn>
                <a:cxn ang="0">
                  <a:pos x="131" y="254"/>
                </a:cxn>
                <a:cxn ang="0">
                  <a:pos x="158" y="300"/>
                </a:cxn>
                <a:cxn ang="0">
                  <a:pos x="179" y="317"/>
                </a:cxn>
                <a:cxn ang="0">
                  <a:pos x="183" y="326"/>
                </a:cxn>
                <a:cxn ang="0">
                  <a:pos x="188" y="345"/>
                </a:cxn>
                <a:cxn ang="0">
                  <a:pos x="188" y="380"/>
                </a:cxn>
                <a:cxn ang="0">
                  <a:pos x="185" y="408"/>
                </a:cxn>
                <a:cxn ang="0">
                  <a:pos x="192" y="432"/>
                </a:cxn>
                <a:cxn ang="0">
                  <a:pos x="192" y="475"/>
                </a:cxn>
                <a:cxn ang="0">
                  <a:pos x="176" y="482"/>
                </a:cxn>
                <a:cxn ang="0">
                  <a:pos x="151" y="496"/>
                </a:cxn>
                <a:cxn ang="0">
                  <a:pos x="145" y="505"/>
                </a:cxn>
                <a:cxn ang="0">
                  <a:pos x="131" y="515"/>
                </a:cxn>
                <a:cxn ang="0">
                  <a:pos x="145" y="540"/>
                </a:cxn>
                <a:cxn ang="0">
                  <a:pos x="129" y="540"/>
                </a:cxn>
                <a:cxn ang="0">
                  <a:pos x="108" y="540"/>
                </a:cxn>
                <a:cxn ang="0">
                  <a:pos x="99" y="556"/>
                </a:cxn>
                <a:cxn ang="0">
                  <a:pos x="85" y="571"/>
                </a:cxn>
                <a:cxn ang="0">
                  <a:pos x="101" y="576"/>
                </a:cxn>
                <a:cxn ang="0">
                  <a:pos x="91" y="629"/>
                </a:cxn>
                <a:cxn ang="0">
                  <a:pos x="124" y="616"/>
                </a:cxn>
                <a:cxn ang="0">
                  <a:pos x="145" y="599"/>
                </a:cxn>
                <a:cxn ang="0">
                  <a:pos x="165" y="554"/>
                </a:cxn>
                <a:cxn ang="0">
                  <a:pos x="181" y="562"/>
                </a:cxn>
                <a:cxn ang="0">
                  <a:pos x="230" y="531"/>
                </a:cxn>
                <a:cxn ang="0">
                  <a:pos x="249" y="479"/>
                </a:cxn>
                <a:cxn ang="0">
                  <a:pos x="256" y="458"/>
                </a:cxn>
                <a:cxn ang="0">
                  <a:pos x="251" y="406"/>
                </a:cxn>
                <a:cxn ang="0">
                  <a:pos x="218" y="322"/>
                </a:cxn>
                <a:cxn ang="0">
                  <a:pos x="172" y="275"/>
                </a:cxn>
                <a:cxn ang="0">
                  <a:pos x="148" y="230"/>
                </a:cxn>
                <a:cxn ang="0">
                  <a:pos x="124" y="190"/>
                </a:cxn>
                <a:cxn ang="0">
                  <a:pos x="148" y="141"/>
                </a:cxn>
                <a:cxn ang="0">
                  <a:pos x="165" y="106"/>
                </a:cxn>
                <a:cxn ang="0">
                  <a:pos x="183" y="98"/>
                </a:cxn>
                <a:cxn ang="0">
                  <a:pos x="207" y="80"/>
                </a:cxn>
              </a:cxnLst>
              <a:rect l="0" t="0" r="r" b="b"/>
              <a:pathLst>
                <a:path w="256" h="643">
                  <a:moveTo>
                    <a:pt x="207" y="80"/>
                  </a:moveTo>
                  <a:lnTo>
                    <a:pt x="207" y="80"/>
                  </a:lnTo>
                  <a:lnTo>
                    <a:pt x="202" y="78"/>
                  </a:lnTo>
                  <a:lnTo>
                    <a:pt x="198" y="77"/>
                  </a:lnTo>
                  <a:lnTo>
                    <a:pt x="193" y="77"/>
                  </a:lnTo>
                  <a:lnTo>
                    <a:pt x="188" y="78"/>
                  </a:lnTo>
                  <a:lnTo>
                    <a:pt x="186" y="77"/>
                  </a:lnTo>
                  <a:lnTo>
                    <a:pt x="185" y="75"/>
                  </a:lnTo>
                  <a:lnTo>
                    <a:pt x="185" y="75"/>
                  </a:lnTo>
                  <a:lnTo>
                    <a:pt x="181" y="73"/>
                  </a:lnTo>
                  <a:lnTo>
                    <a:pt x="178" y="73"/>
                  </a:lnTo>
                  <a:lnTo>
                    <a:pt x="174" y="71"/>
                  </a:lnTo>
                  <a:lnTo>
                    <a:pt x="172" y="66"/>
                  </a:lnTo>
                  <a:lnTo>
                    <a:pt x="172" y="66"/>
                  </a:lnTo>
                  <a:lnTo>
                    <a:pt x="169" y="63"/>
                  </a:lnTo>
                  <a:lnTo>
                    <a:pt x="164" y="61"/>
                  </a:lnTo>
                  <a:lnTo>
                    <a:pt x="160" y="59"/>
                  </a:lnTo>
                  <a:lnTo>
                    <a:pt x="160" y="58"/>
                  </a:lnTo>
                  <a:lnTo>
                    <a:pt x="158" y="54"/>
                  </a:lnTo>
                  <a:lnTo>
                    <a:pt x="158" y="54"/>
                  </a:lnTo>
                  <a:lnTo>
                    <a:pt x="158" y="49"/>
                  </a:lnTo>
                  <a:lnTo>
                    <a:pt x="155" y="45"/>
                  </a:lnTo>
                  <a:lnTo>
                    <a:pt x="155" y="40"/>
                  </a:lnTo>
                  <a:lnTo>
                    <a:pt x="160" y="33"/>
                  </a:lnTo>
                  <a:lnTo>
                    <a:pt x="160" y="33"/>
                  </a:lnTo>
                  <a:lnTo>
                    <a:pt x="164" y="26"/>
                  </a:lnTo>
                  <a:lnTo>
                    <a:pt x="164" y="24"/>
                  </a:lnTo>
                  <a:lnTo>
                    <a:pt x="162" y="23"/>
                  </a:lnTo>
                  <a:lnTo>
                    <a:pt x="158" y="21"/>
                  </a:lnTo>
                  <a:lnTo>
                    <a:pt x="151" y="23"/>
                  </a:lnTo>
                  <a:lnTo>
                    <a:pt x="151" y="23"/>
                  </a:lnTo>
                  <a:lnTo>
                    <a:pt x="146" y="23"/>
                  </a:lnTo>
                  <a:lnTo>
                    <a:pt x="145" y="19"/>
                  </a:lnTo>
                  <a:lnTo>
                    <a:pt x="141" y="18"/>
                  </a:lnTo>
                  <a:lnTo>
                    <a:pt x="136" y="19"/>
                  </a:lnTo>
                  <a:lnTo>
                    <a:pt x="136" y="19"/>
                  </a:lnTo>
                  <a:lnTo>
                    <a:pt x="131" y="19"/>
                  </a:lnTo>
                  <a:lnTo>
                    <a:pt x="125" y="18"/>
                  </a:lnTo>
                  <a:lnTo>
                    <a:pt x="118" y="9"/>
                  </a:lnTo>
                  <a:lnTo>
                    <a:pt x="113" y="2"/>
                  </a:lnTo>
                  <a:lnTo>
                    <a:pt x="111" y="0"/>
                  </a:lnTo>
                  <a:lnTo>
                    <a:pt x="110" y="0"/>
                  </a:lnTo>
                  <a:lnTo>
                    <a:pt x="110" y="0"/>
                  </a:lnTo>
                  <a:lnTo>
                    <a:pt x="101" y="7"/>
                  </a:lnTo>
                  <a:lnTo>
                    <a:pt x="96" y="11"/>
                  </a:lnTo>
                  <a:lnTo>
                    <a:pt x="92" y="12"/>
                  </a:lnTo>
                  <a:lnTo>
                    <a:pt x="94" y="16"/>
                  </a:lnTo>
                  <a:lnTo>
                    <a:pt x="94" y="16"/>
                  </a:lnTo>
                  <a:lnTo>
                    <a:pt x="94" y="19"/>
                  </a:lnTo>
                  <a:lnTo>
                    <a:pt x="92" y="21"/>
                  </a:lnTo>
                  <a:lnTo>
                    <a:pt x="87" y="26"/>
                  </a:lnTo>
                  <a:lnTo>
                    <a:pt x="80" y="30"/>
                  </a:lnTo>
                  <a:lnTo>
                    <a:pt x="78" y="30"/>
                  </a:lnTo>
                  <a:lnTo>
                    <a:pt x="75" y="28"/>
                  </a:lnTo>
                  <a:lnTo>
                    <a:pt x="75" y="28"/>
                  </a:lnTo>
                  <a:lnTo>
                    <a:pt x="73" y="24"/>
                  </a:lnTo>
                  <a:lnTo>
                    <a:pt x="70" y="23"/>
                  </a:lnTo>
                  <a:lnTo>
                    <a:pt x="68" y="24"/>
                  </a:lnTo>
                  <a:lnTo>
                    <a:pt x="66" y="31"/>
                  </a:lnTo>
                  <a:lnTo>
                    <a:pt x="66" y="31"/>
                  </a:lnTo>
                  <a:lnTo>
                    <a:pt x="64" y="38"/>
                  </a:lnTo>
                  <a:lnTo>
                    <a:pt x="63" y="38"/>
                  </a:lnTo>
                  <a:lnTo>
                    <a:pt x="63" y="37"/>
                  </a:lnTo>
                  <a:lnTo>
                    <a:pt x="59" y="33"/>
                  </a:lnTo>
                  <a:lnTo>
                    <a:pt x="54" y="28"/>
                  </a:lnTo>
                  <a:lnTo>
                    <a:pt x="54" y="28"/>
                  </a:lnTo>
                  <a:lnTo>
                    <a:pt x="54" y="28"/>
                  </a:lnTo>
                  <a:lnTo>
                    <a:pt x="52" y="28"/>
                  </a:lnTo>
                  <a:lnTo>
                    <a:pt x="50" y="31"/>
                  </a:lnTo>
                  <a:lnTo>
                    <a:pt x="49" y="31"/>
                  </a:lnTo>
                  <a:lnTo>
                    <a:pt x="45" y="28"/>
                  </a:lnTo>
                  <a:lnTo>
                    <a:pt x="45" y="28"/>
                  </a:lnTo>
                  <a:lnTo>
                    <a:pt x="44" y="26"/>
                  </a:lnTo>
                  <a:lnTo>
                    <a:pt x="42" y="26"/>
                  </a:lnTo>
                  <a:lnTo>
                    <a:pt x="38" y="31"/>
                  </a:lnTo>
                  <a:lnTo>
                    <a:pt x="35" y="38"/>
                  </a:lnTo>
                  <a:lnTo>
                    <a:pt x="33" y="40"/>
                  </a:lnTo>
                  <a:lnTo>
                    <a:pt x="30" y="42"/>
                  </a:lnTo>
                  <a:lnTo>
                    <a:pt x="30" y="42"/>
                  </a:lnTo>
                  <a:lnTo>
                    <a:pt x="28" y="40"/>
                  </a:lnTo>
                  <a:lnTo>
                    <a:pt x="26" y="37"/>
                  </a:lnTo>
                  <a:lnTo>
                    <a:pt x="24" y="33"/>
                  </a:lnTo>
                  <a:lnTo>
                    <a:pt x="19" y="30"/>
                  </a:lnTo>
                  <a:lnTo>
                    <a:pt x="19" y="30"/>
                  </a:lnTo>
                  <a:lnTo>
                    <a:pt x="16" y="28"/>
                  </a:lnTo>
                  <a:lnTo>
                    <a:pt x="12" y="30"/>
                  </a:lnTo>
                  <a:lnTo>
                    <a:pt x="9" y="33"/>
                  </a:lnTo>
                  <a:lnTo>
                    <a:pt x="5" y="40"/>
                  </a:lnTo>
                  <a:lnTo>
                    <a:pt x="3" y="42"/>
                  </a:lnTo>
                  <a:lnTo>
                    <a:pt x="0" y="44"/>
                  </a:lnTo>
                  <a:lnTo>
                    <a:pt x="0" y="44"/>
                  </a:lnTo>
                  <a:lnTo>
                    <a:pt x="7" y="52"/>
                  </a:lnTo>
                  <a:lnTo>
                    <a:pt x="12" y="59"/>
                  </a:lnTo>
                  <a:lnTo>
                    <a:pt x="17" y="70"/>
                  </a:lnTo>
                  <a:lnTo>
                    <a:pt x="19" y="75"/>
                  </a:lnTo>
                  <a:lnTo>
                    <a:pt x="21" y="71"/>
                  </a:lnTo>
                  <a:lnTo>
                    <a:pt x="21" y="71"/>
                  </a:lnTo>
                  <a:lnTo>
                    <a:pt x="24" y="68"/>
                  </a:lnTo>
                  <a:lnTo>
                    <a:pt x="24" y="70"/>
                  </a:lnTo>
                  <a:lnTo>
                    <a:pt x="26" y="71"/>
                  </a:lnTo>
                  <a:lnTo>
                    <a:pt x="30" y="73"/>
                  </a:lnTo>
                  <a:lnTo>
                    <a:pt x="30" y="73"/>
                  </a:lnTo>
                  <a:lnTo>
                    <a:pt x="30" y="73"/>
                  </a:lnTo>
                  <a:lnTo>
                    <a:pt x="31" y="75"/>
                  </a:lnTo>
                  <a:lnTo>
                    <a:pt x="30" y="78"/>
                  </a:lnTo>
                  <a:lnTo>
                    <a:pt x="28" y="82"/>
                  </a:lnTo>
                  <a:lnTo>
                    <a:pt x="26" y="84"/>
                  </a:lnTo>
                  <a:lnTo>
                    <a:pt x="28" y="85"/>
                  </a:lnTo>
                  <a:lnTo>
                    <a:pt x="28" y="85"/>
                  </a:lnTo>
                  <a:lnTo>
                    <a:pt x="28" y="87"/>
                  </a:lnTo>
                  <a:lnTo>
                    <a:pt x="28" y="89"/>
                  </a:lnTo>
                  <a:lnTo>
                    <a:pt x="26" y="92"/>
                  </a:lnTo>
                  <a:lnTo>
                    <a:pt x="26" y="96"/>
                  </a:lnTo>
                  <a:lnTo>
                    <a:pt x="26" y="96"/>
                  </a:lnTo>
                  <a:lnTo>
                    <a:pt x="30" y="101"/>
                  </a:lnTo>
                  <a:lnTo>
                    <a:pt x="31" y="106"/>
                  </a:lnTo>
                  <a:lnTo>
                    <a:pt x="35" y="110"/>
                  </a:lnTo>
                  <a:lnTo>
                    <a:pt x="37" y="112"/>
                  </a:lnTo>
                  <a:lnTo>
                    <a:pt x="40" y="112"/>
                  </a:lnTo>
                  <a:lnTo>
                    <a:pt x="40" y="112"/>
                  </a:lnTo>
                  <a:lnTo>
                    <a:pt x="44" y="112"/>
                  </a:lnTo>
                  <a:lnTo>
                    <a:pt x="45" y="112"/>
                  </a:lnTo>
                  <a:lnTo>
                    <a:pt x="50" y="117"/>
                  </a:lnTo>
                  <a:lnTo>
                    <a:pt x="52" y="117"/>
                  </a:lnTo>
                  <a:lnTo>
                    <a:pt x="56" y="117"/>
                  </a:lnTo>
                  <a:lnTo>
                    <a:pt x="57" y="115"/>
                  </a:lnTo>
                  <a:lnTo>
                    <a:pt x="59" y="110"/>
                  </a:lnTo>
                  <a:lnTo>
                    <a:pt x="59" y="110"/>
                  </a:lnTo>
                  <a:lnTo>
                    <a:pt x="63" y="105"/>
                  </a:lnTo>
                  <a:lnTo>
                    <a:pt x="64" y="105"/>
                  </a:lnTo>
                  <a:lnTo>
                    <a:pt x="66" y="105"/>
                  </a:lnTo>
                  <a:lnTo>
                    <a:pt x="71" y="108"/>
                  </a:lnTo>
                  <a:lnTo>
                    <a:pt x="80" y="112"/>
                  </a:lnTo>
                  <a:lnTo>
                    <a:pt x="80" y="112"/>
                  </a:lnTo>
                  <a:lnTo>
                    <a:pt x="85" y="117"/>
                  </a:lnTo>
                  <a:lnTo>
                    <a:pt x="89" y="119"/>
                  </a:lnTo>
                  <a:lnTo>
                    <a:pt x="87" y="122"/>
                  </a:lnTo>
                  <a:lnTo>
                    <a:pt x="82" y="127"/>
                  </a:lnTo>
                  <a:lnTo>
                    <a:pt x="82" y="127"/>
                  </a:lnTo>
                  <a:lnTo>
                    <a:pt x="80" y="129"/>
                  </a:lnTo>
                  <a:lnTo>
                    <a:pt x="82" y="131"/>
                  </a:lnTo>
                  <a:lnTo>
                    <a:pt x="87" y="131"/>
                  </a:lnTo>
                  <a:lnTo>
                    <a:pt x="89" y="132"/>
                  </a:lnTo>
                  <a:lnTo>
                    <a:pt x="89" y="136"/>
                  </a:lnTo>
                  <a:lnTo>
                    <a:pt x="89" y="136"/>
                  </a:lnTo>
                  <a:lnTo>
                    <a:pt x="91" y="139"/>
                  </a:lnTo>
                  <a:lnTo>
                    <a:pt x="92" y="139"/>
                  </a:lnTo>
                  <a:lnTo>
                    <a:pt x="96" y="139"/>
                  </a:lnTo>
                  <a:lnTo>
                    <a:pt x="99" y="141"/>
                  </a:lnTo>
                  <a:lnTo>
                    <a:pt x="99" y="141"/>
                  </a:lnTo>
                  <a:lnTo>
                    <a:pt x="101" y="145"/>
                  </a:lnTo>
                  <a:lnTo>
                    <a:pt x="99" y="146"/>
                  </a:lnTo>
                  <a:lnTo>
                    <a:pt x="97" y="148"/>
                  </a:lnTo>
                  <a:lnTo>
                    <a:pt x="94" y="152"/>
                  </a:lnTo>
                  <a:lnTo>
                    <a:pt x="92" y="155"/>
                  </a:lnTo>
                  <a:lnTo>
                    <a:pt x="91" y="159"/>
                  </a:lnTo>
                  <a:lnTo>
                    <a:pt x="91" y="159"/>
                  </a:lnTo>
                  <a:lnTo>
                    <a:pt x="89" y="162"/>
                  </a:lnTo>
                  <a:lnTo>
                    <a:pt x="85" y="164"/>
                  </a:lnTo>
                  <a:lnTo>
                    <a:pt x="77" y="162"/>
                  </a:lnTo>
                  <a:lnTo>
                    <a:pt x="68" y="160"/>
                  </a:lnTo>
                  <a:lnTo>
                    <a:pt x="66" y="162"/>
                  </a:lnTo>
                  <a:lnTo>
                    <a:pt x="68" y="167"/>
                  </a:lnTo>
                  <a:lnTo>
                    <a:pt x="68" y="167"/>
                  </a:lnTo>
                  <a:lnTo>
                    <a:pt x="68" y="169"/>
                  </a:lnTo>
                  <a:lnTo>
                    <a:pt x="66" y="171"/>
                  </a:lnTo>
                  <a:lnTo>
                    <a:pt x="64" y="174"/>
                  </a:lnTo>
                  <a:lnTo>
                    <a:pt x="63" y="176"/>
                  </a:lnTo>
                  <a:lnTo>
                    <a:pt x="64" y="179"/>
                  </a:lnTo>
                  <a:lnTo>
                    <a:pt x="68" y="183"/>
                  </a:lnTo>
                  <a:lnTo>
                    <a:pt x="75" y="190"/>
                  </a:lnTo>
                  <a:lnTo>
                    <a:pt x="75" y="190"/>
                  </a:lnTo>
                  <a:lnTo>
                    <a:pt x="85" y="197"/>
                  </a:lnTo>
                  <a:lnTo>
                    <a:pt x="96" y="200"/>
                  </a:lnTo>
                  <a:lnTo>
                    <a:pt x="103" y="202"/>
                  </a:lnTo>
                  <a:lnTo>
                    <a:pt x="106" y="206"/>
                  </a:lnTo>
                  <a:lnTo>
                    <a:pt x="106" y="206"/>
                  </a:lnTo>
                  <a:lnTo>
                    <a:pt x="106" y="209"/>
                  </a:lnTo>
                  <a:lnTo>
                    <a:pt x="106" y="211"/>
                  </a:lnTo>
                  <a:lnTo>
                    <a:pt x="104" y="214"/>
                  </a:lnTo>
                  <a:lnTo>
                    <a:pt x="106" y="219"/>
                  </a:lnTo>
                  <a:lnTo>
                    <a:pt x="106" y="219"/>
                  </a:lnTo>
                  <a:lnTo>
                    <a:pt x="110" y="223"/>
                  </a:lnTo>
                  <a:lnTo>
                    <a:pt x="113" y="225"/>
                  </a:lnTo>
                  <a:lnTo>
                    <a:pt x="117" y="226"/>
                  </a:lnTo>
                  <a:lnTo>
                    <a:pt x="120" y="233"/>
                  </a:lnTo>
                  <a:lnTo>
                    <a:pt x="120" y="233"/>
                  </a:lnTo>
                  <a:lnTo>
                    <a:pt x="124" y="244"/>
                  </a:lnTo>
                  <a:lnTo>
                    <a:pt x="131" y="254"/>
                  </a:lnTo>
                  <a:lnTo>
                    <a:pt x="138" y="263"/>
                  </a:lnTo>
                  <a:lnTo>
                    <a:pt x="145" y="266"/>
                  </a:lnTo>
                  <a:lnTo>
                    <a:pt x="145" y="266"/>
                  </a:lnTo>
                  <a:lnTo>
                    <a:pt x="148" y="268"/>
                  </a:lnTo>
                  <a:lnTo>
                    <a:pt x="151" y="273"/>
                  </a:lnTo>
                  <a:lnTo>
                    <a:pt x="155" y="287"/>
                  </a:lnTo>
                  <a:lnTo>
                    <a:pt x="158" y="300"/>
                  </a:lnTo>
                  <a:lnTo>
                    <a:pt x="160" y="301"/>
                  </a:lnTo>
                  <a:lnTo>
                    <a:pt x="164" y="301"/>
                  </a:lnTo>
                  <a:lnTo>
                    <a:pt x="164" y="301"/>
                  </a:lnTo>
                  <a:lnTo>
                    <a:pt x="165" y="301"/>
                  </a:lnTo>
                  <a:lnTo>
                    <a:pt x="169" y="303"/>
                  </a:lnTo>
                  <a:lnTo>
                    <a:pt x="174" y="310"/>
                  </a:lnTo>
                  <a:lnTo>
                    <a:pt x="179" y="317"/>
                  </a:lnTo>
                  <a:lnTo>
                    <a:pt x="181" y="319"/>
                  </a:lnTo>
                  <a:lnTo>
                    <a:pt x="183" y="319"/>
                  </a:lnTo>
                  <a:lnTo>
                    <a:pt x="183" y="319"/>
                  </a:lnTo>
                  <a:lnTo>
                    <a:pt x="186" y="319"/>
                  </a:lnTo>
                  <a:lnTo>
                    <a:pt x="188" y="320"/>
                  </a:lnTo>
                  <a:lnTo>
                    <a:pt x="186" y="322"/>
                  </a:lnTo>
                  <a:lnTo>
                    <a:pt x="183" y="326"/>
                  </a:lnTo>
                  <a:lnTo>
                    <a:pt x="183" y="326"/>
                  </a:lnTo>
                  <a:lnTo>
                    <a:pt x="178" y="327"/>
                  </a:lnTo>
                  <a:lnTo>
                    <a:pt x="178" y="329"/>
                  </a:lnTo>
                  <a:lnTo>
                    <a:pt x="178" y="331"/>
                  </a:lnTo>
                  <a:lnTo>
                    <a:pt x="181" y="336"/>
                  </a:lnTo>
                  <a:lnTo>
                    <a:pt x="188" y="345"/>
                  </a:lnTo>
                  <a:lnTo>
                    <a:pt x="188" y="345"/>
                  </a:lnTo>
                  <a:lnTo>
                    <a:pt x="193" y="348"/>
                  </a:lnTo>
                  <a:lnTo>
                    <a:pt x="193" y="352"/>
                  </a:lnTo>
                  <a:lnTo>
                    <a:pt x="193" y="357"/>
                  </a:lnTo>
                  <a:lnTo>
                    <a:pt x="193" y="361"/>
                  </a:lnTo>
                  <a:lnTo>
                    <a:pt x="190" y="369"/>
                  </a:lnTo>
                  <a:lnTo>
                    <a:pt x="188" y="374"/>
                  </a:lnTo>
                  <a:lnTo>
                    <a:pt x="188" y="380"/>
                  </a:lnTo>
                  <a:lnTo>
                    <a:pt x="188" y="380"/>
                  </a:lnTo>
                  <a:lnTo>
                    <a:pt x="188" y="387"/>
                  </a:lnTo>
                  <a:lnTo>
                    <a:pt x="185" y="395"/>
                  </a:lnTo>
                  <a:lnTo>
                    <a:pt x="183" y="402"/>
                  </a:lnTo>
                  <a:lnTo>
                    <a:pt x="183" y="406"/>
                  </a:lnTo>
                  <a:lnTo>
                    <a:pt x="185" y="408"/>
                  </a:lnTo>
                  <a:lnTo>
                    <a:pt x="185" y="408"/>
                  </a:lnTo>
                  <a:lnTo>
                    <a:pt x="186" y="409"/>
                  </a:lnTo>
                  <a:lnTo>
                    <a:pt x="186" y="413"/>
                  </a:lnTo>
                  <a:lnTo>
                    <a:pt x="188" y="416"/>
                  </a:lnTo>
                  <a:lnTo>
                    <a:pt x="190" y="423"/>
                  </a:lnTo>
                  <a:lnTo>
                    <a:pt x="190" y="423"/>
                  </a:lnTo>
                  <a:lnTo>
                    <a:pt x="192" y="428"/>
                  </a:lnTo>
                  <a:lnTo>
                    <a:pt x="192" y="432"/>
                  </a:lnTo>
                  <a:lnTo>
                    <a:pt x="190" y="441"/>
                  </a:lnTo>
                  <a:lnTo>
                    <a:pt x="188" y="449"/>
                  </a:lnTo>
                  <a:lnTo>
                    <a:pt x="188" y="453"/>
                  </a:lnTo>
                  <a:lnTo>
                    <a:pt x="188" y="458"/>
                  </a:lnTo>
                  <a:lnTo>
                    <a:pt x="188" y="458"/>
                  </a:lnTo>
                  <a:lnTo>
                    <a:pt x="192" y="468"/>
                  </a:lnTo>
                  <a:lnTo>
                    <a:pt x="192" y="475"/>
                  </a:lnTo>
                  <a:lnTo>
                    <a:pt x="190" y="479"/>
                  </a:lnTo>
                  <a:lnTo>
                    <a:pt x="188" y="481"/>
                  </a:lnTo>
                  <a:lnTo>
                    <a:pt x="186" y="482"/>
                  </a:lnTo>
                  <a:lnTo>
                    <a:pt x="183" y="482"/>
                  </a:lnTo>
                  <a:lnTo>
                    <a:pt x="183" y="482"/>
                  </a:lnTo>
                  <a:lnTo>
                    <a:pt x="179" y="482"/>
                  </a:lnTo>
                  <a:lnTo>
                    <a:pt x="176" y="482"/>
                  </a:lnTo>
                  <a:lnTo>
                    <a:pt x="172" y="488"/>
                  </a:lnTo>
                  <a:lnTo>
                    <a:pt x="167" y="493"/>
                  </a:lnTo>
                  <a:lnTo>
                    <a:pt x="164" y="495"/>
                  </a:lnTo>
                  <a:lnTo>
                    <a:pt x="158" y="495"/>
                  </a:lnTo>
                  <a:lnTo>
                    <a:pt x="158" y="495"/>
                  </a:lnTo>
                  <a:lnTo>
                    <a:pt x="153" y="495"/>
                  </a:lnTo>
                  <a:lnTo>
                    <a:pt x="151" y="496"/>
                  </a:lnTo>
                  <a:lnTo>
                    <a:pt x="151" y="500"/>
                  </a:lnTo>
                  <a:lnTo>
                    <a:pt x="151" y="503"/>
                  </a:lnTo>
                  <a:lnTo>
                    <a:pt x="151" y="507"/>
                  </a:lnTo>
                  <a:lnTo>
                    <a:pt x="151" y="509"/>
                  </a:lnTo>
                  <a:lnTo>
                    <a:pt x="150" y="509"/>
                  </a:lnTo>
                  <a:lnTo>
                    <a:pt x="145" y="505"/>
                  </a:lnTo>
                  <a:lnTo>
                    <a:pt x="145" y="505"/>
                  </a:lnTo>
                  <a:lnTo>
                    <a:pt x="141" y="503"/>
                  </a:lnTo>
                  <a:lnTo>
                    <a:pt x="138" y="503"/>
                  </a:lnTo>
                  <a:lnTo>
                    <a:pt x="134" y="503"/>
                  </a:lnTo>
                  <a:lnTo>
                    <a:pt x="132" y="505"/>
                  </a:lnTo>
                  <a:lnTo>
                    <a:pt x="131" y="510"/>
                  </a:lnTo>
                  <a:lnTo>
                    <a:pt x="131" y="515"/>
                  </a:lnTo>
                  <a:lnTo>
                    <a:pt x="131" y="515"/>
                  </a:lnTo>
                  <a:lnTo>
                    <a:pt x="132" y="519"/>
                  </a:lnTo>
                  <a:lnTo>
                    <a:pt x="132" y="522"/>
                  </a:lnTo>
                  <a:lnTo>
                    <a:pt x="132" y="526"/>
                  </a:lnTo>
                  <a:lnTo>
                    <a:pt x="136" y="531"/>
                  </a:lnTo>
                  <a:lnTo>
                    <a:pt x="136" y="531"/>
                  </a:lnTo>
                  <a:lnTo>
                    <a:pt x="141" y="536"/>
                  </a:lnTo>
                  <a:lnTo>
                    <a:pt x="145" y="540"/>
                  </a:lnTo>
                  <a:lnTo>
                    <a:pt x="143" y="543"/>
                  </a:lnTo>
                  <a:lnTo>
                    <a:pt x="141" y="545"/>
                  </a:lnTo>
                  <a:lnTo>
                    <a:pt x="138" y="545"/>
                  </a:lnTo>
                  <a:lnTo>
                    <a:pt x="134" y="545"/>
                  </a:lnTo>
                  <a:lnTo>
                    <a:pt x="131" y="542"/>
                  </a:lnTo>
                  <a:lnTo>
                    <a:pt x="129" y="540"/>
                  </a:lnTo>
                  <a:lnTo>
                    <a:pt x="129" y="540"/>
                  </a:lnTo>
                  <a:lnTo>
                    <a:pt x="127" y="536"/>
                  </a:lnTo>
                  <a:lnTo>
                    <a:pt x="124" y="536"/>
                  </a:lnTo>
                  <a:lnTo>
                    <a:pt x="118" y="538"/>
                  </a:lnTo>
                  <a:lnTo>
                    <a:pt x="113" y="542"/>
                  </a:lnTo>
                  <a:lnTo>
                    <a:pt x="111" y="542"/>
                  </a:lnTo>
                  <a:lnTo>
                    <a:pt x="108" y="540"/>
                  </a:lnTo>
                  <a:lnTo>
                    <a:pt x="108" y="540"/>
                  </a:lnTo>
                  <a:lnTo>
                    <a:pt x="104" y="538"/>
                  </a:lnTo>
                  <a:lnTo>
                    <a:pt x="103" y="540"/>
                  </a:lnTo>
                  <a:lnTo>
                    <a:pt x="103" y="547"/>
                  </a:lnTo>
                  <a:lnTo>
                    <a:pt x="103" y="547"/>
                  </a:lnTo>
                  <a:lnTo>
                    <a:pt x="103" y="550"/>
                  </a:lnTo>
                  <a:lnTo>
                    <a:pt x="101" y="554"/>
                  </a:lnTo>
                  <a:lnTo>
                    <a:pt x="99" y="556"/>
                  </a:lnTo>
                  <a:lnTo>
                    <a:pt x="96" y="556"/>
                  </a:lnTo>
                  <a:lnTo>
                    <a:pt x="87" y="557"/>
                  </a:lnTo>
                  <a:lnTo>
                    <a:pt x="84" y="559"/>
                  </a:lnTo>
                  <a:lnTo>
                    <a:pt x="80" y="562"/>
                  </a:lnTo>
                  <a:lnTo>
                    <a:pt x="80" y="562"/>
                  </a:lnTo>
                  <a:lnTo>
                    <a:pt x="84" y="569"/>
                  </a:lnTo>
                  <a:lnTo>
                    <a:pt x="85" y="571"/>
                  </a:lnTo>
                  <a:lnTo>
                    <a:pt x="87" y="573"/>
                  </a:lnTo>
                  <a:lnTo>
                    <a:pt x="91" y="573"/>
                  </a:lnTo>
                  <a:lnTo>
                    <a:pt x="94" y="571"/>
                  </a:lnTo>
                  <a:lnTo>
                    <a:pt x="96" y="571"/>
                  </a:lnTo>
                  <a:lnTo>
                    <a:pt x="99" y="573"/>
                  </a:lnTo>
                  <a:lnTo>
                    <a:pt x="99" y="573"/>
                  </a:lnTo>
                  <a:lnTo>
                    <a:pt x="101" y="576"/>
                  </a:lnTo>
                  <a:lnTo>
                    <a:pt x="101" y="580"/>
                  </a:lnTo>
                  <a:lnTo>
                    <a:pt x="97" y="585"/>
                  </a:lnTo>
                  <a:lnTo>
                    <a:pt x="94" y="596"/>
                  </a:lnTo>
                  <a:lnTo>
                    <a:pt x="92" y="603"/>
                  </a:lnTo>
                  <a:lnTo>
                    <a:pt x="92" y="611"/>
                  </a:lnTo>
                  <a:lnTo>
                    <a:pt x="92" y="611"/>
                  </a:lnTo>
                  <a:lnTo>
                    <a:pt x="91" y="629"/>
                  </a:lnTo>
                  <a:lnTo>
                    <a:pt x="92" y="641"/>
                  </a:lnTo>
                  <a:lnTo>
                    <a:pt x="94" y="643"/>
                  </a:lnTo>
                  <a:lnTo>
                    <a:pt x="96" y="643"/>
                  </a:lnTo>
                  <a:lnTo>
                    <a:pt x="99" y="641"/>
                  </a:lnTo>
                  <a:lnTo>
                    <a:pt x="104" y="636"/>
                  </a:lnTo>
                  <a:lnTo>
                    <a:pt x="104" y="636"/>
                  </a:lnTo>
                  <a:lnTo>
                    <a:pt x="124" y="616"/>
                  </a:lnTo>
                  <a:lnTo>
                    <a:pt x="132" y="611"/>
                  </a:lnTo>
                  <a:lnTo>
                    <a:pt x="139" y="608"/>
                  </a:lnTo>
                  <a:lnTo>
                    <a:pt x="139" y="608"/>
                  </a:lnTo>
                  <a:lnTo>
                    <a:pt x="143" y="606"/>
                  </a:lnTo>
                  <a:lnTo>
                    <a:pt x="145" y="604"/>
                  </a:lnTo>
                  <a:lnTo>
                    <a:pt x="145" y="601"/>
                  </a:lnTo>
                  <a:lnTo>
                    <a:pt x="145" y="599"/>
                  </a:lnTo>
                  <a:lnTo>
                    <a:pt x="150" y="597"/>
                  </a:lnTo>
                  <a:lnTo>
                    <a:pt x="150" y="597"/>
                  </a:lnTo>
                  <a:lnTo>
                    <a:pt x="153" y="596"/>
                  </a:lnTo>
                  <a:lnTo>
                    <a:pt x="157" y="590"/>
                  </a:lnTo>
                  <a:lnTo>
                    <a:pt x="160" y="573"/>
                  </a:lnTo>
                  <a:lnTo>
                    <a:pt x="164" y="559"/>
                  </a:lnTo>
                  <a:lnTo>
                    <a:pt x="165" y="554"/>
                  </a:lnTo>
                  <a:lnTo>
                    <a:pt x="165" y="554"/>
                  </a:lnTo>
                  <a:lnTo>
                    <a:pt x="167" y="554"/>
                  </a:lnTo>
                  <a:lnTo>
                    <a:pt x="167" y="554"/>
                  </a:lnTo>
                  <a:lnTo>
                    <a:pt x="172" y="559"/>
                  </a:lnTo>
                  <a:lnTo>
                    <a:pt x="174" y="561"/>
                  </a:lnTo>
                  <a:lnTo>
                    <a:pt x="178" y="562"/>
                  </a:lnTo>
                  <a:lnTo>
                    <a:pt x="181" y="562"/>
                  </a:lnTo>
                  <a:lnTo>
                    <a:pt x="186" y="561"/>
                  </a:lnTo>
                  <a:lnTo>
                    <a:pt x="192" y="557"/>
                  </a:lnTo>
                  <a:lnTo>
                    <a:pt x="200" y="550"/>
                  </a:lnTo>
                  <a:lnTo>
                    <a:pt x="200" y="550"/>
                  </a:lnTo>
                  <a:lnTo>
                    <a:pt x="209" y="543"/>
                  </a:lnTo>
                  <a:lnTo>
                    <a:pt x="216" y="538"/>
                  </a:lnTo>
                  <a:lnTo>
                    <a:pt x="230" y="531"/>
                  </a:lnTo>
                  <a:lnTo>
                    <a:pt x="235" y="528"/>
                  </a:lnTo>
                  <a:lnTo>
                    <a:pt x="239" y="522"/>
                  </a:lnTo>
                  <a:lnTo>
                    <a:pt x="242" y="517"/>
                  </a:lnTo>
                  <a:lnTo>
                    <a:pt x="245" y="510"/>
                  </a:lnTo>
                  <a:lnTo>
                    <a:pt x="245" y="510"/>
                  </a:lnTo>
                  <a:lnTo>
                    <a:pt x="249" y="493"/>
                  </a:lnTo>
                  <a:lnTo>
                    <a:pt x="249" y="479"/>
                  </a:lnTo>
                  <a:lnTo>
                    <a:pt x="251" y="470"/>
                  </a:lnTo>
                  <a:lnTo>
                    <a:pt x="251" y="468"/>
                  </a:lnTo>
                  <a:lnTo>
                    <a:pt x="252" y="467"/>
                  </a:lnTo>
                  <a:lnTo>
                    <a:pt x="252" y="467"/>
                  </a:lnTo>
                  <a:lnTo>
                    <a:pt x="256" y="465"/>
                  </a:lnTo>
                  <a:lnTo>
                    <a:pt x="256" y="463"/>
                  </a:lnTo>
                  <a:lnTo>
                    <a:pt x="256" y="458"/>
                  </a:lnTo>
                  <a:lnTo>
                    <a:pt x="254" y="453"/>
                  </a:lnTo>
                  <a:lnTo>
                    <a:pt x="251" y="446"/>
                  </a:lnTo>
                  <a:lnTo>
                    <a:pt x="251" y="446"/>
                  </a:lnTo>
                  <a:lnTo>
                    <a:pt x="249" y="442"/>
                  </a:lnTo>
                  <a:lnTo>
                    <a:pt x="249" y="437"/>
                  </a:lnTo>
                  <a:lnTo>
                    <a:pt x="251" y="425"/>
                  </a:lnTo>
                  <a:lnTo>
                    <a:pt x="251" y="406"/>
                  </a:lnTo>
                  <a:lnTo>
                    <a:pt x="249" y="394"/>
                  </a:lnTo>
                  <a:lnTo>
                    <a:pt x="245" y="380"/>
                  </a:lnTo>
                  <a:lnTo>
                    <a:pt x="245" y="380"/>
                  </a:lnTo>
                  <a:lnTo>
                    <a:pt x="235" y="355"/>
                  </a:lnTo>
                  <a:lnTo>
                    <a:pt x="228" y="341"/>
                  </a:lnTo>
                  <a:lnTo>
                    <a:pt x="221" y="333"/>
                  </a:lnTo>
                  <a:lnTo>
                    <a:pt x="218" y="322"/>
                  </a:lnTo>
                  <a:lnTo>
                    <a:pt x="218" y="322"/>
                  </a:lnTo>
                  <a:lnTo>
                    <a:pt x="212" y="314"/>
                  </a:lnTo>
                  <a:lnTo>
                    <a:pt x="207" y="308"/>
                  </a:lnTo>
                  <a:lnTo>
                    <a:pt x="198" y="303"/>
                  </a:lnTo>
                  <a:lnTo>
                    <a:pt x="186" y="291"/>
                  </a:lnTo>
                  <a:lnTo>
                    <a:pt x="186" y="291"/>
                  </a:lnTo>
                  <a:lnTo>
                    <a:pt x="172" y="275"/>
                  </a:lnTo>
                  <a:lnTo>
                    <a:pt x="162" y="261"/>
                  </a:lnTo>
                  <a:lnTo>
                    <a:pt x="155" y="249"/>
                  </a:lnTo>
                  <a:lnTo>
                    <a:pt x="151" y="244"/>
                  </a:lnTo>
                  <a:lnTo>
                    <a:pt x="151" y="237"/>
                  </a:lnTo>
                  <a:lnTo>
                    <a:pt x="151" y="237"/>
                  </a:lnTo>
                  <a:lnTo>
                    <a:pt x="150" y="233"/>
                  </a:lnTo>
                  <a:lnTo>
                    <a:pt x="148" y="230"/>
                  </a:lnTo>
                  <a:lnTo>
                    <a:pt x="143" y="226"/>
                  </a:lnTo>
                  <a:lnTo>
                    <a:pt x="136" y="219"/>
                  </a:lnTo>
                  <a:lnTo>
                    <a:pt x="132" y="216"/>
                  </a:lnTo>
                  <a:lnTo>
                    <a:pt x="127" y="207"/>
                  </a:lnTo>
                  <a:lnTo>
                    <a:pt x="127" y="207"/>
                  </a:lnTo>
                  <a:lnTo>
                    <a:pt x="125" y="199"/>
                  </a:lnTo>
                  <a:lnTo>
                    <a:pt x="124" y="190"/>
                  </a:lnTo>
                  <a:lnTo>
                    <a:pt x="125" y="181"/>
                  </a:lnTo>
                  <a:lnTo>
                    <a:pt x="127" y="171"/>
                  </a:lnTo>
                  <a:lnTo>
                    <a:pt x="131" y="162"/>
                  </a:lnTo>
                  <a:lnTo>
                    <a:pt x="136" y="155"/>
                  </a:lnTo>
                  <a:lnTo>
                    <a:pt x="141" y="146"/>
                  </a:lnTo>
                  <a:lnTo>
                    <a:pt x="148" y="141"/>
                  </a:lnTo>
                  <a:lnTo>
                    <a:pt x="148" y="141"/>
                  </a:lnTo>
                  <a:lnTo>
                    <a:pt x="153" y="136"/>
                  </a:lnTo>
                  <a:lnTo>
                    <a:pt x="157" y="131"/>
                  </a:lnTo>
                  <a:lnTo>
                    <a:pt x="160" y="120"/>
                  </a:lnTo>
                  <a:lnTo>
                    <a:pt x="162" y="113"/>
                  </a:lnTo>
                  <a:lnTo>
                    <a:pt x="164" y="110"/>
                  </a:lnTo>
                  <a:lnTo>
                    <a:pt x="165" y="106"/>
                  </a:lnTo>
                  <a:lnTo>
                    <a:pt x="165" y="106"/>
                  </a:lnTo>
                  <a:lnTo>
                    <a:pt x="171" y="105"/>
                  </a:lnTo>
                  <a:lnTo>
                    <a:pt x="174" y="105"/>
                  </a:lnTo>
                  <a:lnTo>
                    <a:pt x="176" y="106"/>
                  </a:lnTo>
                  <a:lnTo>
                    <a:pt x="179" y="105"/>
                  </a:lnTo>
                  <a:lnTo>
                    <a:pt x="179" y="105"/>
                  </a:lnTo>
                  <a:lnTo>
                    <a:pt x="181" y="101"/>
                  </a:lnTo>
                  <a:lnTo>
                    <a:pt x="183" y="98"/>
                  </a:lnTo>
                  <a:lnTo>
                    <a:pt x="185" y="94"/>
                  </a:lnTo>
                  <a:lnTo>
                    <a:pt x="190" y="89"/>
                  </a:lnTo>
                  <a:lnTo>
                    <a:pt x="190" y="89"/>
                  </a:lnTo>
                  <a:lnTo>
                    <a:pt x="197" y="85"/>
                  </a:lnTo>
                  <a:lnTo>
                    <a:pt x="202" y="84"/>
                  </a:lnTo>
                  <a:lnTo>
                    <a:pt x="205" y="82"/>
                  </a:lnTo>
                  <a:lnTo>
                    <a:pt x="207" y="80"/>
                  </a:lnTo>
                  <a:lnTo>
                    <a:pt x="207" y="8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0" name="Freeform 1745">
              <a:extLst>
                <a:ext uri="{FF2B5EF4-FFF2-40B4-BE49-F238E27FC236}">
                  <a16:creationId xmlns:a16="http://schemas.microsoft.com/office/drawing/2014/main" id="{F835692C-EB4E-417B-A855-0B1C6240C63B}"/>
                </a:ext>
              </a:extLst>
            </p:cNvPr>
            <p:cNvSpPr>
              <a:spLocks/>
            </p:cNvSpPr>
            <p:nvPr/>
          </p:nvSpPr>
          <p:spPr bwMode="auto">
            <a:xfrm>
              <a:off x="5695881" y="3394671"/>
              <a:ext cx="592033" cy="588511"/>
            </a:xfrm>
            <a:custGeom>
              <a:avLst/>
              <a:gdLst/>
              <a:ahLst/>
              <a:cxnLst>
                <a:cxn ang="0">
                  <a:pos x="526" y="609"/>
                </a:cxn>
                <a:cxn ang="0">
                  <a:pos x="484" y="634"/>
                </a:cxn>
                <a:cxn ang="0">
                  <a:pos x="411" y="696"/>
                </a:cxn>
                <a:cxn ang="0">
                  <a:pos x="375" y="668"/>
                </a:cxn>
                <a:cxn ang="0">
                  <a:pos x="328" y="660"/>
                </a:cxn>
                <a:cxn ang="0">
                  <a:pos x="326" y="658"/>
                </a:cxn>
                <a:cxn ang="0">
                  <a:pos x="314" y="651"/>
                </a:cxn>
                <a:cxn ang="0">
                  <a:pos x="301" y="658"/>
                </a:cxn>
                <a:cxn ang="0">
                  <a:pos x="300" y="668"/>
                </a:cxn>
                <a:cxn ang="0">
                  <a:pos x="303" y="682"/>
                </a:cxn>
                <a:cxn ang="0">
                  <a:pos x="281" y="677"/>
                </a:cxn>
                <a:cxn ang="0">
                  <a:pos x="270" y="665"/>
                </a:cxn>
                <a:cxn ang="0">
                  <a:pos x="244" y="628"/>
                </a:cxn>
                <a:cxn ang="0">
                  <a:pos x="235" y="606"/>
                </a:cxn>
                <a:cxn ang="0">
                  <a:pos x="230" y="581"/>
                </a:cxn>
                <a:cxn ang="0">
                  <a:pos x="209" y="548"/>
                </a:cxn>
                <a:cxn ang="0">
                  <a:pos x="181" y="529"/>
                </a:cxn>
                <a:cxn ang="0">
                  <a:pos x="155" y="489"/>
                </a:cxn>
                <a:cxn ang="0">
                  <a:pos x="159" y="477"/>
                </a:cxn>
                <a:cxn ang="0">
                  <a:pos x="153" y="456"/>
                </a:cxn>
                <a:cxn ang="0">
                  <a:pos x="155" y="432"/>
                </a:cxn>
                <a:cxn ang="0">
                  <a:pos x="127" y="369"/>
                </a:cxn>
                <a:cxn ang="0">
                  <a:pos x="105" y="355"/>
                </a:cxn>
                <a:cxn ang="0">
                  <a:pos x="92" y="327"/>
                </a:cxn>
                <a:cxn ang="0">
                  <a:pos x="86" y="299"/>
                </a:cxn>
                <a:cxn ang="0">
                  <a:pos x="72" y="278"/>
                </a:cxn>
                <a:cxn ang="0">
                  <a:pos x="40" y="223"/>
                </a:cxn>
                <a:cxn ang="0">
                  <a:pos x="14" y="184"/>
                </a:cxn>
                <a:cxn ang="0">
                  <a:pos x="0" y="184"/>
                </a:cxn>
                <a:cxn ang="0">
                  <a:pos x="7" y="150"/>
                </a:cxn>
                <a:cxn ang="0">
                  <a:pos x="51" y="136"/>
                </a:cxn>
                <a:cxn ang="0">
                  <a:pos x="70" y="111"/>
                </a:cxn>
                <a:cxn ang="0">
                  <a:pos x="96" y="101"/>
                </a:cxn>
                <a:cxn ang="0">
                  <a:pos x="106" y="87"/>
                </a:cxn>
                <a:cxn ang="0">
                  <a:pos x="119" y="75"/>
                </a:cxn>
                <a:cxn ang="0">
                  <a:pos x="89" y="38"/>
                </a:cxn>
                <a:cxn ang="0">
                  <a:pos x="103" y="24"/>
                </a:cxn>
                <a:cxn ang="0">
                  <a:pos x="162" y="0"/>
                </a:cxn>
                <a:cxn ang="0">
                  <a:pos x="204" y="9"/>
                </a:cxn>
                <a:cxn ang="0">
                  <a:pos x="239" y="36"/>
                </a:cxn>
                <a:cxn ang="0">
                  <a:pos x="281" y="63"/>
                </a:cxn>
                <a:cxn ang="0">
                  <a:pos x="355" y="134"/>
                </a:cxn>
                <a:cxn ang="0">
                  <a:pos x="420" y="139"/>
                </a:cxn>
                <a:cxn ang="0">
                  <a:pos x="451" y="143"/>
                </a:cxn>
                <a:cxn ang="0">
                  <a:pos x="458" y="164"/>
                </a:cxn>
                <a:cxn ang="0">
                  <a:pos x="498" y="193"/>
                </a:cxn>
                <a:cxn ang="0">
                  <a:pos x="509" y="205"/>
                </a:cxn>
                <a:cxn ang="0">
                  <a:pos x="517" y="218"/>
                </a:cxn>
                <a:cxn ang="0">
                  <a:pos x="545" y="247"/>
                </a:cxn>
                <a:cxn ang="0">
                  <a:pos x="540" y="249"/>
                </a:cxn>
                <a:cxn ang="0">
                  <a:pos x="545" y="265"/>
                </a:cxn>
                <a:cxn ang="0">
                  <a:pos x="545" y="285"/>
                </a:cxn>
                <a:cxn ang="0">
                  <a:pos x="554" y="301"/>
                </a:cxn>
                <a:cxn ang="0">
                  <a:pos x="566" y="334"/>
                </a:cxn>
                <a:cxn ang="0">
                  <a:pos x="580" y="355"/>
                </a:cxn>
                <a:cxn ang="0">
                  <a:pos x="603" y="376"/>
                </a:cxn>
                <a:cxn ang="0">
                  <a:pos x="608" y="407"/>
                </a:cxn>
                <a:cxn ang="0">
                  <a:pos x="643" y="418"/>
                </a:cxn>
                <a:cxn ang="0">
                  <a:pos x="719" y="430"/>
                </a:cxn>
                <a:cxn ang="0">
                  <a:pos x="738" y="456"/>
                </a:cxn>
                <a:cxn ang="0">
                  <a:pos x="732" y="482"/>
                </a:cxn>
                <a:cxn ang="0">
                  <a:pos x="707" y="548"/>
                </a:cxn>
                <a:cxn ang="0">
                  <a:pos x="610" y="585"/>
                </a:cxn>
              </a:cxnLst>
              <a:rect l="0" t="0" r="r" b="b"/>
              <a:pathLst>
                <a:path w="738" h="733">
                  <a:moveTo>
                    <a:pt x="610" y="585"/>
                  </a:moveTo>
                  <a:lnTo>
                    <a:pt x="610" y="585"/>
                  </a:lnTo>
                  <a:lnTo>
                    <a:pt x="557" y="602"/>
                  </a:lnTo>
                  <a:lnTo>
                    <a:pt x="557" y="602"/>
                  </a:lnTo>
                  <a:lnTo>
                    <a:pt x="526" y="609"/>
                  </a:lnTo>
                  <a:lnTo>
                    <a:pt x="510" y="613"/>
                  </a:lnTo>
                  <a:lnTo>
                    <a:pt x="496" y="618"/>
                  </a:lnTo>
                  <a:lnTo>
                    <a:pt x="496" y="618"/>
                  </a:lnTo>
                  <a:lnTo>
                    <a:pt x="491" y="623"/>
                  </a:lnTo>
                  <a:lnTo>
                    <a:pt x="484" y="634"/>
                  </a:lnTo>
                  <a:lnTo>
                    <a:pt x="472" y="651"/>
                  </a:lnTo>
                  <a:lnTo>
                    <a:pt x="472" y="651"/>
                  </a:lnTo>
                  <a:lnTo>
                    <a:pt x="411" y="733"/>
                  </a:lnTo>
                  <a:lnTo>
                    <a:pt x="411" y="733"/>
                  </a:lnTo>
                  <a:lnTo>
                    <a:pt x="411" y="696"/>
                  </a:lnTo>
                  <a:lnTo>
                    <a:pt x="411" y="696"/>
                  </a:lnTo>
                  <a:lnTo>
                    <a:pt x="411" y="688"/>
                  </a:lnTo>
                  <a:lnTo>
                    <a:pt x="411" y="688"/>
                  </a:lnTo>
                  <a:lnTo>
                    <a:pt x="399" y="681"/>
                  </a:lnTo>
                  <a:lnTo>
                    <a:pt x="375" y="668"/>
                  </a:lnTo>
                  <a:lnTo>
                    <a:pt x="348" y="658"/>
                  </a:lnTo>
                  <a:lnTo>
                    <a:pt x="340" y="656"/>
                  </a:lnTo>
                  <a:lnTo>
                    <a:pt x="335" y="655"/>
                  </a:lnTo>
                  <a:lnTo>
                    <a:pt x="335" y="655"/>
                  </a:lnTo>
                  <a:lnTo>
                    <a:pt x="328" y="660"/>
                  </a:lnTo>
                  <a:lnTo>
                    <a:pt x="328" y="660"/>
                  </a:lnTo>
                  <a:lnTo>
                    <a:pt x="326" y="660"/>
                  </a:lnTo>
                  <a:lnTo>
                    <a:pt x="326" y="660"/>
                  </a:lnTo>
                  <a:lnTo>
                    <a:pt x="326" y="658"/>
                  </a:lnTo>
                  <a:lnTo>
                    <a:pt x="326" y="658"/>
                  </a:lnTo>
                  <a:lnTo>
                    <a:pt x="322" y="658"/>
                  </a:lnTo>
                  <a:lnTo>
                    <a:pt x="322" y="658"/>
                  </a:lnTo>
                  <a:lnTo>
                    <a:pt x="319" y="656"/>
                  </a:lnTo>
                  <a:lnTo>
                    <a:pt x="317" y="653"/>
                  </a:lnTo>
                  <a:lnTo>
                    <a:pt x="314" y="651"/>
                  </a:lnTo>
                  <a:lnTo>
                    <a:pt x="310" y="651"/>
                  </a:lnTo>
                  <a:lnTo>
                    <a:pt x="310" y="651"/>
                  </a:lnTo>
                  <a:lnTo>
                    <a:pt x="307" y="651"/>
                  </a:lnTo>
                  <a:lnTo>
                    <a:pt x="303" y="655"/>
                  </a:lnTo>
                  <a:lnTo>
                    <a:pt x="301" y="658"/>
                  </a:lnTo>
                  <a:lnTo>
                    <a:pt x="303" y="660"/>
                  </a:lnTo>
                  <a:lnTo>
                    <a:pt x="303" y="660"/>
                  </a:lnTo>
                  <a:lnTo>
                    <a:pt x="303" y="661"/>
                  </a:lnTo>
                  <a:lnTo>
                    <a:pt x="303" y="661"/>
                  </a:lnTo>
                  <a:lnTo>
                    <a:pt x="300" y="668"/>
                  </a:lnTo>
                  <a:lnTo>
                    <a:pt x="300" y="675"/>
                  </a:lnTo>
                  <a:lnTo>
                    <a:pt x="300" y="675"/>
                  </a:lnTo>
                  <a:lnTo>
                    <a:pt x="301" y="681"/>
                  </a:lnTo>
                  <a:lnTo>
                    <a:pt x="303" y="682"/>
                  </a:lnTo>
                  <a:lnTo>
                    <a:pt x="303" y="682"/>
                  </a:lnTo>
                  <a:lnTo>
                    <a:pt x="296" y="691"/>
                  </a:lnTo>
                  <a:lnTo>
                    <a:pt x="288" y="700"/>
                  </a:lnTo>
                  <a:lnTo>
                    <a:pt x="288" y="700"/>
                  </a:lnTo>
                  <a:lnTo>
                    <a:pt x="284" y="686"/>
                  </a:lnTo>
                  <a:lnTo>
                    <a:pt x="281" y="677"/>
                  </a:lnTo>
                  <a:lnTo>
                    <a:pt x="279" y="672"/>
                  </a:lnTo>
                  <a:lnTo>
                    <a:pt x="277" y="672"/>
                  </a:lnTo>
                  <a:lnTo>
                    <a:pt x="274" y="672"/>
                  </a:lnTo>
                  <a:lnTo>
                    <a:pt x="272" y="670"/>
                  </a:lnTo>
                  <a:lnTo>
                    <a:pt x="270" y="665"/>
                  </a:lnTo>
                  <a:lnTo>
                    <a:pt x="270" y="665"/>
                  </a:lnTo>
                  <a:lnTo>
                    <a:pt x="267" y="658"/>
                  </a:lnTo>
                  <a:lnTo>
                    <a:pt x="263" y="651"/>
                  </a:lnTo>
                  <a:lnTo>
                    <a:pt x="253" y="639"/>
                  </a:lnTo>
                  <a:lnTo>
                    <a:pt x="244" y="628"/>
                  </a:lnTo>
                  <a:lnTo>
                    <a:pt x="242" y="623"/>
                  </a:lnTo>
                  <a:lnTo>
                    <a:pt x="240" y="618"/>
                  </a:lnTo>
                  <a:lnTo>
                    <a:pt x="240" y="618"/>
                  </a:lnTo>
                  <a:lnTo>
                    <a:pt x="239" y="609"/>
                  </a:lnTo>
                  <a:lnTo>
                    <a:pt x="235" y="606"/>
                  </a:lnTo>
                  <a:lnTo>
                    <a:pt x="234" y="601"/>
                  </a:lnTo>
                  <a:lnTo>
                    <a:pt x="232" y="592"/>
                  </a:lnTo>
                  <a:lnTo>
                    <a:pt x="232" y="592"/>
                  </a:lnTo>
                  <a:lnTo>
                    <a:pt x="232" y="585"/>
                  </a:lnTo>
                  <a:lnTo>
                    <a:pt x="230" y="581"/>
                  </a:lnTo>
                  <a:lnTo>
                    <a:pt x="227" y="578"/>
                  </a:lnTo>
                  <a:lnTo>
                    <a:pt x="221" y="571"/>
                  </a:lnTo>
                  <a:lnTo>
                    <a:pt x="221" y="571"/>
                  </a:lnTo>
                  <a:lnTo>
                    <a:pt x="216" y="559"/>
                  </a:lnTo>
                  <a:lnTo>
                    <a:pt x="209" y="548"/>
                  </a:lnTo>
                  <a:lnTo>
                    <a:pt x="200" y="538"/>
                  </a:lnTo>
                  <a:lnTo>
                    <a:pt x="195" y="534"/>
                  </a:lnTo>
                  <a:lnTo>
                    <a:pt x="190" y="533"/>
                  </a:lnTo>
                  <a:lnTo>
                    <a:pt x="190" y="533"/>
                  </a:lnTo>
                  <a:lnTo>
                    <a:pt x="181" y="529"/>
                  </a:lnTo>
                  <a:lnTo>
                    <a:pt x="176" y="524"/>
                  </a:lnTo>
                  <a:lnTo>
                    <a:pt x="171" y="514"/>
                  </a:lnTo>
                  <a:lnTo>
                    <a:pt x="162" y="501"/>
                  </a:lnTo>
                  <a:lnTo>
                    <a:pt x="162" y="501"/>
                  </a:lnTo>
                  <a:lnTo>
                    <a:pt x="155" y="489"/>
                  </a:lnTo>
                  <a:lnTo>
                    <a:pt x="155" y="487"/>
                  </a:lnTo>
                  <a:lnTo>
                    <a:pt x="157" y="486"/>
                  </a:lnTo>
                  <a:lnTo>
                    <a:pt x="159" y="484"/>
                  </a:lnTo>
                  <a:lnTo>
                    <a:pt x="159" y="480"/>
                  </a:lnTo>
                  <a:lnTo>
                    <a:pt x="159" y="477"/>
                  </a:lnTo>
                  <a:lnTo>
                    <a:pt x="155" y="472"/>
                  </a:lnTo>
                  <a:lnTo>
                    <a:pt x="155" y="472"/>
                  </a:lnTo>
                  <a:lnTo>
                    <a:pt x="153" y="465"/>
                  </a:lnTo>
                  <a:lnTo>
                    <a:pt x="153" y="460"/>
                  </a:lnTo>
                  <a:lnTo>
                    <a:pt x="153" y="456"/>
                  </a:lnTo>
                  <a:lnTo>
                    <a:pt x="155" y="453"/>
                  </a:lnTo>
                  <a:lnTo>
                    <a:pt x="157" y="449"/>
                  </a:lnTo>
                  <a:lnTo>
                    <a:pt x="159" y="446"/>
                  </a:lnTo>
                  <a:lnTo>
                    <a:pt x="157" y="440"/>
                  </a:lnTo>
                  <a:lnTo>
                    <a:pt x="155" y="432"/>
                  </a:lnTo>
                  <a:lnTo>
                    <a:pt x="155" y="432"/>
                  </a:lnTo>
                  <a:lnTo>
                    <a:pt x="148" y="411"/>
                  </a:lnTo>
                  <a:lnTo>
                    <a:pt x="139" y="388"/>
                  </a:lnTo>
                  <a:lnTo>
                    <a:pt x="134" y="378"/>
                  </a:lnTo>
                  <a:lnTo>
                    <a:pt x="127" y="369"/>
                  </a:lnTo>
                  <a:lnTo>
                    <a:pt x="122" y="364"/>
                  </a:lnTo>
                  <a:lnTo>
                    <a:pt x="117" y="360"/>
                  </a:lnTo>
                  <a:lnTo>
                    <a:pt x="117" y="360"/>
                  </a:lnTo>
                  <a:lnTo>
                    <a:pt x="110" y="359"/>
                  </a:lnTo>
                  <a:lnTo>
                    <a:pt x="105" y="355"/>
                  </a:lnTo>
                  <a:lnTo>
                    <a:pt x="96" y="346"/>
                  </a:lnTo>
                  <a:lnTo>
                    <a:pt x="94" y="341"/>
                  </a:lnTo>
                  <a:lnTo>
                    <a:pt x="92" y="336"/>
                  </a:lnTo>
                  <a:lnTo>
                    <a:pt x="91" y="332"/>
                  </a:lnTo>
                  <a:lnTo>
                    <a:pt x="92" y="327"/>
                  </a:lnTo>
                  <a:lnTo>
                    <a:pt x="92" y="327"/>
                  </a:lnTo>
                  <a:lnTo>
                    <a:pt x="94" y="324"/>
                  </a:lnTo>
                  <a:lnTo>
                    <a:pt x="94" y="320"/>
                  </a:lnTo>
                  <a:lnTo>
                    <a:pt x="92" y="310"/>
                  </a:lnTo>
                  <a:lnTo>
                    <a:pt x="86" y="299"/>
                  </a:lnTo>
                  <a:lnTo>
                    <a:pt x="79" y="292"/>
                  </a:lnTo>
                  <a:lnTo>
                    <a:pt x="79" y="292"/>
                  </a:lnTo>
                  <a:lnTo>
                    <a:pt x="73" y="287"/>
                  </a:lnTo>
                  <a:lnTo>
                    <a:pt x="73" y="282"/>
                  </a:lnTo>
                  <a:lnTo>
                    <a:pt x="72" y="278"/>
                  </a:lnTo>
                  <a:lnTo>
                    <a:pt x="68" y="273"/>
                  </a:lnTo>
                  <a:lnTo>
                    <a:pt x="68" y="273"/>
                  </a:lnTo>
                  <a:lnTo>
                    <a:pt x="61" y="265"/>
                  </a:lnTo>
                  <a:lnTo>
                    <a:pt x="54" y="252"/>
                  </a:lnTo>
                  <a:lnTo>
                    <a:pt x="40" y="223"/>
                  </a:lnTo>
                  <a:lnTo>
                    <a:pt x="26" y="197"/>
                  </a:lnTo>
                  <a:lnTo>
                    <a:pt x="21" y="188"/>
                  </a:lnTo>
                  <a:lnTo>
                    <a:pt x="18" y="186"/>
                  </a:lnTo>
                  <a:lnTo>
                    <a:pt x="14" y="184"/>
                  </a:lnTo>
                  <a:lnTo>
                    <a:pt x="14" y="184"/>
                  </a:lnTo>
                  <a:lnTo>
                    <a:pt x="9" y="184"/>
                  </a:lnTo>
                  <a:lnTo>
                    <a:pt x="5" y="184"/>
                  </a:lnTo>
                  <a:lnTo>
                    <a:pt x="0" y="188"/>
                  </a:lnTo>
                  <a:lnTo>
                    <a:pt x="0" y="186"/>
                  </a:lnTo>
                  <a:lnTo>
                    <a:pt x="0" y="184"/>
                  </a:lnTo>
                  <a:lnTo>
                    <a:pt x="5" y="172"/>
                  </a:lnTo>
                  <a:lnTo>
                    <a:pt x="5" y="172"/>
                  </a:lnTo>
                  <a:lnTo>
                    <a:pt x="7" y="164"/>
                  </a:lnTo>
                  <a:lnTo>
                    <a:pt x="7" y="158"/>
                  </a:lnTo>
                  <a:lnTo>
                    <a:pt x="7" y="150"/>
                  </a:lnTo>
                  <a:lnTo>
                    <a:pt x="12" y="127"/>
                  </a:lnTo>
                  <a:lnTo>
                    <a:pt x="12" y="127"/>
                  </a:lnTo>
                  <a:lnTo>
                    <a:pt x="32" y="132"/>
                  </a:lnTo>
                  <a:lnTo>
                    <a:pt x="44" y="134"/>
                  </a:lnTo>
                  <a:lnTo>
                    <a:pt x="51" y="136"/>
                  </a:lnTo>
                  <a:lnTo>
                    <a:pt x="51" y="136"/>
                  </a:lnTo>
                  <a:lnTo>
                    <a:pt x="56" y="134"/>
                  </a:lnTo>
                  <a:lnTo>
                    <a:pt x="59" y="130"/>
                  </a:lnTo>
                  <a:lnTo>
                    <a:pt x="65" y="122"/>
                  </a:lnTo>
                  <a:lnTo>
                    <a:pt x="70" y="111"/>
                  </a:lnTo>
                  <a:lnTo>
                    <a:pt x="75" y="104"/>
                  </a:lnTo>
                  <a:lnTo>
                    <a:pt x="75" y="104"/>
                  </a:lnTo>
                  <a:lnTo>
                    <a:pt x="80" y="101"/>
                  </a:lnTo>
                  <a:lnTo>
                    <a:pt x="89" y="101"/>
                  </a:lnTo>
                  <a:lnTo>
                    <a:pt x="96" y="101"/>
                  </a:lnTo>
                  <a:lnTo>
                    <a:pt x="101" y="97"/>
                  </a:lnTo>
                  <a:lnTo>
                    <a:pt x="101" y="97"/>
                  </a:lnTo>
                  <a:lnTo>
                    <a:pt x="103" y="94"/>
                  </a:lnTo>
                  <a:lnTo>
                    <a:pt x="105" y="90"/>
                  </a:lnTo>
                  <a:lnTo>
                    <a:pt x="106" y="87"/>
                  </a:lnTo>
                  <a:lnTo>
                    <a:pt x="106" y="83"/>
                  </a:lnTo>
                  <a:lnTo>
                    <a:pt x="106" y="83"/>
                  </a:lnTo>
                  <a:lnTo>
                    <a:pt x="113" y="80"/>
                  </a:lnTo>
                  <a:lnTo>
                    <a:pt x="117" y="76"/>
                  </a:lnTo>
                  <a:lnTo>
                    <a:pt x="119" y="75"/>
                  </a:lnTo>
                  <a:lnTo>
                    <a:pt x="119" y="75"/>
                  </a:lnTo>
                  <a:lnTo>
                    <a:pt x="117" y="71"/>
                  </a:lnTo>
                  <a:lnTo>
                    <a:pt x="113" y="66"/>
                  </a:lnTo>
                  <a:lnTo>
                    <a:pt x="101" y="52"/>
                  </a:lnTo>
                  <a:lnTo>
                    <a:pt x="89" y="38"/>
                  </a:lnTo>
                  <a:lnTo>
                    <a:pt x="84" y="29"/>
                  </a:lnTo>
                  <a:lnTo>
                    <a:pt x="84" y="29"/>
                  </a:lnTo>
                  <a:lnTo>
                    <a:pt x="87" y="28"/>
                  </a:lnTo>
                  <a:lnTo>
                    <a:pt x="92" y="26"/>
                  </a:lnTo>
                  <a:lnTo>
                    <a:pt x="103" y="24"/>
                  </a:lnTo>
                  <a:lnTo>
                    <a:pt x="103" y="24"/>
                  </a:lnTo>
                  <a:lnTo>
                    <a:pt x="133" y="16"/>
                  </a:lnTo>
                  <a:lnTo>
                    <a:pt x="150" y="9"/>
                  </a:lnTo>
                  <a:lnTo>
                    <a:pt x="157" y="5"/>
                  </a:lnTo>
                  <a:lnTo>
                    <a:pt x="162" y="0"/>
                  </a:lnTo>
                  <a:lnTo>
                    <a:pt x="162" y="0"/>
                  </a:lnTo>
                  <a:lnTo>
                    <a:pt x="183" y="3"/>
                  </a:lnTo>
                  <a:lnTo>
                    <a:pt x="193" y="5"/>
                  </a:lnTo>
                  <a:lnTo>
                    <a:pt x="204" y="9"/>
                  </a:lnTo>
                  <a:lnTo>
                    <a:pt x="204" y="9"/>
                  </a:lnTo>
                  <a:lnTo>
                    <a:pt x="213" y="16"/>
                  </a:lnTo>
                  <a:lnTo>
                    <a:pt x="221" y="23"/>
                  </a:lnTo>
                  <a:lnTo>
                    <a:pt x="230" y="29"/>
                  </a:lnTo>
                  <a:lnTo>
                    <a:pt x="239" y="36"/>
                  </a:lnTo>
                  <a:lnTo>
                    <a:pt x="239" y="36"/>
                  </a:lnTo>
                  <a:lnTo>
                    <a:pt x="251" y="42"/>
                  </a:lnTo>
                  <a:lnTo>
                    <a:pt x="261" y="47"/>
                  </a:lnTo>
                  <a:lnTo>
                    <a:pt x="261" y="47"/>
                  </a:lnTo>
                  <a:lnTo>
                    <a:pt x="272" y="54"/>
                  </a:lnTo>
                  <a:lnTo>
                    <a:pt x="281" y="63"/>
                  </a:lnTo>
                  <a:lnTo>
                    <a:pt x="296" y="80"/>
                  </a:lnTo>
                  <a:lnTo>
                    <a:pt x="296" y="80"/>
                  </a:lnTo>
                  <a:lnTo>
                    <a:pt x="326" y="110"/>
                  </a:lnTo>
                  <a:lnTo>
                    <a:pt x="343" y="125"/>
                  </a:lnTo>
                  <a:lnTo>
                    <a:pt x="355" y="134"/>
                  </a:lnTo>
                  <a:lnTo>
                    <a:pt x="355" y="134"/>
                  </a:lnTo>
                  <a:lnTo>
                    <a:pt x="366" y="136"/>
                  </a:lnTo>
                  <a:lnTo>
                    <a:pt x="388" y="139"/>
                  </a:lnTo>
                  <a:lnTo>
                    <a:pt x="408" y="139"/>
                  </a:lnTo>
                  <a:lnTo>
                    <a:pt x="420" y="139"/>
                  </a:lnTo>
                  <a:lnTo>
                    <a:pt x="420" y="139"/>
                  </a:lnTo>
                  <a:lnTo>
                    <a:pt x="436" y="141"/>
                  </a:lnTo>
                  <a:lnTo>
                    <a:pt x="446" y="143"/>
                  </a:lnTo>
                  <a:lnTo>
                    <a:pt x="451" y="143"/>
                  </a:lnTo>
                  <a:lnTo>
                    <a:pt x="451" y="143"/>
                  </a:lnTo>
                  <a:lnTo>
                    <a:pt x="453" y="148"/>
                  </a:lnTo>
                  <a:lnTo>
                    <a:pt x="455" y="153"/>
                  </a:lnTo>
                  <a:lnTo>
                    <a:pt x="456" y="158"/>
                  </a:lnTo>
                  <a:lnTo>
                    <a:pt x="458" y="164"/>
                  </a:lnTo>
                  <a:lnTo>
                    <a:pt x="458" y="164"/>
                  </a:lnTo>
                  <a:lnTo>
                    <a:pt x="486" y="164"/>
                  </a:lnTo>
                  <a:lnTo>
                    <a:pt x="486" y="164"/>
                  </a:lnTo>
                  <a:lnTo>
                    <a:pt x="491" y="179"/>
                  </a:lnTo>
                  <a:lnTo>
                    <a:pt x="495" y="188"/>
                  </a:lnTo>
                  <a:lnTo>
                    <a:pt x="498" y="193"/>
                  </a:lnTo>
                  <a:lnTo>
                    <a:pt x="500" y="200"/>
                  </a:lnTo>
                  <a:lnTo>
                    <a:pt x="500" y="200"/>
                  </a:lnTo>
                  <a:lnTo>
                    <a:pt x="502" y="202"/>
                  </a:lnTo>
                  <a:lnTo>
                    <a:pt x="503" y="204"/>
                  </a:lnTo>
                  <a:lnTo>
                    <a:pt x="509" y="205"/>
                  </a:lnTo>
                  <a:lnTo>
                    <a:pt x="514" y="207"/>
                  </a:lnTo>
                  <a:lnTo>
                    <a:pt x="516" y="209"/>
                  </a:lnTo>
                  <a:lnTo>
                    <a:pt x="516" y="212"/>
                  </a:lnTo>
                  <a:lnTo>
                    <a:pt x="516" y="212"/>
                  </a:lnTo>
                  <a:lnTo>
                    <a:pt x="517" y="218"/>
                  </a:lnTo>
                  <a:lnTo>
                    <a:pt x="519" y="223"/>
                  </a:lnTo>
                  <a:lnTo>
                    <a:pt x="530" y="231"/>
                  </a:lnTo>
                  <a:lnTo>
                    <a:pt x="540" y="240"/>
                  </a:lnTo>
                  <a:lnTo>
                    <a:pt x="543" y="244"/>
                  </a:lnTo>
                  <a:lnTo>
                    <a:pt x="545" y="247"/>
                  </a:lnTo>
                  <a:lnTo>
                    <a:pt x="545" y="247"/>
                  </a:lnTo>
                  <a:lnTo>
                    <a:pt x="545" y="249"/>
                  </a:lnTo>
                  <a:lnTo>
                    <a:pt x="545" y="249"/>
                  </a:lnTo>
                  <a:lnTo>
                    <a:pt x="542" y="249"/>
                  </a:lnTo>
                  <a:lnTo>
                    <a:pt x="540" y="249"/>
                  </a:lnTo>
                  <a:lnTo>
                    <a:pt x="540" y="249"/>
                  </a:lnTo>
                  <a:lnTo>
                    <a:pt x="542" y="256"/>
                  </a:lnTo>
                  <a:lnTo>
                    <a:pt x="542" y="256"/>
                  </a:lnTo>
                  <a:lnTo>
                    <a:pt x="543" y="261"/>
                  </a:lnTo>
                  <a:lnTo>
                    <a:pt x="545" y="265"/>
                  </a:lnTo>
                  <a:lnTo>
                    <a:pt x="545" y="271"/>
                  </a:lnTo>
                  <a:lnTo>
                    <a:pt x="543" y="278"/>
                  </a:lnTo>
                  <a:lnTo>
                    <a:pt x="545" y="282"/>
                  </a:lnTo>
                  <a:lnTo>
                    <a:pt x="545" y="285"/>
                  </a:lnTo>
                  <a:lnTo>
                    <a:pt x="545" y="285"/>
                  </a:lnTo>
                  <a:lnTo>
                    <a:pt x="549" y="292"/>
                  </a:lnTo>
                  <a:lnTo>
                    <a:pt x="549" y="294"/>
                  </a:lnTo>
                  <a:lnTo>
                    <a:pt x="549" y="298"/>
                  </a:lnTo>
                  <a:lnTo>
                    <a:pt x="554" y="301"/>
                  </a:lnTo>
                  <a:lnTo>
                    <a:pt x="554" y="301"/>
                  </a:lnTo>
                  <a:lnTo>
                    <a:pt x="557" y="308"/>
                  </a:lnTo>
                  <a:lnTo>
                    <a:pt x="561" y="315"/>
                  </a:lnTo>
                  <a:lnTo>
                    <a:pt x="563" y="324"/>
                  </a:lnTo>
                  <a:lnTo>
                    <a:pt x="566" y="334"/>
                  </a:lnTo>
                  <a:lnTo>
                    <a:pt x="566" y="334"/>
                  </a:lnTo>
                  <a:lnTo>
                    <a:pt x="573" y="339"/>
                  </a:lnTo>
                  <a:lnTo>
                    <a:pt x="580" y="343"/>
                  </a:lnTo>
                  <a:lnTo>
                    <a:pt x="580" y="343"/>
                  </a:lnTo>
                  <a:lnTo>
                    <a:pt x="580" y="350"/>
                  </a:lnTo>
                  <a:lnTo>
                    <a:pt x="580" y="355"/>
                  </a:lnTo>
                  <a:lnTo>
                    <a:pt x="585" y="360"/>
                  </a:lnTo>
                  <a:lnTo>
                    <a:pt x="592" y="366"/>
                  </a:lnTo>
                  <a:lnTo>
                    <a:pt x="592" y="366"/>
                  </a:lnTo>
                  <a:lnTo>
                    <a:pt x="599" y="371"/>
                  </a:lnTo>
                  <a:lnTo>
                    <a:pt x="603" y="376"/>
                  </a:lnTo>
                  <a:lnTo>
                    <a:pt x="604" y="383"/>
                  </a:lnTo>
                  <a:lnTo>
                    <a:pt x="606" y="393"/>
                  </a:lnTo>
                  <a:lnTo>
                    <a:pt x="606" y="393"/>
                  </a:lnTo>
                  <a:lnTo>
                    <a:pt x="606" y="404"/>
                  </a:lnTo>
                  <a:lnTo>
                    <a:pt x="608" y="407"/>
                  </a:lnTo>
                  <a:lnTo>
                    <a:pt x="610" y="411"/>
                  </a:lnTo>
                  <a:lnTo>
                    <a:pt x="613" y="413"/>
                  </a:lnTo>
                  <a:lnTo>
                    <a:pt x="620" y="414"/>
                  </a:lnTo>
                  <a:lnTo>
                    <a:pt x="643" y="418"/>
                  </a:lnTo>
                  <a:lnTo>
                    <a:pt x="643" y="418"/>
                  </a:lnTo>
                  <a:lnTo>
                    <a:pt x="671" y="425"/>
                  </a:lnTo>
                  <a:lnTo>
                    <a:pt x="697" y="430"/>
                  </a:lnTo>
                  <a:lnTo>
                    <a:pt x="705" y="432"/>
                  </a:lnTo>
                  <a:lnTo>
                    <a:pt x="714" y="432"/>
                  </a:lnTo>
                  <a:lnTo>
                    <a:pt x="719" y="430"/>
                  </a:lnTo>
                  <a:lnTo>
                    <a:pt x="723" y="425"/>
                  </a:lnTo>
                  <a:lnTo>
                    <a:pt x="723" y="425"/>
                  </a:lnTo>
                  <a:lnTo>
                    <a:pt x="732" y="440"/>
                  </a:lnTo>
                  <a:lnTo>
                    <a:pt x="737" y="447"/>
                  </a:lnTo>
                  <a:lnTo>
                    <a:pt x="738" y="456"/>
                  </a:lnTo>
                  <a:lnTo>
                    <a:pt x="738" y="456"/>
                  </a:lnTo>
                  <a:lnTo>
                    <a:pt x="738" y="461"/>
                  </a:lnTo>
                  <a:lnTo>
                    <a:pt x="737" y="468"/>
                  </a:lnTo>
                  <a:lnTo>
                    <a:pt x="732" y="482"/>
                  </a:lnTo>
                  <a:lnTo>
                    <a:pt x="732" y="482"/>
                  </a:lnTo>
                  <a:lnTo>
                    <a:pt x="725" y="515"/>
                  </a:lnTo>
                  <a:lnTo>
                    <a:pt x="719" y="533"/>
                  </a:lnTo>
                  <a:lnTo>
                    <a:pt x="716" y="543"/>
                  </a:lnTo>
                  <a:lnTo>
                    <a:pt x="716" y="543"/>
                  </a:lnTo>
                  <a:lnTo>
                    <a:pt x="707" y="548"/>
                  </a:lnTo>
                  <a:lnTo>
                    <a:pt x="691" y="554"/>
                  </a:lnTo>
                  <a:lnTo>
                    <a:pt x="665" y="564"/>
                  </a:lnTo>
                  <a:lnTo>
                    <a:pt x="665" y="564"/>
                  </a:lnTo>
                  <a:lnTo>
                    <a:pt x="610" y="585"/>
                  </a:lnTo>
                  <a:lnTo>
                    <a:pt x="610" y="5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1" name="Freeform 1746">
              <a:extLst>
                <a:ext uri="{FF2B5EF4-FFF2-40B4-BE49-F238E27FC236}">
                  <a16:creationId xmlns:a16="http://schemas.microsoft.com/office/drawing/2014/main" id="{4C5AE968-2C02-4FE2-AC81-6B8B45086F56}"/>
                </a:ext>
              </a:extLst>
            </p:cNvPr>
            <p:cNvSpPr>
              <a:spLocks/>
            </p:cNvSpPr>
            <p:nvPr/>
          </p:nvSpPr>
          <p:spPr bwMode="auto">
            <a:xfrm>
              <a:off x="5812174" y="3200850"/>
              <a:ext cx="274871" cy="306589"/>
            </a:xfrm>
            <a:custGeom>
              <a:avLst/>
              <a:gdLst/>
              <a:ahLst/>
              <a:cxnLst>
                <a:cxn ang="0">
                  <a:pos x="223" y="40"/>
                </a:cxn>
                <a:cxn ang="0">
                  <a:pos x="232" y="65"/>
                </a:cxn>
                <a:cxn ang="0">
                  <a:pos x="260" y="72"/>
                </a:cxn>
                <a:cxn ang="0">
                  <a:pos x="267" y="77"/>
                </a:cxn>
                <a:cxn ang="0">
                  <a:pos x="255" y="84"/>
                </a:cxn>
                <a:cxn ang="0">
                  <a:pos x="258" y="101"/>
                </a:cxn>
                <a:cxn ang="0">
                  <a:pos x="244" y="124"/>
                </a:cxn>
                <a:cxn ang="0">
                  <a:pos x="234" y="146"/>
                </a:cxn>
                <a:cxn ang="0">
                  <a:pos x="244" y="172"/>
                </a:cxn>
                <a:cxn ang="0">
                  <a:pos x="260" y="193"/>
                </a:cxn>
                <a:cxn ang="0">
                  <a:pos x="283" y="220"/>
                </a:cxn>
                <a:cxn ang="0">
                  <a:pos x="312" y="244"/>
                </a:cxn>
                <a:cxn ang="0">
                  <a:pos x="316" y="275"/>
                </a:cxn>
                <a:cxn ang="0">
                  <a:pos x="317" y="296"/>
                </a:cxn>
                <a:cxn ang="0">
                  <a:pos x="328" y="322"/>
                </a:cxn>
                <a:cxn ang="0">
                  <a:pos x="338" y="333"/>
                </a:cxn>
                <a:cxn ang="0">
                  <a:pos x="340" y="345"/>
                </a:cxn>
                <a:cxn ang="0">
                  <a:pos x="321" y="340"/>
                </a:cxn>
                <a:cxn ang="0">
                  <a:pos x="302" y="338"/>
                </a:cxn>
                <a:cxn ang="0">
                  <a:pos x="291" y="345"/>
                </a:cxn>
                <a:cxn ang="0">
                  <a:pos x="277" y="380"/>
                </a:cxn>
                <a:cxn ang="0">
                  <a:pos x="242" y="383"/>
                </a:cxn>
                <a:cxn ang="0">
                  <a:pos x="197" y="369"/>
                </a:cxn>
                <a:cxn ang="0">
                  <a:pos x="135" y="307"/>
                </a:cxn>
                <a:cxn ang="0">
                  <a:pos x="105" y="286"/>
                </a:cxn>
                <a:cxn ang="0">
                  <a:pos x="75" y="267"/>
                </a:cxn>
                <a:cxn ang="0">
                  <a:pos x="47" y="249"/>
                </a:cxn>
                <a:cxn ang="0">
                  <a:pos x="18" y="240"/>
                </a:cxn>
                <a:cxn ang="0">
                  <a:pos x="9" y="237"/>
                </a:cxn>
                <a:cxn ang="0">
                  <a:pos x="9" y="228"/>
                </a:cxn>
                <a:cxn ang="0">
                  <a:pos x="11" y="225"/>
                </a:cxn>
                <a:cxn ang="0">
                  <a:pos x="46" y="159"/>
                </a:cxn>
                <a:cxn ang="0">
                  <a:pos x="79" y="139"/>
                </a:cxn>
                <a:cxn ang="0">
                  <a:pos x="86" y="122"/>
                </a:cxn>
                <a:cxn ang="0">
                  <a:pos x="86" y="117"/>
                </a:cxn>
                <a:cxn ang="0">
                  <a:pos x="89" y="89"/>
                </a:cxn>
                <a:cxn ang="0">
                  <a:pos x="88" y="61"/>
                </a:cxn>
                <a:cxn ang="0">
                  <a:pos x="91" y="44"/>
                </a:cxn>
                <a:cxn ang="0">
                  <a:pos x="107" y="37"/>
                </a:cxn>
                <a:cxn ang="0">
                  <a:pos x="126" y="14"/>
                </a:cxn>
                <a:cxn ang="0">
                  <a:pos x="140" y="2"/>
                </a:cxn>
                <a:cxn ang="0">
                  <a:pos x="143" y="2"/>
                </a:cxn>
                <a:cxn ang="0">
                  <a:pos x="150" y="2"/>
                </a:cxn>
                <a:cxn ang="0">
                  <a:pos x="162" y="4"/>
                </a:cxn>
                <a:cxn ang="0">
                  <a:pos x="180" y="7"/>
                </a:cxn>
                <a:cxn ang="0">
                  <a:pos x="190" y="5"/>
                </a:cxn>
                <a:cxn ang="0">
                  <a:pos x="192" y="18"/>
                </a:cxn>
                <a:cxn ang="0">
                  <a:pos x="204" y="12"/>
                </a:cxn>
              </a:cxnLst>
              <a:rect l="0" t="0" r="r" b="b"/>
              <a:pathLst>
                <a:path w="342" h="383">
                  <a:moveTo>
                    <a:pt x="211" y="11"/>
                  </a:moveTo>
                  <a:lnTo>
                    <a:pt x="211" y="11"/>
                  </a:lnTo>
                  <a:lnTo>
                    <a:pt x="216" y="28"/>
                  </a:lnTo>
                  <a:lnTo>
                    <a:pt x="223" y="40"/>
                  </a:lnTo>
                  <a:lnTo>
                    <a:pt x="227" y="51"/>
                  </a:lnTo>
                  <a:lnTo>
                    <a:pt x="230" y="59"/>
                  </a:lnTo>
                  <a:lnTo>
                    <a:pt x="230" y="59"/>
                  </a:lnTo>
                  <a:lnTo>
                    <a:pt x="232" y="65"/>
                  </a:lnTo>
                  <a:lnTo>
                    <a:pt x="236" y="68"/>
                  </a:lnTo>
                  <a:lnTo>
                    <a:pt x="241" y="70"/>
                  </a:lnTo>
                  <a:lnTo>
                    <a:pt x="248" y="70"/>
                  </a:lnTo>
                  <a:lnTo>
                    <a:pt x="260" y="72"/>
                  </a:lnTo>
                  <a:lnTo>
                    <a:pt x="263" y="72"/>
                  </a:lnTo>
                  <a:lnTo>
                    <a:pt x="265" y="75"/>
                  </a:lnTo>
                  <a:lnTo>
                    <a:pt x="265" y="75"/>
                  </a:lnTo>
                  <a:lnTo>
                    <a:pt x="267" y="77"/>
                  </a:lnTo>
                  <a:lnTo>
                    <a:pt x="265" y="78"/>
                  </a:lnTo>
                  <a:lnTo>
                    <a:pt x="260" y="80"/>
                  </a:lnTo>
                  <a:lnTo>
                    <a:pt x="256" y="82"/>
                  </a:lnTo>
                  <a:lnTo>
                    <a:pt x="255" y="84"/>
                  </a:lnTo>
                  <a:lnTo>
                    <a:pt x="255" y="89"/>
                  </a:lnTo>
                  <a:lnTo>
                    <a:pt x="256" y="94"/>
                  </a:lnTo>
                  <a:lnTo>
                    <a:pt x="256" y="94"/>
                  </a:lnTo>
                  <a:lnTo>
                    <a:pt x="258" y="101"/>
                  </a:lnTo>
                  <a:lnTo>
                    <a:pt x="258" y="108"/>
                  </a:lnTo>
                  <a:lnTo>
                    <a:pt x="255" y="113"/>
                  </a:lnTo>
                  <a:lnTo>
                    <a:pt x="249" y="119"/>
                  </a:lnTo>
                  <a:lnTo>
                    <a:pt x="244" y="124"/>
                  </a:lnTo>
                  <a:lnTo>
                    <a:pt x="239" y="129"/>
                  </a:lnTo>
                  <a:lnTo>
                    <a:pt x="236" y="138"/>
                  </a:lnTo>
                  <a:lnTo>
                    <a:pt x="234" y="146"/>
                  </a:lnTo>
                  <a:lnTo>
                    <a:pt x="234" y="146"/>
                  </a:lnTo>
                  <a:lnTo>
                    <a:pt x="234" y="157"/>
                  </a:lnTo>
                  <a:lnTo>
                    <a:pt x="237" y="164"/>
                  </a:lnTo>
                  <a:lnTo>
                    <a:pt x="241" y="169"/>
                  </a:lnTo>
                  <a:lnTo>
                    <a:pt x="244" y="172"/>
                  </a:lnTo>
                  <a:lnTo>
                    <a:pt x="255" y="181"/>
                  </a:lnTo>
                  <a:lnTo>
                    <a:pt x="258" y="186"/>
                  </a:lnTo>
                  <a:lnTo>
                    <a:pt x="260" y="193"/>
                  </a:lnTo>
                  <a:lnTo>
                    <a:pt x="260" y="193"/>
                  </a:lnTo>
                  <a:lnTo>
                    <a:pt x="263" y="202"/>
                  </a:lnTo>
                  <a:lnTo>
                    <a:pt x="269" y="207"/>
                  </a:lnTo>
                  <a:lnTo>
                    <a:pt x="276" y="214"/>
                  </a:lnTo>
                  <a:lnTo>
                    <a:pt x="283" y="220"/>
                  </a:lnTo>
                  <a:lnTo>
                    <a:pt x="298" y="230"/>
                  </a:lnTo>
                  <a:lnTo>
                    <a:pt x="307" y="237"/>
                  </a:lnTo>
                  <a:lnTo>
                    <a:pt x="312" y="244"/>
                  </a:lnTo>
                  <a:lnTo>
                    <a:pt x="312" y="244"/>
                  </a:lnTo>
                  <a:lnTo>
                    <a:pt x="316" y="253"/>
                  </a:lnTo>
                  <a:lnTo>
                    <a:pt x="317" y="260"/>
                  </a:lnTo>
                  <a:lnTo>
                    <a:pt x="316" y="268"/>
                  </a:lnTo>
                  <a:lnTo>
                    <a:pt x="316" y="275"/>
                  </a:lnTo>
                  <a:lnTo>
                    <a:pt x="314" y="287"/>
                  </a:lnTo>
                  <a:lnTo>
                    <a:pt x="314" y="293"/>
                  </a:lnTo>
                  <a:lnTo>
                    <a:pt x="317" y="296"/>
                  </a:lnTo>
                  <a:lnTo>
                    <a:pt x="317" y="296"/>
                  </a:lnTo>
                  <a:lnTo>
                    <a:pt x="321" y="305"/>
                  </a:lnTo>
                  <a:lnTo>
                    <a:pt x="324" y="314"/>
                  </a:lnTo>
                  <a:lnTo>
                    <a:pt x="326" y="320"/>
                  </a:lnTo>
                  <a:lnTo>
                    <a:pt x="328" y="322"/>
                  </a:lnTo>
                  <a:lnTo>
                    <a:pt x="330" y="326"/>
                  </a:lnTo>
                  <a:lnTo>
                    <a:pt x="330" y="326"/>
                  </a:lnTo>
                  <a:lnTo>
                    <a:pt x="335" y="329"/>
                  </a:lnTo>
                  <a:lnTo>
                    <a:pt x="338" y="333"/>
                  </a:lnTo>
                  <a:lnTo>
                    <a:pt x="340" y="338"/>
                  </a:lnTo>
                  <a:lnTo>
                    <a:pt x="342" y="345"/>
                  </a:lnTo>
                  <a:lnTo>
                    <a:pt x="342" y="345"/>
                  </a:lnTo>
                  <a:lnTo>
                    <a:pt x="340" y="345"/>
                  </a:lnTo>
                  <a:lnTo>
                    <a:pt x="337" y="345"/>
                  </a:lnTo>
                  <a:lnTo>
                    <a:pt x="330" y="341"/>
                  </a:lnTo>
                  <a:lnTo>
                    <a:pt x="323" y="340"/>
                  </a:lnTo>
                  <a:lnTo>
                    <a:pt x="321" y="340"/>
                  </a:lnTo>
                  <a:lnTo>
                    <a:pt x="321" y="343"/>
                  </a:lnTo>
                  <a:lnTo>
                    <a:pt x="321" y="343"/>
                  </a:lnTo>
                  <a:lnTo>
                    <a:pt x="309" y="338"/>
                  </a:lnTo>
                  <a:lnTo>
                    <a:pt x="302" y="338"/>
                  </a:lnTo>
                  <a:lnTo>
                    <a:pt x="298" y="340"/>
                  </a:lnTo>
                  <a:lnTo>
                    <a:pt x="295" y="341"/>
                  </a:lnTo>
                  <a:lnTo>
                    <a:pt x="295" y="341"/>
                  </a:lnTo>
                  <a:lnTo>
                    <a:pt x="291" y="345"/>
                  </a:lnTo>
                  <a:lnTo>
                    <a:pt x="290" y="350"/>
                  </a:lnTo>
                  <a:lnTo>
                    <a:pt x="284" y="362"/>
                  </a:lnTo>
                  <a:lnTo>
                    <a:pt x="279" y="374"/>
                  </a:lnTo>
                  <a:lnTo>
                    <a:pt x="277" y="380"/>
                  </a:lnTo>
                  <a:lnTo>
                    <a:pt x="274" y="383"/>
                  </a:lnTo>
                  <a:lnTo>
                    <a:pt x="274" y="383"/>
                  </a:lnTo>
                  <a:lnTo>
                    <a:pt x="262" y="383"/>
                  </a:lnTo>
                  <a:lnTo>
                    <a:pt x="242" y="383"/>
                  </a:lnTo>
                  <a:lnTo>
                    <a:pt x="220" y="380"/>
                  </a:lnTo>
                  <a:lnTo>
                    <a:pt x="209" y="378"/>
                  </a:lnTo>
                  <a:lnTo>
                    <a:pt x="209" y="378"/>
                  </a:lnTo>
                  <a:lnTo>
                    <a:pt x="197" y="369"/>
                  </a:lnTo>
                  <a:lnTo>
                    <a:pt x="180" y="354"/>
                  </a:lnTo>
                  <a:lnTo>
                    <a:pt x="150" y="324"/>
                  </a:lnTo>
                  <a:lnTo>
                    <a:pt x="150" y="324"/>
                  </a:lnTo>
                  <a:lnTo>
                    <a:pt x="135" y="307"/>
                  </a:lnTo>
                  <a:lnTo>
                    <a:pt x="126" y="298"/>
                  </a:lnTo>
                  <a:lnTo>
                    <a:pt x="115" y="291"/>
                  </a:lnTo>
                  <a:lnTo>
                    <a:pt x="115" y="291"/>
                  </a:lnTo>
                  <a:lnTo>
                    <a:pt x="105" y="286"/>
                  </a:lnTo>
                  <a:lnTo>
                    <a:pt x="93" y="280"/>
                  </a:lnTo>
                  <a:lnTo>
                    <a:pt x="93" y="280"/>
                  </a:lnTo>
                  <a:lnTo>
                    <a:pt x="84" y="273"/>
                  </a:lnTo>
                  <a:lnTo>
                    <a:pt x="75" y="267"/>
                  </a:lnTo>
                  <a:lnTo>
                    <a:pt x="67" y="260"/>
                  </a:lnTo>
                  <a:lnTo>
                    <a:pt x="58" y="253"/>
                  </a:lnTo>
                  <a:lnTo>
                    <a:pt x="58" y="253"/>
                  </a:lnTo>
                  <a:lnTo>
                    <a:pt x="47" y="249"/>
                  </a:lnTo>
                  <a:lnTo>
                    <a:pt x="37" y="247"/>
                  </a:lnTo>
                  <a:lnTo>
                    <a:pt x="16" y="244"/>
                  </a:lnTo>
                  <a:lnTo>
                    <a:pt x="16" y="244"/>
                  </a:lnTo>
                  <a:lnTo>
                    <a:pt x="18" y="240"/>
                  </a:lnTo>
                  <a:lnTo>
                    <a:pt x="18" y="240"/>
                  </a:lnTo>
                  <a:lnTo>
                    <a:pt x="18" y="237"/>
                  </a:lnTo>
                  <a:lnTo>
                    <a:pt x="16" y="235"/>
                  </a:lnTo>
                  <a:lnTo>
                    <a:pt x="9" y="237"/>
                  </a:lnTo>
                  <a:lnTo>
                    <a:pt x="9" y="237"/>
                  </a:lnTo>
                  <a:lnTo>
                    <a:pt x="7" y="228"/>
                  </a:lnTo>
                  <a:lnTo>
                    <a:pt x="7" y="228"/>
                  </a:lnTo>
                  <a:lnTo>
                    <a:pt x="9" y="228"/>
                  </a:lnTo>
                  <a:lnTo>
                    <a:pt x="11" y="228"/>
                  </a:lnTo>
                  <a:lnTo>
                    <a:pt x="11" y="228"/>
                  </a:lnTo>
                  <a:lnTo>
                    <a:pt x="11" y="226"/>
                  </a:lnTo>
                  <a:lnTo>
                    <a:pt x="11" y="225"/>
                  </a:lnTo>
                  <a:lnTo>
                    <a:pt x="11" y="225"/>
                  </a:lnTo>
                  <a:lnTo>
                    <a:pt x="0" y="188"/>
                  </a:lnTo>
                  <a:lnTo>
                    <a:pt x="0" y="188"/>
                  </a:lnTo>
                  <a:lnTo>
                    <a:pt x="46" y="159"/>
                  </a:lnTo>
                  <a:lnTo>
                    <a:pt x="46" y="159"/>
                  </a:lnTo>
                  <a:lnTo>
                    <a:pt x="63" y="150"/>
                  </a:lnTo>
                  <a:lnTo>
                    <a:pt x="72" y="145"/>
                  </a:lnTo>
                  <a:lnTo>
                    <a:pt x="79" y="139"/>
                  </a:lnTo>
                  <a:lnTo>
                    <a:pt x="79" y="139"/>
                  </a:lnTo>
                  <a:lnTo>
                    <a:pt x="82" y="131"/>
                  </a:lnTo>
                  <a:lnTo>
                    <a:pt x="86" y="122"/>
                  </a:lnTo>
                  <a:lnTo>
                    <a:pt x="86" y="122"/>
                  </a:lnTo>
                  <a:lnTo>
                    <a:pt x="86" y="120"/>
                  </a:lnTo>
                  <a:lnTo>
                    <a:pt x="86" y="120"/>
                  </a:lnTo>
                  <a:lnTo>
                    <a:pt x="86" y="117"/>
                  </a:lnTo>
                  <a:lnTo>
                    <a:pt x="86" y="117"/>
                  </a:lnTo>
                  <a:lnTo>
                    <a:pt x="86" y="103"/>
                  </a:lnTo>
                  <a:lnTo>
                    <a:pt x="86" y="103"/>
                  </a:lnTo>
                  <a:lnTo>
                    <a:pt x="88" y="96"/>
                  </a:lnTo>
                  <a:lnTo>
                    <a:pt x="89" y="89"/>
                  </a:lnTo>
                  <a:lnTo>
                    <a:pt x="91" y="80"/>
                  </a:lnTo>
                  <a:lnTo>
                    <a:pt x="91" y="73"/>
                  </a:lnTo>
                  <a:lnTo>
                    <a:pt x="91" y="73"/>
                  </a:lnTo>
                  <a:lnTo>
                    <a:pt x="88" y="61"/>
                  </a:lnTo>
                  <a:lnTo>
                    <a:pt x="88" y="56"/>
                  </a:lnTo>
                  <a:lnTo>
                    <a:pt x="88" y="49"/>
                  </a:lnTo>
                  <a:lnTo>
                    <a:pt x="88" y="49"/>
                  </a:lnTo>
                  <a:lnTo>
                    <a:pt x="91" y="44"/>
                  </a:lnTo>
                  <a:lnTo>
                    <a:pt x="96" y="40"/>
                  </a:lnTo>
                  <a:lnTo>
                    <a:pt x="101" y="40"/>
                  </a:lnTo>
                  <a:lnTo>
                    <a:pt x="107" y="37"/>
                  </a:lnTo>
                  <a:lnTo>
                    <a:pt x="107" y="37"/>
                  </a:lnTo>
                  <a:lnTo>
                    <a:pt x="112" y="33"/>
                  </a:lnTo>
                  <a:lnTo>
                    <a:pt x="117" y="28"/>
                  </a:lnTo>
                  <a:lnTo>
                    <a:pt x="122" y="21"/>
                  </a:lnTo>
                  <a:lnTo>
                    <a:pt x="126" y="14"/>
                  </a:lnTo>
                  <a:lnTo>
                    <a:pt x="126" y="14"/>
                  </a:lnTo>
                  <a:lnTo>
                    <a:pt x="133" y="9"/>
                  </a:lnTo>
                  <a:lnTo>
                    <a:pt x="140" y="2"/>
                  </a:lnTo>
                  <a:lnTo>
                    <a:pt x="140" y="2"/>
                  </a:lnTo>
                  <a:lnTo>
                    <a:pt x="142" y="0"/>
                  </a:lnTo>
                  <a:lnTo>
                    <a:pt x="142" y="0"/>
                  </a:lnTo>
                  <a:lnTo>
                    <a:pt x="143" y="2"/>
                  </a:lnTo>
                  <a:lnTo>
                    <a:pt x="143" y="2"/>
                  </a:lnTo>
                  <a:lnTo>
                    <a:pt x="147" y="4"/>
                  </a:lnTo>
                  <a:lnTo>
                    <a:pt x="147" y="4"/>
                  </a:lnTo>
                  <a:lnTo>
                    <a:pt x="150" y="2"/>
                  </a:lnTo>
                  <a:lnTo>
                    <a:pt x="150" y="2"/>
                  </a:lnTo>
                  <a:lnTo>
                    <a:pt x="154" y="0"/>
                  </a:lnTo>
                  <a:lnTo>
                    <a:pt x="154" y="0"/>
                  </a:lnTo>
                  <a:lnTo>
                    <a:pt x="157" y="2"/>
                  </a:lnTo>
                  <a:lnTo>
                    <a:pt x="162" y="4"/>
                  </a:lnTo>
                  <a:lnTo>
                    <a:pt x="169" y="7"/>
                  </a:lnTo>
                  <a:lnTo>
                    <a:pt x="169" y="7"/>
                  </a:lnTo>
                  <a:lnTo>
                    <a:pt x="176" y="9"/>
                  </a:lnTo>
                  <a:lnTo>
                    <a:pt x="180" y="7"/>
                  </a:lnTo>
                  <a:lnTo>
                    <a:pt x="183" y="4"/>
                  </a:lnTo>
                  <a:lnTo>
                    <a:pt x="187" y="4"/>
                  </a:lnTo>
                  <a:lnTo>
                    <a:pt x="187" y="4"/>
                  </a:lnTo>
                  <a:lnTo>
                    <a:pt x="190" y="5"/>
                  </a:lnTo>
                  <a:lnTo>
                    <a:pt x="192" y="5"/>
                  </a:lnTo>
                  <a:lnTo>
                    <a:pt x="192" y="11"/>
                  </a:lnTo>
                  <a:lnTo>
                    <a:pt x="190" y="16"/>
                  </a:lnTo>
                  <a:lnTo>
                    <a:pt x="192" y="18"/>
                  </a:lnTo>
                  <a:lnTo>
                    <a:pt x="192" y="19"/>
                  </a:lnTo>
                  <a:lnTo>
                    <a:pt x="192" y="19"/>
                  </a:lnTo>
                  <a:lnTo>
                    <a:pt x="204" y="12"/>
                  </a:lnTo>
                  <a:lnTo>
                    <a:pt x="204" y="12"/>
                  </a:lnTo>
                  <a:lnTo>
                    <a:pt x="208" y="11"/>
                  </a:lnTo>
                  <a:lnTo>
                    <a:pt x="211" y="11"/>
                  </a:lnTo>
                  <a:lnTo>
                    <a:pt x="211"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2" name="Freeform 1747">
              <a:extLst>
                <a:ext uri="{FF2B5EF4-FFF2-40B4-BE49-F238E27FC236}">
                  <a16:creationId xmlns:a16="http://schemas.microsoft.com/office/drawing/2014/main" id="{D92DBC6D-CFDB-4A21-8D01-2FC8532FC8A1}"/>
                </a:ext>
              </a:extLst>
            </p:cNvPr>
            <p:cNvSpPr>
              <a:spLocks/>
            </p:cNvSpPr>
            <p:nvPr/>
          </p:nvSpPr>
          <p:spPr bwMode="auto">
            <a:xfrm>
              <a:off x="6182192" y="3653684"/>
              <a:ext cx="222013" cy="292492"/>
            </a:xfrm>
            <a:custGeom>
              <a:avLst/>
              <a:gdLst/>
              <a:ahLst/>
              <a:cxnLst>
                <a:cxn ang="0">
                  <a:pos x="2" y="273"/>
                </a:cxn>
                <a:cxn ang="0">
                  <a:pos x="0" y="284"/>
                </a:cxn>
                <a:cxn ang="0">
                  <a:pos x="26" y="329"/>
                </a:cxn>
                <a:cxn ang="0">
                  <a:pos x="28" y="338"/>
                </a:cxn>
                <a:cxn ang="0">
                  <a:pos x="30" y="348"/>
                </a:cxn>
                <a:cxn ang="0">
                  <a:pos x="42" y="366"/>
                </a:cxn>
                <a:cxn ang="0">
                  <a:pos x="51" y="362"/>
                </a:cxn>
                <a:cxn ang="0">
                  <a:pos x="61" y="362"/>
                </a:cxn>
                <a:cxn ang="0">
                  <a:pos x="75" y="353"/>
                </a:cxn>
                <a:cxn ang="0">
                  <a:pos x="96" y="353"/>
                </a:cxn>
                <a:cxn ang="0">
                  <a:pos x="105" y="353"/>
                </a:cxn>
                <a:cxn ang="0">
                  <a:pos x="115" y="341"/>
                </a:cxn>
                <a:cxn ang="0">
                  <a:pos x="126" y="319"/>
                </a:cxn>
                <a:cxn ang="0">
                  <a:pos x="141" y="310"/>
                </a:cxn>
                <a:cxn ang="0">
                  <a:pos x="160" y="306"/>
                </a:cxn>
                <a:cxn ang="0">
                  <a:pos x="169" y="286"/>
                </a:cxn>
                <a:cxn ang="0">
                  <a:pos x="193" y="270"/>
                </a:cxn>
                <a:cxn ang="0">
                  <a:pos x="207" y="263"/>
                </a:cxn>
                <a:cxn ang="0">
                  <a:pos x="207" y="247"/>
                </a:cxn>
                <a:cxn ang="0">
                  <a:pos x="209" y="212"/>
                </a:cxn>
                <a:cxn ang="0">
                  <a:pos x="218" y="197"/>
                </a:cxn>
                <a:cxn ang="0">
                  <a:pos x="226" y="204"/>
                </a:cxn>
                <a:cxn ang="0">
                  <a:pos x="237" y="192"/>
                </a:cxn>
                <a:cxn ang="0">
                  <a:pos x="246" y="174"/>
                </a:cxn>
                <a:cxn ang="0">
                  <a:pos x="267" y="150"/>
                </a:cxn>
                <a:cxn ang="0">
                  <a:pos x="277" y="125"/>
                </a:cxn>
                <a:cxn ang="0">
                  <a:pos x="277" y="111"/>
                </a:cxn>
                <a:cxn ang="0">
                  <a:pos x="265" y="104"/>
                </a:cxn>
                <a:cxn ang="0">
                  <a:pos x="247" y="75"/>
                </a:cxn>
                <a:cxn ang="0">
                  <a:pos x="235" y="63"/>
                </a:cxn>
                <a:cxn ang="0">
                  <a:pos x="228" y="64"/>
                </a:cxn>
                <a:cxn ang="0">
                  <a:pos x="216" y="57"/>
                </a:cxn>
                <a:cxn ang="0">
                  <a:pos x="204" y="54"/>
                </a:cxn>
                <a:cxn ang="0">
                  <a:pos x="179" y="42"/>
                </a:cxn>
                <a:cxn ang="0">
                  <a:pos x="164" y="19"/>
                </a:cxn>
                <a:cxn ang="0">
                  <a:pos x="157" y="3"/>
                </a:cxn>
                <a:cxn ang="0">
                  <a:pos x="150" y="12"/>
                </a:cxn>
                <a:cxn ang="0">
                  <a:pos x="146" y="7"/>
                </a:cxn>
                <a:cxn ang="0">
                  <a:pos x="141" y="0"/>
                </a:cxn>
                <a:cxn ang="0">
                  <a:pos x="138" y="12"/>
                </a:cxn>
                <a:cxn ang="0">
                  <a:pos x="138" y="30"/>
                </a:cxn>
                <a:cxn ang="0">
                  <a:pos x="139" y="35"/>
                </a:cxn>
                <a:cxn ang="0">
                  <a:pos x="148" y="38"/>
                </a:cxn>
                <a:cxn ang="0">
                  <a:pos x="141" y="44"/>
                </a:cxn>
                <a:cxn ang="0">
                  <a:pos x="126" y="45"/>
                </a:cxn>
                <a:cxn ang="0">
                  <a:pos x="129" y="50"/>
                </a:cxn>
                <a:cxn ang="0">
                  <a:pos x="124" y="68"/>
                </a:cxn>
                <a:cxn ang="0">
                  <a:pos x="117" y="103"/>
                </a:cxn>
                <a:cxn ang="0">
                  <a:pos x="131" y="125"/>
                </a:cxn>
                <a:cxn ang="0">
                  <a:pos x="132" y="139"/>
                </a:cxn>
                <a:cxn ang="0">
                  <a:pos x="126" y="160"/>
                </a:cxn>
                <a:cxn ang="0">
                  <a:pos x="110" y="221"/>
                </a:cxn>
                <a:cxn ang="0">
                  <a:pos x="85" y="232"/>
                </a:cxn>
                <a:cxn ang="0">
                  <a:pos x="4" y="263"/>
                </a:cxn>
              </a:cxnLst>
              <a:rect l="0" t="0" r="r" b="b"/>
              <a:pathLst>
                <a:path w="279" h="366">
                  <a:moveTo>
                    <a:pt x="4" y="263"/>
                  </a:moveTo>
                  <a:lnTo>
                    <a:pt x="4" y="263"/>
                  </a:lnTo>
                  <a:lnTo>
                    <a:pt x="2" y="273"/>
                  </a:lnTo>
                  <a:lnTo>
                    <a:pt x="0" y="279"/>
                  </a:lnTo>
                  <a:lnTo>
                    <a:pt x="0" y="284"/>
                  </a:lnTo>
                  <a:lnTo>
                    <a:pt x="0" y="284"/>
                  </a:lnTo>
                  <a:lnTo>
                    <a:pt x="5" y="294"/>
                  </a:lnTo>
                  <a:lnTo>
                    <a:pt x="12" y="306"/>
                  </a:lnTo>
                  <a:lnTo>
                    <a:pt x="26" y="329"/>
                  </a:lnTo>
                  <a:lnTo>
                    <a:pt x="26" y="329"/>
                  </a:lnTo>
                  <a:lnTo>
                    <a:pt x="28" y="334"/>
                  </a:lnTo>
                  <a:lnTo>
                    <a:pt x="28" y="338"/>
                  </a:lnTo>
                  <a:lnTo>
                    <a:pt x="28" y="343"/>
                  </a:lnTo>
                  <a:lnTo>
                    <a:pt x="30" y="348"/>
                  </a:lnTo>
                  <a:lnTo>
                    <a:pt x="30" y="348"/>
                  </a:lnTo>
                  <a:lnTo>
                    <a:pt x="31" y="352"/>
                  </a:lnTo>
                  <a:lnTo>
                    <a:pt x="35" y="357"/>
                  </a:lnTo>
                  <a:lnTo>
                    <a:pt x="42" y="366"/>
                  </a:lnTo>
                  <a:lnTo>
                    <a:pt x="42" y="366"/>
                  </a:lnTo>
                  <a:lnTo>
                    <a:pt x="47" y="364"/>
                  </a:lnTo>
                  <a:lnTo>
                    <a:pt x="51" y="362"/>
                  </a:lnTo>
                  <a:lnTo>
                    <a:pt x="58" y="362"/>
                  </a:lnTo>
                  <a:lnTo>
                    <a:pt x="58" y="362"/>
                  </a:lnTo>
                  <a:lnTo>
                    <a:pt x="61" y="362"/>
                  </a:lnTo>
                  <a:lnTo>
                    <a:pt x="65" y="360"/>
                  </a:lnTo>
                  <a:lnTo>
                    <a:pt x="72" y="357"/>
                  </a:lnTo>
                  <a:lnTo>
                    <a:pt x="75" y="353"/>
                  </a:lnTo>
                  <a:lnTo>
                    <a:pt x="80" y="352"/>
                  </a:lnTo>
                  <a:lnTo>
                    <a:pt x="87" y="352"/>
                  </a:lnTo>
                  <a:lnTo>
                    <a:pt x="96" y="353"/>
                  </a:lnTo>
                  <a:lnTo>
                    <a:pt x="96" y="353"/>
                  </a:lnTo>
                  <a:lnTo>
                    <a:pt x="101" y="353"/>
                  </a:lnTo>
                  <a:lnTo>
                    <a:pt x="105" y="353"/>
                  </a:lnTo>
                  <a:lnTo>
                    <a:pt x="108" y="352"/>
                  </a:lnTo>
                  <a:lnTo>
                    <a:pt x="112" y="348"/>
                  </a:lnTo>
                  <a:lnTo>
                    <a:pt x="115" y="341"/>
                  </a:lnTo>
                  <a:lnTo>
                    <a:pt x="119" y="334"/>
                  </a:lnTo>
                  <a:lnTo>
                    <a:pt x="122" y="326"/>
                  </a:lnTo>
                  <a:lnTo>
                    <a:pt x="126" y="319"/>
                  </a:lnTo>
                  <a:lnTo>
                    <a:pt x="132" y="313"/>
                  </a:lnTo>
                  <a:lnTo>
                    <a:pt x="136" y="312"/>
                  </a:lnTo>
                  <a:lnTo>
                    <a:pt x="141" y="310"/>
                  </a:lnTo>
                  <a:lnTo>
                    <a:pt x="141" y="310"/>
                  </a:lnTo>
                  <a:lnTo>
                    <a:pt x="153" y="310"/>
                  </a:lnTo>
                  <a:lnTo>
                    <a:pt x="160" y="306"/>
                  </a:lnTo>
                  <a:lnTo>
                    <a:pt x="164" y="299"/>
                  </a:lnTo>
                  <a:lnTo>
                    <a:pt x="167" y="292"/>
                  </a:lnTo>
                  <a:lnTo>
                    <a:pt x="169" y="286"/>
                  </a:lnTo>
                  <a:lnTo>
                    <a:pt x="173" y="279"/>
                  </a:lnTo>
                  <a:lnTo>
                    <a:pt x="181" y="273"/>
                  </a:lnTo>
                  <a:lnTo>
                    <a:pt x="193" y="270"/>
                  </a:lnTo>
                  <a:lnTo>
                    <a:pt x="193" y="270"/>
                  </a:lnTo>
                  <a:lnTo>
                    <a:pt x="202" y="266"/>
                  </a:lnTo>
                  <a:lnTo>
                    <a:pt x="207" y="263"/>
                  </a:lnTo>
                  <a:lnTo>
                    <a:pt x="209" y="259"/>
                  </a:lnTo>
                  <a:lnTo>
                    <a:pt x="209" y="254"/>
                  </a:lnTo>
                  <a:lnTo>
                    <a:pt x="207" y="247"/>
                  </a:lnTo>
                  <a:lnTo>
                    <a:pt x="206" y="239"/>
                  </a:lnTo>
                  <a:lnTo>
                    <a:pt x="206" y="228"/>
                  </a:lnTo>
                  <a:lnTo>
                    <a:pt x="209" y="212"/>
                  </a:lnTo>
                  <a:lnTo>
                    <a:pt x="209" y="212"/>
                  </a:lnTo>
                  <a:lnTo>
                    <a:pt x="214" y="202"/>
                  </a:lnTo>
                  <a:lnTo>
                    <a:pt x="218" y="197"/>
                  </a:lnTo>
                  <a:lnTo>
                    <a:pt x="221" y="197"/>
                  </a:lnTo>
                  <a:lnTo>
                    <a:pt x="223" y="200"/>
                  </a:lnTo>
                  <a:lnTo>
                    <a:pt x="226" y="204"/>
                  </a:lnTo>
                  <a:lnTo>
                    <a:pt x="228" y="205"/>
                  </a:lnTo>
                  <a:lnTo>
                    <a:pt x="232" y="202"/>
                  </a:lnTo>
                  <a:lnTo>
                    <a:pt x="237" y="192"/>
                  </a:lnTo>
                  <a:lnTo>
                    <a:pt x="237" y="192"/>
                  </a:lnTo>
                  <a:lnTo>
                    <a:pt x="242" y="181"/>
                  </a:lnTo>
                  <a:lnTo>
                    <a:pt x="246" y="174"/>
                  </a:lnTo>
                  <a:lnTo>
                    <a:pt x="254" y="165"/>
                  </a:lnTo>
                  <a:lnTo>
                    <a:pt x="263" y="157"/>
                  </a:lnTo>
                  <a:lnTo>
                    <a:pt x="267" y="150"/>
                  </a:lnTo>
                  <a:lnTo>
                    <a:pt x="272" y="139"/>
                  </a:lnTo>
                  <a:lnTo>
                    <a:pt x="272" y="139"/>
                  </a:lnTo>
                  <a:lnTo>
                    <a:pt x="277" y="125"/>
                  </a:lnTo>
                  <a:lnTo>
                    <a:pt x="279" y="117"/>
                  </a:lnTo>
                  <a:lnTo>
                    <a:pt x="279" y="115"/>
                  </a:lnTo>
                  <a:lnTo>
                    <a:pt x="277" y="111"/>
                  </a:lnTo>
                  <a:lnTo>
                    <a:pt x="270" y="108"/>
                  </a:lnTo>
                  <a:lnTo>
                    <a:pt x="270" y="108"/>
                  </a:lnTo>
                  <a:lnTo>
                    <a:pt x="265" y="104"/>
                  </a:lnTo>
                  <a:lnTo>
                    <a:pt x="261" y="99"/>
                  </a:lnTo>
                  <a:lnTo>
                    <a:pt x="253" y="82"/>
                  </a:lnTo>
                  <a:lnTo>
                    <a:pt x="247" y="75"/>
                  </a:lnTo>
                  <a:lnTo>
                    <a:pt x="242" y="68"/>
                  </a:lnTo>
                  <a:lnTo>
                    <a:pt x="237" y="64"/>
                  </a:lnTo>
                  <a:lnTo>
                    <a:pt x="235" y="63"/>
                  </a:lnTo>
                  <a:lnTo>
                    <a:pt x="232" y="63"/>
                  </a:lnTo>
                  <a:lnTo>
                    <a:pt x="232" y="63"/>
                  </a:lnTo>
                  <a:lnTo>
                    <a:pt x="228" y="64"/>
                  </a:lnTo>
                  <a:lnTo>
                    <a:pt x="226" y="64"/>
                  </a:lnTo>
                  <a:lnTo>
                    <a:pt x="221" y="61"/>
                  </a:lnTo>
                  <a:lnTo>
                    <a:pt x="216" y="57"/>
                  </a:lnTo>
                  <a:lnTo>
                    <a:pt x="211" y="56"/>
                  </a:lnTo>
                  <a:lnTo>
                    <a:pt x="204" y="54"/>
                  </a:lnTo>
                  <a:lnTo>
                    <a:pt x="204" y="54"/>
                  </a:lnTo>
                  <a:lnTo>
                    <a:pt x="195" y="52"/>
                  </a:lnTo>
                  <a:lnTo>
                    <a:pt x="186" y="47"/>
                  </a:lnTo>
                  <a:lnTo>
                    <a:pt x="179" y="42"/>
                  </a:lnTo>
                  <a:lnTo>
                    <a:pt x="173" y="35"/>
                  </a:lnTo>
                  <a:lnTo>
                    <a:pt x="167" y="28"/>
                  </a:lnTo>
                  <a:lnTo>
                    <a:pt x="164" y="19"/>
                  </a:lnTo>
                  <a:lnTo>
                    <a:pt x="160" y="10"/>
                  </a:lnTo>
                  <a:lnTo>
                    <a:pt x="157" y="3"/>
                  </a:lnTo>
                  <a:lnTo>
                    <a:pt x="157" y="3"/>
                  </a:lnTo>
                  <a:lnTo>
                    <a:pt x="155" y="5"/>
                  </a:lnTo>
                  <a:lnTo>
                    <a:pt x="152" y="9"/>
                  </a:lnTo>
                  <a:lnTo>
                    <a:pt x="150" y="12"/>
                  </a:lnTo>
                  <a:lnTo>
                    <a:pt x="150" y="14"/>
                  </a:lnTo>
                  <a:lnTo>
                    <a:pt x="148" y="14"/>
                  </a:lnTo>
                  <a:lnTo>
                    <a:pt x="146" y="7"/>
                  </a:lnTo>
                  <a:lnTo>
                    <a:pt x="146" y="7"/>
                  </a:lnTo>
                  <a:lnTo>
                    <a:pt x="145" y="2"/>
                  </a:lnTo>
                  <a:lnTo>
                    <a:pt x="141" y="0"/>
                  </a:lnTo>
                  <a:lnTo>
                    <a:pt x="141" y="2"/>
                  </a:lnTo>
                  <a:lnTo>
                    <a:pt x="139" y="3"/>
                  </a:lnTo>
                  <a:lnTo>
                    <a:pt x="138" y="12"/>
                  </a:lnTo>
                  <a:lnTo>
                    <a:pt x="138" y="23"/>
                  </a:lnTo>
                  <a:lnTo>
                    <a:pt x="138" y="23"/>
                  </a:lnTo>
                  <a:lnTo>
                    <a:pt x="138" y="30"/>
                  </a:lnTo>
                  <a:lnTo>
                    <a:pt x="136" y="33"/>
                  </a:lnTo>
                  <a:lnTo>
                    <a:pt x="136" y="35"/>
                  </a:lnTo>
                  <a:lnTo>
                    <a:pt x="139" y="35"/>
                  </a:lnTo>
                  <a:lnTo>
                    <a:pt x="139" y="35"/>
                  </a:lnTo>
                  <a:lnTo>
                    <a:pt x="145" y="37"/>
                  </a:lnTo>
                  <a:lnTo>
                    <a:pt x="148" y="38"/>
                  </a:lnTo>
                  <a:lnTo>
                    <a:pt x="148" y="40"/>
                  </a:lnTo>
                  <a:lnTo>
                    <a:pt x="146" y="42"/>
                  </a:lnTo>
                  <a:lnTo>
                    <a:pt x="141" y="44"/>
                  </a:lnTo>
                  <a:lnTo>
                    <a:pt x="141" y="44"/>
                  </a:lnTo>
                  <a:lnTo>
                    <a:pt x="129" y="45"/>
                  </a:lnTo>
                  <a:lnTo>
                    <a:pt x="126" y="45"/>
                  </a:lnTo>
                  <a:lnTo>
                    <a:pt x="127" y="49"/>
                  </a:lnTo>
                  <a:lnTo>
                    <a:pt x="127" y="49"/>
                  </a:lnTo>
                  <a:lnTo>
                    <a:pt x="129" y="50"/>
                  </a:lnTo>
                  <a:lnTo>
                    <a:pt x="129" y="52"/>
                  </a:lnTo>
                  <a:lnTo>
                    <a:pt x="124" y="68"/>
                  </a:lnTo>
                  <a:lnTo>
                    <a:pt x="124" y="68"/>
                  </a:lnTo>
                  <a:lnTo>
                    <a:pt x="119" y="82"/>
                  </a:lnTo>
                  <a:lnTo>
                    <a:pt x="117" y="91"/>
                  </a:lnTo>
                  <a:lnTo>
                    <a:pt x="117" y="103"/>
                  </a:lnTo>
                  <a:lnTo>
                    <a:pt x="117" y="103"/>
                  </a:lnTo>
                  <a:lnTo>
                    <a:pt x="126" y="118"/>
                  </a:lnTo>
                  <a:lnTo>
                    <a:pt x="131" y="125"/>
                  </a:lnTo>
                  <a:lnTo>
                    <a:pt x="132" y="134"/>
                  </a:lnTo>
                  <a:lnTo>
                    <a:pt x="132" y="134"/>
                  </a:lnTo>
                  <a:lnTo>
                    <a:pt x="132" y="139"/>
                  </a:lnTo>
                  <a:lnTo>
                    <a:pt x="131" y="146"/>
                  </a:lnTo>
                  <a:lnTo>
                    <a:pt x="126" y="160"/>
                  </a:lnTo>
                  <a:lnTo>
                    <a:pt x="126" y="160"/>
                  </a:lnTo>
                  <a:lnTo>
                    <a:pt x="119" y="193"/>
                  </a:lnTo>
                  <a:lnTo>
                    <a:pt x="113" y="211"/>
                  </a:lnTo>
                  <a:lnTo>
                    <a:pt x="110" y="221"/>
                  </a:lnTo>
                  <a:lnTo>
                    <a:pt x="110" y="221"/>
                  </a:lnTo>
                  <a:lnTo>
                    <a:pt x="101" y="226"/>
                  </a:lnTo>
                  <a:lnTo>
                    <a:pt x="85" y="232"/>
                  </a:lnTo>
                  <a:lnTo>
                    <a:pt x="59" y="242"/>
                  </a:lnTo>
                  <a:lnTo>
                    <a:pt x="59" y="242"/>
                  </a:lnTo>
                  <a:lnTo>
                    <a:pt x="4" y="263"/>
                  </a:lnTo>
                  <a:lnTo>
                    <a:pt x="4" y="2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3" name="Freeform 1748">
              <a:extLst>
                <a:ext uri="{FF2B5EF4-FFF2-40B4-BE49-F238E27FC236}">
                  <a16:creationId xmlns:a16="http://schemas.microsoft.com/office/drawing/2014/main" id="{13C9A03C-8147-4152-A8C5-EC45228FA6F5}"/>
                </a:ext>
              </a:extLst>
            </p:cNvPr>
            <p:cNvSpPr>
              <a:spLocks/>
            </p:cNvSpPr>
            <p:nvPr/>
          </p:nvSpPr>
          <p:spPr bwMode="auto">
            <a:xfrm>
              <a:off x="4989317" y="3359429"/>
              <a:ext cx="442262" cy="488076"/>
            </a:xfrm>
            <a:custGeom>
              <a:avLst/>
              <a:gdLst/>
              <a:ahLst/>
              <a:cxnLst>
                <a:cxn ang="0">
                  <a:pos x="545" y="175"/>
                </a:cxn>
                <a:cxn ang="0">
                  <a:pos x="538" y="153"/>
                </a:cxn>
                <a:cxn ang="0">
                  <a:pos x="540" y="127"/>
                </a:cxn>
                <a:cxn ang="0">
                  <a:pos x="543" y="99"/>
                </a:cxn>
                <a:cxn ang="0">
                  <a:pos x="552" y="74"/>
                </a:cxn>
                <a:cxn ang="0">
                  <a:pos x="549" y="66"/>
                </a:cxn>
                <a:cxn ang="0">
                  <a:pos x="536" y="52"/>
                </a:cxn>
                <a:cxn ang="0">
                  <a:pos x="510" y="50"/>
                </a:cxn>
                <a:cxn ang="0">
                  <a:pos x="489" y="45"/>
                </a:cxn>
                <a:cxn ang="0">
                  <a:pos x="475" y="27"/>
                </a:cxn>
                <a:cxn ang="0">
                  <a:pos x="444" y="10"/>
                </a:cxn>
                <a:cxn ang="0">
                  <a:pos x="420" y="15"/>
                </a:cxn>
                <a:cxn ang="0">
                  <a:pos x="399" y="21"/>
                </a:cxn>
                <a:cxn ang="0">
                  <a:pos x="375" y="43"/>
                </a:cxn>
                <a:cxn ang="0">
                  <a:pos x="369" y="76"/>
                </a:cxn>
                <a:cxn ang="0">
                  <a:pos x="366" y="111"/>
                </a:cxn>
                <a:cxn ang="0">
                  <a:pos x="347" y="128"/>
                </a:cxn>
                <a:cxn ang="0">
                  <a:pos x="324" y="125"/>
                </a:cxn>
                <a:cxn ang="0">
                  <a:pos x="307" y="108"/>
                </a:cxn>
                <a:cxn ang="0">
                  <a:pos x="253" y="88"/>
                </a:cxn>
                <a:cxn ang="0">
                  <a:pos x="220" y="80"/>
                </a:cxn>
                <a:cxn ang="0">
                  <a:pos x="211" y="54"/>
                </a:cxn>
                <a:cxn ang="0">
                  <a:pos x="193" y="31"/>
                </a:cxn>
                <a:cxn ang="0">
                  <a:pos x="173" y="26"/>
                </a:cxn>
                <a:cxn ang="0">
                  <a:pos x="127" y="12"/>
                </a:cxn>
                <a:cxn ang="0">
                  <a:pos x="108" y="14"/>
                </a:cxn>
                <a:cxn ang="0">
                  <a:pos x="75" y="0"/>
                </a:cxn>
                <a:cxn ang="0">
                  <a:pos x="72" y="26"/>
                </a:cxn>
                <a:cxn ang="0">
                  <a:pos x="68" y="34"/>
                </a:cxn>
                <a:cxn ang="0">
                  <a:pos x="28" y="64"/>
                </a:cxn>
                <a:cxn ang="0">
                  <a:pos x="26" y="94"/>
                </a:cxn>
                <a:cxn ang="0">
                  <a:pos x="18" y="121"/>
                </a:cxn>
                <a:cxn ang="0">
                  <a:pos x="9" y="153"/>
                </a:cxn>
                <a:cxn ang="0">
                  <a:pos x="14" y="221"/>
                </a:cxn>
                <a:cxn ang="0">
                  <a:pos x="16" y="245"/>
                </a:cxn>
                <a:cxn ang="0">
                  <a:pos x="14" y="282"/>
                </a:cxn>
                <a:cxn ang="0">
                  <a:pos x="11" y="303"/>
                </a:cxn>
                <a:cxn ang="0">
                  <a:pos x="2" y="322"/>
                </a:cxn>
                <a:cxn ang="0">
                  <a:pos x="19" y="351"/>
                </a:cxn>
                <a:cxn ang="0">
                  <a:pos x="23" y="376"/>
                </a:cxn>
                <a:cxn ang="0">
                  <a:pos x="33" y="390"/>
                </a:cxn>
                <a:cxn ang="0">
                  <a:pos x="52" y="390"/>
                </a:cxn>
                <a:cxn ang="0">
                  <a:pos x="77" y="404"/>
                </a:cxn>
                <a:cxn ang="0">
                  <a:pos x="89" y="433"/>
                </a:cxn>
                <a:cxn ang="0">
                  <a:pos x="132" y="445"/>
                </a:cxn>
                <a:cxn ang="0">
                  <a:pos x="159" y="461"/>
                </a:cxn>
                <a:cxn ang="0">
                  <a:pos x="178" y="468"/>
                </a:cxn>
                <a:cxn ang="0">
                  <a:pos x="227" y="435"/>
                </a:cxn>
                <a:cxn ang="0">
                  <a:pos x="317" y="485"/>
                </a:cxn>
              </a:cxnLst>
              <a:rect l="0" t="0" r="r" b="b"/>
              <a:pathLst>
                <a:path w="552" h="609">
                  <a:moveTo>
                    <a:pt x="509" y="609"/>
                  </a:moveTo>
                  <a:lnTo>
                    <a:pt x="509" y="586"/>
                  </a:lnTo>
                  <a:lnTo>
                    <a:pt x="545" y="586"/>
                  </a:lnTo>
                  <a:lnTo>
                    <a:pt x="545" y="175"/>
                  </a:lnTo>
                  <a:lnTo>
                    <a:pt x="545" y="175"/>
                  </a:lnTo>
                  <a:lnTo>
                    <a:pt x="545" y="168"/>
                  </a:lnTo>
                  <a:lnTo>
                    <a:pt x="543" y="163"/>
                  </a:lnTo>
                  <a:lnTo>
                    <a:pt x="538" y="153"/>
                  </a:lnTo>
                  <a:lnTo>
                    <a:pt x="536" y="148"/>
                  </a:lnTo>
                  <a:lnTo>
                    <a:pt x="536" y="141"/>
                  </a:lnTo>
                  <a:lnTo>
                    <a:pt x="536" y="134"/>
                  </a:lnTo>
                  <a:lnTo>
                    <a:pt x="540" y="127"/>
                  </a:lnTo>
                  <a:lnTo>
                    <a:pt x="540" y="127"/>
                  </a:lnTo>
                  <a:lnTo>
                    <a:pt x="543" y="120"/>
                  </a:lnTo>
                  <a:lnTo>
                    <a:pt x="545" y="113"/>
                  </a:lnTo>
                  <a:lnTo>
                    <a:pt x="543" y="99"/>
                  </a:lnTo>
                  <a:lnTo>
                    <a:pt x="543" y="94"/>
                  </a:lnTo>
                  <a:lnTo>
                    <a:pt x="543" y="87"/>
                  </a:lnTo>
                  <a:lnTo>
                    <a:pt x="547" y="81"/>
                  </a:lnTo>
                  <a:lnTo>
                    <a:pt x="552" y="74"/>
                  </a:lnTo>
                  <a:lnTo>
                    <a:pt x="552" y="74"/>
                  </a:lnTo>
                  <a:lnTo>
                    <a:pt x="550" y="73"/>
                  </a:lnTo>
                  <a:lnTo>
                    <a:pt x="550" y="73"/>
                  </a:lnTo>
                  <a:lnTo>
                    <a:pt x="549" y="66"/>
                  </a:lnTo>
                  <a:lnTo>
                    <a:pt x="547" y="59"/>
                  </a:lnTo>
                  <a:lnTo>
                    <a:pt x="545" y="55"/>
                  </a:lnTo>
                  <a:lnTo>
                    <a:pt x="542" y="54"/>
                  </a:lnTo>
                  <a:lnTo>
                    <a:pt x="536" y="52"/>
                  </a:lnTo>
                  <a:lnTo>
                    <a:pt x="528" y="52"/>
                  </a:lnTo>
                  <a:lnTo>
                    <a:pt x="528" y="52"/>
                  </a:lnTo>
                  <a:lnTo>
                    <a:pt x="516" y="52"/>
                  </a:lnTo>
                  <a:lnTo>
                    <a:pt x="510" y="50"/>
                  </a:lnTo>
                  <a:lnTo>
                    <a:pt x="507" y="48"/>
                  </a:lnTo>
                  <a:lnTo>
                    <a:pt x="495" y="47"/>
                  </a:lnTo>
                  <a:lnTo>
                    <a:pt x="495" y="47"/>
                  </a:lnTo>
                  <a:lnTo>
                    <a:pt x="489" y="45"/>
                  </a:lnTo>
                  <a:lnTo>
                    <a:pt x="486" y="43"/>
                  </a:lnTo>
                  <a:lnTo>
                    <a:pt x="482" y="36"/>
                  </a:lnTo>
                  <a:lnTo>
                    <a:pt x="481" y="31"/>
                  </a:lnTo>
                  <a:lnTo>
                    <a:pt x="475" y="27"/>
                  </a:lnTo>
                  <a:lnTo>
                    <a:pt x="469" y="21"/>
                  </a:lnTo>
                  <a:lnTo>
                    <a:pt x="458" y="15"/>
                  </a:lnTo>
                  <a:lnTo>
                    <a:pt x="458" y="15"/>
                  </a:lnTo>
                  <a:lnTo>
                    <a:pt x="444" y="10"/>
                  </a:lnTo>
                  <a:lnTo>
                    <a:pt x="434" y="8"/>
                  </a:lnTo>
                  <a:lnTo>
                    <a:pt x="427" y="12"/>
                  </a:lnTo>
                  <a:lnTo>
                    <a:pt x="420" y="15"/>
                  </a:lnTo>
                  <a:lnTo>
                    <a:pt x="420" y="15"/>
                  </a:lnTo>
                  <a:lnTo>
                    <a:pt x="416" y="17"/>
                  </a:lnTo>
                  <a:lnTo>
                    <a:pt x="413" y="17"/>
                  </a:lnTo>
                  <a:lnTo>
                    <a:pt x="406" y="19"/>
                  </a:lnTo>
                  <a:lnTo>
                    <a:pt x="399" y="21"/>
                  </a:lnTo>
                  <a:lnTo>
                    <a:pt x="394" y="24"/>
                  </a:lnTo>
                  <a:lnTo>
                    <a:pt x="385" y="31"/>
                  </a:lnTo>
                  <a:lnTo>
                    <a:pt x="375" y="43"/>
                  </a:lnTo>
                  <a:lnTo>
                    <a:pt x="375" y="43"/>
                  </a:lnTo>
                  <a:lnTo>
                    <a:pt x="369" y="50"/>
                  </a:lnTo>
                  <a:lnTo>
                    <a:pt x="368" y="59"/>
                  </a:lnTo>
                  <a:lnTo>
                    <a:pt x="369" y="68"/>
                  </a:lnTo>
                  <a:lnTo>
                    <a:pt x="369" y="76"/>
                  </a:lnTo>
                  <a:lnTo>
                    <a:pt x="371" y="85"/>
                  </a:lnTo>
                  <a:lnTo>
                    <a:pt x="373" y="94"/>
                  </a:lnTo>
                  <a:lnTo>
                    <a:pt x="371" y="102"/>
                  </a:lnTo>
                  <a:lnTo>
                    <a:pt x="366" y="111"/>
                  </a:lnTo>
                  <a:lnTo>
                    <a:pt x="366" y="111"/>
                  </a:lnTo>
                  <a:lnTo>
                    <a:pt x="361" y="120"/>
                  </a:lnTo>
                  <a:lnTo>
                    <a:pt x="354" y="125"/>
                  </a:lnTo>
                  <a:lnTo>
                    <a:pt x="347" y="128"/>
                  </a:lnTo>
                  <a:lnTo>
                    <a:pt x="341" y="130"/>
                  </a:lnTo>
                  <a:lnTo>
                    <a:pt x="334" y="130"/>
                  </a:lnTo>
                  <a:lnTo>
                    <a:pt x="329" y="128"/>
                  </a:lnTo>
                  <a:lnTo>
                    <a:pt x="324" y="125"/>
                  </a:lnTo>
                  <a:lnTo>
                    <a:pt x="319" y="120"/>
                  </a:lnTo>
                  <a:lnTo>
                    <a:pt x="319" y="120"/>
                  </a:lnTo>
                  <a:lnTo>
                    <a:pt x="314" y="113"/>
                  </a:lnTo>
                  <a:lnTo>
                    <a:pt x="307" y="108"/>
                  </a:lnTo>
                  <a:lnTo>
                    <a:pt x="291" y="99"/>
                  </a:lnTo>
                  <a:lnTo>
                    <a:pt x="272" y="92"/>
                  </a:lnTo>
                  <a:lnTo>
                    <a:pt x="253" y="88"/>
                  </a:lnTo>
                  <a:lnTo>
                    <a:pt x="253" y="88"/>
                  </a:lnTo>
                  <a:lnTo>
                    <a:pt x="237" y="87"/>
                  </a:lnTo>
                  <a:lnTo>
                    <a:pt x="230" y="85"/>
                  </a:lnTo>
                  <a:lnTo>
                    <a:pt x="225" y="83"/>
                  </a:lnTo>
                  <a:lnTo>
                    <a:pt x="220" y="80"/>
                  </a:lnTo>
                  <a:lnTo>
                    <a:pt x="216" y="73"/>
                  </a:lnTo>
                  <a:lnTo>
                    <a:pt x="213" y="66"/>
                  </a:lnTo>
                  <a:lnTo>
                    <a:pt x="211" y="54"/>
                  </a:lnTo>
                  <a:lnTo>
                    <a:pt x="211" y="54"/>
                  </a:lnTo>
                  <a:lnTo>
                    <a:pt x="207" y="43"/>
                  </a:lnTo>
                  <a:lnTo>
                    <a:pt x="204" y="36"/>
                  </a:lnTo>
                  <a:lnTo>
                    <a:pt x="199" y="33"/>
                  </a:lnTo>
                  <a:lnTo>
                    <a:pt x="193" y="31"/>
                  </a:lnTo>
                  <a:lnTo>
                    <a:pt x="181" y="29"/>
                  </a:lnTo>
                  <a:lnTo>
                    <a:pt x="176" y="27"/>
                  </a:lnTo>
                  <a:lnTo>
                    <a:pt x="173" y="26"/>
                  </a:lnTo>
                  <a:lnTo>
                    <a:pt x="173" y="26"/>
                  </a:lnTo>
                  <a:lnTo>
                    <a:pt x="162" y="19"/>
                  </a:lnTo>
                  <a:lnTo>
                    <a:pt x="148" y="15"/>
                  </a:lnTo>
                  <a:lnTo>
                    <a:pt x="132" y="12"/>
                  </a:lnTo>
                  <a:lnTo>
                    <a:pt x="127" y="12"/>
                  </a:lnTo>
                  <a:lnTo>
                    <a:pt x="120" y="14"/>
                  </a:lnTo>
                  <a:lnTo>
                    <a:pt x="120" y="14"/>
                  </a:lnTo>
                  <a:lnTo>
                    <a:pt x="115" y="15"/>
                  </a:lnTo>
                  <a:lnTo>
                    <a:pt x="108" y="14"/>
                  </a:lnTo>
                  <a:lnTo>
                    <a:pt x="96" y="10"/>
                  </a:lnTo>
                  <a:lnTo>
                    <a:pt x="84" y="5"/>
                  </a:lnTo>
                  <a:lnTo>
                    <a:pt x="75" y="0"/>
                  </a:lnTo>
                  <a:lnTo>
                    <a:pt x="75" y="0"/>
                  </a:lnTo>
                  <a:lnTo>
                    <a:pt x="72" y="8"/>
                  </a:lnTo>
                  <a:lnTo>
                    <a:pt x="70" y="15"/>
                  </a:lnTo>
                  <a:lnTo>
                    <a:pt x="72" y="21"/>
                  </a:lnTo>
                  <a:lnTo>
                    <a:pt x="72" y="26"/>
                  </a:lnTo>
                  <a:lnTo>
                    <a:pt x="73" y="31"/>
                  </a:lnTo>
                  <a:lnTo>
                    <a:pt x="72" y="33"/>
                  </a:lnTo>
                  <a:lnTo>
                    <a:pt x="68" y="34"/>
                  </a:lnTo>
                  <a:lnTo>
                    <a:pt x="68" y="34"/>
                  </a:lnTo>
                  <a:lnTo>
                    <a:pt x="59" y="40"/>
                  </a:lnTo>
                  <a:lnTo>
                    <a:pt x="49" y="47"/>
                  </a:lnTo>
                  <a:lnTo>
                    <a:pt x="28" y="64"/>
                  </a:lnTo>
                  <a:lnTo>
                    <a:pt x="28" y="64"/>
                  </a:lnTo>
                  <a:lnTo>
                    <a:pt x="25" y="68"/>
                  </a:lnTo>
                  <a:lnTo>
                    <a:pt x="23" y="71"/>
                  </a:lnTo>
                  <a:lnTo>
                    <a:pt x="23" y="78"/>
                  </a:lnTo>
                  <a:lnTo>
                    <a:pt x="26" y="94"/>
                  </a:lnTo>
                  <a:lnTo>
                    <a:pt x="28" y="102"/>
                  </a:lnTo>
                  <a:lnTo>
                    <a:pt x="25" y="113"/>
                  </a:lnTo>
                  <a:lnTo>
                    <a:pt x="23" y="116"/>
                  </a:lnTo>
                  <a:lnTo>
                    <a:pt x="18" y="121"/>
                  </a:lnTo>
                  <a:lnTo>
                    <a:pt x="12" y="127"/>
                  </a:lnTo>
                  <a:lnTo>
                    <a:pt x="4" y="132"/>
                  </a:lnTo>
                  <a:lnTo>
                    <a:pt x="4" y="132"/>
                  </a:lnTo>
                  <a:lnTo>
                    <a:pt x="9" y="153"/>
                  </a:lnTo>
                  <a:lnTo>
                    <a:pt x="12" y="170"/>
                  </a:lnTo>
                  <a:lnTo>
                    <a:pt x="14" y="195"/>
                  </a:lnTo>
                  <a:lnTo>
                    <a:pt x="12" y="214"/>
                  </a:lnTo>
                  <a:lnTo>
                    <a:pt x="14" y="221"/>
                  </a:lnTo>
                  <a:lnTo>
                    <a:pt x="16" y="229"/>
                  </a:lnTo>
                  <a:lnTo>
                    <a:pt x="16" y="229"/>
                  </a:lnTo>
                  <a:lnTo>
                    <a:pt x="16" y="238"/>
                  </a:lnTo>
                  <a:lnTo>
                    <a:pt x="16" y="245"/>
                  </a:lnTo>
                  <a:lnTo>
                    <a:pt x="14" y="256"/>
                  </a:lnTo>
                  <a:lnTo>
                    <a:pt x="12" y="266"/>
                  </a:lnTo>
                  <a:lnTo>
                    <a:pt x="12" y="273"/>
                  </a:lnTo>
                  <a:lnTo>
                    <a:pt x="14" y="282"/>
                  </a:lnTo>
                  <a:lnTo>
                    <a:pt x="14" y="282"/>
                  </a:lnTo>
                  <a:lnTo>
                    <a:pt x="18" y="290"/>
                  </a:lnTo>
                  <a:lnTo>
                    <a:pt x="16" y="297"/>
                  </a:lnTo>
                  <a:lnTo>
                    <a:pt x="11" y="303"/>
                  </a:lnTo>
                  <a:lnTo>
                    <a:pt x="7" y="306"/>
                  </a:lnTo>
                  <a:lnTo>
                    <a:pt x="2" y="310"/>
                  </a:lnTo>
                  <a:lnTo>
                    <a:pt x="0" y="315"/>
                  </a:lnTo>
                  <a:lnTo>
                    <a:pt x="2" y="322"/>
                  </a:lnTo>
                  <a:lnTo>
                    <a:pt x="7" y="330"/>
                  </a:lnTo>
                  <a:lnTo>
                    <a:pt x="7" y="330"/>
                  </a:lnTo>
                  <a:lnTo>
                    <a:pt x="14" y="343"/>
                  </a:lnTo>
                  <a:lnTo>
                    <a:pt x="19" y="351"/>
                  </a:lnTo>
                  <a:lnTo>
                    <a:pt x="21" y="358"/>
                  </a:lnTo>
                  <a:lnTo>
                    <a:pt x="21" y="364"/>
                  </a:lnTo>
                  <a:lnTo>
                    <a:pt x="21" y="370"/>
                  </a:lnTo>
                  <a:lnTo>
                    <a:pt x="23" y="376"/>
                  </a:lnTo>
                  <a:lnTo>
                    <a:pt x="25" y="383"/>
                  </a:lnTo>
                  <a:lnTo>
                    <a:pt x="25" y="383"/>
                  </a:lnTo>
                  <a:lnTo>
                    <a:pt x="30" y="388"/>
                  </a:lnTo>
                  <a:lnTo>
                    <a:pt x="33" y="390"/>
                  </a:lnTo>
                  <a:lnTo>
                    <a:pt x="37" y="391"/>
                  </a:lnTo>
                  <a:lnTo>
                    <a:pt x="38" y="390"/>
                  </a:lnTo>
                  <a:lnTo>
                    <a:pt x="47" y="388"/>
                  </a:lnTo>
                  <a:lnTo>
                    <a:pt x="52" y="390"/>
                  </a:lnTo>
                  <a:lnTo>
                    <a:pt x="61" y="393"/>
                  </a:lnTo>
                  <a:lnTo>
                    <a:pt x="61" y="393"/>
                  </a:lnTo>
                  <a:lnTo>
                    <a:pt x="73" y="400"/>
                  </a:lnTo>
                  <a:lnTo>
                    <a:pt x="77" y="404"/>
                  </a:lnTo>
                  <a:lnTo>
                    <a:pt x="79" y="407"/>
                  </a:lnTo>
                  <a:lnTo>
                    <a:pt x="82" y="417"/>
                  </a:lnTo>
                  <a:lnTo>
                    <a:pt x="89" y="433"/>
                  </a:lnTo>
                  <a:lnTo>
                    <a:pt x="89" y="433"/>
                  </a:lnTo>
                  <a:lnTo>
                    <a:pt x="96" y="437"/>
                  </a:lnTo>
                  <a:lnTo>
                    <a:pt x="105" y="438"/>
                  </a:lnTo>
                  <a:lnTo>
                    <a:pt x="124" y="444"/>
                  </a:lnTo>
                  <a:lnTo>
                    <a:pt x="132" y="445"/>
                  </a:lnTo>
                  <a:lnTo>
                    <a:pt x="143" y="449"/>
                  </a:lnTo>
                  <a:lnTo>
                    <a:pt x="152" y="454"/>
                  </a:lnTo>
                  <a:lnTo>
                    <a:pt x="159" y="461"/>
                  </a:lnTo>
                  <a:lnTo>
                    <a:pt x="159" y="461"/>
                  </a:lnTo>
                  <a:lnTo>
                    <a:pt x="166" y="470"/>
                  </a:lnTo>
                  <a:lnTo>
                    <a:pt x="167" y="471"/>
                  </a:lnTo>
                  <a:lnTo>
                    <a:pt x="171" y="471"/>
                  </a:lnTo>
                  <a:lnTo>
                    <a:pt x="178" y="468"/>
                  </a:lnTo>
                  <a:lnTo>
                    <a:pt x="193" y="458"/>
                  </a:lnTo>
                  <a:lnTo>
                    <a:pt x="193" y="458"/>
                  </a:lnTo>
                  <a:lnTo>
                    <a:pt x="216" y="440"/>
                  </a:lnTo>
                  <a:lnTo>
                    <a:pt x="227" y="435"/>
                  </a:lnTo>
                  <a:lnTo>
                    <a:pt x="232" y="435"/>
                  </a:lnTo>
                  <a:lnTo>
                    <a:pt x="233" y="435"/>
                  </a:lnTo>
                  <a:lnTo>
                    <a:pt x="233" y="435"/>
                  </a:lnTo>
                  <a:lnTo>
                    <a:pt x="317" y="485"/>
                  </a:lnTo>
                  <a:lnTo>
                    <a:pt x="408" y="543"/>
                  </a:lnTo>
                  <a:lnTo>
                    <a:pt x="509" y="609"/>
                  </a:lnTo>
                  <a:lnTo>
                    <a:pt x="509" y="60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4" name="Freeform 1749">
              <a:extLst>
                <a:ext uri="{FF2B5EF4-FFF2-40B4-BE49-F238E27FC236}">
                  <a16:creationId xmlns:a16="http://schemas.microsoft.com/office/drawing/2014/main" id="{F0745CDC-B309-46A4-96F4-A8E8BA3B082F}"/>
                </a:ext>
              </a:extLst>
            </p:cNvPr>
            <p:cNvSpPr>
              <a:spLocks/>
            </p:cNvSpPr>
            <p:nvPr/>
          </p:nvSpPr>
          <p:spPr bwMode="auto">
            <a:xfrm>
              <a:off x="5336432" y="3724166"/>
              <a:ext cx="472215" cy="673086"/>
            </a:xfrm>
            <a:custGeom>
              <a:avLst/>
              <a:gdLst/>
              <a:ahLst/>
              <a:cxnLst>
                <a:cxn ang="0">
                  <a:pos x="233" y="804"/>
                </a:cxn>
                <a:cxn ang="0">
                  <a:pos x="256" y="801"/>
                </a:cxn>
                <a:cxn ang="0">
                  <a:pos x="275" y="790"/>
                </a:cxn>
                <a:cxn ang="0">
                  <a:pos x="303" y="824"/>
                </a:cxn>
                <a:cxn ang="0">
                  <a:pos x="329" y="827"/>
                </a:cxn>
                <a:cxn ang="0">
                  <a:pos x="351" y="827"/>
                </a:cxn>
                <a:cxn ang="0">
                  <a:pos x="383" y="825"/>
                </a:cxn>
                <a:cxn ang="0">
                  <a:pos x="404" y="831"/>
                </a:cxn>
                <a:cxn ang="0">
                  <a:pos x="442" y="789"/>
                </a:cxn>
                <a:cxn ang="0">
                  <a:pos x="477" y="784"/>
                </a:cxn>
                <a:cxn ang="0">
                  <a:pos x="492" y="794"/>
                </a:cxn>
                <a:cxn ang="0">
                  <a:pos x="487" y="761"/>
                </a:cxn>
                <a:cxn ang="0">
                  <a:pos x="456" y="723"/>
                </a:cxn>
                <a:cxn ang="0">
                  <a:pos x="433" y="686"/>
                </a:cxn>
                <a:cxn ang="0">
                  <a:pos x="395" y="656"/>
                </a:cxn>
                <a:cxn ang="0">
                  <a:pos x="398" y="634"/>
                </a:cxn>
                <a:cxn ang="0">
                  <a:pos x="426" y="632"/>
                </a:cxn>
                <a:cxn ang="0">
                  <a:pos x="435" y="569"/>
                </a:cxn>
                <a:cxn ang="0">
                  <a:pos x="440" y="533"/>
                </a:cxn>
                <a:cxn ang="0">
                  <a:pos x="456" y="533"/>
                </a:cxn>
                <a:cxn ang="0">
                  <a:pos x="472" y="481"/>
                </a:cxn>
                <a:cxn ang="0">
                  <a:pos x="494" y="447"/>
                </a:cxn>
                <a:cxn ang="0">
                  <a:pos x="517" y="380"/>
                </a:cxn>
                <a:cxn ang="0">
                  <a:pos x="515" y="341"/>
                </a:cxn>
                <a:cxn ang="0">
                  <a:pos x="531" y="265"/>
                </a:cxn>
                <a:cxn ang="0">
                  <a:pos x="552" y="251"/>
                </a:cxn>
                <a:cxn ang="0">
                  <a:pos x="581" y="230"/>
                </a:cxn>
                <a:cxn ang="0">
                  <a:pos x="573" y="209"/>
                </a:cxn>
                <a:cxn ang="0">
                  <a:pos x="553" y="190"/>
                </a:cxn>
                <a:cxn ang="0">
                  <a:pos x="538" y="120"/>
                </a:cxn>
                <a:cxn ang="0">
                  <a:pos x="539" y="89"/>
                </a:cxn>
                <a:cxn ang="0">
                  <a:pos x="529" y="49"/>
                </a:cxn>
                <a:cxn ang="0">
                  <a:pos x="513" y="31"/>
                </a:cxn>
                <a:cxn ang="0">
                  <a:pos x="492" y="14"/>
                </a:cxn>
                <a:cxn ang="0">
                  <a:pos x="466" y="10"/>
                </a:cxn>
                <a:cxn ang="0">
                  <a:pos x="445" y="35"/>
                </a:cxn>
                <a:cxn ang="0">
                  <a:pos x="418" y="59"/>
                </a:cxn>
                <a:cxn ang="0">
                  <a:pos x="331" y="47"/>
                </a:cxn>
                <a:cxn ang="0">
                  <a:pos x="78" y="319"/>
                </a:cxn>
                <a:cxn ang="0">
                  <a:pos x="41" y="324"/>
                </a:cxn>
                <a:cxn ang="0">
                  <a:pos x="31" y="353"/>
                </a:cxn>
                <a:cxn ang="0">
                  <a:pos x="22" y="367"/>
                </a:cxn>
                <a:cxn ang="0">
                  <a:pos x="21" y="392"/>
                </a:cxn>
                <a:cxn ang="0">
                  <a:pos x="15" y="418"/>
                </a:cxn>
                <a:cxn ang="0">
                  <a:pos x="1" y="449"/>
                </a:cxn>
                <a:cxn ang="0">
                  <a:pos x="22" y="453"/>
                </a:cxn>
                <a:cxn ang="0">
                  <a:pos x="26" y="489"/>
                </a:cxn>
                <a:cxn ang="0">
                  <a:pos x="38" y="524"/>
                </a:cxn>
                <a:cxn ang="0">
                  <a:pos x="64" y="594"/>
                </a:cxn>
                <a:cxn ang="0">
                  <a:pos x="85" y="623"/>
                </a:cxn>
                <a:cxn ang="0">
                  <a:pos x="104" y="642"/>
                </a:cxn>
                <a:cxn ang="0">
                  <a:pos x="118" y="669"/>
                </a:cxn>
                <a:cxn ang="0">
                  <a:pos x="160" y="705"/>
                </a:cxn>
                <a:cxn ang="0">
                  <a:pos x="181" y="738"/>
                </a:cxn>
              </a:cxnLst>
              <a:rect l="0" t="0" r="r" b="b"/>
              <a:pathLst>
                <a:path w="588" h="841">
                  <a:moveTo>
                    <a:pt x="200" y="778"/>
                  </a:moveTo>
                  <a:lnTo>
                    <a:pt x="200" y="778"/>
                  </a:lnTo>
                  <a:lnTo>
                    <a:pt x="210" y="790"/>
                  </a:lnTo>
                  <a:lnTo>
                    <a:pt x="221" y="801"/>
                  </a:lnTo>
                  <a:lnTo>
                    <a:pt x="224" y="804"/>
                  </a:lnTo>
                  <a:lnTo>
                    <a:pt x="230" y="804"/>
                  </a:lnTo>
                  <a:lnTo>
                    <a:pt x="233" y="804"/>
                  </a:lnTo>
                  <a:lnTo>
                    <a:pt x="238" y="801"/>
                  </a:lnTo>
                  <a:lnTo>
                    <a:pt x="238" y="801"/>
                  </a:lnTo>
                  <a:lnTo>
                    <a:pt x="243" y="797"/>
                  </a:lnTo>
                  <a:lnTo>
                    <a:pt x="247" y="796"/>
                  </a:lnTo>
                  <a:lnTo>
                    <a:pt x="250" y="797"/>
                  </a:lnTo>
                  <a:lnTo>
                    <a:pt x="252" y="799"/>
                  </a:lnTo>
                  <a:lnTo>
                    <a:pt x="256" y="801"/>
                  </a:lnTo>
                  <a:lnTo>
                    <a:pt x="259" y="803"/>
                  </a:lnTo>
                  <a:lnTo>
                    <a:pt x="261" y="801"/>
                  </a:lnTo>
                  <a:lnTo>
                    <a:pt x="264" y="797"/>
                  </a:lnTo>
                  <a:lnTo>
                    <a:pt x="264" y="797"/>
                  </a:lnTo>
                  <a:lnTo>
                    <a:pt x="268" y="792"/>
                  </a:lnTo>
                  <a:lnTo>
                    <a:pt x="271" y="790"/>
                  </a:lnTo>
                  <a:lnTo>
                    <a:pt x="275" y="790"/>
                  </a:lnTo>
                  <a:lnTo>
                    <a:pt x="277" y="790"/>
                  </a:lnTo>
                  <a:lnTo>
                    <a:pt x="284" y="799"/>
                  </a:lnTo>
                  <a:lnTo>
                    <a:pt x="290" y="811"/>
                  </a:lnTo>
                  <a:lnTo>
                    <a:pt x="290" y="811"/>
                  </a:lnTo>
                  <a:lnTo>
                    <a:pt x="294" y="817"/>
                  </a:lnTo>
                  <a:lnTo>
                    <a:pt x="297" y="820"/>
                  </a:lnTo>
                  <a:lnTo>
                    <a:pt x="303" y="824"/>
                  </a:lnTo>
                  <a:lnTo>
                    <a:pt x="310" y="829"/>
                  </a:lnTo>
                  <a:lnTo>
                    <a:pt x="313" y="834"/>
                  </a:lnTo>
                  <a:lnTo>
                    <a:pt x="317" y="841"/>
                  </a:lnTo>
                  <a:lnTo>
                    <a:pt x="317" y="841"/>
                  </a:lnTo>
                  <a:lnTo>
                    <a:pt x="322" y="831"/>
                  </a:lnTo>
                  <a:lnTo>
                    <a:pt x="325" y="827"/>
                  </a:lnTo>
                  <a:lnTo>
                    <a:pt x="329" y="827"/>
                  </a:lnTo>
                  <a:lnTo>
                    <a:pt x="332" y="829"/>
                  </a:lnTo>
                  <a:lnTo>
                    <a:pt x="339" y="834"/>
                  </a:lnTo>
                  <a:lnTo>
                    <a:pt x="343" y="834"/>
                  </a:lnTo>
                  <a:lnTo>
                    <a:pt x="346" y="831"/>
                  </a:lnTo>
                  <a:lnTo>
                    <a:pt x="346" y="831"/>
                  </a:lnTo>
                  <a:lnTo>
                    <a:pt x="348" y="827"/>
                  </a:lnTo>
                  <a:lnTo>
                    <a:pt x="351" y="827"/>
                  </a:lnTo>
                  <a:lnTo>
                    <a:pt x="358" y="838"/>
                  </a:lnTo>
                  <a:lnTo>
                    <a:pt x="358" y="838"/>
                  </a:lnTo>
                  <a:lnTo>
                    <a:pt x="362" y="839"/>
                  </a:lnTo>
                  <a:lnTo>
                    <a:pt x="365" y="839"/>
                  </a:lnTo>
                  <a:lnTo>
                    <a:pt x="372" y="832"/>
                  </a:lnTo>
                  <a:lnTo>
                    <a:pt x="378" y="829"/>
                  </a:lnTo>
                  <a:lnTo>
                    <a:pt x="383" y="825"/>
                  </a:lnTo>
                  <a:lnTo>
                    <a:pt x="388" y="824"/>
                  </a:lnTo>
                  <a:lnTo>
                    <a:pt x="395" y="825"/>
                  </a:lnTo>
                  <a:lnTo>
                    <a:pt x="395" y="825"/>
                  </a:lnTo>
                  <a:lnTo>
                    <a:pt x="398" y="827"/>
                  </a:lnTo>
                  <a:lnTo>
                    <a:pt x="398" y="829"/>
                  </a:lnTo>
                  <a:lnTo>
                    <a:pt x="398" y="831"/>
                  </a:lnTo>
                  <a:lnTo>
                    <a:pt x="404" y="831"/>
                  </a:lnTo>
                  <a:lnTo>
                    <a:pt x="404" y="831"/>
                  </a:lnTo>
                  <a:lnTo>
                    <a:pt x="411" y="829"/>
                  </a:lnTo>
                  <a:lnTo>
                    <a:pt x="416" y="825"/>
                  </a:lnTo>
                  <a:lnTo>
                    <a:pt x="426" y="810"/>
                  </a:lnTo>
                  <a:lnTo>
                    <a:pt x="426" y="810"/>
                  </a:lnTo>
                  <a:lnTo>
                    <a:pt x="437" y="796"/>
                  </a:lnTo>
                  <a:lnTo>
                    <a:pt x="442" y="789"/>
                  </a:lnTo>
                  <a:lnTo>
                    <a:pt x="449" y="785"/>
                  </a:lnTo>
                  <a:lnTo>
                    <a:pt x="449" y="785"/>
                  </a:lnTo>
                  <a:lnTo>
                    <a:pt x="461" y="780"/>
                  </a:lnTo>
                  <a:lnTo>
                    <a:pt x="470" y="778"/>
                  </a:lnTo>
                  <a:lnTo>
                    <a:pt x="477" y="780"/>
                  </a:lnTo>
                  <a:lnTo>
                    <a:pt x="479" y="782"/>
                  </a:lnTo>
                  <a:lnTo>
                    <a:pt x="477" y="784"/>
                  </a:lnTo>
                  <a:lnTo>
                    <a:pt x="477" y="784"/>
                  </a:lnTo>
                  <a:lnTo>
                    <a:pt x="477" y="787"/>
                  </a:lnTo>
                  <a:lnTo>
                    <a:pt x="477" y="789"/>
                  </a:lnTo>
                  <a:lnTo>
                    <a:pt x="479" y="790"/>
                  </a:lnTo>
                  <a:lnTo>
                    <a:pt x="480" y="792"/>
                  </a:lnTo>
                  <a:lnTo>
                    <a:pt x="486" y="794"/>
                  </a:lnTo>
                  <a:lnTo>
                    <a:pt x="492" y="794"/>
                  </a:lnTo>
                  <a:lnTo>
                    <a:pt x="492" y="794"/>
                  </a:lnTo>
                  <a:lnTo>
                    <a:pt x="491" y="785"/>
                  </a:lnTo>
                  <a:lnTo>
                    <a:pt x="489" y="778"/>
                  </a:lnTo>
                  <a:lnTo>
                    <a:pt x="491" y="770"/>
                  </a:lnTo>
                  <a:lnTo>
                    <a:pt x="491" y="766"/>
                  </a:lnTo>
                  <a:lnTo>
                    <a:pt x="491" y="763"/>
                  </a:lnTo>
                  <a:lnTo>
                    <a:pt x="487" y="761"/>
                  </a:lnTo>
                  <a:lnTo>
                    <a:pt x="484" y="759"/>
                  </a:lnTo>
                  <a:lnTo>
                    <a:pt x="484" y="759"/>
                  </a:lnTo>
                  <a:lnTo>
                    <a:pt x="473" y="756"/>
                  </a:lnTo>
                  <a:lnTo>
                    <a:pt x="470" y="754"/>
                  </a:lnTo>
                  <a:lnTo>
                    <a:pt x="466" y="750"/>
                  </a:lnTo>
                  <a:lnTo>
                    <a:pt x="461" y="740"/>
                  </a:lnTo>
                  <a:lnTo>
                    <a:pt x="456" y="723"/>
                  </a:lnTo>
                  <a:lnTo>
                    <a:pt x="456" y="723"/>
                  </a:lnTo>
                  <a:lnTo>
                    <a:pt x="454" y="712"/>
                  </a:lnTo>
                  <a:lnTo>
                    <a:pt x="451" y="705"/>
                  </a:lnTo>
                  <a:lnTo>
                    <a:pt x="447" y="700"/>
                  </a:lnTo>
                  <a:lnTo>
                    <a:pt x="445" y="698"/>
                  </a:lnTo>
                  <a:lnTo>
                    <a:pt x="437" y="691"/>
                  </a:lnTo>
                  <a:lnTo>
                    <a:pt x="433" y="686"/>
                  </a:lnTo>
                  <a:lnTo>
                    <a:pt x="428" y="679"/>
                  </a:lnTo>
                  <a:lnTo>
                    <a:pt x="428" y="679"/>
                  </a:lnTo>
                  <a:lnTo>
                    <a:pt x="423" y="670"/>
                  </a:lnTo>
                  <a:lnTo>
                    <a:pt x="416" y="665"/>
                  </a:lnTo>
                  <a:lnTo>
                    <a:pt x="409" y="662"/>
                  </a:lnTo>
                  <a:lnTo>
                    <a:pt x="400" y="658"/>
                  </a:lnTo>
                  <a:lnTo>
                    <a:pt x="395" y="656"/>
                  </a:lnTo>
                  <a:lnTo>
                    <a:pt x="391" y="655"/>
                  </a:lnTo>
                  <a:lnTo>
                    <a:pt x="391" y="653"/>
                  </a:lnTo>
                  <a:lnTo>
                    <a:pt x="395" y="648"/>
                  </a:lnTo>
                  <a:lnTo>
                    <a:pt x="395" y="648"/>
                  </a:lnTo>
                  <a:lnTo>
                    <a:pt x="398" y="644"/>
                  </a:lnTo>
                  <a:lnTo>
                    <a:pt x="398" y="641"/>
                  </a:lnTo>
                  <a:lnTo>
                    <a:pt x="398" y="634"/>
                  </a:lnTo>
                  <a:lnTo>
                    <a:pt x="400" y="630"/>
                  </a:lnTo>
                  <a:lnTo>
                    <a:pt x="404" y="629"/>
                  </a:lnTo>
                  <a:lnTo>
                    <a:pt x="409" y="629"/>
                  </a:lnTo>
                  <a:lnTo>
                    <a:pt x="419" y="632"/>
                  </a:lnTo>
                  <a:lnTo>
                    <a:pt x="419" y="632"/>
                  </a:lnTo>
                  <a:lnTo>
                    <a:pt x="423" y="632"/>
                  </a:lnTo>
                  <a:lnTo>
                    <a:pt x="426" y="632"/>
                  </a:lnTo>
                  <a:lnTo>
                    <a:pt x="428" y="630"/>
                  </a:lnTo>
                  <a:lnTo>
                    <a:pt x="430" y="629"/>
                  </a:lnTo>
                  <a:lnTo>
                    <a:pt x="432" y="622"/>
                  </a:lnTo>
                  <a:lnTo>
                    <a:pt x="432" y="611"/>
                  </a:lnTo>
                  <a:lnTo>
                    <a:pt x="432" y="590"/>
                  </a:lnTo>
                  <a:lnTo>
                    <a:pt x="433" y="578"/>
                  </a:lnTo>
                  <a:lnTo>
                    <a:pt x="435" y="569"/>
                  </a:lnTo>
                  <a:lnTo>
                    <a:pt x="435" y="569"/>
                  </a:lnTo>
                  <a:lnTo>
                    <a:pt x="438" y="562"/>
                  </a:lnTo>
                  <a:lnTo>
                    <a:pt x="440" y="555"/>
                  </a:lnTo>
                  <a:lnTo>
                    <a:pt x="438" y="548"/>
                  </a:lnTo>
                  <a:lnTo>
                    <a:pt x="437" y="542"/>
                  </a:lnTo>
                  <a:lnTo>
                    <a:pt x="438" y="538"/>
                  </a:lnTo>
                  <a:lnTo>
                    <a:pt x="440" y="533"/>
                  </a:lnTo>
                  <a:lnTo>
                    <a:pt x="440" y="533"/>
                  </a:lnTo>
                  <a:lnTo>
                    <a:pt x="444" y="528"/>
                  </a:lnTo>
                  <a:lnTo>
                    <a:pt x="447" y="526"/>
                  </a:lnTo>
                  <a:lnTo>
                    <a:pt x="449" y="526"/>
                  </a:lnTo>
                  <a:lnTo>
                    <a:pt x="451" y="529"/>
                  </a:lnTo>
                  <a:lnTo>
                    <a:pt x="454" y="533"/>
                  </a:lnTo>
                  <a:lnTo>
                    <a:pt x="456" y="533"/>
                  </a:lnTo>
                  <a:lnTo>
                    <a:pt x="458" y="531"/>
                  </a:lnTo>
                  <a:lnTo>
                    <a:pt x="458" y="531"/>
                  </a:lnTo>
                  <a:lnTo>
                    <a:pt x="461" y="522"/>
                  </a:lnTo>
                  <a:lnTo>
                    <a:pt x="461" y="507"/>
                  </a:lnTo>
                  <a:lnTo>
                    <a:pt x="465" y="493"/>
                  </a:lnTo>
                  <a:lnTo>
                    <a:pt x="466" y="486"/>
                  </a:lnTo>
                  <a:lnTo>
                    <a:pt x="472" y="481"/>
                  </a:lnTo>
                  <a:lnTo>
                    <a:pt x="472" y="481"/>
                  </a:lnTo>
                  <a:lnTo>
                    <a:pt x="475" y="475"/>
                  </a:lnTo>
                  <a:lnTo>
                    <a:pt x="477" y="470"/>
                  </a:lnTo>
                  <a:lnTo>
                    <a:pt x="480" y="460"/>
                  </a:lnTo>
                  <a:lnTo>
                    <a:pt x="484" y="454"/>
                  </a:lnTo>
                  <a:lnTo>
                    <a:pt x="487" y="451"/>
                  </a:lnTo>
                  <a:lnTo>
                    <a:pt x="494" y="447"/>
                  </a:lnTo>
                  <a:lnTo>
                    <a:pt x="503" y="447"/>
                  </a:lnTo>
                  <a:lnTo>
                    <a:pt x="503" y="447"/>
                  </a:lnTo>
                  <a:lnTo>
                    <a:pt x="503" y="439"/>
                  </a:lnTo>
                  <a:lnTo>
                    <a:pt x="503" y="432"/>
                  </a:lnTo>
                  <a:lnTo>
                    <a:pt x="506" y="420"/>
                  </a:lnTo>
                  <a:lnTo>
                    <a:pt x="512" y="404"/>
                  </a:lnTo>
                  <a:lnTo>
                    <a:pt x="517" y="380"/>
                  </a:lnTo>
                  <a:lnTo>
                    <a:pt x="517" y="380"/>
                  </a:lnTo>
                  <a:lnTo>
                    <a:pt x="517" y="369"/>
                  </a:lnTo>
                  <a:lnTo>
                    <a:pt x="513" y="359"/>
                  </a:lnTo>
                  <a:lnTo>
                    <a:pt x="513" y="350"/>
                  </a:lnTo>
                  <a:lnTo>
                    <a:pt x="513" y="345"/>
                  </a:lnTo>
                  <a:lnTo>
                    <a:pt x="515" y="341"/>
                  </a:lnTo>
                  <a:lnTo>
                    <a:pt x="515" y="341"/>
                  </a:lnTo>
                  <a:lnTo>
                    <a:pt x="520" y="329"/>
                  </a:lnTo>
                  <a:lnTo>
                    <a:pt x="526" y="315"/>
                  </a:lnTo>
                  <a:lnTo>
                    <a:pt x="529" y="296"/>
                  </a:lnTo>
                  <a:lnTo>
                    <a:pt x="531" y="286"/>
                  </a:lnTo>
                  <a:lnTo>
                    <a:pt x="531" y="272"/>
                  </a:lnTo>
                  <a:lnTo>
                    <a:pt x="531" y="272"/>
                  </a:lnTo>
                  <a:lnTo>
                    <a:pt x="531" y="265"/>
                  </a:lnTo>
                  <a:lnTo>
                    <a:pt x="531" y="261"/>
                  </a:lnTo>
                  <a:lnTo>
                    <a:pt x="533" y="259"/>
                  </a:lnTo>
                  <a:lnTo>
                    <a:pt x="536" y="261"/>
                  </a:lnTo>
                  <a:lnTo>
                    <a:pt x="539" y="263"/>
                  </a:lnTo>
                  <a:lnTo>
                    <a:pt x="543" y="263"/>
                  </a:lnTo>
                  <a:lnTo>
                    <a:pt x="546" y="259"/>
                  </a:lnTo>
                  <a:lnTo>
                    <a:pt x="552" y="251"/>
                  </a:lnTo>
                  <a:lnTo>
                    <a:pt x="552" y="251"/>
                  </a:lnTo>
                  <a:lnTo>
                    <a:pt x="553" y="247"/>
                  </a:lnTo>
                  <a:lnTo>
                    <a:pt x="557" y="244"/>
                  </a:lnTo>
                  <a:lnTo>
                    <a:pt x="566" y="244"/>
                  </a:lnTo>
                  <a:lnTo>
                    <a:pt x="571" y="242"/>
                  </a:lnTo>
                  <a:lnTo>
                    <a:pt x="576" y="239"/>
                  </a:lnTo>
                  <a:lnTo>
                    <a:pt x="581" y="230"/>
                  </a:lnTo>
                  <a:lnTo>
                    <a:pt x="588" y="219"/>
                  </a:lnTo>
                  <a:lnTo>
                    <a:pt x="588" y="219"/>
                  </a:lnTo>
                  <a:lnTo>
                    <a:pt x="581" y="209"/>
                  </a:lnTo>
                  <a:lnTo>
                    <a:pt x="578" y="207"/>
                  </a:lnTo>
                  <a:lnTo>
                    <a:pt x="574" y="209"/>
                  </a:lnTo>
                  <a:lnTo>
                    <a:pt x="574" y="209"/>
                  </a:lnTo>
                  <a:lnTo>
                    <a:pt x="573" y="209"/>
                  </a:lnTo>
                  <a:lnTo>
                    <a:pt x="571" y="207"/>
                  </a:lnTo>
                  <a:lnTo>
                    <a:pt x="567" y="200"/>
                  </a:lnTo>
                  <a:lnTo>
                    <a:pt x="562" y="193"/>
                  </a:lnTo>
                  <a:lnTo>
                    <a:pt x="559" y="192"/>
                  </a:lnTo>
                  <a:lnTo>
                    <a:pt x="555" y="190"/>
                  </a:lnTo>
                  <a:lnTo>
                    <a:pt x="555" y="190"/>
                  </a:lnTo>
                  <a:lnTo>
                    <a:pt x="553" y="190"/>
                  </a:lnTo>
                  <a:lnTo>
                    <a:pt x="552" y="188"/>
                  </a:lnTo>
                  <a:lnTo>
                    <a:pt x="548" y="181"/>
                  </a:lnTo>
                  <a:lnTo>
                    <a:pt x="545" y="171"/>
                  </a:lnTo>
                  <a:lnTo>
                    <a:pt x="541" y="158"/>
                  </a:lnTo>
                  <a:lnTo>
                    <a:pt x="538" y="134"/>
                  </a:lnTo>
                  <a:lnTo>
                    <a:pt x="538" y="125"/>
                  </a:lnTo>
                  <a:lnTo>
                    <a:pt x="538" y="120"/>
                  </a:lnTo>
                  <a:lnTo>
                    <a:pt x="538" y="120"/>
                  </a:lnTo>
                  <a:lnTo>
                    <a:pt x="539" y="113"/>
                  </a:lnTo>
                  <a:lnTo>
                    <a:pt x="539" y="108"/>
                  </a:lnTo>
                  <a:lnTo>
                    <a:pt x="538" y="98"/>
                  </a:lnTo>
                  <a:lnTo>
                    <a:pt x="534" y="91"/>
                  </a:lnTo>
                  <a:lnTo>
                    <a:pt x="536" y="89"/>
                  </a:lnTo>
                  <a:lnTo>
                    <a:pt x="539" y="89"/>
                  </a:lnTo>
                  <a:lnTo>
                    <a:pt x="539" y="89"/>
                  </a:lnTo>
                  <a:lnTo>
                    <a:pt x="543" y="91"/>
                  </a:lnTo>
                  <a:lnTo>
                    <a:pt x="545" y="89"/>
                  </a:lnTo>
                  <a:lnTo>
                    <a:pt x="541" y="82"/>
                  </a:lnTo>
                  <a:lnTo>
                    <a:pt x="534" y="70"/>
                  </a:lnTo>
                  <a:lnTo>
                    <a:pt x="531" y="59"/>
                  </a:lnTo>
                  <a:lnTo>
                    <a:pt x="529" y="49"/>
                  </a:lnTo>
                  <a:lnTo>
                    <a:pt x="529" y="49"/>
                  </a:lnTo>
                  <a:lnTo>
                    <a:pt x="527" y="42"/>
                  </a:lnTo>
                  <a:lnTo>
                    <a:pt x="526" y="37"/>
                  </a:lnTo>
                  <a:lnTo>
                    <a:pt x="522" y="35"/>
                  </a:lnTo>
                  <a:lnTo>
                    <a:pt x="517" y="33"/>
                  </a:lnTo>
                  <a:lnTo>
                    <a:pt x="517" y="33"/>
                  </a:lnTo>
                  <a:lnTo>
                    <a:pt x="513" y="31"/>
                  </a:lnTo>
                  <a:lnTo>
                    <a:pt x="510" y="30"/>
                  </a:lnTo>
                  <a:lnTo>
                    <a:pt x="508" y="23"/>
                  </a:lnTo>
                  <a:lnTo>
                    <a:pt x="505" y="17"/>
                  </a:lnTo>
                  <a:lnTo>
                    <a:pt x="501" y="16"/>
                  </a:lnTo>
                  <a:lnTo>
                    <a:pt x="496" y="14"/>
                  </a:lnTo>
                  <a:lnTo>
                    <a:pt x="496" y="14"/>
                  </a:lnTo>
                  <a:lnTo>
                    <a:pt x="492" y="14"/>
                  </a:lnTo>
                  <a:lnTo>
                    <a:pt x="489" y="10"/>
                  </a:lnTo>
                  <a:lnTo>
                    <a:pt x="484" y="0"/>
                  </a:lnTo>
                  <a:lnTo>
                    <a:pt x="484" y="0"/>
                  </a:lnTo>
                  <a:lnTo>
                    <a:pt x="479" y="5"/>
                  </a:lnTo>
                  <a:lnTo>
                    <a:pt x="475" y="9"/>
                  </a:lnTo>
                  <a:lnTo>
                    <a:pt x="468" y="10"/>
                  </a:lnTo>
                  <a:lnTo>
                    <a:pt x="466" y="10"/>
                  </a:lnTo>
                  <a:lnTo>
                    <a:pt x="463" y="12"/>
                  </a:lnTo>
                  <a:lnTo>
                    <a:pt x="459" y="16"/>
                  </a:lnTo>
                  <a:lnTo>
                    <a:pt x="458" y="21"/>
                  </a:lnTo>
                  <a:lnTo>
                    <a:pt x="458" y="21"/>
                  </a:lnTo>
                  <a:lnTo>
                    <a:pt x="454" y="28"/>
                  </a:lnTo>
                  <a:lnTo>
                    <a:pt x="451" y="31"/>
                  </a:lnTo>
                  <a:lnTo>
                    <a:pt x="445" y="35"/>
                  </a:lnTo>
                  <a:lnTo>
                    <a:pt x="438" y="38"/>
                  </a:lnTo>
                  <a:lnTo>
                    <a:pt x="435" y="42"/>
                  </a:lnTo>
                  <a:lnTo>
                    <a:pt x="432" y="45"/>
                  </a:lnTo>
                  <a:lnTo>
                    <a:pt x="432" y="45"/>
                  </a:lnTo>
                  <a:lnTo>
                    <a:pt x="426" y="54"/>
                  </a:lnTo>
                  <a:lnTo>
                    <a:pt x="421" y="57"/>
                  </a:lnTo>
                  <a:lnTo>
                    <a:pt x="418" y="59"/>
                  </a:lnTo>
                  <a:lnTo>
                    <a:pt x="414" y="59"/>
                  </a:lnTo>
                  <a:lnTo>
                    <a:pt x="409" y="57"/>
                  </a:lnTo>
                  <a:lnTo>
                    <a:pt x="404" y="54"/>
                  </a:lnTo>
                  <a:lnTo>
                    <a:pt x="398" y="47"/>
                  </a:lnTo>
                  <a:lnTo>
                    <a:pt x="338" y="47"/>
                  </a:lnTo>
                  <a:lnTo>
                    <a:pt x="338" y="38"/>
                  </a:lnTo>
                  <a:lnTo>
                    <a:pt x="331" y="47"/>
                  </a:lnTo>
                  <a:lnTo>
                    <a:pt x="111" y="47"/>
                  </a:lnTo>
                  <a:lnTo>
                    <a:pt x="111" y="132"/>
                  </a:lnTo>
                  <a:lnTo>
                    <a:pt x="75" y="132"/>
                  </a:lnTo>
                  <a:lnTo>
                    <a:pt x="75" y="308"/>
                  </a:lnTo>
                  <a:lnTo>
                    <a:pt x="75" y="308"/>
                  </a:lnTo>
                  <a:lnTo>
                    <a:pt x="78" y="317"/>
                  </a:lnTo>
                  <a:lnTo>
                    <a:pt x="78" y="319"/>
                  </a:lnTo>
                  <a:lnTo>
                    <a:pt x="76" y="319"/>
                  </a:lnTo>
                  <a:lnTo>
                    <a:pt x="68" y="320"/>
                  </a:lnTo>
                  <a:lnTo>
                    <a:pt x="68" y="320"/>
                  </a:lnTo>
                  <a:lnTo>
                    <a:pt x="57" y="319"/>
                  </a:lnTo>
                  <a:lnTo>
                    <a:pt x="47" y="320"/>
                  </a:lnTo>
                  <a:lnTo>
                    <a:pt x="43" y="320"/>
                  </a:lnTo>
                  <a:lnTo>
                    <a:pt x="41" y="324"/>
                  </a:lnTo>
                  <a:lnTo>
                    <a:pt x="40" y="327"/>
                  </a:lnTo>
                  <a:lnTo>
                    <a:pt x="40" y="334"/>
                  </a:lnTo>
                  <a:lnTo>
                    <a:pt x="40" y="334"/>
                  </a:lnTo>
                  <a:lnTo>
                    <a:pt x="40" y="341"/>
                  </a:lnTo>
                  <a:lnTo>
                    <a:pt x="38" y="345"/>
                  </a:lnTo>
                  <a:lnTo>
                    <a:pt x="35" y="350"/>
                  </a:lnTo>
                  <a:lnTo>
                    <a:pt x="31" y="353"/>
                  </a:lnTo>
                  <a:lnTo>
                    <a:pt x="31" y="355"/>
                  </a:lnTo>
                  <a:lnTo>
                    <a:pt x="31" y="360"/>
                  </a:lnTo>
                  <a:lnTo>
                    <a:pt x="31" y="360"/>
                  </a:lnTo>
                  <a:lnTo>
                    <a:pt x="29" y="366"/>
                  </a:lnTo>
                  <a:lnTo>
                    <a:pt x="28" y="367"/>
                  </a:lnTo>
                  <a:lnTo>
                    <a:pt x="24" y="367"/>
                  </a:lnTo>
                  <a:lnTo>
                    <a:pt x="22" y="367"/>
                  </a:lnTo>
                  <a:lnTo>
                    <a:pt x="21" y="369"/>
                  </a:lnTo>
                  <a:lnTo>
                    <a:pt x="21" y="373"/>
                  </a:lnTo>
                  <a:lnTo>
                    <a:pt x="22" y="380"/>
                  </a:lnTo>
                  <a:lnTo>
                    <a:pt x="22" y="380"/>
                  </a:lnTo>
                  <a:lnTo>
                    <a:pt x="24" y="385"/>
                  </a:lnTo>
                  <a:lnTo>
                    <a:pt x="22" y="390"/>
                  </a:lnTo>
                  <a:lnTo>
                    <a:pt x="21" y="392"/>
                  </a:lnTo>
                  <a:lnTo>
                    <a:pt x="17" y="394"/>
                  </a:lnTo>
                  <a:lnTo>
                    <a:pt x="14" y="397"/>
                  </a:lnTo>
                  <a:lnTo>
                    <a:pt x="10" y="399"/>
                  </a:lnTo>
                  <a:lnTo>
                    <a:pt x="10" y="404"/>
                  </a:lnTo>
                  <a:lnTo>
                    <a:pt x="14" y="411"/>
                  </a:lnTo>
                  <a:lnTo>
                    <a:pt x="14" y="411"/>
                  </a:lnTo>
                  <a:lnTo>
                    <a:pt x="15" y="418"/>
                  </a:lnTo>
                  <a:lnTo>
                    <a:pt x="15" y="425"/>
                  </a:lnTo>
                  <a:lnTo>
                    <a:pt x="12" y="428"/>
                  </a:lnTo>
                  <a:lnTo>
                    <a:pt x="8" y="432"/>
                  </a:lnTo>
                  <a:lnTo>
                    <a:pt x="5" y="435"/>
                  </a:lnTo>
                  <a:lnTo>
                    <a:pt x="1" y="439"/>
                  </a:lnTo>
                  <a:lnTo>
                    <a:pt x="0" y="444"/>
                  </a:lnTo>
                  <a:lnTo>
                    <a:pt x="1" y="449"/>
                  </a:lnTo>
                  <a:lnTo>
                    <a:pt x="1" y="449"/>
                  </a:lnTo>
                  <a:lnTo>
                    <a:pt x="5" y="451"/>
                  </a:lnTo>
                  <a:lnTo>
                    <a:pt x="7" y="451"/>
                  </a:lnTo>
                  <a:lnTo>
                    <a:pt x="14" y="449"/>
                  </a:lnTo>
                  <a:lnTo>
                    <a:pt x="17" y="449"/>
                  </a:lnTo>
                  <a:lnTo>
                    <a:pt x="21" y="449"/>
                  </a:lnTo>
                  <a:lnTo>
                    <a:pt x="22" y="453"/>
                  </a:lnTo>
                  <a:lnTo>
                    <a:pt x="22" y="458"/>
                  </a:lnTo>
                  <a:lnTo>
                    <a:pt x="22" y="458"/>
                  </a:lnTo>
                  <a:lnTo>
                    <a:pt x="24" y="470"/>
                  </a:lnTo>
                  <a:lnTo>
                    <a:pt x="26" y="475"/>
                  </a:lnTo>
                  <a:lnTo>
                    <a:pt x="28" y="481"/>
                  </a:lnTo>
                  <a:lnTo>
                    <a:pt x="26" y="489"/>
                  </a:lnTo>
                  <a:lnTo>
                    <a:pt x="26" y="489"/>
                  </a:lnTo>
                  <a:lnTo>
                    <a:pt x="26" y="495"/>
                  </a:lnTo>
                  <a:lnTo>
                    <a:pt x="28" y="500"/>
                  </a:lnTo>
                  <a:lnTo>
                    <a:pt x="35" y="503"/>
                  </a:lnTo>
                  <a:lnTo>
                    <a:pt x="36" y="507"/>
                  </a:lnTo>
                  <a:lnTo>
                    <a:pt x="40" y="510"/>
                  </a:lnTo>
                  <a:lnTo>
                    <a:pt x="40" y="515"/>
                  </a:lnTo>
                  <a:lnTo>
                    <a:pt x="38" y="524"/>
                  </a:lnTo>
                  <a:lnTo>
                    <a:pt x="38" y="524"/>
                  </a:lnTo>
                  <a:lnTo>
                    <a:pt x="50" y="542"/>
                  </a:lnTo>
                  <a:lnTo>
                    <a:pt x="59" y="557"/>
                  </a:lnTo>
                  <a:lnTo>
                    <a:pt x="62" y="566"/>
                  </a:lnTo>
                  <a:lnTo>
                    <a:pt x="64" y="575"/>
                  </a:lnTo>
                  <a:lnTo>
                    <a:pt x="66" y="583"/>
                  </a:lnTo>
                  <a:lnTo>
                    <a:pt x="64" y="594"/>
                  </a:lnTo>
                  <a:lnTo>
                    <a:pt x="64" y="594"/>
                  </a:lnTo>
                  <a:lnTo>
                    <a:pt x="62" y="608"/>
                  </a:lnTo>
                  <a:lnTo>
                    <a:pt x="62" y="616"/>
                  </a:lnTo>
                  <a:lnTo>
                    <a:pt x="68" y="620"/>
                  </a:lnTo>
                  <a:lnTo>
                    <a:pt x="73" y="622"/>
                  </a:lnTo>
                  <a:lnTo>
                    <a:pt x="83" y="622"/>
                  </a:lnTo>
                  <a:lnTo>
                    <a:pt x="85" y="623"/>
                  </a:lnTo>
                  <a:lnTo>
                    <a:pt x="83" y="629"/>
                  </a:lnTo>
                  <a:lnTo>
                    <a:pt x="83" y="629"/>
                  </a:lnTo>
                  <a:lnTo>
                    <a:pt x="83" y="634"/>
                  </a:lnTo>
                  <a:lnTo>
                    <a:pt x="83" y="636"/>
                  </a:lnTo>
                  <a:lnTo>
                    <a:pt x="87" y="637"/>
                  </a:lnTo>
                  <a:lnTo>
                    <a:pt x="92" y="639"/>
                  </a:lnTo>
                  <a:lnTo>
                    <a:pt x="104" y="642"/>
                  </a:lnTo>
                  <a:lnTo>
                    <a:pt x="109" y="644"/>
                  </a:lnTo>
                  <a:lnTo>
                    <a:pt x="115" y="649"/>
                  </a:lnTo>
                  <a:lnTo>
                    <a:pt x="115" y="649"/>
                  </a:lnTo>
                  <a:lnTo>
                    <a:pt x="120" y="656"/>
                  </a:lnTo>
                  <a:lnTo>
                    <a:pt x="120" y="660"/>
                  </a:lnTo>
                  <a:lnTo>
                    <a:pt x="120" y="665"/>
                  </a:lnTo>
                  <a:lnTo>
                    <a:pt x="118" y="669"/>
                  </a:lnTo>
                  <a:lnTo>
                    <a:pt x="120" y="670"/>
                  </a:lnTo>
                  <a:lnTo>
                    <a:pt x="123" y="676"/>
                  </a:lnTo>
                  <a:lnTo>
                    <a:pt x="132" y="681"/>
                  </a:lnTo>
                  <a:lnTo>
                    <a:pt x="132" y="681"/>
                  </a:lnTo>
                  <a:lnTo>
                    <a:pt x="148" y="693"/>
                  </a:lnTo>
                  <a:lnTo>
                    <a:pt x="156" y="700"/>
                  </a:lnTo>
                  <a:lnTo>
                    <a:pt x="160" y="705"/>
                  </a:lnTo>
                  <a:lnTo>
                    <a:pt x="160" y="714"/>
                  </a:lnTo>
                  <a:lnTo>
                    <a:pt x="160" y="714"/>
                  </a:lnTo>
                  <a:lnTo>
                    <a:pt x="160" y="721"/>
                  </a:lnTo>
                  <a:lnTo>
                    <a:pt x="163" y="728"/>
                  </a:lnTo>
                  <a:lnTo>
                    <a:pt x="170" y="733"/>
                  </a:lnTo>
                  <a:lnTo>
                    <a:pt x="181" y="738"/>
                  </a:lnTo>
                  <a:lnTo>
                    <a:pt x="181" y="738"/>
                  </a:lnTo>
                  <a:lnTo>
                    <a:pt x="184" y="742"/>
                  </a:lnTo>
                  <a:lnTo>
                    <a:pt x="188" y="743"/>
                  </a:lnTo>
                  <a:lnTo>
                    <a:pt x="191" y="754"/>
                  </a:lnTo>
                  <a:lnTo>
                    <a:pt x="195" y="764"/>
                  </a:lnTo>
                  <a:lnTo>
                    <a:pt x="200" y="778"/>
                  </a:lnTo>
                  <a:lnTo>
                    <a:pt x="200" y="77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5" name="Freeform 1750">
              <a:extLst>
                <a:ext uri="{FF2B5EF4-FFF2-40B4-BE49-F238E27FC236}">
                  <a16:creationId xmlns:a16="http://schemas.microsoft.com/office/drawing/2014/main" id="{42CC1109-B933-4477-B030-A1FA0F632BD6}"/>
                </a:ext>
              </a:extLst>
            </p:cNvPr>
            <p:cNvSpPr>
              <a:spLocks/>
            </p:cNvSpPr>
            <p:nvPr/>
          </p:nvSpPr>
          <p:spPr bwMode="auto">
            <a:xfrm>
              <a:off x="4478338" y="3211423"/>
              <a:ext cx="581462" cy="655466"/>
            </a:xfrm>
            <a:custGeom>
              <a:avLst/>
              <a:gdLst/>
              <a:ahLst/>
              <a:cxnLst>
                <a:cxn ang="0">
                  <a:pos x="339" y="719"/>
                </a:cxn>
                <a:cxn ang="0">
                  <a:pos x="346" y="738"/>
                </a:cxn>
                <a:cxn ang="0">
                  <a:pos x="360" y="749"/>
                </a:cxn>
                <a:cxn ang="0">
                  <a:pos x="377" y="763"/>
                </a:cxn>
                <a:cxn ang="0">
                  <a:pos x="391" y="771"/>
                </a:cxn>
                <a:cxn ang="0">
                  <a:pos x="414" y="777"/>
                </a:cxn>
                <a:cxn ang="0">
                  <a:pos x="416" y="801"/>
                </a:cxn>
                <a:cxn ang="0">
                  <a:pos x="412" y="813"/>
                </a:cxn>
                <a:cxn ang="0">
                  <a:pos x="452" y="808"/>
                </a:cxn>
                <a:cxn ang="0">
                  <a:pos x="503" y="799"/>
                </a:cxn>
                <a:cxn ang="0">
                  <a:pos x="546" y="754"/>
                </a:cxn>
                <a:cxn ang="0">
                  <a:pos x="724" y="618"/>
                </a:cxn>
                <a:cxn ang="0">
                  <a:pos x="708" y="585"/>
                </a:cxn>
                <a:cxn ang="0">
                  <a:pos x="673" y="575"/>
                </a:cxn>
                <a:cxn ang="0">
                  <a:pos x="660" y="568"/>
                </a:cxn>
                <a:cxn ang="0">
                  <a:pos x="654" y="536"/>
                </a:cxn>
                <a:cxn ang="0">
                  <a:pos x="635" y="500"/>
                </a:cxn>
                <a:cxn ang="0">
                  <a:pos x="653" y="475"/>
                </a:cxn>
                <a:cxn ang="0">
                  <a:pos x="649" y="441"/>
                </a:cxn>
                <a:cxn ang="0">
                  <a:pos x="649" y="406"/>
                </a:cxn>
                <a:cxn ang="0">
                  <a:pos x="639" y="317"/>
                </a:cxn>
                <a:cxn ang="0">
                  <a:pos x="616" y="228"/>
                </a:cxn>
                <a:cxn ang="0">
                  <a:pos x="593" y="202"/>
                </a:cxn>
                <a:cxn ang="0">
                  <a:pos x="567" y="152"/>
                </a:cxn>
                <a:cxn ang="0">
                  <a:pos x="581" y="127"/>
                </a:cxn>
                <a:cxn ang="0">
                  <a:pos x="593" y="105"/>
                </a:cxn>
                <a:cxn ang="0">
                  <a:pos x="593" y="70"/>
                </a:cxn>
                <a:cxn ang="0">
                  <a:pos x="595" y="35"/>
                </a:cxn>
                <a:cxn ang="0">
                  <a:pos x="590" y="26"/>
                </a:cxn>
                <a:cxn ang="0">
                  <a:pos x="606" y="9"/>
                </a:cxn>
                <a:cxn ang="0">
                  <a:pos x="579" y="12"/>
                </a:cxn>
                <a:cxn ang="0">
                  <a:pos x="562" y="0"/>
                </a:cxn>
                <a:cxn ang="0">
                  <a:pos x="546" y="9"/>
                </a:cxn>
                <a:cxn ang="0">
                  <a:pos x="525" y="4"/>
                </a:cxn>
                <a:cxn ang="0">
                  <a:pos x="499" y="16"/>
                </a:cxn>
                <a:cxn ang="0">
                  <a:pos x="482" y="17"/>
                </a:cxn>
                <a:cxn ang="0">
                  <a:pos x="447" y="9"/>
                </a:cxn>
                <a:cxn ang="0">
                  <a:pos x="414" y="14"/>
                </a:cxn>
                <a:cxn ang="0">
                  <a:pos x="397" y="23"/>
                </a:cxn>
                <a:cxn ang="0">
                  <a:pos x="329" y="35"/>
                </a:cxn>
                <a:cxn ang="0">
                  <a:pos x="304" y="56"/>
                </a:cxn>
                <a:cxn ang="0">
                  <a:pos x="290" y="59"/>
                </a:cxn>
                <a:cxn ang="0">
                  <a:pos x="278" y="66"/>
                </a:cxn>
                <a:cxn ang="0">
                  <a:pos x="263" y="71"/>
                </a:cxn>
                <a:cxn ang="0">
                  <a:pos x="236" y="94"/>
                </a:cxn>
                <a:cxn ang="0">
                  <a:pos x="235" y="103"/>
                </a:cxn>
                <a:cxn ang="0">
                  <a:pos x="247" y="171"/>
                </a:cxn>
                <a:cxn ang="0">
                  <a:pos x="261" y="207"/>
                </a:cxn>
                <a:cxn ang="0">
                  <a:pos x="266" y="214"/>
                </a:cxn>
                <a:cxn ang="0">
                  <a:pos x="257" y="230"/>
                </a:cxn>
                <a:cxn ang="0">
                  <a:pos x="205" y="235"/>
                </a:cxn>
                <a:cxn ang="0">
                  <a:pos x="174" y="251"/>
                </a:cxn>
                <a:cxn ang="0">
                  <a:pos x="167" y="263"/>
                </a:cxn>
                <a:cxn ang="0">
                  <a:pos x="174" y="287"/>
                </a:cxn>
                <a:cxn ang="0">
                  <a:pos x="127" y="312"/>
                </a:cxn>
                <a:cxn ang="0">
                  <a:pos x="78" y="341"/>
                </a:cxn>
                <a:cxn ang="0">
                  <a:pos x="0" y="387"/>
                </a:cxn>
              </a:cxnLst>
              <a:rect l="0" t="0" r="r" b="b"/>
              <a:pathLst>
                <a:path w="724" h="817">
                  <a:moveTo>
                    <a:pt x="0" y="434"/>
                  </a:moveTo>
                  <a:lnTo>
                    <a:pt x="0" y="451"/>
                  </a:lnTo>
                  <a:lnTo>
                    <a:pt x="135" y="552"/>
                  </a:lnTo>
                  <a:lnTo>
                    <a:pt x="135" y="552"/>
                  </a:lnTo>
                  <a:lnTo>
                    <a:pt x="339" y="719"/>
                  </a:lnTo>
                  <a:lnTo>
                    <a:pt x="339" y="719"/>
                  </a:lnTo>
                  <a:lnTo>
                    <a:pt x="344" y="723"/>
                  </a:lnTo>
                  <a:lnTo>
                    <a:pt x="346" y="726"/>
                  </a:lnTo>
                  <a:lnTo>
                    <a:pt x="346" y="733"/>
                  </a:lnTo>
                  <a:lnTo>
                    <a:pt x="346" y="738"/>
                  </a:lnTo>
                  <a:lnTo>
                    <a:pt x="348" y="740"/>
                  </a:lnTo>
                  <a:lnTo>
                    <a:pt x="351" y="742"/>
                  </a:lnTo>
                  <a:lnTo>
                    <a:pt x="351" y="742"/>
                  </a:lnTo>
                  <a:lnTo>
                    <a:pt x="357" y="745"/>
                  </a:lnTo>
                  <a:lnTo>
                    <a:pt x="360" y="749"/>
                  </a:lnTo>
                  <a:lnTo>
                    <a:pt x="365" y="756"/>
                  </a:lnTo>
                  <a:lnTo>
                    <a:pt x="370" y="761"/>
                  </a:lnTo>
                  <a:lnTo>
                    <a:pt x="374" y="763"/>
                  </a:lnTo>
                  <a:lnTo>
                    <a:pt x="377" y="763"/>
                  </a:lnTo>
                  <a:lnTo>
                    <a:pt x="377" y="763"/>
                  </a:lnTo>
                  <a:lnTo>
                    <a:pt x="383" y="763"/>
                  </a:lnTo>
                  <a:lnTo>
                    <a:pt x="384" y="763"/>
                  </a:lnTo>
                  <a:lnTo>
                    <a:pt x="388" y="766"/>
                  </a:lnTo>
                  <a:lnTo>
                    <a:pt x="388" y="770"/>
                  </a:lnTo>
                  <a:lnTo>
                    <a:pt x="391" y="771"/>
                  </a:lnTo>
                  <a:lnTo>
                    <a:pt x="395" y="773"/>
                  </a:lnTo>
                  <a:lnTo>
                    <a:pt x="402" y="773"/>
                  </a:lnTo>
                  <a:lnTo>
                    <a:pt x="402" y="773"/>
                  </a:lnTo>
                  <a:lnTo>
                    <a:pt x="409" y="775"/>
                  </a:lnTo>
                  <a:lnTo>
                    <a:pt x="414" y="777"/>
                  </a:lnTo>
                  <a:lnTo>
                    <a:pt x="417" y="782"/>
                  </a:lnTo>
                  <a:lnTo>
                    <a:pt x="419" y="785"/>
                  </a:lnTo>
                  <a:lnTo>
                    <a:pt x="419" y="792"/>
                  </a:lnTo>
                  <a:lnTo>
                    <a:pt x="419" y="797"/>
                  </a:lnTo>
                  <a:lnTo>
                    <a:pt x="416" y="801"/>
                  </a:lnTo>
                  <a:lnTo>
                    <a:pt x="414" y="804"/>
                  </a:lnTo>
                  <a:lnTo>
                    <a:pt x="414" y="804"/>
                  </a:lnTo>
                  <a:lnTo>
                    <a:pt x="412" y="808"/>
                  </a:lnTo>
                  <a:lnTo>
                    <a:pt x="412" y="810"/>
                  </a:lnTo>
                  <a:lnTo>
                    <a:pt x="412" y="813"/>
                  </a:lnTo>
                  <a:lnTo>
                    <a:pt x="416" y="815"/>
                  </a:lnTo>
                  <a:lnTo>
                    <a:pt x="421" y="817"/>
                  </a:lnTo>
                  <a:lnTo>
                    <a:pt x="428" y="815"/>
                  </a:lnTo>
                  <a:lnTo>
                    <a:pt x="438" y="813"/>
                  </a:lnTo>
                  <a:lnTo>
                    <a:pt x="452" y="808"/>
                  </a:lnTo>
                  <a:lnTo>
                    <a:pt x="452" y="808"/>
                  </a:lnTo>
                  <a:lnTo>
                    <a:pt x="468" y="808"/>
                  </a:lnTo>
                  <a:lnTo>
                    <a:pt x="482" y="806"/>
                  </a:lnTo>
                  <a:lnTo>
                    <a:pt x="492" y="803"/>
                  </a:lnTo>
                  <a:lnTo>
                    <a:pt x="503" y="799"/>
                  </a:lnTo>
                  <a:lnTo>
                    <a:pt x="512" y="794"/>
                  </a:lnTo>
                  <a:lnTo>
                    <a:pt x="518" y="791"/>
                  </a:lnTo>
                  <a:lnTo>
                    <a:pt x="529" y="778"/>
                  </a:lnTo>
                  <a:lnTo>
                    <a:pt x="538" y="766"/>
                  </a:lnTo>
                  <a:lnTo>
                    <a:pt x="546" y="754"/>
                  </a:lnTo>
                  <a:lnTo>
                    <a:pt x="557" y="742"/>
                  </a:lnTo>
                  <a:lnTo>
                    <a:pt x="569" y="730"/>
                  </a:lnTo>
                  <a:lnTo>
                    <a:pt x="569" y="730"/>
                  </a:lnTo>
                  <a:lnTo>
                    <a:pt x="656" y="669"/>
                  </a:lnTo>
                  <a:lnTo>
                    <a:pt x="724" y="618"/>
                  </a:lnTo>
                  <a:lnTo>
                    <a:pt x="724" y="618"/>
                  </a:lnTo>
                  <a:lnTo>
                    <a:pt x="717" y="602"/>
                  </a:lnTo>
                  <a:lnTo>
                    <a:pt x="714" y="592"/>
                  </a:lnTo>
                  <a:lnTo>
                    <a:pt x="712" y="589"/>
                  </a:lnTo>
                  <a:lnTo>
                    <a:pt x="708" y="585"/>
                  </a:lnTo>
                  <a:lnTo>
                    <a:pt x="696" y="578"/>
                  </a:lnTo>
                  <a:lnTo>
                    <a:pt x="696" y="578"/>
                  </a:lnTo>
                  <a:lnTo>
                    <a:pt x="687" y="575"/>
                  </a:lnTo>
                  <a:lnTo>
                    <a:pt x="682" y="573"/>
                  </a:lnTo>
                  <a:lnTo>
                    <a:pt x="673" y="575"/>
                  </a:lnTo>
                  <a:lnTo>
                    <a:pt x="672" y="576"/>
                  </a:lnTo>
                  <a:lnTo>
                    <a:pt x="668" y="575"/>
                  </a:lnTo>
                  <a:lnTo>
                    <a:pt x="665" y="573"/>
                  </a:lnTo>
                  <a:lnTo>
                    <a:pt x="660" y="568"/>
                  </a:lnTo>
                  <a:lnTo>
                    <a:pt x="660" y="568"/>
                  </a:lnTo>
                  <a:lnTo>
                    <a:pt x="658" y="561"/>
                  </a:lnTo>
                  <a:lnTo>
                    <a:pt x="656" y="555"/>
                  </a:lnTo>
                  <a:lnTo>
                    <a:pt x="656" y="549"/>
                  </a:lnTo>
                  <a:lnTo>
                    <a:pt x="656" y="543"/>
                  </a:lnTo>
                  <a:lnTo>
                    <a:pt x="654" y="536"/>
                  </a:lnTo>
                  <a:lnTo>
                    <a:pt x="649" y="528"/>
                  </a:lnTo>
                  <a:lnTo>
                    <a:pt x="642" y="515"/>
                  </a:lnTo>
                  <a:lnTo>
                    <a:pt x="642" y="515"/>
                  </a:lnTo>
                  <a:lnTo>
                    <a:pt x="637" y="507"/>
                  </a:lnTo>
                  <a:lnTo>
                    <a:pt x="635" y="500"/>
                  </a:lnTo>
                  <a:lnTo>
                    <a:pt x="637" y="495"/>
                  </a:lnTo>
                  <a:lnTo>
                    <a:pt x="642" y="491"/>
                  </a:lnTo>
                  <a:lnTo>
                    <a:pt x="646" y="488"/>
                  </a:lnTo>
                  <a:lnTo>
                    <a:pt x="651" y="482"/>
                  </a:lnTo>
                  <a:lnTo>
                    <a:pt x="653" y="475"/>
                  </a:lnTo>
                  <a:lnTo>
                    <a:pt x="649" y="467"/>
                  </a:lnTo>
                  <a:lnTo>
                    <a:pt x="649" y="467"/>
                  </a:lnTo>
                  <a:lnTo>
                    <a:pt x="647" y="458"/>
                  </a:lnTo>
                  <a:lnTo>
                    <a:pt x="647" y="451"/>
                  </a:lnTo>
                  <a:lnTo>
                    <a:pt x="649" y="441"/>
                  </a:lnTo>
                  <a:lnTo>
                    <a:pt x="651" y="430"/>
                  </a:lnTo>
                  <a:lnTo>
                    <a:pt x="651" y="423"/>
                  </a:lnTo>
                  <a:lnTo>
                    <a:pt x="651" y="414"/>
                  </a:lnTo>
                  <a:lnTo>
                    <a:pt x="651" y="414"/>
                  </a:lnTo>
                  <a:lnTo>
                    <a:pt x="649" y="406"/>
                  </a:lnTo>
                  <a:lnTo>
                    <a:pt x="647" y="399"/>
                  </a:lnTo>
                  <a:lnTo>
                    <a:pt x="649" y="380"/>
                  </a:lnTo>
                  <a:lnTo>
                    <a:pt x="647" y="355"/>
                  </a:lnTo>
                  <a:lnTo>
                    <a:pt x="644" y="338"/>
                  </a:lnTo>
                  <a:lnTo>
                    <a:pt x="639" y="317"/>
                  </a:lnTo>
                  <a:lnTo>
                    <a:pt x="639" y="317"/>
                  </a:lnTo>
                  <a:lnTo>
                    <a:pt x="633" y="279"/>
                  </a:lnTo>
                  <a:lnTo>
                    <a:pt x="628" y="254"/>
                  </a:lnTo>
                  <a:lnTo>
                    <a:pt x="623" y="237"/>
                  </a:lnTo>
                  <a:lnTo>
                    <a:pt x="616" y="228"/>
                  </a:lnTo>
                  <a:lnTo>
                    <a:pt x="609" y="223"/>
                  </a:lnTo>
                  <a:lnTo>
                    <a:pt x="604" y="219"/>
                  </a:lnTo>
                  <a:lnTo>
                    <a:pt x="599" y="212"/>
                  </a:lnTo>
                  <a:lnTo>
                    <a:pt x="593" y="202"/>
                  </a:lnTo>
                  <a:lnTo>
                    <a:pt x="593" y="202"/>
                  </a:lnTo>
                  <a:lnTo>
                    <a:pt x="592" y="195"/>
                  </a:lnTo>
                  <a:lnTo>
                    <a:pt x="586" y="188"/>
                  </a:lnTo>
                  <a:lnTo>
                    <a:pt x="578" y="174"/>
                  </a:lnTo>
                  <a:lnTo>
                    <a:pt x="569" y="158"/>
                  </a:lnTo>
                  <a:lnTo>
                    <a:pt x="567" y="152"/>
                  </a:lnTo>
                  <a:lnTo>
                    <a:pt x="566" y="146"/>
                  </a:lnTo>
                  <a:lnTo>
                    <a:pt x="566" y="146"/>
                  </a:lnTo>
                  <a:lnTo>
                    <a:pt x="567" y="141"/>
                  </a:lnTo>
                  <a:lnTo>
                    <a:pt x="571" y="136"/>
                  </a:lnTo>
                  <a:lnTo>
                    <a:pt x="581" y="127"/>
                  </a:lnTo>
                  <a:lnTo>
                    <a:pt x="590" y="118"/>
                  </a:lnTo>
                  <a:lnTo>
                    <a:pt x="592" y="113"/>
                  </a:lnTo>
                  <a:lnTo>
                    <a:pt x="593" y="110"/>
                  </a:lnTo>
                  <a:lnTo>
                    <a:pt x="593" y="110"/>
                  </a:lnTo>
                  <a:lnTo>
                    <a:pt x="593" y="105"/>
                  </a:lnTo>
                  <a:lnTo>
                    <a:pt x="593" y="99"/>
                  </a:lnTo>
                  <a:lnTo>
                    <a:pt x="597" y="94"/>
                  </a:lnTo>
                  <a:lnTo>
                    <a:pt x="599" y="92"/>
                  </a:lnTo>
                  <a:lnTo>
                    <a:pt x="599" y="87"/>
                  </a:lnTo>
                  <a:lnTo>
                    <a:pt x="593" y="70"/>
                  </a:lnTo>
                  <a:lnTo>
                    <a:pt x="593" y="70"/>
                  </a:lnTo>
                  <a:lnTo>
                    <a:pt x="592" y="61"/>
                  </a:lnTo>
                  <a:lnTo>
                    <a:pt x="592" y="54"/>
                  </a:lnTo>
                  <a:lnTo>
                    <a:pt x="593" y="44"/>
                  </a:lnTo>
                  <a:lnTo>
                    <a:pt x="595" y="35"/>
                  </a:lnTo>
                  <a:lnTo>
                    <a:pt x="595" y="31"/>
                  </a:lnTo>
                  <a:lnTo>
                    <a:pt x="592" y="30"/>
                  </a:lnTo>
                  <a:lnTo>
                    <a:pt x="592" y="30"/>
                  </a:lnTo>
                  <a:lnTo>
                    <a:pt x="590" y="28"/>
                  </a:lnTo>
                  <a:lnTo>
                    <a:pt x="590" y="26"/>
                  </a:lnTo>
                  <a:lnTo>
                    <a:pt x="595" y="21"/>
                  </a:lnTo>
                  <a:lnTo>
                    <a:pt x="600" y="16"/>
                  </a:lnTo>
                  <a:lnTo>
                    <a:pt x="604" y="12"/>
                  </a:lnTo>
                  <a:lnTo>
                    <a:pt x="606" y="9"/>
                  </a:lnTo>
                  <a:lnTo>
                    <a:pt x="606" y="9"/>
                  </a:lnTo>
                  <a:lnTo>
                    <a:pt x="595" y="9"/>
                  </a:lnTo>
                  <a:lnTo>
                    <a:pt x="590" y="9"/>
                  </a:lnTo>
                  <a:lnTo>
                    <a:pt x="585" y="11"/>
                  </a:lnTo>
                  <a:lnTo>
                    <a:pt x="585" y="11"/>
                  </a:lnTo>
                  <a:lnTo>
                    <a:pt x="579" y="12"/>
                  </a:lnTo>
                  <a:lnTo>
                    <a:pt x="576" y="11"/>
                  </a:lnTo>
                  <a:lnTo>
                    <a:pt x="574" y="5"/>
                  </a:lnTo>
                  <a:lnTo>
                    <a:pt x="566" y="2"/>
                  </a:lnTo>
                  <a:lnTo>
                    <a:pt x="566" y="2"/>
                  </a:lnTo>
                  <a:lnTo>
                    <a:pt x="562" y="0"/>
                  </a:lnTo>
                  <a:lnTo>
                    <a:pt x="559" y="0"/>
                  </a:lnTo>
                  <a:lnTo>
                    <a:pt x="555" y="5"/>
                  </a:lnTo>
                  <a:lnTo>
                    <a:pt x="553" y="7"/>
                  </a:lnTo>
                  <a:lnTo>
                    <a:pt x="550" y="9"/>
                  </a:lnTo>
                  <a:lnTo>
                    <a:pt x="546" y="9"/>
                  </a:lnTo>
                  <a:lnTo>
                    <a:pt x="541" y="7"/>
                  </a:lnTo>
                  <a:lnTo>
                    <a:pt x="541" y="7"/>
                  </a:lnTo>
                  <a:lnTo>
                    <a:pt x="531" y="4"/>
                  </a:lnTo>
                  <a:lnTo>
                    <a:pt x="527" y="4"/>
                  </a:lnTo>
                  <a:lnTo>
                    <a:pt x="525" y="4"/>
                  </a:lnTo>
                  <a:lnTo>
                    <a:pt x="520" y="7"/>
                  </a:lnTo>
                  <a:lnTo>
                    <a:pt x="510" y="12"/>
                  </a:lnTo>
                  <a:lnTo>
                    <a:pt x="510" y="12"/>
                  </a:lnTo>
                  <a:lnTo>
                    <a:pt x="505" y="14"/>
                  </a:lnTo>
                  <a:lnTo>
                    <a:pt x="499" y="16"/>
                  </a:lnTo>
                  <a:lnTo>
                    <a:pt x="494" y="21"/>
                  </a:lnTo>
                  <a:lnTo>
                    <a:pt x="492" y="21"/>
                  </a:lnTo>
                  <a:lnTo>
                    <a:pt x="489" y="23"/>
                  </a:lnTo>
                  <a:lnTo>
                    <a:pt x="485" y="21"/>
                  </a:lnTo>
                  <a:lnTo>
                    <a:pt x="482" y="17"/>
                  </a:lnTo>
                  <a:lnTo>
                    <a:pt x="482" y="17"/>
                  </a:lnTo>
                  <a:lnTo>
                    <a:pt x="478" y="14"/>
                  </a:lnTo>
                  <a:lnTo>
                    <a:pt x="473" y="12"/>
                  </a:lnTo>
                  <a:lnTo>
                    <a:pt x="461" y="9"/>
                  </a:lnTo>
                  <a:lnTo>
                    <a:pt x="447" y="9"/>
                  </a:lnTo>
                  <a:lnTo>
                    <a:pt x="433" y="12"/>
                  </a:lnTo>
                  <a:lnTo>
                    <a:pt x="433" y="12"/>
                  </a:lnTo>
                  <a:lnTo>
                    <a:pt x="428" y="14"/>
                  </a:lnTo>
                  <a:lnTo>
                    <a:pt x="423" y="14"/>
                  </a:lnTo>
                  <a:lnTo>
                    <a:pt x="414" y="14"/>
                  </a:lnTo>
                  <a:lnTo>
                    <a:pt x="407" y="14"/>
                  </a:lnTo>
                  <a:lnTo>
                    <a:pt x="404" y="14"/>
                  </a:lnTo>
                  <a:lnTo>
                    <a:pt x="402" y="17"/>
                  </a:lnTo>
                  <a:lnTo>
                    <a:pt x="402" y="17"/>
                  </a:lnTo>
                  <a:lnTo>
                    <a:pt x="397" y="23"/>
                  </a:lnTo>
                  <a:lnTo>
                    <a:pt x="390" y="24"/>
                  </a:lnTo>
                  <a:lnTo>
                    <a:pt x="365" y="26"/>
                  </a:lnTo>
                  <a:lnTo>
                    <a:pt x="365" y="26"/>
                  </a:lnTo>
                  <a:lnTo>
                    <a:pt x="346" y="28"/>
                  </a:lnTo>
                  <a:lnTo>
                    <a:pt x="329" y="35"/>
                  </a:lnTo>
                  <a:lnTo>
                    <a:pt x="320" y="38"/>
                  </a:lnTo>
                  <a:lnTo>
                    <a:pt x="313" y="44"/>
                  </a:lnTo>
                  <a:lnTo>
                    <a:pt x="308" y="51"/>
                  </a:lnTo>
                  <a:lnTo>
                    <a:pt x="304" y="56"/>
                  </a:lnTo>
                  <a:lnTo>
                    <a:pt x="304" y="56"/>
                  </a:lnTo>
                  <a:lnTo>
                    <a:pt x="303" y="61"/>
                  </a:lnTo>
                  <a:lnTo>
                    <a:pt x="301" y="63"/>
                  </a:lnTo>
                  <a:lnTo>
                    <a:pt x="297" y="63"/>
                  </a:lnTo>
                  <a:lnTo>
                    <a:pt x="296" y="63"/>
                  </a:lnTo>
                  <a:lnTo>
                    <a:pt x="290" y="59"/>
                  </a:lnTo>
                  <a:lnTo>
                    <a:pt x="287" y="59"/>
                  </a:lnTo>
                  <a:lnTo>
                    <a:pt x="283" y="63"/>
                  </a:lnTo>
                  <a:lnTo>
                    <a:pt x="283" y="63"/>
                  </a:lnTo>
                  <a:lnTo>
                    <a:pt x="282" y="64"/>
                  </a:lnTo>
                  <a:lnTo>
                    <a:pt x="278" y="66"/>
                  </a:lnTo>
                  <a:lnTo>
                    <a:pt x="275" y="64"/>
                  </a:lnTo>
                  <a:lnTo>
                    <a:pt x="271" y="64"/>
                  </a:lnTo>
                  <a:lnTo>
                    <a:pt x="269" y="64"/>
                  </a:lnTo>
                  <a:lnTo>
                    <a:pt x="266" y="68"/>
                  </a:lnTo>
                  <a:lnTo>
                    <a:pt x="263" y="71"/>
                  </a:lnTo>
                  <a:lnTo>
                    <a:pt x="263" y="71"/>
                  </a:lnTo>
                  <a:lnTo>
                    <a:pt x="256" y="80"/>
                  </a:lnTo>
                  <a:lnTo>
                    <a:pt x="247" y="89"/>
                  </a:lnTo>
                  <a:lnTo>
                    <a:pt x="242" y="92"/>
                  </a:lnTo>
                  <a:lnTo>
                    <a:pt x="236" y="94"/>
                  </a:lnTo>
                  <a:lnTo>
                    <a:pt x="231" y="94"/>
                  </a:lnTo>
                  <a:lnTo>
                    <a:pt x="226" y="94"/>
                  </a:lnTo>
                  <a:lnTo>
                    <a:pt x="226" y="94"/>
                  </a:lnTo>
                  <a:lnTo>
                    <a:pt x="231" y="98"/>
                  </a:lnTo>
                  <a:lnTo>
                    <a:pt x="235" y="103"/>
                  </a:lnTo>
                  <a:lnTo>
                    <a:pt x="238" y="108"/>
                  </a:lnTo>
                  <a:lnTo>
                    <a:pt x="240" y="117"/>
                  </a:lnTo>
                  <a:lnTo>
                    <a:pt x="243" y="134"/>
                  </a:lnTo>
                  <a:lnTo>
                    <a:pt x="245" y="152"/>
                  </a:lnTo>
                  <a:lnTo>
                    <a:pt x="247" y="171"/>
                  </a:lnTo>
                  <a:lnTo>
                    <a:pt x="249" y="188"/>
                  </a:lnTo>
                  <a:lnTo>
                    <a:pt x="250" y="195"/>
                  </a:lnTo>
                  <a:lnTo>
                    <a:pt x="254" y="200"/>
                  </a:lnTo>
                  <a:lnTo>
                    <a:pt x="256" y="204"/>
                  </a:lnTo>
                  <a:lnTo>
                    <a:pt x="261" y="207"/>
                  </a:lnTo>
                  <a:lnTo>
                    <a:pt x="261" y="207"/>
                  </a:lnTo>
                  <a:lnTo>
                    <a:pt x="264" y="209"/>
                  </a:lnTo>
                  <a:lnTo>
                    <a:pt x="266" y="211"/>
                  </a:lnTo>
                  <a:lnTo>
                    <a:pt x="266" y="212"/>
                  </a:lnTo>
                  <a:lnTo>
                    <a:pt x="266" y="214"/>
                  </a:lnTo>
                  <a:lnTo>
                    <a:pt x="263" y="221"/>
                  </a:lnTo>
                  <a:lnTo>
                    <a:pt x="261" y="228"/>
                  </a:lnTo>
                  <a:lnTo>
                    <a:pt x="261" y="228"/>
                  </a:lnTo>
                  <a:lnTo>
                    <a:pt x="259" y="230"/>
                  </a:lnTo>
                  <a:lnTo>
                    <a:pt x="257" y="230"/>
                  </a:lnTo>
                  <a:lnTo>
                    <a:pt x="252" y="232"/>
                  </a:lnTo>
                  <a:lnTo>
                    <a:pt x="235" y="232"/>
                  </a:lnTo>
                  <a:lnTo>
                    <a:pt x="224" y="232"/>
                  </a:lnTo>
                  <a:lnTo>
                    <a:pt x="214" y="233"/>
                  </a:lnTo>
                  <a:lnTo>
                    <a:pt x="205" y="235"/>
                  </a:lnTo>
                  <a:lnTo>
                    <a:pt x="198" y="240"/>
                  </a:lnTo>
                  <a:lnTo>
                    <a:pt x="198" y="240"/>
                  </a:lnTo>
                  <a:lnTo>
                    <a:pt x="193" y="246"/>
                  </a:lnTo>
                  <a:lnTo>
                    <a:pt x="188" y="249"/>
                  </a:lnTo>
                  <a:lnTo>
                    <a:pt x="174" y="251"/>
                  </a:lnTo>
                  <a:lnTo>
                    <a:pt x="169" y="251"/>
                  </a:lnTo>
                  <a:lnTo>
                    <a:pt x="167" y="253"/>
                  </a:lnTo>
                  <a:lnTo>
                    <a:pt x="165" y="256"/>
                  </a:lnTo>
                  <a:lnTo>
                    <a:pt x="167" y="263"/>
                  </a:lnTo>
                  <a:lnTo>
                    <a:pt x="167" y="263"/>
                  </a:lnTo>
                  <a:lnTo>
                    <a:pt x="174" y="273"/>
                  </a:lnTo>
                  <a:lnTo>
                    <a:pt x="177" y="279"/>
                  </a:lnTo>
                  <a:lnTo>
                    <a:pt x="177" y="282"/>
                  </a:lnTo>
                  <a:lnTo>
                    <a:pt x="175" y="286"/>
                  </a:lnTo>
                  <a:lnTo>
                    <a:pt x="174" y="287"/>
                  </a:lnTo>
                  <a:lnTo>
                    <a:pt x="158" y="294"/>
                  </a:lnTo>
                  <a:lnTo>
                    <a:pt x="158" y="294"/>
                  </a:lnTo>
                  <a:lnTo>
                    <a:pt x="142" y="301"/>
                  </a:lnTo>
                  <a:lnTo>
                    <a:pt x="132" y="306"/>
                  </a:lnTo>
                  <a:lnTo>
                    <a:pt x="127" y="312"/>
                  </a:lnTo>
                  <a:lnTo>
                    <a:pt x="120" y="322"/>
                  </a:lnTo>
                  <a:lnTo>
                    <a:pt x="120" y="322"/>
                  </a:lnTo>
                  <a:lnTo>
                    <a:pt x="116" y="326"/>
                  </a:lnTo>
                  <a:lnTo>
                    <a:pt x="106" y="331"/>
                  </a:lnTo>
                  <a:lnTo>
                    <a:pt x="78" y="341"/>
                  </a:lnTo>
                  <a:lnTo>
                    <a:pt x="47" y="352"/>
                  </a:lnTo>
                  <a:lnTo>
                    <a:pt x="36" y="357"/>
                  </a:lnTo>
                  <a:lnTo>
                    <a:pt x="29" y="362"/>
                  </a:lnTo>
                  <a:lnTo>
                    <a:pt x="29" y="362"/>
                  </a:lnTo>
                  <a:lnTo>
                    <a:pt x="0" y="387"/>
                  </a:lnTo>
                  <a:lnTo>
                    <a:pt x="0" y="43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4715A"/>
                </a:solidFill>
                <a:effectLst/>
                <a:uLnTx/>
                <a:uFillTx/>
                <a:latin typeface="Arial" pitchFamily="34" charset="0"/>
                <a:ea typeface="ＭＳ Ｐゴシック" charset="-128"/>
                <a:cs typeface="+mn-cs"/>
              </a:endParaRPr>
            </a:p>
          </p:txBody>
        </p:sp>
        <p:sp>
          <p:nvSpPr>
            <p:cNvPr id="76" name="Freeform 1751">
              <a:extLst>
                <a:ext uri="{FF2B5EF4-FFF2-40B4-BE49-F238E27FC236}">
                  <a16:creationId xmlns:a16="http://schemas.microsoft.com/office/drawing/2014/main" id="{FE4AFA3D-3A65-48D0-8904-95AAE9D9D98B}"/>
                </a:ext>
              </a:extLst>
            </p:cNvPr>
            <p:cNvSpPr>
              <a:spLocks/>
            </p:cNvSpPr>
            <p:nvPr/>
          </p:nvSpPr>
          <p:spPr bwMode="auto">
            <a:xfrm>
              <a:off x="5419246" y="3415815"/>
              <a:ext cx="308350" cy="355924"/>
            </a:xfrm>
            <a:custGeom>
              <a:avLst/>
              <a:gdLst/>
              <a:ahLst/>
              <a:cxnLst>
                <a:cxn ang="0">
                  <a:pos x="340" y="150"/>
                </a:cxn>
                <a:cxn ang="0">
                  <a:pos x="331" y="176"/>
                </a:cxn>
                <a:cxn ang="0">
                  <a:pos x="316" y="160"/>
                </a:cxn>
                <a:cxn ang="0">
                  <a:pos x="296" y="138"/>
                </a:cxn>
                <a:cxn ang="0">
                  <a:pos x="286" y="108"/>
                </a:cxn>
                <a:cxn ang="0">
                  <a:pos x="277" y="87"/>
                </a:cxn>
                <a:cxn ang="0">
                  <a:pos x="274" y="75"/>
                </a:cxn>
                <a:cxn ang="0">
                  <a:pos x="269" y="96"/>
                </a:cxn>
                <a:cxn ang="0">
                  <a:pos x="274" y="112"/>
                </a:cxn>
                <a:cxn ang="0">
                  <a:pos x="303" y="166"/>
                </a:cxn>
                <a:cxn ang="0">
                  <a:pos x="310" y="187"/>
                </a:cxn>
                <a:cxn ang="0">
                  <a:pos x="323" y="213"/>
                </a:cxn>
                <a:cxn ang="0">
                  <a:pos x="323" y="234"/>
                </a:cxn>
                <a:cxn ang="0">
                  <a:pos x="361" y="312"/>
                </a:cxn>
                <a:cxn ang="0">
                  <a:pos x="377" y="338"/>
                </a:cxn>
                <a:cxn ang="0">
                  <a:pos x="384" y="347"/>
                </a:cxn>
                <a:cxn ang="0">
                  <a:pos x="375" y="359"/>
                </a:cxn>
                <a:cxn ang="0">
                  <a:pos x="377" y="390"/>
                </a:cxn>
                <a:cxn ang="0">
                  <a:pos x="361" y="397"/>
                </a:cxn>
                <a:cxn ang="0">
                  <a:pos x="352" y="413"/>
                </a:cxn>
                <a:cxn ang="0">
                  <a:pos x="333" y="427"/>
                </a:cxn>
                <a:cxn ang="0">
                  <a:pos x="319" y="442"/>
                </a:cxn>
                <a:cxn ang="0">
                  <a:pos x="302" y="439"/>
                </a:cxn>
                <a:cxn ang="0">
                  <a:pos x="229" y="432"/>
                </a:cxn>
                <a:cxn ang="0">
                  <a:pos x="9" y="99"/>
                </a:cxn>
                <a:cxn ang="0">
                  <a:pos x="0" y="72"/>
                </a:cxn>
                <a:cxn ang="0">
                  <a:pos x="7" y="51"/>
                </a:cxn>
                <a:cxn ang="0">
                  <a:pos x="7" y="18"/>
                </a:cxn>
                <a:cxn ang="0">
                  <a:pos x="20" y="5"/>
                </a:cxn>
                <a:cxn ang="0">
                  <a:pos x="67" y="5"/>
                </a:cxn>
                <a:cxn ang="0">
                  <a:pos x="94" y="14"/>
                </a:cxn>
                <a:cxn ang="0">
                  <a:pos x="101" y="19"/>
                </a:cxn>
                <a:cxn ang="0">
                  <a:pos x="117" y="25"/>
                </a:cxn>
                <a:cxn ang="0">
                  <a:pos x="133" y="28"/>
                </a:cxn>
                <a:cxn ang="0">
                  <a:pos x="161" y="35"/>
                </a:cxn>
                <a:cxn ang="0">
                  <a:pos x="187" y="14"/>
                </a:cxn>
                <a:cxn ang="0">
                  <a:pos x="197" y="7"/>
                </a:cxn>
                <a:cxn ang="0">
                  <a:pos x="215" y="2"/>
                </a:cxn>
                <a:cxn ang="0">
                  <a:pos x="237" y="7"/>
                </a:cxn>
                <a:cxn ang="0">
                  <a:pos x="248" y="4"/>
                </a:cxn>
                <a:cxn ang="0">
                  <a:pos x="258" y="11"/>
                </a:cxn>
                <a:cxn ang="0">
                  <a:pos x="258" y="14"/>
                </a:cxn>
                <a:cxn ang="0">
                  <a:pos x="249" y="9"/>
                </a:cxn>
                <a:cxn ang="0">
                  <a:pos x="246" y="16"/>
                </a:cxn>
                <a:cxn ang="0">
                  <a:pos x="251" y="19"/>
                </a:cxn>
                <a:cxn ang="0">
                  <a:pos x="258" y="25"/>
                </a:cxn>
                <a:cxn ang="0">
                  <a:pos x="263" y="19"/>
                </a:cxn>
                <a:cxn ang="0">
                  <a:pos x="269" y="19"/>
                </a:cxn>
                <a:cxn ang="0">
                  <a:pos x="284" y="23"/>
                </a:cxn>
                <a:cxn ang="0">
                  <a:pos x="295" y="21"/>
                </a:cxn>
                <a:cxn ang="0">
                  <a:pos x="331" y="16"/>
                </a:cxn>
                <a:cxn ang="0">
                  <a:pos x="345" y="58"/>
                </a:cxn>
              </a:cxnLst>
              <a:rect l="0" t="0" r="r" b="b"/>
              <a:pathLst>
                <a:path w="385" h="444">
                  <a:moveTo>
                    <a:pt x="356" y="98"/>
                  </a:moveTo>
                  <a:lnTo>
                    <a:pt x="356" y="98"/>
                  </a:lnTo>
                  <a:lnTo>
                    <a:pt x="345" y="131"/>
                  </a:lnTo>
                  <a:lnTo>
                    <a:pt x="340" y="150"/>
                  </a:lnTo>
                  <a:lnTo>
                    <a:pt x="338" y="162"/>
                  </a:lnTo>
                  <a:lnTo>
                    <a:pt x="335" y="173"/>
                  </a:lnTo>
                  <a:lnTo>
                    <a:pt x="335" y="173"/>
                  </a:lnTo>
                  <a:lnTo>
                    <a:pt x="331" y="176"/>
                  </a:lnTo>
                  <a:lnTo>
                    <a:pt x="330" y="176"/>
                  </a:lnTo>
                  <a:lnTo>
                    <a:pt x="326" y="176"/>
                  </a:lnTo>
                  <a:lnTo>
                    <a:pt x="324" y="173"/>
                  </a:lnTo>
                  <a:lnTo>
                    <a:pt x="316" y="160"/>
                  </a:lnTo>
                  <a:lnTo>
                    <a:pt x="303" y="147"/>
                  </a:lnTo>
                  <a:lnTo>
                    <a:pt x="303" y="147"/>
                  </a:lnTo>
                  <a:lnTo>
                    <a:pt x="300" y="141"/>
                  </a:lnTo>
                  <a:lnTo>
                    <a:pt x="296" y="138"/>
                  </a:lnTo>
                  <a:lnTo>
                    <a:pt x="295" y="127"/>
                  </a:lnTo>
                  <a:lnTo>
                    <a:pt x="293" y="119"/>
                  </a:lnTo>
                  <a:lnTo>
                    <a:pt x="289" y="113"/>
                  </a:lnTo>
                  <a:lnTo>
                    <a:pt x="286" y="108"/>
                  </a:lnTo>
                  <a:lnTo>
                    <a:pt x="286" y="108"/>
                  </a:lnTo>
                  <a:lnTo>
                    <a:pt x="281" y="101"/>
                  </a:lnTo>
                  <a:lnTo>
                    <a:pt x="279" y="96"/>
                  </a:lnTo>
                  <a:lnTo>
                    <a:pt x="277" y="87"/>
                  </a:lnTo>
                  <a:lnTo>
                    <a:pt x="276" y="80"/>
                  </a:lnTo>
                  <a:lnTo>
                    <a:pt x="276" y="79"/>
                  </a:lnTo>
                  <a:lnTo>
                    <a:pt x="274" y="75"/>
                  </a:lnTo>
                  <a:lnTo>
                    <a:pt x="274" y="75"/>
                  </a:lnTo>
                  <a:lnTo>
                    <a:pt x="269" y="84"/>
                  </a:lnTo>
                  <a:lnTo>
                    <a:pt x="267" y="89"/>
                  </a:lnTo>
                  <a:lnTo>
                    <a:pt x="267" y="94"/>
                  </a:lnTo>
                  <a:lnTo>
                    <a:pt x="269" y="96"/>
                  </a:lnTo>
                  <a:lnTo>
                    <a:pt x="272" y="101"/>
                  </a:lnTo>
                  <a:lnTo>
                    <a:pt x="274" y="106"/>
                  </a:lnTo>
                  <a:lnTo>
                    <a:pt x="274" y="112"/>
                  </a:lnTo>
                  <a:lnTo>
                    <a:pt x="274" y="112"/>
                  </a:lnTo>
                  <a:lnTo>
                    <a:pt x="276" y="120"/>
                  </a:lnTo>
                  <a:lnTo>
                    <a:pt x="279" y="129"/>
                  </a:lnTo>
                  <a:lnTo>
                    <a:pt x="291" y="147"/>
                  </a:lnTo>
                  <a:lnTo>
                    <a:pt x="303" y="166"/>
                  </a:lnTo>
                  <a:lnTo>
                    <a:pt x="309" y="173"/>
                  </a:lnTo>
                  <a:lnTo>
                    <a:pt x="309" y="181"/>
                  </a:lnTo>
                  <a:lnTo>
                    <a:pt x="309" y="181"/>
                  </a:lnTo>
                  <a:lnTo>
                    <a:pt x="310" y="187"/>
                  </a:lnTo>
                  <a:lnTo>
                    <a:pt x="312" y="192"/>
                  </a:lnTo>
                  <a:lnTo>
                    <a:pt x="317" y="200"/>
                  </a:lnTo>
                  <a:lnTo>
                    <a:pt x="321" y="209"/>
                  </a:lnTo>
                  <a:lnTo>
                    <a:pt x="323" y="213"/>
                  </a:lnTo>
                  <a:lnTo>
                    <a:pt x="321" y="218"/>
                  </a:lnTo>
                  <a:lnTo>
                    <a:pt x="321" y="218"/>
                  </a:lnTo>
                  <a:lnTo>
                    <a:pt x="321" y="225"/>
                  </a:lnTo>
                  <a:lnTo>
                    <a:pt x="323" y="234"/>
                  </a:lnTo>
                  <a:lnTo>
                    <a:pt x="333" y="253"/>
                  </a:lnTo>
                  <a:lnTo>
                    <a:pt x="345" y="279"/>
                  </a:lnTo>
                  <a:lnTo>
                    <a:pt x="354" y="295"/>
                  </a:lnTo>
                  <a:lnTo>
                    <a:pt x="361" y="312"/>
                  </a:lnTo>
                  <a:lnTo>
                    <a:pt x="361" y="312"/>
                  </a:lnTo>
                  <a:lnTo>
                    <a:pt x="366" y="322"/>
                  </a:lnTo>
                  <a:lnTo>
                    <a:pt x="371" y="331"/>
                  </a:lnTo>
                  <a:lnTo>
                    <a:pt x="377" y="338"/>
                  </a:lnTo>
                  <a:lnTo>
                    <a:pt x="380" y="342"/>
                  </a:lnTo>
                  <a:lnTo>
                    <a:pt x="385" y="347"/>
                  </a:lnTo>
                  <a:lnTo>
                    <a:pt x="384" y="347"/>
                  </a:lnTo>
                  <a:lnTo>
                    <a:pt x="384" y="347"/>
                  </a:lnTo>
                  <a:lnTo>
                    <a:pt x="380" y="347"/>
                  </a:lnTo>
                  <a:lnTo>
                    <a:pt x="377" y="348"/>
                  </a:lnTo>
                  <a:lnTo>
                    <a:pt x="375" y="354"/>
                  </a:lnTo>
                  <a:lnTo>
                    <a:pt x="375" y="359"/>
                  </a:lnTo>
                  <a:lnTo>
                    <a:pt x="377" y="371"/>
                  </a:lnTo>
                  <a:lnTo>
                    <a:pt x="382" y="385"/>
                  </a:lnTo>
                  <a:lnTo>
                    <a:pt x="382" y="385"/>
                  </a:lnTo>
                  <a:lnTo>
                    <a:pt x="377" y="390"/>
                  </a:lnTo>
                  <a:lnTo>
                    <a:pt x="373" y="394"/>
                  </a:lnTo>
                  <a:lnTo>
                    <a:pt x="366" y="395"/>
                  </a:lnTo>
                  <a:lnTo>
                    <a:pt x="364" y="395"/>
                  </a:lnTo>
                  <a:lnTo>
                    <a:pt x="361" y="397"/>
                  </a:lnTo>
                  <a:lnTo>
                    <a:pt x="357" y="401"/>
                  </a:lnTo>
                  <a:lnTo>
                    <a:pt x="356" y="406"/>
                  </a:lnTo>
                  <a:lnTo>
                    <a:pt x="356" y="406"/>
                  </a:lnTo>
                  <a:lnTo>
                    <a:pt x="352" y="413"/>
                  </a:lnTo>
                  <a:lnTo>
                    <a:pt x="349" y="416"/>
                  </a:lnTo>
                  <a:lnTo>
                    <a:pt x="343" y="420"/>
                  </a:lnTo>
                  <a:lnTo>
                    <a:pt x="336" y="423"/>
                  </a:lnTo>
                  <a:lnTo>
                    <a:pt x="333" y="427"/>
                  </a:lnTo>
                  <a:lnTo>
                    <a:pt x="330" y="430"/>
                  </a:lnTo>
                  <a:lnTo>
                    <a:pt x="330" y="430"/>
                  </a:lnTo>
                  <a:lnTo>
                    <a:pt x="324" y="439"/>
                  </a:lnTo>
                  <a:lnTo>
                    <a:pt x="319" y="442"/>
                  </a:lnTo>
                  <a:lnTo>
                    <a:pt x="316" y="444"/>
                  </a:lnTo>
                  <a:lnTo>
                    <a:pt x="312" y="444"/>
                  </a:lnTo>
                  <a:lnTo>
                    <a:pt x="307" y="442"/>
                  </a:lnTo>
                  <a:lnTo>
                    <a:pt x="302" y="439"/>
                  </a:lnTo>
                  <a:lnTo>
                    <a:pt x="296" y="432"/>
                  </a:lnTo>
                  <a:lnTo>
                    <a:pt x="236" y="432"/>
                  </a:lnTo>
                  <a:lnTo>
                    <a:pt x="236" y="423"/>
                  </a:lnTo>
                  <a:lnTo>
                    <a:pt x="229" y="432"/>
                  </a:lnTo>
                  <a:lnTo>
                    <a:pt x="9" y="432"/>
                  </a:lnTo>
                  <a:lnTo>
                    <a:pt x="9" y="106"/>
                  </a:lnTo>
                  <a:lnTo>
                    <a:pt x="9" y="106"/>
                  </a:lnTo>
                  <a:lnTo>
                    <a:pt x="9" y="99"/>
                  </a:lnTo>
                  <a:lnTo>
                    <a:pt x="7" y="94"/>
                  </a:lnTo>
                  <a:lnTo>
                    <a:pt x="2" y="84"/>
                  </a:lnTo>
                  <a:lnTo>
                    <a:pt x="0" y="79"/>
                  </a:lnTo>
                  <a:lnTo>
                    <a:pt x="0" y="72"/>
                  </a:lnTo>
                  <a:lnTo>
                    <a:pt x="0" y="65"/>
                  </a:lnTo>
                  <a:lnTo>
                    <a:pt x="4" y="58"/>
                  </a:lnTo>
                  <a:lnTo>
                    <a:pt x="4" y="58"/>
                  </a:lnTo>
                  <a:lnTo>
                    <a:pt x="7" y="51"/>
                  </a:lnTo>
                  <a:lnTo>
                    <a:pt x="9" y="44"/>
                  </a:lnTo>
                  <a:lnTo>
                    <a:pt x="7" y="30"/>
                  </a:lnTo>
                  <a:lnTo>
                    <a:pt x="7" y="25"/>
                  </a:lnTo>
                  <a:lnTo>
                    <a:pt x="7" y="18"/>
                  </a:lnTo>
                  <a:lnTo>
                    <a:pt x="11" y="12"/>
                  </a:lnTo>
                  <a:lnTo>
                    <a:pt x="16" y="5"/>
                  </a:lnTo>
                  <a:lnTo>
                    <a:pt x="16" y="5"/>
                  </a:lnTo>
                  <a:lnTo>
                    <a:pt x="20" y="5"/>
                  </a:lnTo>
                  <a:lnTo>
                    <a:pt x="28" y="4"/>
                  </a:lnTo>
                  <a:lnTo>
                    <a:pt x="42" y="2"/>
                  </a:lnTo>
                  <a:lnTo>
                    <a:pt x="53" y="4"/>
                  </a:lnTo>
                  <a:lnTo>
                    <a:pt x="67" y="5"/>
                  </a:lnTo>
                  <a:lnTo>
                    <a:pt x="67" y="5"/>
                  </a:lnTo>
                  <a:lnTo>
                    <a:pt x="81" y="9"/>
                  </a:lnTo>
                  <a:lnTo>
                    <a:pt x="89" y="12"/>
                  </a:lnTo>
                  <a:lnTo>
                    <a:pt x="94" y="14"/>
                  </a:lnTo>
                  <a:lnTo>
                    <a:pt x="96" y="18"/>
                  </a:lnTo>
                  <a:lnTo>
                    <a:pt x="98" y="19"/>
                  </a:lnTo>
                  <a:lnTo>
                    <a:pt x="101" y="19"/>
                  </a:lnTo>
                  <a:lnTo>
                    <a:pt x="101" y="19"/>
                  </a:lnTo>
                  <a:lnTo>
                    <a:pt x="105" y="19"/>
                  </a:lnTo>
                  <a:lnTo>
                    <a:pt x="108" y="19"/>
                  </a:lnTo>
                  <a:lnTo>
                    <a:pt x="114" y="23"/>
                  </a:lnTo>
                  <a:lnTo>
                    <a:pt x="117" y="25"/>
                  </a:lnTo>
                  <a:lnTo>
                    <a:pt x="124" y="26"/>
                  </a:lnTo>
                  <a:lnTo>
                    <a:pt x="124" y="26"/>
                  </a:lnTo>
                  <a:lnTo>
                    <a:pt x="129" y="26"/>
                  </a:lnTo>
                  <a:lnTo>
                    <a:pt x="133" y="28"/>
                  </a:lnTo>
                  <a:lnTo>
                    <a:pt x="143" y="33"/>
                  </a:lnTo>
                  <a:lnTo>
                    <a:pt x="150" y="37"/>
                  </a:lnTo>
                  <a:lnTo>
                    <a:pt x="155" y="37"/>
                  </a:lnTo>
                  <a:lnTo>
                    <a:pt x="161" y="35"/>
                  </a:lnTo>
                  <a:lnTo>
                    <a:pt x="168" y="32"/>
                  </a:lnTo>
                  <a:lnTo>
                    <a:pt x="168" y="32"/>
                  </a:lnTo>
                  <a:lnTo>
                    <a:pt x="180" y="19"/>
                  </a:lnTo>
                  <a:lnTo>
                    <a:pt x="187" y="14"/>
                  </a:lnTo>
                  <a:lnTo>
                    <a:pt x="190" y="14"/>
                  </a:lnTo>
                  <a:lnTo>
                    <a:pt x="192" y="12"/>
                  </a:lnTo>
                  <a:lnTo>
                    <a:pt x="192" y="12"/>
                  </a:lnTo>
                  <a:lnTo>
                    <a:pt x="197" y="7"/>
                  </a:lnTo>
                  <a:lnTo>
                    <a:pt x="201" y="7"/>
                  </a:lnTo>
                  <a:lnTo>
                    <a:pt x="206" y="5"/>
                  </a:lnTo>
                  <a:lnTo>
                    <a:pt x="215" y="2"/>
                  </a:lnTo>
                  <a:lnTo>
                    <a:pt x="215" y="2"/>
                  </a:lnTo>
                  <a:lnTo>
                    <a:pt x="220" y="0"/>
                  </a:lnTo>
                  <a:lnTo>
                    <a:pt x="223" y="0"/>
                  </a:lnTo>
                  <a:lnTo>
                    <a:pt x="230" y="4"/>
                  </a:lnTo>
                  <a:lnTo>
                    <a:pt x="237" y="7"/>
                  </a:lnTo>
                  <a:lnTo>
                    <a:pt x="241" y="7"/>
                  </a:lnTo>
                  <a:lnTo>
                    <a:pt x="242" y="7"/>
                  </a:lnTo>
                  <a:lnTo>
                    <a:pt x="242" y="7"/>
                  </a:lnTo>
                  <a:lnTo>
                    <a:pt x="248" y="4"/>
                  </a:lnTo>
                  <a:lnTo>
                    <a:pt x="249" y="4"/>
                  </a:lnTo>
                  <a:lnTo>
                    <a:pt x="253" y="5"/>
                  </a:lnTo>
                  <a:lnTo>
                    <a:pt x="253" y="5"/>
                  </a:lnTo>
                  <a:lnTo>
                    <a:pt x="258" y="11"/>
                  </a:lnTo>
                  <a:lnTo>
                    <a:pt x="260" y="14"/>
                  </a:lnTo>
                  <a:lnTo>
                    <a:pt x="260" y="16"/>
                  </a:lnTo>
                  <a:lnTo>
                    <a:pt x="260" y="16"/>
                  </a:lnTo>
                  <a:lnTo>
                    <a:pt x="258" y="14"/>
                  </a:lnTo>
                  <a:lnTo>
                    <a:pt x="255" y="11"/>
                  </a:lnTo>
                  <a:lnTo>
                    <a:pt x="251" y="9"/>
                  </a:lnTo>
                  <a:lnTo>
                    <a:pt x="251" y="9"/>
                  </a:lnTo>
                  <a:lnTo>
                    <a:pt x="249" y="9"/>
                  </a:lnTo>
                  <a:lnTo>
                    <a:pt x="249" y="9"/>
                  </a:lnTo>
                  <a:lnTo>
                    <a:pt x="249" y="12"/>
                  </a:lnTo>
                  <a:lnTo>
                    <a:pt x="248" y="14"/>
                  </a:lnTo>
                  <a:lnTo>
                    <a:pt x="246" y="16"/>
                  </a:lnTo>
                  <a:lnTo>
                    <a:pt x="246" y="18"/>
                  </a:lnTo>
                  <a:lnTo>
                    <a:pt x="246" y="18"/>
                  </a:lnTo>
                  <a:lnTo>
                    <a:pt x="248" y="19"/>
                  </a:lnTo>
                  <a:lnTo>
                    <a:pt x="251" y="19"/>
                  </a:lnTo>
                  <a:lnTo>
                    <a:pt x="255" y="19"/>
                  </a:lnTo>
                  <a:lnTo>
                    <a:pt x="256" y="21"/>
                  </a:lnTo>
                  <a:lnTo>
                    <a:pt x="256" y="21"/>
                  </a:lnTo>
                  <a:lnTo>
                    <a:pt x="258" y="25"/>
                  </a:lnTo>
                  <a:lnTo>
                    <a:pt x="262" y="25"/>
                  </a:lnTo>
                  <a:lnTo>
                    <a:pt x="263" y="23"/>
                  </a:lnTo>
                  <a:lnTo>
                    <a:pt x="263" y="19"/>
                  </a:lnTo>
                  <a:lnTo>
                    <a:pt x="263" y="19"/>
                  </a:lnTo>
                  <a:lnTo>
                    <a:pt x="263" y="16"/>
                  </a:lnTo>
                  <a:lnTo>
                    <a:pt x="265" y="18"/>
                  </a:lnTo>
                  <a:lnTo>
                    <a:pt x="269" y="19"/>
                  </a:lnTo>
                  <a:lnTo>
                    <a:pt x="269" y="19"/>
                  </a:lnTo>
                  <a:lnTo>
                    <a:pt x="272" y="23"/>
                  </a:lnTo>
                  <a:lnTo>
                    <a:pt x="277" y="25"/>
                  </a:lnTo>
                  <a:lnTo>
                    <a:pt x="281" y="25"/>
                  </a:lnTo>
                  <a:lnTo>
                    <a:pt x="284" y="23"/>
                  </a:lnTo>
                  <a:lnTo>
                    <a:pt x="289" y="19"/>
                  </a:lnTo>
                  <a:lnTo>
                    <a:pt x="291" y="19"/>
                  </a:lnTo>
                  <a:lnTo>
                    <a:pt x="295" y="21"/>
                  </a:lnTo>
                  <a:lnTo>
                    <a:pt x="295" y="21"/>
                  </a:lnTo>
                  <a:lnTo>
                    <a:pt x="298" y="25"/>
                  </a:lnTo>
                  <a:lnTo>
                    <a:pt x="302" y="25"/>
                  </a:lnTo>
                  <a:lnTo>
                    <a:pt x="331" y="16"/>
                  </a:lnTo>
                  <a:lnTo>
                    <a:pt x="331" y="16"/>
                  </a:lnTo>
                  <a:lnTo>
                    <a:pt x="331" y="18"/>
                  </a:lnTo>
                  <a:lnTo>
                    <a:pt x="333" y="19"/>
                  </a:lnTo>
                  <a:lnTo>
                    <a:pt x="333" y="19"/>
                  </a:lnTo>
                  <a:lnTo>
                    <a:pt x="345" y="58"/>
                  </a:lnTo>
                  <a:lnTo>
                    <a:pt x="356" y="98"/>
                  </a:lnTo>
                  <a:lnTo>
                    <a:pt x="356" y="9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7" name="Freeform 1752">
              <a:extLst>
                <a:ext uri="{FF2B5EF4-FFF2-40B4-BE49-F238E27FC236}">
                  <a16:creationId xmlns:a16="http://schemas.microsoft.com/office/drawing/2014/main" id="{D0A2CDB1-3F41-455B-8BCC-CDBC0E10845D}"/>
                </a:ext>
              </a:extLst>
            </p:cNvPr>
            <p:cNvSpPr>
              <a:spLocks/>
            </p:cNvSpPr>
            <p:nvPr/>
          </p:nvSpPr>
          <p:spPr bwMode="auto">
            <a:xfrm>
              <a:off x="5650070" y="4009613"/>
              <a:ext cx="422880" cy="387641"/>
            </a:xfrm>
            <a:custGeom>
              <a:avLst/>
              <a:gdLst/>
              <a:ahLst/>
              <a:cxnLst>
                <a:cxn ang="0">
                  <a:pos x="114" y="444"/>
                </a:cxn>
                <a:cxn ang="0">
                  <a:pos x="136" y="442"/>
                </a:cxn>
                <a:cxn ang="0">
                  <a:pos x="168" y="468"/>
                </a:cxn>
                <a:cxn ang="0">
                  <a:pos x="194" y="477"/>
                </a:cxn>
                <a:cxn ang="0">
                  <a:pos x="211" y="482"/>
                </a:cxn>
                <a:cxn ang="0">
                  <a:pos x="225" y="482"/>
                </a:cxn>
                <a:cxn ang="0">
                  <a:pos x="241" y="468"/>
                </a:cxn>
                <a:cxn ang="0">
                  <a:pos x="267" y="451"/>
                </a:cxn>
                <a:cxn ang="0">
                  <a:pos x="281" y="458"/>
                </a:cxn>
                <a:cxn ang="0">
                  <a:pos x="295" y="463"/>
                </a:cxn>
                <a:cxn ang="0">
                  <a:pos x="321" y="453"/>
                </a:cxn>
                <a:cxn ang="0">
                  <a:pos x="342" y="451"/>
                </a:cxn>
                <a:cxn ang="0">
                  <a:pos x="349" y="442"/>
                </a:cxn>
                <a:cxn ang="0">
                  <a:pos x="364" y="428"/>
                </a:cxn>
                <a:cxn ang="0">
                  <a:pos x="404" y="425"/>
                </a:cxn>
                <a:cxn ang="0">
                  <a:pos x="432" y="409"/>
                </a:cxn>
                <a:cxn ang="0">
                  <a:pos x="498" y="326"/>
                </a:cxn>
                <a:cxn ang="0">
                  <a:pos x="521" y="291"/>
                </a:cxn>
                <a:cxn ang="0">
                  <a:pos x="481" y="287"/>
                </a:cxn>
                <a:cxn ang="0">
                  <a:pos x="404" y="259"/>
                </a:cxn>
                <a:cxn ang="0">
                  <a:pos x="382" y="244"/>
                </a:cxn>
                <a:cxn ang="0">
                  <a:pos x="361" y="221"/>
                </a:cxn>
                <a:cxn ang="0">
                  <a:pos x="354" y="209"/>
                </a:cxn>
                <a:cxn ang="0">
                  <a:pos x="342" y="185"/>
                </a:cxn>
                <a:cxn ang="0">
                  <a:pos x="345" y="162"/>
                </a:cxn>
                <a:cxn ang="0">
                  <a:pos x="326" y="164"/>
                </a:cxn>
                <a:cxn ang="0">
                  <a:pos x="309" y="160"/>
                </a:cxn>
                <a:cxn ang="0">
                  <a:pos x="314" y="131"/>
                </a:cxn>
                <a:cxn ang="0">
                  <a:pos x="330" y="99"/>
                </a:cxn>
                <a:cxn ang="0">
                  <a:pos x="309" y="70"/>
                </a:cxn>
                <a:cxn ang="0">
                  <a:pos x="293" y="54"/>
                </a:cxn>
                <a:cxn ang="0">
                  <a:pos x="270" y="28"/>
                </a:cxn>
                <a:cxn ang="0">
                  <a:pos x="249" y="16"/>
                </a:cxn>
                <a:cxn ang="0">
                  <a:pos x="227" y="14"/>
                </a:cxn>
                <a:cxn ang="0">
                  <a:pos x="218" y="12"/>
                </a:cxn>
                <a:cxn ang="0">
                  <a:pos x="201" y="17"/>
                </a:cxn>
                <a:cxn ang="0">
                  <a:pos x="180" y="3"/>
                </a:cxn>
                <a:cxn ang="0">
                  <a:pos x="169" y="7"/>
                </a:cxn>
                <a:cxn ang="0">
                  <a:pos x="161" y="26"/>
                </a:cxn>
                <a:cxn ang="0">
                  <a:pos x="152" y="16"/>
                </a:cxn>
                <a:cxn ang="0">
                  <a:pos x="143" y="21"/>
                </a:cxn>
                <a:cxn ang="0">
                  <a:pos x="126" y="23"/>
                </a:cxn>
                <a:cxn ang="0">
                  <a:pos x="112" y="82"/>
                </a:cxn>
                <a:cxn ang="0">
                  <a:pos x="96" y="94"/>
                </a:cxn>
                <a:cxn ang="0">
                  <a:pos x="84" y="118"/>
                </a:cxn>
                <a:cxn ang="0">
                  <a:pos x="74" y="136"/>
                </a:cxn>
                <a:cxn ang="0">
                  <a:pos x="67" y="174"/>
                </a:cxn>
                <a:cxn ang="0">
                  <a:pos x="58" y="169"/>
                </a:cxn>
                <a:cxn ang="0">
                  <a:pos x="49" y="176"/>
                </a:cxn>
                <a:cxn ang="0">
                  <a:pos x="49" y="198"/>
                </a:cxn>
                <a:cxn ang="0">
                  <a:pos x="42" y="221"/>
                </a:cxn>
                <a:cxn ang="0">
                  <a:pos x="39" y="272"/>
                </a:cxn>
                <a:cxn ang="0">
                  <a:pos x="28" y="275"/>
                </a:cxn>
                <a:cxn ang="0">
                  <a:pos x="9" y="273"/>
                </a:cxn>
                <a:cxn ang="0">
                  <a:pos x="4" y="291"/>
                </a:cxn>
                <a:cxn ang="0">
                  <a:pos x="4" y="299"/>
                </a:cxn>
                <a:cxn ang="0">
                  <a:pos x="32" y="313"/>
                </a:cxn>
                <a:cxn ang="0">
                  <a:pos x="46" y="334"/>
                </a:cxn>
                <a:cxn ang="0">
                  <a:pos x="63" y="355"/>
                </a:cxn>
                <a:cxn ang="0">
                  <a:pos x="75" y="393"/>
                </a:cxn>
                <a:cxn ang="0">
                  <a:pos x="93" y="402"/>
                </a:cxn>
                <a:cxn ang="0">
                  <a:pos x="100" y="413"/>
                </a:cxn>
                <a:cxn ang="0">
                  <a:pos x="101" y="437"/>
                </a:cxn>
              </a:cxnLst>
              <a:rect l="0" t="0" r="r" b="b"/>
              <a:pathLst>
                <a:path w="526" h="484">
                  <a:moveTo>
                    <a:pt x="101" y="437"/>
                  </a:moveTo>
                  <a:lnTo>
                    <a:pt x="101" y="437"/>
                  </a:lnTo>
                  <a:lnTo>
                    <a:pt x="108" y="442"/>
                  </a:lnTo>
                  <a:lnTo>
                    <a:pt x="114" y="444"/>
                  </a:lnTo>
                  <a:lnTo>
                    <a:pt x="119" y="442"/>
                  </a:lnTo>
                  <a:lnTo>
                    <a:pt x="124" y="442"/>
                  </a:lnTo>
                  <a:lnTo>
                    <a:pt x="129" y="440"/>
                  </a:lnTo>
                  <a:lnTo>
                    <a:pt x="136" y="442"/>
                  </a:lnTo>
                  <a:lnTo>
                    <a:pt x="147" y="449"/>
                  </a:lnTo>
                  <a:lnTo>
                    <a:pt x="157" y="458"/>
                  </a:lnTo>
                  <a:lnTo>
                    <a:pt x="157" y="458"/>
                  </a:lnTo>
                  <a:lnTo>
                    <a:pt x="168" y="468"/>
                  </a:lnTo>
                  <a:lnTo>
                    <a:pt x="175" y="474"/>
                  </a:lnTo>
                  <a:lnTo>
                    <a:pt x="182" y="477"/>
                  </a:lnTo>
                  <a:lnTo>
                    <a:pt x="185" y="479"/>
                  </a:lnTo>
                  <a:lnTo>
                    <a:pt x="194" y="477"/>
                  </a:lnTo>
                  <a:lnTo>
                    <a:pt x="199" y="477"/>
                  </a:lnTo>
                  <a:lnTo>
                    <a:pt x="202" y="479"/>
                  </a:lnTo>
                  <a:lnTo>
                    <a:pt x="202" y="479"/>
                  </a:lnTo>
                  <a:lnTo>
                    <a:pt x="211" y="482"/>
                  </a:lnTo>
                  <a:lnTo>
                    <a:pt x="216" y="482"/>
                  </a:lnTo>
                  <a:lnTo>
                    <a:pt x="220" y="482"/>
                  </a:lnTo>
                  <a:lnTo>
                    <a:pt x="225" y="482"/>
                  </a:lnTo>
                  <a:lnTo>
                    <a:pt x="225" y="482"/>
                  </a:lnTo>
                  <a:lnTo>
                    <a:pt x="229" y="484"/>
                  </a:lnTo>
                  <a:lnTo>
                    <a:pt x="230" y="484"/>
                  </a:lnTo>
                  <a:lnTo>
                    <a:pt x="234" y="479"/>
                  </a:lnTo>
                  <a:lnTo>
                    <a:pt x="241" y="468"/>
                  </a:lnTo>
                  <a:lnTo>
                    <a:pt x="246" y="463"/>
                  </a:lnTo>
                  <a:lnTo>
                    <a:pt x="255" y="456"/>
                  </a:lnTo>
                  <a:lnTo>
                    <a:pt x="255" y="456"/>
                  </a:lnTo>
                  <a:lnTo>
                    <a:pt x="267" y="451"/>
                  </a:lnTo>
                  <a:lnTo>
                    <a:pt x="270" y="449"/>
                  </a:lnTo>
                  <a:lnTo>
                    <a:pt x="274" y="449"/>
                  </a:lnTo>
                  <a:lnTo>
                    <a:pt x="277" y="453"/>
                  </a:lnTo>
                  <a:lnTo>
                    <a:pt x="281" y="458"/>
                  </a:lnTo>
                  <a:lnTo>
                    <a:pt x="281" y="458"/>
                  </a:lnTo>
                  <a:lnTo>
                    <a:pt x="284" y="461"/>
                  </a:lnTo>
                  <a:lnTo>
                    <a:pt x="288" y="463"/>
                  </a:lnTo>
                  <a:lnTo>
                    <a:pt x="295" y="463"/>
                  </a:lnTo>
                  <a:lnTo>
                    <a:pt x="314" y="463"/>
                  </a:lnTo>
                  <a:lnTo>
                    <a:pt x="314" y="463"/>
                  </a:lnTo>
                  <a:lnTo>
                    <a:pt x="317" y="456"/>
                  </a:lnTo>
                  <a:lnTo>
                    <a:pt x="321" y="453"/>
                  </a:lnTo>
                  <a:lnTo>
                    <a:pt x="326" y="451"/>
                  </a:lnTo>
                  <a:lnTo>
                    <a:pt x="333" y="451"/>
                  </a:lnTo>
                  <a:lnTo>
                    <a:pt x="333" y="451"/>
                  </a:lnTo>
                  <a:lnTo>
                    <a:pt x="342" y="451"/>
                  </a:lnTo>
                  <a:lnTo>
                    <a:pt x="347" y="449"/>
                  </a:lnTo>
                  <a:lnTo>
                    <a:pt x="349" y="447"/>
                  </a:lnTo>
                  <a:lnTo>
                    <a:pt x="347" y="446"/>
                  </a:lnTo>
                  <a:lnTo>
                    <a:pt x="349" y="442"/>
                  </a:lnTo>
                  <a:lnTo>
                    <a:pt x="350" y="439"/>
                  </a:lnTo>
                  <a:lnTo>
                    <a:pt x="356" y="433"/>
                  </a:lnTo>
                  <a:lnTo>
                    <a:pt x="364" y="428"/>
                  </a:lnTo>
                  <a:lnTo>
                    <a:pt x="364" y="428"/>
                  </a:lnTo>
                  <a:lnTo>
                    <a:pt x="378" y="425"/>
                  </a:lnTo>
                  <a:lnTo>
                    <a:pt x="389" y="423"/>
                  </a:lnTo>
                  <a:lnTo>
                    <a:pt x="397" y="423"/>
                  </a:lnTo>
                  <a:lnTo>
                    <a:pt x="404" y="425"/>
                  </a:lnTo>
                  <a:lnTo>
                    <a:pt x="410" y="425"/>
                  </a:lnTo>
                  <a:lnTo>
                    <a:pt x="417" y="423"/>
                  </a:lnTo>
                  <a:lnTo>
                    <a:pt x="424" y="420"/>
                  </a:lnTo>
                  <a:lnTo>
                    <a:pt x="432" y="409"/>
                  </a:lnTo>
                  <a:lnTo>
                    <a:pt x="432" y="409"/>
                  </a:lnTo>
                  <a:lnTo>
                    <a:pt x="464" y="367"/>
                  </a:lnTo>
                  <a:lnTo>
                    <a:pt x="498" y="326"/>
                  </a:lnTo>
                  <a:lnTo>
                    <a:pt x="498" y="326"/>
                  </a:lnTo>
                  <a:lnTo>
                    <a:pt x="525" y="294"/>
                  </a:lnTo>
                  <a:lnTo>
                    <a:pt x="526" y="292"/>
                  </a:lnTo>
                  <a:lnTo>
                    <a:pt x="526" y="291"/>
                  </a:lnTo>
                  <a:lnTo>
                    <a:pt x="521" y="291"/>
                  </a:lnTo>
                  <a:lnTo>
                    <a:pt x="521" y="291"/>
                  </a:lnTo>
                  <a:lnTo>
                    <a:pt x="512" y="292"/>
                  </a:lnTo>
                  <a:lnTo>
                    <a:pt x="500" y="291"/>
                  </a:lnTo>
                  <a:lnTo>
                    <a:pt x="481" y="287"/>
                  </a:lnTo>
                  <a:lnTo>
                    <a:pt x="451" y="275"/>
                  </a:lnTo>
                  <a:lnTo>
                    <a:pt x="451" y="275"/>
                  </a:lnTo>
                  <a:lnTo>
                    <a:pt x="424" y="265"/>
                  </a:lnTo>
                  <a:lnTo>
                    <a:pt x="404" y="259"/>
                  </a:lnTo>
                  <a:lnTo>
                    <a:pt x="392" y="254"/>
                  </a:lnTo>
                  <a:lnTo>
                    <a:pt x="387" y="249"/>
                  </a:lnTo>
                  <a:lnTo>
                    <a:pt x="382" y="244"/>
                  </a:lnTo>
                  <a:lnTo>
                    <a:pt x="382" y="244"/>
                  </a:lnTo>
                  <a:lnTo>
                    <a:pt x="375" y="235"/>
                  </a:lnTo>
                  <a:lnTo>
                    <a:pt x="368" y="232"/>
                  </a:lnTo>
                  <a:lnTo>
                    <a:pt x="364" y="228"/>
                  </a:lnTo>
                  <a:lnTo>
                    <a:pt x="361" y="221"/>
                  </a:lnTo>
                  <a:lnTo>
                    <a:pt x="361" y="221"/>
                  </a:lnTo>
                  <a:lnTo>
                    <a:pt x="359" y="214"/>
                  </a:lnTo>
                  <a:lnTo>
                    <a:pt x="357" y="211"/>
                  </a:lnTo>
                  <a:lnTo>
                    <a:pt x="354" y="209"/>
                  </a:lnTo>
                  <a:lnTo>
                    <a:pt x="349" y="200"/>
                  </a:lnTo>
                  <a:lnTo>
                    <a:pt x="349" y="200"/>
                  </a:lnTo>
                  <a:lnTo>
                    <a:pt x="345" y="191"/>
                  </a:lnTo>
                  <a:lnTo>
                    <a:pt x="342" y="185"/>
                  </a:lnTo>
                  <a:lnTo>
                    <a:pt x="344" y="176"/>
                  </a:lnTo>
                  <a:lnTo>
                    <a:pt x="349" y="165"/>
                  </a:lnTo>
                  <a:lnTo>
                    <a:pt x="349" y="165"/>
                  </a:lnTo>
                  <a:lnTo>
                    <a:pt x="345" y="162"/>
                  </a:lnTo>
                  <a:lnTo>
                    <a:pt x="342" y="160"/>
                  </a:lnTo>
                  <a:lnTo>
                    <a:pt x="337" y="160"/>
                  </a:lnTo>
                  <a:lnTo>
                    <a:pt x="331" y="162"/>
                  </a:lnTo>
                  <a:lnTo>
                    <a:pt x="326" y="164"/>
                  </a:lnTo>
                  <a:lnTo>
                    <a:pt x="321" y="165"/>
                  </a:lnTo>
                  <a:lnTo>
                    <a:pt x="314" y="164"/>
                  </a:lnTo>
                  <a:lnTo>
                    <a:pt x="309" y="160"/>
                  </a:lnTo>
                  <a:lnTo>
                    <a:pt x="309" y="160"/>
                  </a:lnTo>
                  <a:lnTo>
                    <a:pt x="309" y="148"/>
                  </a:lnTo>
                  <a:lnTo>
                    <a:pt x="309" y="139"/>
                  </a:lnTo>
                  <a:lnTo>
                    <a:pt x="310" y="134"/>
                  </a:lnTo>
                  <a:lnTo>
                    <a:pt x="314" y="131"/>
                  </a:lnTo>
                  <a:lnTo>
                    <a:pt x="321" y="122"/>
                  </a:lnTo>
                  <a:lnTo>
                    <a:pt x="324" y="113"/>
                  </a:lnTo>
                  <a:lnTo>
                    <a:pt x="330" y="99"/>
                  </a:lnTo>
                  <a:lnTo>
                    <a:pt x="330" y="99"/>
                  </a:lnTo>
                  <a:lnTo>
                    <a:pt x="323" y="94"/>
                  </a:lnTo>
                  <a:lnTo>
                    <a:pt x="319" y="89"/>
                  </a:lnTo>
                  <a:lnTo>
                    <a:pt x="314" y="80"/>
                  </a:lnTo>
                  <a:lnTo>
                    <a:pt x="309" y="70"/>
                  </a:lnTo>
                  <a:lnTo>
                    <a:pt x="305" y="66"/>
                  </a:lnTo>
                  <a:lnTo>
                    <a:pt x="302" y="63"/>
                  </a:lnTo>
                  <a:lnTo>
                    <a:pt x="302" y="63"/>
                  </a:lnTo>
                  <a:lnTo>
                    <a:pt x="293" y="54"/>
                  </a:lnTo>
                  <a:lnTo>
                    <a:pt x="284" y="42"/>
                  </a:lnTo>
                  <a:lnTo>
                    <a:pt x="277" y="33"/>
                  </a:lnTo>
                  <a:lnTo>
                    <a:pt x="274" y="30"/>
                  </a:lnTo>
                  <a:lnTo>
                    <a:pt x="270" y="28"/>
                  </a:lnTo>
                  <a:lnTo>
                    <a:pt x="270" y="28"/>
                  </a:lnTo>
                  <a:lnTo>
                    <a:pt x="263" y="24"/>
                  </a:lnTo>
                  <a:lnTo>
                    <a:pt x="256" y="21"/>
                  </a:lnTo>
                  <a:lnTo>
                    <a:pt x="249" y="16"/>
                  </a:lnTo>
                  <a:lnTo>
                    <a:pt x="237" y="14"/>
                  </a:lnTo>
                  <a:lnTo>
                    <a:pt x="237" y="14"/>
                  </a:lnTo>
                  <a:lnTo>
                    <a:pt x="232" y="12"/>
                  </a:lnTo>
                  <a:lnTo>
                    <a:pt x="227" y="14"/>
                  </a:lnTo>
                  <a:lnTo>
                    <a:pt x="223" y="16"/>
                  </a:lnTo>
                  <a:lnTo>
                    <a:pt x="222" y="17"/>
                  </a:lnTo>
                  <a:lnTo>
                    <a:pt x="218" y="12"/>
                  </a:lnTo>
                  <a:lnTo>
                    <a:pt x="218" y="12"/>
                  </a:lnTo>
                  <a:lnTo>
                    <a:pt x="215" y="10"/>
                  </a:lnTo>
                  <a:lnTo>
                    <a:pt x="211" y="10"/>
                  </a:lnTo>
                  <a:lnTo>
                    <a:pt x="206" y="16"/>
                  </a:lnTo>
                  <a:lnTo>
                    <a:pt x="201" y="17"/>
                  </a:lnTo>
                  <a:lnTo>
                    <a:pt x="195" y="17"/>
                  </a:lnTo>
                  <a:lnTo>
                    <a:pt x="189" y="12"/>
                  </a:lnTo>
                  <a:lnTo>
                    <a:pt x="180" y="3"/>
                  </a:lnTo>
                  <a:lnTo>
                    <a:pt x="180" y="3"/>
                  </a:lnTo>
                  <a:lnTo>
                    <a:pt x="178" y="0"/>
                  </a:lnTo>
                  <a:lnTo>
                    <a:pt x="176" y="0"/>
                  </a:lnTo>
                  <a:lnTo>
                    <a:pt x="173" y="2"/>
                  </a:lnTo>
                  <a:lnTo>
                    <a:pt x="169" y="7"/>
                  </a:lnTo>
                  <a:lnTo>
                    <a:pt x="168" y="14"/>
                  </a:lnTo>
                  <a:lnTo>
                    <a:pt x="166" y="21"/>
                  </a:lnTo>
                  <a:lnTo>
                    <a:pt x="162" y="26"/>
                  </a:lnTo>
                  <a:lnTo>
                    <a:pt x="161" y="26"/>
                  </a:lnTo>
                  <a:lnTo>
                    <a:pt x="159" y="26"/>
                  </a:lnTo>
                  <a:lnTo>
                    <a:pt x="155" y="23"/>
                  </a:lnTo>
                  <a:lnTo>
                    <a:pt x="155" y="23"/>
                  </a:lnTo>
                  <a:lnTo>
                    <a:pt x="152" y="16"/>
                  </a:lnTo>
                  <a:lnTo>
                    <a:pt x="150" y="14"/>
                  </a:lnTo>
                  <a:lnTo>
                    <a:pt x="148" y="16"/>
                  </a:lnTo>
                  <a:lnTo>
                    <a:pt x="147" y="17"/>
                  </a:lnTo>
                  <a:lnTo>
                    <a:pt x="143" y="21"/>
                  </a:lnTo>
                  <a:lnTo>
                    <a:pt x="140" y="23"/>
                  </a:lnTo>
                  <a:lnTo>
                    <a:pt x="135" y="24"/>
                  </a:lnTo>
                  <a:lnTo>
                    <a:pt x="126" y="23"/>
                  </a:lnTo>
                  <a:lnTo>
                    <a:pt x="126" y="23"/>
                  </a:lnTo>
                  <a:lnTo>
                    <a:pt x="121" y="47"/>
                  </a:lnTo>
                  <a:lnTo>
                    <a:pt x="115" y="63"/>
                  </a:lnTo>
                  <a:lnTo>
                    <a:pt x="112" y="75"/>
                  </a:lnTo>
                  <a:lnTo>
                    <a:pt x="112" y="82"/>
                  </a:lnTo>
                  <a:lnTo>
                    <a:pt x="112" y="90"/>
                  </a:lnTo>
                  <a:lnTo>
                    <a:pt x="112" y="90"/>
                  </a:lnTo>
                  <a:lnTo>
                    <a:pt x="103" y="90"/>
                  </a:lnTo>
                  <a:lnTo>
                    <a:pt x="96" y="94"/>
                  </a:lnTo>
                  <a:lnTo>
                    <a:pt x="93" y="97"/>
                  </a:lnTo>
                  <a:lnTo>
                    <a:pt x="89" y="103"/>
                  </a:lnTo>
                  <a:lnTo>
                    <a:pt x="86" y="113"/>
                  </a:lnTo>
                  <a:lnTo>
                    <a:pt x="84" y="118"/>
                  </a:lnTo>
                  <a:lnTo>
                    <a:pt x="81" y="124"/>
                  </a:lnTo>
                  <a:lnTo>
                    <a:pt x="81" y="124"/>
                  </a:lnTo>
                  <a:lnTo>
                    <a:pt x="75" y="129"/>
                  </a:lnTo>
                  <a:lnTo>
                    <a:pt x="74" y="136"/>
                  </a:lnTo>
                  <a:lnTo>
                    <a:pt x="70" y="150"/>
                  </a:lnTo>
                  <a:lnTo>
                    <a:pt x="70" y="165"/>
                  </a:lnTo>
                  <a:lnTo>
                    <a:pt x="67" y="174"/>
                  </a:lnTo>
                  <a:lnTo>
                    <a:pt x="67" y="174"/>
                  </a:lnTo>
                  <a:lnTo>
                    <a:pt x="65" y="176"/>
                  </a:lnTo>
                  <a:lnTo>
                    <a:pt x="63" y="176"/>
                  </a:lnTo>
                  <a:lnTo>
                    <a:pt x="60" y="172"/>
                  </a:lnTo>
                  <a:lnTo>
                    <a:pt x="58" y="169"/>
                  </a:lnTo>
                  <a:lnTo>
                    <a:pt x="56" y="169"/>
                  </a:lnTo>
                  <a:lnTo>
                    <a:pt x="53" y="171"/>
                  </a:lnTo>
                  <a:lnTo>
                    <a:pt x="49" y="176"/>
                  </a:lnTo>
                  <a:lnTo>
                    <a:pt x="49" y="176"/>
                  </a:lnTo>
                  <a:lnTo>
                    <a:pt x="47" y="181"/>
                  </a:lnTo>
                  <a:lnTo>
                    <a:pt x="46" y="185"/>
                  </a:lnTo>
                  <a:lnTo>
                    <a:pt x="47" y="191"/>
                  </a:lnTo>
                  <a:lnTo>
                    <a:pt x="49" y="198"/>
                  </a:lnTo>
                  <a:lnTo>
                    <a:pt x="47" y="205"/>
                  </a:lnTo>
                  <a:lnTo>
                    <a:pt x="44" y="212"/>
                  </a:lnTo>
                  <a:lnTo>
                    <a:pt x="44" y="212"/>
                  </a:lnTo>
                  <a:lnTo>
                    <a:pt x="42" y="221"/>
                  </a:lnTo>
                  <a:lnTo>
                    <a:pt x="41" y="233"/>
                  </a:lnTo>
                  <a:lnTo>
                    <a:pt x="41" y="254"/>
                  </a:lnTo>
                  <a:lnTo>
                    <a:pt x="41" y="265"/>
                  </a:lnTo>
                  <a:lnTo>
                    <a:pt x="39" y="272"/>
                  </a:lnTo>
                  <a:lnTo>
                    <a:pt x="37" y="273"/>
                  </a:lnTo>
                  <a:lnTo>
                    <a:pt x="35" y="275"/>
                  </a:lnTo>
                  <a:lnTo>
                    <a:pt x="32" y="275"/>
                  </a:lnTo>
                  <a:lnTo>
                    <a:pt x="28" y="275"/>
                  </a:lnTo>
                  <a:lnTo>
                    <a:pt x="28" y="275"/>
                  </a:lnTo>
                  <a:lnTo>
                    <a:pt x="18" y="272"/>
                  </a:lnTo>
                  <a:lnTo>
                    <a:pt x="13" y="272"/>
                  </a:lnTo>
                  <a:lnTo>
                    <a:pt x="9" y="273"/>
                  </a:lnTo>
                  <a:lnTo>
                    <a:pt x="7" y="277"/>
                  </a:lnTo>
                  <a:lnTo>
                    <a:pt x="7" y="284"/>
                  </a:lnTo>
                  <a:lnTo>
                    <a:pt x="7" y="287"/>
                  </a:lnTo>
                  <a:lnTo>
                    <a:pt x="4" y="291"/>
                  </a:lnTo>
                  <a:lnTo>
                    <a:pt x="4" y="291"/>
                  </a:lnTo>
                  <a:lnTo>
                    <a:pt x="0" y="296"/>
                  </a:lnTo>
                  <a:lnTo>
                    <a:pt x="0" y="298"/>
                  </a:lnTo>
                  <a:lnTo>
                    <a:pt x="4" y="299"/>
                  </a:lnTo>
                  <a:lnTo>
                    <a:pt x="9" y="301"/>
                  </a:lnTo>
                  <a:lnTo>
                    <a:pt x="18" y="305"/>
                  </a:lnTo>
                  <a:lnTo>
                    <a:pt x="25" y="308"/>
                  </a:lnTo>
                  <a:lnTo>
                    <a:pt x="32" y="313"/>
                  </a:lnTo>
                  <a:lnTo>
                    <a:pt x="37" y="322"/>
                  </a:lnTo>
                  <a:lnTo>
                    <a:pt x="37" y="322"/>
                  </a:lnTo>
                  <a:lnTo>
                    <a:pt x="42" y="329"/>
                  </a:lnTo>
                  <a:lnTo>
                    <a:pt x="46" y="334"/>
                  </a:lnTo>
                  <a:lnTo>
                    <a:pt x="54" y="341"/>
                  </a:lnTo>
                  <a:lnTo>
                    <a:pt x="56" y="343"/>
                  </a:lnTo>
                  <a:lnTo>
                    <a:pt x="60" y="348"/>
                  </a:lnTo>
                  <a:lnTo>
                    <a:pt x="63" y="355"/>
                  </a:lnTo>
                  <a:lnTo>
                    <a:pt x="65" y="366"/>
                  </a:lnTo>
                  <a:lnTo>
                    <a:pt x="65" y="366"/>
                  </a:lnTo>
                  <a:lnTo>
                    <a:pt x="70" y="383"/>
                  </a:lnTo>
                  <a:lnTo>
                    <a:pt x="75" y="393"/>
                  </a:lnTo>
                  <a:lnTo>
                    <a:pt x="79" y="397"/>
                  </a:lnTo>
                  <a:lnTo>
                    <a:pt x="82" y="399"/>
                  </a:lnTo>
                  <a:lnTo>
                    <a:pt x="93" y="402"/>
                  </a:lnTo>
                  <a:lnTo>
                    <a:pt x="93" y="402"/>
                  </a:lnTo>
                  <a:lnTo>
                    <a:pt x="96" y="404"/>
                  </a:lnTo>
                  <a:lnTo>
                    <a:pt x="100" y="406"/>
                  </a:lnTo>
                  <a:lnTo>
                    <a:pt x="100" y="409"/>
                  </a:lnTo>
                  <a:lnTo>
                    <a:pt x="100" y="413"/>
                  </a:lnTo>
                  <a:lnTo>
                    <a:pt x="98" y="421"/>
                  </a:lnTo>
                  <a:lnTo>
                    <a:pt x="100" y="428"/>
                  </a:lnTo>
                  <a:lnTo>
                    <a:pt x="101" y="437"/>
                  </a:lnTo>
                  <a:lnTo>
                    <a:pt x="101" y="43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8" name="Freeform 1753">
              <a:extLst>
                <a:ext uri="{FF2B5EF4-FFF2-40B4-BE49-F238E27FC236}">
                  <a16:creationId xmlns:a16="http://schemas.microsoft.com/office/drawing/2014/main" id="{036DF4FA-BC02-44DD-AC32-10ECDA5CE9B5}"/>
                </a:ext>
              </a:extLst>
            </p:cNvPr>
            <p:cNvSpPr>
              <a:spLocks/>
            </p:cNvSpPr>
            <p:nvPr/>
          </p:nvSpPr>
          <p:spPr bwMode="auto">
            <a:xfrm>
              <a:off x="5678261" y="4347917"/>
              <a:ext cx="223772" cy="325970"/>
            </a:xfrm>
            <a:custGeom>
              <a:avLst/>
              <a:gdLst/>
              <a:ahLst/>
              <a:cxnLst>
                <a:cxn ang="0">
                  <a:pos x="10" y="42"/>
                </a:cxn>
                <a:cxn ang="0">
                  <a:pos x="17" y="65"/>
                </a:cxn>
                <a:cxn ang="0">
                  <a:pos x="26" y="91"/>
                </a:cxn>
                <a:cxn ang="0">
                  <a:pos x="34" y="108"/>
                </a:cxn>
                <a:cxn ang="0">
                  <a:pos x="36" y="140"/>
                </a:cxn>
                <a:cxn ang="0">
                  <a:pos x="19" y="171"/>
                </a:cxn>
                <a:cxn ang="0">
                  <a:pos x="5" y="188"/>
                </a:cxn>
                <a:cxn ang="0">
                  <a:pos x="0" y="228"/>
                </a:cxn>
                <a:cxn ang="0">
                  <a:pos x="80" y="305"/>
                </a:cxn>
                <a:cxn ang="0">
                  <a:pos x="130" y="338"/>
                </a:cxn>
                <a:cxn ang="0">
                  <a:pos x="132" y="347"/>
                </a:cxn>
                <a:cxn ang="0">
                  <a:pos x="132" y="359"/>
                </a:cxn>
                <a:cxn ang="0">
                  <a:pos x="165" y="390"/>
                </a:cxn>
                <a:cxn ang="0">
                  <a:pos x="188" y="408"/>
                </a:cxn>
                <a:cxn ang="0">
                  <a:pos x="207" y="364"/>
                </a:cxn>
                <a:cxn ang="0">
                  <a:pos x="210" y="355"/>
                </a:cxn>
                <a:cxn ang="0">
                  <a:pos x="219" y="350"/>
                </a:cxn>
                <a:cxn ang="0">
                  <a:pos x="219" y="336"/>
                </a:cxn>
                <a:cxn ang="0">
                  <a:pos x="226" y="317"/>
                </a:cxn>
                <a:cxn ang="0">
                  <a:pos x="245" y="308"/>
                </a:cxn>
                <a:cxn ang="0">
                  <a:pos x="243" y="296"/>
                </a:cxn>
                <a:cxn ang="0">
                  <a:pos x="256" y="293"/>
                </a:cxn>
                <a:cxn ang="0">
                  <a:pos x="269" y="279"/>
                </a:cxn>
                <a:cxn ang="0">
                  <a:pos x="256" y="260"/>
                </a:cxn>
                <a:cxn ang="0">
                  <a:pos x="247" y="246"/>
                </a:cxn>
                <a:cxn ang="0">
                  <a:pos x="247" y="91"/>
                </a:cxn>
                <a:cxn ang="0">
                  <a:pos x="280" y="42"/>
                </a:cxn>
                <a:cxn ang="0">
                  <a:pos x="254" y="42"/>
                </a:cxn>
                <a:cxn ang="0">
                  <a:pos x="247" y="37"/>
                </a:cxn>
                <a:cxn ang="0">
                  <a:pos x="236" y="28"/>
                </a:cxn>
                <a:cxn ang="0">
                  <a:pos x="221" y="35"/>
                </a:cxn>
                <a:cxn ang="0">
                  <a:pos x="200" y="58"/>
                </a:cxn>
                <a:cxn ang="0">
                  <a:pos x="191" y="61"/>
                </a:cxn>
                <a:cxn ang="0">
                  <a:pos x="182" y="61"/>
                </a:cxn>
                <a:cxn ang="0">
                  <a:pos x="168" y="58"/>
                </a:cxn>
                <a:cxn ang="0">
                  <a:pos x="151" y="58"/>
                </a:cxn>
                <a:cxn ang="0">
                  <a:pos x="134" y="47"/>
                </a:cxn>
                <a:cxn ang="0">
                  <a:pos x="113" y="28"/>
                </a:cxn>
                <a:cxn ang="0">
                  <a:pos x="90" y="21"/>
                </a:cxn>
                <a:cxn ang="0">
                  <a:pos x="74" y="21"/>
                </a:cxn>
                <a:cxn ang="0">
                  <a:pos x="61" y="16"/>
                </a:cxn>
                <a:cxn ang="0">
                  <a:pos x="52" y="11"/>
                </a:cxn>
                <a:cxn ang="0">
                  <a:pos x="52" y="6"/>
                </a:cxn>
                <a:cxn ang="0">
                  <a:pos x="45" y="0"/>
                </a:cxn>
                <a:cxn ang="0">
                  <a:pos x="24" y="7"/>
                </a:cxn>
                <a:cxn ang="0">
                  <a:pos x="1" y="32"/>
                </a:cxn>
              </a:cxnLst>
              <a:rect l="0" t="0" r="r" b="b"/>
              <a:pathLst>
                <a:path w="280" h="408">
                  <a:moveTo>
                    <a:pt x="1" y="32"/>
                  </a:moveTo>
                  <a:lnTo>
                    <a:pt x="1" y="32"/>
                  </a:lnTo>
                  <a:lnTo>
                    <a:pt x="10" y="42"/>
                  </a:lnTo>
                  <a:lnTo>
                    <a:pt x="13" y="51"/>
                  </a:lnTo>
                  <a:lnTo>
                    <a:pt x="15" y="58"/>
                  </a:lnTo>
                  <a:lnTo>
                    <a:pt x="17" y="65"/>
                  </a:lnTo>
                  <a:lnTo>
                    <a:pt x="19" y="77"/>
                  </a:lnTo>
                  <a:lnTo>
                    <a:pt x="20" y="84"/>
                  </a:lnTo>
                  <a:lnTo>
                    <a:pt x="26" y="91"/>
                  </a:lnTo>
                  <a:lnTo>
                    <a:pt x="26" y="91"/>
                  </a:lnTo>
                  <a:lnTo>
                    <a:pt x="31" y="100"/>
                  </a:lnTo>
                  <a:lnTo>
                    <a:pt x="34" y="108"/>
                  </a:lnTo>
                  <a:lnTo>
                    <a:pt x="36" y="119"/>
                  </a:lnTo>
                  <a:lnTo>
                    <a:pt x="36" y="129"/>
                  </a:lnTo>
                  <a:lnTo>
                    <a:pt x="36" y="140"/>
                  </a:lnTo>
                  <a:lnTo>
                    <a:pt x="33" y="150"/>
                  </a:lnTo>
                  <a:lnTo>
                    <a:pt x="26" y="160"/>
                  </a:lnTo>
                  <a:lnTo>
                    <a:pt x="19" y="171"/>
                  </a:lnTo>
                  <a:lnTo>
                    <a:pt x="19" y="171"/>
                  </a:lnTo>
                  <a:lnTo>
                    <a:pt x="10" y="180"/>
                  </a:lnTo>
                  <a:lnTo>
                    <a:pt x="5" y="188"/>
                  </a:lnTo>
                  <a:lnTo>
                    <a:pt x="3" y="199"/>
                  </a:lnTo>
                  <a:lnTo>
                    <a:pt x="1" y="207"/>
                  </a:lnTo>
                  <a:lnTo>
                    <a:pt x="0" y="228"/>
                  </a:lnTo>
                  <a:lnTo>
                    <a:pt x="0" y="253"/>
                  </a:lnTo>
                  <a:lnTo>
                    <a:pt x="0" y="253"/>
                  </a:lnTo>
                  <a:lnTo>
                    <a:pt x="80" y="305"/>
                  </a:lnTo>
                  <a:lnTo>
                    <a:pt x="123" y="333"/>
                  </a:lnTo>
                  <a:lnTo>
                    <a:pt x="123" y="333"/>
                  </a:lnTo>
                  <a:lnTo>
                    <a:pt x="130" y="338"/>
                  </a:lnTo>
                  <a:lnTo>
                    <a:pt x="132" y="342"/>
                  </a:lnTo>
                  <a:lnTo>
                    <a:pt x="132" y="345"/>
                  </a:lnTo>
                  <a:lnTo>
                    <a:pt x="132" y="347"/>
                  </a:lnTo>
                  <a:lnTo>
                    <a:pt x="130" y="350"/>
                  </a:lnTo>
                  <a:lnTo>
                    <a:pt x="130" y="354"/>
                  </a:lnTo>
                  <a:lnTo>
                    <a:pt x="132" y="359"/>
                  </a:lnTo>
                  <a:lnTo>
                    <a:pt x="135" y="364"/>
                  </a:lnTo>
                  <a:lnTo>
                    <a:pt x="135" y="364"/>
                  </a:lnTo>
                  <a:lnTo>
                    <a:pt x="165" y="390"/>
                  </a:lnTo>
                  <a:lnTo>
                    <a:pt x="179" y="402"/>
                  </a:lnTo>
                  <a:lnTo>
                    <a:pt x="188" y="408"/>
                  </a:lnTo>
                  <a:lnTo>
                    <a:pt x="188" y="408"/>
                  </a:lnTo>
                  <a:lnTo>
                    <a:pt x="202" y="387"/>
                  </a:lnTo>
                  <a:lnTo>
                    <a:pt x="205" y="376"/>
                  </a:lnTo>
                  <a:lnTo>
                    <a:pt x="207" y="364"/>
                  </a:lnTo>
                  <a:lnTo>
                    <a:pt x="207" y="364"/>
                  </a:lnTo>
                  <a:lnTo>
                    <a:pt x="209" y="359"/>
                  </a:lnTo>
                  <a:lnTo>
                    <a:pt x="210" y="355"/>
                  </a:lnTo>
                  <a:lnTo>
                    <a:pt x="215" y="354"/>
                  </a:lnTo>
                  <a:lnTo>
                    <a:pt x="217" y="352"/>
                  </a:lnTo>
                  <a:lnTo>
                    <a:pt x="219" y="350"/>
                  </a:lnTo>
                  <a:lnTo>
                    <a:pt x="219" y="345"/>
                  </a:lnTo>
                  <a:lnTo>
                    <a:pt x="219" y="336"/>
                  </a:lnTo>
                  <a:lnTo>
                    <a:pt x="219" y="336"/>
                  </a:lnTo>
                  <a:lnTo>
                    <a:pt x="219" y="326"/>
                  </a:lnTo>
                  <a:lnTo>
                    <a:pt x="222" y="321"/>
                  </a:lnTo>
                  <a:lnTo>
                    <a:pt x="226" y="317"/>
                  </a:lnTo>
                  <a:lnTo>
                    <a:pt x="233" y="315"/>
                  </a:lnTo>
                  <a:lnTo>
                    <a:pt x="242" y="312"/>
                  </a:lnTo>
                  <a:lnTo>
                    <a:pt x="245" y="308"/>
                  </a:lnTo>
                  <a:lnTo>
                    <a:pt x="245" y="303"/>
                  </a:lnTo>
                  <a:lnTo>
                    <a:pt x="245" y="303"/>
                  </a:lnTo>
                  <a:lnTo>
                    <a:pt x="243" y="296"/>
                  </a:lnTo>
                  <a:lnTo>
                    <a:pt x="247" y="296"/>
                  </a:lnTo>
                  <a:lnTo>
                    <a:pt x="250" y="296"/>
                  </a:lnTo>
                  <a:lnTo>
                    <a:pt x="256" y="293"/>
                  </a:lnTo>
                  <a:lnTo>
                    <a:pt x="261" y="289"/>
                  </a:lnTo>
                  <a:lnTo>
                    <a:pt x="269" y="279"/>
                  </a:lnTo>
                  <a:lnTo>
                    <a:pt x="269" y="279"/>
                  </a:lnTo>
                  <a:lnTo>
                    <a:pt x="266" y="272"/>
                  </a:lnTo>
                  <a:lnTo>
                    <a:pt x="262" y="268"/>
                  </a:lnTo>
                  <a:lnTo>
                    <a:pt x="256" y="260"/>
                  </a:lnTo>
                  <a:lnTo>
                    <a:pt x="252" y="256"/>
                  </a:lnTo>
                  <a:lnTo>
                    <a:pt x="249" y="251"/>
                  </a:lnTo>
                  <a:lnTo>
                    <a:pt x="247" y="246"/>
                  </a:lnTo>
                  <a:lnTo>
                    <a:pt x="247" y="237"/>
                  </a:lnTo>
                  <a:lnTo>
                    <a:pt x="247" y="237"/>
                  </a:lnTo>
                  <a:lnTo>
                    <a:pt x="247" y="91"/>
                  </a:lnTo>
                  <a:lnTo>
                    <a:pt x="247" y="91"/>
                  </a:lnTo>
                  <a:lnTo>
                    <a:pt x="261" y="72"/>
                  </a:lnTo>
                  <a:lnTo>
                    <a:pt x="280" y="42"/>
                  </a:lnTo>
                  <a:lnTo>
                    <a:pt x="280" y="42"/>
                  </a:lnTo>
                  <a:lnTo>
                    <a:pt x="261" y="42"/>
                  </a:lnTo>
                  <a:lnTo>
                    <a:pt x="254" y="42"/>
                  </a:lnTo>
                  <a:lnTo>
                    <a:pt x="250" y="40"/>
                  </a:lnTo>
                  <a:lnTo>
                    <a:pt x="247" y="37"/>
                  </a:lnTo>
                  <a:lnTo>
                    <a:pt x="247" y="37"/>
                  </a:lnTo>
                  <a:lnTo>
                    <a:pt x="243" y="32"/>
                  </a:lnTo>
                  <a:lnTo>
                    <a:pt x="240" y="28"/>
                  </a:lnTo>
                  <a:lnTo>
                    <a:pt x="236" y="28"/>
                  </a:lnTo>
                  <a:lnTo>
                    <a:pt x="233" y="30"/>
                  </a:lnTo>
                  <a:lnTo>
                    <a:pt x="221" y="35"/>
                  </a:lnTo>
                  <a:lnTo>
                    <a:pt x="221" y="35"/>
                  </a:lnTo>
                  <a:lnTo>
                    <a:pt x="212" y="42"/>
                  </a:lnTo>
                  <a:lnTo>
                    <a:pt x="207" y="47"/>
                  </a:lnTo>
                  <a:lnTo>
                    <a:pt x="200" y="58"/>
                  </a:lnTo>
                  <a:lnTo>
                    <a:pt x="196" y="63"/>
                  </a:lnTo>
                  <a:lnTo>
                    <a:pt x="195" y="63"/>
                  </a:lnTo>
                  <a:lnTo>
                    <a:pt x="191" y="61"/>
                  </a:lnTo>
                  <a:lnTo>
                    <a:pt x="191" y="61"/>
                  </a:lnTo>
                  <a:lnTo>
                    <a:pt x="186" y="61"/>
                  </a:lnTo>
                  <a:lnTo>
                    <a:pt x="182" y="61"/>
                  </a:lnTo>
                  <a:lnTo>
                    <a:pt x="177" y="61"/>
                  </a:lnTo>
                  <a:lnTo>
                    <a:pt x="168" y="58"/>
                  </a:lnTo>
                  <a:lnTo>
                    <a:pt x="168" y="58"/>
                  </a:lnTo>
                  <a:lnTo>
                    <a:pt x="165" y="56"/>
                  </a:lnTo>
                  <a:lnTo>
                    <a:pt x="160" y="56"/>
                  </a:lnTo>
                  <a:lnTo>
                    <a:pt x="151" y="58"/>
                  </a:lnTo>
                  <a:lnTo>
                    <a:pt x="148" y="56"/>
                  </a:lnTo>
                  <a:lnTo>
                    <a:pt x="141" y="53"/>
                  </a:lnTo>
                  <a:lnTo>
                    <a:pt x="134" y="47"/>
                  </a:lnTo>
                  <a:lnTo>
                    <a:pt x="123" y="37"/>
                  </a:lnTo>
                  <a:lnTo>
                    <a:pt x="123" y="37"/>
                  </a:lnTo>
                  <a:lnTo>
                    <a:pt x="113" y="28"/>
                  </a:lnTo>
                  <a:lnTo>
                    <a:pt x="102" y="21"/>
                  </a:lnTo>
                  <a:lnTo>
                    <a:pt x="95" y="19"/>
                  </a:lnTo>
                  <a:lnTo>
                    <a:pt x="90" y="21"/>
                  </a:lnTo>
                  <a:lnTo>
                    <a:pt x="85" y="21"/>
                  </a:lnTo>
                  <a:lnTo>
                    <a:pt x="80" y="23"/>
                  </a:lnTo>
                  <a:lnTo>
                    <a:pt x="74" y="21"/>
                  </a:lnTo>
                  <a:lnTo>
                    <a:pt x="67" y="16"/>
                  </a:lnTo>
                  <a:lnTo>
                    <a:pt x="67" y="16"/>
                  </a:lnTo>
                  <a:lnTo>
                    <a:pt x="61" y="16"/>
                  </a:lnTo>
                  <a:lnTo>
                    <a:pt x="55" y="14"/>
                  </a:lnTo>
                  <a:lnTo>
                    <a:pt x="54" y="12"/>
                  </a:lnTo>
                  <a:lnTo>
                    <a:pt x="52" y="11"/>
                  </a:lnTo>
                  <a:lnTo>
                    <a:pt x="52" y="9"/>
                  </a:lnTo>
                  <a:lnTo>
                    <a:pt x="52" y="6"/>
                  </a:lnTo>
                  <a:lnTo>
                    <a:pt x="52" y="6"/>
                  </a:lnTo>
                  <a:lnTo>
                    <a:pt x="54" y="4"/>
                  </a:lnTo>
                  <a:lnTo>
                    <a:pt x="52" y="2"/>
                  </a:lnTo>
                  <a:lnTo>
                    <a:pt x="45" y="0"/>
                  </a:lnTo>
                  <a:lnTo>
                    <a:pt x="36" y="2"/>
                  </a:lnTo>
                  <a:lnTo>
                    <a:pt x="24" y="7"/>
                  </a:lnTo>
                  <a:lnTo>
                    <a:pt x="24" y="7"/>
                  </a:lnTo>
                  <a:lnTo>
                    <a:pt x="17" y="11"/>
                  </a:lnTo>
                  <a:lnTo>
                    <a:pt x="12" y="18"/>
                  </a:lnTo>
                  <a:lnTo>
                    <a:pt x="1" y="32"/>
                  </a:lnTo>
                  <a:lnTo>
                    <a:pt x="1" y="3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9" name="Freeform 1754">
              <a:extLst>
                <a:ext uri="{FF2B5EF4-FFF2-40B4-BE49-F238E27FC236}">
                  <a16:creationId xmlns:a16="http://schemas.microsoft.com/office/drawing/2014/main" id="{A481E214-AA7B-41E4-8815-E637F43DFDBC}"/>
                </a:ext>
              </a:extLst>
            </p:cNvPr>
            <p:cNvSpPr>
              <a:spLocks/>
            </p:cNvSpPr>
            <p:nvPr/>
          </p:nvSpPr>
          <p:spPr bwMode="auto">
            <a:xfrm>
              <a:off x="5052752" y="4710888"/>
              <a:ext cx="347115" cy="421119"/>
            </a:xfrm>
            <a:custGeom>
              <a:avLst/>
              <a:gdLst/>
              <a:ahLst/>
              <a:cxnLst>
                <a:cxn ang="0">
                  <a:pos x="378" y="472"/>
                </a:cxn>
                <a:cxn ang="0">
                  <a:pos x="361" y="433"/>
                </a:cxn>
                <a:cxn ang="0">
                  <a:pos x="361" y="313"/>
                </a:cxn>
                <a:cxn ang="0">
                  <a:pos x="395" y="308"/>
                </a:cxn>
                <a:cxn ang="0">
                  <a:pos x="430" y="306"/>
                </a:cxn>
                <a:cxn ang="0">
                  <a:pos x="430" y="285"/>
                </a:cxn>
                <a:cxn ang="0">
                  <a:pos x="430" y="273"/>
                </a:cxn>
                <a:cxn ang="0">
                  <a:pos x="429" y="252"/>
                </a:cxn>
                <a:cxn ang="0">
                  <a:pos x="430" y="216"/>
                </a:cxn>
                <a:cxn ang="0">
                  <a:pos x="416" y="221"/>
                </a:cxn>
                <a:cxn ang="0">
                  <a:pos x="404" y="223"/>
                </a:cxn>
                <a:cxn ang="0">
                  <a:pos x="387" y="223"/>
                </a:cxn>
                <a:cxn ang="0">
                  <a:pos x="378" y="228"/>
                </a:cxn>
                <a:cxn ang="0">
                  <a:pos x="369" y="233"/>
                </a:cxn>
                <a:cxn ang="0">
                  <a:pos x="371" y="205"/>
                </a:cxn>
                <a:cxn ang="0">
                  <a:pos x="362" y="176"/>
                </a:cxn>
                <a:cxn ang="0">
                  <a:pos x="354" y="136"/>
                </a:cxn>
                <a:cxn ang="0">
                  <a:pos x="355" y="101"/>
                </a:cxn>
                <a:cxn ang="0">
                  <a:pos x="355" y="69"/>
                </a:cxn>
                <a:cxn ang="0">
                  <a:pos x="347" y="64"/>
                </a:cxn>
                <a:cxn ang="0">
                  <a:pos x="310" y="61"/>
                </a:cxn>
                <a:cxn ang="0">
                  <a:pos x="312" y="50"/>
                </a:cxn>
                <a:cxn ang="0">
                  <a:pos x="301" y="50"/>
                </a:cxn>
                <a:cxn ang="0">
                  <a:pos x="284" y="50"/>
                </a:cxn>
                <a:cxn ang="0">
                  <a:pos x="274" y="62"/>
                </a:cxn>
                <a:cxn ang="0">
                  <a:pos x="268" y="78"/>
                </a:cxn>
                <a:cxn ang="0">
                  <a:pos x="268" y="94"/>
                </a:cxn>
                <a:cxn ang="0">
                  <a:pos x="246" y="92"/>
                </a:cxn>
                <a:cxn ang="0">
                  <a:pos x="223" y="95"/>
                </a:cxn>
                <a:cxn ang="0">
                  <a:pos x="200" y="89"/>
                </a:cxn>
                <a:cxn ang="0">
                  <a:pos x="185" y="64"/>
                </a:cxn>
                <a:cxn ang="0">
                  <a:pos x="183" y="47"/>
                </a:cxn>
                <a:cxn ang="0">
                  <a:pos x="174" y="22"/>
                </a:cxn>
                <a:cxn ang="0">
                  <a:pos x="160" y="1"/>
                </a:cxn>
                <a:cxn ang="0">
                  <a:pos x="105" y="5"/>
                </a:cxn>
                <a:cxn ang="0">
                  <a:pos x="58" y="0"/>
                </a:cxn>
                <a:cxn ang="0">
                  <a:pos x="37" y="8"/>
                </a:cxn>
                <a:cxn ang="0">
                  <a:pos x="21" y="15"/>
                </a:cxn>
                <a:cxn ang="0">
                  <a:pos x="49" y="85"/>
                </a:cxn>
                <a:cxn ang="0">
                  <a:pos x="49" y="125"/>
                </a:cxn>
                <a:cxn ang="0">
                  <a:pos x="47" y="149"/>
                </a:cxn>
                <a:cxn ang="0">
                  <a:pos x="68" y="203"/>
                </a:cxn>
                <a:cxn ang="0">
                  <a:pos x="73" y="250"/>
                </a:cxn>
                <a:cxn ang="0">
                  <a:pos x="52" y="289"/>
                </a:cxn>
                <a:cxn ang="0">
                  <a:pos x="35" y="310"/>
                </a:cxn>
                <a:cxn ang="0">
                  <a:pos x="16" y="388"/>
                </a:cxn>
                <a:cxn ang="0">
                  <a:pos x="4" y="425"/>
                </a:cxn>
                <a:cxn ang="0">
                  <a:pos x="0" y="468"/>
                </a:cxn>
                <a:cxn ang="0">
                  <a:pos x="14" y="491"/>
                </a:cxn>
                <a:cxn ang="0">
                  <a:pos x="46" y="480"/>
                </a:cxn>
                <a:cxn ang="0">
                  <a:pos x="66" y="484"/>
                </a:cxn>
                <a:cxn ang="0">
                  <a:pos x="84" y="496"/>
                </a:cxn>
                <a:cxn ang="0">
                  <a:pos x="234" y="496"/>
                </a:cxn>
                <a:cxn ang="0">
                  <a:pos x="246" y="510"/>
                </a:cxn>
                <a:cxn ang="0">
                  <a:pos x="275" y="517"/>
                </a:cxn>
                <a:cxn ang="0">
                  <a:pos x="307" y="519"/>
                </a:cxn>
                <a:cxn ang="0">
                  <a:pos x="324" y="519"/>
                </a:cxn>
                <a:cxn ang="0">
                  <a:pos x="329" y="519"/>
                </a:cxn>
                <a:cxn ang="0">
                  <a:pos x="343" y="522"/>
                </a:cxn>
              </a:cxnLst>
              <a:rect l="0" t="0" r="r" b="b"/>
              <a:pathLst>
                <a:path w="434" h="524">
                  <a:moveTo>
                    <a:pt x="411" y="506"/>
                  </a:moveTo>
                  <a:lnTo>
                    <a:pt x="411" y="506"/>
                  </a:lnTo>
                  <a:lnTo>
                    <a:pt x="394" y="489"/>
                  </a:lnTo>
                  <a:lnTo>
                    <a:pt x="378" y="472"/>
                  </a:lnTo>
                  <a:lnTo>
                    <a:pt x="371" y="461"/>
                  </a:lnTo>
                  <a:lnTo>
                    <a:pt x="366" y="452"/>
                  </a:lnTo>
                  <a:lnTo>
                    <a:pt x="362" y="442"/>
                  </a:lnTo>
                  <a:lnTo>
                    <a:pt x="361" y="433"/>
                  </a:lnTo>
                  <a:lnTo>
                    <a:pt x="361" y="433"/>
                  </a:lnTo>
                  <a:lnTo>
                    <a:pt x="361" y="318"/>
                  </a:lnTo>
                  <a:lnTo>
                    <a:pt x="361" y="318"/>
                  </a:lnTo>
                  <a:lnTo>
                    <a:pt x="361" y="313"/>
                  </a:lnTo>
                  <a:lnTo>
                    <a:pt x="364" y="310"/>
                  </a:lnTo>
                  <a:lnTo>
                    <a:pt x="369" y="308"/>
                  </a:lnTo>
                  <a:lnTo>
                    <a:pt x="376" y="308"/>
                  </a:lnTo>
                  <a:lnTo>
                    <a:pt x="395" y="308"/>
                  </a:lnTo>
                  <a:lnTo>
                    <a:pt x="423" y="308"/>
                  </a:lnTo>
                  <a:lnTo>
                    <a:pt x="423" y="308"/>
                  </a:lnTo>
                  <a:lnTo>
                    <a:pt x="429" y="308"/>
                  </a:lnTo>
                  <a:lnTo>
                    <a:pt x="430" y="306"/>
                  </a:lnTo>
                  <a:lnTo>
                    <a:pt x="430" y="301"/>
                  </a:lnTo>
                  <a:lnTo>
                    <a:pt x="429" y="294"/>
                  </a:lnTo>
                  <a:lnTo>
                    <a:pt x="429" y="289"/>
                  </a:lnTo>
                  <a:lnTo>
                    <a:pt x="430" y="285"/>
                  </a:lnTo>
                  <a:lnTo>
                    <a:pt x="430" y="285"/>
                  </a:lnTo>
                  <a:lnTo>
                    <a:pt x="432" y="282"/>
                  </a:lnTo>
                  <a:lnTo>
                    <a:pt x="434" y="278"/>
                  </a:lnTo>
                  <a:lnTo>
                    <a:pt x="430" y="273"/>
                  </a:lnTo>
                  <a:lnTo>
                    <a:pt x="429" y="264"/>
                  </a:lnTo>
                  <a:lnTo>
                    <a:pt x="429" y="259"/>
                  </a:lnTo>
                  <a:lnTo>
                    <a:pt x="429" y="252"/>
                  </a:lnTo>
                  <a:lnTo>
                    <a:pt x="429" y="252"/>
                  </a:lnTo>
                  <a:lnTo>
                    <a:pt x="432" y="240"/>
                  </a:lnTo>
                  <a:lnTo>
                    <a:pt x="432" y="230"/>
                  </a:lnTo>
                  <a:lnTo>
                    <a:pt x="430" y="216"/>
                  </a:lnTo>
                  <a:lnTo>
                    <a:pt x="430" y="216"/>
                  </a:lnTo>
                  <a:lnTo>
                    <a:pt x="429" y="221"/>
                  </a:lnTo>
                  <a:lnTo>
                    <a:pt x="425" y="223"/>
                  </a:lnTo>
                  <a:lnTo>
                    <a:pt x="422" y="223"/>
                  </a:lnTo>
                  <a:lnTo>
                    <a:pt x="416" y="221"/>
                  </a:lnTo>
                  <a:lnTo>
                    <a:pt x="416" y="221"/>
                  </a:lnTo>
                  <a:lnTo>
                    <a:pt x="413" y="219"/>
                  </a:lnTo>
                  <a:lnTo>
                    <a:pt x="409" y="219"/>
                  </a:lnTo>
                  <a:lnTo>
                    <a:pt x="404" y="223"/>
                  </a:lnTo>
                  <a:lnTo>
                    <a:pt x="397" y="224"/>
                  </a:lnTo>
                  <a:lnTo>
                    <a:pt x="392" y="224"/>
                  </a:lnTo>
                  <a:lnTo>
                    <a:pt x="387" y="223"/>
                  </a:lnTo>
                  <a:lnTo>
                    <a:pt x="387" y="223"/>
                  </a:lnTo>
                  <a:lnTo>
                    <a:pt x="382" y="223"/>
                  </a:lnTo>
                  <a:lnTo>
                    <a:pt x="380" y="224"/>
                  </a:lnTo>
                  <a:lnTo>
                    <a:pt x="378" y="224"/>
                  </a:lnTo>
                  <a:lnTo>
                    <a:pt x="378" y="228"/>
                  </a:lnTo>
                  <a:lnTo>
                    <a:pt x="376" y="231"/>
                  </a:lnTo>
                  <a:lnTo>
                    <a:pt x="373" y="233"/>
                  </a:lnTo>
                  <a:lnTo>
                    <a:pt x="369" y="233"/>
                  </a:lnTo>
                  <a:lnTo>
                    <a:pt x="369" y="233"/>
                  </a:lnTo>
                  <a:lnTo>
                    <a:pt x="366" y="231"/>
                  </a:lnTo>
                  <a:lnTo>
                    <a:pt x="366" y="226"/>
                  </a:lnTo>
                  <a:lnTo>
                    <a:pt x="369" y="214"/>
                  </a:lnTo>
                  <a:lnTo>
                    <a:pt x="371" y="205"/>
                  </a:lnTo>
                  <a:lnTo>
                    <a:pt x="371" y="195"/>
                  </a:lnTo>
                  <a:lnTo>
                    <a:pt x="368" y="186"/>
                  </a:lnTo>
                  <a:lnTo>
                    <a:pt x="362" y="176"/>
                  </a:lnTo>
                  <a:lnTo>
                    <a:pt x="362" y="176"/>
                  </a:lnTo>
                  <a:lnTo>
                    <a:pt x="357" y="165"/>
                  </a:lnTo>
                  <a:lnTo>
                    <a:pt x="354" y="155"/>
                  </a:lnTo>
                  <a:lnTo>
                    <a:pt x="354" y="144"/>
                  </a:lnTo>
                  <a:lnTo>
                    <a:pt x="354" y="136"/>
                  </a:lnTo>
                  <a:lnTo>
                    <a:pt x="357" y="116"/>
                  </a:lnTo>
                  <a:lnTo>
                    <a:pt x="357" y="109"/>
                  </a:lnTo>
                  <a:lnTo>
                    <a:pt x="355" y="101"/>
                  </a:lnTo>
                  <a:lnTo>
                    <a:pt x="355" y="101"/>
                  </a:lnTo>
                  <a:lnTo>
                    <a:pt x="352" y="90"/>
                  </a:lnTo>
                  <a:lnTo>
                    <a:pt x="352" y="83"/>
                  </a:lnTo>
                  <a:lnTo>
                    <a:pt x="354" y="76"/>
                  </a:lnTo>
                  <a:lnTo>
                    <a:pt x="355" y="69"/>
                  </a:lnTo>
                  <a:lnTo>
                    <a:pt x="355" y="69"/>
                  </a:lnTo>
                  <a:lnTo>
                    <a:pt x="354" y="68"/>
                  </a:lnTo>
                  <a:lnTo>
                    <a:pt x="352" y="66"/>
                  </a:lnTo>
                  <a:lnTo>
                    <a:pt x="347" y="64"/>
                  </a:lnTo>
                  <a:lnTo>
                    <a:pt x="329" y="64"/>
                  </a:lnTo>
                  <a:lnTo>
                    <a:pt x="321" y="64"/>
                  </a:lnTo>
                  <a:lnTo>
                    <a:pt x="314" y="64"/>
                  </a:lnTo>
                  <a:lnTo>
                    <a:pt x="310" y="61"/>
                  </a:lnTo>
                  <a:lnTo>
                    <a:pt x="310" y="59"/>
                  </a:lnTo>
                  <a:lnTo>
                    <a:pt x="310" y="57"/>
                  </a:lnTo>
                  <a:lnTo>
                    <a:pt x="310" y="57"/>
                  </a:lnTo>
                  <a:lnTo>
                    <a:pt x="312" y="50"/>
                  </a:lnTo>
                  <a:lnTo>
                    <a:pt x="312" y="48"/>
                  </a:lnTo>
                  <a:lnTo>
                    <a:pt x="310" y="47"/>
                  </a:lnTo>
                  <a:lnTo>
                    <a:pt x="307" y="47"/>
                  </a:lnTo>
                  <a:lnTo>
                    <a:pt x="301" y="50"/>
                  </a:lnTo>
                  <a:lnTo>
                    <a:pt x="301" y="50"/>
                  </a:lnTo>
                  <a:lnTo>
                    <a:pt x="298" y="50"/>
                  </a:lnTo>
                  <a:lnTo>
                    <a:pt x="295" y="52"/>
                  </a:lnTo>
                  <a:lnTo>
                    <a:pt x="284" y="50"/>
                  </a:lnTo>
                  <a:lnTo>
                    <a:pt x="281" y="52"/>
                  </a:lnTo>
                  <a:lnTo>
                    <a:pt x="277" y="54"/>
                  </a:lnTo>
                  <a:lnTo>
                    <a:pt x="274" y="57"/>
                  </a:lnTo>
                  <a:lnTo>
                    <a:pt x="274" y="62"/>
                  </a:lnTo>
                  <a:lnTo>
                    <a:pt x="274" y="62"/>
                  </a:lnTo>
                  <a:lnTo>
                    <a:pt x="272" y="71"/>
                  </a:lnTo>
                  <a:lnTo>
                    <a:pt x="270" y="75"/>
                  </a:lnTo>
                  <a:lnTo>
                    <a:pt x="268" y="78"/>
                  </a:lnTo>
                  <a:lnTo>
                    <a:pt x="268" y="85"/>
                  </a:lnTo>
                  <a:lnTo>
                    <a:pt x="268" y="85"/>
                  </a:lnTo>
                  <a:lnTo>
                    <a:pt x="268" y="90"/>
                  </a:lnTo>
                  <a:lnTo>
                    <a:pt x="268" y="94"/>
                  </a:lnTo>
                  <a:lnTo>
                    <a:pt x="265" y="95"/>
                  </a:lnTo>
                  <a:lnTo>
                    <a:pt x="261" y="95"/>
                  </a:lnTo>
                  <a:lnTo>
                    <a:pt x="254" y="95"/>
                  </a:lnTo>
                  <a:lnTo>
                    <a:pt x="246" y="92"/>
                  </a:lnTo>
                  <a:lnTo>
                    <a:pt x="246" y="92"/>
                  </a:lnTo>
                  <a:lnTo>
                    <a:pt x="242" y="90"/>
                  </a:lnTo>
                  <a:lnTo>
                    <a:pt x="237" y="90"/>
                  </a:lnTo>
                  <a:lnTo>
                    <a:pt x="223" y="95"/>
                  </a:lnTo>
                  <a:lnTo>
                    <a:pt x="214" y="97"/>
                  </a:lnTo>
                  <a:lnTo>
                    <a:pt x="209" y="97"/>
                  </a:lnTo>
                  <a:lnTo>
                    <a:pt x="204" y="94"/>
                  </a:lnTo>
                  <a:lnTo>
                    <a:pt x="200" y="89"/>
                  </a:lnTo>
                  <a:lnTo>
                    <a:pt x="200" y="89"/>
                  </a:lnTo>
                  <a:lnTo>
                    <a:pt x="194" y="78"/>
                  </a:lnTo>
                  <a:lnTo>
                    <a:pt x="188" y="71"/>
                  </a:lnTo>
                  <a:lnTo>
                    <a:pt x="185" y="64"/>
                  </a:lnTo>
                  <a:lnTo>
                    <a:pt x="183" y="61"/>
                  </a:lnTo>
                  <a:lnTo>
                    <a:pt x="183" y="55"/>
                  </a:lnTo>
                  <a:lnTo>
                    <a:pt x="183" y="55"/>
                  </a:lnTo>
                  <a:lnTo>
                    <a:pt x="183" y="47"/>
                  </a:lnTo>
                  <a:lnTo>
                    <a:pt x="180" y="42"/>
                  </a:lnTo>
                  <a:lnTo>
                    <a:pt x="176" y="35"/>
                  </a:lnTo>
                  <a:lnTo>
                    <a:pt x="174" y="22"/>
                  </a:lnTo>
                  <a:lnTo>
                    <a:pt x="174" y="22"/>
                  </a:lnTo>
                  <a:lnTo>
                    <a:pt x="173" y="10"/>
                  </a:lnTo>
                  <a:lnTo>
                    <a:pt x="171" y="5"/>
                  </a:lnTo>
                  <a:lnTo>
                    <a:pt x="166" y="3"/>
                  </a:lnTo>
                  <a:lnTo>
                    <a:pt x="160" y="1"/>
                  </a:lnTo>
                  <a:lnTo>
                    <a:pt x="152" y="1"/>
                  </a:lnTo>
                  <a:lnTo>
                    <a:pt x="122" y="3"/>
                  </a:lnTo>
                  <a:lnTo>
                    <a:pt x="122" y="3"/>
                  </a:lnTo>
                  <a:lnTo>
                    <a:pt x="105" y="5"/>
                  </a:lnTo>
                  <a:lnTo>
                    <a:pt x="93" y="5"/>
                  </a:lnTo>
                  <a:lnTo>
                    <a:pt x="77" y="3"/>
                  </a:lnTo>
                  <a:lnTo>
                    <a:pt x="65" y="0"/>
                  </a:lnTo>
                  <a:lnTo>
                    <a:pt x="58" y="0"/>
                  </a:lnTo>
                  <a:lnTo>
                    <a:pt x="49" y="0"/>
                  </a:lnTo>
                  <a:lnTo>
                    <a:pt x="49" y="0"/>
                  </a:lnTo>
                  <a:lnTo>
                    <a:pt x="42" y="5"/>
                  </a:lnTo>
                  <a:lnTo>
                    <a:pt x="37" y="8"/>
                  </a:lnTo>
                  <a:lnTo>
                    <a:pt x="26" y="10"/>
                  </a:lnTo>
                  <a:lnTo>
                    <a:pt x="21" y="12"/>
                  </a:lnTo>
                  <a:lnTo>
                    <a:pt x="19" y="14"/>
                  </a:lnTo>
                  <a:lnTo>
                    <a:pt x="21" y="15"/>
                  </a:lnTo>
                  <a:lnTo>
                    <a:pt x="21" y="15"/>
                  </a:lnTo>
                  <a:lnTo>
                    <a:pt x="30" y="35"/>
                  </a:lnTo>
                  <a:lnTo>
                    <a:pt x="42" y="68"/>
                  </a:lnTo>
                  <a:lnTo>
                    <a:pt x="49" y="85"/>
                  </a:lnTo>
                  <a:lnTo>
                    <a:pt x="52" y="101"/>
                  </a:lnTo>
                  <a:lnTo>
                    <a:pt x="52" y="115"/>
                  </a:lnTo>
                  <a:lnTo>
                    <a:pt x="52" y="120"/>
                  </a:lnTo>
                  <a:lnTo>
                    <a:pt x="49" y="125"/>
                  </a:lnTo>
                  <a:lnTo>
                    <a:pt x="49" y="125"/>
                  </a:lnTo>
                  <a:lnTo>
                    <a:pt x="46" y="132"/>
                  </a:lnTo>
                  <a:lnTo>
                    <a:pt x="46" y="141"/>
                  </a:lnTo>
                  <a:lnTo>
                    <a:pt x="47" y="149"/>
                  </a:lnTo>
                  <a:lnTo>
                    <a:pt x="49" y="160"/>
                  </a:lnTo>
                  <a:lnTo>
                    <a:pt x="59" y="181"/>
                  </a:lnTo>
                  <a:lnTo>
                    <a:pt x="68" y="203"/>
                  </a:lnTo>
                  <a:lnTo>
                    <a:pt x="68" y="203"/>
                  </a:lnTo>
                  <a:lnTo>
                    <a:pt x="72" y="214"/>
                  </a:lnTo>
                  <a:lnTo>
                    <a:pt x="73" y="226"/>
                  </a:lnTo>
                  <a:lnTo>
                    <a:pt x="75" y="238"/>
                  </a:lnTo>
                  <a:lnTo>
                    <a:pt x="73" y="250"/>
                  </a:lnTo>
                  <a:lnTo>
                    <a:pt x="72" y="261"/>
                  </a:lnTo>
                  <a:lnTo>
                    <a:pt x="66" y="273"/>
                  </a:lnTo>
                  <a:lnTo>
                    <a:pt x="61" y="282"/>
                  </a:lnTo>
                  <a:lnTo>
                    <a:pt x="52" y="289"/>
                  </a:lnTo>
                  <a:lnTo>
                    <a:pt x="52" y="289"/>
                  </a:lnTo>
                  <a:lnTo>
                    <a:pt x="46" y="296"/>
                  </a:lnTo>
                  <a:lnTo>
                    <a:pt x="40" y="303"/>
                  </a:lnTo>
                  <a:lnTo>
                    <a:pt x="35" y="310"/>
                  </a:lnTo>
                  <a:lnTo>
                    <a:pt x="30" y="318"/>
                  </a:lnTo>
                  <a:lnTo>
                    <a:pt x="25" y="336"/>
                  </a:lnTo>
                  <a:lnTo>
                    <a:pt x="21" y="353"/>
                  </a:lnTo>
                  <a:lnTo>
                    <a:pt x="16" y="388"/>
                  </a:lnTo>
                  <a:lnTo>
                    <a:pt x="14" y="404"/>
                  </a:lnTo>
                  <a:lnTo>
                    <a:pt x="9" y="414"/>
                  </a:lnTo>
                  <a:lnTo>
                    <a:pt x="9" y="414"/>
                  </a:lnTo>
                  <a:lnTo>
                    <a:pt x="4" y="425"/>
                  </a:lnTo>
                  <a:lnTo>
                    <a:pt x="0" y="433"/>
                  </a:lnTo>
                  <a:lnTo>
                    <a:pt x="0" y="442"/>
                  </a:lnTo>
                  <a:lnTo>
                    <a:pt x="0" y="451"/>
                  </a:lnTo>
                  <a:lnTo>
                    <a:pt x="0" y="468"/>
                  </a:lnTo>
                  <a:lnTo>
                    <a:pt x="2" y="479"/>
                  </a:lnTo>
                  <a:lnTo>
                    <a:pt x="0" y="491"/>
                  </a:lnTo>
                  <a:lnTo>
                    <a:pt x="0" y="491"/>
                  </a:lnTo>
                  <a:lnTo>
                    <a:pt x="14" y="491"/>
                  </a:lnTo>
                  <a:lnTo>
                    <a:pt x="25" y="491"/>
                  </a:lnTo>
                  <a:lnTo>
                    <a:pt x="33" y="487"/>
                  </a:lnTo>
                  <a:lnTo>
                    <a:pt x="46" y="480"/>
                  </a:lnTo>
                  <a:lnTo>
                    <a:pt x="46" y="480"/>
                  </a:lnTo>
                  <a:lnTo>
                    <a:pt x="54" y="477"/>
                  </a:lnTo>
                  <a:lnTo>
                    <a:pt x="59" y="477"/>
                  </a:lnTo>
                  <a:lnTo>
                    <a:pt x="63" y="480"/>
                  </a:lnTo>
                  <a:lnTo>
                    <a:pt x="66" y="484"/>
                  </a:lnTo>
                  <a:lnTo>
                    <a:pt x="72" y="492"/>
                  </a:lnTo>
                  <a:lnTo>
                    <a:pt x="77" y="496"/>
                  </a:lnTo>
                  <a:lnTo>
                    <a:pt x="84" y="496"/>
                  </a:lnTo>
                  <a:lnTo>
                    <a:pt x="84" y="496"/>
                  </a:lnTo>
                  <a:lnTo>
                    <a:pt x="211" y="496"/>
                  </a:lnTo>
                  <a:lnTo>
                    <a:pt x="211" y="496"/>
                  </a:lnTo>
                  <a:lnTo>
                    <a:pt x="225" y="496"/>
                  </a:lnTo>
                  <a:lnTo>
                    <a:pt x="234" y="496"/>
                  </a:lnTo>
                  <a:lnTo>
                    <a:pt x="239" y="499"/>
                  </a:lnTo>
                  <a:lnTo>
                    <a:pt x="242" y="506"/>
                  </a:lnTo>
                  <a:lnTo>
                    <a:pt x="242" y="506"/>
                  </a:lnTo>
                  <a:lnTo>
                    <a:pt x="246" y="510"/>
                  </a:lnTo>
                  <a:lnTo>
                    <a:pt x="249" y="513"/>
                  </a:lnTo>
                  <a:lnTo>
                    <a:pt x="256" y="517"/>
                  </a:lnTo>
                  <a:lnTo>
                    <a:pt x="265" y="519"/>
                  </a:lnTo>
                  <a:lnTo>
                    <a:pt x="275" y="517"/>
                  </a:lnTo>
                  <a:lnTo>
                    <a:pt x="295" y="515"/>
                  </a:lnTo>
                  <a:lnTo>
                    <a:pt x="301" y="517"/>
                  </a:lnTo>
                  <a:lnTo>
                    <a:pt x="307" y="519"/>
                  </a:lnTo>
                  <a:lnTo>
                    <a:pt x="307" y="519"/>
                  </a:lnTo>
                  <a:lnTo>
                    <a:pt x="315" y="522"/>
                  </a:lnTo>
                  <a:lnTo>
                    <a:pt x="319" y="524"/>
                  </a:lnTo>
                  <a:lnTo>
                    <a:pt x="322" y="522"/>
                  </a:lnTo>
                  <a:lnTo>
                    <a:pt x="324" y="519"/>
                  </a:lnTo>
                  <a:lnTo>
                    <a:pt x="324" y="519"/>
                  </a:lnTo>
                  <a:lnTo>
                    <a:pt x="324" y="517"/>
                  </a:lnTo>
                  <a:lnTo>
                    <a:pt x="326" y="517"/>
                  </a:lnTo>
                  <a:lnTo>
                    <a:pt x="329" y="519"/>
                  </a:lnTo>
                  <a:lnTo>
                    <a:pt x="335" y="522"/>
                  </a:lnTo>
                  <a:lnTo>
                    <a:pt x="340" y="522"/>
                  </a:lnTo>
                  <a:lnTo>
                    <a:pt x="343" y="522"/>
                  </a:lnTo>
                  <a:lnTo>
                    <a:pt x="343" y="522"/>
                  </a:lnTo>
                  <a:lnTo>
                    <a:pt x="411" y="506"/>
                  </a:lnTo>
                  <a:lnTo>
                    <a:pt x="411" y="50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0" name="Freeform 1755">
              <a:extLst>
                <a:ext uri="{FF2B5EF4-FFF2-40B4-BE49-F238E27FC236}">
                  <a16:creationId xmlns:a16="http://schemas.microsoft.com/office/drawing/2014/main" id="{2E5FA8AB-BBCE-4081-A9DC-A56FE1636174}"/>
                </a:ext>
              </a:extLst>
            </p:cNvPr>
            <p:cNvSpPr>
              <a:spLocks/>
            </p:cNvSpPr>
            <p:nvPr/>
          </p:nvSpPr>
          <p:spPr bwMode="auto">
            <a:xfrm>
              <a:off x="5341718" y="4795464"/>
              <a:ext cx="327731" cy="338304"/>
            </a:xfrm>
            <a:custGeom>
              <a:avLst/>
              <a:gdLst/>
              <a:ahLst/>
              <a:cxnLst>
                <a:cxn ang="0">
                  <a:pos x="95" y="399"/>
                </a:cxn>
                <a:cxn ang="0">
                  <a:pos x="33" y="387"/>
                </a:cxn>
                <a:cxn ang="0">
                  <a:pos x="0" y="331"/>
                </a:cxn>
                <a:cxn ang="0">
                  <a:pos x="3" y="208"/>
                </a:cxn>
                <a:cxn ang="0">
                  <a:pos x="62" y="206"/>
                </a:cxn>
                <a:cxn ang="0">
                  <a:pos x="68" y="187"/>
                </a:cxn>
                <a:cxn ang="0">
                  <a:pos x="69" y="171"/>
                </a:cxn>
                <a:cxn ang="0">
                  <a:pos x="71" y="138"/>
                </a:cxn>
                <a:cxn ang="0">
                  <a:pos x="82" y="119"/>
                </a:cxn>
                <a:cxn ang="0">
                  <a:pos x="90" y="138"/>
                </a:cxn>
                <a:cxn ang="0">
                  <a:pos x="116" y="131"/>
                </a:cxn>
                <a:cxn ang="0">
                  <a:pos x="130" y="154"/>
                </a:cxn>
                <a:cxn ang="0">
                  <a:pos x="170" y="162"/>
                </a:cxn>
                <a:cxn ang="0">
                  <a:pos x="177" y="143"/>
                </a:cxn>
                <a:cxn ang="0">
                  <a:pos x="188" y="159"/>
                </a:cxn>
                <a:cxn ang="0">
                  <a:pos x="212" y="176"/>
                </a:cxn>
                <a:cxn ang="0">
                  <a:pos x="243" y="216"/>
                </a:cxn>
                <a:cxn ang="0">
                  <a:pos x="259" y="218"/>
                </a:cxn>
                <a:cxn ang="0">
                  <a:pos x="271" y="222"/>
                </a:cxn>
                <a:cxn ang="0">
                  <a:pos x="270" y="169"/>
                </a:cxn>
                <a:cxn ang="0">
                  <a:pos x="247" y="178"/>
                </a:cxn>
                <a:cxn ang="0">
                  <a:pos x="221" y="140"/>
                </a:cxn>
                <a:cxn ang="0">
                  <a:pos x="233" y="100"/>
                </a:cxn>
                <a:cxn ang="0">
                  <a:pos x="233" y="75"/>
                </a:cxn>
                <a:cxn ang="0">
                  <a:pos x="230" y="54"/>
                </a:cxn>
                <a:cxn ang="0">
                  <a:pos x="238" y="34"/>
                </a:cxn>
                <a:cxn ang="0">
                  <a:pos x="250" y="11"/>
                </a:cxn>
                <a:cxn ang="0">
                  <a:pos x="306" y="0"/>
                </a:cxn>
                <a:cxn ang="0">
                  <a:pos x="331" y="18"/>
                </a:cxn>
                <a:cxn ang="0">
                  <a:pos x="339" y="32"/>
                </a:cxn>
                <a:cxn ang="0">
                  <a:pos x="348" y="34"/>
                </a:cxn>
                <a:cxn ang="0">
                  <a:pos x="383" y="53"/>
                </a:cxn>
                <a:cxn ang="0">
                  <a:pos x="391" y="61"/>
                </a:cxn>
                <a:cxn ang="0">
                  <a:pos x="397" y="79"/>
                </a:cxn>
                <a:cxn ang="0">
                  <a:pos x="407" y="101"/>
                </a:cxn>
                <a:cxn ang="0">
                  <a:pos x="397" y="117"/>
                </a:cxn>
                <a:cxn ang="0">
                  <a:pos x="395" y="135"/>
                </a:cxn>
                <a:cxn ang="0">
                  <a:pos x="397" y="155"/>
                </a:cxn>
                <a:cxn ang="0">
                  <a:pos x="400" y="182"/>
                </a:cxn>
                <a:cxn ang="0">
                  <a:pos x="393" y="188"/>
                </a:cxn>
                <a:cxn ang="0">
                  <a:pos x="383" y="216"/>
                </a:cxn>
                <a:cxn ang="0">
                  <a:pos x="376" y="234"/>
                </a:cxn>
                <a:cxn ang="0">
                  <a:pos x="372" y="258"/>
                </a:cxn>
                <a:cxn ang="0">
                  <a:pos x="287" y="293"/>
                </a:cxn>
                <a:cxn ang="0">
                  <a:pos x="263" y="321"/>
                </a:cxn>
                <a:cxn ang="0">
                  <a:pos x="242" y="338"/>
                </a:cxn>
                <a:cxn ang="0">
                  <a:pos x="226" y="364"/>
                </a:cxn>
                <a:cxn ang="0">
                  <a:pos x="176" y="417"/>
                </a:cxn>
                <a:cxn ang="0">
                  <a:pos x="158" y="422"/>
                </a:cxn>
                <a:cxn ang="0">
                  <a:pos x="141" y="420"/>
                </a:cxn>
                <a:cxn ang="0">
                  <a:pos x="113" y="413"/>
                </a:cxn>
              </a:cxnLst>
              <a:rect l="0" t="0" r="r" b="b"/>
              <a:pathLst>
                <a:path w="407" h="424">
                  <a:moveTo>
                    <a:pt x="113" y="413"/>
                  </a:moveTo>
                  <a:lnTo>
                    <a:pt x="113" y="413"/>
                  </a:lnTo>
                  <a:lnTo>
                    <a:pt x="108" y="406"/>
                  </a:lnTo>
                  <a:lnTo>
                    <a:pt x="102" y="401"/>
                  </a:lnTo>
                  <a:lnTo>
                    <a:pt x="95" y="399"/>
                  </a:lnTo>
                  <a:lnTo>
                    <a:pt x="88" y="399"/>
                  </a:lnTo>
                  <a:lnTo>
                    <a:pt x="71" y="401"/>
                  </a:lnTo>
                  <a:lnTo>
                    <a:pt x="50" y="404"/>
                  </a:lnTo>
                  <a:lnTo>
                    <a:pt x="50" y="404"/>
                  </a:lnTo>
                  <a:lnTo>
                    <a:pt x="33" y="387"/>
                  </a:lnTo>
                  <a:lnTo>
                    <a:pt x="17" y="370"/>
                  </a:lnTo>
                  <a:lnTo>
                    <a:pt x="10" y="359"/>
                  </a:lnTo>
                  <a:lnTo>
                    <a:pt x="5" y="350"/>
                  </a:lnTo>
                  <a:lnTo>
                    <a:pt x="1" y="340"/>
                  </a:lnTo>
                  <a:lnTo>
                    <a:pt x="0" y="331"/>
                  </a:lnTo>
                  <a:lnTo>
                    <a:pt x="0" y="331"/>
                  </a:lnTo>
                  <a:lnTo>
                    <a:pt x="0" y="216"/>
                  </a:lnTo>
                  <a:lnTo>
                    <a:pt x="0" y="216"/>
                  </a:lnTo>
                  <a:lnTo>
                    <a:pt x="0" y="211"/>
                  </a:lnTo>
                  <a:lnTo>
                    <a:pt x="3" y="208"/>
                  </a:lnTo>
                  <a:lnTo>
                    <a:pt x="8" y="206"/>
                  </a:lnTo>
                  <a:lnTo>
                    <a:pt x="15" y="206"/>
                  </a:lnTo>
                  <a:lnTo>
                    <a:pt x="34" y="206"/>
                  </a:lnTo>
                  <a:lnTo>
                    <a:pt x="62" y="206"/>
                  </a:lnTo>
                  <a:lnTo>
                    <a:pt x="62" y="206"/>
                  </a:lnTo>
                  <a:lnTo>
                    <a:pt x="68" y="206"/>
                  </a:lnTo>
                  <a:lnTo>
                    <a:pt x="69" y="204"/>
                  </a:lnTo>
                  <a:lnTo>
                    <a:pt x="69" y="199"/>
                  </a:lnTo>
                  <a:lnTo>
                    <a:pt x="68" y="192"/>
                  </a:lnTo>
                  <a:lnTo>
                    <a:pt x="68" y="187"/>
                  </a:lnTo>
                  <a:lnTo>
                    <a:pt x="69" y="183"/>
                  </a:lnTo>
                  <a:lnTo>
                    <a:pt x="69" y="183"/>
                  </a:lnTo>
                  <a:lnTo>
                    <a:pt x="71" y="180"/>
                  </a:lnTo>
                  <a:lnTo>
                    <a:pt x="73" y="176"/>
                  </a:lnTo>
                  <a:lnTo>
                    <a:pt x="69" y="171"/>
                  </a:lnTo>
                  <a:lnTo>
                    <a:pt x="68" y="162"/>
                  </a:lnTo>
                  <a:lnTo>
                    <a:pt x="68" y="157"/>
                  </a:lnTo>
                  <a:lnTo>
                    <a:pt x="68" y="150"/>
                  </a:lnTo>
                  <a:lnTo>
                    <a:pt x="68" y="150"/>
                  </a:lnTo>
                  <a:lnTo>
                    <a:pt x="71" y="138"/>
                  </a:lnTo>
                  <a:lnTo>
                    <a:pt x="71" y="128"/>
                  </a:lnTo>
                  <a:lnTo>
                    <a:pt x="69" y="114"/>
                  </a:lnTo>
                  <a:lnTo>
                    <a:pt x="69" y="114"/>
                  </a:lnTo>
                  <a:lnTo>
                    <a:pt x="78" y="115"/>
                  </a:lnTo>
                  <a:lnTo>
                    <a:pt x="82" y="119"/>
                  </a:lnTo>
                  <a:lnTo>
                    <a:pt x="83" y="124"/>
                  </a:lnTo>
                  <a:lnTo>
                    <a:pt x="85" y="129"/>
                  </a:lnTo>
                  <a:lnTo>
                    <a:pt x="85" y="135"/>
                  </a:lnTo>
                  <a:lnTo>
                    <a:pt x="87" y="136"/>
                  </a:lnTo>
                  <a:lnTo>
                    <a:pt x="90" y="138"/>
                  </a:lnTo>
                  <a:lnTo>
                    <a:pt x="99" y="135"/>
                  </a:lnTo>
                  <a:lnTo>
                    <a:pt x="99" y="135"/>
                  </a:lnTo>
                  <a:lnTo>
                    <a:pt x="109" y="129"/>
                  </a:lnTo>
                  <a:lnTo>
                    <a:pt x="115" y="129"/>
                  </a:lnTo>
                  <a:lnTo>
                    <a:pt x="116" y="131"/>
                  </a:lnTo>
                  <a:lnTo>
                    <a:pt x="116" y="135"/>
                  </a:lnTo>
                  <a:lnTo>
                    <a:pt x="116" y="140"/>
                  </a:lnTo>
                  <a:lnTo>
                    <a:pt x="116" y="145"/>
                  </a:lnTo>
                  <a:lnTo>
                    <a:pt x="120" y="150"/>
                  </a:lnTo>
                  <a:lnTo>
                    <a:pt x="130" y="154"/>
                  </a:lnTo>
                  <a:lnTo>
                    <a:pt x="130" y="154"/>
                  </a:lnTo>
                  <a:lnTo>
                    <a:pt x="149" y="161"/>
                  </a:lnTo>
                  <a:lnTo>
                    <a:pt x="162" y="164"/>
                  </a:lnTo>
                  <a:lnTo>
                    <a:pt x="167" y="164"/>
                  </a:lnTo>
                  <a:lnTo>
                    <a:pt x="170" y="162"/>
                  </a:lnTo>
                  <a:lnTo>
                    <a:pt x="172" y="159"/>
                  </a:lnTo>
                  <a:lnTo>
                    <a:pt x="174" y="154"/>
                  </a:lnTo>
                  <a:lnTo>
                    <a:pt x="174" y="154"/>
                  </a:lnTo>
                  <a:lnTo>
                    <a:pt x="176" y="145"/>
                  </a:lnTo>
                  <a:lnTo>
                    <a:pt x="177" y="143"/>
                  </a:lnTo>
                  <a:lnTo>
                    <a:pt x="179" y="143"/>
                  </a:lnTo>
                  <a:lnTo>
                    <a:pt x="183" y="147"/>
                  </a:lnTo>
                  <a:lnTo>
                    <a:pt x="184" y="152"/>
                  </a:lnTo>
                  <a:lnTo>
                    <a:pt x="184" y="152"/>
                  </a:lnTo>
                  <a:lnTo>
                    <a:pt x="188" y="159"/>
                  </a:lnTo>
                  <a:lnTo>
                    <a:pt x="191" y="166"/>
                  </a:lnTo>
                  <a:lnTo>
                    <a:pt x="196" y="171"/>
                  </a:lnTo>
                  <a:lnTo>
                    <a:pt x="203" y="175"/>
                  </a:lnTo>
                  <a:lnTo>
                    <a:pt x="203" y="175"/>
                  </a:lnTo>
                  <a:lnTo>
                    <a:pt x="212" y="176"/>
                  </a:lnTo>
                  <a:lnTo>
                    <a:pt x="221" y="180"/>
                  </a:lnTo>
                  <a:lnTo>
                    <a:pt x="228" y="188"/>
                  </a:lnTo>
                  <a:lnTo>
                    <a:pt x="236" y="202"/>
                  </a:lnTo>
                  <a:lnTo>
                    <a:pt x="236" y="202"/>
                  </a:lnTo>
                  <a:lnTo>
                    <a:pt x="243" y="216"/>
                  </a:lnTo>
                  <a:lnTo>
                    <a:pt x="249" y="222"/>
                  </a:lnTo>
                  <a:lnTo>
                    <a:pt x="252" y="223"/>
                  </a:lnTo>
                  <a:lnTo>
                    <a:pt x="254" y="222"/>
                  </a:lnTo>
                  <a:lnTo>
                    <a:pt x="259" y="218"/>
                  </a:lnTo>
                  <a:lnTo>
                    <a:pt x="259" y="218"/>
                  </a:lnTo>
                  <a:lnTo>
                    <a:pt x="263" y="216"/>
                  </a:lnTo>
                  <a:lnTo>
                    <a:pt x="264" y="218"/>
                  </a:lnTo>
                  <a:lnTo>
                    <a:pt x="270" y="223"/>
                  </a:lnTo>
                  <a:lnTo>
                    <a:pt x="270" y="225"/>
                  </a:lnTo>
                  <a:lnTo>
                    <a:pt x="271" y="222"/>
                  </a:lnTo>
                  <a:lnTo>
                    <a:pt x="273" y="195"/>
                  </a:lnTo>
                  <a:lnTo>
                    <a:pt x="273" y="195"/>
                  </a:lnTo>
                  <a:lnTo>
                    <a:pt x="273" y="171"/>
                  </a:lnTo>
                  <a:lnTo>
                    <a:pt x="271" y="169"/>
                  </a:lnTo>
                  <a:lnTo>
                    <a:pt x="270" y="169"/>
                  </a:lnTo>
                  <a:lnTo>
                    <a:pt x="263" y="176"/>
                  </a:lnTo>
                  <a:lnTo>
                    <a:pt x="257" y="180"/>
                  </a:lnTo>
                  <a:lnTo>
                    <a:pt x="252" y="180"/>
                  </a:lnTo>
                  <a:lnTo>
                    <a:pt x="252" y="180"/>
                  </a:lnTo>
                  <a:lnTo>
                    <a:pt x="247" y="178"/>
                  </a:lnTo>
                  <a:lnTo>
                    <a:pt x="242" y="175"/>
                  </a:lnTo>
                  <a:lnTo>
                    <a:pt x="235" y="166"/>
                  </a:lnTo>
                  <a:lnTo>
                    <a:pt x="223" y="145"/>
                  </a:lnTo>
                  <a:lnTo>
                    <a:pt x="223" y="145"/>
                  </a:lnTo>
                  <a:lnTo>
                    <a:pt x="221" y="140"/>
                  </a:lnTo>
                  <a:lnTo>
                    <a:pt x="221" y="135"/>
                  </a:lnTo>
                  <a:lnTo>
                    <a:pt x="226" y="121"/>
                  </a:lnTo>
                  <a:lnTo>
                    <a:pt x="230" y="114"/>
                  </a:lnTo>
                  <a:lnTo>
                    <a:pt x="231" y="107"/>
                  </a:lnTo>
                  <a:lnTo>
                    <a:pt x="233" y="100"/>
                  </a:lnTo>
                  <a:lnTo>
                    <a:pt x="231" y="93"/>
                  </a:lnTo>
                  <a:lnTo>
                    <a:pt x="231" y="93"/>
                  </a:lnTo>
                  <a:lnTo>
                    <a:pt x="230" y="86"/>
                  </a:lnTo>
                  <a:lnTo>
                    <a:pt x="230" y="82"/>
                  </a:lnTo>
                  <a:lnTo>
                    <a:pt x="233" y="75"/>
                  </a:lnTo>
                  <a:lnTo>
                    <a:pt x="235" y="72"/>
                  </a:lnTo>
                  <a:lnTo>
                    <a:pt x="235" y="68"/>
                  </a:lnTo>
                  <a:lnTo>
                    <a:pt x="233" y="63"/>
                  </a:lnTo>
                  <a:lnTo>
                    <a:pt x="230" y="54"/>
                  </a:lnTo>
                  <a:lnTo>
                    <a:pt x="230" y="54"/>
                  </a:lnTo>
                  <a:lnTo>
                    <a:pt x="226" y="49"/>
                  </a:lnTo>
                  <a:lnTo>
                    <a:pt x="224" y="46"/>
                  </a:lnTo>
                  <a:lnTo>
                    <a:pt x="228" y="42"/>
                  </a:lnTo>
                  <a:lnTo>
                    <a:pt x="230" y="40"/>
                  </a:lnTo>
                  <a:lnTo>
                    <a:pt x="238" y="34"/>
                  </a:lnTo>
                  <a:lnTo>
                    <a:pt x="242" y="28"/>
                  </a:lnTo>
                  <a:lnTo>
                    <a:pt x="243" y="21"/>
                  </a:lnTo>
                  <a:lnTo>
                    <a:pt x="243" y="21"/>
                  </a:lnTo>
                  <a:lnTo>
                    <a:pt x="245" y="14"/>
                  </a:lnTo>
                  <a:lnTo>
                    <a:pt x="250" y="11"/>
                  </a:lnTo>
                  <a:lnTo>
                    <a:pt x="257" y="7"/>
                  </a:lnTo>
                  <a:lnTo>
                    <a:pt x="266" y="6"/>
                  </a:lnTo>
                  <a:lnTo>
                    <a:pt x="287" y="4"/>
                  </a:lnTo>
                  <a:lnTo>
                    <a:pt x="297" y="2"/>
                  </a:lnTo>
                  <a:lnTo>
                    <a:pt x="306" y="0"/>
                  </a:lnTo>
                  <a:lnTo>
                    <a:pt x="306" y="0"/>
                  </a:lnTo>
                  <a:lnTo>
                    <a:pt x="311" y="7"/>
                  </a:lnTo>
                  <a:lnTo>
                    <a:pt x="315" y="11"/>
                  </a:lnTo>
                  <a:lnTo>
                    <a:pt x="324" y="14"/>
                  </a:lnTo>
                  <a:lnTo>
                    <a:pt x="331" y="18"/>
                  </a:lnTo>
                  <a:lnTo>
                    <a:pt x="334" y="21"/>
                  </a:lnTo>
                  <a:lnTo>
                    <a:pt x="336" y="25"/>
                  </a:lnTo>
                  <a:lnTo>
                    <a:pt x="336" y="25"/>
                  </a:lnTo>
                  <a:lnTo>
                    <a:pt x="339" y="32"/>
                  </a:lnTo>
                  <a:lnTo>
                    <a:pt x="339" y="32"/>
                  </a:lnTo>
                  <a:lnTo>
                    <a:pt x="341" y="30"/>
                  </a:lnTo>
                  <a:lnTo>
                    <a:pt x="344" y="30"/>
                  </a:lnTo>
                  <a:lnTo>
                    <a:pt x="346" y="32"/>
                  </a:lnTo>
                  <a:lnTo>
                    <a:pt x="348" y="34"/>
                  </a:lnTo>
                  <a:lnTo>
                    <a:pt x="348" y="34"/>
                  </a:lnTo>
                  <a:lnTo>
                    <a:pt x="351" y="39"/>
                  </a:lnTo>
                  <a:lnTo>
                    <a:pt x="355" y="40"/>
                  </a:lnTo>
                  <a:lnTo>
                    <a:pt x="364" y="42"/>
                  </a:lnTo>
                  <a:lnTo>
                    <a:pt x="383" y="53"/>
                  </a:lnTo>
                  <a:lnTo>
                    <a:pt x="383" y="53"/>
                  </a:lnTo>
                  <a:lnTo>
                    <a:pt x="384" y="60"/>
                  </a:lnTo>
                  <a:lnTo>
                    <a:pt x="384" y="61"/>
                  </a:lnTo>
                  <a:lnTo>
                    <a:pt x="386" y="61"/>
                  </a:lnTo>
                  <a:lnTo>
                    <a:pt x="390" y="61"/>
                  </a:lnTo>
                  <a:lnTo>
                    <a:pt x="391" y="61"/>
                  </a:lnTo>
                  <a:lnTo>
                    <a:pt x="393" y="65"/>
                  </a:lnTo>
                  <a:lnTo>
                    <a:pt x="393" y="65"/>
                  </a:lnTo>
                  <a:lnTo>
                    <a:pt x="397" y="70"/>
                  </a:lnTo>
                  <a:lnTo>
                    <a:pt x="397" y="74"/>
                  </a:lnTo>
                  <a:lnTo>
                    <a:pt x="397" y="79"/>
                  </a:lnTo>
                  <a:lnTo>
                    <a:pt x="400" y="86"/>
                  </a:lnTo>
                  <a:lnTo>
                    <a:pt x="400" y="86"/>
                  </a:lnTo>
                  <a:lnTo>
                    <a:pt x="405" y="93"/>
                  </a:lnTo>
                  <a:lnTo>
                    <a:pt x="407" y="98"/>
                  </a:lnTo>
                  <a:lnTo>
                    <a:pt x="407" y="101"/>
                  </a:lnTo>
                  <a:lnTo>
                    <a:pt x="407" y="105"/>
                  </a:lnTo>
                  <a:lnTo>
                    <a:pt x="400" y="110"/>
                  </a:lnTo>
                  <a:lnTo>
                    <a:pt x="400" y="110"/>
                  </a:lnTo>
                  <a:lnTo>
                    <a:pt x="398" y="114"/>
                  </a:lnTo>
                  <a:lnTo>
                    <a:pt x="397" y="117"/>
                  </a:lnTo>
                  <a:lnTo>
                    <a:pt x="397" y="122"/>
                  </a:lnTo>
                  <a:lnTo>
                    <a:pt x="398" y="128"/>
                  </a:lnTo>
                  <a:lnTo>
                    <a:pt x="397" y="131"/>
                  </a:lnTo>
                  <a:lnTo>
                    <a:pt x="395" y="135"/>
                  </a:lnTo>
                  <a:lnTo>
                    <a:pt x="395" y="135"/>
                  </a:lnTo>
                  <a:lnTo>
                    <a:pt x="393" y="138"/>
                  </a:lnTo>
                  <a:lnTo>
                    <a:pt x="393" y="140"/>
                  </a:lnTo>
                  <a:lnTo>
                    <a:pt x="393" y="145"/>
                  </a:lnTo>
                  <a:lnTo>
                    <a:pt x="397" y="152"/>
                  </a:lnTo>
                  <a:lnTo>
                    <a:pt x="397" y="155"/>
                  </a:lnTo>
                  <a:lnTo>
                    <a:pt x="395" y="161"/>
                  </a:lnTo>
                  <a:lnTo>
                    <a:pt x="395" y="161"/>
                  </a:lnTo>
                  <a:lnTo>
                    <a:pt x="395" y="168"/>
                  </a:lnTo>
                  <a:lnTo>
                    <a:pt x="395" y="173"/>
                  </a:lnTo>
                  <a:lnTo>
                    <a:pt x="400" y="182"/>
                  </a:lnTo>
                  <a:lnTo>
                    <a:pt x="400" y="185"/>
                  </a:lnTo>
                  <a:lnTo>
                    <a:pt x="400" y="187"/>
                  </a:lnTo>
                  <a:lnTo>
                    <a:pt x="398" y="188"/>
                  </a:lnTo>
                  <a:lnTo>
                    <a:pt x="393" y="188"/>
                  </a:lnTo>
                  <a:lnTo>
                    <a:pt x="393" y="188"/>
                  </a:lnTo>
                  <a:lnTo>
                    <a:pt x="388" y="188"/>
                  </a:lnTo>
                  <a:lnTo>
                    <a:pt x="384" y="192"/>
                  </a:lnTo>
                  <a:lnTo>
                    <a:pt x="383" y="197"/>
                  </a:lnTo>
                  <a:lnTo>
                    <a:pt x="383" y="202"/>
                  </a:lnTo>
                  <a:lnTo>
                    <a:pt x="383" y="216"/>
                  </a:lnTo>
                  <a:lnTo>
                    <a:pt x="383" y="222"/>
                  </a:lnTo>
                  <a:lnTo>
                    <a:pt x="379" y="227"/>
                  </a:lnTo>
                  <a:lnTo>
                    <a:pt x="379" y="227"/>
                  </a:lnTo>
                  <a:lnTo>
                    <a:pt x="378" y="230"/>
                  </a:lnTo>
                  <a:lnTo>
                    <a:pt x="376" y="234"/>
                  </a:lnTo>
                  <a:lnTo>
                    <a:pt x="378" y="235"/>
                  </a:lnTo>
                  <a:lnTo>
                    <a:pt x="379" y="239"/>
                  </a:lnTo>
                  <a:lnTo>
                    <a:pt x="393" y="249"/>
                  </a:lnTo>
                  <a:lnTo>
                    <a:pt x="393" y="249"/>
                  </a:lnTo>
                  <a:lnTo>
                    <a:pt x="372" y="258"/>
                  </a:lnTo>
                  <a:lnTo>
                    <a:pt x="339" y="272"/>
                  </a:lnTo>
                  <a:lnTo>
                    <a:pt x="290" y="289"/>
                  </a:lnTo>
                  <a:lnTo>
                    <a:pt x="290" y="289"/>
                  </a:lnTo>
                  <a:lnTo>
                    <a:pt x="289" y="291"/>
                  </a:lnTo>
                  <a:lnTo>
                    <a:pt x="287" y="293"/>
                  </a:lnTo>
                  <a:lnTo>
                    <a:pt x="289" y="302"/>
                  </a:lnTo>
                  <a:lnTo>
                    <a:pt x="294" y="319"/>
                  </a:lnTo>
                  <a:lnTo>
                    <a:pt x="294" y="319"/>
                  </a:lnTo>
                  <a:lnTo>
                    <a:pt x="275" y="319"/>
                  </a:lnTo>
                  <a:lnTo>
                    <a:pt x="263" y="321"/>
                  </a:lnTo>
                  <a:lnTo>
                    <a:pt x="257" y="323"/>
                  </a:lnTo>
                  <a:lnTo>
                    <a:pt x="250" y="328"/>
                  </a:lnTo>
                  <a:lnTo>
                    <a:pt x="250" y="328"/>
                  </a:lnTo>
                  <a:lnTo>
                    <a:pt x="245" y="333"/>
                  </a:lnTo>
                  <a:lnTo>
                    <a:pt x="242" y="338"/>
                  </a:lnTo>
                  <a:lnTo>
                    <a:pt x="240" y="347"/>
                  </a:lnTo>
                  <a:lnTo>
                    <a:pt x="238" y="352"/>
                  </a:lnTo>
                  <a:lnTo>
                    <a:pt x="236" y="356"/>
                  </a:lnTo>
                  <a:lnTo>
                    <a:pt x="233" y="361"/>
                  </a:lnTo>
                  <a:lnTo>
                    <a:pt x="226" y="364"/>
                  </a:lnTo>
                  <a:lnTo>
                    <a:pt x="226" y="364"/>
                  </a:lnTo>
                  <a:lnTo>
                    <a:pt x="217" y="368"/>
                  </a:lnTo>
                  <a:lnTo>
                    <a:pt x="210" y="373"/>
                  </a:lnTo>
                  <a:lnTo>
                    <a:pt x="198" y="387"/>
                  </a:lnTo>
                  <a:lnTo>
                    <a:pt x="176" y="417"/>
                  </a:lnTo>
                  <a:lnTo>
                    <a:pt x="176" y="417"/>
                  </a:lnTo>
                  <a:lnTo>
                    <a:pt x="170" y="422"/>
                  </a:lnTo>
                  <a:lnTo>
                    <a:pt x="167" y="424"/>
                  </a:lnTo>
                  <a:lnTo>
                    <a:pt x="162" y="424"/>
                  </a:lnTo>
                  <a:lnTo>
                    <a:pt x="158" y="422"/>
                  </a:lnTo>
                  <a:lnTo>
                    <a:pt x="151" y="417"/>
                  </a:lnTo>
                  <a:lnTo>
                    <a:pt x="148" y="417"/>
                  </a:lnTo>
                  <a:lnTo>
                    <a:pt x="144" y="418"/>
                  </a:lnTo>
                  <a:lnTo>
                    <a:pt x="144" y="418"/>
                  </a:lnTo>
                  <a:lnTo>
                    <a:pt x="141" y="420"/>
                  </a:lnTo>
                  <a:lnTo>
                    <a:pt x="137" y="420"/>
                  </a:lnTo>
                  <a:lnTo>
                    <a:pt x="132" y="417"/>
                  </a:lnTo>
                  <a:lnTo>
                    <a:pt x="127" y="413"/>
                  </a:lnTo>
                  <a:lnTo>
                    <a:pt x="122" y="413"/>
                  </a:lnTo>
                  <a:lnTo>
                    <a:pt x="113" y="413"/>
                  </a:lnTo>
                  <a:lnTo>
                    <a:pt x="113" y="4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1" name="Freeform 1756">
              <a:extLst>
                <a:ext uri="{FF2B5EF4-FFF2-40B4-BE49-F238E27FC236}">
                  <a16:creationId xmlns:a16="http://schemas.microsoft.com/office/drawing/2014/main" id="{10C8A20D-B7D9-43F5-BC99-2F96BBE76EC6}"/>
                </a:ext>
              </a:extLst>
            </p:cNvPr>
            <p:cNvSpPr>
              <a:spLocks/>
            </p:cNvSpPr>
            <p:nvPr/>
          </p:nvSpPr>
          <p:spPr bwMode="auto">
            <a:xfrm>
              <a:off x="5572543" y="4872991"/>
              <a:ext cx="301303" cy="570891"/>
            </a:xfrm>
            <a:custGeom>
              <a:avLst/>
              <a:gdLst/>
              <a:ahLst/>
              <a:cxnLst>
                <a:cxn ang="0">
                  <a:pos x="97" y="680"/>
                </a:cxn>
                <a:cxn ang="0">
                  <a:pos x="87" y="675"/>
                </a:cxn>
                <a:cxn ang="0">
                  <a:pos x="108" y="642"/>
                </a:cxn>
                <a:cxn ang="0">
                  <a:pos x="153" y="621"/>
                </a:cxn>
                <a:cxn ang="0">
                  <a:pos x="186" y="588"/>
                </a:cxn>
                <a:cxn ang="0">
                  <a:pos x="181" y="566"/>
                </a:cxn>
                <a:cxn ang="0">
                  <a:pos x="188" y="519"/>
                </a:cxn>
                <a:cxn ang="0">
                  <a:pos x="181" y="505"/>
                </a:cxn>
                <a:cxn ang="0">
                  <a:pos x="172" y="456"/>
                </a:cxn>
                <a:cxn ang="0">
                  <a:pos x="157" y="428"/>
                </a:cxn>
                <a:cxn ang="0">
                  <a:pos x="158" y="400"/>
                </a:cxn>
                <a:cxn ang="0">
                  <a:pos x="186" y="381"/>
                </a:cxn>
                <a:cxn ang="0">
                  <a:pos x="212" y="360"/>
                </a:cxn>
                <a:cxn ang="0">
                  <a:pos x="239" y="320"/>
                </a:cxn>
                <a:cxn ang="0">
                  <a:pos x="282" y="287"/>
                </a:cxn>
                <a:cxn ang="0">
                  <a:pos x="324" y="264"/>
                </a:cxn>
                <a:cxn ang="0">
                  <a:pos x="367" y="198"/>
                </a:cxn>
                <a:cxn ang="0">
                  <a:pos x="374" y="177"/>
                </a:cxn>
                <a:cxn ang="0">
                  <a:pos x="364" y="156"/>
                </a:cxn>
                <a:cxn ang="0">
                  <a:pos x="362" y="71"/>
                </a:cxn>
                <a:cxn ang="0">
                  <a:pos x="362" y="28"/>
                </a:cxn>
                <a:cxn ang="0">
                  <a:pos x="359" y="0"/>
                </a:cxn>
                <a:cxn ang="0">
                  <a:pos x="305" y="35"/>
                </a:cxn>
                <a:cxn ang="0">
                  <a:pos x="279" y="33"/>
                </a:cxn>
                <a:cxn ang="0">
                  <a:pos x="270" y="35"/>
                </a:cxn>
                <a:cxn ang="0">
                  <a:pos x="251" y="50"/>
                </a:cxn>
                <a:cxn ang="0">
                  <a:pos x="232" y="45"/>
                </a:cxn>
                <a:cxn ang="0">
                  <a:pos x="205" y="43"/>
                </a:cxn>
                <a:cxn ang="0">
                  <a:pos x="190" y="41"/>
                </a:cxn>
                <a:cxn ang="0">
                  <a:pos x="157" y="43"/>
                </a:cxn>
                <a:cxn ang="0">
                  <a:pos x="153" y="59"/>
                </a:cxn>
                <a:cxn ang="0">
                  <a:pos x="148" y="85"/>
                </a:cxn>
                <a:cxn ang="0">
                  <a:pos x="162" y="132"/>
                </a:cxn>
                <a:cxn ang="0">
                  <a:pos x="197" y="170"/>
                </a:cxn>
                <a:cxn ang="0">
                  <a:pos x="197" y="209"/>
                </a:cxn>
                <a:cxn ang="0">
                  <a:pos x="190" y="240"/>
                </a:cxn>
                <a:cxn ang="0">
                  <a:pos x="172" y="259"/>
                </a:cxn>
                <a:cxn ang="0">
                  <a:pos x="176" y="285"/>
                </a:cxn>
                <a:cxn ang="0">
                  <a:pos x="167" y="273"/>
                </a:cxn>
                <a:cxn ang="0">
                  <a:pos x="141" y="231"/>
                </a:cxn>
                <a:cxn ang="0">
                  <a:pos x="153" y="200"/>
                </a:cxn>
                <a:cxn ang="0">
                  <a:pos x="146" y="170"/>
                </a:cxn>
                <a:cxn ang="0">
                  <a:pos x="122" y="172"/>
                </a:cxn>
                <a:cxn ang="0">
                  <a:pos x="85" y="158"/>
                </a:cxn>
                <a:cxn ang="0">
                  <a:pos x="0" y="193"/>
                </a:cxn>
                <a:cxn ang="0">
                  <a:pos x="9" y="233"/>
                </a:cxn>
                <a:cxn ang="0">
                  <a:pos x="47" y="242"/>
                </a:cxn>
                <a:cxn ang="0">
                  <a:pos x="89" y="261"/>
                </a:cxn>
                <a:cxn ang="0">
                  <a:pos x="96" y="278"/>
                </a:cxn>
                <a:cxn ang="0">
                  <a:pos x="101" y="306"/>
                </a:cxn>
                <a:cxn ang="0">
                  <a:pos x="91" y="355"/>
                </a:cxn>
                <a:cxn ang="0">
                  <a:pos x="94" y="374"/>
                </a:cxn>
                <a:cxn ang="0">
                  <a:pos x="96" y="393"/>
                </a:cxn>
                <a:cxn ang="0">
                  <a:pos x="94" y="416"/>
                </a:cxn>
                <a:cxn ang="0">
                  <a:pos x="77" y="468"/>
                </a:cxn>
                <a:cxn ang="0">
                  <a:pos x="49" y="548"/>
                </a:cxn>
                <a:cxn ang="0">
                  <a:pos x="61" y="672"/>
                </a:cxn>
              </a:cxnLst>
              <a:rect l="0" t="0" r="r" b="b"/>
              <a:pathLst>
                <a:path w="374" h="710">
                  <a:moveTo>
                    <a:pt x="68" y="710"/>
                  </a:moveTo>
                  <a:lnTo>
                    <a:pt x="96" y="710"/>
                  </a:lnTo>
                  <a:lnTo>
                    <a:pt x="96" y="710"/>
                  </a:lnTo>
                  <a:lnTo>
                    <a:pt x="97" y="686"/>
                  </a:lnTo>
                  <a:lnTo>
                    <a:pt x="97" y="680"/>
                  </a:lnTo>
                  <a:lnTo>
                    <a:pt x="96" y="679"/>
                  </a:lnTo>
                  <a:lnTo>
                    <a:pt x="91" y="680"/>
                  </a:lnTo>
                  <a:lnTo>
                    <a:pt x="89" y="679"/>
                  </a:lnTo>
                  <a:lnTo>
                    <a:pt x="87" y="675"/>
                  </a:lnTo>
                  <a:lnTo>
                    <a:pt x="87" y="675"/>
                  </a:lnTo>
                  <a:lnTo>
                    <a:pt x="87" y="670"/>
                  </a:lnTo>
                  <a:lnTo>
                    <a:pt x="89" y="663"/>
                  </a:lnTo>
                  <a:lnTo>
                    <a:pt x="94" y="656"/>
                  </a:lnTo>
                  <a:lnTo>
                    <a:pt x="99" y="649"/>
                  </a:lnTo>
                  <a:lnTo>
                    <a:pt x="108" y="642"/>
                  </a:lnTo>
                  <a:lnTo>
                    <a:pt x="118" y="635"/>
                  </a:lnTo>
                  <a:lnTo>
                    <a:pt x="129" y="630"/>
                  </a:lnTo>
                  <a:lnTo>
                    <a:pt x="141" y="625"/>
                  </a:lnTo>
                  <a:lnTo>
                    <a:pt x="141" y="625"/>
                  </a:lnTo>
                  <a:lnTo>
                    <a:pt x="153" y="621"/>
                  </a:lnTo>
                  <a:lnTo>
                    <a:pt x="164" y="614"/>
                  </a:lnTo>
                  <a:lnTo>
                    <a:pt x="172" y="609"/>
                  </a:lnTo>
                  <a:lnTo>
                    <a:pt x="178" y="602"/>
                  </a:lnTo>
                  <a:lnTo>
                    <a:pt x="183" y="595"/>
                  </a:lnTo>
                  <a:lnTo>
                    <a:pt x="186" y="588"/>
                  </a:lnTo>
                  <a:lnTo>
                    <a:pt x="186" y="581"/>
                  </a:lnTo>
                  <a:lnTo>
                    <a:pt x="185" y="576"/>
                  </a:lnTo>
                  <a:lnTo>
                    <a:pt x="185" y="576"/>
                  </a:lnTo>
                  <a:lnTo>
                    <a:pt x="181" y="571"/>
                  </a:lnTo>
                  <a:lnTo>
                    <a:pt x="181" y="566"/>
                  </a:lnTo>
                  <a:lnTo>
                    <a:pt x="183" y="555"/>
                  </a:lnTo>
                  <a:lnTo>
                    <a:pt x="186" y="541"/>
                  </a:lnTo>
                  <a:lnTo>
                    <a:pt x="188" y="531"/>
                  </a:lnTo>
                  <a:lnTo>
                    <a:pt x="188" y="519"/>
                  </a:lnTo>
                  <a:lnTo>
                    <a:pt x="188" y="519"/>
                  </a:lnTo>
                  <a:lnTo>
                    <a:pt x="186" y="503"/>
                  </a:lnTo>
                  <a:lnTo>
                    <a:pt x="186" y="501"/>
                  </a:lnTo>
                  <a:lnTo>
                    <a:pt x="185" y="503"/>
                  </a:lnTo>
                  <a:lnTo>
                    <a:pt x="183" y="505"/>
                  </a:lnTo>
                  <a:lnTo>
                    <a:pt x="181" y="505"/>
                  </a:lnTo>
                  <a:lnTo>
                    <a:pt x="179" y="501"/>
                  </a:lnTo>
                  <a:lnTo>
                    <a:pt x="178" y="494"/>
                  </a:lnTo>
                  <a:lnTo>
                    <a:pt x="178" y="494"/>
                  </a:lnTo>
                  <a:lnTo>
                    <a:pt x="174" y="470"/>
                  </a:lnTo>
                  <a:lnTo>
                    <a:pt x="172" y="456"/>
                  </a:lnTo>
                  <a:lnTo>
                    <a:pt x="171" y="447"/>
                  </a:lnTo>
                  <a:lnTo>
                    <a:pt x="162" y="437"/>
                  </a:lnTo>
                  <a:lnTo>
                    <a:pt x="162" y="437"/>
                  </a:lnTo>
                  <a:lnTo>
                    <a:pt x="158" y="431"/>
                  </a:lnTo>
                  <a:lnTo>
                    <a:pt x="157" y="428"/>
                  </a:lnTo>
                  <a:lnTo>
                    <a:pt x="157" y="421"/>
                  </a:lnTo>
                  <a:lnTo>
                    <a:pt x="158" y="414"/>
                  </a:lnTo>
                  <a:lnTo>
                    <a:pt x="158" y="405"/>
                  </a:lnTo>
                  <a:lnTo>
                    <a:pt x="158" y="405"/>
                  </a:lnTo>
                  <a:lnTo>
                    <a:pt x="158" y="400"/>
                  </a:lnTo>
                  <a:lnTo>
                    <a:pt x="164" y="398"/>
                  </a:lnTo>
                  <a:lnTo>
                    <a:pt x="167" y="398"/>
                  </a:lnTo>
                  <a:lnTo>
                    <a:pt x="172" y="395"/>
                  </a:lnTo>
                  <a:lnTo>
                    <a:pt x="178" y="390"/>
                  </a:lnTo>
                  <a:lnTo>
                    <a:pt x="186" y="381"/>
                  </a:lnTo>
                  <a:lnTo>
                    <a:pt x="186" y="381"/>
                  </a:lnTo>
                  <a:lnTo>
                    <a:pt x="193" y="372"/>
                  </a:lnTo>
                  <a:lnTo>
                    <a:pt x="198" y="367"/>
                  </a:lnTo>
                  <a:lnTo>
                    <a:pt x="209" y="362"/>
                  </a:lnTo>
                  <a:lnTo>
                    <a:pt x="212" y="360"/>
                  </a:lnTo>
                  <a:lnTo>
                    <a:pt x="218" y="357"/>
                  </a:lnTo>
                  <a:lnTo>
                    <a:pt x="223" y="348"/>
                  </a:lnTo>
                  <a:lnTo>
                    <a:pt x="230" y="336"/>
                  </a:lnTo>
                  <a:lnTo>
                    <a:pt x="230" y="336"/>
                  </a:lnTo>
                  <a:lnTo>
                    <a:pt x="239" y="320"/>
                  </a:lnTo>
                  <a:lnTo>
                    <a:pt x="247" y="310"/>
                  </a:lnTo>
                  <a:lnTo>
                    <a:pt x="256" y="301"/>
                  </a:lnTo>
                  <a:lnTo>
                    <a:pt x="265" y="294"/>
                  </a:lnTo>
                  <a:lnTo>
                    <a:pt x="273" y="290"/>
                  </a:lnTo>
                  <a:lnTo>
                    <a:pt x="282" y="287"/>
                  </a:lnTo>
                  <a:lnTo>
                    <a:pt x="299" y="282"/>
                  </a:lnTo>
                  <a:lnTo>
                    <a:pt x="299" y="282"/>
                  </a:lnTo>
                  <a:lnTo>
                    <a:pt x="308" y="277"/>
                  </a:lnTo>
                  <a:lnTo>
                    <a:pt x="317" y="271"/>
                  </a:lnTo>
                  <a:lnTo>
                    <a:pt x="324" y="264"/>
                  </a:lnTo>
                  <a:lnTo>
                    <a:pt x="333" y="257"/>
                  </a:lnTo>
                  <a:lnTo>
                    <a:pt x="346" y="236"/>
                  </a:lnTo>
                  <a:lnTo>
                    <a:pt x="360" y="210"/>
                  </a:lnTo>
                  <a:lnTo>
                    <a:pt x="360" y="210"/>
                  </a:lnTo>
                  <a:lnTo>
                    <a:pt x="367" y="198"/>
                  </a:lnTo>
                  <a:lnTo>
                    <a:pt x="367" y="195"/>
                  </a:lnTo>
                  <a:lnTo>
                    <a:pt x="367" y="193"/>
                  </a:lnTo>
                  <a:lnTo>
                    <a:pt x="371" y="184"/>
                  </a:lnTo>
                  <a:lnTo>
                    <a:pt x="371" y="184"/>
                  </a:lnTo>
                  <a:lnTo>
                    <a:pt x="374" y="177"/>
                  </a:lnTo>
                  <a:lnTo>
                    <a:pt x="374" y="172"/>
                  </a:lnTo>
                  <a:lnTo>
                    <a:pt x="373" y="169"/>
                  </a:lnTo>
                  <a:lnTo>
                    <a:pt x="371" y="167"/>
                  </a:lnTo>
                  <a:lnTo>
                    <a:pt x="367" y="162"/>
                  </a:lnTo>
                  <a:lnTo>
                    <a:pt x="364" y="156"/>
                  </a:lnTo>
                  <a:lnTo>
                    <a:pt x="362" y="148"/>
                  </a:lnTo>
                  <a:lnTo>
                    <a:pt x="362" y="135"/>
                  </a:lnTo>
                  <a:lnTo>
                    <a:pt x="362" y="135"/>
                  </a:lnTo>
                  <a:lnTo>
                    <a:pt x="364" y="90"/>
                  </a:lnTo>
                  <a:lnTo>
                    <a:pt x="362" y="71"/>
                  </a:lnTo>
                  <a:lnTo>
                    <a:pt x="359" y="52"/>
                  </a:lnTo>
                  <a:lnTo>
                    <a:pt x="359" y="52"/>
                  </a:lnTo>
                  <a:lnTo>
                    <a:pt x="359" y="40"/>
                  </a:lnTo>
                  <a:lnTo>
                    <a:pt x="360" y="33"/>
                  </a:lnTo>
                  <a:lnTo>
                    <a:pt x="362" y="28"/>
                  </a:lnTo>
                  <a:lnTo>
                    <a:pt x="366" y="24"/>
                  </a:lnTo>
                  <a:lnTo>
                    <a:pt x="367" y="22"/>
                  </a:lnTo>
                  <a:lnTo>
                    <a:pt x="367" y="17"/>
                  </a:lnTo>
                  <a:lnTo>
                    <a:pt x="366" y="10"/>
                  </a:lnTo>
                  <a:lnTo>
                    <a:pt x="359" y="0"/>
                  </a:lnTo>
                  <a:lnTo>
                    <a:pt x="359" y="0"/>
                  </a:lnTo>
                  <a:lnTo>
                    <a:pt x="348" y="8"/>
                  </a:lnTo>
                  <a:lnTo>
                    <a:pt x="336" y="17"/>
                  </a:lnTo>
                  <a:lnTo>
                    <a:pt x="322" y="26"/>
                  </a:lnTo>
                  <a:lnTo>
                    <a:pt x="305" y="35"/>
                  </a:lnTo>
                  <a:lnTo>
                    <a:pt x="305" y="35"/>
                  </a:lnTo>
                  <a:lnTo>
                    <a:pt x="296" y="36"/>
                  </a:lnTo>
                  <a:lnTo>
                    <a:pt x="289" y="36"/>
                  </a:lnTo>
                  <a:lnTo>
                    <a:pt x="284" y="35"/>
                  </a:lnTo>
                  <a:lnTo>
                    <a:pt x="279" y="33"/>
                  </a:lnTo>
                  <a:lnTo>
                    <a:pt x="275" y="29"/>
                  </a:lnTo>
                  <a:lnTo>
                    <a:pt x="273" y="29"/>
                  </a:lnTo>
                  <a:lnTo>
                    <a:pt x="272" y="31"/>
                  </a:lnTo>
                  <a:lnTo>
                    <a:pt x="270" y="35"/>
                  </a:lnTo>
                  <a:lnTo>
                    <a:pt x="270" y="35"/>
                  </a:lnTo>
                  <a:lnTo>
                    <a:pt x="266" y="41"/>
                  </a:lnTo>
                  <a:lnTo>
                    <a:pt x="263" y="45"/>
                  </a:lnTo>
                  <a:lnTo>
                    <a:pt x="259" y="48"/>
                  </a:lnTo>
                  <a:lnTo>
                    <a:pt x="254" y="50"/>
                  </a:lnTo>
                  <a:lnTo>
                    <a:pt x="251" y="50"/>
                  </a:lnTo>
                  <a:lnTo>
                    <a:pt x="245" y="50"/>
                  </a:lnTo>
                  <a:lnTo>
                    <a:pt x="239" y="45"/>
                  </a:lnTo>
                  <a:lnTo>
                    <a:pt x="239" y="45"/>
                  </a:lnTo>
                  <a:lnTo>
                    <a:pt x="235" y="45"/>
                  </a:lnTo>
                  <a:lnTo>
                    <a:pt x="232" y="45"/>
                  </a:lnTo>
                  <a:lnTo>
                    <a:pt x="225" y="48"/>
                  </a:lnTo>
                  <a:lnTo>
                    <a:pt x="219" y="50"/>
                  </a:lnTo>
                  <a:lnTo>
                    <a:pt x="216" y="50"/>
                  </a:lnTo>
                  <a:lnTo>
                    <a:pt x="211" y="48"/>
                  </a:lnTo>
                  <a:lnTo>
                    <a:pt x="205" y="43"/>
                  </a:lnTo>
                  <a:lnTo>
                    <a:pt x="205" y="43"/>
                  </a:lnTo>
                  <a:lnTo>
                    <a:pt x="200" y="40"/>
                  </a:lnTo>
                  <a:lnTo>
                    <a:pt x="197" y="38"/>
                  </a:lnTo>
                  <a:lnTo>
                    <a:pt x="193" y="40"/>
                  </a:lnTo>
                  <a:lnTo>
                    <a:pt x="190" y="41"/>
                  </a:lnTo>
                  <a:lnTo>
                    <a:pt x="185" y="43"/>
                  </a:lnTo>
                  <a:lnTo>
                    <a:pt x="178" y="45"/>
                  </a:lnTo>
                  <a:lnTo>
                    <a:pt x="169" y="45"/>
                  </a:lnTo>
                  <a:lnTo>
                    <a:pt x="157" y="43"/>
                  </a:lnTo>
                  <a:lnTo>
                    <a:pt x="157" y="43"/>
                  </a:lnTo>
                  <a:lnTo>
                    <a:pt x="155" y="45"/>
                  </a:lnTo>
                  <a:lnTo>
                    <a:pt x="155" y="47"/>
                  </a:lnTo>
                  <a:lnTo>
                    <a:pt x="153" y="50"/>
                  </a:lnTo>
                  <a:lnTo>
                    <a:pt x="153" y="55"/>
                  </a:lnTo>
                  <a:lnTo>
                    <a:pt x="153" y="59"/>
                  </a:lnTo>
                  <a:lnTo>
                    <a:pt x="151" y="62"/>
                  </a:lnTo>
                  <a:lnTo>
                    <a:pt x="151" y="62"/>
                  </a:lnTo>
                  <a:lnTo>
                    <a:pt x="148" y="66"/>
                  </a:lnTo>
                  <a:lnTo>
                    <a:pt x="148" y="71"/>
                  </a:lnTo>
                  <a:lnTo>
                    <a:pt x="148" y="85"/>
                  </a:lnTo>
                  <a:lnTo>
                    <a:pt x="151" y="113"/>
                  </a:lnTo>
                  <a:lnTo>
                    <a:pt x="151" y="113"/>
                  </a:lnTo>
                  <a:lnTo>
                    <a:pt x="153" y="118"/>
                  </a:lnTo>
                  <a:lnTo>
                    <a:pt x="155" y="123"/>
                  </a:lnTo>
                  <a:lnTo>
                    <a:pt x="162" y="132"/>
                  </a:lnTo>
                  <a:lnTo>
                    <a:pt x="172" y="141"/>
                  </a:lnTo>
                  <a:lnTo>
                    <a:pt x="186" y="155"/>
                  </a:lnTo>
                  <a:lnTo>
                    <a:pt x="186" y="155"/>
                  </a:lnTo>
                  <a:lnTo>
                    <a:pt x="193" y="163"/>
                  </a:lnTo>
                  <a:lnTo>
                    <a:pt x="197" y="170"/>
                  </a:lnTo>
                  <a:lnTo>
                    <a:pt x="198" y="177"/>
                  </a:lnTo>
                  <a:lnTo>
                    <a:pt x="200" y="183"/>
                  </a:lnTo>
                  <a:lnTo>
                    <a:pt x="198" y="195"/>
                  </a:lnTo>
                  <a:lnTo>
                    <a:pt x="197" y="209"/>
                  </a:lnTo>
                  <a:lnTo>
                    <a:pt x="197" y="209"/>
                  </a:lnTo>
                  <a:lnTo>
                    <a:pt x="197" y="221"/>
                  </a:lnTo>
                  <a:lnTo>
                    <a:pt x="197" y="231"/>
                  </a:lnTo>
                  <a:lnTo>
                    <a:pt x="193" y="238"/>
                  </a:lnTo>
                  <a:lnTo>
                    <a:pt x="192" y="240"/>
                  </a:lnTo>
                  <a:lnTo>
                    <a:pt x="190" y="240"/>
                  </a:lnTo>
                  <a:lnTo>
                    <a:pt x="190" y="240"/>
                  </a:lnTo>
                  <a:lnTo>
                    <a:pt x="183" y="243"/>
                  </a:lnTo>
                  <a:lnTo>
                    <a:pt x="178" y="249"/>
                  </a:lnTo>
                  <a:lnTo>
                    <a:pt x="174" y="256"/>
                  </a:lnTo>
                  <a:lnTo>
                    <a:pt x="172" y="259"/>
                  </a:lnTo>
                  <a:lnTo>
                    <a:pt x="174" y="263"/>
                  </a:lnTo>
                  <a:lnTo>
                    <a:pt x="174" y="263"/>
                  </a:lnTo>
                  <a:lnTo>
                    <a:pt x="178" y="271"/>
                  </a:lnTo>
                  <a:lnTo>
                    <a:pt x="178" y="280"/>
                  </a:lnTo>
                  <a:lnTo>
                    <a:pt x="176" y="285"/>
                  </a:lnTo>
                  <a:lnTo>
                    <a:pt x="174" y="285"/>
                  </a:lnTo>
                  <a:lnTo>
                    <a:pt x="172" y="283"/>
                  </a:lnTo>
                  <a:lnTo>
                    <a:pt x="172" y="283"/>
                  </a:lnTo>
                  <a:lnTo>
                    <a:pt x="171" y="280"/>
                  </a:lnTo>
                  <a:lnTo>
                    <a:pt x="167" y="273"/>
                  </a:lnTo>
                  <a:lnTo>
                    <a:pt x="162" y="261"/>
                  </a:lnTo>
                  <a:lnTo>
                    <a:pt x="150" y="245"/>
                  </a:lnTo>
                  <a:lnTo>
                    <a:pt x="150" y="245"/>
                  </a:lnTo>
                  <a:lnTo>
                    <a:pt x="144" y="238"/>
                  </a:lnTo>
                  <a:lnTo>
                    <a:pt x="141" y="231"/>
                  </a:lnTo>
                  <a:lnTo>
                    <a:pt x="141" y="228"/>
                  </a:lnTo>
                  <a:lnTo>
                    <a:pt x="143" y="223"/>
                  </a:lnTo>
                  <a:lnTo>
                    <a:pt x="150" y="214"/>
                  </a:lnTo>
                  <a:lnTo>
                    <a:pt x="151" y="209"/>
                  </a:lnTo>
                  <a:lnTo>
                    <a:pt x="153" y="200"/>
                  </a:lnTo>
                  <a:lnTo>
                    <a:pt x="153" y="200"/>
                  </a:lnTo>
                  <a:lnTo>
                    <a:pt x="155" y="183"/>
                  </a:lnTo>
                  <a:lnTo>
                    <a:pt x="153" y="177"/>
                  </a:lnTo>
                  <a:lnTo>
                    <a:pt x="151" y="172"/>
                  </a:lnTo>
                  <a:lnTo>
                    <a:pt x="146" y="170"/>
                  </a:lnTo>
                  <a:lnTo>
                    <a:pt x="141" y="169"/>
                  </a:lnTo>
                  <a:lnTo>
                    <a:pt x="134" y="169"/>
                  </a:lnTo>
                  <a:lnTo>
                    <a:pt x="125" y="170"/>
                  </a:lnTo>
                  <a:lnTo>
                    <a:pt x="125" y="170"/>
                  </a:lnTo>
                  <a:lnTo>
                    <a:pt x="122" y="172"/>
                  </a:lnTo>
                  <a:lnTo>
                    <a:pt x="118" y="170"/>
                  </a:lnTo>
                  <a:lnTo>
                    <a:pt x="115" y="165"/>
                  </a:lnTo>
                  <a:lnTo>
                    <a:pt x="106" y="149"/>
                  </a:lnTo>
                  <a:lnTo>
                    <a:pt x="106" y="149"/>
                  </a:lnTo>
                  <a:lnTo>
                    <a:pt x="85" y="158"/>
                  </a:lnTo>
                  <a:lnTo>
                    <a:pt x="52" y="172"/>
                  </a:lnTo>
                  <a:lnTo>
                    <a:pt x="3" y="189"/>
                  </a:lnTo>
                  <a:lnTo>
                    <a:pt x="3" y="189"/>
                  </a:lnTo>
                  <a:lnTo>
                    <a:pt x="2" y="191"/>
                  </a:lnTo>
                  <a:lnTo>
                    <a:pt x="0" y="193"/>
                  </a:lnTo>
                  <a:lnTo>
                    <a:pt x="2" y="202"/>
                  </a:lnTo>
                  <a:lnTo>
                    <a:pt x="7" y="219"/>
                  </a:lnTo>
                  <a:lnTo>
                    <a:pt x="7" y="219"/>
                  </a:lnTo>
                  <a:lnTo>
                    <a:pt x="7" y="228"/>
                  </a:lnTo>
                  <a:lnTo>
                    <a:pt x="9" y="233"/>
                  </a:lnTo>
                  <a:lnTo>
                    <a:pt x="12" y="235"/>
                  </a:lnTo>
                  <a:lnTo>
                    <a:pt x="17" y="236"/>
                  </a:lnTo>
                  <a:lnTo>
                    <a:pt x="31" y="235"/>
                  </a:lnTo>
                  <a:lnTo>
                    <a:pt x="40" y="236"/>
                  </a:lnTo>
                  <a:lnTo>
                    <a:pt x="47" y="242"/>
                  </a:lnTo>
                  <a:lnTo>
                    <a:pt x="47" y="242"/>
                  </a:lnTo>
                  <a:lnTo>
                    <a:pt x="61" y="250"/>
                  </a:lnTo>
                  <a:lnTo>
                    <a:pt x="70" y="254"/>
                  </a:lnTo>
                  <a:lnTo>
                    <a:pt x="78" y="257"/>
                  </a:lnTo>
                  <a:lnTo>
                    <a:pt x="89" y="261"/>
                  </a:lnTo>
                  <a:lnTo>
                    <a:pt x="89" y="261"/>
                  </a:lnTo>
                  <a:lnTo>
                    <a:pt x="96" y="268"/>
                  </a:lnTo>
                  <a:lnTo>
                    <a:pt x="97" y="270"/>
                  </a:lnTo>
                  <a:lnTo>
                    <a:pt x="96" y="271"/>
                  </a:lnTo>
                  <a:lnTo>
                    <a:pt x="96" y="278"/>
                  </a:lnTo>
                  <a:lnTo>
                    <a:pt x="96" y="282"/>
                  </a:lnTo>
                  <a:lnTo>
                    <a:pt x="97" y="289"/>
                  </a:lnTo>
                  <a:lnTo>
                    <a:pt x="97" y="289"/>
                  </a:lnTo>
                  <a:lnTo>
                    <a:pt x="99" y="296"/>
                  </a:lnTo>
                  <a:lnTo>
                    <a:pt x="101" y="306"/>
                  </a:lnTo>
                  <a:lnTo>
                    <a:pt x="99" y="327"/>
                  </a:lnTo>
                  <a:lnTo>
                    <a:pt x="96" y="346"/>
                  </a:lnTo>
                  <a:lnTo>
                    <a:pt x="92" y="353"/>
                  </a:lnTo>
                  <a:lnTo>
                    <a:pt x="91" y="355"/>
                  </a:lnTo>
                  <a:lnTo>
                    <a:pt x="91" y="355"/>
                  </a:lnTo>
                  <a:lnTo>
                    <a:pt x="87" y="357"/>
                  </a:lnTo>
                  <a:lnTo>
                    <a:pt x="87" y="358"/>
                  </a:lnTo>
                  <a:lnTo>
                    <a:pt x="91" y="362"/>
                  </a:lnTo>
                  <a:lnTo>
                    <a:pt x="94" y="369"/>
                  </a:lnTo>
                  <a:lnTo>
                    <a:pt x="94" y="374"/>
                  </a:lnTo>
                  <a:lnTo>
                    <a:pt x="92" y="378"/>
                  </a:lnTo>
                  <a:lnTo>
                    <a:pt x="92" y="378"/>
                  </a:lnTo>
                  <a:lnTo>
                    <a:pt x="92" y="384"/>
                  </a:lnTo>
                  <a:lnTo>
                    <a:pt x="92" y="388"/>
                  </a:lnTo>
                  <a:lnTo>
                    <a:pt x="96" y="393"/>
                  </a:lnTo>
                  <a:lnTo>
                    <a:pt x="97" y="397"/>
                  </a:lnTo>
                  <a:lnTo>
                    <a:pt x="99" y="402"/>
                  </a:lnTo>
                  <a:lnTo>
                    <a:pt x="97" y="407"/>
                  </a:lnTo>
                  <a:lnTo>
                    <a:pt x="94" y="416"/>
                  </a:lnTo>
                  <a:lnTo>
                    <a:pt x="94" y="416"/>
                  </a:lnTo>
                  <a:lnTo>
                    <a:pt x="87" y="428"/>
                  </a:lnTo>
                  <a:lnTo>
                    <a:pt x="84" y="437"/>
                  </a:lnTo>
                  <a:lnTo>
                    <a:pt x="80" y="452"/>
                  </a:lnTo>
                  <a:lnTo>
                    <a:pt x="78" y="463"/>
                  </a:lnTo>
                  <a:lnTo>
                    <a:pt x="77" y="468"/>
                  </a:lnTo>
                  <a:lnTo>
                    <a:pt x="71" y="472"/>
                  </a:lnTo>
                  <a:lnTo>
                    <a:pt x="71" y="472"/>
                  </a:lnTo>
                  <a:lnTo>
                    <a:pt x="38" y="513"/>
                  </a:lnTo>
                  <a:lnTo>
                    <a:pt x="38" y="513"/>
                  </a:lnTo>
                  <a:lnTo>
                    <a:pt x="49" y="548"/>
                  </a:lnTo>
                  <a:lnTo>
                    <a:pt x="57" y="592"/>
                  </a:lnTo>
                  <a:lnTo>
                    <a:pt x="61" y="614"/>
                  </a:lnTo>
                  <a:lnTo>
                    <a:pt x="64" y="635"/>
                  </a:lnTo>
                  <a:lnTo>
                    <a:pt x="64" y="654"/>
                  </a:lnTo>
                  <a:lnTo>
                    <a:pt x="61" y="672"/>
                  </a:lnTo>
                  <a:lnTo>
                    <a:pt x="68" y="71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2" name="Freeform 1757">
              <a:extLst>
                <a:ext uri="{FF2B5EF4-FFF2-40B4-BE49-F238E27FC236}">
                  <a16:creationId xmlns:a16="http://schemas.microsoft.com/office/drawing/2014/main" id="{B563DE23-EF7E-4046-A742-6072E17A3CD3}"/>
                </a:ext>
              </a:extLst>
            </p:cNvPr>
            <p:cNvSpPr>
              <a:spLocks/>
            </p:cNvSpPr>
            <p:nvPr/>
          </p:nvSpPr>
          <p:spPr bwMode="auto">
            <a:xfrm>
              <a:off x="5052754" y="5095006"/>
              <a:ext cx="378831" cy="424642"/>
            </a:xfrm>
            <a:custGeom>
              <a:avLst/>
              <a:gdLst/>
              <a:ahLst/>
              <a:cxnLst>
                <a:cxn ang="0">
                  <a:pos x="0" y="22"/>
                </a:cxn>
                <a:cxn ang="0">
                  <a:pos x="12" y="62"/>
                </a:cxn>
                <a:cxn ang="0">
                  <a:pos x="50" y="143"/>
                </a:cxn>
                <a:cxn ang="0">
                  <a:pos x="64" y="190"/>
                </a:cxn>
                <a:cxn ang="0">
                  <a:pos x="88" y="223"/>
                </a:cxn>
                <a:cxn ang="0">
                  <a:pos x="97" y="259"/>
                </a:cxn>
                <a:cxn ang="0">
                  <a:pos x="94" y="298"/>
                </a:cxn>
                <a:cxn ang="0">
                  <a:pos x="111" y="388"/>
                </a:cxn>
                <a:cxn ang="0">
                  <a:pos x="116" y="426"/>
                </a:cxn>
                <a:cxn ang="0">
                  <a:pos x="130" y="472"/>
                </a:cxn>
                <a:cxn ang="0">
                  <a:pos x="153" y="501"/>
                </a:cxn>
                <a:cxn ang="0">
                  <a:pos x="172" y="510"/>
                </a:cxn>
                <a:cxn ang="0">
                  <a:pos x="182" y="491"/>
                </a:cxn>
                <a:cxn ang="0">
                  <a:pos x="191" y="493"/>
                </a:cxn>
                <a:cxn ang="0">
                  <a:pos x="198" y="501"/>
                </a:cxn>
                <a:cxn ang="0">
                  <a:pos x="201" y="515"/>
                </a:cxn>
                <a:cxn ang="0">
                  <a:pos x="212" y="524"/>
                </a:cxn>
                <a:cxn ang="0">
                  <a:pos x="233" y="529"/>
                </a:cxn>
                <a:cxn ang="0">
                  <a:pos x="250" y="527"/>
                </a:cxn>
                <a:cxn ang="0">
                  <a:pos x="257" y="529"/>
                </a:cxn>
                <a:cxn ang="0">
                  <a:pos x="280" y="513"/>
                </a:cxn>
                <a:cxn ang="0">
                  <a:pos x="292" y="221"/>
                </a:cxn>
                <a:cxn ang="0">
                  <a:pos x="325" y="61"/>
                </a:cxn>
                <a:cxn ang="0">
                  <a:pos x="393" y="49"/>
                </a:cxn>
                <a:cxn ang="0">
                  <a:pos x="409" y="49"/>
                </a:cxn>
                <a:cxn ang="0">
                  <a:pos x="416" y="62"/>
                </a:cxn>
                <a:cxn ang="0">
                  <a:pos x="426" y="59"/>
                </a:cxn>
                <a:cxn ang="0">
                  <a:pos x="444" y="47"/>
                </a:cxn>
                <a:cxn ang="0">
                  <a:pos x="457" y="43"/>
                </a:cxn>
                <a:cxn ang="0">
                  <a:pos x="475" y="38"/>
                </a:cxn>
                <a:cxn ang="0">
                  <a:pos x="457" y="24"/>
                </a:cxn>
                <a:cxn ang="0">
                  <a:pos x="412" y="29"/>
                </a:cxn>
                <a:cxn ang="0">
                  <a:pos x="344" y="45"/>
                </a:cxn>
                <a:cxn ang="0">
                  <a:pos x="330" y="42"/>
                </a:cxn>
                <a:cxn ang="0">
                  <a:pos x="325" y="42"/>
                </a:cxn>
                <a:cxn ang="0">
                  <a:pos x="320" y="47"/>
                </a:cxn>
                <a:cxn ang="0">
                  <a:pos x="308" y="42"/>
                </a:cxn>
                <a:cxn ang="0">
                  <a:pos x="276" y="40"/>
                </a:cxn>
                <a:cxn ang="0">
                  <a:pos x="250" y="36"/>
                </a:cxn>
                <a:cxn ang="0">
                  <a:pos x="243" y="29"/>
                </a:cxn>
                <a:cxn ang="0">
                  <a:pos x="226" y="19"/>
                </a:cxn>
                <a:cxn ang="0">
                  <a:pos x="85" y="19"/>
                </a:cxn>
                <a:cxn ang="0">
                  <a:pos x="73" y="15"/>
                </a:cxn>
                <a:cxn ang="0">
                  <a:pos x="60" y="0"/>
                </a:cxn>
                <a:cxn ang="0">
                  <a:pos x="47" y="3"/>
                </a:cxn>
                <a:cxn ang="0">
                  <a:pos x="15" y="14"/>
                </a:cxn>
              </a:cxnLst>
              <a:rect l="0" t="0" r="r" b="b"/>
              <a:pathLst>
                <a:path w="475" h="529">
                  <a:moveTo>
                    <a:pt x="1" y="14"/>
                  </a:moveTo>
                  <a:lnTo>
                    <a:pt x="1" y="14"/>
                  </a:lnTo>
                  <a:lnTo>
                    <a:pt x="0" y="22"/>
                  </a:lnTo>
                  <a:lnTo>
                    <a:pt x="1" y="29"/>
                  </a:lnTo>
                  <a:lnTo>
                    <a:pt x="5" y="47"/>
                  </a:lnTo>
                  <a:lnTo>
                    <a:pt x="12" y="62"/>
                  </a:lnTo>
                  <a:lnTo>
                    <a:pt x="20" y="82"/>
                  </a:lnTo>
                  <a:lnTo>
                    <a:pt x="41" y="120"/>
                  </a:lnTo>
                  <a:lnTo>
                    <a:pt x="50" y="143"/>
                  </a:lnTo>
                  <a:lnTo>
                    <a:pt x="57" y="169"/>
                  </a:lnTo>
                  <a:lnTo>
                    <a:pt x="57" y="169"/>
                  </a:lnTo>
                  <a:lnTo>
                    <a:pt x="64" y="190"/>
                  </a:lnTo>
                  <a:lnTo>
                    <a:pt x="73" y="205"/>
                  </a:lnTo>
                  <a:lnTo>
                    <a:pt x="80" y="214"/>
                  </a:lnTo>
                  <a:lnTo>
                    <a:pt x="88" y="223"/>
                  </a:lnTo>
                  <a:lnTo>
                    <a:pt x="94" y="231"/>
                  </a:lnTo>
                  <a:lnTo>
                    <a:pt x="97" y="242"/>
                  </a:lnTo>
                  <a:lnTo>
                    <a:pt x="97" y="259"/>
                  </a:lnTo>
                  <a:lnTo>
                    <a:pt x="95" y="285"/>
                  </a:lnTo>
                  <a:lnTo>
                    <a:pt x="95" y="285"/>
                  </a:lnTo>
                  <a:lnTo>
                    <a:pt x="94" y="298"/>
                  </a:lnTo>
                  <a:lnTo>
                    <a:pt x="95" y="313"/>
                  </a:lnTo>
                  <a:lnTo>
                    <a:pt x="102" y="348"/>
                  </a:lnTo>
                  <a:lnTo>
                    <a:pt x="111" y="388"/>
                  </a:lnTo>
                  <a:lnTo>
                    <a:pt x="114" y="407"/>
                  </a:lnTo>
                  <a:lnTo>
                    <a:pt x="116" y="426"/>
                  </a:lnTo>
                  <a:lnTo>
                    <a:pt x="116" y="426"/>
                  </a:lnTo>
                  <a:lnTo>
                    <a:pt x="120" y="444"/>
                  </a:lnTo>
                  <a:lnTo>
                    <a:pt x="123" y="459"/>
                  </a:lnTo>
                  <a:lnTo>
                    <a:pt x="130" y="472"/>
                  </a:lnTo>
                  <a:lnTo>
                    <a:pt x="137" y="484"/>
                  </a:lnTo>
                  <a:lnTo>
                    <a:pt x="146" y="493"/>
                  </a:lnTo>
                  <a:lnTo>
                    <a:pt x="153" y="501"/>
                  </a:lnTo>
                  <a:lnTo>
                    <a:pt x="167" y="513"/>
                  </a:lnTo>
                  <a:lnTo>
                    <a:pt x="167" y="513"/>
                  </a:lnTo>
                  <a:lnTo>
                    <a:pt x="172" y="510"/>
                  </a:lnTo>
                  <a:lnTo>
                    <a:pt x="177" y="505"/>
                  </a:lnTo>
                  <a:lnTo>
                    <a:pt x="181" y="496"/>
                  </a:lnTo>
                  <a:lnTo>
                    <a:pt x="182" y="491"/>
                  </a:lnTo>
                  <a:lnTo>
                    <a:pt x="184" y="489"/>
                  </a:lnTo>
                  <a:lnTo>
                    <a:pt x="188" y="489"/>
                  </a:lnTo>
                  <a:lnTo>
                    <a:pt x="191" y="493"/>
                  </a:lnTo>
                  <a:lnTo>
                    <a:pt x="191" y="493"/>
                  </a:lnTo>
                  <a:lnTo>
                    <a:pt x="196" y="496"/>
                  </a:lnTo>
                  <a:lnTo>
                    <a:pt x="198" y="501"/>
                  </a:lnTo>
                  <a:lnTo>
                    <a:pt x="200" y="508"/>
                  </a:lnTo>
                  <a:lnTo>
                    <a:pt x="200" y="512"/>
                  </a:lnTo>
                  <a:lnTo>
                    <a:pt x="201" y="515"/>
                  </a:lnTo>
                  <a:lnTo>
                    <a:pt x="205" y="520"/>
                  </a:lnTo>
                  <a:lnTo>
                    <a:pt x="212" y="524"/>
                  </a:lnTo>
                  <a:lnTo>
                    <a:pt x="212" y="524"/>
                  </a:lnTo>
                  <a:lnTo>
                    <a:pt x="221" y="527"/>
                  </a:lnTo>
                  <a:lnTo>
                    <a:pt x="228" y="529"/>
                  </a:lnTo>
                  <a:lnTo>
                    <a:pt x="233" y="529"/>
                  </a:lnTo>
                  <a:lnTo>
                    <a:pt x="240" y="529"/>
                  </a:lnTo>
                  <a:lnTo>
                    <a:pt x="247" y="527"/>
                  </a:lnTo>
                  <a:lnTo>
                    <a:pt x="250" y="527"/>
                  </a:lnTo>
                  <a:lnTo>
                    <a:pt x="254" y="527"/>
                  </a:lnTo>
                  <a:lnTo>
                    <a:pt x="254" y="527"/>
                  </a:lnTo>
                  <a:lnTo>
                    <a:pt x="257" y="529"/>
                  </a:lnTo>
                  <a:lnTo>
                    <a:pt x="261" y="527"/>
                  </a:lnTo>
                  <a:lnTo>
                    <a:pt x="269" y="522"/>
                  </a:lnTo>
                  <a:lnTo>
                    <a:pt x="280" y="513"/>
                  </a:lnTo>
                  <a:lnTo>
                    <a:pt x="285" y="510"/>
                  </a:lnTo>
                  <a:lnTo>
                    <a:pt x="292" y="508"/>
                  </a:lnTo>
                  <a:lnTo>
                    <a:pt x="292" y="221"/>
                  </a:lnTo>
                  <a:lnTo>
                    <a:pt x="325" y="221"/>
                  </a:lnTo>
                  <a:lnTo>
                    <a:pt x="325" y="61"/>
                  </a:lnTo>
                  <a:lnTo>
                    <a:pt x="325" y="61"/>
                  </a:lnTo>
                  <a:lnTo>
                    <a:pt x="377" y="52"/>
                  </a:lnTo>
                  <a:lnTo>
                    <a:pt x="377" y="52"/>
                  </a:lnTo>
                  <a:lnTo>
                    <a:pt x="393" y="49"/>
                  </a:lnTo>
                  <a:lnTo>
                    <a:pt x="403" y="47"/>
                  </a:lnTo>
                  <a:lnTo>
                    <a:pt x="405" y="47"/>
                  </a:lnTo>
                  <a:lnTo>
                    <a:pt x="409" y="49"/>
                  </a:lnTo>
                  <a:lnTo>
                    <a:pt x="414" y="57"/>
                  </a:lnTo>
                  <a:lnTo>
                    <a:pt x="414" y="57"/>
                  </a:lnTo>
                  <a:lnTo>
                    <a:pt x="416" y="62"/>
                  </a:lnTo>
                  <a:lnTo>
                    <a:pt x="419" y="62"/>
                  </a:lnTo>
                  <a:lnTo>
                    <a:pt x="423" y="62"/>
                  </a:lnTo>
                  <a:lnTo>
                    <a:pt x="426" y="59"/>
                  </a:lnTo>
                  <a:lnTo>
                    <a:pt x="435" y="52"/>
                  </a:lnTo>
                  <a:lnTo>
                    <a:pt x="438" y="49"/>
                  </a:lnTo>
                  <a:lnTo>
                    <a:pt x="444" y="47"/>
                  </a:lnTo>
                  <a:lnTo>
                    <a:pt x="444" y="47"/>
                  </a:lnTo>
                  <a:lnTo>
                    <a:pt x="450" y="47"/>
                  </a:lnTo>
                  <a:lnTo>
                    <a:pt x="457" y="43"/>
                  </a:lnTo>
                  <a:lnTo>
                    <a:pt x="464" y="40"/>
                  </a:lnTo>
                  <a:lnTo>
                    <a:pt x="475" y="38"/>
                  </a:lnTo>
                  <a:lnTo>
                    <a:pt x="475" y="38"/>
                  </a:lnTo>
                  <a:lnTo>
                    <a:pt x="470" y="31"/>
                  </a:lnTo>
                  <a:lnTo>
                    <a:pt x="464" y="26"/>
                  </a:lnTo>
                  <a:lnTo>
                    <a:pt x="457" y="24"/>
                  </a:lnTo>
                  <a:lnTo>
                    <a:pt x="450" y="24"/>
                  </a:lnTo>
                  <a:lnTo>
                    <a:pt x="433" y="26"/>
                  </a:lnTo>
                  <a:lnTo>
                    <a:pt x="412" y="29"/>
                  </a:lnTo>
                  <a:lnTo>
                    <a:pt x="412" y="29"/>
                  </a:lnTo>
                  <a:lnTo>
                    <a:pt x="344" y="45"/>
                  </a:lnTo>
                  <a:lnTo>
                    <a:pt x="344" y="45"/>
                  </a:lnTo>
                  <a:lnTo>
                    <a:pt x="341" y="45"/>
                  </a:lnTo>
                  <a:lnTo>
                    <a:pt x="336" y="45"/>
                  </a:lnTo>
                  <a:lnTo>
                    <a:pt x="330" y="42"/>
                  </a:lnTo>
                  <a:lnTo>
                    <a:pt x="327" y="40"/>
                  </a:lnTo>
                  <a:lnTo>
                    <a:pt x="325" y="40"/>
                  </a:lnTo>
                  <a:lnTo>
                    <a:pt x="325" y="42"/>
                  </a:lnTo>
                  <a:lnTo>
                    <a:pt x="325" y="42"/>
                  </a:lnTo>
                  <a:lnTo>
                    <a:pt x="323" y="45"/>
                  </a:lnTo>
                  <a:lnTo>
                    <a:pt x="320" y="47"/>
                  </a:lnTo>
                  <a:lnTo>
                    <a:pt x="316" y="45"/>
                  </a:lnTo>
                  <a:lnTo>
                    <a:pt x="308" y="42"/>
                  </a:lnTo>
                  <a:lnTo>
                    <a:pt x="308" y="42"/>
                  </a:lnTo>
                  <a:lnTo>
                    <a:pt x="302" y="40"/>
                  </a:lnTo>
                  <a:lnTo>
                    <a:pt x="296" y="38"/>
                  </a:lnTo>
                  <a:lnTo>
                    <a:pt x="276" y="40"/>
                  </a:lnTo>
                  <a:lnTo>
                    <a:pt x="266" y="42"/>
                  </a:lnTo>
                  <a:lnTo>
                    <a:pt x="257" y="40"/>
                  </a:lnTo>
                  <a:lnTo>
                    <a:pt x="250" y="36"/>
                  </a:lnTo>
                  <a:lnTo>
                    <a:pt x="247" y="33"/>
                  </a:lnTo>
                  <a:lnTo>
                    <a:pt x="243" y="29"/>
                  </a:lnTo>
                  <a:lnTo>
                    <a:pt x="243" y="29"/>
                  </a:lnTo>
                  <a:lnTo>
                    <a:pt x="240" y="22"/>
                  </a:lnTo>
                  <a:lnTo>
                    <a:pt x="235" y="19"/>
                  </a:lnTo>
                  <a:lnTo>
                    <a:pt x="226" y="19"/>
                  </a:lnTo>
                  <a:lnTo>
                    <a:pt x="212" y="19"/>
                  </a:lnTo>
                  <a:lnTo>
                    <a:pt x="212" y="19"/>
                  </a:lnTo>
                  <a:lnTo>
                    <a:pt x="85" y="19"/>
                  </a:lnTo>
                  <a:lnTo>
                    <a:pt x="85" y="19"/>
                  </a:lnTo>
                  <a:lnTo>
                    <a:pt x="78" y="19"/>
                  </a:lnTo>
                  <a:lnTo>
                    <a:pt x="73" y="15"/>
                  </a:lnTo>
                  <a:lnTo>
                    <a:pt x="67" y="7"/>
                  </a:lnTo>
                  <a:lnTo>
                    <a:pt x="64" y="3"/>
                  </a:lnTo>
                  <a:lnTo>
                    <a:pt x="60" y="0"/>
                  </a:lnTo>
                  <a:lnTo>
                    <a:pt x="55" y="0"/>
                  </a:lnTo>
                  <a:lnTo>
                    <a:pt x="47" y="3"/>
                  </a:lnTo>
                  <a:lnTo>
                    <a:pt x="47" y="3"/>
                  </a:lnTo>
                  <a:lnTo>
                    <a:pt x="34" y="10"/>
                  </a:lnTo>
                  <a:lnTo>
                    <a:pt x="26" y="14"/>
                  </a:lnTo>
                  <a:lnTo>
                    <a:pt x="15" y="14"/>
                  </a:lnTo>
                  <a:lnTo>
                    <a:pt x="1" y="14"/>
                  </a:lnTo>
                  <a:lnTo>
                    <a:pt x="1"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3" name="Freeform 1758">
              <a:extLst>
                <a:ext uri="{FF2B5EF4-FFF2-40B4-BE49-F238E27FC236}">
                  <a16:creationId xmlns:a16="http://schemas.microsoft.com/office/drawing/2014/main" id="{CFB951A6-04B9-4CB2-AF32-FE07C2AE5BE4}"/>
                </a:ext>
              </a:extLst>
            </p:cNvPr>
            <p:cNvSpPr>
              <a:spLocks/>
            </p:cNvSpPr>
            <p:nvPr/>
          </p:nvSpPr>
          <p:spPr bwMode="auto">
            <a:xfrm>
              <a:off x="5285335" y="5124962"/>
              <a:ext cx="262540" cy="320684"/>
            </a:xfrm>
            <a:custGeom>
              <a:avLst/>
              <a:gdLst/>
              <a:ahLst/>
              <a:cxnLst>
                <a:cxn ang="0">
                  <a:pos x="183" y="0"/>
                </a:cxn>
                <a:cxn ang="0">
                  <a:pos x="165" y="5"/>
                </a:cxn>
                <a:cxn ang="0">
                  <a:pos x="152" y="9"/>
                </a:cxn>
                <a:cxn ang="0">
                  <a:pos x="146" y="11"/>
                </a:cxn>
                <a:cxn ang="0">
                  <a:pos x="134" y="21"/>
                </a:cxn>
                <a:cxn ang="0">
                  <a:pos x="127" y="24"/>
                </a:cxn>
                <a:cxn ang="0">
                  <a:pos x="122" y="19"/>
                </a:cxn>
                <a:cxn ang="0">
                  <a:pos x="117" y="11"/>
                </a:cxn>
                <a:cxn ang="0">
                  <a:pos x="111" y="9"/>
                </a:cxn>
                <a:cxn ang="0">
                  <a:pos x="85" y="14"/>
                </a:cxn>
                <a:cxn ang="0">
                  <a:pos x="33" y="23"/>
                </a:cxn>
                <a:cxn ang="0">
                  <a:pos x="0" y="183"/>
                </a:cxn>
                <a:cxn ang="0">
                  <a:pos x="0" y="305"/>
                </a:cxn>
                <a:cxn ang="0">
                  <a:pos x="10" y="320"/>
                </a:cxn>
                <a:cxn ang="0">
                  <a:pos x="26" y="360"/>
                </a:cxn>
                <a:cxn ang="0">
                  <a:pos x="24" y="371"/>
                </a:cxn>
                <a:cxn ang="0">
                  <a:pos x="21" y="380"/>
                </a:cxn>
                <a:cxn ang="0">
                  <a:pos x="21" y="392"/>
                </a:cxn>
                <a:cxn ang="0">
                  <a:pos x="24" y="397"/>
                </a:cxn>
                <a:cxn ang="0">
                  <a:pos x="28" y="399"/>
                </a:cxn>
                <a:cxn ang="0">
                  <a:pos x="49" y="401"/>
                </a:cxn>
                <a:cxn ang="0">
                  <a:pos x="61" y="397"/>
                </a:cxn>
                <a:cxn ang="0">
                  <a:pos x="77" y="381"/>
                </a:cxn>
                <a:cxn ang="0">
                  <a:pos x="84" y="371"/>
                </a:cxn>
                <a:cxn ang="0">
                  <a:pos x="92" y="347"/>
                </a:cxn>
                <a:cxn ang="0">
                  <a:pos x="103" y="331"/>
                </a:cxn>
                <a:cxn ang="0">
                  <a:pos x="110" y="327"/>
                </a:cxn>
                <a:cxn ang="0">
                  <a:pos x="122" y="329"/>
                </a:cxn>
                <a:cxn ang="0">
                  <a:pos x="138" y="338"/>
                </a:cxn>
                <a:cxn ang="0">
                  <a:pos x="167" y="350"/>
                </a:cxn>
                <a:cxn ang="0">
                  <a:pos x="185" y="348"/>
                </a:cxn>
                <a:cxn ang="0">
                  <a:pos x="195" y="336"/>
                </a:cxn>
                <a:cxn ang="0">
                  <a:pos x="202" y="319"/>
                </a:cxn>
                <a:cxn ang="0">
                  <a:pos x="212" y="305"/>
                </a:cxn>
                <a:cxn ang="0">
                  <a:pos x="230" y="291"/>
                </a:cxn>
                <a:cxn ang="0">
                  <a:pos x="239" y="279"/>
                </a:cxn>
                <a:cxn ang="0">
                  <a:pos x="242" y="268"/>
                </a:cxn>
                <a:cxn ang="0">
                  <a:pos x="249" y="251"/>
                </a:cxn>
                <a:cxn ang="0">
                  <a:pos x="261" y="242"/>
                </a:cxn>
                <a:cxn ang="0">
                  <a:pos x="277" y="230"/>
                </a:cxn>
                <a:cxn ang="0">
                  <a:pos x="280" y="223"/>
                </a:cxn>
                <a:cxn ang="0">
                  <a:pos x="287" y="213"/>
                </a:cxn>
                <a:cxn ang="0">
                  <a:pos x="298" y="206"/>
                </a:cxn>
                <a:cxn ang="0">
                  <a:pos x="319" y="197"/>
                </a:cxn>
                <a:cxn ang="0">
                  <a:pos x="326" y="190"/>
                </a:cxn>
                <a:cxn ang="0">
                  <a:pos x="313" y="174"/>
                </a:cxn>
                <a:cxn ang="0">
                  <a:pos x="294" y="167"/>
                </a:cxn>
                <a:cxn ang="0">
                  <a:pos x="287" y="165"/>
                </a:cxn>
                <a:cxn ang="0">
                  <a:pos x="279" y="157"/>
                </a:cxn>
                <a:cxn ang="0">
                  <a:pos x="272" y="146"/>
                </a:cxn>
                <a:cxn ang="0">
                  <a:pos x="270" y="132"/>
                </a:cxn>
                <a:cxn ang="0">
                  <a:pos x="270" y="125"/>
                </a:cxn>
                <a:cxn ang="0">
                  <a:pos x="268" y="117"/>
                </a:cxn>
                <a:cxn ang="0">
                  <a:pos x="263" y="115"/>
                </a:cxn>
                <a:cxn ang="0">
                  <a:pos x="256" y="112"/>
                </a:cxn>
                <a:cxn ang="0">
                  <a:pos x="254" y="108"/>
                </a:cxn>
                <a:cxn ang="0">
                  <a:pos x="249" y="99"/>
                </a:cxn>
                <a:cxn ang="0">
                  <a:pos x="228" y="85"/>
                </a:cxn>
                <a:cxn ang="0">
                  <a:pos x="214" y="71"/>
                </a:cxn>
                <a:cxn ang="0">
                  <a:pos x="211" y="61"/>
                </a:cxn>
                <a:cxn ang="0">
                  <a:pos x="205" y="49"/>
                </a:cxn>
                <a:cxn ang="0">
                  <a:pos x="190" y="21"/>
                </a:cxn>
                <a:cxn ang="0">
                  <a:pos x="183" y="0"/>
                </a:cxn>
              </a:cxnLst>
              <a:rect l="0" t="0" r="r" b="b"/>
              <a:pathLst>
                <a:path w="326" h="401">
                  <a:moveTo>
                    <a:pt x="183" y="0"/>
                  </a:moveTo>
                  <a:lnTo>
                    <a:pt x="183" y="0"/>
                  </a:lnTo>
                  <a:lnTo>
                    <a:pt x="172" y="2"/>
                  </a:lnTo>
                  <a:lnTo>
                    <a:pt x="165" y="5"/>
                  </a:lnTo>
                  <a:lnTo>
                    <a:pt x="158" y="9"/>
                  </a:lnTo>
                  <a:lnTo>
                    <a:pt x="152" y="9"/>
                  </a:lnTo>
                  <a:lnTo>
                    <a:pt x="152" y="9"/>
                  </a:lnTo>
                  <a:lnTo>
                    <a:pt x="146" y="11"/>
                  </a:lnTo>
                  <a:lnTo>
                    <a:pt x="143" y="14"/>
                  </a:lnTo>
                  <a:lnTo>
                    <a:pt x="134" y="21"/>
                  </a:lnTo>
                  <a:lnTo>
                    <a:pt x="131" y="24"/>
                  </a:lnTo>
                  <a:lnTo>
                    <a:pt x="127" y="24"/>
                  </a:lnTo>
                  <a:lnTo>
                    <a:pt x="124" y="24"/>
                  </a:lnTo>
                  <a:lnTo>
                    <a:pt x="122" y="19"/>
                  </a:lnTo>
                  <a:lnTo>
                    <a:pt x="122" y="19"/>
                  </a:lnTo>
                  <a:lnTo>
                    <a:pt x="117" y="11"/>
                  </a:lnTo>
                  <a:lnTo>
                    <a:pt x="113" y="9"/>
                  </a:lnTo>
                  <a:lnTo>
                    <a:pt x="111" y="9"/>
                  </a:lnTo>
                  <a:lnTo>
                    <a:pt x="101" y="11"/>
                  </a:lnTo>
                  <a:lnTo>
                    <a:pt x="85" y="14"/>
                  </a:lnTo>
                  <a:lnTo>
                    <a:pt x="85" y="14"/>
                  </a:lnTo>
                  <a:lnTo>
                    <a:pt x="33" y="23"/>
                  </a:lnTo>
                  <a:lnTo>
                    <a:pt x="33" y="183"/>
                  </a:lnTo>
                  <a:lnTo>
                    <a:pt x="0" y="183"/>
                  </a:lnTo>
                  <a:lnTo>
                    <a:pt x="0" y="305"/>
                  </a:lnTo>
                  <a:lnTo>
                    <a:pt x="0" y="305"/>
                  </a:lnTo>
                  <a:lnTo>
                    <a:pt x="5" y="312"/>
                  </a:lnTo>
                  <a:lnTo>
                    <a:pt x="10" y="320"/>
                  </a:lnTo>
                  <a:lnTo>
                    <a:pt x="21" y="341"/>
                  </a:lnTo>
                  <a:lnTo>
                    <a:pt x="26" y="360"/>
                  </a:lnTo>
                  <a:lnTo>
                    <a:pt x="26" y="367"/>
                  </a:lnTo>
                  <a:lnTo>
                    <a:pt x="24" y="371"/>
                  </a:lnTo>
                  <a:lnTo>
                    <a:pt x="24" y="371"/>
                  </a:lnTo>
                  <a:lnTo>
                    <a:pt x="21" y="380"/>
                  </a:lnTo>
                  <a:lnTo>
                    <a:pt x="19" y="388"/>
                  </a:lnTo>
                  <a:lnTo>
                    <a:pt x="21" y="392"/>
                  </a:lnTo>
                  <a:lnTo>
                    <a:pt x="23" y="395"/>
                  </a:lnTo>
                  <a:lnTo>
                    <a:pt x="24" y="397"/>
                  </a:lnTo>
                  <a:lnTo>
                    <a:pt x="28" y="399"/>
                  </a:lnTo>
                  <a:lnTo>
                    <a:pt x="28" y="399"/>
                  </a:lnTo>
                  <a:lnTo>
                    <a:pt x="38" y="399"/>
                  </a:lnTo>
                  <a:lnTo>
                    <a:pt x="49" y="401"/>
                  </a:lnTo>
                  <a:lnTo>
                    <a:pt x="54" y="399"/>
                  </a:lnTo>
                  <a:lnTo>
                    <a:pt x="61" y="397"/>
                  </a:lnTo>
                  <a:lnTo>
                    <a:pt x="68" y="390"/>
                  </a:lnTo>
                  <a:lnTo>
                    <a:pt x="77" y="381"/>
                  </a:lnTo>
                  <a:lnTo>
                    <a:pt x="77" y="381"/>
                  </a:lnTo>
                  <a:lnTo>
                    <a:pt x="84" y="371"/>
                  </a:lnTo>
                  <a:lnTo>
                    <a:pt x="89" y="359"/>
                  </a:lnTo>
                  <a:lnTo>
                    <a:pt x="92" y="347"/>
                  </a:lnTo>
                  <a:lnTo>
                    <a:pt x="98" y="338"/>
                  </a:lnTo>
                  <a:lnTo>
                    <a:pt x="103" y="331"/>
                  </a:lnTo>
                  <a:lnTo>
                    <a:pt x="106" y="329"/>
                  </a:lnTo>
                  <a:lnTo>
                    <a:pt x="110" y="327"/>
                  </a:lnTo>
                  <a:lnTo>
                    <a:pt x="115" y="327"/>
                  </a:lnTo>
                  <a:lnTo>
                    <a:pt x="122" y="329"/>
                  </a:lnTo>
                  <a:lnTo>
                    <a:pt x="138" y="338"/>
                  </a:lnTo>
                  <a:lnTo>
                    <a:pt x="138" y="338"/>
                  </a:lnTo>
                  <a:lnTo>
                    <a:pt x="153" y="347"/>
                  </a:lnTo>
                  <a:lnTo>
                    <a:pt x="167" y="350"/>
                  </a:lnTo>
                  <a:lnTo>
                    <a:pt x="178" y="352"/>
                  </a:lnTo>
                  <a:lnTo>
                    <a:pt x="185" y="348"/>
                  </a:lnTo>
                  <a:lnTo>
                    <a:pt x="192" y="343"/>
                  </a:lnTo>
                  <a:lnTo>
                    <a:pt x="195" y="336"/>
                  </a:lnTo>
                  <a:lnTo>
                    <a:pt x="202" y="319"/>
                  </a:lnTo>
                  <a:lnTo>
                    <a:pt x="202" y="319"/>
                  </a:lnTo>
                  <a:lnTo>
                    <a:pt x="207" y="310"/>
                  </a:lnTo>
                  <a:lnTo>
                    <a:pt x="212" y="305"/>
                  </a:lnTo>
                  <a:lnTo>
                    <a:pt x="223" y="296"/>
                  </a:lnTo>
                  <a:lnTo>
                    <a:pt x="230" y="291"/>
                  </a:lnTo>
                  <a:lnTo>
                    <a:pt x="235" y="286"/>
                  </a:lnTo>
                  <a:lnTo>
                    <a:pt x="239" y="279"/>
                  </a:lnTo>
                  <a:lnTo>
                    <a:pt x="242" y="268"/>
                  </a:lnTo>
                  <a:lnTo>
                    <a:pt x="242" y="268"/>
                  </a:lnTo>
                  <a:lnTo>
                    <a:pt x="246" y="258"/>
                  </a:lnTo>
                  <a:lnTo>
                    <a:pt x="249" y="251"/>
                  </a:lnTo>
                  <a:lnTo>
                    <a:pt x="254" y="246"/>
                  </a:lnTo>
                  <a:lnTo>
                    <a:pt x="261" y="242"/>
                  </a:lnTo>
                  <a:lnTo>
                    <a:pt x="272" y="235"/>
                  </a:lnTo>
                  <a:lnTo>
                    <a:pt x="277" y="230"/>
                  </a:lnTo>
                  <a:lnTo>
                    <a:pt x="280" y="223"/>
                  </a:lnTo>
                  <a:lnTo>
                    <a:pt x="280" y="223"/>
                  </a:lnTo>
                  <a:lnTo>
                    <a:pt x="284" y="216"/>
                  </a:lnTo>
                  <a:lnTo>
                    <a:pt x="287" y="213"/>
                  </a:lnTo>
                  <a:lnTo>
                    <a:pt x="293" y="209"/>
                  </a:lnTo>
                  <a:lnTo>
                    <a:pt x="298" y="206"/>
                  </a:lnTo>
                  <a:lnTo>
                    <a:pt x="312" y="200"/>
                  </a:lnTo>
                  <a:lnTo>
                    <a:pt x="319" y="197"/>
                  </a:lnTo>
                  <a:lnTo>
                    <a:pt x="326" y="190"/>
                  </a:lnTo>
                  <a:lnTo>
                    <a:pt x="326" y="190"/>
                  </a:lnTo>
                  <a:lnTo>
                    <a:pt x="320" y="179"/>
                  </a:lnTo>
                  <a:lnTo>
                    <a:pt x="313" y="174"/>
                  </a:lnTo>
                  <a:lnTo>
                    <a:pt x="306" y="171"/>
                  </a:lnTo>
                  <a:lnTo>
                    <a:pt x="294" y="167"/>
                  </a:lnTo>
                  <a:lnTo>
                    <a:pt x="294" y="167"/>
                  </a:lnTo>
                  <a:lnTo>
                    <a:pt x="287" y="165"/>
                  </a:lnTo>
                  <a:lnTo>
                    <a:pt x="282" y="160"/>
                  </a:lnTo>
                  <a:lnTo>
                    <a:pt x="279" y="157"/>
                  </a:lnTo>
                  <a:lnTo>
                    <a:pt x="273" y="152"/>
                  </a:lnTo>
                  <a:lnTo>
                    <a:pt x="272" y="146"/>
                  </a:lnTo>
                  <a:lnTo>
                    <a:pt x="270" y="139"/>
                  </a:lnTo>
                  <a:lnTo>
                    <a:pt x="270" y="132"/>
                  </a:lnTo>
                  <a:lnTo>
                    <a:pt x="270" y="125"/>
                  </a:lnTo>
                  <a:lnTo>
                    <a:pt x="270" y="125"/>
                  </a:lnTo>
                  <a:lnTo>
                    <a:pt x="270" y="120"/>
                  </a:lnTo>
                  <a:lnTo>
                    <a:pt x="268" y="117"/>
                  </a:lnTo>
                  <a:lnTo>
                    <a:pt x="266" y="115"/>
                  </a:lnTo>
                  <a:lnTo>
                    <a:pt x="263" y="115"/>
                  </a:lnTo>
                  <a:lnTo>
                    <a:pt x="258" y="113"/>
                  </a:lnTo>
                  <a:lnTo>
                    <a:pt x="256" y="112"/>
                  </a:lnTo>
                  <a:lnTo>
                    <a:pt x="254" y="108"/>
                  </a:lnTo>
                  <a:lnTo>
                    <a:pt x="254" y="108"/>
                  </a:lnTo>
                  <a:lnTo>
                    <a:pt x="254" y="103"/>
                  </a:lnTo>
                  <a:lnTo>
                    <a:pt x="249" y="99"/>
                  </a:lnTo>
                  <a:lnTo>
                    <a:pt x="235" y="91"/>
                  </a:lnTo>
                  <a:lnTo>
                    <a:pt x="228" y="85"/>
                  </a:lnTo>
                  <a:lnTo>
                    <a:pt x="219" y="80"/>
                  </a:lnTo>
                  <a:lnTo>
                    <a:pt x="214" y="71"/>
                  </a:lnTo>
                  <a:lnTo>
                    <a:pt x="211" y="61"/>
                  </a:lnTo>
                  <a:lnTo>
                    <a:pt x="211" y="61"/>
                  </a:lnTo>
                  <a:lnTo>
                    <a:pt x="209" y="54"/>
                  </a:lnTo>
                  <a:lnTo>
                    <a:pt x="205" y="49"/>
                  </a:lnTo>
                  <a:lnTo>
                    <a:pt x="199" y="37"/>
                  </a:lnTo>
                  <a:lnTo>
                    <a:pt x="190" y="21"/>
                  </a:lnTo>
                  <a:lnTo>
                    <a:pt x="186" y="11"/>
                  </a:lnTo>
                  <a:lnTo>
                    <a:pt x="183" y="0"/>
                  </a:lnTo>
                  <a:lnTo>
                    <a:pt x="18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4" name="Freeform 1759">
              <a:extLst>
                <a:ext uri="{FF2B5EF4-FFF2-40B4-BE49-F238E27FC236}">
                  <a16:creationId xmlns:a16="http://schemas.microsoft.com/office/drawing/2014/main" id="{BE91EEB4-373E-40F9-88D7-DC3C06325DC1}"/>
                </a:ext>
              </a:extLst>
            </p:cNvPr>
            <p:cNvSpPr>
              <a:spLocks/>
            </p:cNvSpPr>
            <p:nvPr/>
          </p:nvSpPr>
          <p:spPr bwMode="auto">
            <a:xfrm>
              <a:off x="5184903" y="5278254"/>
              <a:ext cx="463405" cy="456359"/>
            </a:xfrm>
            <a:custGeom>
              <a:avLst/>
              <a:gdLst/>
              <a:ahLst/>
              <a:cxnLst>
                <a:cxn ang="0">
                  <a:pos x="477" y="3"/>
                </a:cxn>
                <a:cxn ang="0">
                  <a:pos x="503" y="7"/>
                </a:cxn>
                <a:cxn ang="0">
                  <a:pos x="531" y="45"/>
                </a:cxn>
                <a:cxn ang="0">
                  <a:pos x="543" y="169"/>
                </a:cxn>
                <a:cxn ang="0">
                  <a:pos x="517" y="160"/>
                </a:cxn>
                <a:cxn ang="0">
                  <a:pos x="503" y="195"/>
                </a:cxn>
                <a:cxn ang="0">
                  <a:pos x="524" y="228"/>
                </a:cxn>
                <a:cxn ang="0">
                  <a:pos x="543" y="226"/>
                </a:cxn>
                <a:cxn ang="0">
                  <a:pos x="550" y="207"/>
                </a:cxn>
                <a:cxn ang="0">
                  <a:pos x="560" y="278"/>
                </a:cxn>
                <a:cxn ang="0">
                  <a:pos x="508" y="348"/>
                </a:cxn>
                <a:cxn ang="0">
                  <a:pos x="473" y="409"/>
                </a:cxn>
                <a:cxn ang="0">
                  <a:pos x="438" y="451"/>
                </a:cxn>
                <a:cxn ang="0">
                  <a:pos x="369" y="513"/>
                </a:cxn>
                <a:cxn ang="0">
                  <a:pos x="330" y="520"/>
                </a:cxn>
                <a:cxn ang="0">
                  <a:pos x="324" y="533"/>
                </a:cxn>
                <a:cxn ang="0">
                  <a:pos x="299" y="533"/>
                </a:cxn>
                <a:cxn ang="0">
                  <a:pos x="278" y="541"/>
                </a:cxn>
                <a:cxn ang="0">
                  <a:pos x="247" y="534"/>
                </a:cxn>
                <a:cxn ang="0">
                  <a:pos x="209" y="533"/>
                </a:cxn>
                <a:cxn ang="0">
                  <a:pos x="193" y="545"/>
                </a:cxn>
                <a:cxn ang="0">
                  <a:pos x="165" y="554"/>
                </a:cxn>
                <a:cxn ang="0">
                  <a:pos x="139" y="557"/>
                </a:cxn>
                <a:cxn ang="0">
                  <a:pos x="125" y="569"/>
                </a:cxn>
                <a:cxn ang="0">
                  <a:pos x="109" y="567"/>
                </a:cxn>
                <a:cxn ang="0">
                  <a:pos x="99" y="557"/>
                </a:cxn>
                <a:cxn ang="0">
                  <a:pos x="85" y="550"/>
                </a:cxn>
                <a:cxn ang="0">
                  <a:pos x="81" y="538"/>
                </a:cxn>
                <a:cxn ang="0">
                  <a:pos x="71" y="541"/>
                </a:cxn>
                <a:cxn ang="0">
                  <a:pos x="66" y="543"/>
                </a:cxn>
                <a:cxn ang="0">
                  <a:pos x="69" y="524"/>
                </a:cxn>
                <a:cxn ang="0">
                  <a:pos x="52" y="493"/>
                </a:cxn>
                <a:cxn ang="0">
                  <a:pos x="52" y="473"/>
                </a:cxn>
                <a:cxn ang="0">
                  <a:pos x="62" y="473"/>
                </a:cxn>
                <a:cxn ang="0">
                  <a:pos x="59" y="421"/>
                </a:cxn>
                <a:cxn ang="0">
                  <a:pos x="24" y="350"/>
                </a:cxn>
                <a:cxn ang="0">
                  <a:pos x="0" y="285"/>
                </a:cxn>
                <a:cxn ang="0">
                  <a:pos x="15" y="263"/>
                </a:cxn>
                <a:cxn ang="0">
                  <a:pos x="29" y="268"/>
                </a:cxn>
                <a:cxn ang="0">
                  <a:pos x="38" y="292"/>
                </a:cxn>
                <a:cxn ang="0">
                  <a:pos x="66" y="301"/>
                </a:cxn>
                <a:cxn ang="0">
                  <a:pos x="87" y="299"/>
                </a:cxn>
                <a:cxn ang="0">
                  <a:pos x="118" y="282"/>
                </a:cxn>
                <a:cxn ang="0">
                  <a:pos x="135" y="130"/>
                </a:cxn>
                <a:cxn ang="0">
                  <a:pos x="149" y="181"/>
                </a:cxn>
                <a:cxn ang="0">
                  <a:pos x="149" y="207"/>
                </a:cxn>
                <a:cxn ang="0">
                  <a:pos x="179" y="209"/>
                </a:cxn>
                <a:cxn ang="0">
                  <a:pos x="209" y="181"/>
                </a:cxn>
                <a:cxn ang="0">
                  <a:pos x="231" y="139"/>
                </a:cxn>
                <a:cxn ang="0">
                  <a:pos x="263" y="148"/>
                </a:cxn>
                <a:cxn ang="0">
                  <a:pos x="317" y="153"/>
                </a:cxn>
                <a:cxn ang="0">
                  <a:pos x="337" y="115"/>
                </a:cxn>
                <a:cxn ang="0">
                  <a:pos x="367" y="78"/>
                </a:cxn>
                <a:cxn ang="0">
                  <a:pos x="386" y="52"/>
                </a:cxn>
                <a:cxn ang="0">
                  <a:pos x="409" y="26"/>
                </a:cxn>
                <a:cxn ang="0">
                  <a:pos x="444" y="7"/>
                </a:cxn>
              </a:cxnLst>
              <a:rect l="0" t="0" r="r" b="b"/>
              <a:pathLst>
                <a:path w="578" h="569">
                  <a:moveTo>
                    <a:pt x="451" y="0"/>
                  </a:moveTo>
                  <a:lnTo>
                    <a:pt x="451" y="0"/>
                  </a:lnTo>
                  <a:lnTo>
                    <a:pt x="458" y="0"/>
                  </a:lnTo>
                  <a:lnTo>
                    <a:pt x="465" y="2"/>
                  </a:lnTo>
                  <a:lnTo>
                    <a:pt x="477" y="3"/>
                  </a:lnTo>
                  <a:lnTo>
                    <a:pt x="485" y="7"/>
                  </a:lnTo>
                  <a:lnTo>
                    <a:pt x="491" y="7"/>
                  </a:lnTo>
                  <a:lnTo>
                    <a:pt x="496" y="7"/>
                  </a:lnTo>
                  <a:lnTo>
                    <a:pt x="496" y="7"/>
                  </a:lnTo>
                  <a:lnTo>
                    <a:pt x="503" y="7"/>
                  </a:lnTo>
                  <a:lnTo>
                    <a:pt x="510" y="7"/>
                  </a:lnTo>
                  <a:lnTo>
                    <a:pt x="515" y="9"/>
                  </a:lnTo>
                  <a:lnTo>
                    <a:pt x="520" y="10"/>
                  </a:lnTo>
                  <a:lnTo>
                    <a:pt x="520" y="10"/>
                  </a:lnTo>
                  <a:lnTo>
                    <a:pt x="531" y="45"/>
                  </a:lnTo>
                  <a:lnTo>
                    <a:pt x="539" y="89"/>
                  </a:lnTo>
                  <a:lnTo>
                    <a:pt x="543" y="111"/>
                  </a:lnTo>
                  <a:lnTo>
                    <a:pt x="546" y="132"/>
                  </a:lnTo>
                  <a:lnTo>
                    <a:pt x="546" y="151"/>
                  </a:lnTo>
                  <a:lnTo>
                    <a:pt x="543" y="169"/>
                  </a:lnTo>
                  <a:lnTo>
                    <a:pt x="543" y="169"/>
                  </a:lnTo>
                  <a:lnTo>
                    <a:pt x="534" y="162"/>
                  </a:lnTo>
                  <a:lnTo>
                    <a:pt x="527" y="160"/>
                  </a:lnTo>
                  <a:lnTo>
                    <a:pt x="522" y="158"/>
                  </a:lnTo>
                  <a:lnTo>
                    <a:pt x="517" y="160"/>
                  </a:lnTo>
                  <a:lnTo>
                    <a:pt x="513" y="165"/>
                  </a:lnTo>
                  <a:lnTo>
                    <a:pt x="512" y="170"/>
                  </a:lnTo>
                  <a:lnTo>
                    <a:pt x="505" y="186"/>
                  </a:lnTo>
                  <a:lnTo>
                    <a:pt x="505" y="186"/>
                  </a:lnTo>
                  <a:lnTo>
                    <a:pt x="503" y="195"/>
                  </a:lnTo>
                  <a:lnTo>
                    <a:pt x="505" y="204"/>
                  </a:lnTo>
                  <a:lnTo>
                    <a:pt x="508" y="212"/>
                  </a:lnTo>
                  <a:lnTo>
                    <a:pt x="512" y="218"/>
                  </a:lnTo>
                  <a:lnTo>
                    <a:pt x="519" y="224"/>
                  </a:lnTo>
                  <a:lnTo>
                    <a:pt x="524" y="228"/>
                  </a:lnTo>
                  <a:lnTo>
                    <a:pt x="531" y="230"/>
                  </a:lnTo>
                  <a:lnTo>
                    <a:pt x="536" y="230"/>
                  </a:lnTo>
                  <a:lnTo>
                    <a:pt x="536" y="230"/>
                  </a:lnTo>
                  <a:lnTo>
                    <a:pt x="541" y="228"/>
                  </a:lnTo>
                  <a:lnTo>
                    <a:pt x="543" y="226"/>
                  </a:lnTo>
                  <a:lnTo>
                    <a:pt x="545" y="223"/>
                  </a:lnTo>
                  <a:lnTo>
                    <a:pt x="545" y="218"/>
                  </a:lnTo>
                  <a:lnTo>
                    <a:pt x="545" y="211"/>
                  </a:lnTo>
                  <a:lnTo>
                    <a:pt x="546" y="207"/>
                  </a:lnTo>
                  <a:lnTo>
                    <a:pt x="550" y="207"/>
                  </a:lnTo>
                  <a:lnTo>
                    <a:pt x="578" y="207"/>
                  </a:lnTo>
                  <a:lnTo>
                    <a:pt x="578" y="207"/>
                  </a:lnTo>
                  <a:lnTo>
                    <a:pt x="573" y="242"/>
                  </a:lnTo>
                  <a:lnTo>
                    <a:pt x="566" y="265"/>
                  </a:lnTo>
                  <a:lnTo>
                    <a:pt x="560" y="278"/>
                  </a:lnTo>
                  <a:lnTo>
                    <a:pt x="552" y="289"/>
                  </a:lnTo>
                  <a:lnTo>
                    <a:pt x="543" y="296"/>
                  </a:lnTo>
                  <a:lnTo>
                    <a:pt x="532" y="306"/>
                  </a:lnTo>
                  <a:lnTo>
                    <a:pt x="522" y="322"/>
                  </a:lnTo>
                  <a:lnTo>
                    <a:pt x="508" y="348"/>
                  </a:lnTo>
                  <a:lnTo>
                    <a:pt x="508" y="348"/>
                  </a:lnTo>
                  <a:lnTo>
                    <a:pt x="498" y="371"/>
                  </a:lnTo>
                  <a:lnTo>
                    <a:pt x="489" y="388"/>
                  </a:lnTo>
                  <a:lnTo>
                    <a:pt x="480" y="400"/>
                  </a:lnTo>
                  <a:lnTo>
                    <a:pt x="473" y="409"/>
                  </a:lnTo>
                  <a:lnTo>
                    <a:pt x="461" y="419"/>
                  </a:lnTo>
                  <a:lnTo>
                    <a:pt x="456" y="426"/>
                  </a:lnTo>
                  <a:lnTo>
                    <a:pt x="449" y="435"/>
                  </a:lnTo>
                  <a:lnTo>
                    <a:pt x="449" y="435"/>
                  </a:lnTo>
                  <a:lnTo>
                    <a:pt x="438" y="451"/>
                  </a:lnTo>
                  <a:lnTo>
                    <a:pt x="426" y="465"/>
                  </a:lnTo>
                  <a:lnTo>
                    <a:pt x="404" y="486"/>
                  </a:lnTo>
                  <a:lnTo>
                    <a:pt x="384" y="501"/>
                  </a:lnTo>
                  <a:lnTo>
                    <a:pt x="369" y="513"/>
                  </a:lnTo>
                  <a:lnTo>
                    <a:pt x="369" y="513"/>
                  </a:lnTo>
                  <a:lnTo>
                    <a:pt x="362" y="519"/>
                  </a:lnTo>
                  <a:lnTo>
                    <a:pt x="353" y="520"/>
                  </a:lnTo>
                  <a:lnTo>
                    <a:pt x="344" y="520"/>
                  </a:lnTo>
                  <a:lnTo>
                    <a:pt x="337" y="520"/>
                  </a:lnTo>
                  <a:lnTo>
                    <a:pt x="330" y="520"/>
                  </a:lnTo>
                  <a:lnTo>
                    <a:pt x="327" y="522"/>
                  </a:lnTo>
                  <a:lnTo>
                    <a:pt x="324" y="524"/>
                  </a:lnTo>
                  <a:lnTo>
                    <a:pt x="324" y="527"/>
                  </a:lnTo>
                  <a:lnTo>
                    <a:pt x="324" y="527"/>
                  </a:lnTo>
                  <a:lnTo>
                    <a:pt x="324" y="533"/>
                  </a:lnTo>
                  <a:lnTo>
                    <a:pt x="322" y="534"/>
                  </a:lnTo>
                  <a:lnTo>
                    <a:pt x="315" y="533"/>
                  </a:lnTo>
                  <a:lnTo>
                    <a:pt x="310" y="531"/>
                  </a:lnTo>
                  <a:lnTo>
                    <a:pt x="304" y="531"/>
                  </a:lnTo>
                  <a:lnTo>
                    <a:pt x="299" y="533"/>
                  </a:lnTo>
                  <a:lnTo>
                    <a:pt x="294" y="536"/>
                  </a:lnTo>
                  <a:lnTo>
                    <a:pt x="294" y="536"/>
                  </a:lnTo>
                  <a:lnTo>
                    <a:pt x="290" y="541"/>
                  </a:lnTo>
                  <a:lnTo>
                    <a:pt x="283" y="541"/>
                  </a:lnTo>
                  <a:lnTo>
                    <a:pt x="278" y="541"/>
                  </a:lnTo>
                  <a:lnTo>
                    <a:pt x="271" y="538"/>
                  </a:lnTo>
                  <a:lnTo>
                    <a:pt x="257" y="534"/>
                  </a:lnTo>
                  <a:lnTo>
                    <a:pt x="252" y="533"/>
                  </a:lnTo>
                  <a:lnTo>
                    <a:pt x="247" y="534"/>
                  </a:lnTo>
                  <a:lnTo>
                    <a:pt x="247" y="534"/>
                  </a:lnTo>
                  <a:lnTo>
                    <a:pt x="243" y="536"/>
                  </a:lnTo>
                  <a:lnTo>
                    <a:pt x="238" y="538"/>
                  </a:lnTo>
                  <a:lnTo>
                    <a:pt x="229" y="536"/>
                  </a:lnTo>
                  <a:lnTo>
                    <a:pt x="219" y="533"/>
                  </a:lnTo>
                  <a:lnTo>
                    <a:pt x="209" y="533"/>
                  </a:lnTo>
                  <a:lnTo>
                    <a:pt x="209" y="533"/>
                  </a:lnTo>
                  <a:lnTo>
                    <a:pt x="205" y="533"/>
                  </a:lnTo>
                  <a:lnTo>
                    <a:pt x="202" y="534"/>
                  </a:lnTo>
                  <a:lnTo>
                    <a:pt x="198" y="540"/>
                  </a:lnTo>
                  <a:lnTo>
                    <a:pt x="193" y="545"/>
                  </a:lnTo>
                  <a:lnTo>
                    <a:pt x="188" y="548"/>
                  </a:lnTo>
                  <a:lnTo>
                    <a:pt x="182" y="550"/>
                  </a:lnTo>
                  <a:lnTo>
                    <a:pt x="182" y="550"/>
                  </a:lnTo>
                  <a:lnTo>
                    <a:pt x="172" y="554"/>
                  </a:lnTo>
                  <a:lnTo>
                    <a:pt x="165" y="554"/>
                  </a:lnTo>
                  <a:lnTo>
                    <a:pt x="160" y="552"/>
                  </a:lnTo>
                  <a:lnTo>
                    <a:pt x="149" y="552"/>
                  </a:lnTo>
                  <a:lnTo>
                    <a:pt x="149" y="552"/>
                  </a:lnTo>
                  <a:lnTo>
                    <a:pt x="142" y="554"/>
                  </a:lnTo>
                  <a:lnTo>
                    <a:pt x="139" y="557"/>
                  </a:lnTo>
                  <a:lnTo>
                    <a:pt x="132" y="562"/>
                  </a:lnTo>
                  <a:lnTo>
                    <a:pt x="129" y="569"/>
                  </a:lnTo>
                  <a:lnTo>
                    <a:pt x="127" y="569"/>
                  </a:lnTo>
                  <a:lnTo>
                    <a:pt x="125" y="569"/>
                  </a:lnTo>
                  <a:lnTo>
                    <a:pt x="125" y="569"/>
                  </a:lnTo>
                  <a:lnTo>
                    <a:pt x="120" y="569"/>
                  </a:lnTo>
                  <a:lnTo>
                    <a:pt x="116" y="569"/>
                  </a:lnTo>
                  <a:lnTo>
                    <a:pt x="113" y="569"/>
                  </a:lnTo>
                  <a:lnTo>
                    <a:pt x="109" y="567"/>
                  </a:lnTo>
                  <a:lnTo>
                    <a:pt x="109" y="567"/>
                  </a:lnTo>
                  <a:lnTo>
                    <a:pt x="106" y="564"/>
                  </a:lnTo>
                  <a:lnTo>
                    <a:pt x="102" y="564"/>
                  </a:lnTo>
                  <a:lnTo>
                    <a:pt x="101" y="562"/>
                  </a:lnTo>
                  <a:lnTo>
                    <a:pt x="99" y="557"/>
                  </a:lnTo>
                  <a:lnTo>
                    <a:pt x="99" y="557"/>
                  </a:lnTo>
                  <a:lnTo>
                    <a:pt x="97" y="554"/>
                  </a:lnTo>
                  <a:lnTo>
                    <a:pt x="95" y="552"/>
                  </a:lnTo>
                  <a:lnTo>
                    <a:pt x="90" y="552"/>
                  </a:lnTo>
                  <a:lnTo>
                    <a:pt x="88" y="552"/>
                  </a:lnTo>
                  <a:lnTo>
                    <a:pt x="85" y="550"/>
                  </a:lnTo>
                  <a:lnTo>
                    <a:pt x="85" y="548"/>
                  </a:lnTo>
                  <a:lnTo>
                    <a:pt x="83" y="543"/>
                  </a:lnTo>
                  <a:lnTo>
                    <a:pt x="83" y="543"/>
                  </a:lnTo>
                  <a:lnTo>
                    <a:pt x="83" y="540"/>
                  </a:lnTo>
                  <a:lnTo>
                    <a:pt x="81" y="538"/>
                  </a:lnTo>
                  <a:lnTo>
                    <a:pt x="80" y="536"/>
                  </a:lnTo>
                  <a:lnTo>
                    <a:pt x="78" y="536"/>
                  </a:lnTo>
                  <a:lnTo>
                    <a:pt x="75" y="536"/>
                  </a:lnTo>
                  <a:lnTo>
                    <a:pt x="73" y="538"/>
                  </a:lnTo>
                  <a:lnTo>
                    <a:pt x="71" y="541"/>
                  </a:lnTo>
                  <a:lnTo>
                    <a:pt x="71" y="545"/>
                  </a:lnTo>
                  <a:lnTo>
                    <a:pt x="71" y="545"/>
                  </a:lnTo>
                  <a:lnTo>
                    <a:pt x="69" y="548"/>
                  </a:lnTo>
                  <a:lnTo>
                    <a:pt x="68" y="548"/>
                  </a:lnTo>
                  <a:lnTo>
                    <a:pt x="66" y="543"/>
                  </a:lnTo>
                  <a:lnTo>
                    <a:pt x="64" y="534"/>
                  </a:lnTo>
                  <a:lnTo>
                    <a:pt x="64" y="531"/>
                  </a:lnTo>
                  <a:lnTo>
                    <a:pt x="66" y="527"/>
                  </a:lnTo>
                  <a:lnTo>
                    <a:pt x="66" y="527"/>
                  </a:lnTo>
                  <a:lnTo>
                    <a:pt x="69" y="524"/>
                  </a:lnTo>
                  <a:lnTo>
                    <a:pt x="68" y="517"/>
                  </a:lnTo>
                  <a:lnTo>
                    <a:pt x="64" y="510"/>
                  </a:lnTo>
                  <a:lnTo>
                    <a:pt x="55" y="498"/>
                  </a:lnTo>
                  <a:lnTo>
                    <a:pt x="55" y="498"/>
                  </a:lnTo>
                  <a:lnTo>
                    <a:pt x="52" y="493"/>
                  </a:lnTo>
                  <a:lnTo>
                    <a:pt x="50" y="486"/>
                  </a:lnTo>
                  <a:lnTo>
                    <a:pt x="48" y="482"/>
                  </a:lnTo>
                  <a:lnTo>
                    <a:pt x="48" y="479"/>
                  </a:lnTo>
                  <a:lnTo>
                    <a:pt x="50" y="475"/>
                  </a:lnTo>
                  <a:lnTo>
                    <a:pt x="52" y="473"/>
                  </a:lnTo>
                  <a:lnTo>
                    <a:pt x="54" y="473"/>
                  </a:lnTo>
                  <a:lnTo>
                    <a:pt x="55" y="475"/>
                  </a:lnTo>
                  <a:lnTo>
                    <a:pt x="55" y="475"/>
                  </a:lnTo>
                  <a:lnTo>
                    <a:pt x="59" y="475"/>
                  </a:lnTo>
                  <a:lnTo>
                    <a:pt x="62" y="473"/>
                  </a:lnTo>
                  <a:lnTo>
                    <a:pt x="64" y="468"/>
                  </a:lnTo>
                  <a:lnTo>
                    <a:pt x="68" y="460"/>
                  </a:lnTo>
                  <a:lnTo>
                    <a:pt x="68" y="449"/>
                  </a:lnTo>
                  <a:lnTo>
                    <a:pt x="66" y="437"/>
                  </a:lnTo>
                  <a:lnTo>
                    <a:pt x="59" y="421"/>
                  </a:lnTo>
                  <a:lnTo>
                    <a:pt x="50" y="404"/>
                  </a:lnTo>
                  <a:lnTo>
                    <a:pt x="50" y="404"/>
                  </a:lnTo>
                  <a:lnTo>
                    <a:pt x="38" y="383"/>
                  </a:lnTo>
                  <a:lnTo>
                    <a:pt x="29" y="365"/>
                  </a:lnTo>
                  <a:lnTo>
                    <a:pt x="24" y="350"/>
                  </a:lnTo>
                  <a:lnTo>
                    <a:pt x="21" y="336"/>
                  </a:lnTo>
                  <a:lnTo>
                    <a:pt x="17" y="322"/>
                  </a:lnTo>
                  <a:lnTo>
                    <a:pt x="14" y="310"/>
                  </a:lnTo>
                  <a:lnTo>
                    <a:pt x="8" y="298"/>
                  </a:lnTo>
                  <a:lnTo>
                    <a:pt x="0" y="285"/>
                  </a:lnTo>
                  <a:lnTo>
                    <a:pt x="0" y="285"/>
                  </a:lnTo>
                  <a:lnTo>
                    <a:pt x="5" y="282"/>
                  </a:lnTo>
                  <a:lnTo>
                    <a:pt x="10" y="277"/>
                  </a:lnTo>
                  <a:lnTo>
                    <a:pt x="14" y="268"/>
                  </a:lnTo>
                  <a:lnTo>
                    <a:pt x="15" y="263"/>
                  </a:lnTo>
                  <a:lnTo>
                    <a:pt x="17" y="261"/>
                  </a:lnTo>
                  <a:lnTo>
                    <a:pt x="21" y="261"/>
                  </a:lnTo>
                  <a:lnTo>
                    <a:pt x="24" y="265"/>
                  </a:lnTo>
                  <a:lnTo>
                    <a:pt x="24" y="265"/>
                  </a:lnTo>
                  <a:lnTo>
                    <a:pt x="29" y="268"/>
                  </a:lnTo>
                  <a:lnTo>
                    <a:pt x="31" y="273"/>
                  </a:lnTo>
                  <a:lnTo>
                    <a:pt x="33" y="280"/>
                  </a:lnTo>
                  <a:lnTo>
                    <a:pt x="33" y="284"/>
                  </a:lnTo>
                  <a:lnTo>
                    <a:pt x="34" y="287"/>
                  </a:lnTo>
                  <a:lnTo>
                    <a:pt x="38" y="292"/>
                  </a:lnTo>
                  <a:lnTo>
                    <a:pt x="45" y="296"/>
                  </a:lnTo>
                  <a:lnTo>
                    <a:pt x="45" y="296"/>
                  </a:lnTo>
                  <a:lnTo>
                    <a:pt x="54" y="299"/>
                  </a:lnTo>
                  <a:lnTo>
                    <a:pt x="61" y="301"/>
                  </a:lnTo>
                  <a:lnTo>
                    <a:pt x="66" y="301"/>
                  </a:lnTo>
                  <a:lnTo>
                    <a:pt x="73" y="301"/>
                  </a:lnTo>
                  <a:lnTo>
                    <a:pt x="80" y="299"/>
                  </a:lnTo>
                  <a:lnTo>
                    <a:pt x="83" y="299"/>
                  </a:lnTo>
                  <a:lnTo>
                    <a:pt x="87" y="299"/>
                  </a:lnTo>
                  <a:lnTo>
                    <a:pt x="87" y="299"/>
                  </a:lnTo>
                  <a:lnTo>
                    <a:pt x="90" y="301"/>
                  </a:lnTo>
                  <a:lnTo>
                    <a:pt x="94" y="299"/>
                  </a:lnTo>
                  <a:lnTo>
                    <a:pt x="102" y="294"/>
                  </a:lnTo>
                  <a:lnTo>
                    <a:pt x="113" y="285"/>
                  </a:lnTo>
                  <a:lnTo>
                    <a:pt x="118" y="282"/>
                  </a:lnTo>
                  <a:lnTo>
                    <a:pt x="125" y="280"/>
                  </a:lnTo>
                  <a:lnTo>
                    <a:pt x="125" y="115"/>
                  </a:lnTo>
                  <a:lnTo>
                    <a:pt x="125" y="115"/>
                  </a:lnTo>
                  <a:lnTo>
                    <a:pt x="130" y="122"/>
                  </a:lnTo>
                  <a:lnTo>
                    <a:pt x="135" y="130"/>
                  </a:lnTo>
                  <a:lnTo>
                    <a:pt x="146" y="151"/>
                  </a:lnTo>
                  <a:lnTo>
                    <a:pt x="151" y="170"/>
                  </a:lnTo>
                  <a:lnTo>
                    <a:pt x="151" y="177"/>
                  </a:lnTo>
                  <a:lnTo>
                    <a:pt x="149" y="181"/>
                  </a:lnTo>
                  <a:lnTo>
                    <a:pt x="149" y="181"/>
                  </a:lnTo>
                  <a:lnTo>
                    <a:pt x="146" y="190"/>
                  </a:lnTo>
                  <a:lnTo>
                    <a:pt x="144" y="198"/>
                  </a:lnTo>
                  <a:lnTo>
                    <a:pt x="146" y="202"/>
                  </a:lnTo>
                  <a:lnTo>
                    <a:pt x="148" y="205"/>
                  </a:lnTo>
                  <a:lnTo>
                    <a:pt x="149" y="207"/>
                  </a:lnTo>
                  <a:lnTo>
                    <a:pt x="153" y="209"/>
                  </a:lnTo>
                  <a:lnTo>
                    <a:pt x="153" y="209"/>
                  </a:lnTo>
                  <a:lnTo>
                    <a:pt x="163" y="209"/>
                  </a:lnTo>
                  <a:lnTo>
                    <a:pt x="174" y="211"/>
                  </a:lnTo>
                  <a:lnTo>
                    <a:pt x="179" y="209"/>
                  </a:lnTo>
                  <a:lnTo>
                    <a:pt x="186" y="207"/>
                  </a:lnTo>
                  <a:lnTo>
                    <a:pt x="193" y="200"/>
                  </a:lnTo>
                  <a:lnTo>
                    <a:pt x="202" y="191"/>
                  </a:lnTo>
                  <a:lnTo>
                    <a:pt x="202" y="191"/>
                  </a:lnTo>
                  <a:lnTo>
                    <a:pt x="209" y="181"/>
                  </a:lnTo>
                  <a:lnTo>
                    <a:pt x="214" y="169"/>
                  </a:lnTo>
                  <a:lnTo>
                    <a:pt x="217" y="157"/>
                  </a:lnTo>
                  <a:lnTo>
                    <a:pt x="223" y="148"/>
                  </a:lnTo>
                  <a:lnTo>
                    <a:pt x="228" y="141"/>
                  </a:lnTo>
                  <a:lnTo>
                    <a:pt x="231" y="139"/>
                  </a:lnTo>
                  <a:lnTo>
                    <a:pt x="235" y="137"/>
                  </a:lnTo>
                  <a:lnTo>
                    <a:pt x="240" y="137"/>
                  </a:lnTo>
                  <a:lnTo>
                    <a:pt x="247" y="139"/>
                  </a:lnTo>
                  <a:lnTo>
                    <a:pt x="263" y="148"/>
                  </a:lnTo>
                  <a:lnTo>
                    <a:pt x="263" y="148"/>
                  </a:lnTo>
                  <a:lnTo>
                    <a:pt x="278" y="157"/>
                  </a:lnTo>
                  <a:lnTo>
                    <a:pt x="292" y="160"/>
                  </a:lnTo>
                  <a:lnTo>
                    <a:pt x="303" y="162"/>
                  </a:lnTo>
                  <a:lnTo>
                    <a:pt x="310" y="158"/>
                  </a:lnTo>
                  <a:lnTo>
                    <a:pt x="317" y="153"/>
                  </a:lnTo>
                  <a:lnTo>
                    <a:pt x="320" y="146"/>
                  </a:lnTo>
                  <a:lnTo>
                    <a:pt x="327" y="129"/>
                  </a:lnTo>
                  <a:lnTo>
                    <a:pt x="327" y="129"/>
                  </a:lnTo>
                  <a:lnTo>
                    <a:pt x="332" y="120"/>
                  </a:lnTo>
                  <a:lnTo>
                    <a:pt x="337" y="115"/>
                  </a:lnTo>
                  <a:lnTo>
                    <a:pt x="348" y="106"/>
                  </a:lnTo>
                  <a:lnTo>
                    <a:pt x="355" y="101"/>
                  </a:lnTo>
                  <a:lnTo>
                    <a:pt x="360" y="96"/>
                  </a:lnTo>
                  <a:lnTo>
                    <a:pt x="364" y="89"/>
                  </a:lnTo>
                  <a:lnTo>
                    <a:pt x="367" y="78"/>
                  </a:lnTo>
                  <a:lnTo>
                    <a:pt x="367" y="78"/>
                  </a:lnTo>
                  <a:lnTo>
                    <a:pt x="371" y="68"/>
                  </a:lnTo>
                  <a:lnTo>
                    <a:pt x="374" y="61"/>
                  </a:lnTo>
                  <a:lnTo>
                    <a:pt x="379" y="56"/>
                  </a:lnTo>
                  <a:lnTo>
                    <a:pt x="386" y="52"/>
                  </a:lnTo>
                  <a:lnTo>
                    <a:pt x="397" y="45"/>
                  </a:lnTo>
                  <a:lnTo>
                    <a:pt x="402" y="40"/>
                  </a:lnTo>
                  <a:lnTo>
                    <a:pt x="405" y="33"/>
                  </a:lnTo>
                  <a:lnTo>
                    <a:pt x="405" y="33"/>
                  </a:lnTo>
                  <a:lnTo>
                    <a:pt x="409" y="26"/>
                  </a:lnTo>
                  <a:lnTo>
                    <a:pt x="412" y="23"/>
                  </a:lnTo>
                  <a:lnTo>
                    <a:pt x="418" y="19"/>
                  </a:lnTo>
                  <a:lnTo>
                    <a:pt x="423" y="16"/>
                  </a:lnTo>
                  <a:lnTo>
                    <a:pt x="437" y="10"/>
                  </a:lnTo>
                  <a:lnTo>
                    <a:pt x="444" y="7"/>
                  </a:lnTo>
                  <a:lnTo>
                    <a:pt x="451" y="0"/>
                  </a:lnTo>
                  <a:lnTo>
                    <a:pt x="45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5" name="Freeform 1760">
              <a:extLst>
                <a:ext uri="{FF2B5EF4-FFF2-40B4-BE49-F238E27FC236}">
                  <a16:creationId xmlns:a16="http://schemas.microsoft.com/office/drawing/2014/main" id="{9DE424EE-62B5-40F2-99E0-EC9BB29D15E3}"/>
                </a:ext>
              </a:extLst>
            </p:cNvPr>
            <p:cNvSpPr>
              <a:spLocks/>
            </p:cNvSpPr>
            <p:nvPr/>
          </p:nvSpPr>
          <p:spPr bwMode="auto">
            <a:xfrm>
              <a:off x="4728541" y="3706546"/>
              <a:ext cx="442262" cy="412310"/>
            </a:xfrm>
            <a:custGeom>
              <a:avLst/>
              <a:gdLst/>
              <a:ahLst/>
              <a:cxnLst>
                <a:cxn ang="0">
                  <a:pos x="142" y="289"/>
                </a:cxn>
                <a:cxn ang="0">
                  <a:pos x="137" y="315"/>
                </a:cxn>
                <a:cxn ang="0">
                  <a:pos x="128" y="341"/>
                </a:cxn>
                <a:cxn ang="0">
                  <a:pos x="120" y="347"/>
                </a:cxn>
                <a:cxn ang="0">
                  <a:pos x="113" y="354"/>
                </a:cxn>
                <a:cxn ang="0">
                  <a:pos x="83" y="357"/>
                </a:cxn>
                <a:cxn ang="0">
                  <a:pos x="41" y="361"/>
                </a:cxn>
                <a:cxn ang="0">
                  <a:pos x="24" y="373"/>
                </a:cxn>
                <a:cxn ang="0">
                  <a:pos x="0" y="388"/>
                </a:cxn>
                <a:cxn ang="0">
                  <a:pos x="7" y="406"/>
                </a:cxn>
                <a:cxn ang="0">
                  <a:pos x="15" y="425"/>
                </a:cxn>
                <a:cxn ang="0">
                  <a:pos x="36" y="439"/>
                </a:cxn>
                <a:cxn ang="0">
                  <a:pos x="31" y="442"/>
                </a:cxn>
                <a:cxn ang="0">
                  <a:pos x="31" y="455"/>
                </a:cxn>
                <a:cxn ang="0">
                  <a:pos x="50" y="472"/>
                </a:cxn>
                <a:cxn ang="0">
                  <a:pos x="60" y="472"/>
                </a:cxn>
                <a:cxn ang="0">
                  <a:pos x="71" y="472"/>
                </a:cxn>
                <a:cxn ang="0">
                  <a:pos x="69" y="484"/>
                </a:cxn>
                <a:cxn ang="0">
                  <a:pos x="69" y="491"/>
                </a:cxn>
                <a:cxn ang="0">
                  <a:pos x="80" y="498"/>
                </a:cxn>
                <a:cxn ang="0">
                  <a:pos x="83" y="489"/>
                </a:cxn>
                <a:cxn ang="0">
                  <a:pos x="90" y="482"/>
                </a:cxn>
                <a:cxn ang="0">
                  <a:pos x="101" y="489"/>
                </a:cxn>
                <a:cxn ang="0">
                  <a:pos x="121" y="507"/>
                </a:cxn>
                <a:cxn ang="0">
                  <a:pos x="123" y="479"/>
                </a:cxn>
                <a:cxn ang="0">
                  <a:pos x="134" y="467"/>
                </a:cxn>
                <a:cxn ang="0">
                  <a:pos x="139" y="439"/>
                </a:cxn>
                <a:cxn ang="0">
                  <a:pos x="155" y="427"/>
                </a:cxn>
                <a:cxn ang="0">
                  <a:pos x="175" y="427"/>
                </a:cxn>
                <a:cxn ang="0">
                  <a:pos x="186" y="418"/>
                </a:cxn>
                <a:cxn ang="0">
                  <a:pos x="203" y="423"/>
                </a:cxn>
                <a:cxn ang="0">
                  <a:pos x="224" y="435"/>
                </a:cxn>
                <a:cxn ang="0">
                  <a:pos x="238" y="455"/>
                </a:cxn>
                <a:cxn ang="0">
                  <a:pos x="266" y="442"/>
                </a:cxn>
                <a:cxn ang="0">
                  <a:pos x="280" y="444"/>
                </a:cxn>
                <a:cxn ang="0">
                  <a:pos x="316" y="463"/>
                </a:cxn>
                <a:cxn ang="0">
                  <a:pos x="334" y="460"/>
                </a:cxn>
                <a:cxn ang="0">
                  <a:pos x="356" y="444"/>
                </a:cxn>
                <a:cxn ang="0">
                  <a:pos x="393" y="441"/>
                </a:cxn>
                <a:cxn ang="0">
                  <a:pos x="426" y="455"/>
                </a:cxn>
                <a:cxn ang="0">
                  <a:pos x="442" y="437"/>
                </a:cxn>
                <a:cxn ang="0">
                  <a:pos x="471" y="427"/>
                </a:cxn>
                <a:cxn ang="0">
                  <a:pos x="470" y="399"/>
                </a:cxn>
                <a:cxn ang="0">
                  <a:pos x="504" y="331"/>
                </a:cxn>
                <a:cxn ang="0">
                  <a:pos x="532" y="298"/>
                </a:cxn>
                <a:cxn ang="0">
                  <a:pos x="543" y="223"/>
                </a:cxn>
                <a:cxn ang="0">
                  <a:pos x="546" y="162"/>
                </a:cxn>
                <a:cxn ang="0">
                  <a:pos x="546" y="131"/>
                </a:cxn>
                <a:cxn ang="0">
                  <a:pos x="529" y="91"/>
                </a:cxn>
                <a:cxn ang="0">
                  <a:pos x="524" y="38"/>
                </a:cxn>
                <a:cxn ang="0">
                  <a:pos x="496" y="38"/>
                </a:cxn>
                <a:cxn ang="0">
                  <a:pos x="484" y="28"/>
                </a:cxn>
                <a:cxn ang="0">
                  <a:pos x="449" y="11"/>
                </a:cxn>
                <a:cxn ang="0">
                  <a:pos x="414" y="0"/>
                </a:cxn>
                <a:cxn ang="0">
                  <a:pos x="247" y="124"/>
                </a:cxn>
                <a:cxn ang="0">
                  <a:pos x="208" y="173"/>
                </a:cxn>
                <a:cxn ang="0">
                  <a:pos x="172" y="188"/>
                </a:cxn>
              </a:cxnLst>
              <a:rect l="0" t="0" r="r" b="b"/>
              <a:pathLst>
                <a:path w="552" h="512">
                  <a:moveTo>
                    <a:pt x="142" y="190"/>
                  </a:moveTo>
                  <a:lnTo>
                    <a:pt x="142" y="190"/>
                  </a:lnTo>
                  <a:lnTo>
                    <a:pt x="144" y="249"/>
                  </a:lnTo>
                  <a:lnTo>
                    <a:pt x="142" y="289"/>
                  </a:lnTo>
                  <a:lnTo>
                    <a:pt x="142" y="305"/>
                  </a:lnTo>
                  <a:lnTo>
                    <a:pt x="139" y="312"/>
                  </a:lnTo>
                  <a:lnTo>
                    <a:pt x="139" y="312"/>
                  </a:lnTo>
                  <a:lnTo>
                    <a:pt x="137" y="315"/>
                  </a:lnTo>
                  <a:lnTo>
                    <a:pt x="135" y="321"/>
                  </a:lnTo>
                  <a:lnTo>
                    <a:pt x="134" y="331"/>
                  </a:lnTo>
                  <a:lnTo>
                    <a:pt x="130" y="340"/>
                  </a:lnTo>
                  <a:lnTo>
                    <a:pt x="128" y="341"/>
                  </a:lnTo>
                  <a:lnTo>
                    <a:pt x="125" y="343"/>
                  </a:lnTo>
                  <a:lnTo>
                    <a:pt x="125" y="343"/>
                  </a:lnTo>
                  <a:lnTo>
                    <a:pt x="121" y="345"/>
                  </a:lnTo>
                  <a:lnTo>
                    <a:pt x="120" y="347"/>
                  </a:lnTo>
                  <a:lnTo>
                    <a:pt x="118" y="350"/>
                  </a:lnTo>
                  <a:lnTo>
                    <a:pt x="116" y="354"/>
                  </a:lnTo>
                  <a:lnTo>
                    <a:pt x="114" y="354"/>
                  </a:lnTo>
                  <a:lnTo>
                    <a:pt x="113" y="354"/>
                  </a:lnTo>
                  <a:lnTo>
                    <a:pt x="113" y="354"/>
                  </a:lnTo>
                  <a:lnTo>
                    <a:pt x="107" y="352"/>
                  </a:lnTo>
                  <a:lnTo>
                    <a:pt x="99" y="355"/>
                  </a:lnTo>
                  <a:lnTo>
                    <a:pt x="83" y="357"/>
                  </a:lnTo>
                  <a:lnTo>
                    <a:pt x="59" y="357"/>
                  </a:lnTo>
                  <a:lnTo>
                    <a:pt x="59" y="357"/>
                  </a:lnTo>
                  <a:lnTo>
                    <a:pt x="48" y="359"/>
                  </a:lnTo>
                  <a:lnTo>
                    <a:pt x="41" y="361"/>
                  </a:lnTo>
                  <a:lnTo>
                    <a:pt x="36" y="364"/>
                  </a:lnTo>
                  <a:lnTo>
                    <a:pt x="34" y="366"/>
                  </a:lnTo>
                  <a:lnTo>
                    <a:pt x="29" y="369"/>
                  </a:lnTo>
                  <a:lnTo>
                    <a:pt x="24" y="373"/>
                  </a:lnTo>
                  <a:lnTo>
                    <a:pt x="15" y="373"/>
                  </a:lnTo>
                  <a:lnTo>
                    <a:pt x="1" y="373"/>
                  </a:lnTo>
                  <a:lnTo>
                    <a:pt x="1" y="373"/>
                  </a:lnTo>
                  <a:lnTo>
                    <a:pt x="0" y="388"/>
                  </a:lnTo>
                  <a:lnTo>
                    <a:pt x="0" y="392"/>
                  </a:lnTo>
                  <a:lnTo>
                    <a:pt x="1" y="394"/>
                  </a:lnTo>
                  <a:lnTo>
                    <a:pt x="5" y="401"/>
                  </a:lnTo>
                  <a:lnTo>
                    <a:pt x="7" y="406"/>
                  </a:lnTo>
                  <a:lnTo>
                    <a:pt x="8" y="415"/>
                  </a:lnTo>
                  <a:lnTo>
                    <a:pt x="8" y="415"/>
                  </a:lnTo>
                  <a:lnTo>
                    <a:pt x="12" y="423"/>
                  </a:lnTo>
                  <a:lnTo>
                    <a:pt x="15" y="425"/>
                  </a:lnTo>
                  <a:lnTo>
                    <a:pt x="19" y="427"/>
                  </a:lnTo>
                  <a:lnTo>
                    <a:pt x="26" y="430"/>
                  </a:lnTo>
                  <a:lnTo>
                    <a:pt x="26" y="430"/>
                  </a:lnTo>
                  <a:lnTo>
                    <a:pt x="36" y="439"/>
                  </a:lnTo>
                  <a:lnTo>
                    <a:pt x="36" y="441"/>
                  </a:lnTo>
                  <a:lnTo>
                    <a:pt x="33" y="442"/>
                  </a:lnTo>
                  <a:lnTo>
                    <a:pt x="33" y="442"/>
                  </a:lnTo>
                  <a:lnTo>
                    <a:pt x="31" y="442"/>
                  </a:lnTo>
                  <a:lnTo>
                    <a:pt x="29" y="442"/>
                  </a:lnTo>
                  <a:lnTo>
                    <a:pt x="27" y="448"/>
                  </a:lnTo>
                  <a:lnTo>
                    <a:pt x="29" y="453"/>
                  </a:lnTo>
                  <a:lnTo>
                    <a:pt x="31" y="455"/>
                  </a:lnTo>
                  <a:lnTo>
                    <a:pt x="31" y="455"/>
                  </a:lnTo>
                  <a:lnTo>
                    <a:pt x="38" y="460"/>
                  </a:lnTo>
                  <a:lnTo>
                    <a:pt x="47" y="468"/>
                  </a:lnTo>
                  <a:lnTo>
                    <a:pt x="50" y="472"/>
                  </a:lnTo>
                  <a:lnTo>
                    <a:pt x="54" y="474"/>
                  </a:lnTo>
                  <a:lnTo>
                    <a:pt x="57" y="474"/>
                  </a:lnTo>
                  <a:lnTo>
                    <a:pt x="60" y="472"/>
                  </a:lnTo>
                  <a:lnTo>
                    <a:pt x="60" y="472"/>
                  </a:lnTo>
                  <a:lnTo>
                    <a:pt x="64" y="468"/>
                  </a:lnTo>
                  <a:lnTo>
                    <a:pt x="66" y="468"/>
                  </a:lnTo>
                  <a:lnTo>
                    <a:pt x="69" y="470"/>
                  </a:lnTo>
                  <a:lnTo>
                    <a:pt x="71" y="472"/>
                  </a:lnTo>
                  <a:lnTo>
                    <a:pt x="73" y="475"/>
                  </a:lnTo>
                  <a:lnTo>
                    <a:pt x="73" y="479"/>
                  </a:lnTo>
                  <a:lnTo>
                    <a:pt x="71" y="482"/>
                  </a:lnTo>
                  <a:lnTo>
                    <a:pt x="69" y="484"/>
                  </a:lnTo>
                  <a:lnTo>
                    <a:pt x="69" y="484"/>
                  </a:lnTo>
                  <a:lnTo>
                    <a:pt x="67" y="484"/>
                  </a:lnTo>
                  <a:lnTo>
                    <a:pt x="67" y="486"/>
                  </a:lnTo>
                  <a:lnTo>
                    <a:pt x="69" y="491"/>
                  </a:lnTo>
                  <a:lnTo>
                    <a:pt x="78" y="505"/>
                  </a:lnTo>
                  <a:lnTo>
                    <a:pt x="78" y="505"/>
                  </a:lnTo>
                  <a:lnTo>
                    <a:pt x="80" y="502"/>
                  </a:lnTo>
                  <a:lnTo>
                    <a:pt x="80" y="498"/>
                  </a:lnTo>
                  <a:lnTo>
                    <a:pt x="78" y="493"/>
                  </a:lnTo>
                  <a:lnTo>
                    <a:pt x="78" y="489"/>
                  </a:lnTo>
                  <a:lnTo>
                    <a:pt x="80" y="489"/>
                  </a:lnTo>
                  <a:lnTo>
                    <a:pt x="83" y="489"/>
                  </a:lnTo>
                  <a:lnTo>
                    <a:pt x="83" y="489"/>
                  </a:lnTo>
                  <a:lnTo>
                    <a:pt x="87" y="488"/>
                  </a:lnTo>
                  <a:lnTo>
                    <a:pt x="88" y="486"/>
                  </a:lnTo>
                  <a:lnTo>
                    <a:pt x="90" y="482"/>
                  </a:lnTo>
                  <a:lnTo>
                    <a:pt x="92" y="482"/>
                  </a:lnTo>
                  <a:lnTo>
                    <a:pt x="94" y="482"/>
                  </a:lnTo>
                  <a:lnTo>
                    <a:pt x="101" y="489"/>
                  </a:lnTo>
                  <a:lnTo>
                    <a:pt x="101" y="489"/>
                  </a:lnTo>
                  <a:lnTo>
                    <a:pt x="111" y="502"/>
                  </a:lnTo>
                  <a:lnTo>
                    <a:pt x="120" y="512"/>
                  </a:lnTo>
                  <a:lnTo>
                    <a:pt x="120" y="512"/>
                  </a:lnTo>
                  <a:lnTo>
                    <a:pt x="121" y="507"/>
                  </a:lnTo>
                  <a:lnTo>
                    <a:pt x="121" y="502"/>
                  </a:lnTo>
                  <a:lnTo>
                    <a:pt x="121" y="489"/>
                  </a:lnTo>
                  <a:lnTo>
                    <a:pt x="121" y="484"/>
                  </a:lnTo>
                  <a:lnTo>
                    <a:pt x="123" y="479"/>
                  </a:lnTo>
                  <a:lnTo>
                    <a:pt x="125" y="474"/>
                  </a:lnTo>
                  <a:lnTo>
                    <a:pt x="128" y="470"/>
                  </a:lnTo>
                  <a:lnTo>
                    <a:pt x="128" y="470"/>
                  </a:lnTo>
                  <a:lnTo>
                    <a:pt x="134" y="467"/>
                  </a:lnTo>
                  <a:lnTo>
                    <a:pt x="135" y="462"/>
                  </a:lnTo>
                  <a:lnTo>
                    <a:pt x="137" y="453"/>
                  </a:lnTo>
                  <a:lnTo>
                    <a:pt x="137" y="442"/>
                  </a:lnTo>
                  <a:lnTo>
                    <a:pt x="139" y="439"/>
                  </a:lnTo>
                  <a:lnTo>
                    <a:pt x="142" y="435"/>
                  </a:lnTo>
                  <a:lnTo>
                    <a:pt x="142" y="435"/>
                  </a:lnTo>
                  <a:lnTo>
                    <a:pt x="148" y="430"/>
                  </a:lnTo>
                  <a:lnTo>
                    <a:pt x="155" y="427"/>
                  </a:lnTo>
                  <a:lnTo>
                    <a:pt x="161" y="425"/>
                  </a:lnTo>
                  <a:lnTo>
                    <a:pt x="170" y="427"/>
                  </a:lnTo>
                  <a:lnTo>
                    <a:pt x="170" y="427"/>
                  </a:lnTo>
                  <a:lnTo>
                    <a:pt x="175" y="427"/>
                  </a:lnTo>
                  <a:lnTo>
                    <a:pt x="179" y="425"/>
                  </a:lnTo>
                  <a:lnTo>
                    <a:pt x="182" y="421"/>
                  </a:lnTo>
                  <a:lnTo>
                    <a:pt x="184" y="420"/>
                  </a:lnTo>
                  <a:lnTo>
                    <a:pt x="186" y="418"/>
                  </a:lnTo>
                  <a:lnTo>
                    <a:pt x="189" y="418"/>
                  </a:lnTo>
                  <a:lnTo>
                    <a:pt x="193" y="420"/>
                  </a:lnTo>
                  <a:lnTo>
                    <a:pt x="193" y="420"/>
                  </a:lnTo>
                  <a:lnTo>
                    <a:pt x="203" y="423"/>
                  </a:lnTo>
                  <a:lnTo>
                    <a:pt x="212" y="427"/>
                  </a:lnTo>
                  <a:lnTo>
                    <a:pt x="217" y="428"/>
                  </a:lnTo>
                  <a:lnTo>
                    <a:pt x="221" y="432"/>
                  </a:lnTo>
                  <a:lnTo>
                    <a:pt x="224" y="435"/>
                  </a:lnTo>
                  <a:lnTo>
                    <a:pt x="228" y="442"/>
                  </a:lnTo>
                  <a:lnTo>
                    <a:pt x="228" y="442"/>
                  </a:lnTo>
                  <a:lnTo>
                    <a:pt x="231" y="451"/>
                  </a:lnTo>
                  <a:lnTo>
                    <a:pt x="238" y="455"/>
                  </a:lnTo>
                  <a:lnTo>
                    <a:pt x="243" y="455"/>
                  </a:lnTo>
                  <a:lnTo>
                    <a:pt x="249" y="453"/>
                  </a:lnTo>
                  <a:lnTo>
                    <a:pt x="261" y="446"/>
                  </a:lnTo>
                  <a:lnTo>
                    <a:pt x="266" y="442"/>
                  </a:lnTo>
                  <a:lnTo>
                    <a:pt x="271" y="441"/>
                  </a:lnTo>
                  <a:lnTo>
                    <a:pt x="271" y="441"/>
                  </a:lnTo>
                  <a:lnTo>
                    <a:pt x="275" y="442"/>
                  </a:lnTo>
                  <a:lnTo>
                    <a:pt x="280" y="444"/>
                  </a:lnTo>
                  <a:lnTo>
                    <a:pt x="289" y="451"/>
                  </a:lnTo>
                  <a:lnTo>
                    <a:pt x="301" y="460"/>
                  </a:lnTo>
                  <a:lnTo>
                    <a:pt x="308" y="462"/>
                  </a:lnTo>
                  <a:lnTo>
                    <a:pt x="316" y="463"/>
                  </a:lnTo>
                  <a:lnTo>
                    <a:pt x="316" y="463"/>
                  </a:lnTo>
                  <a:lnTo>
                    <a:pt x="325" y="463"/>
                  </a:lnTo>
                  <a:lnTo>
                    <a:pt x="330" y="462"/>
                  </a:lnTo>
                  <a:lnTo>
                    <a:pt x="334" y="460"/>
                  </a:lnTo>
                  <a:lnTo>
                    <a:pt x="337" y="456"/>
                  </a:lnTo>
                  <a:lnTo>
                    <a:pt x="343" y="451"/>
                  </a:lnTo>
                  <a:lnTo>
                    <a:pt x="348" y="448"/>
                  </a:lnTo>
                  <a:lnTo>
                    <a:pt x="356" y="444"/>
                  </a:lnTo>
                  <a:lnTo>
                    <a:pt x="369" y="441"/>
                  </a:lnTo>
                  <a:lnTo>
                    <a:pt x="369" y="441"/>
                  </a:lnTo>
                  <a:lnTo>
                    <a:pt x="383" y="439"/>
                  </a:lnTo>
                  <a:lnTo>
                    <a:pt x="393" y="441"/>
                  </a:lnTo>
                  <a:lnTo>
                    <a:pt x="404" y="444"/>
                  </a:lnTo>
                  <a:lnTo>
                    <a:pt x="412" y="449"/>
                  </a:lnTo>
                  <a:lnTo>
                    <a:pt x="421" y="453"/>
                  </a:lnTo>
                  <a:lnTo>
                    <a:pt x="426" y="455"/>
                  </a:lnTo>
                  <a:lnTo>
                    <a:pt x="431" y="453"/>
                  </a:lnTo>
                  <a:lnTo>
                    <a:pt x="437" y="448"/>
                  </a:lnTo>
                  <a:lnTo>
                    <a:pt x="437" y="448"/>
                  </a:lnTo>
                  <a:lnTo>
                    <a:pt x="442" y="437"/>
                  </a:lnTo>
                  <a:lnTo>
                    <a:pt x="445" y="435"/>
                  </a:lnTo>
                  <a:lnTo>
                    <a:pt x="447" y="434"/>
                  </a:lnTo>
                  <a:lnTo>
                    <a:pt x="457" y="432"/>
                  </a:lnTo>
                  <a:lnTo>
                    <a:pt x="471" y="427"/>
                  </a:lnTo>
                  <a:lnTo>
                    <a:pt x="471" y="427"/>
                  </a:lnTo>
                  <a:lnTo>
                    <a:pt x="470" y="418"/>
                  </a:lnTo>
                  <a:lnTo>
                    <a:pt x="468" y="409"/>
                  </a:lnTo>
                  <a:lnTo>
                    <a:pt x="470" y="399"/>
                  </a:lnTo>
                  <a:lnTo>
                    <a:pt x="473" y="390"/>
                  </a:lnTo>
                  <a:lnTo>
                    <a:pt x="480" y="369"/>
                  </a:lnTo>
                  <a:lnTo>
                    <a:pt x="492" y="350"/>
                  </a:lnTo>
                  <a:lnTo>
                    <a:pt x="504" y="331"/>
                  </a:lnTo>
                  <a:lnTo>
                    <a:pt x="517" y="315"/>
                  </a:lnTo>
                  <a:lnTo>
                    <a:pt x="527" y="305"/>
                  </a:lnTo>
                  <a:lnTo>
                    <a:pt x="532" y="298"/>
                  </a:lnTo>
                  <a:lnTo>
                    <a:pt x="532" y="298"/>
                  </a:lnTo>
                  <a:lnTo>
                    <a:pt x="536" y="294"/>
                  </a:lnTo>
                  <a:lnTo>
                    <a:pt x="538" y="286"/>
                  </a:lnTo>
                  <a:lnTo>
                    <a:pt x="541" y="258"/>
                  </a:lnTo>
                  <a:lnTo>
                    <a:pt x="543" y="223"/>
                  </a:lnTo>
                  <a:lnTo>
                    <a:pt x="543" y="188"/>
                  </a:lnTo>
                  <a:lnTo>
                    <a:pt x="543" y="188"/>
                  </a:lnTo>
                  <a:lnTo>
                    <a:pt x="545" y="173"/>
                  </a:lnTo>
                  <a:lnTo>
                    <a:pt x="546" y="162"/>
                  </a:lnTo>
                  <a:lnTo>
                    <a:pt x="550" y="152"/>
                  </a:lnTo>
                  <a:lnTo>
                    <a:pt x="552" y="146"/>
                  </a:lnTo>
                  <a:lnTo>
                    <a:pt x="552" y="139"/>
                  </a:lnTo>
                  <a:lnTo>
                    <a:pt x="546" y="131"/>
                  </a:lnTo>
                  <a:lnTo>
                    <a:pt x="539" y="117"/>
                  </a:lnTo>
                  <a:lnTo>
                    <a:pt x="539" y="117"/>
                  </a:lnTo>
                  <a:lnTo>
                    <a:pt x="532" y="103"/>
                  </a:lnTo>
                  <a:lnTo>
                    <a:pt x="529" y="91"/>
                  </a:lnTo>
                  <a:lnTo>
                    <a:pt x="527" y="78"/>
                  </a:lnTo>
                  <a:lnTo>
                    <a:pt x="527" y="70"/>
                  </a:lnTo>
                  <a:lnTo>
                    <a:pt x="525" y="49"/>
                  </a:lnTo>
                  <a:lnTo>
                    <a:pt x="524" y="38"/>
                  </a:lnTo>
                  <a:lnTo>
                    <a:pt x="518" y="25"/>
                  </a:lnTo>
                  <a:lnTo>
                    <a:pt x="518" y="25"/>
                  </a:lnTo>
                  <a:lnTo>
                    <a:pt x="503" y="35"/>
                  </a:lnTo>
                  <a:lnTo>
                    <a:pt x="496" y="38"/>
                  </a:lnTo>
                  <a:lnTo>
                    <a:pt x="492" y="38"/>
                  </a:lnTo>
                  <a:lnTo>
                    <a:pt x="491" y="37"/>
                  </a:lnTo>
                  <a:lnTo>
                    <a:pt x="484" y="28"/>
                  </a:lnTo>
                  <a:lnTo>
                    <a:pt x="484" y="28"/>
                  </a:lnTo>
                  <a:lnTo>
                    <a:pt x="477" y="21"/>
                  </a:lnTo>
                  <a:lnTo>
                    <a:pt x="468" y="16"/>
                  </a:lnTo>
                  <a:lnTo>
                    <a:pt x="457" y="12"/>
                  </a:lnTo>
                  <a:lnTo>
                    <a:pt x="449" y="11"/>
                  </a:lnTo>
                  <a:lnTo>
                    <a:pt x="430" y="5"/>
                  </a:lnTo>
                  <a:lnTo>
                    <a:pt x="421" y="4"/>
                  </a:lnTo>
                  <a:lnTo>
                    <a:pt x="414" y="0"/>
                  </a:lnTo>
                  <a:lnTo>
                    <a:pt x="414" y="0"/>
                  </a:lnTo>
                  <a:lnTo>
                    <a:pt x="346" y="51"/>
                  </a:lnTo>
                  <a:lnTo>
                    <a:pt x="259" y="112"/>
                  </a:lnTo>
                  <a:lnTo>
                    <a:pt x="259" y="112"/>
                  </a:lnTo>
                  <a:lnTo>
                    <a:pt x="247" y="124"/>
                  </a:lnTo>
                  <a:lnTo>
                    <a:pt x="236" y="136"/>
                  </a:lnTo>
                  <a:lnTo>
                    <a:pt x="228" y="148"/>
                  </a:lnTo>
                  <a:lnTo>
                    <a:pt x="219" y="160"/>
                  </a:lnTo>
                  <a:lnTo>
                    <a:pt x="208" y="173"/>
                  </a:lnTo>
                  <a:lnTo>
                    <a:pt x="202" y="176"/>
                  </a:lnTo>
                  <a:lnTo>
                    <a:pt x="193" y="181"/>
                  </a:lnTo>
                  <a:lnTo>
                    <a:pt x="182" y="185"/>
                  </a:lnTo>
                  <a:lnTo>
                    <a:pt x="172" y="188"/>
                  </a:lnTo>
                  <a:lnTo>
                    <a:pt x="158" y="190"/>
                  </a:lnTo>
                  <a:lnTo>
                    <a:pt x="142" y="190"/>
                  </a:lnTo>
                  <a:lnTo>
                    <a:pt x="142" y="19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6" name="Freeform 1761">
              <a:extLst>
                <a:ext uri="{FF2B5EF4-FFF2-40B4-BE49-F238E27FC236}">
                  <a16:creationId xmlns:a16="http://schemas.microsoft.com/office/drawing/2014/main" id="{47166844-5018-4269-A27E-76ACF9368169}"/>
                </a:ext>
              </a:extLst>
            </p:cNvPr>
            <p:cNvSpPr>
              <a:spLocks/>
            </p:cNvSpPr>
            <p:nvPr/>
          </p:nvSpPr>
          <p:spPr bwMode="auto">
            <a:xfrm>
              <a:off x="4379666" y="3653686"/>
              <a:ext cx="463406" cy="518029"/>
            </a:xfrm>
            <a:custGeom>
              <a:avLst/>
              <a:gdLst/>
              <a:ahLst/>
              <a:cxnLst>
                <a:cxn ang="0">
                  <a:pos x="468" y="432"/>
                </a:cxn>
                <a:cxn ang="0">
                  <a:pos x="517" y="423"/>
                </a:cxn>
                <a:cxn ang="0">
                  <a:pos x="550" y="420"/>
                </a:cxn>
                <a:cxn ang="0">
                  <a:pos x="562" y="407"/>
                </a:cxn>
                <a:cxn ang="0">
                  <a:pos x="573" y="378"/>
                </a:cxn>
                <a:cxn ang="0">
                  <a:pos x="562" y="261"/>
                </a:cxn>
                <a:cxn ang="0">
                  <a:pos x="536" y="256"/>
                </a:cxn>
                <a:cxn ang="0">
                  <a:pos x="543" y="233"/>
                </a:cxn>
                <a:cxn ang="0">
                  <a:pos x="519" y="221"/>
                </a:cxn>
                <a:cxn ang="0">
                  <a:pos x="501" y="211"/>
                </a:cxn>
                <a:cxn ang="0">
                  <a:pos x="481" y="193"/>
                </a:cxn>
                <a:cxn ang="0">
                  <a:pos x="470" y="174"/>
                </a:cxn>
                <a:cxn ang="0">
                  <a:pos x="198" y="0"/>
                </a:cxn>
                <a:cxn ang="0">
                  <a:pos x="240" y="380"/>
                </a:cxn>
                <a:cxn ang="0">
                  <a:pos x="106" y="414"/>
                </a:cxn>
                <a:cxn ang="0">
                  <a:pos x="96" y="416"/>
                </a:cxn>
                <a:cxn ang="0">
                  <a:pos x="63" y="418"/>
                </a:cxn>
                <a:cxn ang="0">
                  <a:pos x="44" y="434"/>
                </a:cxn>
                <a:cxn ang="0">
                  <a:pos x="23" y="409"/>
                </a:cxn>
                <a:cxn ang="0">
                  <a:pos x="14" y="437"/>
                </a:cxn>
                <a:cxn ang="0">
                  <a:pos x="0" y="460"/>
                </a:cxn>
                <a:cxn ang="0">
                  <a:pos x="9" y="479"/>
                </a:cxn>
                <a:cxn ang="0">
                  <a:pos x="10" y="505"/>
                </a:cxn>
                <a:cxn ang="0">
                  <a:pos x="28" y="519"/>
                </a:cxn>
                <a:cxn ang="0">
                  <a:pos x="26" y="554"/>
                </a:cxn>
                <a:cxn ang="0">
                  <a:pos x="37" y="564"/>
                </a:cxn>
                <a:cxn ang="0">
                  <a:pos x="47" y="559"/>
                </a:cxn>
                <a:cxn ang="0">
                  <a:pos x="61" y="559"/>
                </a:cxn>
                <a:cxn ang="0">
                  <a:pos x="89" y="564"/>
                </a:cxn>
                <a:cxn ang="0">
                  <a:pos x="99" y="554"/>
                </a:cxn>
                <a:cxn ang="0">
                  <a:pos x="108" y="545"/>
                </a:cxn>
                <a:cxn ang="0">
                  <a:pos x="118" y="564"/>
                </a:cxn>
                <a:cxn ang="0">
                  <a:pos x="118" y="580"/>
                </a:cxn>
                <a:cxn ang="0">
                  <a:pos x="134" y="595"/>
                </a:cxn>
                <a:cxn ang="0">
                  <a:pos x="124" y="609"/>
                </a:cxn>
                <a:cxn ang="0">
                  <a:pos x="136" y="606"/>
                </a:cxn>
                <a:cxn ang="0">
                  <a:pos x="141" y="634"/>
                </a:cxn>
                <a:cxn ang="0">
                  <a:pos x="158" y="635"/>
                </a:cxn>
                <a:cxn ang="0">
                  <a:pos x="183" y="642"/>
                </a:cxn>
                <a:cxn ang="0">
                  <a:pos x="211" y="622"/>
                </a:cxn>
                <a:cxn ang="0">
                  <a:pos x="214" y="642"/>
                </a:cxn>
                <a:cxn ang="0">
                  <a:pos x="237" y="625"/>
                </a:cxn>
                <a:cxn ang="0">
                  <a:pos x="239" y="604"/>
                </a:cxn>
                <a:cxn ang="0">
                  <a:pos x="240" y="575"/>
                </a:cxn>
                <a:cxn ang="0">
                  <a:pos x="270" y="557"/>
                </a:cxn>
                <a:cxn ang="0">
                  <a:pos x="272" y="536"/>
                </a:cxn>
                <a:cxn ang="0">
                  <a:pos x="282" y="524"/>
                </a:cxn>
                <a:cxn ang="0">
                  <a:pos x="287" y="503"/>
                </a:cxn>
                <a:cxn ang="0">
                  <a:pos x="299" y="514"/>
                </a:cxn>
                <a:cxn ang="0">
                  <a:pos x="313" y="498"/>
                </a:cxn>
                <a:cxn ang="0">
                  <a:pos x="326" y="496"/>
                </a:cxn>
                <a:cxn ang="0">
                  <a:pos x="338" y="470"/>
                </a:cxn>
                <a:cxn ang="0">
                  <a:pos x="355" y="472"/>
                </a:cxn>
                <a:cxn ang="0">
                  <a:pos x="381" y="447"/>
                </a:cxn>
                <a:cxn ang="0">
                  <a:pos x="411" y="434"/>
                </a:cxn>
                <a:cxn ang="0">
                  <a:pos x="432" y="439"/>
                </a:cxn>
              </a:cxnLst>
              <a:rect l="0" t="0" r="r" b="b"/>
              <a:pathLst>
                <a:path w="578" h="644">
                  <a:moveTo>
                    <a:pt x="435" y="439"/>
                  </a:moveTo>
                  <a:lnTo>
                    <a:pt x="435" y="439"/>
                  </a:lnTo>
                  <a:lnTo>
                    <a:pt x="449" y="439"/>
                  </a:lnTo>
                  <a:lnTo>
                    <a:pt x="458" y="439"/>
                  </a:lnTo>
                  <a:lnTo>
                    <a:pt x="463" y="435"/>
                  </a:lnTo>
                  <a:lnTo>
                    <a:pt x="468" y="432"/>
                  </a:lnTo>
                  <a:lnTo>
                    <a:pt x="470" y="430"/>
                  </a:lnTo>
                  <a:lnTo>
                    <a:pt x="475" y="427"/>
                  </a:lnTo>
                  <a:lnTo>
                    <a:pt x="482" y="425"/>
                  </a:lnTo>
                  <a:lnTo>
                    <a:pt x="493" y="423"/>
                  </a:lnTo>
                  <a:lnTo>
                    <a:pt x="493" y="423"/>
                  </a:lnTo>
                  <a:lnTo>
                    <a:pt x="517" y="423"/>
                  </a:lnTo>
                  <a:lnTo>
                    <a:pt x="533" y="421"/>
                  </a:lnTo>
                  <a:lnTo>
                    <a:pt x="541" y="418"/>
                  </a:lnTo>
                  <a:lnTo>
                    <a:pt x="547" y="420"/>
                  </a:lnTo>
                  <a:lnTo>
                    <a:pt x="547" y="420"/>
                  </a:lnTo>
                  <a:lnTo>
                    <a:pt x="548" y="420"/>
                  </a:lnTo>
                  <a:lnTo>
                    <a:pt x="550" y="420"/>
                  </a:lnTo>
                  <a:lnTo>
                    <a:pt x="552" y="416"/>
                  </a:lnTo>
                  <a:lnTo>
                    <a:pt x="554" y="413"/>
                  </a:lnTo>
                  <a:lnTo>
                    <a:pt x="555" y="411"/>
                  </a:lnTo>
                  <a:lnTo>
                    <a:pt x="559" y="409"/>
                  </a:lnTo>
                  <a:lnTo>
                    <a:pt x="559" y="409"/>
                  </a:lnTo>
                  <a:lnTo>
                    <a:pt x="562" y="407"/>
                  </a:lnTo>
                  <a:lnTo>
                    <a:pt x="564" y="406"/>
                  </a:lnTo>
                  <a:lnTo>
                    <a:pt x="568" y="397"/>
                  </a:lnTo>
                  <a:lnTo>
                    <a:pt x="569" y="387"/>
                  </a:lnTo>
                  <a:lnTo>
                    <a:pt x="571" y="381"/>
                  </a:lnTo>
                  <a:lnTo>
                    <a:pt x="573" y="378"/>
                  </a:lnTo>
                  <a:lnTo>
                    <a:pt x="573" y="378"/>
                  </a:lnTo>
                  <a:lnTo>
                    <a:pt x="576" y="371"/>
                  </a:lnTo>
                  <a:lnTo>
                    <a:pt x="576" y="355"/>
                  </a:lnTo>
                  <a:lnTo>
                    <a:pt x="578" y="315"/>
                  </a:lnTo>
                  <a:lnTo>
                    <a:pt x="576" y="256"/>
                  </a:lnTo>
                  <a:lnTo>
                    <a:pt x="576" y="256"/>
                  </a:lnTo>
                  <a:lnTo>
                    <a:pt x="562" y="261"/>
                  </a:lnTo>
                  <a:lnTo>
                    <a:pt x="552" y="263"/>
                  </a:lnTo>
                  <a:lnTo>
                    <a:pt x="545" y="265"/>
                  </a:lnTo>
                  <a:lnTo>
                    <a:pt x="540" y="263"/>
                  </a:lnTo>
                  <a:lnTo>
                    <a:pt x="536" y="261"/>
                  </a:lnTo>
                  <a:lnTo>
                    <a:pt x="536" y="258"/>
                  </a:lnTo>
                  <a:lnTo>
                    <a:pt x="536" y="256"/>
                  </a:lnTo>
                  <a:lnTo>
                    <a:pt x="538" y="252"/>
                  </a:lnTo>
                  <a:lnTo>
                    <a:pt x="538" y="252"/>
                  </a:lnTo>
                  <a:lnTo>
                    <a:pt x="540" y="249"/>
                  </a:lnTo>
                  <a:lnTo>
                    <a:pt x="543" y="245"/>
                  </a:lnTo>
                  <a:lnTo>
                    <a:pt x="543" y="240"/>
                  </a:lnTo>
                  <a:lnTo>
                    <a:pt x="543" y="233"/>
                  </a:lnTo>
                  <a:lnTo>
                    <a:pt x="541" y="230"/>
                  </a:lnTo>
                  <a:lnTo>
                    <a:pt x="538" y="225"/>
                  </a:lnTo>
                  <a:lnTo>
                    <a:pt x="533" y="223"/>
                  </a:lnTo>
                  <a:lnTo>
                    <a:pt x="526" y="221"/>
                  </a:lnTo>
                  <a:lnTo>
                    <a:pt x="526" y="221"/>
                  </a:lnTo>
                  <a:lnTo>
                    <a:pt x="519" y="221"/>
                  </a:lnTo>
                  <a:lnTo>
                    <a:pt x="515" y="219"/>
                  </a:lnTo>
                  <a:lnTo>
                    <a:pt x="512" y="218"/>
                  </a:lnTo>
                  <a:lnTo>
                    <a:pt x="512" y="214"/>
                  </a:lnTo>
                  <a:lnTo>
                    <a:pt x="508" y="211"/>
                  </a:lnTo>
                  <a:lnTo>
                    <a:pt x="507" y="211"/>
                  </a:lnTo>
                  <a:lnTo>
                    <a:pt x="501" y="211"/>
                  </a:lnTo>
                  <a:lnTo>
                    <a:pt x="501" y="211"/>
                  </a:lnTo>
                  <a:lnTo>
                    <a:pt x="498" y="211"/>
                  </a:lnTo>
                  <a:lnTo>
                    <a:pt x="494" y="209"/>
                  </a:lnTo>
                  <a:lnTo>
                    <a:pt x="489" y="204"/>
                  </a:lnTo>
                  <a:lnTo>
                    <a:pt x="484" y="197"/>
                  </a:lnTo>
                  <a:lnTo>
                    <a:pt x="481" y="193"/>
                  </a:lnTo>
                  <a:lnTo>
                    <a:pt x="475" y="190"/>
                  </a:lnTo>
                  <a:lnTo>
                    <a:pt x="475" y="190"/>
                  </a:lnTo>
                  <a:lnTo>
                    <a:pt x="472" y="188"/>
                  </a:lnTo>
                  <a:lnTo>
                    <a:pt x="470" y="186"/>
                  </a:lnTo>
                  <a:lnTo>
                    <a:pt x="470" y="181"/>
                  </a:lnTo>
                  <a:lnTo>
                    <a:pt x="470" y="174"/>
                  </a:lnTo>
                  <a:lnTo>
                    <a:pt x="468" y="171"/>
                  </a:lnTo>
                  <a:lnTo>
                    <a:pt x="463" y="167"/>
                  </a:lnTo>
                  <a:lnTo>
                    <a:pt x="463" y="167"/>
                  </a:lnTo>
                  <a:lnTo>
                    <a:pt x="259" y="0"/>
                  </a:lnTo>
                  <a:lnTo>
                    <a:pt x="198" y="0"/>
                  </a:lnTo>
                  <a:lnTo>
                    <a:pt x="198" y="0"/>
                  </a:lnTo>
                  <a:lnTo>
                    <a:pt x="232" y="367"/>
                  </a:lnTo>
                  <a:lnTo>
                    <a:pt x="232" y="367"/>
                  </a:lnTo>
                  <a:lnTo>
                    <a:pt x="232" y="374"/>
                  </a:lnTo>
                  <a:lnTo>
                    <a:pt x="235" y="376"/>
                  </a:lnTo>
                  <a:lnTo>
                    <a:pt x="239" y="378"/>
                  </a:lnTo>
                  <a:lnTo>
                    <a:pt x="240" y="380"/>
                  </a:lnTo>
                  <a:lnTo>
                    <a:pt x="240" y="387"/>
                  </a:lnTo>
                  <a:lnTo>
                    <a:pt x="235" y="414"/>
                  </a:lnTo>
                  <a:lnTo>
                    <a:pt x="235" y="414"/>
                  </a:lnTo>
                  <a:lnTo>
                    <a:pt x="111" y="414"/>
                  </a:lnTo>
                  <a:lnTo>
                    <a:pt x="111" y="414"/>
                  </a:lnTo>
                  <a:lnTo>
                    <a:pt x="106" y="414"/>
                  </a:lnTo>
                  <a:lnTo>
                    <a:pt x="103" y="413"/>
                  </a:lnTo>
                  <a:lnTo>
                    <a:pt x="99" y="411"/>
                  </a:lnTo>
                  <a:lnTo>
                    <a:pt x="97" y="409"/>
                  </a:lnTo>
                  <a:lnTo>
                    <a:pt x="97" y="411"/>
                  </a:lnTo>
                  <a:lnTo>
                    <a:pt x="96" y="416"/>
                  </a:lnTo>
                  <a:lnTo>
                    <a:pt x="96" y="416"/>
                  </a:lnTo>
                  <a:lnTo>
                    <a:pt x="94" y="418"/>
                  </a:lnTo>
                  <a:lnTo>
                    <a:pt x="92" y="420"/>
                  </a:lnTo>
                  <a:lnTo>
                    <a:pt x="84" y="420"/>
                  </a:lnTo>
                  <a:lnTo>
                    <a:pt x="73" y="420"/>
                  </a:lnTo>
                  <a:lnTo>
                    <a:pt x="63" y="418"/>
                  </a:lnTo>
                  <a:lnTo>
                    <a:pt x="63" y="418"/>
                  </a:lnTo>
                  <a:lnTo>
                    <a:pt x="56" y="418"/>
                  </a:lnTo>
                  <a:lnTo>
                    <a:pt x="50" y="420"/>
                  </a:lnTo>
                  <a:lnTo>
                    <a:pt x="49" y="423"/>
                  </a:lnTo>
                  <a:lnTo>
                    <a:pt x="47" y="428"/>
                  </a:lnTo>
                  <a:lnTo>
                    <a:pt x="45" y="434"/>
                  </a:lnTo>
                  <a:lnTo>
                    <a:pt x="44" y="434"/>
                  </a:lnTo>
                  <a:lnTo>
                    <a:pt x="42" y="430"/>
                  </a:lnTo>
                  <a:lnTo>
                    <a:pt x="42" y="430"/>
                  </a:lnTo>
                  <a:lnTo>
                    <a:pt x="37" y="420"/>
                  </a:lnTo>
                  <a:lnTo>
                    <a:pt x="30" y="411"/>
                  </a:lnTo>
                  <a:lnTo>
                    <a:pt x="26" y="409"/>
                  </a:lnTo>
                  <a:lnTo>
                    <a:pt x="23" y="409"/>
                  </a:lnTo>
                  <a:lnTo>
                    <a:pt x="19" y="413"/>
                  </a:lnTo>
                  <a:lnTo>
                    <a:pt x="16" y="418"/>
                  </a:lnTo>
                  <a:lnTo>
                    <a:pt x="16" y="418"/>
                  </a:lnTo>
                  <a:lnTo>
                    <a:pt x="12" y="425"/>
                  </a:lnTo>
                  <a:lnTo>
                    <a:pt x="12" y="430"/>
                  </a:lnTo>
                  <a:lnTo>
                    <a:pt x="14" y="437"/>
                  </a:lnTo>
                  <a:lnTo>
                    <a:pt x="16" y="440"/>
                  </a:lnTo>
                  <a:lnTo>
                    <a:pt x="14" y="444"/>
                  </a:lnTo>
                  <a:lnTo>
                    <a:pt x="9" y="446"/>
                  </a:lnTo>
                  <a:lnTo>
                    <a:pt x="0" y="449"/>
                  </a:lnTo>
                  <a:lnTo>
                    <a:pt x="0" y="449"/>
                  </a:lnTo>
                  <a:lnTo>
                    <a:pt x="0" y="460"/>
                  </a:lnTo>
                  <a:lnTo>
                    <a:pt x="0" y="461"/>
                  </a:lnTo>
                  <a:lnTo>
                    <a:pt x="2" y="463"/>
                  </a:lnTo>
                  <a:lnTo>
                    <a:pt x="5" y="468"/>
                  </a:lnTo>
                  <a:lnTo>
                    <a:pt x="7" y="472"/>
                  </a:lnTo>
                  <a:lnTo>
                    <a:pt x="9" y="479"/>
                  </a:lnTo>
                  <a:lnTo>
                    <a:pt x="9" y="479"/>
                  </a:lnTo>
                  <a:lnTo>
                    <a:pt x="9" y="487"/>
                  </a:lnTo>
                  <a:lnTo>
                    <a:pt x="5" y="491"/>
                  </a:lnTo>
                  <a:lnTo>
                    <a:pt x="5" y="493"/>
                  </a:lnTo>
                  <a:lnTo>
                    <a:pt x="9" y="501"/>
                  </a:lnTo>
                  <a:lnTo>
                    <a:pt x="9" y="501"/>
                  </a:lnTo>
                  <a:lnTo>
                    <a:pt x="10" y="505"/>
                  </a:lnTo>
                  <a:lnTo>
                    <a:pt x="14" y="507"/>
                  </a:lnTo>
                  <a:lnTo>
                    <a:pt x="17" y="507"/>
                  </a:lnTo>
                  <a:lnTo>
                    <a:pt x="19" y="507"/>
                  </a:lnTo>
                  <a:lnTo>
                    <a:pt x="21" y="508"/>
                  </a:lnTo>
                  <a:lnTo>
                    <a:pt x="28" y="519"/>
                  </a:lnTo>
                  <a:lnTo>
                    <a:pt x="28" y="519"/>
                  </a:lnTo>
                  <a:lnTo>
                    <a:pt x="30" y="526"/>
                  </a:lnTo>
                  <a:lnTo>
                    <a:pt x="30" y="533"/>
                  </a:lnTo>
                  <a:lnTo>
                    <a:pt x="28" y="540"/>
                  </a:lnTo>
                  <a:lnTo>
                    <a:pt x="28" y="548"/>
                  </a:lnTo>
                  <a:lnTo>
                    <a:pt x="28" y="548"/>
                  </a:lnTo>
                  <a:lnTo>
                    <a:pt x="26" y="554"/>
                  </a:lnTo>
                  <a:lnTo>
                    <a:pt x="28" y="559"/>
                  </a:lnTo>
                  <a:lnTo>
                    <a:pt x="28" y="562"/>
                  </a:lnTo>
                  <a:lnTo>
                    <a:pt x="30" y="564"/>
                  </a:lnTo>
                  <a:lnTo>
                    <a:pt x="33" y="566"/>
                  </a:lnTo>
                  <a:lnTo>
                    <a:pt x="35" y="566"/>
                  </a:lnTo>
                  <a:lnTo>
                    <a:pt x="37" y="564"/>
                  </a:lnTo>
                  <a:lnTo>
                    <a:pt x="38" y="561"/>
                  </a:lnTo>
                  <a:lnTo>
                    <a:pt x="38" y="561"/>
                  </a:lnTo>
                  <a:lnTo>
                    <a:pt x="40" y="555"/>
                  </a:lnTo>
                  <a:lnTo>
                    <a:pt x="42" y="555"/>
                  </a:lnTo>
                  <a:lnTo>
                    <a:pt x="44" y="555"/>
                  </a:lnTo>
                  <a:lnTo>
                    <a:pt x="47" y="559"/>
                  </a:lnTo>
                  <a:lnTo>
                    <a:pt x="50" y="566"/>
                  </a:lnTo>
                  <a:lnTo>
                    <a:pt x="50" y="566"/>
                  </a:lnTo>
                  <a:lnTo>
                    <a:pt x="52" y="568"/>
                  </a:lnTo>
                  <a:lnTo>
                    <a:pt x="54" y="568"/>
                  </a:lnTo>
                  <a:lnTo>
                    <a:pt x="59" y="562"/>
                  </a:lnTo>
                  <a:lnTo>
                    <a:pt x="61" y="559"/>
                  </a:lnTo>
                  <a:lnTo>
                    <a:pt x="66" y="557"/>
                  </a:lnTo>
                  <a:lnTo>
                    <a:pt x="71" y="557"/>
                  </a:lnTo>
                  <a:lnTo>
                    <a:pt x="78" y="561"/>
                  </a:lnTo>
                  <a:lnTo>
                    <a:pt x="78" y="561"/>
                  </a:lnTo>
                  <a:lnTo>
                    <a:pt x="87" y="564"/>
                  </a:lnTo>
                  <a:lnTo>
                    <a:pt x="89" y="564"/>
                  </a:lnTo>
                  <a:lnTo>
                    <a:pt x="91" y="562"/>
                  </a:lnTo>
                  <a:lnTo>
                    <a:pt x="92" y="559"/>
                  </a:lnTo>
                  <a:lnTo>
                    <a:pt x="94" y="555"/>
                  </a:lnTo>
                  <a:lnTo>
                    <a:pt x="97" y="555"/>
                  </a:lnTo>
                  <a:lnTo>
                    <a:pt x="97" y="555"/>
                  </a:lnTo>
                  <a:lnTo>
                    <a:pt x="99" y="554"/>
                  </a:lnTo>
                  <a:lnTo>
                    <a:pt x="101" y="552"/>
                  </a:lnTo>
                  <a:lnTo>
                    <a:pt x="99" y="547"/>
                  </a:lnTo>
                  <a:lnTo>
                    <a:pt x="99" y="545"/>
                  </a:lnTo>
                  <a:lnTo>
                    <a:pt x="101" y="543"/>
                  </a:lnTo>
                  <a:lnTo>
                    <a:pt x="108" y="545"/>
                  </a:lnTo>
                  <a:lnTo>
                    <a:pt x="108" y="545"/>
                  </a:lnTo>
                  <a:lnTo>
                    <a:pt x="111" y="547"/>
                  </a:lnTo>
                  <a:lnTo>
                    <a:pt x="113" y="550"/>
                  </a:lnTo>
                  <a:lnTo>
                    <a:pt x="115" y="555"/>
                  </a:lnTo>
                  <a:lnTo>
                    <a:pt x="117" y="561"/>
                  </a:lnTo>
                  <a:lnTo>
                    <a:pt x="117" y="564"/>
                  </a:lnTo>
                  <a:lnTo>
                    <a:pt x="118" y="564"/>
                  </a:lnTo>
                  <a:lnTo>
                    <a:pt x="118" y="564"/>
                  </a:lnTo>
                  <a:lnTo>
                    <a:pt x="120" y="566"/>
                  </a:lnTo>
                  <a:lnTo>
                    <a:pt x="120" y="568"/>
                  </a:lnTo>
                  <a:lnTo>
                    <a:pt x="120" y="575"/>
                  </a:lnTo>
                  <a:lnTo>
                    <a:pt x="118" y="578"/>
                  </a:lnTo>
                  <a:lnTo>
                    <a:pt x="118" y="580"/>
                  </a:lnTo>
                  <a:lnTo>
                    <a:pt x="120" y="582"/>
                  </a:lnTo>
                  <a:lnTo>
                    <a:pt x="120" y="582"/>
                  </a:lnTo>
                  <a:lnTo>
                    <a:pt x="125" y="583"/>
                  </a:lnTo>
                  <a:lnTo>
                    <a:pt x="131" y="588"/>
                  </a:lnTo>
                  <a:lnTo>
                    <a:pt x="134" y="592"/>
                  </a:lnTo>
                  <a:lnTo>
                    <a:pt x="134" y="595"/>
                  </a:lnTo>
                  <a:lnTo>
                    <a:pt x="132" y="595"/>
                  </a:lnTo>
                  <a:lnTo>
                    <a:pt x="132" y="595"/>
                  </a:lnTo>
                  <a:lnTo>
                    <a:pt x="129" y="597"/>
                  </a:lnTo>
                  <a:lnTo>
                    <a:pt x="127" y="599"/>
                  </a:lnTo>
                  <a:lnTo>
                    <a:pt x="124" y="606"/>
                  </a:lnTo>
                  <a:lnTo>
                    <a:pt x="124" y="609"/>
                  </a:lnTo>
                  <a:lnTo>
                    <a:pt x="125" y="611"/>
                  </a:lnTo>
                  <a:lnTo>
                    <a:pt x="127" y="608"/>
                  </a:lnTo>
                  <a:lnTo>
                    <a:pt x="127" y="608"/>
                  </a:lnTo>
                  <a:lnTo>
                    <a:pt x="132" y="604"/>
                  </a:lnTo>
                  <a:lnTo>
                    <a:pt x="134" y="604"/>
                  </a:lnTo>
                  <a:lnTo>
                    <a:pt x="136" y="606"/>
                  </a:lnTo>
                  <a:lnTo>
                    <a:pt x="138" y="613"/>
                  </a:lnTo>
                  <a:lnTo>
                    <a:pt x="138" y="623"/>
                  </a:lnTo>
                  <a:lnTo>
                    <a:pt x="138" y="623"/>
                  </a:lnTo>
                  <a:lnTo>
                    <a:pt x="138" y="632"/>
                  </a:lnTo>
                  <a:lnTo>
                    <a:pt x="139" y="632"/>
                  </a:lnTo>
                  <a:lnTo>
                    <a:pt x="141" y="634"/>
                  </a:lnTo>
                  <a:lnTo>
                    <a:pt x="143" y="634"/>
                  </a:lnTo>
                  <a:lnTo>
                    <a:pt x="145" y="634"/>
                  </a:lnTo>
                  <a:lnTo>
                    <a:pt x="148" y="637"/>
                  </a:lnTo>
                  <a:lnTo>
                    <a:pt x="150" y="644"/>
                  </a:lnTo>
                  <a:lnTo>
                    <a:pt x="150" y="644"/>
                  </a:lnTo>
                  <a:lnTo>
                    <a:pt x="158" y="635"/>
                  </a:lnTo>
                  <a:lnTo>
                    <a:pt x="164" y="634"/>
                  </a:lnTo>
                  <a:lnTo>
                    <a:pt x="169" y="634"/>
                  </a:lnTo>
                  <a:lnTo>
                    <a:pt x="172" y="637"/>
                  </a:lnTo>
                  <a:lnTo>
                    <a:pt x="174" y="641"/>
                  </a:lnTo>
                  <a:lnTo>
                    <a:pt x="178" y="642"/>
                  </a:lnTo>
                  <a:lnTo>
                    <a:pt x="183" y="642"/>
                  </a:lnTo>
                  <a:lnTo>
                    <a:pt x="188" y="637"/>
                  </a:lnTo>
                  <a:lnTo>
                    <a:pt x="188" y="637"/>
                  </a:lnTo>
                  <a:lnTo>
                    <a:pt x="198" y="625"/>
                  </a:lnTo>
                  <a:lnTo>
                    <a:pt x="205" y="618"/>
                  </a:lnTo>
                  <a:lnTo>
                    <a:pt x="209" y="618"/>
                  </a:lnTo>
                  <a:lnTo>
                    <a:pt x="211" y="622"/>
                  </a:lnTo>
                  <a:lnTo>
                    <a:pt x="211" y="625"/>
                  </a:lnTo>
                  <a:lnTo>
                    <a:pt x="211" y="634"/>
                  </a:lnTo>
                  <a:lnTo>
                    <a:pt x="211" y="634"/>
                  </a:lnTo>
                  <a:lnTo>
                    <a:pt x="211" y="639"/>
                  </a:lnTo>
                  <a:lnTo>
                    <a:pt x="212" y="642"/>
                  </a:lnTo>
                  <a:lnTo>
                    <a:pt x="214" y="642"/>
                  </a:lnTo>
                  <a:lnTo>
                    <a:pt x="218" y="642"/>
                  </a:lnTo>
                  <a:lnTo>
                    <a:pt x="225" y="635"/>
                  </a:lnTo>
                  <a:lnTo>
                    <a:pt x="230" y="634"/>
                  </a:lnTo>
                  <a:lnTo>
                    <a:pt x="235" y="632"/>
                  </a:lnTo>
                  <a:lnTo>
                    <a:pt x="235" y="632"/>
                  </a:lnTo>
                  <a:lnTo>
                    <a:pt x="237" y="625"/>
                  </a:lnTo>
                  <a:lnTo>
                    <a:pt x="237" y="620"/>
                  </a:lnTo>
                  <a:lnTo>
                    <a:pt x="235" y="611"/>
                  </a:lnTo>
                  <a:lnTo>
                    <a:pt x="235" y="606"/>
                  </a:lnTo>
                  <a:lnTo>
                    <a:pt x="237" y="604"/>
                  </a:lnTo>
                  <a:lnTo>
                    <a:pt x="239" y="604"/>
                  </a:lnTo>
                  <a:lnTo>
                    <a:pt x="239" y="604"/>
                  </a:lnTo>
                  <a:lnTo>
                    <a:pt x="242" y="602"/>
                  </a:lnTo>
                  <a:lnTo>
                    <a:pt x="242" y="599"/>
                  </a:lnTo>
                  <a:lnTo>
                    <a:pt x="244" y="590"/>
                  </a:lnTo>
                  <a:lnTo>
                    <a:pt x="242" y="582"/>
                  </a:lnTo>
                  <a:lnTo>
                    <a:pt x="240" y="575"/>
                  </a:lnTo>
                  <a:lnTo>
                    <a:pt x="240" y="575"/>
                  </a:lnTo>
                  <a:lnTo>
                    <a:pt x="240" y="571"/>
                  </a:lnTo>
                  <a:lnTo>
                    <a:pt x="242" y="569"/>
                  </a:lnTo>
                  <a:lnTo>
                    <a:pt x="251" y="568"/>
                  </a:lnTo>
                  <a:lnTo>
                    <a:pt x="261" y="564"/>
                  </a:lnTo>
                  <a:lnTo>
                    <a:pt x="266" y="562"/>
                  </a:lnTo>
                  <a:lnTo>
                    <a:pt x="270" y="557"/>
                  </a:lnTo>
                  <a:lnTo>
                    <a:pt x="270" y="557"/>
                  </a:lnTo>
                  <a:lnTo>
                    <a:pt x="275" y="545"/>
                  </a:lnTo>
                  <a:lnTo>
                    <a:pt x="275" y="541"/>
                  </a:lnTo>
                  <a:lnTo>
                    <a:pt x="273" y="538"/>
                  </a:lnTo>
                  <a:lnTo>
                    <a:pt x="273" y="538"/>
                  </a:lnTo>
                  <a:lnTo>
                    <a:pt x="272" y="536"/>
                  </a:lnTo>
                  <a:lnTo>
                    <a:pt x="273" y="534"/>
                  </a:lnTo>
                  <a:lnTo>
                    <a:pt x="279" y="533"/>
                  </a:lnTo>
                  <a:lnTo>
                    <a:pt x="282" y="533"/>
                  </a:lnTo>
                  <a:lnTo>
                    <a:pt x="284" y="531"/>
                  </a:lnTo>
                  <a:lnTo>
                    <a:pt x="284" y="528"/>
                  </a:lnTo>
                  <a:lnTo>
                    <a:pt x="282" y="524"/>
                  </a:lnTo>
                  <a:lnTo>
                    <a:pt x="282" y="524"/>
                  </a:lnTo>
                  <a:lnTo>
                    <a:pt x="280" y="519"/>
                  </a:lnTo>
                  <a:lnTo>
                    <a:pt x="280" y="514"/>
                  </a:lnTo>
                  <a:lnTo>
                    <a:pt x="282" y="508"/>
                  </a:lnTo>
                  <a:lnTo>
                    <a:pt x="287" y="503"/>
                  </a:lnTo>
                  <a:lnTo>
                    <a:pt x="287" y="503"/>
                  </a:lnTo>
                  <a:lnTo>
                    <a:pt x="289" y="501"/>
                  </a:lnTo>
                  <a:lnTo>
                    <a:pt x="291" y="503"/>
                  </a:lnTo>
                  <a:lnTo>
                    <a:pt x="293" y="508"/>
                  </a:lnTo>
                  <a:lnTo>
                    <a:pt x="296" y="512"/>
                  </a:lnTo>
                  <a:lnTo>
                    <a:pt x="299" y="514"/>
                  </a:lnTo>
                  <a:lnTo>
                    <a:pt x="299" y="514"/>
                  </a:lnTo>
                  <a:lnTo>
                    <a:pt x="305" y="514"/>
                  </a:lnTo>
                  <a:lnTo>
                    <a:pt x="308" y="514"/>
                  </a:lnTo>
                  <a:lnTo>
                    <a:pt x="310" y="512"/>
                  </a:lnTo>
                  <a:lnTo>
                    <a:pt x="312" y="510"/>
                  </a:lnTo>
                  <a:lnTo>
                    <a:pt x="313" y="505"/>
                  </a:lnTo>
                  <a:lnTo>
                    <a:pt x="313" y="498"/>
                  </a:lnTo>
                  <a:lnTo>
                    <a:pt x="313" y="498"/>
                  </a:lnTo>
                  <a:lnTo>
                    <a:pt x="313" y="494"/>
                  </a:lnTo>
                  <a:lnTo>
                    <a:pt x="315" y="493"/>
                  </a:lnTo>
                  <a:lnTo>
                    <a:pt x="320" y="494"/>
                  </a:lnTo>
                  <a:lnTo>
                    <a:pt x="324" y="496"/>
                  </a:lnTo>
                  <a:lnTo>
                    <a:pt x="326" y="496"/>
                  </a:lnTo>
                  <a:lnTo>
                    <a:pt x="327" y="494"/>
                  </a:lnTo>
                  <a:lnTo>
                    <a:pt x="329" y="491"/>
                  </a:lnTo>
                  <a:lnTo>
                    <a:pt x="329" y="491"/>
                  </a:lnTo>
                  <a:lnTo>
                    <a:pt x="331" y="481"/>
                  </a:lnTo>
                  <a:lnTo>
                    <a:pt x="336" y="474"/>
                  </a:lnTo>
                  <a:lnTo>
                    <a:pt x="338" y="470"/>
                  </a:lnTo>
                  <a:lnTo>
                    <a:pt x="343" y="470"/>
                  </a:lnTo>
                  <a:lnTo>
                    <a:pt x="346" y="470"/>
                  </a:lnTo>
                  <a:lnTo>
                    <a:pt x="350" y="472"/>
                  </a:lnTo>
                  <a:lnTo>
                    <a:pt x="350" y="472"/>
                  </a:lnTo>
                  <a:lnTo>
                    <a:pt x="353" y="474"/>
                  </a:lnTo>
                  <a:lnTo>
                    <a:pt x="355" y="472"/>
                  </a:lnTo>
                  <a:lnTo>
                    <a:pt x="357" y="465"/>
                  </a:lnTo>
                  <a:lnTo>
                    <a:pt x="360" y="456"/>
                  </a:lnTo>
                  <a:lnTo>
                    <a:pt x="364" y="453"/>
                  </a:lnTo>
                  <a:lnTo>
                    <a:pt x="369" y="451"/>
                  </a:lnTo>
                  <a:lnTo>
                    <a:pt x="369" y="451"/>
                  </a:lnTo>
                  <a:lnTo>
                    <a:pt x="381" y="447"/>
                  </a:lnTo>
                  <a:lnTo>
                    <a:pt x="390" y="442"/>
                  </a:lnTo>
                  <a:lnTo>
                    <a:pt x="400" y="435"/>
                  </a:lnTo>
                  <a:lnTo>
                    <a:pt x="406" y="432"/>
                  </a:lnTo>
                  <a:lnTo>
                    <a:pt x="407" y="432"/>
                  </a:lnTo>
                  <a:lnTo>
                    <a:pt x="411" y="434"/>
                  </a:lnTo>
                  <a:lnTo>
                    <a:pt x="411" y="434"/>
                  </a:lnTo>
                  <a:lnTo>
                    <a:pt x="416" y="435"/>
                  </a:lnTo>
                  <a:lnTo>
                    <a:pt x="418" y="434"/>
                  </a:lnTo>
                  <a:lnTo>
                    <a:pt x="420" y="434"/>
                  </a:lnTo>
                  <a:lnTo>
                    <a:pt x="425" y="435"/>
                  </a:lnTo>
                  <a:lnTo>
                    <a:pt x="425" y="435"/>
                  </a:lnTo>
                  <a:lnTo>
                    <a:pt x="432" y="439"/>
                  </a:lnTo>
                  <a:lnTo>
                    <a:pt x="435" y="439"/>
                  </a:lnTo>
                  <a:lnTo>
                    <a:pt x="435" y="4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7" name="Freeform 1762">
              <a:extLst>
                <a:ext uri="{FF2B5EF4-FFF2-40B4-BE49-F238E27FC236}">
                  <a16:creationId xmlns:a16="http://schemas.microsoft.com/office/drawing/2014/main" id="{FFDA50D7-E360-4FAA-BEBB-978D2ED6221A}"/>
                </a:ext>
              </a:extLst>
            </p:cNvPr>
            <p:cNvSpPr>
              <a:spLocks/>
            </p:cNvSpPr>
            <p:nvPr/>
          </p:nvSpPr>
          <p:spPr bwMode="auto">
            <a:xfrm>
              <a:off x="4243993" y="3572635"/>
              <a:ext cx="343590" cy="440502"/>
            </a:xfrm>
            <a:custGeom>
              <a:avLst/>
              <a:gdLst/>
              <a:ahLst/>
              <a:cxnLst>
                <a:cxn ang="0">
                  <a:pos x="23" y="479"/>
                </a:cxn>
                <a:cxn ang="0">
                  <a:pos x="49" y="470"/>
                </a:cxn>
                <a:cxn ang="0">
                  <a:pos x="87" y="468"/>
                </a:cxn>
                <a:cxn ang="0">
                  <a:pos x="108" y="477"/>
                </a:cxn>
                <a:cxn ang="0">
                  <a:pos x="124" y="493"/>
                </a:cxn>
                <a:cxn ang="0">
                  <a:pos x="147" y="521"/>
                </a:cxn>
                <a:cxn ang="0">
                  <a:pos x="171" y="550"/>
                </a:cxn>
                <a:cxn ang="0">
                  <a:pos x="185" y="545"/>
                </a:cxn>
                <a:cxn ang="0">
                  <a:pos x="183" y="531"/>
                </a:cxn>
                <a:cxn ang="0">
                  <a:pos x="187" y="519"/>
                </a:cxn>
                <a:cxn ang="0">
                  <a:pos x="197" y="510"/>
                </a:cxn>
                <a:cxn ang="0">
                  <a:pos x="213" y="531"/>
                </a:cxn>
                <a:cxn ang="0">
                  <a:pos x="216" y="535"/>
                </a:cxn>
                <a:cxn ang="0">
                  <a:pos x="221" y="521"/>
                </a:cxn>
                <a:cxn ang="0">
                  <a:pos x="234" y="519"/>
                </a:cxn>
                <a:cxn ang="0">
                  <a:pos x="263" y="521"/>
                </a:cxn>
                <a:cxn ang="0">
                  <a:pos x="267" y="517"/>
                </a:cxn>
                <a:cxn ang="0">
                  <a:pos x="270" y="512"/>
                </a:cxn>
                <a:cxn ang="0">
                  <a:pos x="282" y="515"/>
                </a:cxn>
                <a:cxn ang="0">
                  <a:pos x="406" y="515"/>
                </a:cxn>
                <a:cxn ang="0">
                  <a:pos x="410" y="479"/>
                </a:cxn>
                <a:cxn ang="0">
                  <a:pos x="403" y="468"/>
                </a:cxn>
                <a:cxn ang="0">
                  <a:pos x="430" y="101"/>
                </a:cxn>
                <a:cxn ang="0">
                  <a:pos x="178" y="57"/>
                </a:cxn>
                <a:cxn ang="0">
                  <a:pos x="154" y="181"/>
                </a:cxn>
                <a:cxn ang="0">
                  <a:pos x="140" y="202"/>
                </a:cxn>
                <a:cxn ang="0">
                  <a:pos x="143" y="261"/>
                </a:cxn>
                <a:cxn ang="0">
                  <a:pos x="7" y="263"/>
                </a:cxn>
                <a:cxn ang="0">
                  <a:pos x="0" y="280"/>
                </a:cxn>
                <a:cxn ang="0">
                  <a:pos x="2" y="287"/>
                </a:cxn>
                <a:cxn ang="0">
                  <a:pos x="6" y="275"/>
                </a:cxn>
                <a:cxn ang="0">
                  <a:pos x="9" y="273"/>
                </a:cxn>
                <a:cxn ang="0">
                  <a:pos x="13" y="286"/>
                </a:cxn>
                <a:cxn ang="0">
                  <a:pos x="18" y="294"/>
                </a:cxn>
                <a:cxn ang="0">
                  <a:pos x="23" y="294"/>
                </a:cxn>
                <a:cxn ang="0">
                  <a:pos x="28" y="324"/>
                </a:cxn>
                <a:cxn ang="0">
                  <a:pos x="26" y="336"/>
                </a:cxn>
                <a:cxn ang="0">
                  <a:pos x="19" y="350"/>
                </a:cxn>
                <a:cxn ang="0">
                  <a:pos x="25" y="357"/>
                </a:cxn>
                <a:cxn ang="0">
                  <a:pos x="35" y="385"/>
                </a:cxn>
                <a:cxn ang="0">
                  <a:pos x="35" y="423"/>
                </a:cxn>
                <a:cxn ang="0">
                  <a:pos x="23" y="467"/>
                </a:cxn>
                <a:cxn ang="0">
                  <a:pos x="19" y="484"/>
                </a:cxn>
              </a:cxnLst>
              <a:rect l="0" t="0" r="r" b="b"/>
              <a:pathLst>
                <a:path w="430" h="550">
                  <a:moveTo>
                    <a:pt x="19" y="484"/>
                  </a:moveTo>
                  <a:lnTo>
                    <a:pt x="19" y="484"/>
                  </a:lnTo>
                  <a:lnTo>
                    <a:pt x="23" y="479"/>
                  </a:lnTo>
                  <a:lnTo>
                    <a:pt x="30" y="475"/>
                  </a:lnTo>
                  <a:lnTo>
                    <a:pt x="39" y="472"/>
                  </a:lnTo>
                  <a:lnTo>
                    <a:pt x="49" y="470"/>
                  </a:lnTo>
                  <a:lnTo>
                    <a:pt x="70" y="468"/>
                  </a:lnTo>
                  <a:lnTo>
                    <a:pt x="87" y="468"/>
                  </a:lnTo>
                  <a:lnTo>
                    <a:pt x="87" y="468"/>
                  </a:lnTo>
                  <a:lnTo>
                    <a:pt x="93" y="468"/>
                  </a:lnTo>
                  <a:lnTo>
                    <a:pt x="100" y="470"/>
                  </a:lnTo>
                  <a:lnTo>
                    <a:pt x="108" y="477"/>
                  </a:lnTo>
                  <a:lnTo>
                    <a:pt x="117" y="486"/>
                  </a:lnTo>
                  <a:lnTo>
                    <a:pt x="124" y="493"/>
                  </a:lnTo>
                  <a:lnTo>
                    <a:pt x="124" y="493"/>
                  </a:lnTo>
                  <a:lnTo>
                    <a:pt x="129" y="496"/>
                  </a:lnTo>
                  <a:lnTo>
                    <a:pt x="134" y="501"/>
                  </a:lnTo>
                  <a:lnTo>
                    <a:pt x="147" y="521"/>
                  </a:lnTo>
                  <a:lnTo>
                    <a:pt x="159" y="538"/>
                  </a:lnTo>
                  <a:lnTo>
                    <a:pt x="166" y="545"/>
                  </a:lnTo>
                  <a:lnTo>
                    <a:pt x="171" y="550"/>
                  </a:lnTo>
                  <a:lnTo>
                    <a:pt x="171" y="550"/>
                  </a:lnTo>
                  <a:lnTo>
                    <a:pt x="180" y="547"/>
                  </a:lnTo>
                  <a:lnTo>
                    <a:pt x="185" y="545"/>
                  </a:lnTo>
                  <a:lnTo>
                    <a:pt x="187" y="541"/>
                  </a:lnTo>
                  <a:lnTo>
                    <a:pt x="185" y="538"/>
                  </a:lnTo>
                  <a:lnTo>
                    <a:pt x="183" y="531"/>
                  </a:lnTo>
                  <a:lnTo>
                    <a:pt x="183" y="526"/>
                  </a:lnTo>
                  <a:lnTo>
                    <a:pt x="187" y="519"/>
                  </a:lnTo>
                  <a:lnTo>
                    <a:pt x="187" y="519"/>
                  </a:lnTo>
                  <a:lnTo>
                    <a:pt x="190" y="514"/>
                  </a:lnTo>
                  <a:lnTo>
                    <a:pt x="194" y="510"/>
                  </a:lnTo>
                  <a:lnTo>
                    <a:pt x="197" y="510"/>
                  </a:lnTo>
                  <a:lnTo>
                    <a:pt x="201" y="512"/>
                  </a:lnTo>
                  <a:lnTo>
                    <a:pt x="208" y="521"/>
                  </a:lnTo>
                  <a:lnTo>
                    <a:pt x="213" y="531"/>
                  </a:lnTo>
                  <a:lnTo>
                    <a:pt x="213" y="531"/>
                  </a:lnTo>
                  <a:lnTo>
                    <a:pt x="215" y="535"/>
                  </a:lnTo>
                  <a:lnTo>
                    <a:pt x="216" y="535"/>
                  </a:lnTo>
                  <a:lnTo>
                    <a:pt x="218" y="529"/>
                  </a:lnTo>
                  <a:lnTo>
                    <a:pt x="220" y="524"/>
                  </a:lnTo>
                  <a:lnTo>
                    <a:pt x="221" y="521"/>
                  </a:lnTo>
                  <a:lnTo>
                    <a:pt x="227" y="519"/>
                  </a:lnTo>
                  <a:lnTo>
                    <a:pt x="234" y="519"/>
                  </a:lnTo>
                  <a:lnTo>
                    <a:pt x="234" y="519"/>
                  </a:lnTo>
                  <a:lnTo>
                    <a:pt x="244" y="521"/>
                  </a:lnTo>
                  <a:lnTo>
                    <a:pt x="255" y="521"/>
                  </a:lnTo>
                  <a:lnTo>
                    <a:pt x="263" y="521"/>
                  </a:lnTo>
                  <a:lnTo>
                    <a:pt x="265" y="519"/>
                  </a:lnTo>
                  <a:lnTo>
                    <a:pt x="267" y="517"/>
                  </a:lnTo>
                  <a:lnTo>
                    <a:pt x="267" y="517"/>
                  </a:lnTo>
                  <a:lnTo>
                    <a:pt x="268" y="512"/>
                  </a:lnTo>
                  <a:lnTo>
                    <a:pt x="268" y="510"/>
                  </a:lnTo>
                  <a:lnTo>
                    <a:pt x="270" y="512"/>
                  </a:lnTo>
                  <a:lnTo>
                    <a:pt x="274" y="514"/>
                  </a:lnTo>
                  <a:lnTo>
                    <a:pt x="277" y="515"/>
                  </a:lnTo>
                  <a:lnTo>
                    <a:pt x="282" y="515"/>
                  </a:lnTo>
                  <a:lnTo>
                    <a:pt x="282" y="515"/>
                  </a:lnTo>
                  <a:lnTo>
                    <a:pt x="406" y="515"/>
                  </a:lnTo>
                  <a:lnTo>
                    <a:pt x="406" y="515"/>
                  </a:lnTo>
                  <a:lnTo>
                    <a:pt x="411" y="488"/>
                  </a:lnTo>
                  <a:lnTo>
                    <a:pt x="411" y="481"/>
                  </a:lnTo>
                  <a:lnTo>
                    <a:pt x="410" y="479"/>
                  </a:lnTo>
                  <a:lnTo>
                    <a:pt x="406" y="477"/>
                  </a:lnTo>
                  <a:lnTo>
                    <a:pt x="403" y="475"/>
                  </a:lnTo>
                  <a:lnTo>
                    <a:pt x="403" y="468"/>
                  </a:lnTo>
                  <a:lnTo>
                    <a:pt x="403" y="468"/>
                  </a:lnTo>
                  <a:lnTo>
                    <a:pt x="369" y="101"/>
                  </a:lnTo>
                  <a:lnTo>
                    <a:pt x="430" y="101"/>
                  </a:lnTo>
                  <a:lnTo>
                    <a:pt x="295" y="0"/>
                  </a:lnTo>
                  <a:lnTo>
                    <a:pt x="295" y="57"/>
                  </a:lnTo>
                  <a:lnTo>
                    <a:pt x="178" y="57"/>
                  </a:lnTo>
                  <a:lnTo>
                    <a:pt x="178" y="171"/>
                  </a:lnTo>
                  <a:lnTo>
                    <a:pt x="178" y="171"/>
                  </a:lnTo>
                  <a:lnTo>
                    <a:pt x="154" y="181"/>
                  </a:lnTo>
                  <a:lnTo>
                    <a:pt x="147" y="186"/>
                  </a:lnTo>
                  <a:lnTo>
                    <a:pt x="141" y="192"/>
                  </a:lnTo>
                  <a:lnTo>
                    <a:pt x="140" y="202"/>
                  </a:lnTo>
                  <a:lnTo>
                    <a:pt x="138" y="216"/>
                  </a:lnTo>
                  <a:lnTo>
                    <a:pt x="143" y="261"/>
                  </a:lnTo>
                  <a:lnTo>
                    <a:pt x="143" y="261"/>
                  </a:lnTo>
                  <a:lnTo>
                    <a:pt x="9" y="261"/>
                  </a:lnTo>
                  <a:lnTo>
                    <a:pt x="9" y="261"/>
                  </a:lnTo>
                  <a:lnTo>
                    <a:pt x="7" y="263"/>
                  </a:lnTo>
                  <a:lnTo>
                    <a:pt x="6" y="265"/>
                  </a:lnTo>
                  <a:lnTo>
                    <a:pt x="2" y="272"/>
                  </a:lnTo>
                  <a:lnTo>
                    <a:pt x="0" y="280"/>
                  </a:lnTo>
                  <a:lnTo>
                    <a:pt x="2" y="287"/>
                  </a:lnTo>
                  <a:lnTo>
                    <a:pt x="2" y="287"/>
                  </a:lnTo>
                  <a:lnTo>
                    <a:pt x="2" y="287"/>
                  </a:lnTo>
                  <a:lnTo>
                    <a:pt x="4" y="284"/>
                  </a:lnTo>
                  <a:lnTo>
                    <a:pt x="4" y="280"/>
                  </a:lnTo>
                  <a:lnTo>
                    <a:pt x="6" y="275"/>
                  </a:lnTo>
                  <a:lnTo>
                    <a:pt x="7" y="273"/>
                  </a:lnTo>
                  <a:lnTo>
                    <a:pt x="9" y="273"/>
                  </a:lnTo>
                  <a:lnTo>
                    <a:pt x="9" y="273"/>
                  </a:lnTo>
                  <a:lnTo>
                    <a:pt x="11" y="275"/>
                  </a:lnTo>
                  <a:lnTo>
                    <a:pt x="11" y="279"/>
                  </a:lnTo>
                  <a:lnTo>
                    <a:pt x="13" y="286"/>
                  </a:lnTo>
                  <a:lnTo>
                    <a:pt x="14" y="293"/>
                  </a:lnTo>
                  <a:lnTo>
                    <a:pt x="16" y="294"/>
                  </a:lnTo>
                  <a:lnTo>
                    <a:pt x="18" y="294"/>
                  </a:lnTo>
                  <a:lnTo>
                    <a:pt x="18" y="294"/>
                  </a:lnTo>
                  <a:lnTo>
                    <a:pt x="21" y="293"/>
                  </a:lnTo>
                  <a:lnTo>
                    <a:pt x="23" y="294"/>
                  </a:lnTo>
                  <a:lnTo>
                    <a:pt x="26" y="301"/>
                  </a:lnTo>
                  <a:lnTo>
                    <a:pt x="28" y="312"/>
                  </a:lnTo>
                  <a:lnTo>
                    <a:pt x="28" y="324"/>
                  </a:lnTo>
                  <a:lnTo>
                    <a:pt x="28" y="324"/>
                  </a:lnTo>
                  <a:lnTo>
                    <a:pt x="28" y="331"/>
                  </a:lnTo>
                  <a:lnTo>
                    <a:pt x="26" y="336"/>
                  </a:lnTo>
                  <a:lnTo>
                    <a:pt x="21" y="343"/>
                  </a:lnTo>
                  <a:lnTo>
                    <a:pt x="18" y="348"/>
                  </a:lnTo>
                  <a:lnTo>
                    <a:pt x="19" y="350"/>
                  </a:lnTo>
                  <a:lnTo>
                    <a:pt x="21" y="352"/>
                  </a:lnTo>
                  <a:lnTo>
                    <a:pt x="21" y="352"/>
                  </a:lnTo>
                  <a:lnTo>
                    <a:pt x="25" y="357"/>
                  </a:lnTo>
                  <a:lnTo>
                    <a:pt x="30" y="364"/>
                  </a:lnTo>
                  <a:lnTo>
                    <a:pt x="32" y="373"/>
                  </a:lnTo>
                  <a:lnTo>
                    <a:pt x="35" y="385"/>
                  </a:lnTo>
                  <a:lnTo>
                    <a:pt x="37" y="397"/>
                  </a:lnTo>
                  <a:lnTo>
                    <a:pt x="37" y="411"/>
                  </a:lnTo>
                  <a:lnTo>
                    <a:pt x="35" y="423"/>
                  </a:lnTo>
                  <a:lnTo>
                    <a:pt x="33" y="435"/>
                  </a:lnTo>
                  <a:lnTo>
                    <a:pt x="33" y="435"/>
                  </a:lnTo>
                  <a:lnTo>
                    <a:pt x="23" y="467"/>
                  </a:lnTo>
                  <a:lnTo>
                    <a:pt x="21" y="475"/>
                  </a:lnTo>
                  <a:lnTo>
                    <a:pt x="19" y="484"/>
                  </a:lnTo>
                  <a:lnTo>
                    <a:pt x="19" y="48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8" name="Freeform 1763">
              <a:extLst>
                <a:ext uri="{FF2B5EF4-FFF2-40B4-BE49-F238E27FC236}">
                  <a16:creationId xmlns:a16="http://schemas.microsoft.com/office/drawing/2014/main" id="{F01F8F81-5570-4E26-8F1F-861A94AD4DA0}"/>
                </a:ext>
              </a:extLst>
            </p:cNvPr>
            <p:cNvSpPr>
              <a:spLocks/>
            </p:cNvSpPr>
            <p:nvPr/>
          </p:nvSpPr>
          <p:spPr bwMode="auto">
            <a:xfrm>
              <a:off x="4799025" y="4043088"/>
              <a:ext cx="336541" cy="325971"/>
            </a:xfrm>
            <a:custGeom>
              <a:avLst/>
              <a:gdLst/>
              <a:ahLst/>
              <a:cxnLst>
                <a:cxn ang="0">
                  <a:pos x="403" y="61"/>
                </a:cxn>
                <a:cxn ang="0">
                  <a:pos x="418" y="71"/>
                </a:cxn>
                <a:cxn ang="0">
                  <a:pos x="415" y="101"/>
                </a:cxn>
                <a:cxn ang="0">
                  <a:pos x="396" y="120"/>
                </a:cxn>
                <a:cxn ang="0">
                  <a:pos x="376" y="160"/>
                </a:cxn>
                <a:cxn ang="0">
                  <a:pos x="354" y="225"/>
                </a:cxn>
                <a:cxn ang="0">
                  <a:pos x="338" y="239"/>
                </a:cxn>
                <a:cxn ang="0">
                  <a:pos x="316" y="301"/>
                </a:cxn>
                <a:cxn ang="0">
                  <a:pos x="303" y="317"/>
                </a:cxn>
                <a:cxn ang="0">
                  <a:pos x="289" y="303"/>
                </a:cxn>
                <a:cxn ang="0">
                  <a:pos x="265" y="293"/>
                </a:cxn>
                <a:cxn ang="0">
                  <a:pos x="249" y="308"/>
                </a:cxn>
                <a:cxn ang="0">
                  <a:pos x="239" y="320"/>
                </a:cxn>
                <a:cxn ang="0">
                  <a:pos x="223" y="334"/>
                </a:cxn>
                <a:cxn ang="0">
                  <a:pos x="204" y="390"/>
                </a:cxn>
                <a:cxn ang="0">
                  <a:pos x="199" y="393"/>
                </a:cxn>
                <a:cxn ang="0">
                  <a:pos x="178" y="400"/>
                </a:cxn>
                <a:cxn ang="0">
                  <a:pos x="161" y="397"/>
                </a:cxn>
                <a:cxn ang="0">
                  <a:pos x="155" y="402"/>
                </a:cxn>
                <a:cxn ang="0">
                  <a:pos x="141" y="409"/>
                </a:cxn>
                <a:cxn ang="0">
                  <a:pos x="117" y="409"/>
                </a:cxn>
                <a:cxn ang="0">
                  <a:pos x="96" y="381"/>
                </a:cxn>
                <a:cxn ang="0">
                  <a:pos x="72" y="331"/>
                </a:cxn>
                <a:cxn ang="0">
                  <a:pos x="40" y="320"/>
                </a:cxn>
                <a:cxn ang="0">
                  <a:pos x="26" y="315"/>
                </a:cxn>
                <a:cxn ang="0">
                  <a:pos x="16" y="320"/>
                </a:cxn>
                <a:cxn ang="0">
                  <a:pos x="4" y="277"/>
                </a:cxn>
                <a:cxn ang="0">
                  <a:pos x="4" y="212"/>
                </a:cxn>
                <a:cxn ang="0">
                  <a:pos x="14" y="202"/>
                </a:cxn>
                <a:cxn ang="0">
                  <a:pos x="25" y="178"/>
                </a:cxn>
                <a:cxn ang="0">
                  <a:pos x="40" y="139"/>
                </a:cxn>
                <a:cxn ang="0">
                  <a:pos x="33" y="113"/>
                </a:cxn>
                <a:cxn ang="0">
                  <a:pos x="32" y="94"/>
                </a:cxn>
                <a:cxn ang="0">
                  <a:pos x="33" y="66"/>
                </a:cxn>
                <a:cxn ang="0">
                  <a:pos x="40" y="52"/>
                </a:cxn>
                <a:cxn ang="0">
                  <a:pos x="49" y="24"/>
                </a:cxn>
                <a:cxn ang="0">
                  <a:pos x="60" y="12"/>
                </a:cxn>
                <a:cxn ang="0">
                  <a:pos x="82" y="9"/>
                </a:cxn>
                <a:cxn ang="0">
                  <a:pos x="96" y="2"/>
                </a:cxn>
                <a:cxn ang="0">
                  <a:pos x="105" y="2"/>
                </a:cxn>
                <a:cxn ang="0">
                  <a:pos x="133" y="14"/>
                </a:cxn>
                <a:cxn ang="0">
                  <a:pos x="143" y="33"/>
                </a:cxn>
                <a:cxn ang="0">
                  <a:pos x="173" y="28"/>
                </a:cxn>
                <a:cxn ang="0">
                  <a:pos x="187" y="24"/>
                </a:cxn>
                <a:cxn ang="0">
                  <a:pos x="220" y="44"/>
                </a:cxn>
                <a:cxn ang="0">
                  <a:pos x="242" y="44"/>
                </a:cxn>
                <a:cxn ang="0">
                  <a:pos x="260" y="30"/>
                </a:cxn>
                <a:cxn ang="0">
                  <a:pos x="295" y="21"/>
                </a:cxn>
                <a:cxn ang="0">
                  <a:pos x="333" y="35"/>
                </a:cxn>
                <a:cxn ang="0">
                  <a:pos x="349" y="30"/>
                </a:cxn>
                <a:cxn ang="0">
                  <a:pos x="369" y="14"/>
                </a:cxn>
              </a:cxnLst>
              <a:rect l="0" t="0" r="r" b="b"/>
              <a:pathLst>
                <a:path w="420" h="409">
                  <a:moveTo>
                    <a:pt x="399" y="35"/>
                  </a:moveTo>
                  <a:lnTo>
                    <a:pt x="399" y="35"/>
                  </a:lnTo>
                  <a:lnTo>
                    <a:pt x="399" y="50"/>
                  </a:lnTo>
                  <a:lnTo>
                    <a:pt x="403" y="61"/>
                  </a:lnTo>
                  <a:lnTo>
                    <a:pt x="406" y="66"/>
                  </a:lnTo>
                  <a:lnTo>
                    <a:pt x="411" y="68"/>
                  </a:lnTo>
                  <a:lnTo>
                    <a:pt x="415" y="70"/>
                  </a:lnTo>
                  <a:lnTo>
                    <a:pt x="418" y="71"/>
                  </a:lnTo>
                  <a:lnTo>
                    <a:pt x="420" y="78"/>
                  </a:lnTo>
                  <a:lnTo>
                    <a:pt x="418" y="89"/>
                  </a:lnTo>
                  <a:lnTo>
                    <a:pt x="418" y="89"/>
                  </a:lnTo>
                  <a:lnTo>
                    <a:pt x="415" y="101"/>
                  </a:lnTo>
                  <a:lnTo>
                    <a:pt x="410" y="108"/>
                  </a:lnTo>
                  <a:lnTo>
                    <a:pt x="406" y="113"/>
                  </a:lnTo>
                  <a:lnTo>
                    <a:pt x="401" y="117"/>
                  </a:lnTo>
                  <a:lnTo>
                    <a:pt x="396" y="120"/>
                  </a:lnTo>
                  <a:lnTo>
                    <a:pt x="389" y="129"/>
                  </a:lnTo>
                  <a:lnTo>
                    <a:pt x="383" y="141"/>
                  </a:lnTo>
                  <a:lnTo>
                    <a:pt x="376" y="160"/>
                  </a:lnTo>
                  <a:lnTo>
                    <a:pt x="376" y="160"/>
                  </a:lnTo>
                  <a:lnTo>
                    <a:pt x="366" y="197"/>
                  </a:lnTo>
                  <a:lnTo>
                    <a:pt x="359" y="216"/>
                  </a:lnTo>
                  <a:lnTo>
                    <a:pt x="356" y="221"/>
                  </a:lnTo>
                  <a:lnTo>
                    <a:pt x="354" y="225"/>
                  </a:lnTo>
                  <a:lnTo>
                    <a:pt x="347" y="228"/>
                  </a:lnTo>
                  <a:lnTo>
                    <a:pt x="347" y="228"/>
                  </a:lnTo>
                  <a:lnTo>
                    <a:pt x="342" y="232"/>
                  </a:lnTo>
                  <a:lnTo>
                    <a:pt x="338" y="239"/>
                  </a:lnTo>
                  <a:lnTo>
                    <a:pt x="331" y="259"/>
                  </a:lnTo>
                  <a:lnTo>
                    <a:pt x="324" y="280"/>
                  </a:lnTo>
                  <a:lnTo>
                    <a:pt x="321" y="291"/>
                  </a:lnTo>
                  <a:lnTo>
                    <a:pt x="316" y="301"/>
                  </a:lnTo>
                  <a:lnTo>
                    <a:pt x="316" y="301"/>
                  </a:lnTo>
                  <a:lnTo>
                    <a:pt x="309" y="313"/>
                  </a:lnTo>
                  <a:lnTo>
                    <a:pt x="305" y="317"/>
                  </a:lnTo>
                  <a:lnTo>
                    <a:pt x="303" y="317"/>
                  </a:lnTo>
                  <a:lnTo>
                    <a:pt x="300" y="317"/>
                  </a:lnTo>
                  <a:lnTo>
                    <a:pt x="298" y="315"/>
                  </a:lnTo>
                  <a:lnTo>
                    <a:pt x="289" y="303"/>
                  </a:lnTo>
                  <a:lnTo>
                    <a:pt x="289" y="303"/>
                  </a:lnTo>
                  <a:lnTo>
                    <a:pt x="282" y="298"/>
                  </a:lnTo>
                  <a:lnTo>
                    <a:pt x="277" y="293"/>
                  </a:lnTo>
                  <a:lnTo>
                    <a:pt x="270" y="293"/>
                  </a:lnTo>
                  <a:lnTo>
                    <a:pt x="265" y="293"/>
                  </a:lnTo>
                  <a:lnTo>
                    <a:pt x="260" y="294"/>
                  </a:lnTo>
                  <a:lnTo>
                    <a:pt x="256" y="298"/>
                  </a:lnTo>
                  <a:lnTo>
                    <a:pt x="253" y="303"/>
                  </a:lnTo>
                  <a:lnTo>
                    <a:pt x="249" y="308"/>
                  </a:lnTo>
                  <a:lnTo>
                    <a:pt x="249" y="308"/>
                  </a:lnTo>
                  <a:lnTo>
                    <a:pt x="248" y="313"/>
                  </a:lnTo>
                  <a:lnTo>
                    <a:pt x="246" y="317"/>
                  </a:lnTo>
                  <a:lnTo>
                    <a:pt x="239" y="320"/>
                  </a:lnTo>
                  <a:lnTo>
                    <a:pt x="232" y="324"/>
                  </a:lnTo>
                  <a:lnTo>
                    <a:pt x="228" y="327"/>
                  </a:lnTo>
                  <a:lnTo>
                    <a:pt x="223" y="334"/>
                  </a:lnTo>
                  <a:lnTo>
                    <a:pt x="223" y="334"/>
                  </a:lnTo>
                  <a:lnTo>
                    <a:pt x="218" y="348"/>
                  </a:lnTo>
                  <a:lnTo>
                    <a:pt x="215" y="360"/>
                  </a:lnTo>
                  <a:lnTo>
                    <a:pt x="211" y="373"/>
                  </a:lnTo>
                  <a:lnTo>
                    <a:pt x="204" y="390"/>
                  </a:lnTo>
                  <a:lnTo>
                    <a:pt x="194" y="381"/>
                  </a:lnTo>
                  <a:lnTo>
                    <a:pt x="194" y="381"/>
                  </a:lnTo>
                  <a:lnTo>
                    <a:pt x="199" y="390"/>
                  </a:lnTo>
                  <a:lnTo>
                    <a:pt x="199" y="393"/>
                  </a:lnTo>
                  <a:lnTo>
                    <a:pt x="197" y="395"/>
                  </a:lnTo>
                  <a:lnTo>
                    <a:pt x="194" y="399"/>
                  </a:lnTo>
                  <a:lnTo>
                    <a:pt x="187" y="400"/>
                  </a:lnTo>
                  <a:lnTo>
                    <a:pt x="178" y="400"/>
                  </a:lnTo>
                  <a:lnTo>
                    <a:pt x="171" y="400"/>
                  </a:lnTo>
                  <a:lnTo>
                    <a:pt x="164" y="399"/>
                  </a:lnTo>
                  <a:lnTo>
                    <a:pt x="161" y="397"/>
                  </a:lnTo>
                  <a:lnTo>
                    <a:pt x="161" y="397"/>
                  </a:lnTo>
                  <a:lnTo>
                    <a:pt x="155" y="393"/>
                  </a:lnTo>
                  <a:lnTo>
                    <a:pt x="157" y="397"/>
                  </a:lnTo>
                  <a:lnTo>
                    <a:pt x="157" y="399"/>
                  </a:lnTo>
                  <a:lnTo>
                    <a:pt x="155" y="402"/>
                  </a:lnTo>
                  <a:lnTo>
                    <a:pt x="154" y="404"/>
                  </a:lnTo>
                  <a:lnTo>
                    <a:pt x="148" y="407"/>
                  </a:lnTo>
                  <a:lnTo>
                    <a:pt x="148" y="407"/>
                  </a:lnTo>
                  <a:lnTo>
                    <a:pt x="141" y="409"/>
                  </a:lnTo>
                  <a:lnTo>
                    <a:pt x="136" y="409"/>
                  </a:lnTo>
                  <a:lnTo>
                    <a:pt x="122" y="409"/>
                  </a:lnTo>
                  <a:lnTo>
                    <a:pt x="122" y="409"/>
                  </a:lnTo>
                  <a:lnTo>
                    <a:pt x="117" y="409"/>
                  </a:lnTo>
                  <a:lnTo>
                    <a:pt x="114" y="407"/>
                  </a:lnTo>
                  <a:lnTo>
                    <a:pt x="107" y="400"/>
                  </a:lnTo>
                  <a:lnTo>
                    <a:pt x="101" y="392"/>
                  </a:lnTo>
                  <a:lnTo>
                    <a:pt x="96" y="381"/>
                  </a:lnTo>
                  <a:lnTo>
                    <a:pt x="89" y="360"/>
                  </a:lnTo>
                  <a:lnTo>
                    <a:pt x="84" y="346"/>
                  </a:lnTo>
                  <a:lnTo>
                    <a:pt x="84" y="346"/>
                  </a:lnTo>
                  <a:lnTo>
                    <a:pt x="72" y="331"/>
                  </a:lnTo>
                  <a:lnTo>
                    <a:pt x="67" y="327"/>
                  </a:lnTo>
                  <a:lnTo>
                    <a:pt x="63" y="324"/>
                  </a:lnTo>
                  <a:lnTo>
                    <a:pt x="53" y="320"/>
                  </a:lnTo>
                  <a:lnTo>
                    <a:pt x="40" y="320"/>
                  </a:lnTo>
                  <a:lnTo>
                    <a:pt x="40" y="320"/>
                  </a:lnTo>
                  <a:lnTo>
                    <a:pt x="32" y="319"/>
                  </a:lnTo>
                  <a:lnTo>
                    <a:pt x="28" y="317"/>
                  </a:lnTo>
                  <a:lnTo>
                    <a:pt x="26" y="315"/>
                  </a:lnTo>
                  <a:lnTo>
                    <a:pt x="25" y="317"/>
                  </a:lnTo>
                  <a:lnTo>
                    <a:pt x="25" y="317"/>
                  </a:lnTo>
                  <a:lnTo>
                    <a:pt x="21" y="320"/>
                  </a:lnTo>
                  <a:lnTo>
                    <a:pt x="16" y="320"/>
                  </a:lnTo>
                  <a:lnTo>
                    <a:pt x="0" y="322"/>
                  </a:lnTo>
                  <a:lnTo>
                    <a:pt x="0" y="322"/>
                  </a:lnTo>
                  <a:lnTo>
                    <a:pt x="4" y="298"/>
                  </a:lnTo>
                  <a:lnTo>
                    <a:pt x="4" y="277"/>
                  </a:lnTo>
                  <a:lnTo>
                    <a:pt x="2" y="230"/>
                  </a:lnTo>
                  <a:lnTo>
                    <a:pt x="2" y="230"/>
                  </a:lnTo>
                  <a:lnTo>
                    <a:pt x="2" y="219"/>
                  </a:lnTo>
                  <a:lnTo>
                    <a:pt x="4" y="212"/>
                  </a:lnTo>
                  <a:lnTo>
                    <a:pt x="6" y="209"/>
                  </a:lnTo>
                  <a:lnTo>
                    <a:pt x="7" y="207"/>
                  </a:lnTo>
                  <a:lnTo>
                    <a:pt x="13" y="204"/>
                  </a:lnTo>
                  <a:lnTo>
                    <a:pt x="14" y="202"/>
                  </a:lnTo>
                  <a:lnTo>
                    <a:pt x="16" y="195"/>
                  </a:lnTo>
                  <a:lnTo>
                    <a:pt x="16" y="195"/>
                  </a:lnTo>
                  <a:lnTo>
                    <a:pt x="19" y="185"/>
                  </a:lnTo>
                  <a:lnTo>
                    <a:pt x="25" y="178"/>
                  </a:lnTo>
                  <a:lnTo>
                    <a:pt x="30" y="167"/>
                  </a:lnTo>
                  <a:lnTo>
                    <a:pt x="39" y="150"/>
                  </a:lnTo>
                  <a:lnTo>
                    <a:pt x="39" y="150"/>
                  </a:lnTo>
                  <a:lnTo>
                    <a:pt x="40" y="139"/>
                  </a:lnTo>
                  <a:lnTo>
                    <a:pt x="40" y="131"/>
                  </a:lnTo>
                  <a:lnTo>
                    <a:pt x="39" y="125"/>
                  </a:lnTo>
                  <a:lnTo>
                    <a:pt x="37" y="118"/>
                  </a:lnTo>
                  <a:lnTo>
                    <a:pt x="33" y="113"/>
                  </a:lnTo>
                  <a:lnTo>
                    <a:pt x="30" y="108"/>
                  </a:lnTo>
                  <a:lnTo>
                    <a:pt x="30" y="103"/>
                  </a:lnTo>
                  <a:lnTo>
                    <a:pt x="32" y="94"/>
                  </a:lnTo>
                  <a:lnTo>
                    <a:pt x="32" y="94"/>
                  </a:lnTo>
                  <a:lnTo>
                    <a:pt x="33" y="89"/>
                  </a:lnTo>
                  <a:lnTo>
                    <a:pt x="33" y="84"/>
                  </a:lnTo>
                  <a:lnTo>
                    <a:pt x="33" y="71"/>
                  </a:lnTo>
                  <a:lnTo>
                    <a:pt x="33" y="66"/>
                  </a:lnTo>
                  <a:lnTo>
                    <a:pt x="35" y="61"/>
                  </a:lnTo>
                  <a:lnTo>
                    <a:pt x="37" y="56"/>
                  </a:lnTo>
                  <a:lnTo>
                    <a:pt x="40" y="52"/>
                  </a:lnTo>
                  <a:lnTo>
                    <a:pt x="40" y="52"/>
                  </a:lnTo>
                  <a:lnTo>
                    <a:pt x="46" y="49"/>
                  </a:lnTo>
                  <a:lnTo>
                    <a:pt x="47" y="44"/>
                  </a:lnTo>
                  <a:lnTo>
                    <a:pt x="49" y="35"/>
                  </a:lnTo>
                  <a:lnTo>
                    <a:pt x="49" y="24"/>
                  </a:lnTo>
                  <a:lnTo>
                    <a:pt x="51" y="21"/>
                  </a:lnTo>
                  <a:lnTo>
                    <a:pt x="54" y="17"/>
                  </a:lnTo>
                  <a:lnTo>
                    <a:pt x="54" y="17"/>
                  </a:lnTo>
                  <a:lnTo>
                    <a:pt x="60" y="12"/>
                  </a:lnTo>
                  <a:lnTo>
                    <a:pt x="67" y="9"/>
                  </a:lnTo>
                  <a:lnTo>
                    <a:pt x="73" y="7"/>
                  </a:lnTo>
                  <a:lnTo>
                    <a:pt x="82" y="9"/>
                  </a:lnTo>
                  <a:lnTo>
                    <a:pt x="82" y="9"/>
                  </a:lnTo>
                  <a:lnTo>
                    <a:pt x="87" y="9"/>
                  </a:lnTo>
                  <a:lnTo>
                    <a:pt x="91" y="7"/>
                  </a:lnTo>
                  <a:lnTo>
                    <a:pt x="94" y="3"/>
                  </a:lnTo>
                  <a:lnTo>
                    <a:pt x="96" y="2"/>
                  </a:lnTo>
                  <a:lnTo>
                    <a:pt x="98" y="0"/>
                  </a:lnTo>
                  <a:lnTo>
                    <a:pt x="101" y="0"/>
                  </a:lnTo>
                  <a:lnTo>
                    <a:pt x="105" y="2"/>
                  </a:lnTo>
                  <a:lnTo>
                    <a:pt x="105" y="2"/>
                  </a:lnTo>
                  <a:lnTo>
                    <a:pt x="115" y="5"/>
                  </a:lnTo>
                  <a:lnTo>
                    <a:pt x="124" y="9"/>
                  </a:lnTo>
                  <a:lnTo>
                    <a:pt x="129" y="10"/>
                  </a:lnTo>
                  <a:lnTo>
                    <a:pt x="133" y="14"/>
                  </a:lnTo>
                  <a:lnTo>
                    <a:pt x="136" y="17"/>
                  </a:lnTo>
                  <a:lnTo>
                    <a:pt x="140" y="24"/>
                  </a:lnTo>
                  <a:lnTo>
                    <a:pt x="140" y="24"/>
                  </a:lnTo>
                  <a:lnTo>
                    <a:pt x="143" y="33"/>
                  </a:lnTo>
                  <a:lnTo>
                    <a:pt x="150" y="37"/>
                  </a:lnTo>
                  <a:lnTo>
                    <a:pt x="155" y="37"/>
                  </a:lnTo>
                  <a:lnTo>
                    <a:pt x="161" y="35"/>
                  </a:lnTo>
                  <a:lnTo>
                    <a:pt x="173" y="28"/>
                  </a:lnTo>
                  <a:lnTo>
                    <a:pt x="178" y="24"/>
                  </a:lnTo>
                  <a:lnTo>
                    <a:pt x="183" y="23"/>
                  </a:lnTo>
                  <a:lnTo>
                    <a:pt x="183" y="23"/>
                  </a:lnTo>
                  <a:lnTo>
                    <a:pt x="187" y="24"/>
                  </a:lnTo>
                  <a:lnTo>
                    <a:pt x="192" y="26"/>
                  </a:lnTo>
                  <a:lnTo>
                    <a:pt x="201" y="33"/>
                  </a:lnTo>
                  <a:lnTo>
                    <a:pt x="213" y="42"/>
                  </a:lnTo>
                  <a:lnTo>
                    <a:pt x="220" y="44"/>
                  </a:lnTo>
                  <a:lnTo>
                    <a:pt x="228" y="45"/>
                  </a:lnTo>
                  <a:lnTo>
                    <a:pt x="228" y="45"/>
                  </a:lnTo>
                  <a:lnTo>
                    <a:pt x="237" y="45"/>
                  </a:lnTo>
                  <a:lnTo>
                    <a:pt x="242" y="44"/>
                  </a:lnTo>
                  <a:lnTo>
                    <a:pt x="246" y="42"/>
                  </a:lnTo>
                  <a:lnTo>
                    <a:pt x="249" y="38"/>
                  </a:lnTo>
                  <a:lnTo>
                    <a:pt x="255" y="33"/>
                  </a:lnTo>
                  <a:lnTo>
                    <a:pt x="260" y="30"/>
                  </a:lnTo>
                  <a:lnTo>
                    <a:pt x="268" y="26"/>
                  </a:lnTo>
                  <a:lnTo>
                    <a:pt x="281" y="23"/>
                  </a:lnTo>
                  <a:lnTo>
                    <a:pt x="281" y="23"/>
                  </a:lnTo>
                  <a:lnTo>
                    <a:pt x="295" y="21"/>
                  </a:lnTo>
                  <a:lnTo>
                    <a:pt x="305" y="23"/>
                  </a:lnTo>
                  <a:lnTo>
                    <a:pt x="316" y="26"/>
                  </a:lnTo>
                  <a:lnTo>
                    <a:pt x="324" y="31"/>
                  </a:lnTo>
                  <a:lnTo>
                    <a:pt x="333" y="35"/>
                  </a:lnTo>
                  <a:lnTo>
                    <a:pt x="338" y="37"/>
                  </a:lnTo>
                  <a:lnTo>
                    <a:pt x="343" y="35"/>
                  </a:lnTo>
                  <a:lnTo>
                    <a:pt x="349" y="30"/>
                  </a:lnTo>
                  <a:lnTo>
                    <a:pt x="349" y="30"/>
                  </a:lnTo>
                  <a:lnTo>
                    <a:pt x="354" y="19"/>
                  </a:lnTo>
                  <a:lnTo>
                    <a:pt x="357" y="17"/>
                  </a:lnTo>
                  <a:lnTo>
                    <a:pt x="359" y="16"/>
                  </a:lnTo>
                  <a:lnTo>
                    <a:pt x="369" y="14"/>
                  </a:lnTo>
                  <a:lnTo>
                    <a:pt x="383" y="9"/>
                  </a:lnTo>
                  <a:lnTo>
                    <a:pt x="399" y="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9" name="Freeform 1764">
              <a:extLst>
                <a:ext uri="{FF2B5EF4-FFF2-40B4-BE49-F238E27FC236}">
                  <a16:creationId xmlns:a16="http://schemas.microsoft.com/office/drawing/2014/main" id="{8F31A717-C3DF-4788-A20F-4D73C0B20184}"/>
                </a:ext>
              </a:extLst>
            </p:cNvPr>
            <p:cNvSpPr>
              <a:spLocks/>
            </p:cNvSpPr>
            <p:nvPr/>
          </p:nvSpPr>
          <p:spPr bwMode="auto">
            <a:xfrm>
              <a:off x="5130280" y="4141763"/>
              <a:ext cx="366495" cy="297780"/>
            </a:xfrm>
            <a:custGeom>
              <a:avLst/>
              <a:gdLst/>
              <a:ahLst/>
              <a:cxnLst>
                <a:cxn ang="0">
                  <a:pos x="446" y="249"/>
                </a:cxn>
                <a:cxn ang="0">
                  <a:pos x="435" y="251"/>
                </a:cxn>
                <a:cxn ang="0">
                  <a:pos x="411" y="246"/>
                </a:cxn>
                <a:cxn ang="0">
                  <a:pos x="383" y="244"/>
                </a:cxn>
                <a:cxn ang="0">
                  <a:pos x="371" y="256"/>
                </a:cxn>
                <a:cxn ang="0">
                  <a:pos x="353" y="255"/>
                </a:cxn>
                <a:cxn ang="0">
                  <a:pos x="322" y="267"/>
                </a:cxn>
                <a:cxn ang="0">
                  <a:pos x="298" y="262"/>
                </a:cxn>
                <a:cxn ang="0">
                  <a:pos x="289" y="275"/>
                </a:cxn>
                <a:cxn ang="0">
                  <a:pos x="265" y="291"/>
                </a:cxn>
                <a:cxn ang="0">
                  <a:pos x="219" y="279"/>
                </a:cxn>
                <a:cxn ang="0">
                  <a:pos x="205" y="267"/>
                </a:cxn>
                <a:cxn ang="0">
                  <a:pos x="186" y="251"/>
                </a:cxn>
                <a:cxn ang="0">
                  <a:pos x="160" y="258"/>
                </a:cxn>
                <a:cxn ang="0">
                  <a:pos x="148" y="279"/>
                </a:cxn>
                <a:cxn ang="0">
                  <a:pos x="146" y="319"/>
                </a:cxn>
                <a:cxn ang="0">
                  <a:pos x="132" y="316"/>
                </a:cxn>
                <a:cxn ang="0">
                  <a:pos x="113" y="312"/>
                </a:cxn>
                <a:cxn ang="0">
                  <a:pos x="101" y="312"/>
                </a:cxn>
                <a:cxn ang="0">
                  <a:pos x="84" y="314"/>
                </a:cxn>
                <a:cxn ang="0">
                  <a:pos x="70" y="333"/>
                </a:cxn>
                <a:cxn ang="0">
                  <a:pos x="61" y="373"/>
                </a:cxn>
                <a:cxn ang="0">
                  <a:pos x="47" y="328"/>
                </a:cxn>
                <a:cxn ang="0">
                  <a:pos x="23" y="303"/>
                </a:cxn>
                <a:cxn ang="0">
                  <a:pos x="19" y="279"/>
                </a:cxn>
                <a:cxn ang="0">
                  <a:pos x="7" y="258"/>
                </a:cxn>
                <a:cxn ang="0">
                  <a:pos x="5" y="228"/>
                </a:cxn>
                <a:cxn ang="0">
                  <a:pos x="2" y="209"/>
                </a:cxn>
                <a:cxn ang="0">
                  <a:pos x="12" y="195"/>
                </a:cxn>
                <a:cxn ang="0">
                  <a:pos x="42" y="148"/>
                </a:cxn>
                <a:cxn ang="0">
                  <a:pos x="61" y="145"/>
                </a:cxn>
                <a:cxn ang="0">
                  <a:pos x="73" y="136"/>
                </a:cxn>
                <a:cxn ang="0">
                  <a:pos x="87" y="145"/>
                </a:cxn>
                <a:cxn ang="0">
                  <a:pos x="110" y="131"/>
                </a:cxn>
                <a:cxn ang="0">
                  <a:pos x="143" y="124"/>
                </a:cxn>
                <a:cxn ang="0">
                  <a:pos x="158" y="107"/>
                </a:cxn>
                <a:cxn ang="0">
                  <a:pos x="155" y="91"/>
                </a:cxn>
                <a:cxn ang="0">
                  <a:pos x="162" y="86"/>
                </a:cxn>
                <a:cxn ang="0">
                  <a:pos x="209" y="75"/>
                </a:cxn>
                <a:cxn ang="0">
                  <a:pos x="242" y="40"/>
                </a:cxn>
                <a:cxn ang="0">
                  <a:pos x="254" y="21"/>
                </a:cxn>
                <a:cxn ang="0">
                  <a:pos x="272" y="4"/>
                </a:cxn>
                <a:cxn ang="0">
                  <a:pos x="296" y="2"/>
                </a:cxn>
                <a:cxn ang="0">
                  <a:pos x="320" y="44"/>
                </a:cxn>
                <a:cxn ang="0">
                  <a:pos x="322" y="72"/>
                </a:cxn>
                <a:cxn ang="0">
                  <a:pos x="331" y="100"/>
                </a:cxn>
                <a:cxn ang="0">
                  <a:pos x="341" y="107"/>
                </a:cxn>
                <a:cxn ang="0">
                  <a:pos x="350" y="117"/>
                </a:cxn>
                <a:cxn ang="0">
                  <a:pos x="373" y="127"/>
                </a:cxn>
                <a:cxn ang="0">
                  <a:pos x="376" y="147"/>
                </a:cxn>
                <a:cxn ang="0">
                  <a:pos x="390" y="159"/>
                </a:cxn>
                <a:cxn ang="0">
                  <a:pos x="418" y="192"/>
                </a:cxn>
                <a:cxn ang="0">
                  <a:pos x="428" y="211"/>
                </a:cxn>
                <a:cxn ang="0">
                  <a:pos x="446" y="221"/>
                </a:cxn>
                <a:cxn ang="0">
                  <a:pos x="458" y="256"/>
                </a:cxn>
              </a:cxnLst>
              <a:rect l="0" t="0" r="r" b="b"/>
              <a:pathLst>
                <a:path w="458" h="373">
                  <a:moveTo>
                    <a:pt x="458" y="256"/>
                  </a:moveTo>
                  <a:lnTo>
                    <a:pt x="458" y="256"/>
                  </a:lnTo>
                  <a:lnTo>
                    <a:pt x="451" y="253"/>
                  </a:lnTo>
                  <a:lnTo>
                    <a:pt x="446" y="249"/>
                  </a:lnTo>
                  <a:lnTo>
                    <a:pt x="441" y="248"/>
                  </a:lnTo>
                  <a:lnTo>
                    <a:pt x="439" y="249"/>
                  </a:lnTo>
                  <a:lnTo>
                    <a:pt x="435" y="251"/>
                  </a:lnTo>
                  <a:lnTo>
                    <a:pt x="435" y="251"/>
                  </a:lnTo>
                  <a:lnTo>
                    <a:pt x="434" y="253"/>
                  </a:lnTo>
                  <a:lnTo>
                    <a:pt x="432" y="255"/>
                  </a:lnTo>
                  <a:lnTo>
                    <a:pt x="425" y="253"/>
                  </a:lnTo>
                  <a:lnTo>
                    <a:pt x="411" y="246"/>
                  </a:lnTo>
                  <a:lnTo>
                    <a:pt x="402" y="242"/>
                  </a:lnTo>
                  <a:lnTo>
                    <a:pt x="394" y="241"/>
                  </a:lnTo>
                  <a:lnTo>
                    <a:pt x="387" y="242"/>
                  </a:lnTo>
                  <a:lnTo>
                    <a:pt x="383" y="244"/>
                  </a:lnTo>
                  <a:lnTo>
                    <a:pt x="380" y="248"/>
                  </a:lnTo>
                  <a:lnTo>
                    <a:pt x="380" y="248"/>
                  </a:lnTo>
                  <a:lnTo>
                    <a:pt x="374" y="255"/>
                  </a:lnTo>
                  <a:lnTo>
                    <a:pt x="371" y="256"/>
                  </a:lnTo>
                  <a:lnTo>
                    <a:pt x="367" y="256"/>
                  </a:lnTo>
                  <a:lnTo>
                    <a:pt x="364" y="256"/>
                  </a:lnTo>
                  <a:lnTo>
                    <a:pt x="359" y="255"/>
                  </a:lnTo>
                  <a:lnTo>
                    <a:pt x="353" y="255"/>
                  </a:lnTo>
                  <a:lnTo>
                    <a:pt x="345" y="256"/>
                  </a:lnTo>
                  <a:lnTo>
                    <a:pt x="334" y="260"/>
                  </a:lnTo>
                  <a:lnTo>
                    <a:pt x="334" y="260"/>
                  </a:lnTo>
                  <a:lnTo>
                    <a:pt x="322" y="267"/>
                  </a:lnTo>
                  <a:lnTo>
                    <a:pt x="312" y="268"/>
                  </a:lnTo>
                  <a:lnTo>
                    <a:pt x="306" y="267"/>
                  </a:lnTo>
                  <a:lnTo>
                    <a:pt x="301" y="265"/>
                  </a:lnTo>
                  <a:lnTo>
                    <a:pt x="298" y="262"/>
                  </a:lnTo>
                  <a:lnTo>
                    <a:pt x="296" y="262"/>
                  </a:lnTo>
                  <a:lnTo>
                    <a:pt x="293" y="265"/>
                  </a:lnTo>
                  <a:lnTo>
                    <a:pt x="289" y="275"/>
                  </a:lnTo>
                  <a:lnTo>
                    <a:pt x="289" y="275"/>
                  </a:lnTo>
                  <a:lnTo>
                    <a:pt x="284" y="284"/>
                  </a:lnTo>
                  <a:lnTo>
                    <a:pt x="279" y="289"/>
                  </a:lnTo>
                  <a:lnTo>
                    <a:pt x="272" y="291"/>
                  </a:lnTo>
                  <a:lnTo>
                    <a:pt x="265" y="291"/>
                  </a:lnTo>
                  <a:lnTo>
                    <a:pt x="246" y="284"/>
                  </a:lnTo>
                  <a:lnTo>
                    <a:pt x="233" y="281"/>
                  </a:lnTo>
                  <a:lnTo>
                    <a:pt x="219" y="279"/>
                  </a:lnTo>
                  <a:lnTo>
                    <a:pt x="219" y="279"/>
                  </a:lnTo>
                  <a:lnTo>
                    <a:pt x="214" y="277"/>
                  </a:lnTo>
                  <a:lnTo>
                    <a:pt x="211" y="275"/>
                  </a:lnTo>
                  <a:lnTo>
                    <a:pt x="209" y="270"/>
                  </a:lnTo>
                  <a:lnTo>
                    <a:pt x="205" y="267"/>
                  </a:lnTo>
                  <a:lnTo>
                    <a:pt x="202" y="262"/>
                  </a:lnTo>
                  <a:lnTo>
                    <a:pt x="197" y="256"/>
                  </a:lnTo>
                  <a:lnTo>
                    <a:pt x="186" y="251"/>
                  </a:lnTo>
                  <a:lnTo>
                    <a:pt x="186" y="251"/>
                  </a:lnTo>
                  <a:lnTo>
                    <a:pt x="178" y="248"/>
                  </a:lnTo>
                  <a:lnTo>
                    <a:pt x="169" y="249"/>
                  </a:lnTo>
                  <a:lnTo>
                    <a:pt x="164" y="253"/>
                  </a:lnTo>
                  <a:lnTo>
                    <a:pt x="160" y="258"/>
                  </a:lnTo>
                  <a:lnTo>
                    <a:pt x="155" y="270"/>
                  </a:lnTo>
                  <a:lnTo>
                    <a:pt x="151" y="275"/>
                  </a:lnTo>
                  <a:lnTo>
                    <a:pt x="148" y="279"/>
                  </a:lnTo>
                  <a:lnTo>
                    <a:pt x="148" y="279"/>
                  </a:lnTo>
                  <a:lnTo>
                    <a:pt x="146" y="282"/>
                  </a:lnTo>
                  <a:lnTo>
                    <a:pt x="143" y="284"/>
                  </a:lnTo>
                  <a:lnTo>
                    <a:pt x="143" y="293"/>
                  </a:lnTo>
                  <a:lnTo>
                    <a:pt x="146" y="319"/>
                  </a:lnTo>
                  <a:lnTo>
                    <a:pt x="146" y="319"/>
                  </a:lnTo>
                  <a:lnTo>
                    <a:pt x="143" y="316"/>
                  </a:lnTo>
                  <a:lnTo>
                    <a:pt x="139" y="316"/>
                  </a:lnTo>
                  <a:lnTo>
                    <a:pt x="132" y="316"/>
                  </a:lnTo>
                  <a:lnTo>
                    <a:pt x="129" y="317"/>
                  </a:lnTo>
                  <a:lnTo>
                    <a:pt x="125" y="317"/>
                  </a:lnTo>
                  <a:lnTo>
                    <a:pt x="120" y="316"/>
                  </a:lnTo>
                  <a:lnTo>
                    <a:pt x="113" y="312"/>
                  </a:lnTo>
                  <a:lnTo>
                    <a:pt x="113" y="312"/>
                  </a:lnTo>
                  <a:lnTo>
                    <a:pt x="110" y="310"/>
                  </a:lnTo>
                  <a:lnTo>
                    <a:pt x="106" y="310"/>
                  </a:lnTo>
                  <a:lnTo>
                    <a:pt x="101" y="312"/>
                  </a:lnTo>
                  <a:lnTo>
                    <a:pt x="96" y="314"/>
                  </a:lnTo>
                  <a:lnTo>
                    <a:pt x="91" y="316"/>
                  </a:lnTo>
                  <a:lnTo>
                    <a:pt x="84" y="314"/>
                  </a:lnTo>
                  <a:lnTo>
                    <a:pt x="84" y="314"/>
                  </a:lnTo>
                  <a:lnTo>
                    <a:pt x="78" y="316"/>
                  </a:lnTo>
                  <a:lnTo>
                    <a:pt x="75" y="319"/>
                  </a:lnTo>
                  <a:lnTo>
                    <a:pt x="71" y="324"/>
                  </a:lnTo>
                  <a:lnTo>
                    <a:pt x="70" y="333"/>
                  </a:lnTo>
                  <a:lnTo>
                    <a:pt x="68" y="352"/>
                  </a:lnTo>
                  <a:lnTo>
                    <a:pt x="64" y="363"/>
                  </a:lnTo>
                  <a:lnTo>
                    <a:pt x="61" y="373"/>
                  </a:lnTo>
                  <a:lnTo>
                    <a:pt x="61" y="373"/>
                  </a:lnTo>
                  <a:lnTo>
                    <a:pt x="59" y="357"/>
                  </a:lnTo>
                  <a:lnTo>
                    <a:pt x="56" y="345"/>
                  </a:lnTo>
                  <a:lnTo>
                    <a:pt x="52" y="335"/>
                  </a:lnTo>
                  <a:lnTo>
                    <a:pt x="47" y="328"/>
                  </a:lnTo>
                  <a:lnTo>
                    <a:pt x="37" y="319"/>
                  </a:lnTo>
                  <a:lnTo>
                    <a:pt x="28" y="309"/>
                  </a:lnTo>
                  <a:lnTo>
                    <a:pt x="28" y="309"/>
                  </a:lnTo>
                  <a:lnTo>
                    <a:pt x="23" y="303"/>
                  </a:lnTo>
                  <a:lnTo>
                    <a:pt x="21" y="300"/>
                  </a:lnTo>
                  <a:lnTo>
                    <a:pt x="21" y="289"/>
                  </a:lnTo>
                  <a:lnTo>
                    <a:pt x="21" y="282"/>
                  </a:lnTo>
                  <a:lnTo>
                    <a:pt x="19" y="279"/>
                  </a:lnTo>
                  <a:lnTo>
                    <a:pt x="17" y="277"/>
                  </a:lnTo>
                  <a:lnTo>
                    <a:pt x="17" y="277"/>
                  </a:lnTo>
                  <a:lnTo>
                    <a:pt x="10" y="270"/>
                  </a:lnTo>
                  <a:lnTo>
                    <a:pt x="7" y="258"/>
                  </a:lnTo>
                  <a:lnTo>
                    <a:pt x="3" y="244"/>
                  </a:lnTo>
                  <a:lnTo>
                    <a:pt x="3" y="237"/>
                  </a:lnTo>
                  <a:lnTo>
                    <a:pt x="5" y="228"/>
                  </a:lnTo>
                  <a:lnTo>
                    <a:pt x="5" y="228"/>
                  </a:lnTo>
                  <a:lnTo>
                    <a:pt x="5" y="220"/>
                  </a:lnTo>
                  <a:lnTo>
                    <a:pt x="5" y="216"/>
                  </a:lnTo>
                  <a:lnTo>
                    <a:pt x="3" y="213"/>
                  </a:lnTo>
                  <a:lnTo>
                    <a:pt x="2" y="209"/>
                  </a:lnTo>
                  <a:lnTo>
                    <a:pt x="0" y="208"/>
                  </a:lnTo>
                  <a:lnTo>
                    <a:pt x="3" y="204"/>
                  </a:lnTo>
                  <a:lnTo>
                    <a:pt x="3" y="204"/>
                  </a:lnTo>
                  <a:lnTo>
                    <a:pt x="12" y="195"/>
                  </a:lnTo>
                  <a:lnTo>
                    <a:pt x="19" y="183"/>
                  </a:lnTo>
                  <a:lnTo>
                    <a:pt x="37" y="145"/>
                  </a:lnTo>
                  <a:lnTo>
                    <a:pt x="37" y="145"/>
                  </a:lnTo>
                  <a:lnTo>
                    <a:pt x="42" y="148"/>
                  </a:lnTo>
                  <a:lnTo>
                    <a:pt x="47" y="148"/>
                  </a:lnTo>
                  <a:lnTo>
                    <a:pt x="51" y="150"/>
                  </a:lnTo>
                  <a:lnTo>
                    <a:pt x="54" y="148"/>
                  </a:lnTo>
                  <a:lnTo>
                    <a:pt x="61" y="145"/>
                  </a:lnTo>
                  <a:lnTo>
                    <a:pt x="68" y="138"/>
                  </a:lnTo>
                  <a:lnTo>
                    <a:pt x="68" y="138"/>
                  </a:lnTo>
                  <a:lnTo>
                    <a:pt x="70" y="134"/>
                  </a:lnTo>
                  <a:lnTo>
                    <a:pt x="73" y="136"/>
                  </a:lnTo>
                  <a:lnTo>
                    <a:pt x="77" y="141"/>
                  </a:lnTo>
                  <a:lnTo>
                    <a:pt x="80" y="143"/>
                  </a:lnTo>
                  <a:lnTo>
                    <a:pt x="82" y="145"/>
                  </a:lnTo>
                  <a:lnTo>
                    <a:pt x="87" y="145"/>
                  </a:lnTo>
                  <a:lnTo>
                    <a:pt x="91" y="141"/>
                  </a:lnTo>
                  <a:lnTo>
                    <a:pt x="91" y="141"/>
                  </a:lnTo>
                  <a:lnTo>
                    <a:pt x="101" y="134"/>
                  </a:lnTo>
                  <a:lnTo>
                    <a:pt x="110" y="131"/>
                  </a:lnTo>
                  <a:lnTo>
                    <a:pt x="118" y="127"/>
                  </a:lnTo>
                  <a:lnTo>
                    <a:pt x="127" y="127"/>
                  </a:lnTo>
                  <a:lnTo>
                    <a:pt x="134" y="126"/>
                  </a:lnTo>
                  <a:lnTo>
                    <a:pt x="143" y="124"/>
                  </a:lnTo>
                  <a:lnTo>
                    <a:pt x="150" y="120"/>
                  </a:lnTo>
                  <a:lnTo>
                    <a:pt x="155" y="115"/>
                  </a:lnTo>
                  <a:lnTo>
                    <a:pt x="155" y="115"/>
                  </a:lnTo>
                  <a:lnTo>
                    <a:pt x="158" y="107"/>
                  </a:lnTo>
                  <a:lnTo>
                    <a:pt x="160" y="101"/>
                  </a:lnTo>
                  <a:lnTo>
                    <a:pt x="160" y="98"/>
                  </a:lnTo>
                  <a:lnTo>
                    <a:pt x="158" y="96"/>
                  </a:lnTo>
                  <a:lnTo>
                    <a:pt x="155" y="91"/>
                  </a:lnTo>
                  <a:lnTo>
                    <a:pt x="155" y="89"/>
                  </a:lnTo>
                  <a:lnTo>
                    <a:pt x="157" y="87"/>
                  </a:lnTo>
                  <a:lnTo>
                    <a:pt x="157" y="87"/>
                  </a:lnTo>
                  <a:lnTo>
                    <a:pt x="162" y="86"/>
                  </a:lnTo>
                  <a:lnTo>
                    <a:pt x="169" y="84"/>
                  </a:lnTo>
                  <a:lnTo>
                    <a:pt x="188" y="82"/>
                  </a:lnTo>
                  <a:lnTo>
                    <a:pt x="199" y="79"/>
                  </a:lnTo>
                  <a:lnTo>
                    <a:pt x="209" y="75"/>
                  </a:lnTo>
                  <a:lnTo>
                    <a:pt x="219" y="68"/>
                  </a:lnTo>
                  <a:lnTo>
                    <a:pt x="228" y="58"/>
                  </a:lnTo>
                  <a:lnTo>
                    <a:pt x="228" y="58"/>
                  </a:lnTo>
                  <a:lnTo>
                    <a:pt x="242" y="40"/>
                  </a:lnTo>
                  <a:lnTo>
                    <a:pt x="251" y="33"/>
                  </a:lnTo>
                  <a:lnTo>
                    <a:pt x="254" y="28"/>
                  </a:lnTo>
                  <a:lnTo>
                    <a:pt x="254" y="21"/>
                  </a:lnTo>
                  <a:lnTo>
                    <a:pt x="254" y="21"/>
                  </a:lnTo>
                  <a:lnTo>
                    <a:pt x="254" y="16"/>
                  </a:lnTo>
                  <a:lnTo>
                    <a:pt x="259" y="13"/>
                  </a:lnTo>
                  <a:lnTo>
                    <a:pt x="265" y="7"/>
                  </a:lnTo>
                  <a:lnTo>
                    <a:pt x="272" y="4"/>
                  </a:lnTo>
                  <a:lnTo>
                    <a:pt x="279" y="2"/>
                  </a:lnTo>
                  <a:lnTo>
                    <a:pt x="286" y="0"/>
                  </a:lnTo>
                  <a:lnTo>
                    <a:pt x="293" y="0"/>
                  </a:lnTo>
                  <a:lnTo>
                    <a:pt x="296" y="2"/>
                  </a:lnTo>
                  <a:lnTo>
                    <a:pt x="296" y="2"/>
                  </a:lnTo>
                  <a:lnTo>
                    <a:pt x="308" y="20"/>
                  </a:lnTo>
                  <a:lnTo>
                    <a:pt x="317" y="35"/>
                  </a:lnTo>
                  <a:lnTo>
                    <a:pt x="320" y="44"/>
                  </a:lnTo>
                  <a:lnTo>
                    <a:pt x="322" y="53"/>
                  </a:lnTo>
                  <a:lnTo>
                    <a:pt x="324" y="61"/>
                  </a:lnTo>
                  <a:lnTo>
                    <a:pt x="322" y="72"/>
                  </a:lnTo>
                  <a:lnTo>
                    <a:pt x="322" y="72"/>
                  </a:lnTo>
                  <a:lnTo>
                    <a:pt x="320" y="86"/>
                  </a:lnTo>
                  <a:lnTo>
                    <a:pt x="320" y="94"/>
                  </a:lnTo>
                  <a:lnTo>
                    <a:pt x="326" y="98"/>
                  </a:lnTo>
                  <a:lnTo>
                    <a:pt x="331" y="100"/>
                  </a:lnTo>
                  <a:lnTo>
                    <a:pt x="341" y="100"/>
                  </a:lnTo>
                  <a:lnTo>
                    <a:pt x="343" y="101"/>
                  </a:lnTo>
                  <a:lnTo>
                    <a:pt x="341" y="107"/>
                  </a:lnTo>
                  <a:lnTo>
                    <a:pt x="341" y="107"/>
                  </a:lnTo>
                  <a:lnTo>
                    <a:pt x="341" y="112"/>
                  </a:lnTo>
                  <a:lnTo>
                    <a:pt x="341" y="114"/>
                  </a:lnTo>
                  <a:lnTo>
                    <a:pt x="345" y="115"/>
                  </a:lnTo>
                  <a:lnTo>
                    <a:pt x="350" y="117"/>
                  </a:lnTo>
                  <a:lnTo>
                    <a:pt x="362" y="120"/>
                  </a:lnTo>
                  <a:lnTo>
                    <a:pt x="367" y="122"/>
                  </a:lnTo>
                  <a:lnTo>
                    <a:pt x="373" y="127"/>
                  </a:lnTo>
                  <a:lnTo>
                    <a:pt x="373" y="127"/>
                  </a:lnTo>
                  <a:lnTo>
                    <a:pt x="378" y="134"/>
                  </a:lnTo>
                  <a:lnTo>
                    <a:pt x="378" y="138"/>
                  </a:lnTo>
                  <a:lnTo>
                    <a:pt x="378" y="143"/>
                  </a:lnTo>
                  <a:lnTo>
                    <a:pt x="376" y="147"/>
                  </a:lnTo>
                  <a:lnTo>
                    <a:pt x="378" y="148"/>
                  </a:lnTo>
                  <a:lnTo>
                    <a:pt x="381" y="154"/>
                  </a:lnTo>
                  <a:lnTo>
                    <a:pt x="390" y="159"/>
                  </a:lnTo>
                  <a:lnTo>
                    <a:pt x="390" y="159"/>
                  </a:lnTo>
                  <a:lnTo>
                    <a:pt x="406" y="171"/>
                  </a:lnTo>
                  <a:lnTo>
                    <a:pt x="414" y="178"/>
                  </a:lnTo>
                  <a:lnTo>
                    <a:pt x="418" y="183"/>
                  </a:lnTo>
                  <a:lnTo>
                    <a:pt x="418" y="192"/>
                  </a:lnTo>
                  <a:lnTo>
                    <a:pt x="418" y="192"/>
                  </a:lnTo>
                  <a:lnTo>
                    <a:pt x="418" y="199"/>
                  </a:lnTo>
                  <a:lnTo>
                    <a:pt x="421" y="206"/>
                  </a:lnTo>
                  <a:lnTo>
                    <a:pt x="428" y="211"/>
                  </a:lnTo>
                  <a:lnTo>
                    <a:pt x="439" y="216"/>
                  </a:lnTo>
                  <a:lnTo>
                    <a:pt x="439" y="216"/>
                  </a:lnTo>
                  <a:lnTo>
                    <a:pt x="442" y="220"/>
                  </a:lnTo>
                  <a:lnTo>
                    <a:pt x="446" y="221"/>
                  </a:lnTo>
                  <a:lnTo>
                    <a:pt x="449" y="232"/>
                  </a:lnTo>
                  <a:lnTo>
                    <a:pt x="453" y="242"/>
                  </a:lnTo>
                  <a:lnTo>
                    <a:pt x="458" y="256"/>
                  </a:lnTo>
                  <a:lnTo>
                    <a:pt x="458" y="25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0" name="Freeform 1765">
              <a:extLst>
                <a:ext uri="{FF2B5EF4-FFF2-40B4-BE49-F238E27FC236}">
                  <a16:creationId xmlns:a16="http://schemas.microsoft.com/office/drawing/2014/main" id="{EDF8ECA0-4938-4F4E-9D03-0F7FD2A86293}"/>
                </a:ext>
              </a:extLst>
            </p:cNvPr>
            <p:cNvSpPr>
              <a:spLocks/>
            </p:cNvSpPr>
            <p:nvPr/>
          </p:nvSpPr>
          <p:spPr bwMode="auto">
            <a:xfrm>
              <a:off x="4961125" y="4069517"/>
              <a:ext cx="216727" cy="391166"/>
            </a:xfrm>
            <a:custGeom>
              <a:avLst/>
              <a:gdLst/>
              <a:ahLst/>
              <a:cxnLst>
                <a:cxn ang="0">
                  <a:pos x="225" y="468"/>
                </a:cxn>
                <a:cxn ang="0">
                  <a:pos x="249" y="475"/>
                </a:cxn>
                <a:cxn ang="0">
                  <a:pos x="265" y="487"/>
                </a:cxn>
                <a:cxn ang="0">
                  <a:pos x="268" y="482"/>
                </a:cxn>
                <a:cxn ang="0">
                  <a:pos x="270" y="463"/>
                </a:cxn>
                <a:cxn ang="0">
                  <a:pos x="261" y="425"/>
                </a:cxn>
                <a:cxn ang="0">
                  <a:pos x="237" y="399"/>
                </a:cxn>
                <a:cxn ang="0">
                  <a:pos x="230" y="372"/>
                </a:cxn>
                <a:cxn ang="0">
                  <a:pos x="219" y="360"/>
                </a:cxn>
                <a:cxn ang="0">
                  <a:pos x="214" y="318"/>
                </a:cxn>
                <a:cxn ang="0">
                  <a:pos x="212" y="303"/>
                </a:cxn>
                <a:cxn ang="0">
                  <a:pos x="212" y="294"/>
                </a:cxn>
                <a:cxn ang="0">
                  <a:pos x="246" y="235"/>
                </a:cxn>
                <a:cxn ang="0">
                  <a:pos x="240" y="209"/>
                </a:cxn>
                <a:cxn ang="0">
                  <a:pos x="232" y="191"/>
                </a:cxn>
                <a:cxn ang="0">
                  <a:pos x="195" y="155"/>
                </a:cxn>
                <a:cxn ang="0">
                  <a:pos x="195" y="139"/>
                </a:cxn>
                <a:cxn ang="0">
                  <a:pos x="209" y="132"/>
                </a:cxn>
                <a:cxn ang="0">
                  <a:pos x="237" y="136"/>
                </a:cxn>
                <a:cxn ang="0">
                  <a:pos x="240" y="122"/>
                </a:cxn>
                <a:cxn ang="0">
                  <a:pos x="230" y="82"/>
                </a:cxn>
                <a:cxn ang="0">
                  <a:pos x="228" y="43"/>
                </a:cxn>
                <a:cxn ang="0">
                  <a:pos x="223" y="29"/>
                </a:cxn>
                <a:cxn ang="0">
                  <a:pos x="218" y="15"/>
                </a:cxn>
                <a:cxn ang="0">
                  <a:pos x="214" y="3"/>
                </a:cxn>
                <a:cxn ang="0">
                  <a:pos x="195" y="15"/>
                </a:cxn>
                <a:cxn ang="0">
                  <a:pos x="211" y="35"/>
                </a:cxn>
                <a:cxn ang="0">
                  <a:pos x="214" y="54"/>
                </a:cxn>
                <a:cxn ang="0">
                  <a:pos x="197" y="82"/>
                </a:cxn>
                <a:cxn ang="0">
                  <a:pos x="172" y="125"/>
                </a:cxn>
                <a:cxn ang="0">
                  <a:pos x="152" y="186"/>
                </a:cxn>
                <a:cxn ang="0">
                  <a:pos x="138" y="197"/>
                </a:cxn>
                <a:cxn ang="0">
                  <a:pos x="117" y="256"/>
                </a:cxn>
                <a:cxn ang="0">
                  <a:pos x="101" y="282"/>
                </a:cxn>
                <a:cxn ang="0">
                  <a:pos x="85" y="268"/>
                </a:cxn>
                <a:cxn ang="0">
                  <a:pos x="66" y="258"/>
                </a:cxn>
                <a:cxn ang="0">
                  <a:pos x="49" y="268"/>
                </a:cxn>
                <a:cxn ang="0">
                  <a:pos x="42" y="282"/>
                </a:cxn>
                <a:cxn ang="0">
                  <a:pos x="19" y="299"/>
                </a:cxn>
                <a:cxn ang="0">
                  <a:pos x="7" y="338"/>
                </a:cxn>
                <a:cxn ang="0">
                  <a:pos x="2" y="365"/>
                </a:cxn>
                <a:cxn ang="0">
                  <a:pos x="12" y="364"/>
                </a:cxn>
                <a:cxn ang="0">
                  <a:pos x="19" y="385"/>
                </a:cxn>
                <a:cxn ang="0">
                  <a:pos x="31" y="388"/>
                </a:cxn>
                <a:cxn ang="0">
                  <a:pos x="40" y="385"/>
                </a:cxn>
                <a:cxn ang="0">
                  <a:pos x="40" y="393"/>
                </a:cxn>
                <a:cxn ang="0">
                  <a:pos x="38" y="400"/>
                </a:cxn>
                <a:cxn ang="0">
                  <a:pos x="45" y="414"/>
                </a:cxn>
                <a:cxn ang="0">
                  <a:pos x="49" y="435"/>
                </a:cxn>
                <a:cxn ang="0">
                  <a:pos x="54" y="463"/>
                </a:cxn>
                <a:cxn ang="0">
                  <a:pos x="99" y="465"/>
                </a:cxn>
                <a:cxn ang="0">
                  <a:pos x="139" y="459"/>
                </a:cxn>
                <a:cxn ang="0">
                  <a:pos x="167" y="465"/>
                </a:cxn>
              </a:cxnLst>
              <a:rect l="0" t="0" r="r" b="b"/>
              <a:pathLst>
                <a:path w="270" h="487">
                  <a:moveTo>
                    <a:pt x="167" y="465"/>
                  </a:moveTo>
                  <a:lnTo>
                    <a:pt x="216" y="465"/>
                  </a:lnTo>
                  <a:lnTo>
                    <a:pt x="216" y="465"/>
                  </a:lnTo>
                  <a:lnTo>
                    <a:pt x="225" y="468"/>
                  </a:lnTo>
                  <a:lnTo>
                    <a:pt x="235" y="472"/>
                  </a:lnTo>
                  <a:lnTo>
                    <a:pt x="244" y="473"/>
                  </a:lnTo>
                  <a:lnTo>
                    <a:pt x="244" y="473"/>
                  </a:lnTo>
                  <a:lnTo>
                    <a:pt x="249" y="475"/>
                  </a:lnTo>
                  <a:lnTo>
                    <a:pt x="253" y="477"/>
                  </a:lnTo>
                  <a:lnTo>
                    <a:pt x="260" y="482"/>
                  </a:lnTo>
                  <a:lnTo>
                    <a:pt x="263" y="486"/>
                  </a:lnTo>
                  <a:lnTo>
                    <a:pt x="265" y="487"/>
                  </a:lnTo>
                  <a:lnTo>
                    <a:pt x="268" y="487"/>
                  </a:lnTo>
                  <a:lnTo>
                    <a:pt x="268" y="487"/>
                  </a:lnTo>
                  <a:lnTo>
                    <a:pt x="268" y="486"/>
                  </a:lnTo>
                  <a:lnTo>
                    <a:pt x="268" y="482"/>
                  </a:lnTo>
                  <a:lnTo>
                    <a:pt x="268" y="477"/>
                  </a:lnTo>
                  <a:lnTo>
                    <a:pt x="268" y="470"/>
                  </a:lnTo>
                  <a:lnTo>
                    <a:pt x="268" y="466"/>
                  </a:lnTo>
                  <a:lnTo>
                    <a:pt x="270" y="463"/>
                  </a:lnTo>
                  <a:lnTo>
                    <a:pt x="270" y="463"/>
                  </a:lnTo>
                  <a:lnTo>
                    <a:pt x="268" y="447"/>
                  </a:lnTo>
                  <a:lnTo>
                    <a:pt x="265" y="435"/>
                  </a:lnTo>
                  <a:lnTo>
                    <a:pt x="261" y="425"/>
                  </a:lnTo>
                  <a:lnTo>
                    <a:pt x="256" y="418"/>
                  </a:lnTo>
                  <a:lnTo>
                    <a:pt x="246" y="409"/>
                  </a:lnTo>
                  <a:lnTo>
                    <a:pt x="237" y="399"/>
                  </a:lnTo>
                  <a:lnTo>
                    <a:pt x="237" y="399"/>
                  </a:lnTo>
                  <a:lnTo>
                    <a:pt x="232" y="393"/>
                  </a:lnTo>
                  <a:lnTo>
                    <a:pt x="230" y="390"/>
                  </a:lnTo>
                  <a:lnTo>
                    <a:pt x="230" y="379"/>
                  </a:lnTo>
                  <a:lnTo>
                    <a:pt x="230" y="372"/>
                  </a:lnTo>
                  <a:lnTo>
                    <a:pt x="228" y="369"/>
                  </a:lnTo>
                  <a:lnTo>
                    <a:pt x="226" y="367"/>
                  </a:lnTo>
                  <a:lnTo>
                    <a:pt x="226" y="367"/>
                  </a:lnTo>
                  <a:lnTo>
                    <a:pt x="219" y="360"/>
                  </a:lnTo>
                  <a:lnTo>
                    <a:pt x="216" y="348"/>
                  </a:lnTo>
                  <a:lnTo>
                    <a:pt x="212" y="334"/>
                  </a:lnTo>
                  <a:lnTo>
                    <a:pt x="212" y="327"/>
                  </a:lnTo>
                  <a:lnTo>
                    <a:pt x="214" y="318"/>
                  </a:lnTo>
                  <a:lnTo>
                    <a:pt x="214" y="318"/>
                  </a:lnTo>
                  <a:lnTo>
                    <a:pt x="214" y="310"/>
                  </a:lnTo>
                  <a:lnTo>
                    <a:pt x="214" y="306"/>
                  </a:lnTo>
                  <a:lnTo>
                    <a:pt x="212" y="303"/>
                  </a:lnTo>
                  <a:lnTo>
                    <a:pt x="211" y="299"/>
                  </a:lnTo>
                  <a:lnTo>
                    <a:pt x="209" y="298"/>
                  </a:lnTo>
                  <a:lnTo>
                    <a:pt x="212" y="294"/>
                  </a:lnTo>
                  <a:lnTo>
                    <a:pt x="212" y="294"/>
                  </a:lnTo>
                  <a:lnTo>
                    <a:pt x="221" y="285"/>
                  </a:lnTo>
                  <a:lnTo>
                    <a:pt x="228" y="273"/>
                  </a:lnTo>
                  <a:lnTo>
                    <a:pt x="246" y="235"/>
                  </a:lnTo>
                  <a:lnTo>
                    <a:pt x="246" y="235"/>
                  </a:lnTo>
                  <a:lnTo>
                    <a:pt x="247" y="230"/>
                  </a:lnTo>
                  <a:lnTo>
                    <a:pt x="247" y="226"/>
                  </a:lnTo>
                  <a:lnTo>
                    <a:pt x="244" y="221"/>
                  </a:lnTo>
                  <a:lnTo>
                    <a:pt x="240" y="209"/>
                  </a:lnTo>
                  <a:lnTo>
                    <a:pt x="240" y="209"/>
                  </a:lnTo>
                  <a:lnTo>
                    <a:pt x="239" y="202"/>
                  </a:lnTo>
                  <a:lnTo>
                    <a:pt x="235" y="197"/>
                  </a:lnTo>
                  <a:lnTo>
                    <a:pt x="232" y="191"/>
                  </a:lnTo>
                  <a:lnTo>
                    <a:pt x="226" y="186"/>
                  </a:lnTo>
                  <a:lnTo>
                    <a:pt x="214" y="176"/>
                  </a:lnTo>
                  <a:lnTo>
                    <a:pt x="206" y="167"/>
                  </a:lnTo>
                  <a:lnTo>
                    <a:pt x="195" y="155"/>
                  </a:lnTo>
                  <a:lnTo>
                    <a:pt x="195" y="155"/>
                  </a:lnTo>
                  <a:lnTo>
                    <a:pt x="193" y="151"/>
                  </a:lnTo>
                  <a:lnTo>
                    <a:pt x="193" y="148"/>
                  </a:lnTo>
                  <a:lnTo>
                    <a:pt x="195" y="139"/>
                  </a:lnTo>
                  <a:lnTo>
                    <a:pt x="197" y="136"/>
                  </a:lnTo>
                  <a:lnTo>
                    <a:pt x="200" y="134"/>
                  </a:lnTo>
                  <a:lnTo>
                    <a:pt x="204" y="132"/>
                  </a:lnTo>
                  <a:lnTo>
                    <a:pt x="209" y="132"/>
                  </a:lnTo>
                  <a:lnTo>
                    <a:pt x="209" y="132"/>
                  </a:lnTo>
                  <a:lnTo>
                    <a:pt x="218" y="136"/>
                  </a:lnTo>
                  <a:lnTo>
                    <a:pt x="226" y="136"/>
                  </a:lnTo>
                  <a:lnTo>
                    <a:pt x="237" y="136"/>
                  </a:lnTo>
                  <a:lnTo>
                    <a:pt x="251" y="130"/>
                  </a:lnTo>
                  <a:lnTo>
                    <a:pt x="251" y="130"/>
                  </a:lnTo>
                  <a:lnTo>
                    <a:pt x="244" y="127"/>
                  </a:lnTo>
                  <a:lnTo>
                    <a:pt x="240" y="122"/>
                  </a:lnTo>
                  <a:lnTo>
                    <a:pt x="235" y="115"/>
                  </a:lnTo>
                  <a:lnTo>
                    <a:pt x="233" y="110"/>
                  </a:lnTo>
                  <a:lnTo>
                    <a:pt x="230" y="96"/>
                  </a:lnTo>
                  <a:lnTo>
                    <a:pt x="230" y="82"/>
                  </a:lnTo>
                  <a:lnTo>
                    <a:pt x="232" y="56"/>
                  </a:lnTo>
                  <a:lnTo>
                    <a:pt x="230" y="47"/>
                  </a:lnTo>
                  <a:lnTo>
                    <a:pt x="230" y="45"/>
                  </a:lnTo>
                  <a:lnTo>
                    <a:pt x="228" y="43"/>
                  </a:lnTo>
                  <a:lnTo>
                    <a:pt x="228" y="43"/>
                  </a:lnTo>
                  <a:lnTo>
                    <a:pt x="225" y="40"/>
                  </a:lnTo>
                  <a:lnTo>
                    <a:pt x="225" y="38"/>
                  </a:lnTo>
                  <a:lnTo>
                    <a:pt x="223" y="29"/>
                  </a:lnTo>
                  <a:lnTo>
                    <a:pt x="223" y="21"/>
                  </a:lnTo>
                  <a:lnTo>
                    <a:pt x="221" y="17"/>
                  </a:lnTo>
                  <a:lnTo>
                    <a:pt x="218" y="15"/>
                  </a:lnTo>
                  <a:lnTo>
                    <a:pt x="218" y="15"/>
                  </a:lnTo>
                  <a:lnTo>
                    <a:pt x="212" y="12"/>
                  </a:lnTo>
                  <a:lnTo>
                    <a:pt x="212" y="10"/>
                  </a:lnTo>
                  <a:lnTo>
                    <a:pt x="214" y="5"/>
                  </a:lnTo>
                  <a:lnTo>
                    <a:pt x="214" y="3"/>
                  </a:lnTo>
                  <a:lnTo>
                    <a:pt x="212" y="2"/>
                  </a:lnTo>
                  <a:lnTo>
                    <a:pt x="195" y="0"/>
                  </a:lnTo>
                  <a:lnTo>
                    <a:pt x="195" y="0"/>
                  </a:lnTo>
                  <a:lnTo>
                    <a:pt x="195" y="15"/>
                  </a:lnTo>
                  <a:lnTo>
                    <a:pt x="199" y="26"/>
                  </a:lnTo>
                  <a:lnTo>
                    <a:pt x="202" y="31"/>
                  </a:lnTo>
                  <a:lnTo>
                    <a:pt x="207" y="33"/>
                  </a:lnTo>
                  <a:lnTo>
                    <a:pt x="211" y="35"/>
                  </a:lnTo>
                  <a:lnTo>
                    <a:pt x="214" y="36"/>
                  </a:lnTo>
                  <a:lnTo>
                    <a:pt x="216" y="43"/>
                  </a:lnTo>
                  <a:lnTo>
                    <a:pt x="214" y="54"/>
                  </a:lnTo>
                  <a:lnTo>
                    <a:pt x="214" y="54"/>
                  </a:lnTo>
                  <a:lnTo>
                    <a:pt x="211" y="66"/>
                  </a:lnTo>
                  <a:lnTo>
                    <a:pt x="206" y="73"/>
                  </a:lnTo>
                  <a:lnTo>
                    <a:pt x="202" y="78"/>
                  </a:lnTo>
                  <a:lnTo>
                    <a:pt x="197" y="82"/>
                  </a:lnTo>
                  <a:lnTo>
                    <a:pt x="192" y="85"/>
                  </a:lnTo>
                  <a:lnTo>
                    <a:pt x="185" y="94"/>
                  </a:lnTo>
                  <a:lnTo>
                    <a:pt x="179" y="106"/>
                  </a:lnTo>
                  <a:lnTo>
                    <a:pt x="172" y="125"/>
                  </a:lnTo>
                  <a:lnTo>
                    <a:pt x="172" y="125"/>
                  </a:lnTo>
                  <a:lnTo>
                    <a:pt x="162" y="162"/>
                  </a:lnTo>
                  <a:lnTo>
                    <a:pt x="155" y="181"/>
                  </a:lnTo>
                  <a:lnTo>
                    <a:pt x="152" y="186"/>
                  </a:lnTo>
                  <a:lnTo>
                    <a:pt x="150" y="190"/>
                  </a:lnTo>
                  <a:lnTo>
                    <a:pt x="143" y="193"/>
                  </a:lnTo>
                  <a:lnTo>
                    <a:pt x="143" y="193"/>
                  </a:lnTo>
                  <a:lnTo>
                    <a:pt x="138" y="197"/>
                  </a:lnTo>
                  <a:lnTo>
                    <a:pt x="134" y="204"/>
                  </a:lnTo>
                  <a:lnTo>
                    <a:pt x="127" y="224"/>
                  </a:lnTo>
                  <a:lnTo>
                    <a:pt x="120" y="245"/>
                  </a:lnTo>
                  <a:lnTo>
                    <a:pt x="117" y="256"/>
                  </a:lnTo>
                  <a:lnTo>
                    <a:pt x="112" y="266"/>
                  </a:lnTo>
                  <a:lnTo>
                    <a:pt x="112" y="266"/>
                  </a:lnTo>
                  <a:lnTo>
                    <a:pt x="105" y="278"/>
                  </a:lnTo>
                  <a:lnTo>
                    <a:pt x="101" y="282"/>
                  </a:lnTo>
                  <a:lnTo>
                    <a:pt x="99" y="282"/>
                  </a:lnTo>
                  <a:lnTo>
                    <a:pt x="96" y="282"/>
                  </a:lnTo>
                  <a:lnTo>
                    <a:pt x="94" y="280"/>
                  </a:lnTo>
                  <a:lnTo>
                    <a:pt x="85" y="268"/>
                  </a:lnTo>
                  <a:lnTo>
                    <a:pt x="85" y="268"/>
                  </a:lnTo>
                  <a:lnTo>
                    <a:pt x="78" y="263"/>
                  </a:lnTo>
                  <a:lnTo>
                    <a:pt x="73" y="258"/>
                  </a:lnTo>
                  <a:lnTo>
                    <a:pt x="66" y="258"/>
                  </a:lnTo>
                  <a:lnTo>
                    <a:pt x="61" y="258"/>
                  </a:lnTo>
                  <a:lnTo>
                    <a:pt x="56" y="259"/>
                  </a:lnTo>
                  <a:lnTo>
                    <a:pt x="52" y="263"/>
                  </a:lnTo>
                  <a:lnTo>
                    <a:pt x="49" y="268"/>
                  </a:lnTo>
                  <a:lnTo>
                    <a:pt x="45" y="273"/>
                  </a:lnTo>
                  <a:lnTo>
                    <a:pt x="45" y="273"/>
                  </a:lnTo>
                  <a:lnTo>
                    <a:pt x="44" y="278"/>
                  </a:lnTo>
                  <a:lnTo>
                    <a:pt x="42" y="282"/>
                  </a:lnTo>
                  <a:lnTo>
                    <a:pt x="35" y="285"/>
                  </a:lnTo>
                  <a:lnTo>
                    <a:pt x="28" y="289"/>
                  </a:lnTo>
                  <a:lnTo>
                    <a:pt x="24" y="292"/>
                  </a:lnTo>
                  <a:lnTo>
                    <a:pt x="19" y="299"/>
                  </a:lnTo>
                  <a:lnTo>
                    <a:pt x="19" y="299"/>
                  </a:lnTo>
                  <a:lnTo>
                    <a:pt x="14" y="313"/>
                  </a:lnTo>
                  <a:lnTo>
                    <a:pt x="11" y="325"/>
                  </a:lnTo>
                  <a:lnTo>
                    <a:pt x="7" y="338"/>
                  </a:lnTo>
                  <a:lnTo>
                    <a:pt x="0" y="355"/>
                  </a:lnTo>
                  <a:lnTo>
                    <a:pt x="0" y="355"/>
                  </a:lnTo>
                  <a:lnTo>
                    <a:pt x="0" y="362"/>
                  </a:lnTo>
                  <a:lnTo>
                    <a:pt x="2" y="365"/>
                  </a:lnTo>
                  <a:lnTo>
                    <a:pt x="5" y="365"/>
                  </a:lnTo>
                  <a:lnTo>
                    <a:pt x="7" y="365"/>
                  </a:lnTo>
                  <a:lnTo>
                    <a:pt x="11" y="364"/>
                  </a:lnTo>
                  <a:lnTo>
                    <a:pt x="12" y="364"/>
                  </a:lnTo>
                  <a:lnTo>
                    <a:pt x="14" y="369"/>
                  </a:lnTo>
                  <a:lnTo>
                    <a:pt x="14" y="369"/>
                  </a:lnTo>
                  <a:lnTo>
                    <a:pt x="16" y="381"/>
                  </a:lnTo>
                  <a:lnTo>
                    <a:pt x="19" y="385"/>
                  </a:lnTo>
                  <a:lnTo>
                    <a:pt x="26" y="388"/>
                  </a:lnTo>
                  <a:lnTo>
                    <a:pt x="26" y="388"/>
                  </a:lnTo>
                  <a:lnTo>
                    <a:pt x="30" y="390"/>
                  </a:lnTo>
                  <a:lnTo>
                    <a:pt x="31" y="388"/>
                  </a:lnTo>
                  <a:lnTo>
                    <a:pt x="35" y="386"/>
                  </a:lnTo>
                  <a:lnTo>
                    <a:pt x="37" y="383"/>
                  </a:lnTo>
                  <a:lnTo>
                    <a:pt x="37" y="383"/>
                  </a:lnTo>
                  <a:lnTo>
                    <a:pt x="40" y="385"/>
                  </a:lnTo>
                  <a:lnTo>
                    <a:pt x="40" y="385"/>
                  </a:lnTo>
                  <a:lnTo>
                    <a:pt x="42" y="388"/>
                  </a:lnTo>
                  <a:lnTo>
                    <a:pt x="42" y="390"/>
                  </a:lnTo>
                  <a:lnTo>
                    <a:pt x="40" y="393"/>
                  </a:lnTo>
                  <a:lnTo>
                    <a:pt x="37" y="397"/>
                  </a:lnTo>
                  <a:lnTo>
                    <a:pt x="37" y="399"/>
                  </a:lnTo>
                  <a:lnTo>
                    <a:pt x="38" y="400"/>
                  </a:lnTo>
                  <a:lnTo>
                    <a:pt x="38" y="400"/>
                  </a:lnTo>
                  <a:lnTo>
                    <a:pt x="42" y="404"/>
                  </a:lnTo>
                  <a:lnTo>
                    <a:pt x="42" y="406"/>
                  </a:lnTo>
                  <a:lnTo>
                    <a:pt x="40" y="407"/>
                  </a:lnTo>
                  <a:lnTo>
                    <a:pt x="45" y="414"/>
                  </a:lnTo>
                  <a:lnTo>
                    <a:pt x="45" y="414"/>
                  </a:lnTo>
                  <a:lnTo>
                    <a:pt x="47" y="419"/>
                  </a:lnTo>
                  <a:lnTo>
                    <a:pt x="49" y="425"/>
                  </a:lnTo>
                  <a:lnTo>
                    <a:pt x="49" y="435"/>
                  </a:lnTo>
                  <a:lnTo>
                    <a:pt x="45" y="446"/>
                  </a:lnTo>
                  <a:lnTo>
                    <a:pt x="45" y="458"/>
                  </a:lnTo>
                  <a:lnTo>
                    <a:pt x="45" y="458"/>
                  </a:lnTo>
                  <a:lnTo>
                    <a:pt x="54" y="463"/>
                  </a:lnTo>
                  <a:lnTo>
                    <a:pt x="63" y="465"/>
                  </a:lnTo>
                  <a:lnTo>
                    <a:pt x="77" y="465"/>
                  </a:lnTo>
                  <a:lnTo>
                    <a:pt x="99" y="465"/>
                  </a:lnTo>
                  <a:lnTo>
                    <a:pt x="99" y="465"/>
                  </a:lnTo>
                  <a:lnTo>
                    <a:pt x="103" y="459"/>
                  </a:lnTo>
                  <a:lnTo>
                    <a:pt x="106" y="458"/>
                  </a:lnTo>
                  <a:lnTo>
                    <a:pt x="139" y="459"/>
                  </a:lnTo>
                  <a:lnTo>
                    <a:pt x="139" y="459"/>
                  </a:lnTo>
                  <a:lnTo>
                    <a:pt x="165" y="459"/>
                  </a:lnTo>
                  <a:lnTo>
                    <a:pt x="165" y="461"/>
                  </a:lnTo>
                  <a:lnTo>
                    <a:pt x="167" y="465"/>
                  </a:lnTo>
                  <a:lnTo>
                    <a:pt x="167" y="46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1" name="Freeform 1766">
              <a:extLst>
                <a:ext uri="{FF2B5EF4-FFF2-40B4-BE49-F238E27FC236}">
                  <a16:creationId xmlns:a16="http://schemas.microsoft.com/office/drawing/2014/main" id="{41C78B0D-F5B6-4CE1-8F20-D2A6F170176D}"/>
                </a:ext>
              </a:extLst>
            </p:cNvPr>
            <p:cNvSpPr>
              <a:spLocks/>
            </p:cNvSpPr>
            <p:nvPr/>
          </p:nvSpPr>
          <p:spPr bwMode="auto">
            <a:xfrm>
              <a:off x="5033368" y="4390204"/>
              <a:ext cx="214963" cy="297778"/>
            </a:xfrm>
            <a:custGeom>
              <a:avLst/>
              <a:gdLst/>
              <a:ahLst/>
              <a:cxnLst>
                <a:cxn ang="0">
                  <a:pos x="74" y="79"/>
                </a:cxn>
                <a:cxn ang="0">
                  <a:pos x="73" y="98"/>
                </a:cxn>
                <a:cxn ang="0">
                  <a:pos x="85" y="101"/>
                </a:cxn>
                <a:cxn ang="0">
                  <a:pos x="106" y="98"/>
                </a:cxn>
                <a:cxn ang="0">
                  <a:pos x="118" y="117"/>
                </a:cxn>
                <a:cxn ang="0">
                  <a:pos x="115" y="131"/>
                </a:cxn>
                <a:cxn ang="0">
                  <a:pos x="102" y="140"/>
                </a:cxn>
                <a:cxn ang="0">
                  <a:pos x="97" y="164"/>
                </a:cxn>
                <a:cxn ang="0">
                  <a:pos x="115" y="178"/>
                </a:cxn>
                <a:cxn ang="0">
                  <a:pos x="116" y="197"/>
                </a:cxn>
                <a:cxn ang="0">
                  <a:pos x="115" y="239"/>
                </a:cxn>
                <a:cxn ang="0">
                  <a:pos x="111" y="254"/>
                </a:cxn>
                <a:cxn ang="0">
                  <a:pos x="104" y="261"/>
                </a:cxn>
                <a:cxn ang="0">
                  <a:pos x="95" y="249"/>
                </a:cxn>
                <a:cxn ang="0">
                  <a:pos x="83" y="260"/>
                </a:cxn>
                <a:cxn ang="0">
                  <a:pos x="69" y="254"/>
                </a:cxn>
                <a:cxn ang="0">
                  <a:pos x="54" y="232"/>
                </a:cxn>
                <a:cxn ang="0">
                  <a:pos x="50" y="248"/>
                </a:cxn>
                <a:cxn ang="0">
                  <a:pos x="47" y="256"/>
                </a:cxn>
                <a:cxn ang="0">
                  <a:pos x="22" y="258"/>
                </a:cxn>
                <a:cxn ang="0">
                  <a:pos x="19" y="282"/>
                </a:cxn>
                <a:cxn ang="0">
                  <a:pos x="29" y="300"/>
                </a:cxn>
                <a:cxn ang="0">
                  <a:pos x="24" y="314"/>
                </a:cxn>
                <a:cxn ang="0">
                  <a:pos x="12" y="308"/>
                </a:cxn>
                <a:cxn ang="0">
                  <a:pos x="22" y="347"/>
                </a:cxn>
                <a:cxn ang="0">
                  <a:pos x="33" y="369"/>
                </a:cxn>
                <a:cxn ang="0">
                  <a:pos x="54" y="348"/>
                </a:cxn>
                <a:cxn ang="0">
                  <a:pos x="64" y="345"/>
                </a:cxn>
                <a:cxn ang="0">
                  <a:pos x="85" y="359"/>
                </a:cxn>
                <a:cxn ang="0">
                  <a:pos x="109" y="340"/>
                </a:cxn>
                <a:cxn ang="0">
                  <a:pos x="118" y="343"/>
                </a:cxn>
                <a:cxn ang="0">
                  <a:pos x="115" y="359"/>
                </a:cxn>
                <a:cxn ang="0">
                  <a:pos x="123" y="364"/>
                </a:cxn>
                <a:cxn ang="0">
                  <a:pos x="144" y="348"/>
                </a:cxn>
                <a:cxn ang="0">
                  <a:pos x="162" y="326"/>
                </a:cxn>
                <a:cxn ang="0">
                  <a:pos x="177" y="310"/>
                </a:cxn>
                <a:cxn ang="0">
                  <a:pos x="179" y="284"/>
                </a:cxn>
                <a:cxn ang="0">
                  <a:pos x="177" y="260"/>
                </a:cxn>
                <a:cxn ang="0">
                  <a:pos x="203" y="211"/>
                </a:cxn>
                <a:cxn ang="0">
                  <a:pos x="224" y="192"/>
                </a:cxn>
                <a:cxn ang="0">
                  <a:pos x="233" y="164"/>
                </a:cxn>
                <a:cxn ang="0">
                  <a:pos x="242" y="140"/>
                </a:cxn>
                <a:cxn ang="0">
                  <a:pos x="238" y="122"/>
                </a:cxn>
                <a:cxn ang="0">
                  <a:pos x="240" y="100"/>
                </a:cxn>
                <a:cxn ang="0">
                  <a:pos x="245" y="59"/>
                </a:cxn>
                <a:cxn ang="0">
                  <a:pos x="259" y="32"/>
                </a:cxn>
                <a:cxn ang="0">
                  <a:pos x="264" y="9"/>
                </a:cxn>
                <a:cxn ang="0">
                  <a:pos x="247" y="7"/>
                </a:cxn>
                <a:cxn ang="0">
                  <a:pos x="231" y="2"/>
                </a:cxn>
                <a:cxn ang="0">
                  <a:pos x="214" y="4"/>
                </a:cxn>
                <a:cxn ang="0">
                  <a:pos x="196" y="6"/>
                </a:cxn>
                <a:cxn ang="0">
                  <a:pos x="186" y="42"/>
                </a:cxn>
                <a:cxn ang="0">
                  <a:pos x="177" y="66"/>
                </a:cxn>
                <a:cxn ang="0">
                  <a:pos x="177" y="86"/>
                </a:cxn>
                <a:cxn ang="0">
                  <a:pos x="172" y="86"/>
                </a:cxn>
                <a:cxn ang="0">
                  <a:pos x="153" y="73"/>
                </a:cxn>
                <a:cxn ang="0">
                  <a:pos x="125" y="65"/>
                </a:cxn>
              </a:cxnLst>
              <a:rect l="0" t="0" r="r" b="b"/>
              <a:pathLst>
                <a:path w="266" h="369">
                  <a:moveTo>
                    <a:pt x="76" y="65"/>
                  </a:moveTo>
                  <a:lnTo>
                    <a:pt x="76" y="65"/>
                  </a:lnTo>
                  <a:lnTo>
                    <a:pt x="76" y="72"/>
                  </a:lnTo>
                  <a:lnTo>
                    <a:pt x="74" y="79"/>
                  </a:lnTo>
                  <a:lnTo>
                    <a:pt x="71" y="86"/>
                  </a:lnTo>
                  <a:lnTo>
                    <a:pt x="71" y="91"/>
                  </a:lnTo>
                  <a:lnTo>
                    <a:pt x="73" y="98"/>
                  </a:lnTo>
                  <a:lnTo>
                    <a:pt x="73" y="98"/>
                  </a:lnTo>
                  <a:lnTo>
                    <a:pt x="74" y="101"/>
                  </a:lnTo>
                  <a:lnTo>
                    <a:pt x="78" y="103"/>
                  </a:lnTo>
                  <a:lnTo>
                    <a:pt x="81" y="103"/>
                  </a:lnTo>
                  <a:lnTo>
                    <a:pt x="85" y="101"/>
                  </a:lnTo>
                  <a:lnTo>
                    <a:pt x="94" y="100"/>
                  </a:lnTo>
                  <a:lnTo>
                    <a:pt x="102" y="98"/>
                  </a:lnTo>
                  <a:lnTo>
                    <a:pt x="102" y="98"/>
                  </a:lnTo>
                  <a:lnTo>
                    <a:pt x="106" y="98"/>
                  </a:lnTo>
                  <a:lnTo>
                    <a:pt x="109" y="101"/>
                  </a:lnTo>
                  <a:lnTo>
                    <a:pt x="115" y="106"/>
                  </a:lnTo>
                  <a:lnTo>
                    <a:pt x="118" y="112"/>
                  </a:lnTo>
                  <a:lnTo>
                    <a:pt x="118" y="117"/>
                  </a:lnTo>
                  <a:lnTo>
                    <a:pt x="118" y="122"/>
                  </a:lnTo>
                  <a:lnTo>
                    <a:pt x="116" y="127"/>
                  </a:lnTo>
                  <a:lnTo>
                    <a:pt x="116" y="127"/>
                  </a:lnTo>
                  <a:lnTo>
                    <a:pt x="115" y="131"/>
                  </a:lnTo>
                  <a:lnTo>
                    <a:pt x="111" y="133"/>
                  </a:lnTo>
                  <a:lnTo>
                    <a:pt x="108" y="134"/>
                  </a:lnTo>
                  <a:lnTo>
                    <a:pt x="104" y="136"/>
                  </a:lnTo>
                  <a:lnTo>
                    <a:pt x="102" y="140"/>
                  </a:lnTo>
                  <a:lnTo>
                    <a:pt x="99" y="147"/>
                  </a:lnTo>
                  <a:lnTo>
                    <a:pt x="97" y="159"/>
                  </a:lnTo>
                  <a:lnTo>
                    <a:pt x="97" y="159"/>
                  </a:lnTo>
                  <a:lnTo>
                    <a:pt x="97" y="164"/>
                  </a:lnTo>
                  <a:lnTo>
                    <a:pt x="99" y="167"/>
                  </a:lnTo>
                  <a:lnTo>
                    <a:pt x="102" y="171"/>
                  </a:lnTo>
                  <a:lnTo>
                    <a:pt x="108" y="173"/>
                  </a:lnTo>
                  <a:lnTo>
                    <a:pt x="115" y="178"/>
                  </a:lnTo>
                  <a:lnTo>
                    <a:pt x="118" y="181"/>
                  </a:lnTo>
                  <a:lnTo>
                    <a:pt x="118" y="185"/>
                  </a:lnTo>
                  <a:lnTo>
                    <a:pt x="118" y="185"/>
                  </a:lnTo>
                  <a:lnTo>
                    <a:pt x="116" y="197"/>
                  </a:lnTo>
                  <a:lnTo>
                    <a:pt x="118" y="211"/>
                  </a:lnTo>
                  <a:lnTo>
                    <a:pt x="118" y="227"/>
                  </a:lnTo>
                  <a:lnTo>
                    <a:pt x="116" y="234"/>
                  </a:lnTo>
                  <a:lnTo>
                    <a:pt x="115" y="239"/>
                  </a:lnTo>
                  <a:lnTo>
                    <a:pt x="115" y="239"/>
                  </a:lnTo>
                  <a:lnTo>
                    <a:pt x="111" y="244"/>
                  </a:lnTo>
                  <a:lnTo>
                    <a:pt x="111" y="248"/>
                  </a:lnTo>
                  <a:lnTo>
                    <a:pt x="111" y="254"/>
                  </a:lnTo>
                  <a:lnTo>
                    <a:pt x="111" y="258"/>
                  </a:lnTo>
                  <a:lnTo>
                    <a:pt x="109" y="260"/>
                  </a:lnTo>
                  <a:lnTo>
                    <a:pt x="104" y="261"/>
                  </a:lnTo>
                  <a:lnTo>
                    <a:pt x="104" y="261"/>
                  </a:lnTo>
                  <a:lnTo>
                    <a:pt x="101" y="261"/>
                  </a:lnTo>
                  <a:lnTo>
                    <a:pt x="99" y="260"/>
                  </a:lnTo>
                  <a:lnTo>
                    <a:pt x="95" y="253"/>
                  </a:lnTo>
                  <a:lnTo>
                    <a:pt x="95" y="249"/>
                  </a:lnTo>
                  <a:lnTo>
                    <a:pt x="94" y="249"/>
                  </a:lnTo>
                  <a:lnTo>
                    <a:pt x="90" y="253"/>
                  </a:lnTo>
                  <a:lnTo>
                    <a:pt x="90" y="253"/>
                  </a:lnTo>
                  <a:lnTo>
                    <a:pt x="83" y="260"/>
                  </a:lnTo>
                  <a:lnTo>
                    <a:pt x="80" y="260"/>
                  </a:lnTo>
                  <a:lnTo>
                    <a:pt x="76" y="260"/>
                  </a:lnTo>
                  <a:lnTo>
                    <a:pt x="73" y="258"/>
                  </a:lnTo>
                  <a:lnTo>
                    <a:pt x="69" y="254"/>
                  </a:lnTo>
                  <a:lnTo>
                    <a:pt x="61" y="242"/>
                  </a:lnTo>
                  <a:lnTo>
                    <a:pt x="61" y="242"/>
                  </a:lnTo>
                  <a:lnTo>
                    <a:pt x="57" y="235"/>
                  </a:lnTo>
                  <a:lnTo>
                    <a:pt x="54" y="232"/>
                  </a:lnTo>
                  <a:lnTo>
                    <a:pt x="50" y="232"/>
                  </a:lnTo>
                  <a:lnTo>
                    <a:pt x="48" y="232"/>
                  </a:lnTo>
                  <a:lnTo>
                    <a:pt x="48" y="239"/>
                  </a:lnTo>
                  <a:lnTo>
                    <a:pt x="50" y="248"/>
                  </a:lnTo>
                  <a:lnTo>
                    <a:pt x="50" y="248"/>
                  </a:lnTo>
                  <a:lnTo>
                    <a:pt x="50" y="253"/>
                  </a:lnTo>
                  <a:lnTo>
                    <a:pt x="50" y="254"/>
                  </a:lnTo>
                  <a:lnTo>
                    <a:pt x="47" y="256"/>
                  </a:lnTo>
                  <a:lnTo>
                    <a:pt x="43" y="258"/>
                  </a:lnTo>
                  <a:lnTo>
                    <a:pt x="26" y="258"/>
                  </a:lnTo>
                  <a:lnTo>
                    <a:pt x="26" y="258"/>
                  </a:lnTo>
                  <a:lnTo>
                    <a:pt x="22" y="258"/>
                  </a:lnTo>
                  <a:lnTo>
                    <a:pt x="21" y="261"/>
                  </a:lnTo>
                  <a:lnTo>
                    <a:pt x="19" y="267"/>
                  </a:lnTo>
                  <a:lnTo>
                    <a:pt x="19" y="272"/>
                  </a:lnTo>
                  <a:lnTo>
                    <a:pt x="19" y="282"/>
                  </a:lnTo>
                  <a:lnTo>
                    <a:pt x="22" y="288"/>
                  </a:lnTo>
                  <a:lnTo>
                    <a:pt x="24" y="293"/>
                  </a:lnTo>
                  <a:lnTo>
                    <a:pt x="24" y="293"/>
                  </a:lnTo>
                  <a:lnTo>
                    <a:pt x="29" y="300"/>
                  </a:lnTo>
                  <a:lnTo>
                    <a:pt x="29" y="308"/>
                  </a:lnTo>
                  <a:lnTo>
                    <a:pt x="29" y="312"/>
                  </a:lnTo>
                  <a:lnTo>
                    <a:pt x="27" y="314"/>
                  </a:lnTo>
                  <a:lnTo>
                    <a:pt x="24" y="314"/>
                  </a:lnTo>
                  <a:lnTo>
                    <a:pt x="22" y="312"/>
                  </a:lnTo>
                  <a:lnTo>
                    <a:pt x="22" y="312"/>
                  </a:lnTo>
                  <a:lnTo>
                    <a:pt x="15" y="308"/>
                  </a:lnTo>
                  <a:lnTo>
                    <a:pt x="12" y="308"/>
                  </a:lnTo>
                  <a:lnTo>
                    <a:pt x="0" y="319"/>
                  </a:lnTo>
                  <a:lnTo>
                    <a:pt x="0" y="319"/>
                  </a:lnTo>
                  <a:lnTo>
                    <a:pt x="17" y="340"/>
                  </a:lnTo>
                  <a:lnTo>
                    <a:pt x="22" y="347"/>
                  </a:lnTo>
                  <a:lnTo>
                    <a:pt x="24" y="354"/>
                  </a:lnTo>
                  <a:lnTo>
                    <a:pt x="24" y="354"/>
                  </a:lnTo>
                  <a:lnTo>
                    <a:pt x="27" y="362"/>
                  </a:lnTo>
                  <a:lnTo>
                    <a:pt x="33" y="369"/>
                  </a:lnTo>
                  <a:lnTo>
                    <a:pt x="33" y="369"/>
                  </a:lnTo>
                  <a:lnTo>
                    <a:pt x="40" y="361"/>
                  </a:lnTo>
                  <a:lnTo>
                    <a:pt x="47" y="354"/>
                  </a:lnTo>
                  <a:lnTo>
                    <a:pt x="54" y="348"/>
                  </a:lnTo>
                  <a:lnTo>
                    <a:pt x="57" y="345"/>
                  </a:lnTo>
                  <a:lnTo>
                    <a:pt x="57" y="345"/>
                  </a:lnTo>
                  <a:lnTo>
                    <a:pt x="61" y="343"/>
                  </a:lnTo>
                  <a:lnTo>
                    <a:pt x="64" y="345"/>
                  </a:lnTo>
                  <a:lnTo>
                    <a:pt x="73" y="354"/>
                  </a:lnTo>
                  <a:lnTo>
                    <a:pt x="73" y="354"/>
                  </a:lnTo>
                  <a:lnTo>
                    <a:pt x="78" y="359"/>
                  </a:lnTo>
                  <a:lnTo>
                    <a:pt x="85" y="359"/>
                  </a:lnTo>
                  <a:lnTo>
                    <a:pt x="90" y="355"/>
                  </a:lnTo>
                  <a:lnTo>
                    <a:pt x="95" y="352"/>
                  </a:lnTo>
                  <a:lnTo>
                    <a:pt x="104" y="342"/>
                  </a:lnTo>
                  <a:lnTo>
                    <a:pt x="109" y="340"/>
                  </a:lnTo>
                  <a:lnTo>
                    <a:pt x="113" y="340"/>
                  </a:lnTo>
                  <a:lnTo>
                    <a:pt x="115" y="342"/>
                  </a:lnTo>
                  <a:lnTo>
                    <a:pt x="115" y="342"/>
                  </a:lnTo>
                  <a:lnTo>
                    <a:pt x="118" y="343"/>
                  </a:lnTo>
                  <a:lnTo>
                    <a:pt x="118" y="347"/>
                  </a:lnTo>
                  <a:lnTo>
                    <a:pt x="116" y="354"/>
                  </a:lnTo>
                  <a:lnTo>
                    <a:pt x="115" y="355"/>
                  </a:lnTo>
                  <a:lnTo>
                    <a:pt x="115" y="359"/>
                  </a:lnTo>
                  <a:lnTo>
                    <a:pt x="116" y="361"/>
                  </a:lnTo>
                  <a:lnTo>
                    <a:pt x="120" y="364"/>
                  </a:lnTo>
                  <a:lnTo>
                    <a:pt x="120" y="364"/>
                  </a:lnTo>
                  <a:lnTo>
                    <a:pt x="123" y="364"/>
                  </a:lnTo>
                  <a:lnTo>
                    <a:pt x="127" y="364"/>
                  </a:lnTo>
                  <a:lnTo>
                    <a:pt x="134" y="361"/>
                  </a:lnTo>
                  <a:lnTo>
                    <a:pt x="139" y="355"/>
                  </a:lnTo>
                  <a:lnTo>
                    <a:pt x="144" y="348"/>
                  </a:lnTo>
                  <a:lnTo>
                    <a:pt x="153" y="335"/>
                  </a:lnTo>
                  <a:lnTo>
                    <a:pt x="156" y="329"/>
                  </a:lnTo>
                  <a:lnTo>
                    <a:pt x="162" y="326"/>
                  </a:lnTo>
                  <a:lnTo>
                    <a:pt x="162" y="326"/>
                  </a:lnTo>
                  <a:lnTo>
                    <a:pt x="165" y="324"/>
                  </a:lnTo>
                  <a:lnTo>
                    <a:pt x="170" y="321"/>
                  </a:lnTo>
                  <a:lnTo>
                    <a:pt x="174" y="317"/>
                  </a:lnTo>
                  <a:lnTo>
                    <a:pt x="177" y="310"/>
                  </a:lnTo>
                  <a:lnTo>
                    <a:pt x="179" y="303"/>
                  </a:lnTo>
                  <a:lnTo>
                    <a:pt x="181" y="296"/>
                  </a:lnTo>
                  <a:lnTo>
                    <a:pt x="181" y="289"/>
                  </a:lnTo>
                  <a:lnTo>
                    <a:pt x="179" y="284"/>
                  </a:lnTo>
                  <a:lnTo>
                    <a:pt x="179" y="284"/>
                  </a:lnTo>
                  <a:lnTo>
                    <a:pt x="177" y="279"/>
                  </a:lnTo>
                  <a:lnTo>
                    <a:pt x="177" y="272"/>
                  </a:lnTo>
                  <a:lnTo>
                    <a:pt x="177" y="260"/>
                  </a:lnTo>
                  <a:lnTo>
                    <a:pt x="181" y="248"/>
                  </a:lnTo>
                  <a:lnTo>
                    <a:pt x="188" y="234"/>
                  </a:lnTo>
                  <a:lnTo>
                    <a:pt x="195" y="221"/>
                  </a:lnTo>
                  <a:lnTo>
                    <a:pt x="203" y="211"/>
                  </a:lnTo>
                  <a:lnTo>
                    <a:pt x="210" y="202"/>
                  </a:lnTo>
                  <a:lnTo>
                    <a:pt x="219" y="197"/>
                  </a:lnTo>
                  <a:lnTo>
                    <a:pt x="219" y="197"/>
                  </a:lnTo>
                  <a:lnTo>
                    <a:pt x="224" y="192"/>
                  </a:lnTo>
                  <a:lnTo>
                    <a:pt x="228" y="188"/>
                  </a:lnTo>
                  <a:lnTo>
                    <a:pt x="229" y="183"/>
                  </a:lnTo>
                  <a:lnTo>
                    <a:pt x="231" y="178"/>
                  </a:lnTo>
                  <a:lnTo>
                    <a:pt x="233" y="164"/>
                  </a:lnTo>
                  <a:lnTo>
                    <a:pt x="235" y="155"/>
                  </a:lnTo>
                  <a:lnTo>
                    <a:pt x="238" y="147"/>
                  </a:lnTo>
                  <a:lnTo>
                    <a:pt x="238" y="147"/>
                  </a:lnTo>
                  <a:lnTo>
                    <a:pt x="242" y="140"/>
                  </a:lnTo>
                  <a:lnTo>
                    <a:pt x="242" y="134"/>
                  </a:lnTo>
                  <a:lnTo>
                    <a:pt x="242" y="131"/>
                  </a:lnTo>
                  <a:lnTo>
                    <a:pt x="240" y="127"/>
                  </a:lnTo>
                  <a:lnTo>
                    <a:pt x="238" y="122"/>
                  </a:lnTo>
                  <a:lnTo>
                    <a:pt x="238" y="117"/>
                  </a:lnTo>
                  <a:lnTo>
                    <a:pt x="238" y="110"/>
                  </a:lnTo>
                  <a:lnTo>
                    <a:pt x="240" y="100"/>
                  </a:lnTo>
                  <a:lnTo>
                    <a:pt x="240" y="100"/>
                  </a:lnTo>
                  <a:lnTo>
                    <a:pt x="243" y="87"/>
                  </a:lnTo>
                  <a:lnTo>
                    <a:pt x="243" y="80"/>
                  </a:lnTo>
                  <a:lnTo>
                    <a:pt x="243" y="68"/>
                  </a:lnTo>
                  <a:lnTo>
                    <a:pt x="245" y="59"/>
                  </a:lnTo>
                  <a:lnTo>
                    <a:pt x="247" y="54"/>
                  </a:lnTo>
                  <a:lnTo>
                    <a:pt x="250" y="47"/>
                  </a:lnTo>
                  <a:lnTo>
                    <a:pt x="250" y="47"/>
                  </a:lnTo>
                  <a:lnTo>
                    <a:pt x="259" y="32"/>
                  </a:lnTo>
                  <a:lnTo>
                    <a:pt x="264" y="23"/>
                  </a:lnTo>
                  <a:lnTo>
                    <a:pt x="266" y="16"/>
                  </a:lnTo>
                  <a:lnTo>
                    <a:pt x="264" y="9"/>
                  </a:lnTo>
                  <a:lnTo>
                    <a:pt x="264" y="9"/>
                  </a:lnTo>
                  <a:lnTo>
                    <a:pt x="261" y="6"/>
                  </a:lnTo>
                  <a:lnTo>
                    <a:pt x="257" y="6"/>
                  </a:lnTo>
                  <a:lnTo>
                    <a:pt x="250" y="6"/>
                  </a:lnTo>
                  <a:lnTo>
                    <a:pt x="247" y="7"/>
                  </a:lnTo>
                  <a:lnTo>
                    <a:pt x="243" y="7"/>
                  </a:lnTo>
                  <a:lnTo>
                    <a:pt x="238" y="6"/>
                  </a:lnTo>
                  <a:lnTo>
                    <a:pt x="231" y="2"/>
                  </a:lnTo>
                  <a:lnTo>
                    <a:pt x="231" y="2"/>
                  </a:lnTo>
                  <a:lnTo>
                    <a:pt x="228" y="0"/>
                  </a:lnTo>
                  <a:lnTo>
                    <a:pt x="224" y="0"/>
                  </a:lnTo>
                  <a:lnTo>
                    <a:pt x="219" y="2"/>
                  </a:lnTo>
                  <a:lnTo>
                    <a:pt x="214" y="4"/>
                  </a:lnTo>
                  <a:lnTo>
                    <a:pt x="209" y="6"/>
                  </a:lnTo>
                  <a:lnTo>
                    <a:pt x="202" y="4"/>
                  </a:lnTo>
                  <a:lnTo>
                    <a:pt x="202" y="4"/>
                  </a:lnTo>
                  <a:lnTo>
                    <a:pt x="196" y="6"/>
                  </a:lnTo>
                  <a:lnTo>
                    <a:pt x="193" y="9"/>
                  </a:lnTo>
                  <a:lnTo>
                    <a:pt x="189" y="14"/>
                  </a:lnTo>
                  <a:lnTo>
                    <a:pt x="188" y="23"/>
                  </a:lnTo>
                  <a:lnTo>
                    <a:pt x="186" y="42"/>
                  </a:lnTo>
                  <a:lnTo>
                    <a:pt x="182" y="53"/>
                  </a:lnTo>
                  <a:lnTo>
                    <a:pt x="179" y="63"/>
                  </a:lnTo>
                  <a:lnTo>
                    <a:pt x="179" y="63"/>
                  </a:lnTo>
                  <a:lnTo>
                    <a:pt x="177" y="66"/>
                  </a:lnTo>
                  <a:lnTo>
                    <a:pt x="177" y="70"/>
                  </a:lnTo>
                  <a:lnTo>
                    <a:pt x="177" y="77"/>
                  </a:lnTo>
                  <a:lnTo>
                    <a:pt x="177" y="82"/>
                  </a:lnTo>
                  <a:lnTo>
                    <a:pt x="177" y="86"/>
                  </a:lnTo>
                  <a:lnTo>
                    <a:pt x="177" y="87"/>
                  </a:lnTo>
                  <a:lnTo>
                    <a:pt x="177" y="87"/>
                  </a:lnTo>
                  <a:lnTo>
                    <a:pt x="174" y="87"/>
                  </a:lnTo>
                  <a:lnTo>
                    <a:pt x="172" y="86"/>
                  </a:lnTo>
                  <a:lnTo>
                    <a:pt x="169" y="82"/>
                  </a:lnTo>
                  <a:lnTo>
                    <a:pt x="162" y="77"/>
                  </a:lnTo>
                  <a:lnTo>
                    <a:pt x="158" y="75"/>
                  </a:lnTo>
                  <a:lnTo>
                    <a:pt x="153" y="73"/>
                  </a:lnTo>
                  <a:lnTo>
                    <a:pt x="153" y="73"/>
                  </a:lnTo>
                  <a:lnTo>
                    <a:pt x="144" y="72"/>
                  </a:lnTo>
                  <a:lnTo>
                    <a:pt x="134" y="68"/>
                  </a:lnTo>
                  <a:lnTo>
                    <a:pt x="125" y="65"/>
                  </a:lnTo>
                  <a:lnTo>
                    <a:pt x="76" y="6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2" name="Freeform 1767">
              <a:extLst>
                <a:ext uri="{FF2B5EF4-FFF2-40B4-BE49-F238E27FC236}">
                  <a16:creationId xmlns:a16="http://schemas.microsoft.com/office/drawing/2014/main" id="{35C92640-A426-42EB-BDB0-4292610C12B2}"/>
                </a:ext>
              </a:extLst>
            </p:cNvPr>
            <p:cNvSpPr>
              <a:spLocks/>
            </p:cNvSpPr>
            <p:nvPr/>
          </p:nvSpPr>
          <p:spPr bwMode="auto">
            <a:xfrm>
              <a:off x="4968175" y="4437779"/>
              <a:ext cx="162103" cy="207917"/>
            </a:xfrm>
            <a:custGeom>
              <a:avLst/>
              <a:gdLst/>
              <a:ahLst/>
              <a:cxnLst>
                <a:cxn ang="0">
                  <a:pos x="96" y="1"/>
                </a:cxn>
                <a:cxn ang="0">
                  <a:pos x="132" y="1"/>
                </a:cxn>
                <a:cxn ang="0">
                  <a:pos x="160" y="7"/>
                </a:cxn>
                <a:cxn ang="0">
                  <a:pos x="158" y="21"/>
                </a:cxn>
                <a:cxn ang="0">
                  <a:pos x="157" y="40"/>
                </a:cxn>
                <a:cxn ang="0">
                  <a:pos x="162" y="45"/>
                </a:cxn>
                <a:cxn ang="0">
                  <a:pos x="178" y="42"/>
                </a:cxn>
                <a:cxn ang="0">
                  <a:pos x="190" y="40"/>
                </a:cxn>
                <a:cxn ang="0">
                  <a:pos x="202" y="54"/>
                </a:cxn>
                <a:cxn ang="0">
                  <a:pos x="200" y="69"/>
                </a:cxn>
                <a:cxn ang="0">
                  <a:pos x="195" y="75"/>
                </a:cxn>
                <a:cxn ang="0">
                  <a:pos x="186" y="82"/>
                </a:cxn>
                <a:cxn ang="0">
                  <a:pos x="181" y="101"/>
                </a:cxn>
                <a:cxn ang="0">
                  <a:pos x="186" y="113"/>
                </a:cxn>
                <a:cxn ang="0">
                  <a:pos x="202" y="123"/>
                </a:cxn>
                <a:cxn ang="0">
                  <a:pos x="200" y="139"/>
                </a:cxn>
                <a:cxn ang="0">
                  <a:pos x="200" y="176"/>
                </a:cxn>
                <a:cxn ang="0">
                  <a:pos x="195" y="186"/>
                </a:cxn>
                <a:cxn ang="0">
                  <a:pos x="195" y="200"/>
                </a:cxn>
                <a:cxn ang="0">
                  <a:pos x="188" y="203"/>
                </a:cxn>
                <a:cxn ang="0">
                  <a:pos x="179" y="195"/>
                </a:cxn>
                <a:cxn ang="0">
                  <a:pos x="174" y="195"/>
                </a:cxn>
                <a:cxn ang="0">
                  <a:pos x="164" y="202"/>
                </a:cxn>
                <a:cxn ang="0">
                  <a:pos x="153" y="196"/>
                </a:cxn>
                <a:cxn ang="0">
                  <a:pos x="141" y="177"/>
                </a:cxn>
                <a:cxn ang="0">
                  <a:pos x="132" y="174"/>
                </a:cxn>
                <a:cxn ang="0">
                  <a:pos x="134" y="190"/>
                </a:cxn>
                <a:cxn ang="0">
                  <a:pos x="131" y="198"/>
                </a:cxn>
                <a:cxn ang="0">
                  <a:pos x="110" y="200"/>
                </a:cxn>
                <a:cxn ang="0">
                  <a:pos x="103" y="209"/>
                </a:cxn>
                <a:cxn ang="0">
                  <a:pos x="106" y="230"/>
                </a:cxn>
                <a:cxn ang="0">
                  <a:pos x="113" y="242"/>
                </a:cxn>
                <a:cxn ang="0">
                  <a:pos x="111" y="256"/>
                </a:cxn>
                <a:cxn ang="0">
                  <a:pos x="106" y="254"/>
                </a:cxn>
                <a:cxn ang="0">
                  <a:pos x="84" y="261"/>
                </a:cxn>
                <a:cxn ang="0">
                  <a:pos x="73" y="247"/>
                </a:cxn>
                <a:cxn ang="0">
                  <a:pos x="47" y="217"/>
                </a:cxn>
                <a:cxn ang="0">
                  <a:pos x="30" y="191"/>
                </a:cxn>
                <a:cxn ang="0">
                  <a:pos x="21" y="179"/>
                </a:cxn>
                <a:cxn ang="0">
                  <a:pos x="7" y="146"/>
                </a:cxn>
                <a:cxn ang="0">
                  <a:pos x="0" y="123"/>
                </a:cxn>
                <a:cxn ang="0">
                  <a:pos x="5" y="127"/>
                </a:cxn>
                <a:cxn ang="0">
                  <a:pos x="14" y="127"/>
                </a:cxn>
                <a:cxn ang="0">
                  <a:pos x="21" y="99"/>
                </a:cxn>
                <a:cxn ang="0">
                  <a:pos x="21" y="85"/>
                </a:cxn>
                <a:cxn ang="0">
                  <a:pos x="30" y="92"/>
                </a:cxn>
                <a:cxn ang="0">
                  <a:pos x="37" y="95"/>
                </a:cxn>
                <a:cxn ang="0">
                  <a:pos x="47" y="94"/>
                </a:cxn>
                <a:cxn ang="0">
                  <a:pos x="44" y="89"/>
                </a:cxn>
                <a:cxn ang="0">
                  <a:pos x="26" y="83"/>
                </a:cxn>
                <a:cxn ang="0">
                  <a:pos x="23" y="71"/>
                </a:cxn>
                <a:cxn ang="0">
                  <a:pos x="28" y="69"/>
                </a:cxn>
                <a:cxn ang="0">
                  <a:pos x="31" y="71"/>
                </a:cxn>
                <a:cxn ang="0">
                  <a:pos x="30" y="61"/>
                </a:cxn>
                <a:cxn ang="0">
                  <a:pos x="51" y="55"/>
                </a:cxn>
                <a:cxn ang="0">
                  <a:pos x="92" y="57"/>
                </a:cxn>
              </a:cxnLst>
              <a:rect l="0" t="0" r="r" b="b"/>
              <a:pathLst>
                <a:path w="202" h="261">
                  <a:moveTo>
                    <a:pt x="92" y="7"/>
                  </a:moveTo>
                  <a:lnTo>
                    <a:pt x="92" y="7"/>
                  </a:lnTo>
                  <a:lnTo>
                    <a:pt x="96" y="1"/>
                  </a:lnTo>
                  <a:lnTo>
                    <a:pt x="99" y="0"/>
                  </a:lnTo>
                  <a:lnTo>
                    <a:pt x="132" y="1"/>
                  </a:lnTo>
                  <a:lnTo>
                    <a:pt x="132" y="1"/>
                  </a:lnTo>
                  <a:lnTo>
                    <a:pt x="158" y="1"/>
                  </a:lnTo>
                  <a:lnTo>
                    <a:pt x="158" y="3"/>
                  </a:lnTo>
                  <a:lnTo>
                    <a:pt x="160" y="7"/>
                  </a:lnTo>
                  <a:lnTo>
                    <a:pt x="160" y="7"/>
                  </a:lnTo>
                  <a:lnTo>
                    <a:pt x="160" y="14"/>
                  </a:lnTo>
                  <a:lnTo>
                    <a:pt x="158" y="21"/>
                  </a:lnTo>
                  <a:lnTo>
                    <a:pt x="155" y="28"/>
                  </a:lnTo>
                  <a:lnTo>
                    <a:pt x="155" y="33"/>
                  </a:lnTo>
                  <a:lnTo>
                    <a:pt x="157" y="40"/>
                  </a:lnTo>
                  <a:lnTo>
                    <a:pt x="157" y="40"/>
                  </a:lnTo>
                  <a:lnTo>
                    <a:pt x="158" y="43"/>
                  </a:lnTo>
                  <a:lnTo>
                    <a:pt x="162" y="45"/>
                  </a:lnTo>
                  <a:lnTo>
                    <a:pt x="165" y="45"/>
                  </a:lnTo>
                  <a:lnTo>
                    <a:pt x="169" y="43"/>
                  </a:lnTo>
                  <a:lnTo>
                    <a:pt x="178" y="42"/>
                  </a:lnTo>
                  <a:lnTo>
                    <a:pt x="186" y="40"/>
                  </a:lnTo>
                  <a:lnTo>
                    <a:pt x="186" y="40"/>
                  </a:lnTo>
                  <a:lnTo>
                    <a:pt x="190" y="40"/>
                  </a:lnTo>
                  <a:lnTo>
                    <a:pt x="193" y="43"/>
                  </a:lnTo>
                  <a:lnTo>
                    <a:pt x="199" y="48"/>
                  </a:lnTo>
                  <a:lnTo>
                    <a:pt x="202" y="54"/>
                  </a:lnTo>
                  <a:lnTo>
                    <a:pt x="202" y="59"/>
                  </a:lnTo>
                  <a:lnTo>
                    <a:pt x="202" y="64"/>
                  </a:lnTo>
                  <a:lnTo>
                    <a:pt x="200" y="69"/>
                  </a:lnTo>
                  <a:lnTo>
                    <a:pt x="200" y="69"/>
                  </a:lnTo>
                  <a:lnTo>
                    <a:pt x="199" y="73"/>
                  </a:lnTo>
                  <a:lnTo>
                    <a:pt x="195" y="75"/>
                  </a:lnTo>
                  <a:lnTo>
                    <a:pt x="192" y="76"/>
                  </a:lnTo>
                  <a:lnTo>
                    <a:pt x="188" y="78"/>
                  </a:lnTo>
                  <a:lnTo>
                    <a:pt x="186" y="82"/>
                  </a:lnTo>
                  <a:lnTo>
                    <a:pt x="183" y="89"/>
                  </a:lnTo>
                  <a:lnTo>
                    <a:pt x="181" y="101"/>
                  </a:lnTo>
                  <a:lnTo>
                    <a:pt x="181" y="101"/>
                  </a:lnTo>
                  <a:lnTo>
                    <a:pt x="181" y="106"/>
                  </a:lnTo>
                  <a:lnTo>
                    <a:pt x="183" y="109"/>
                  </a:lnTo>
                  <a:lnTo>
                    <a:pt x="186" y="113"/>
                  </a:lnTo>
                  <a:lnTo>
                    <a:pt x="192" y="115"/>
                  </a:lnTo>
                  <a:lnTo>
                    <a:pt x="199" y="120"/>
                  </a:lnTo>
                  <a:lnTo>
                    <a:pt x="202" y="123"/>
                  </a:lnTo>
                  <a:lnTo>
                    <a:pt x="202" y="127"/>
                  </a:lnTo>
                  <a:lnTo>
                    <a:pt x="202" y="127"/>
                  </a:lnTo>
                  <a:lnTo>
                    <a:pt x="200" y="139"/>
                  </a:lnTo>
                  <a:lnTo>
                    <a:pt x="202" y="153"/>
                  </a:lnTo>
                  <a:lnTo>
                    <a:pt x="202" y="169"/>
                  </a:lnTo>
                  <a:lnTo>
                    <a:pt x="200" y="176"/>
                  </a:lnTo>
                  <a:lnTo>
                    <a:pt x="199" y="181"/>
                  </a:lnTo>
                  <a:lnTo>
                    <a:pt x="199" y="181"/>
                  </a:lnTo>
                  <a:lnTo>
                    <a:pt x="195" y="186"/>
                  </a:lnTo>
                  <a:lnTo>
                    <a:pt x="195" y="190"/>
                  </a:lnTo>
                  <a:lnTo>
                    <a:pt x="195" y="196"/>
                  </a:lnTo>
                  <a:lnTo>
                    <a:pt x="195" y="200"/>
                  </a:lnTo>
                  <a:lnTo>
                    <a:pt x="193" y="202"/>
                  </a:lnTo>
                  <a:lnTo>
                    <a:pt x="188" y="203"/>
                  </a:lnTo>
                  <a:lnTo>
                    <a:pt x="188" y="203"/>
                  </a:lnTo>
                  <a:lnTo>
                    <a:pt x="185" y="203"/>
                  </a:lnTo>
                  <a:lnTo>
                    <a:pt x="183" y="202"/>
                  </a:lnTo>
                  <a:lnTo>
                    <a:pt x="179" y="195"/>
                  </a:lnTo>
                  <a:lnTo>
                    <a:pt x="179" y="191"/>
                  </a:lnTo>
                  <a:lnTo>
                    <a:pt x="178" y="191"/>
                  </a:lnTo>
                  <a:lnTo>
                    <a:pt x="174" y="195"/>
                  </a:lnTo>
                  <a:lnTo>
                    <a:pt x="174" y="195"/>
                  </a:lnTo>
                  <a:lnTo>
                    <a:pt x="167" y="202"/>
                  </a:lnTo>
                  <a:lnTo>
                    <a:pt x="164" y="202"/>
                  </a:lnTo>
                  <a:lnTo>
                    <a:pt x="160" y="202"/>
                  </a:lnTo>
                  <a:lnTo>
                    <a:pt x="157" y="200"/>
                  </a:lnTo>
                  <a:lnTo>
                    <a:pt x="153" y="196"/>
                  </a:lnTo>
                  <a:lnTo>
                    <a:pt x="145" y="184"/>
                  </a:lnTo>
                  <a:lnTo>
                    <a:pt x="145" y="184"/>
                  </a:lnTo>
                  <a:lnTo>
                    <a:pt x="141" y="177"/>
                  </a:lnTo>
                  <a:lnTo>
                    <a:pt x="138" y="174"/>
                  </a:lnTo>
                  <a:lnTo>
                    <a:pt x="134" y="174"/>
                  </a:lnTo>
                  <a:lnTo>
                    <a:pt x="132" y="174"/>
                  </a:lnTo>
                  <a:lnTo>
                    <a:pt x="132" y="181"/>
                  </a:lnTo>
                  <a:lnTo>
                    <a:pt x="134" y="190"/>
                  </a:lnTo>
                  <a:lnTo>
                    <a:pt x="134" y="190"/>
                  </a:lnTo>
                  <a:lnTo>
                    <a:pt x="134" y="195"/>
                  </a:lnTo>
                  <a:lnTo>
                    <a:pt x="134" y="196"/>
                  </a:lnTo>
                  <a:lnTo>
                    <a:pt x="131" y="198"/>
                  </a:lnTo>
                  <a:lnTo>
                    <a:pt x="127" y="200"/>
                  </a:lnTo>
                  <a:lnTo>
                    <a:pt x="110" y="200"/>
                  </a:lnTo>
                  <a:lnTo>
                    <a:pt x="110" y="200"/>
                  </a:lnTo>
                  <a:lnTo>
                    <a:pt x="106" y="200"/>
                  </a:lnTo>
                  <a:lnTo>
                    <a:pt x="105" y="203"/>
                  </a:lnTo>
                  <a:lnTo>
                    <a:pt x="103" y="209"/>
                  </a:lnTo>
                  <a:lnTo>
                    <a:pt x="103" y="214"/>
                  </a:lnTo>
                  <a:lnTo>
                    <a:pt x="103" y="224"/>
                  </a:lnTo>
                  <a:lnTo>
                    <a:pt x="106" y="230"/>
                  </a:lnTo>
                  <a:lnTo>
                    <a:pt x="108" y="235"/>
                  </a:lnTo>
                  <a:lnTo>
                    <a:pt x="108" y="235"/>
                  </a:lnTo>
                  <a:lnTo>
                    <a:pt x="113" y="242"/>
                  </a:lnTo>
                  <a:lnTo>
                    <a:pt x="113" y="250"/>
                  </a:lnTo>
                  <a:lnTo>
                    <a:pt x="113" y="254"/>
                  </a:lnTo>
                  <a:lnTo>
                    <a:pt x="111" y="256"/>
                  </a:lnTo>
                  <a:lnTo>
                    <a:pt x="108" y="256"/>
                  </a:lnTo>
                  <a:lnTo>
                    <a:pt x="106" y="254"/>
                  </a:lnTo>
                  <a:lnTo>
                    <a:pt x="106" y="254"/>
                  </a:lnTo>
                  <a:lnTo>
                    <a:pt x="99" y="250"/>
                  </a:lnTo>
                  <a:lnTo>
                    <a:pt x="96" y="250"/>
                  </a:lnTo>
                  <a:lnTo>
                    <a:pt x="84" y="261"/>
                  </a:lnTo>
                  <a:lnTo>
                    <a:pt x="84" y="261"/>
                  </a:lnTo>
                  <a:lnTo>
                    <a:pt x="75" y="252"/>
                  </a:lnTo>
                  <a:lnTo>
                    <a:pt x="73" y="247"/>
                  </a:lnTo>
                  <a:lnTo>
                    <a:pt x="66" y="238"/>
                  </a:lnTo>
                  <a:lnTo>
                    <a:pt x="47" y="217"/>
                  </a:lnTo>
                  <a:lnTo>
                    <a:pt x="47" y="217"/>
                  </a:lnTo>
                  <a:lnTo>
                    <a:pt x="38" y="207"/>
                  </a:lnTo>
                  <a:lnTo>
                    <a:pt x="33" y="198"/>
                  </a:lnTo>
                  <a:lnTo>
                    <a:pt x="30" y="191"/>
                  </a:lnTo>
                  <a:lnTo>
                    <a:pt x="24" y="184"/>
                  </a:lnTo>
                  <a:lnTo>
                    <a:pt x="24" y="184"/>
                  </a:lnTo>
                  <a:lnTo>
                    <a:pt x="21" y="179"/>
                  </a:lnTo>
                  <a:lnTo>
                    <a:pt x="17" y="170"/>
                  </a:lnTo>
                  <a:lnTo>
                    <a:pt x="7" y="146"/>
                  </a:lnTo>
                  <a:lnTo>
                    <a:pt x="7" y="146"/>
                  </a:lnTo>
                  <a:lnTo>
                    <a:pt x="2" y="132"/>
                  </a:lnTo>
                  <a:lnTo>
                    <a:pt x="0" y="125"/>
                  </a:lnTo>
                  <a:lnTo>
                    <a:pt x="0" y="123"/>
                  </a:lnTo>
                  <a:lnTo>
                    <a:pt x="0" y="123"/>
                  </a:lnTo>
                  <a:lnTo>
                    <a:pt x="5" y="127"/>
                  </a:lnTo>
                  <a:lnTo>
                    <a:pt x="5" y="127"/>
                  </a:lnTo>
                  <a:lnTo>
                    <a:pt x="9" y="130"/>
                  </a:lnTo>
                  <a:lnTo>
                    <a:pt x="12" y="129"/>
                  </a:lnTo>
                  <a:lnTo>
                    <a:pt x="14" y="127"/>
                  </a:lnTo>
                  <a:lnTo>
                    <a:pt x="17" y="123"/>
                  </a:lnTo>
                  <a:lnTo>
                    <a:pt x="21" y="111"/>
                  </a:lnTo>
                  <a:lnTo>
                    <a:pt x="21" y="99"/>
                  </a:lnTo>
                  <a:lnTo>
                    <a:pt x="21" y="99"/>
                  </a:lnTo>
                  <a:lnTo>
                    <a:pt x="21" y="89"/>
                  </a:lnTo>
                  <a:lnTo>
                    <a:pt x="21" y="85"/>
                  </a:lnTo>
                  <a:lnTo>
                    <a:pt x="23" y="85"/>
                  </a:lnTo>
                  <a:lnTo>
                    <a:pt x="24" y="85"/>
                  </a:lnTo>
                  <a:lnTo>
                    <a:pt x="30" y="92"/>
                  </a:lnTo>
                  <a:lnTo>
                    <a:pt x="30" y="92"/>
                  </a:lnTo>
                  <a:lnTo>
                    <a:pt x="33" y="95"/>
                  </a:lnTo>
                  <a:lnTo>
                    <a:pt x="37" y="95"/>
                  </a:lnTo>
                  <a:lnTo>
                    <a:pt x="42" y="95"/>
                  </a:lnTo>
                  <a:lnTo>
                    <a:pt x="45" y="95"/>
                  </a:lnTo>
                  <a:lnTo>
                    <a:pt x="47" y="94"/>
                  </a:lnTo>
                  <a:lnTo>
                    <a:pt x="49" y="92"/>
                  </a:lnTo>
                  <a:lnTo>
                    <a:pt x="47" y="90"/>
                  </a:lnTo>
                  <a:lnTo>
                    <a:pt x="44" y="89"/>
                  </a:lnTo>
                  <a:lnTo>
                    <a:pt x="44" y="89"/>
                  </a:lnTo>
                  <a:lnTo>
                    <a:pt x="35" y="87"/>
                  </a:lnTo>
                  <a:lnTo>
                    <a:pt x="26" y="83"/>
                  </a:lnTo>
                  <a:lnTo>
                    <a:pt x="23" y="78"/>
                  </a:lnTo>
                  <a:lnTo>
                    <a:pt x="23" y="75"/>
                  </a:lnTo>
                  <a:lnTo>
                    <a:pt x="23" y="71"/>
                  </a:lnTo>
                  <a:lnTo>
                    <a:pt x="23" y="71"/>
                  </a:lnTo>
                  <a:lnTo>
                    <a:pt x="26" y="69"/>
                  </a:lnTo>
                  <a:lnTo>
                    <a:pt x="28" y="69"/>
                  </a:lnTo>
                  <a:lnTo>
                    <a:pt x="30" y="71"/>
                  </a:lnTo>
                  <a:lnTo>
                    <a:pt x="31" y="71"/>
                  </a:lnTo>
                  <a:lnTo>
                    <a:pt x="31" y="71"/>
                  </a:lnTo>
                  <a:lnTo>
                    <a:pt x="33" y="68"/>
                  </a:lnTo>
                  <a:lnTo>
                    <a:pt x="31" y="64"/>
                  </a:lnTo>
                  <a:lnTo>
                    <a:pt x="30" y="61"/>
                  </a:lnTo>
                  <a:lnTo>
                    <a:pt x="31" y="55"/>
                  </a:lnTo>
                  <a:lnTo>
                    <a:pt x="31" y="55"/>
                  </a:lnTo>
                  <a:lnTo>
                    <a:pt x="51" y="55"/>
                  </a:lnTo>
                  <a:lnTo>
                    <a:pt x="64" y="55"/>
                  </a:lnTo>
                  <a:lnTo>
                    <a:pt x="77" y="57"/>
                  </a:lnTo>
                  <a:lnTo>
                    <a:pt x="92" y="57"/>
                  </a:lnTo>
                  <a:lnTo>
                    <a:pt x="92" y="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3" name="Freeform 1768">
              <a:extLst>
                <a:ext uri="{FF2B5EF4-FFF2-40B4-BE49-F238E27FC236}">
                  <a16:creationId xmlns:a16="http://schemas.microsoft.com/office/drawing/2014/main" id="{F25E625D-9C9E-4DC2-890C-1A3AE2A6D908}"/>
                </a:ext>
              </a:extLst>
            </p:cNvPr>
            <p:cNvSpPr>
              <a:spLocks/>
            </p:cNvSpPr>
            <p:nvPr/>
          </p:nvSpPr>
          <p:spPr bwMode="auto">
            <a:xfrm>
              <a:off x="4481862" y="4150572"/>
              <a:ext cx="170916" cy="216726"/>
            </a:xfrm>
            <a:custGeom>
              <a:avLst/>
              <a:gdLst/>
              <a:ahLst/>
              <a:cxnLst>
                <a:cxn ang="0">
                  <a:pos x="206" y="63"/>
                </a:cxn>
                <a:cxn ang="0">
                  <a:pos x="213" y="108"/>
                </a:cxn>
                <a:cxn ang="0">
                  <a:pos x="209" y="118"/>
                </a:cxn>
                <a:cxn ang="0">
                  <a:pos x="199" y="139"/>
                </a:cxn>
                <a:cxn ang="0">
                  <a:pos x="190" y="185"/>
                </a:cxn>
                <a:cxn ang="0">
                  <a:pos x="199" y="216"/>
                </a:cxn>
                <a:cxn ang="0">
                  <a:pos x="204" y="240"/>
                </a:cxn>
                <a:cxn ang="0">
                  <a:pos x="202" y="240"/>
                </a:cxn>
                <a:cxn ang="0">
                  <a:pos x="192" y="237"/>
                </a:cxn>
                <a:cxn ang="0">
                  <a:pos x="181" y="239"/>
                </a:cxn>
                <a:cxn ang="0">
                  <a:pos x="157" y="235"/>
                </a:cxn>
                <a:cxn ang="0">
                  <a:pos x="136" y="240"/>
                </a:cxn>
                <a:cxn ang="0">
                  <a:pos x="89" y="246"/>
                </a:cxn>
                <a:cxn ang="0">
                  <a:pos x="66" y="254"/>
                </a:cxn>
                <a:cxn ang="0">
                  <a:pos x="42" y="272"/>
                </a:cxn>
                <a:cxn ang="0">
                  <a:pos x="37" y="259"/>
                </a:cxn>
                <a:cxn ang="0">
                  <a:pos x="42" y="218"/>
                </a:cxn>
                <a:cxn ang="0">
                  <a:pos x="38" y="207"/>
                </a:cxn>
                <a:cxn ang="0">
                  <a:pos x="30" y="202"/>
                </a:cxn>
                <a:cxn ang="0">
                  <a:pos x="26" y="193"/>
                </a:cxn>
                <a:cxn ang="0">
                  <a:pos x="2" y="183"/>
                </a:cxn>
                <a:cxn ang="0">
                  <a:pos x="2" y="176"/>
                </a:cxn>
                <a:cxn ang="0">
                  <a:pos x="9" y="155"/>
                </a:cxn>
                <a:cxn ang="0">
                  <a:pos x="2" y="132"/>
                </a:cxn>
                <a:cxn ang="0">
                  <a:pos x="12" y="136"/>
                </a:cxn>
                <a:cxn ang="0">
                  <a:pos x="23" y="113"/>
                </a:cxn>
                <a:cxn ang="0">
                  <a:pos x="23" y="110"/>
                </a:cxn>
                <a:cxn ang="0">
                  <a:pos x="12" y="108"/>
                </a:cxn>
                <a:cxn ang="0">
                  <a:pos x="11" y="99"/>
                </a:cxn>
                <a:cxn ang="0">
                  <a:pos x="21" y="98"/>
                </a:cxn>
                <a:cxn ang="0">
                  <a:pos x="33" y="96"/>
                </a:cxn>
                <a:cxn ang="0">
                  <a:pos x="24" y="85"/>
                </a:cxn>
                <a:cxn ang="0">
                  <a:pos x="26" y="75"/>
                </a:cxn>
                <a:cxn ang="0">
                  <a:pos x="28" y="66"/>
                </a:cxn>
                <a:cxn ang="0">
                  <a:pos x="18" y="56"/>
                </a:cxn>
                <a:cxn ang="0">
                  <a:pos x="16" y="47"/>
                </a:cxn>
                <a:cxn ang="0">
                  <a:pos x="18" y="31"/>
                </a:cxn>
                <a:cxn ang="0">
                  <a:pos x="31" y="17"/>
                </a:cxn>
                <a:cxn ang="0">
                  <a:pos x="45" y="19"/>
                </a:cxn>
                <a:cxn ang="0">
                  <a:pos x="56" y="24"/>
                </a:cxn>
                <a:cxn ang="0">
                  <a:pos x="71" y="7"/>
                </a:cxn>
                <a:cxn ang="0">
                  <a:pos x="84" y="4"/>
                </a:cxn>
                <a:cxn ang="0">
                  <a:pos x="84" y="16"/>
                </a:cxn>
                <a:cxn ang="0">
                  <a:pos x="87" y="24"/>
                </a:cxn>
                <a:cxn ang="0">
                  <a:pos x="103" y="16"/>
                </a:cxn>
                <a:cxn ang="0">
                  <a:pos x="115" y="17"/>
                </a:cxn>
                <a:cxn ang="0">
                  <a:pos x="122" y="24"/>
                </a:cxn>
                <a:cxn ang="0">
                  <a:pos x="129" y="37"/>
                </a:cxn>
                <a:cxn ang="0">
                  <a:pos x="145" y="47"/>
                </a:cxn>
                <a:cxn ang="0">
                  <a:pos x="153" y="47"/>
                </a:cxn>
                <a:cxn ang="0">
                  <a:pos x="164" y="38"/>
                </a:cxn>
                <a:cxn ang="0">
                  <a:pos x="181" y="38"/>
                </a:cxn>
                <a:cxn ang="0">
                  <a:pos x="195" y="47"/>
                </a:cxn>
                <a:cxn ang="0">
                  <a:pos x="207" y="58"/>
                </a:cxn>
              </a:cxnLst>
              <a:rect l="0" t="0" r="r" b="b"/>
              <a:pathLst>
                <a:path w="213" h="273">
                  <a:moveTo>
                    <a:pt x="207" y="58"/>
                  </a:moveTo>
                  <a:lnTo>
                    <a:pt x="207" y="58"/>
                  </a:lnTo>
                  <a:lnTo>
                    <a:pt x="206" y="63"/>
                  </a:lnTo>
                  <a:lnTo>
                    <a:pt x="207" y="71"/>
                  </a:lnTo>
                  <a:lnTo>
                    <a:pt x="211" y="91"/>
                  </a:lnTo>
                  <a:lnTo>
                    <a:pt x="213" y="108"/>
                  </a:lnTo>
                  <a:lnTo>
                    <a:pt x="213" y="115"/>
                  </a:lnTo>
                  <a:lnTo>
                    <a:pt x="209" y="118"/>
                  </a:lnTo>
                  <a:lnTo>
                    <a:pt x="209" y="118"/>
                  </a:lnTo>
                  <a:lnTo>
                    <a:pt x="206" y="120"/>
                  </a:lnTo>
                  <a:lnTo>
                    <a:pt x="204" y="125"/>
                  </a:lnTo>
                  <a:lnTo>
                    <a:pt x="199" y="139"/>
                  </a:lnTo>
                  <a:lnTo>
                    <a:pt x="188" y="174"/>
                  </a:lnTo>
                  <a:lnTo>
                    <a:pt x="188" y="174"/>
                  </a:lnTo>
                  <a:lnTo>
                    <a:pt x="190" y="185"/>
                  </a:lnTo>
                  <a:lnTo>
                    <a:pt x="192" y="197"/>
                  </a:lnTo>
                  <a:lnTo>
                    <a:pt x="199" y="216"/>
                  </a:lnTo>
                  <a:lnTo>
                    <a:pt x="199" y="216"/>
                  </a:lnTo>
                  <a:lnTo>
                    <a:pt x="206" y="232"/>
                  </a:lnTo>
                  <a:lnTo>
                    <a:pt x="206" y="239"/>
                  </a:lnTo>
                  <a:lnTo>
                    <a:pt x="204" y="240"/>
                  </a:lnTo>
                  <a:lnTo>
                    <a:pt x="200" y="240"/>
                  </a:lnTo>
                  <a:lnTo>
                    <a:pt x="200" y="240"/>
                  </a:lnTo>
                  <a:lnTo>
                    <a:pt x="202" y="240"/>
                  </a:lnTo>
                  <a:lnTo>
                    <a:pt x="200" y="239"/>
                  </a:lnTo>
                  <a:lnTo>
                    <a:pt x="192" y="237"/>
                  </a:lnTo>
                  <a:lnTo>
                    <a:pt x="192" y="237"/>
                  </a:lnTo>
                  <a:lnTo>
                    <a:pt x="188" y="237"/>
                  </a:lnTo>
                  <a:lnTo>
                    <a:pt x="185" y="239"/>
                  </a:lnTo>
                  <a:lnTo>
                    <a:pt x="181" y="239"/>
                  </a:lnTo>
                  <a:lnTo>
                    <a:pt x="169" y="239"/>
                  </a:lnTo>
                  <a:lnTo>
                    <a:pt x="169" y="239"/>
                  </a:lnTo>
                  <a:lnTo>
                    <a:pt x="157" y="235"/>
                  </a:lnTo>
                  <a:lnTo>
                    <a:pt x="148" y="239"/>
                  </a:lnTo>
                  <a:lnTo>
                    <a:pt x="148" y="239"/>
                  </a:lnTo>
                  <a:lnTo>
                    <a:pt x="136" y="240"/>
                  </a:lnTo>
                  <a:lnTo>
                    <a:pt x="125" y="240"/>
                  </a:lnTo>
                  <a:lnTo>
                    <a:pt x="112" y="240"/>
                  </a:lnTo>
                  <a:lnTo>
                    <a:pt x="89" y="246"/>
                  </a:lnTo>
                  <a:lnTo>
                    <a:pt x="89" y="246"/>
                  </a:lnTo>
                  <a:lnTo>
                    <a:pt x="77" y="249"/>
                  </a:lnTo>
                  <a:lnTo>
                    <a:pt x="66" y="254"/>
                  </a:lnTo>
                  <a:lnTo>
                    <a:pt x="54" y="263"/>
                  </a:lnTo>
                  <a:lnTo>
                    <a:pt x="45" y="270"/>
                  </a:lnTo>
                  <a:lnTo>
                    <a:pt x="42" y="272"/>
                  </a:lnTo>
                  <a:lnTo>
                    <a:pt x="38" y="273"/>
                  </a:lnTo>
                  <a:lnTo>
                    <a:pt x="38" y="273"/>
                  </a:lnTo>
                  <a:lnTo>
                    <a:pt x="37" y="259"/>
                  </a:lnTo>
                  <a:lnTo>
                    <a:pt x="38" y="244"/>
                  </a:lnTo>
                  <a:lnTo>
                    <a:pt x="42" y="218"/>
                  </a:lnTo>
                  <a:lnTo>
                    <a:pt x="42" y="218"/>
                  </a:lnTo>
                  <a:lnTo>
                    <a:pt x="42" y="212"/>
                  </a:lnTo>
                  <a:lnTo>
                    <a:pt x="40" y="209"/>
                  </a:lnTo>
                  <a:lnTo>
                    <a:pt x="38" y="207"/>
                  </a:lnTo>
                  <a:lnTo>
                    <a:pt x="37" y="206"/>
                  </a:lnTo>
                  <a:lnTo>
                    <a:pt x="31" y="204"/>
                  </a:lnTo>
                  <a:lnTo>
                    <a:pt x="30" y="202"/>
                  </a:lnTo>
                  <a:lnTo>
                    <a:pt x="28" y="197"/>
                  </a:lnTo>
                  <a:lnTo>
                    <a:pt x="28" y="197"/>
                  </a:lnTo>
                  <a:lnTo>
                    <a:pt x="26" y="193"/>
                  </a:lnTo>
                  <a:lnTo>
                    <a:pt x="21" y="190"/>
                  </a:lnTo>
                  <a:lnTo>
                    <a:pt x="11" y="186"/>
                  </a:lnTo>
                  <a:lnTo>
                    <a:pt x="2" y="183"/>
                  </a:lnTo>
                  <a:lnTo>
                    <a:pt x="0" y="179"/>
                  </a:lnTo>
                  <a:lnTo>
                    <a:pt x="2" y="176"/>
                  </a:lnTo>
                  <a:lnTo>
                    <a:pt x="2" y="176"/>
                  </a:lnTo>
                  <a:lnTo>
                    <a:pt x="7" y="169"/>
                  </a:lnTo>
                  <a:lnTo>
                    <a:pt x="9" y="160"/>
                  </a:lnTo>
                  <a:lnTo>
                    <a:pt x="9" y="155"/>
                  </a:lnTo>
                  <a:lnTo>
                    <a:pt x="9" y="148"/>
                  </a:lnTo>
                  <a:lnTo>
                    <a:pt x="2" y="132"/>
                  </a:lnTo>
                  <a:lnTo>
                    <a:pt x="2" y="132"/>
                  </a:lnTo>
                  <a:lnTo>
                    <a:pt x="5" y="136"/>
                  </a:lnTo>
                  <a:lnTo>
                    <a:pt x="9" y="136"/>
                  </a:lnTo>
                  <a:lnTo>
                    <a:pt x="12" y="136"/>
                  </a:lnTo>
                  <a:lnTo>
                    <a:pt x="14" y="132"/>
                  </a:lnTo>
                  <a:lnTo>
                    <a:pt x="19" y="124"/>
                  </a:lnTo>
                  <a:lnTo>
                    <a:pt x="23" y="113"/>
                  </a:lnTo>
                  <a:lnTo>
                    <a:pt x="23" y="113"/>
                  </a:lnTo>
                  <a:lnTo>
                    <a:pt x="23" y="111"/>
                  </a:lnTo>
                  <a:lnTo>
                    <a:pt x="23" y="110"/>
                  </a:lnTo>
                  <a:lnTo>
                    <a:pt x="19" y="110"/>
                  </a:lnTo>
                  <a:lnTo>
                    <a:pt x="14" y="110"/>
                  </a:lnTo>
                  <a:lnTo>
                    <a:pt x="12" y="108"/>
                  </a:lnTo>
                  <a:lnTo>
                    <a:pt x="12" y="105"/>
                  </a:lnTo>
                  <a:lnTo>
                    <a:pt x="12" y="105"/>
                  </a:lnTo>
                  <a:lnTo>
                    <a:pt x="11" y="99"/>
                  </a:lnTo>
                  <a:lnTo>
                    <a:pt x="12" y="98"/>
                  </a:lnTo>
                  <a:lnTo>
                    <a:pt x="14" y="96"/>
                  </a:lnTo>
                  <a:lnTo>
                    <a:pt x="21" y="98"/>
                  </a:lnTo>
                  <a:lnTo>
                    <a:pt x="33" y="101"/>
                  </a:lnTo>
                  <a:lnTo>
                    <a:pt x="33" y="101"/>
                  </a:lnTo>
                  <a:lnTo>
                    <a:pt x="33" y="96"/>
                  </a:lnTo>
                  <a:lnTo>
                    <a:pt x="31" y="92"/>
                  </a:lnTo>
                  <a:lnTo>
                    <a:pt x="26" y="87"/>
                  </a:lnTo>
                  <a:lnTo>
                    <a:pt x="24" y="85"/>
                  </a:lnTo>
                  <a:lnTo>
                    <a:pt x="24" y="84"/>
                  </a:lnTo>
                  <a:lnTo>
                    <a:pt x="24" y="80"/>
                  </a:lnTo>
                  <a:lnTo>
                    <a:pt x="26" y="75"/>
                  </a:lnTo>
                  <a:lnTo>
                    <a:pt x="26" y="75"/>
                  </a:lnTo>
                  <a:lnTo>
                    <a:pt x="28" y="70"/>
                  </a:lnTo>
                  <a:lnTo>
                    <a:pt x="28" y="66"/>
                  </a:lnTo>
                  <a:lnTo>
                    <a:pt x="26" y="64"/>
                  </a:lnTo>
                  <a:lnTo>
                    <a:pt x="23" y="61"/>
                  </a:lnTo>
                  <a:lnTo>
                    <a:pt x="18" y="56"/>
                  </a:lnTo>
                  <a:lnTo>
                    <a:pt x="16" y="52"/>
                  </a:lnTo>
                  <a:lnTo>
                    <a:pt x="16" y="47"/>
                  </a:lnTo>
                  <a:lnTo>
                    <a:pt x="16" y="47"/>
                  </a:lnTo>
                  <a:lnTo>
                    <a:pt x="16" y="40"/>
                  </a:lnTo>
                  <a:lnTo>
                    <a:pt x="16" y="37"/>
                  </a:lnTo>
                  <a:lnTo>
                    <a:pt x="18" y="31"/>
                  </a:lnTo>
                  <a:lnTo>
                    <a:pt x="23" y="26"/>
                  </a:lnTo>
                  <a:lnTo>
                    <a:pt x="23" y="26"/>
                  </a:lnTo>
                  <a:lnTo>
                    <a:pt x="31" y="17"/>
                  </a:lnTo>
                  <a:lnTo>
                    <a:pt x="37" y="16"/>
                  </a:lnTo>
                  <a:lnTo>
                    <a:pt x="42" y="16"/>
                  </a:lnTo>
                  <a:lnTo>
                    <a:pt x="45" y="19"/>
                  </a:lnTo>
                  <a:lnTo>
                    <a:pt x="47" y="23"/>
                  </a:lnTo>
                  <a:lnTo>
                    <a:pt x="51" y="24"/>
                  </a:lnTo>
                  <a:lnTo>
                    <a:pt x="56" y="24"/>
                  </a:lnTo>
                  <a:lnTo>
                    <a:pt x="61" y="19"/>
                  </a:lnTo>
                  <a:lnTo>
                    <a:pt x="61" y="19"/>
                  </a:lnTo>
                  <a:lnTo>
                    <a:pt x="71" y="7"/>
                  </a:lnTo>
                  <a:lnTo>
                    <a:pt x="78" y="0"/>
                  </a:lnTo>
                  <a:lnTo>
                    <a:pt x="82" y="0"/>
                  </a:lnTo>
                  <a:lnTo>
                    <a:pt x="84" y="4"/>
                  </a:lnTo>
                  <a:lnTo>
                    <a:pt x="84" y="7"/>
                  </a:lnTo>
                  <a:lnTo>
                    <a:pt x="84" y="16"/>
                  </a:lnTo>
                  <a:lnTo>
                    <a:pt x="84" y="16"/>
                  </a:lnTo>
                  <a:lnTo>
                    <a:pt x="84" y="21"/>
                  </a:lnTo>
                  <a:lnTo>
                    <a:pt x="85" y="24"/>
                  </a:lnTo>
                  <a:lnTo>
                    <a:pt x="87" y="24"/>
                  </a:lnTo>
                  <a:lnTo>
                    <a:pt x="91" y="24"/>
                  </a:lnTo>
                  <a:lnTo>
                    <a:pt x="98" y="17"/>
                  </a:lnTo>
                  <a:lnTo>
                    <a:pt x="103" y="16"/>
                  </a:lnTo>
                  <a:lnTo>
                    <a:pt x="108" y="14"/>
                  </a:lnTo>
                  <a:lnTo>
                    <a:pt x="108" y="14"/>
                  </a:lnTo>
                  <a:lnTo>
                    <a:pt x="115" y="17"/>
                  </a:lnTo>
                  <a:lnTo>
                    <a:pt x="120" y="19"/>
                  </a:lnTo>
                  <a:lnTo>
                    <a:pt x="122" y="21"/>
                  </a:lnTo>
                  <a:lnTo>
                    <a:pt x="122" y="24"/>
                  </a:lnTo>
                  <a:lnTo>
                    <a:pt x="124" y="28"/>
                  </a:lnTo>
                  <a:lnTo>
                    <a:pt x="125" y="31"/>
                  </a:lnTo>
                  <a:lnTo>
                    <a:pt x="129" y="37"/>
                  </a:lnTo>
                  <a:lnTo>
                    <a:pt x="136" y="42"/>
                  </a:lnTo>
                  <a:lnTo>
                    <a:pt x="136" y="42"/>
                  </a:lnTo>
                  <a:lnTo>
                    <a:pt x="145" y="47"/>
                  </a:lnTo>
                  <a:lnTo>
                    <a:pt x="150" y="49"/>
                  </a:lnTo>
                  <a:lnTo>
                    <a:pt x="152" y="49"/>
                  </a:lnTo>
                  <a:lnTo>
                    <a:pt x="153" y="47"/>
                  </a:lnTo>
                  <a:lnTo>
                    <a:pt x="157" y="44"/>
                  </a:lnTo>
                  <a:lnTo>
                    <a:pt x="159" y="40"/>
                  </a:lnTo>
                  <a:lnTo>
                    <a:pt x="164" y="38"/>
                  </a:lnTo>
                  <a:lnTo>
                    <a:pt x="172" y="37"/>
                  </a:lnTo>
                  <a:lnTo>
                    <a:pt x="172" y="37"/>
                  </a:lnTo>
                  <a:lnTo>
                    <a:pt x="181" y="38"/>
                  </a:lnTo>
                  <a:lnTo>
                    <a:pt x="188" y="40"/>
                  </a:lnTo>
                  <a:lnTo>
                    <a:pt x="192" y="44"/>
                  </a:lnTo>
                  <a:lnTo>
                    <a:pt x="195" y="47"/>
                  </a:lnTo>
                  <a:lnTo>
                    <a:pt x="200" y="54"/>
                  </a:lnTo>
                  <a:lnTo>
                    <a:pt x="202" y="56"/>
                  </a:lnTo>
                  <a:lnTo>
                    <a:pt x="207" y="58"/>
                  </a:lnTo>
                  <a:lnTo>
                    <a:pt x="207" y="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4" name="Freeform 1769">
              <a:extLst>
                <a:ext uri="{FF2B5EF4-FFF2-40B4-BE49-F238E27FC236}">
                  <a16:creationId xmlns:a16="http://schemas.microsoft.com/office/drawing/2014/main" id="{AAF7C79B-9154-4A5C-9CAA-ED08B496125D}"/>
                </a:ext>
              </a:extLst>
            </p:cNvPr>
            <p:cNvSpPr>
              <a:spLocks/>
            </p:cNvSpPr>
            <p:nvPr/>
          </p:nvSpPr>
          <p:spPr bwMode="auto">
            <a:xfrm>
              <a:off x="4633394" y="4136477"/>
              <a:ext cx="123340" cy="218488"/>
            </a:xfrm>
            <a:custGeom>
              <a:avLst/>
              <a:gdLst/>
              <a:ahLst/>
              <a:cxnLst>
                <a:cxn ang="0">
                  <a:pos x="108" y="0"/>
                </a:cxn>
                <a:cxn ang="0">
                  <a:pos x="112" y="20"/>
                </a:cxn>
                <a:cxn ang="0">
                  <a:pos x="119" y="28"/>
                </a:cxn>
                <a:cxn ang="0">
                  <a:pos x="124" y="37"/>
                </a:cxn>
                <a:cxn ang="0">
                  <a:pos x="124" y="56"/>
                </a:cxn>
                <a:cxn ang="0">
                  <a:pos x="124" y="67"/>
                </a:cxn>
                <a:cxn ang="0">
                  <a:pos x="126" y="74"/>
                </a:cxn>
                <a:cxn ang="0">
                  <a:pos x="129" y="74"/>
                </a:cxn>
                <a:cxn ang="0">
                  <a:pos x="131" y="80"/>
                </a:cxn>
                <a:cxn ang="0">
                  <a:pos x="129" y="89"/>
                </a:cxn>
                <a:cxn ang="0">
                  <a:pos x="129" y="105"/>
                </a:cxn>
                <a:cxn ang="0">
                  <a:pos x="134" y="112"/>
                </a:cxn>
                <a:cxn ang="0">
                  <a:pos x="138" y="121"/>
                </a:cxn>
                <a:cxn ang="0">
                  <a:pos x="134" y="140"/>
                </a:cxn>
                <a:cxn ang="0">
                  <a:pos x="131" y="150"/>
                </a:cxn>
                <a:cxn ang="0">
                  <a:pos x="131" y="161"/>
                </a:cxn>
                <a:cxn ang="0">
                  <a:pos x="134" y="161"/>
                </a:cxn>
                <a:cxn ang="0">
                  <a:pos x="136" y="164"/>
                </a:cxn>
                <a:cxn ang="0">
                  <a:pos x="134" y="171"/>
                </a:cxn>
                <a:cxn ang="0">
                  <a:pos x="134" y="185"/>
                </a:cxn>
                <a:cxn ang="0">
                  <a:pos x="138" y="195"/>
                </a:cxn>
                <a:cxn ang="0">
                  <a:pos x="155" y="215"/>
                </a:cxn>
                <a:cxn ang="0">
                  <a:pos x="150" y="220"/>
                </a:cxn>
                <a:cxn ang="0">
                  <a:pos x="148" y="225"/>
                </a:cxn>
                <a:cxn ang="0">
                  <a:pos x="134" y="228"/>
                </a:cxn>
                <a:cxn ang="0">
                  <a:pos x="122" y="230"/>
                </a:cxn>
                <a:cxn ang="0">
                  <a:pos x="106" y="237"/>
                </a:cxn>
                <a:cxn ang="0">
                  <a:pos x="91" y="249"/>
                </a:cxn>
                <a:cxn ang="0">
                  <a:pos x="77" y="253"/>
                </a:cxn>
                <a:cxn ang="0">
                  <a:pos x="70" y="256"/>
                </a:cxn>
                <a:cxn ang="0">
                  <a:pos x="52" y="267"/>
                </a:cxn>
                <a:cxn ang="0">
                  <a:pos x="40" y="274"/>
                </a:cxn>
                <a:cxn ang="0">
                  <a:pos x="37" y="272"/>
                </a:cxn>
                <a:cxn ang="0">
                  <a:pos x="18" y="263"/>
                </a:cxn>
                <a:cxn ang="0">
                  <a:pos x="2" y="260"/>
                </a:cxn>
                <a:cxn ang="0">
                  <a:pos x="2" y="258"/>
                </a:cxn>
                <a:cxn ang="0">
                  <a:pos x="12" y="256"/>
                </a:cxn>
                <a:cxn ang="0">
                  <a:pos x="16" y="256"/>
                </a:cxn>
                <a:cxn ang="0">
                  <a:pos x="18" y="248"/>
                </a:cxn>
                <a:cxn ang="0">
                  <a:pos x="11" y="232"/>
                </a:cxn>
                <a:cxn ang="0">
                  <a:pos x="2" y="201"/>
                </a:cxn>
                <a:cxn ang="0">
                  <a:pos x="0" y="190"/>
                </a:cxn>
                <a:cxn ang="0">
                  <a:pos x="16" y="141"/>
                </a:cxn>
                <a:cxn ang="0">
                  <a:pos x="21" y="134"/>
                </a:cxn>
                <a:cxn ang="0">
                  <a:pos x="25" y="131"/>
                </a:cxn>
                <a:cxn ang="0">
                  <a:pos x="23" y="107"/>
                </a:cxn>
                <a:cxn ang="0">
                  <a:pos x="18" y="79"/>
                </a:cxn>
                <a:cxn ang="0">
                  <a:pos x="19" y="74"/>
                </a:cxn>
                <a:cxn ang="0">
                  <a:pos x="14" y="51"/>
                </a:cxn>
                <a:cxn ang="0">
                  <a:pos x="16" y="32"/>
                </a:cxn>
                <a:cxn ang="0">
                  <a:pos x="11" y="18"/>
                </a:cxn>
                <a:cxn ang="0">
                  <a:pos x="11" y="9"/>
                </a:cxn>
                <a:cxn ang="0">
                  <a:pos x="18" y="6"/>
                </a:cxn>
                <a:cxn ang="0">
                  <a:pos x="52" y="6"/>
                </a:cxn>
                <a:cxn ang="0">
                  <a:pos x="82" y="6"/>
                </a:cxn>
                <a:cxn ang="0">
                  <a:pos x="89" y="9"/>
                </a:cxn>
                <a:cxn ang="0">
                  <a:pos x="96" y="6"/>
                </a:cxn>
                <a:cxn ang="0">
                  <a:pos x="103" y="0"/>
                </a:cxn>
                <a:cxn ang="0">
                  <a:pos x="108" y="0"/>
                </a:cxn>
              </a:cxnLst>
              <a:rect l="0" t="0" r="r" b="b"/>
              <a:pathLst>
                <a:path w="155" h="274">
                  <a:moveTo>
                    <a:pt x="108" y="0"/>
                  </a:moveTo>
                  <a:lnTo>
                    <a:pt x="108" y="0"/>
                  </a:lnTo>
                  <a:lnTo>
                    <a:pt x="108" y="11"/>
                  </a:lnTo>
                  <a:lnTo>
                    <a:pt x="112" y="20"/>
                  </a:lnTo>
                  <a:lnTo>
                    <a:pt x="113" y="25"/>
                  </a:lnTo>
                  <a:lnTo>
                    <a:pt x="119" y="28"/>
                  </a:lnTo>
                  <a:lnTo>
                    <a:pt x="122" y="32"/>
                  </a:lnTo>
                  <a:lnTo>
                    <a:pt x="124" y="37"/>
                  </a:lnTo>
                  <a:lnTo>
                    <a:pt x="126" y="46"/>
                  </a:lnTo>
                  <a:lnTo>
                    <a:pt x="124" y="56"/>
                  </a:lnTo>
                  <a:lnTo>
                    <a:pt x="124" y="56"/>
                  </a:lnTo>
                  <a:lnTo>
                    <a:pt x="124" y="67"/>
                  </a:lnTo>
                  <a:lnTo>
                    <a:pt x="124" y="72"/>
                  </a:lnTo>
                  <a:lnTo>
                    <a:pt x="126" y="74"/>
                  </a:lnTo>
                  <a:lnTo>
                    <a:pt x="127" y="74"/>
                  </a:lnTo>
                  <a:lnTo>
                    <a:pt x="129" y="74"/>
                  </a:lnTo>
                  <a:lnTo>
                    <a:pt x="129" y="75"/>
                  </a:lnTo>
                  <a:lnTo>
                    <a:pt x="131" y="80"/>
                  </a:lnTo>
                  <a:lnTo>
                    <a:pt x="129" y="89"/>
                  </a:lnTo>
                  <a:lnTo>
                    <a:pt x="129" y="89"/>
                  </a:lnTo>
                  <a:lnTo>
                    <a:pt x="129" y="100"/>
                  </a:lnTo>
                  <a:lnTo>
                    <a:pt x="129" y="105"/>
                  </a:lnTo>
                  <a:lnTo>
                    <a:pt x="131" y="108"/>
                  </a:lnTo>
                  <a:lnTo>
                    <a:pt x="134" y="112"/>
                  </a:lnTo>
                  <a:lnTo>
                    <a:pt x="136" y="115"/>
                  </a:lnTo>
                  <a:lnTo>
                    <a:pt x="138" y="121"/>
                  </a:lnTo>
                  <a:lnTo>
                    <a:pt x="136" y="127"/>
                  </a:lnTo>
                  <a:lnTo>
                    <a:pt x="134" y="140"/>
                  </a:lnTo>
                  <a:lnTo>
                    <a:pt x="134" y="140"/>
                  </a:lnTo>
                  <a:lnTo>
                    <a:pt x="131" y="150"/>
                  </a:lnTo>
                  <a:lnTo>
                    <a:pt x="129" y="157"/>
                  </a:lnTo>
                  <a:lnTo>
                    <a:pt x="131" y="161"/>
                  </a:lnTo>
                  <a:lnTo>
                    <a:pt x="131" y="161"/>
                  </a:lnTo>
                  <a:lnTo>
                    <a:pt x="134" y="161"/>
                  </a:lnTo>
                  <a:lnTo>
                    <a:pt x="134" y="161"/>
                  </a:lnTo>
                  <a:lnTo>
                    <a:pt x="136" y="164"/>
                  </a:lnTo>
                  <a:lnTo>
                    <a:pt x="134" y="171"/>
                  </a:lnTo>
                  <a:lnTo>
                    <a:pt x="134" y="171"/>
                  </a:lnTo>
                  <a:lnTo>
                    <a:pt x="132" y="178"/>
                  </a:lnTo>
                  <a:lnTo>
                    <a:pt x="134" y="185"/>
                  </a:lnTo>
                  <a:lnTo>
                    <a:pt x="134" y="190"/>
                  </a:lnTo>
                  <a:lnTo>
                    <a:pt x="138" y="195"/>
                  </a:lnTo>
                  <a:lnTo>
                    <a:pt x="145" y="204"/>
                  </a:lnTo>
                  <a:lnTo>
                    <a:pt x="155" y="215"/>
                  </a:lnTo>
                  <a:lnTo>
                    <a:pt x="155" y="215"/>
                  </a:lnTo>
                  <a:lnTo>
                    <a:pt x="150" y="220"/>
                  </a:lnTo>
                  <a:lnTo>
                    <a:pt x="150" y="223"/>
                  </a:lnTo>
                  <a:lnTo>
                    <a:pt x="148" y="225"/>
                  </a:lnTo>
                  <a:lnTo>
                    <a:pt x="145" y="227"/>
                  </a:lnTo>
                  <a:lnTo>
                    <a:pt x="134" y="228"/>
                  </a:lnTo>
                  <a:lnTo>
                    <a:pt x="134" y="228"/>
                  </a:lnTo>
                  <a:lnTo>
                    <a:pt x="122" y="230"/>
                  </a:lnTo>
                  <a:lnTo>
                    <a:pt x="113" y="234"/>
                  </a:lnTo>
                  <a:lnTo>
                    <a:pt x="106" y="237"/>
                  </a:lnTo>
                  <a:lnTo>
                    <a:pt x="101" y="241"/>
                  </a:lnTo>
                  <a:lnTo>
                    <a:pt x="91" y="249"/>
                  </a:lnTo>
                  <a:lnTo>
                    <a:pt x="85" y="251"/>
                  </a:lnTo>
                  <a:lnTo>
                    <a:pt x="77" y="253"/>
                  </a:lnTo>
                  <a:lnTo>
                    <a:pt x="77" y="253"/>
                  </a:lnTo>
                  <a:lnTo>
                    <a:pt x="70" y="256"/>
                  </a:lnTo>
                  <a:lnTo>
                    <a:pt x="63" y="258"/>
                  </a:lnTo>
                  <a:lnTo>
                    <a:pt x="52" y="267"/>
                  </a:lnTo>
                  <a:lnTo>
                    <a:pt x="44" y="272"/>
                  </a:lnTo>
                  <a:lnTo>
                    <a:pt x="40" y="274"/>
                  </a:lnTo>
                  <a:lnTo>
                    <a:pt x="37" y="272"/>
                  </a:lnTo>
                  <a:lnTo>
                    <a:pt x="37" y="272"/>
                  </a:lnTo>
                  <a:lnTo>
                    <a:pt x="26" y="267"/>
                  </a:lnTo>
                  <a:lnTo>
                    <a:pt x="18" y="263"/>
                  </a:lnTo>
                  <a:lnTo>
                    <a:pt x="2" y="260"/>
                  </a:lnTo>
                  <a:lnTo>
                    <a:pt x="2" y="260"/>
                  </a:lnTo>
                  <a:lnTo>
                    <a:pt x="0" y="258"/>
                  </a:lnTo>
                  <a:lnTo>
                    <a:pt x="2" y="258"/>
                  </a:lnTo>
                  <a:lnTo>
                    <a:pt x="5" y="258"/>
                  </a:lnTo>
                  <a:lnTo>
                    <a:pt x="12" y="256"/>
                  </a:lnTo>
                  <a:lnTo>
                    <a:pt x="12" y="256"/>
                  </a:lnTo>
                  <a:lnTo>
                    <a:pt x="16" y="256"/>
                  </a:lnTo>
                  <a:lnTo>
                    <a:pt x="18" y="255"/>
                  </a:lnTo>
                  <a:lnTo>
                    <a:pt x="18" y="248"/>
                  </a:lnTo>
                  <a:lnTo>
                    <a:pt x="11" y="232"/>
                  </a:lnTo>
                  <a:lnTo>
                    <a:pt x="11" y="232"/>
                  </a:lnTo>
                  <a:lnTo>
                    <a:pt x="4" y="213"/>
                  </a:lnTo>
                  <a:lnTo>
                    <a:pt x="2" y="201"/>
                  </a:lnTo>
                  <a:lnTo>
                    <a:pt x="0" y="190"/>
                  </a:lnTo>
                  <a:lnTo>
                    <a:pt x="0" y="190"/>
                  </a:lnTo>
                  <a:lnTo>
                    <a:pt x="11" y="155"/>
                  </a:lnTo>
                  <a:lnTo>
                    <a:pt x="16" y="141"/>
                  </a:lnTo>
                  <a:lnTo>
                    <a:pt x="18" y="136"/>
                  </a:lnTo>
                  <a:lnTo>
                    <a:pt x="21" y="134"/>
                  </a:lnTo>
                  <a:lnTo>
                    <a:pt x="21" y="134"/>
                  </a:lnTo>
                  <a:lnTo>
                    <a:pt x="25" y="131"/>
                  </a:lnTo>
                  <a:lnTo>
                    <a:pt x="25" y="124"/>
                  </a:lnTo>
                  <a:lnTo>
                    <a:pt x="23" y="107"/>
                  </a:lnTo>
                  <a:lnTo>
                    <a:pt x="19" y="87"/>
                  </a:lnTo>
                  <a:lnTo>
                    <a:pt x="18" y="79"/>
                  </a:lnTo>
                  <a:lnTo>
                    <a:pt x="19" y="74"/>
                  </a:lnTo>
                  <a:lnTo>
                    <a:pt x="19" y="74"/>
                  </a:lnTo>
                  <a:lnTo>
                    <a:pt x="16" y="63"/>
                  </a:lnTo>
                  <a:lnTo>
                    <a:pt x="14" y="51"/>
                  </a:lnTo>
                  <a:lnTo>
                    <a:pt x="14" y="40"/>
                  </a:lnTo>
                  <a:lnTo>
                    <a:pt x="16" y="32"/>
                  </a:lnTo>
                  <a:lnTo>
                    <a:pt x="16" y="32"/>
                  </a:lnTo>
                  <a:lnTo>
                    <a:pt x="11" y="18"/>
                  </a:lnTo>
                  <a:lnTo>
                    <a:pt x="11" y="13"/>
                  </a:lnTo>
                  <a:lnTo>
                    <a:pt x="11" y="9"/>
                  </a:lnTo>
                  <a:lnTo>
                    <a:pt x="12" y="6"/>
                  </a:lnTo>
                  <a:lnTo>
                    <a:pt x="18" y="6"/>
                  </a:lnTo>
                  <a:lnTo>
                    <a:pt x="18" y="6"/>
                  </a:lnTo>
                  <a:lnTo>
                    <a:pt x="52" y="6"/>
                  </a:lnTo>
                  <a:lnTo>
                    <a:pt x="82" y="6"/>
                  </a:lnTo>
                  <a:lnTo>
                    <a:pt x="82" y="6"/>
                  </a:lnTo>
                  <a:lnTo>
                    <a:pt x="87" y="7"/>
                  </a:lnTo>
                  <a:lnTo>
                    <a:pt x="89" y="9"/>
                  </a:lnTo>
                  <a:lnTo>
                    <a:pt x="92" y="9"/>
                  </a:lnTo>
                  <a:lnTo>
                    <a:pt x="96" y="6"/>
                  </a:lnTo>
                  <a:lnTo>
                    <a:pt x="96" y="6"/>
                  </a:lnTo>
                  <a:lnTo>
                    <a:pt x="103" y="0"/>
                  </a:lnTo>
                  <a:lnTo>
                    <a:pt x="108" y="0"/>
                  </a:lnTo>
                  <a:lnTo>
                    <a:pt x="108"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5" name="Freeform 1770">
              <a:extLst>
                <a:ext uri="{FF2B5EF4-FFF2-40B4-BE49-F238E27FC236}">
                  <a16:creationId xmlns:a16="http://schemas.microsoft.com/office/drawing/2014/main" id="{2BA0856C-498B-4B1A-8723-B5128FDA9787}"/>
                </a:ext>
              </a:extLst>
            </p:cNvPr>
            <p:cNvSpPr>
              <a:spLocks/>
            </p:cNvSpPr>
            <p:nvPr/>
          </p:nvSpPr>
          <p:spPr bwMode="auto">
            <a:xfrm>
              <a:off x="4296853" y="4083617"/>
              <a:ext cx="211442" cy="186773"/>
            </a:xfrm>
            <a:custGeom>
              <a:avLst/>
              <a:gdLst/>
              <a:ahLst/>
              <a:cxnLst>
                <a:cxn ang="0">
                  <a:pos x="157" y="185"/>
                </a:cxn>
                <a:cxn ang="0">
                  <a:pos x="158" y="162"/>
                </a:cxn>
                <a:cxn ang="0">
                  <a:pos x="153" y="141"/>
                </a:cxn>
                <a:cxn ang="0">
                  <a:pos x="136" y="117"/>
                </a:cxn>
                <a:cxn ang="0">
                  <a:pos x="108" y="119"/>
                </a:cxn>
                <a:cxn ang="0">
                  <a:pos x="97" y="117"/>
                </a:cxn>
                <a:cxn ang="0">
                  <a:pos x="85" y="136"/>
                </a:cxn>
                <a:cxn ang="0">
                  <a:pos x="63" y="153"/>
                </a:cxn>
                <a:cxn ang="0">
                  <a:pos x="61" y="146"/>
                </a:cxn>
                <a:cxn ang="0">
                  <a:pos x="50" y="138"/>
                </a:cxn>
                <a:cxn ang="0">
                  <a:pos x="54" y="126"/>
                </a:cxn>
                <a:cxn ang="0">
                  <a:pos x="37" y="113"/>
                </a:cxn>
                <a:cxn ang="0">
                  <a:pos x="19" y="101"/>
                </a:cxn>
                <a:cxn ang="0">
                  <a:pos x="19" y="80"/>
                </a:cxn>
                <a:cxn ang="0">
                  <a:pos x="12" y="82"/>
                </a:cxn>
                <a:cxn ang="0">
                  <a:pos x="14" y="70"/>
                </a:cxn>
                <a:cxn ang="0">
                  <a:pos x="5" y="80"/>
                </a:cxn>
                <a:cxn ang="0">
                  <a:pos x="2" y="75"/>
                </a:cxn>
                <a:cxn ang="0">
                  <a:pos x="21" y="49"/>
                </a:cxn>
                <a:cxn ang="0">
                  <a:pos x="30" y="44"/>
                </a:cxn>
                <a:cxn ang="0">
                  <a:pos x="44" y="46"/>
                </a:cxn>
                <a:cxn ang="0">
                  <a:pos x="44" y="25"/>
                </a:cxn>
                <a:cxn ang="0">
                  <a:pos x="49" y="16"/>
                </a:cxn>
                <a:cxn ang="0">
                  <a:pos x="57" y="2"/>
                </a:cxn>
                <a:cxn ang="0">
                  <a:pos x="99" y="12"/>
                </a:cxn>
                <a:cxn ang="0">
                  <a:pos x="129" y="12"/>
                </a:cxn>
                <a:cxn ang="0">
                  <a:pos x="131" y="28"/>
                </a:cxn>
                <a:cxn ang="0">
                  <a:pos x="139" y="25"/>
                </a:cxn>
                <a:cxn ang="0">
                  <a:pos x="151" y="30"/>
                </a:cxn>
                <a:cxn ang="0">
                  <a:pos x="162" y="23"/>
                </a:cxn>
                <a:cxn ang="0">
                  <a:pos x="188" y="28"/>
                </a:cxn>
                <a:cxn ang="0">
                  <a:pos x="198" y="19"/>
                </a:cxn>
                <a:cxn ang="0">
                  <a:pos x="200" y="9"/>
                </a:cxn>
                <a:cxn ang="0">
                  <a:pos x="214" y="14"/>
                </a:cxn>
                <a:cxn ang="0">
                  <a:pos x="219" y="28"/>
                </a:cxn>
                <a:cxn ang="0">
                  <a:pos x="219" y="44"/>
                </a:cxn>
                <a:cxn ang="0">
                  <a:pos x="235" y="56"/>
                </a:cxn>
                <a:cxn ang="0">
                  <a:pos x="228" y="63"/>
                </a:cxn>
                <a:cxn ang="0">
                  <a:pos x="228" y="72"/>
                </a:cxn>
                <a:cxn ang="0">
                  <a:pos x="239" y="87"/>
                </a:cxn>
                <a:cxn ang="0">
                  <a:pos x="244" y="98"/>
                </a:cxn>
                <a:cxn ang="0">
                  <a:pos x="246" y="113"/>
                </a:cxn>
                <a:cxn ang="0">
                  <a:pos x="244" y="134"/>
                </a:cxn>
                <a:cxn ang="0">
                  <a:pos x="256" y="152"/>
                </a:cxn>
                <a:cxn ang="0">
                  <a:pos x="252" y="167"/>
                </a:cxn>
                <a:cxn ang="0">
                  <a:pos x="261" y="183"/>
                </a:cxn>
                <a:cxn ang="0">
                  <a:pos x="240" y="187"/>
                </a:cxn>
                <a:cxn ang="0">
                  <a:pos x="251" y="192"/>
                </a:cxn>
                <a:cxn ang="0">
                  <a:pos x="242" y="214"/>
                </a:cxn>
                <a:cxn ang="0">
                  <a:pos x="230" y="214"/>
                </a:cxn>
                <a:cxn ang="0">
                  <a:pos x="214" y="234"/>
                </a:cxn>
                <a:cxn ang="0">
                  <a:pos x="204" y="227"/>
                </a:cxn>
                <a:cxn ang="0">
                  <a:pos x="198" y="209"/>
                </a:cxn>
                <a:cxn ang="0">
                  <a:pos x="197" y="185"/>
                </a:cxn>
                <a:cxn ang="0">
                  <a:pos x="169" y="180"/>
                </a:cxn>
              </a:cxnLst>
              <a:rect l="0" t="0" r="r" b="b"/>
              <a:pathLst>
                <a:path w="261" h="234">
                  <a:moveTo>
                    <a:pt x="169" y="180"/>
                  </a:moveTo>
                  <a:lnTo>
                    <a:pt x="169" y="180"/>
                  </a:lnTo>
                  <a:lnTo>
                    <a:pt x="162" y="185"/>
                  </a:lnTo>
                  <a:lnTo>
                    <a:pt x="158" y="187"/>
                  </a:lnTo>
                  <a:lnTo>
                    <a:pt x="157" y="185"/>
                  </a:lnTo>
                  <a:lnTo>
                    <a:pt x="158" y="181"/>
                  </a:lnTo>
                  <a:lnTo>
                    <a:pt x="160" y="173"/>
                  </a:lnTo>
                  <a:lnTo>
                    <a:pt x="160" y="167"/>
                  </a:lnTo>
                  <a:lnTo>
                    <a:pt x="158" y="162"/>
                  </a:lnTo>
                  <a:lnTo>
                    <a:pt x="158" y="162"/>
                  </a:lnTo>
                  <a:lnTo>
                    <a:pt x="153" y="153"/>
                  </a:lnTo>
                  <a:lnTo>
                    <a:pt x="155" y="148"/>
                  </a:lnTo>
                  <a:lnTo>
                    <a:pt x="155" y="148"/>
                  </a:lnTo>
                  <a:lnTo>
                    <a:pt x="155" y="143"/>
                  </a:lnTo>
                  <a:lnTo>
                    <a:pt x="153" y="141"/>
                  </a:lnTo>
                  <a:lnTo>
                    <a:pt x="150" y="136"/>
                  </a:lnTo>
                  <a:lnTo>
                    <a:pt x="143" y="126"/>
                  </a:lnTo>
                  <a:lnTo>
                    <a:pt x="143" y="126"/>
                  </a:lnTo>
                  <a:lnTo>
                    <a:pt x="141" y="120"/>
                  </a:lnTo>
                  <a:lnTo>
                    <a:pt x="136" y="117"/>
                  </a:lnTo>
                  <a:lnTo>
                    <a:pt x="131" y="115"/>
                  </a:lnTo>
                  <a:lnTo>
                    <a:pt x="124" y="113"/>
                  </a:lnTo>
                  <a:lnTo>
                    <a:pt x="113" y="115"/>
                  </a:lnTo>
                  <a:lnTo>
                    <a:pt x="110" y="117"/>
                  </a:lnTo>
                  <a:lnTo>
                    <a:pt x="108" y="119"/>
                  </a:lnTo>
                  <a:lnTo>
                    <a:pt x="108" y="119"/>
                  </a:lnTo>
                  <a:lnTo>
                    <a:pt x="108" y="120"/>
                  </a:lnTo>
                  <a:lnTo>
                    <a:pt x="106" y="120"/>
                  </a:lnTo>
                  <a:lnTo>
                    <a:pt x="101" y="119"/>
                  </a:lnTo>
                  <a:lnTo>
                    <a:pt x="97" y="117"/>
                  </a:lnTo>
                  <a:lnTo>
                    <a:pt x="94" y="119"/>
                  </a:lnTo>
                  <a:lnTo>
                    <a:pt x="92" y="120"/>
                  </a:lnTo>
                  <a:lnTo>
                    <a:pt x="91" y="126"/>
                  </a:lnTo>
                  <a:lnTo>
                    <a:pt x="91" y="126"/>
                  </a:lnTo>
                  <a:lnTo>
                    <a:pt x="85" y="136"/>
                  </a:lnTo>
                  <a:lnTo>
                    <a:pt x="78" y="145"/>
                  </a:lnTo>
                  <a:lnTo>
                    <a:pt x="71" y="152"/>
                  </a:lnTo>
                  <a:lnTo>
                    <a:pt x="63" y="157"/>
                  </a:lnTo>
                  <a:lnTo>
                    <a:pt x="63" y="157"/>
                  </a:lnTo>
                  <a:lnTo>
                    <a:pt x="63" y="153"/>
                  </a:lnTo>
                  <a:lnTo>
                    <a:pt x="64" y="152"/>
                  </a:lnTo>
                  <a:lnTo>
                    <a:pt x="64" y="152"/>
                  </a:lnTo>
                  <a:lnTo>
                    <a:pt x="63" y="150"/>
                  </a:lnTo>
                  <a:lnTo>
                    <a:pt x="63" y="150"/>
                  </a:lnTo>
                  <a:lnTo>
                    <a:pt x="61" y="146"/>
                  </a:lnTo>
                  <a:lnTo>
                    <a:pt x="59" y="145"/>
                  </a:lnTo>
                  <a:lnTo>
                    <a:pt x="59" y="143"/>
                  </a:lnTo>
                  <a:lnTo>
                    <a:pt x="56" y="140"/>
                  </a:lnTo>
                  <a:lnTo>
                    <a:pt x="56" y="140"/>
                  </a:lnTo>
                  <a:lnTo>
                    <a:pt x="50" y="138"/>
                  </a:lnTo>
                  <a:lnTo>
                    <a:pt x="50" y="134"/>
                  </a:lnTo>
                  <a:lnTo>
                    <a:pt x="50" y="133"/>
                  </a:lnTo>
                  <a:lnTo>
                    <a:pt x="52" y="127"/>
                  </a:lnTo>
                  <a:lnTo>
                    <a:pt x="52" y="127"/>
                  </a:lnTo>
                  <a:lnTo>
                    <a:pt x="54" y="126"/>
                  </a:lnTo>
                  <a:lnTo>
                    <a:pt x="52" y="124"/>
                  </a:lnTo>
                  <a:lnTo>
                    <a:pt x="49" y="120"/>
                  </a:lnTo>
                  <a:lnTo>
                    <a:pt x="42" y="119"/>
                  </a:lnTo>
                  <a:lnTo>
                    <a:pt x="37" y="113"/>
                  </a:lnTo>
                  <a:lnTo>
                    <a:pt x="37" y="113"/>
                  </a:lnTo>
                  <a:lnTo>
                    <a:pt x="31" y="110"/>
                  </a:lnTo>
                  <a:lnTo>
                    <a:pt x="26" y="108"/>
                  </a:lnTo>
                  <a:lnTo>
                    <a:pt x="23" y="105"/>
                  </a:lnTo>
                  <a:lnTo>
                    <a:pt x="19" y="101"/>
                  </a:lnTo>
                  <a:lnTo>
                    <a:pt x="19" y="101"/>
                  </a:lnTo>
                  <a:lnTo>
                    <a:pt x="19" y="96"/>
                  </a:lnTo>
                  <a:lnTo>
                    <a:pt x="17" y="96"/>
                  </a:lnTo>
                  <a:lnTo>
                    <a:pt x="17" y="87"/>
                  </a:lnTo>
                  <a:lnTo>
                    <a:pt x="17" y="87"/>
                  </a:lnTo>
                  <a:lnTo>
                    <a:pt x="19" y="80"/>
                  </a:lnTo>
                  <a:lnTo>
                    <a:pt x="17" y="82"/>
                  </a:lnTo>
                  <a:lnTo>
                    <a:pt x="14" y="86"/>
                  </a:lnTo>
                  <a:lnTo>
                    <a:pt x="12" y="86"/>
                  </a:lnTo>
                  <a:lnTo>
                    <a:pt x="12" y="82"/>
                  </a:lnTo>
                  <a:lnTo>
                    <a:pt x="12" y="82"/>
                  </a:lnTo>
                  <a:lnTo>
                    <a:pt x="10" y="80"/>
                  </a:lnTo>
                  <a:lnTo>
                    <a:pt x="10" y="77"/>
                  </a:lnTo>
                  <a:lnTo>
                    <a:pt x="14" y="73"/>
                  </a:lnTo>
                  <a:lnTo>
                    <a:pt x="16" y="72"/>
                  </a:lnTo>
                  <a:lnTo>
                    <a:pt x="14" y="70"/>
                  </a:lnTo>
                  <a:lnTo>
                    <a:pt x="14" y="70"/>
                  </a:lnTo>
                  <a:lnTo>
                    <a:pt x="10" y="72"/>
                  </a:lnTo>
                  <a:lnTo>
                    <a:pt x="9" y="73"/>
                  </a:lnTo>
                  <a:lnTo>
                    <a:pt x="5" y="77"/>
                  </a:lnTo>
                  <a:lnTo>
                    <a:pt x="5" y="80"/>
                  </a:lnTo>
                  <a:lnTo>
                    <a:pt x="3" y="82"/>
                  </a:lnTo>
                  <a:lnTo>
                    <a:pt x="2" y="80"/>
                  </a:lnTo>
                  <a:lnTo>
                    <a:pt x="2" y="80"/>
                  </a:lnTo>
                  <a:lnTo>
                    <a:pt x="0" y="79"/>
                  </a:lnTo>
                  <a:lnTo>
                    <a:pt x="2" y="75"/>
                  </a:lnTo>
                  <a:lnTo>
                    <a:pt x="2" y="75"/>
                  </a:lnTo>
                  <a:lnTo>
                    <a:pt x="10" y="56"/>
                  </a:lnTo>
                  <a:lnTo>
                    <a:pt x="14" y="52"/>
                  </a:lnTo>
                  <a:lnTo>
                    <a:pt x="16" y="51"/>
                  </a:lnTo>
                  <a:lnTo>
                    <a:pt x="21" y="49"/>
                  </a:lnTo>
                  <a:lnTo>
                    <a:pt x="23" y="49"/>
                  </a:lnTo>
                  <a:lnTo>
                    <a:pt x="24" y="47"/>
                  </a:lnTo>
                  <a:lnTo>
                    <a:pt x="24" y="47"/>
                  </a:lnTo>
                  <a:lnTo>
                    <a:pt x="26" y="44"/>
                  </a:lnTo>
                  <a:lnTo>
                    <a:pt x="30" y="44"/>
                  </a:lnTo>
                  <a:lnTo>
                    <a:pt x="33" y="44"/>
                  </a:lnTo>
                  <a:lnTo>
                    <a:pt x="37" y="46"/>
                  </a:lnTo>
                  <a:lnTo>
                    <a:pt x="40" y="46"/>
                  </a:lnTo>
                  <a:lnTo>
                    <a:pt x="44" y="46"/>
                  </a:lnTo>
                  <a:lnTo>
                    <a:pt x="44" y="46"/>
                  </a:lnTo>
                  <a:lnTo>
                    <a:pt x="47" y="44"/>
                  </a:lnTo>
                  <a:lnTo>
                    <a:pt x="49" y="40"/>
                  </a:lnTo>
                  <a:lnTo>
                    <a:pt x="50" y="35"/>
                  </a:lnTo>
                  <a:lnTo>
                    <a:pt x="49" y="30"/>
                  </a:lnTo>
                  <a:lnTo>
                    <a:pt x="44" y="25"/>
                  </a:lnTo>
                  <a:lnTo>
                    <a:pt x="44" y="25"/>
                  </a:lnTo>
                  <a:lnTo>
                    <a:pt x="42" y="23"/>
                  </a:lnTo>
                  <a:lnTo>
                    <a:pt x="42" y="21"/>
                  </a:lnTo>
                  <a:lnTo>
                    <a:pt x="47" y="19"/>
                  </a:lnTo>
                  <a:lnTo>
                    <a:pt x="49" y="16"/>
                  </a:lnTo>
                  <a:lnTo>
                    <a:pt x="50" y="12"/>
                  </a:lnTo>
                  <a:lnTo>
                    <a:pt x="50" y="7"/>
                  </a:lnTo>
                  <a:lnTo>
                    <a:pt x="49" y="0"/>
                  </a:lnTo>
                  <a:lnTo>
                    <a:pt x="49" y="0"/>
                  </a:lnTo>
                  <a:lnTo>
                    <a:pt x="57" y="2"/>
                  </a:lnTo>
                  <a:lnTo>
                    <a:pt x="64" y="4"/>
                  </a:lnTo>
                  <a:lnTo>
                    <a:pt x="78" y="9"/>
                  </a:lnTo>
                  <a:lnTo>
                    <a:pt x="91" y="12"/>
                  </a:lnTo>
                  <a:lnTo>
                    <a:pt x="94" y="14"/>
                  </a:lnTo>
                  <a:lnTo>
                    <a:pt x="99" y="12"/>
                  </a:lnTo>
                  <a:lnTo>
                    <a:pt x="99" y="12"/>
                  </a:lnTo>
                  <a:lnTo>
                    <a:pt x="106" y="9"/>
                  </a:lnTo>
                  <a:lnTo>
                    <a:pt x="115" y="11"/>
                  </a:lnTo>
                  <a:lnTo>
                    <a:pt x="122" y="11"/>
                  </a:lnTo>
                  <a:lnTo>
                    <a:pt x="129" y="12"/>
                  </a:lnTo>
                  <a:lnTo>
                    <a:pt x="129" y="12"/>
                  </a:lnTo>
                  <a:lnTo>
                    <a:pt x="127" y="18"/>
                  </a:lnTo>
                  <a:lnTo>
                    <a:pt x="129" y="23"/>
                  </a:lnTo>
                  <a:lnTo>
                    <a:pt x="129" y="26"/>
                  </a:lnTo>
                  <a:lnTo>
                    <a:pt x="131" y="28"/>
                  </a:lnTo>
                  <a:lnTo>
                    <a:pt x="134" y="30"/>
                  </a:lnTo>
                  <a:lnTo>
                    <a:pt x="136" y="30"/>
                  </a:lnTo>
                  <a:lnTo>
                    <a:pt x="138" y="28"/>
                  </a:lnTo>
                  <a:lnTo>
                    <a:pt x="139" y="25"/>
                  </a:lnTo>
                  <a:lnTo>
                    <a:pt x="139" y="25"/>
                  </a:lnTo>
                  <a:lnTo>
                    <a:pt x="141" y="19"/>
                  </a:lnTo>
                  <a:lnTo>
                    <a:pt x="143" y="19"/>
                  </a:lnTo>
                  <a:lnTo>
                    <a:pt x="145" y="19"/>
                  </a:lnTo>
                  <a:lnTo>
                    <a:pt x="148" y="23"/>
                  </a:lnTo>
                  <a:lnTo>
                    <a:pt x="151" y="30"/>
                  </a:lnTo>
                  <a:lnTo>
                    <a:pt x="151" y="30"/>
                  </a:lnTo>
                  <a:lnTo>
                    <a:pt x="153" y="32"/>
                  </a:lnTo>
                  <a:lnTo>
                    <a:pt x="155" y="32"/>
                  </a:lnTo>
                  <a:lnTo>
                    <a:pt x="160" y="26"/>
                  </a:lnTo>
                  <a:lnTo>
                    <a:pt x="162" y="23"/>
                  </a:lnTo>
                  <a:lnTo>
                    <a:pt x="167" y="21"/>
                  </a:lnTo>
                  <a:lnTo>
                    <a:pt x="172" y="21"/>
                  </a:lnTo>
                  <a:lnTo>
                    <a:pt x="179" y="25"/>
                  </a:lnTo>
                  <a:lnTo>
                    <a:pt x="179" y="25"/>
                  </a:lnTo>
                  <a:lnTo>
                    <a:pt x="188" y="28"/>
                  </a:lnTo>
                  <a:lnTo>
                    <a:pt x="190" y="28"/>
                  </a:lnTo>
                  <a:lnTo>
                    <a:pt x="192" y="26"/>
                  </a:lnTo>
                  <a:lnTo>
                    <a:pt x="193" y="23"/>
                  </a:lnTo>
                  <a:lnTo>
                    <a:pt x="195" y="19"/>
                  </a:lnTo>
                  <a:lnTo>
                    <a:pt x="198" y="19"/>
                  </a:lnTo>
                  <a:lnTo>
                    <a:pt x="198" y="19"/>
                  </a:lnTo>
                  <a:lnTo>
                    <a:pt x="200" y="18"/>
                  </a:lnTo>
                  <a:lnTo>
                    <a:pt x="202" y="16"/>
                  </a:lnTo>
                  <a:lnTo>
                    <a:pt x="200" y="11"/>
                  </a:lnTo>
                  <a:lnTo>
                    <a:pt x="200" y="9"/>
                  </a:lnTo>
                  <a:lnTo>
                    <a:pt x="202" y="7"/>
                  </a:lnTo>
                  <a:lnTo>
                    <a:pt x="209" y="9"/>
                  </a:lnTo>
                  <a:lnTo>
                    <a:pt x="209" y="9"/>
                  </a:lnTo>
                  <a:lnTo>
                    <a:pt x="212" y="11"/>
                  </a:lnTo>
                  <a:lnTo>
                    <a:pt x="214" y="14"/>
                  </a:lnTo>
                  <a:lnTo>
                    <a:pt x="216" y="19"/>
                  </a:lnTo>
                  <a:lnTo>
                    <a:pt x="218" y="25"/>
                  </a:lnTo>
                  <a:lnTo>
                    <a:pt x="218" y="28"/>
                  </a:lnTo>
                  <a:lnTo>
                    <a:pt x="219" y="28"/>
                  </a:lnTo>
                  <a:lnTo>
                    <a:pt x="219" y="28"/>
                  </a:lnTo>
                  <a:lnTo>
                    <a:pt x="221" y="30"/>
                  </a:lnTo>
                  <a:lnTo>
                    <a:pt x="221" y="32"/>
                  </a:lnTo>
                  <a:lnTo>
                    <a:pt x="221" y="39"/>
                  </a:lnTo>
                  <a:lnTo>
                    <a:pt x="219" y="42"/>
                  </a:lnTo>
                  <a:lnTo>
                    <a:pt x="219" y="44"/>
                  </a:lnTo>
                  <a:lnTo>
                    <a:pt x="221" y="46"/>
                  </a:lnTo>
                  <a:lnTo>
                    <a:pt x="221" y="46"/>
                  </a:lnTo>
                  <a:lnTo>
                    <a:pt x="226" y="47"/>
                  </a:lnTo>
                  <a:lnTo>
                    <a:pt x="232" y="52"/>
                  </a:lnTo>
                  <a:lnTo>
                    <a:pt x="235" y="56"/>
                  </a:lnTo>
                  <a:lnTo>
                    <a:pt x="235" y="59"/>
                  </a:lnTo>
                  <a:lnTo>
                    <a:pt x="233" y="59"/>
                  </a:lnTo>
                  <a:lnTo>
                    <a:pt x="233" y="59"/>
                  </a:lnTo>
                  <a:lnTo>
                    <a:pt x="230" y="61"/>
                  </a:lnTo>
                  <a:lnTo>
                    <a:pt x="228" y="63"/>
                  </a:lnTo>
                  <a:lnTo>
                    <a:pt x="225" y="70"/>
                  </a:lnTo>
                  <a:lnTo>
                    <a:pt x="225" y="73"/>
                  </a:lnTo>
                  <a:lnTo>
                    <a:pt x="226" y="75"/>
                  </a:lnTo>
                  <a:lnTo>
                    <a:pt x="228" y="72"/>
                  </a:lnTo>
                  <a:lnTo>
                    <a:pt x="228" y="72"/>
                  </a:lnTo>
                  <a:lnTo>
                    <a:pt x="233" y="68"/>
                  </a:lnTo>
                  <a:lnTo>
                    <a:pt x="235" y="68"/>
                  </a:lnTo>
                  <a:lnTo>
                    <a:pt x="237" y="70"/>
                  </a:lnTo>
                  <a:lnTo>
                    <a:pt x="239" y="77"/>
                  </a:lnTo>
                  <a:lnTo>
                    <a:pt x="239" y="87"/>
                  </a:lnTo>
                  <a:lnTo>
                    <a:pt x="239" y="87"/>
                  </a:lnTo>
                  <a:lnTo>
                    <a:pt x="239" y="96"/>
                  </a:lnTo>
                  <a:lnTo>
                    <a:pt x="240" y="96"/>
                  </a:lnTo>
                  <a:lnTo>
                    <a:pt x="242" y="98"/>
                  </a:lnTo>
                  <a:lnTo>
                    <a:pt x="244" y="98"/>
                  </a:lnTo>
                  <a:lnTo>
                    <a:pt x="246" y="98"/>
                  </a:lnTo>
                  <a:lnTo>
                    <a:pt x="249" y="101"/>
                  </a:lnTo>
                  <a:lnTo>
                    <a:pt x="251" y="108"/>
                  </a:lnTo>
                  <a:lnTo>
                    <a:pt x="251" y="108"/>
                  </a:lnTo>
                  <a:lnTo>
                    <a:pt x="246" y="113"/>
                  </a:lnTo>
                  <a:lnTo>
                    <a:pt x="244" y="119"/>
                  </a:lnTo>
                  <a:lnTo>
                    <a:pt x="244" y="122"/>
                  </a:lnTo>
                  <a:lnTo>
                    <a:pt x="244" y="129"/>
                  </a:lnTo>
                  <a:lnTo>
                    <a:pt x="244" y="129"/>
                  </a:lnTo>
                  <a:lnTo>
                    <a:pt x="244" y="134"/>
                  </a:lnTo>
                  <a:lnTo>
                    <a:pt x="246" y="138"/>
                  </a:lnTo>
                  <a:lnTo>
                    <a:pt x="251" y="143"/>
                  </a:lnTo>
                  <a:lnTo>
                    <a:pt x="254" y="146"/>
                  </a:lnTo>
                  <a:lnTo>
                    <a:pt x="256" y="148"/>
                  </a:lnTo>
                  <a:lnTo>
                    <a:pt x="256" y="152"/>
                  </a:lnTo>
                  <a:lnTo>
                    <a:pt x="254" y="157"/>
                  </a:lnTo>
                  <a:lnTo>
                    <a:pt x="254" y="157"/>
                  </a:lnTo>
                  <a:lnTo>
                    <a:pt x="252" y="162"/>
                  </a:lnTo>
                  <a:lnTo>
                    <a:pt x="252" y="166"/>
                  </a:lnTo>
                  <a:lnTo>
                    <a:pt x="252" y="167"/>
                  </a:lnTo>
                  <a:lnTo>
                    <a:pt x="254" y="169"/>
                  </a:lnTo>
                  <a:lnTo>
                    <a:pt x="259" y="174"/>
                  </a:lnTo>
                  <a:lnTo>
                    <a:pt x="261" y="178"/>
                  </a:lnTo>
                  <a:lnTo>
                    <a:pt x="261" y="183"/>
                  </a:lnTo>
                  <a:lnTo>
                    <a:pt x="261" y="183"/>
                  </a:lnTo>
                  <a:lnTo>
                    <a:pt x="249" y="180"/>
                  </a:lnTo>
                  <a:lnTo>
                    <a:pt x="242" y="178"/>
                  </a:lnTo>
                  <a:lnTo>
                    <a:pt x="240" y="180"/>
                  </a:lnTo>
                  <a:lnTo>
                    <a:pt x="239" y="181"/>
                  </a:lnTo>
                  <a:lnTo>
                    <a:pt x="240" y="187"/>
                  </a:lnTo>
                  <a:lnTo>
                    <a:pt x="240" y="187"/>
                  </a:lnTo>
                  <a:lnTo>
                    <a:pt x="240" y="190"/>
                  </a:lnTo>
                  <a:lnTo>
                    <a:pt x="242" y="192"/>
                  </a:lnTo>
                  <a:lnTo>
                    <a:pt x="247" y="192"/>
                  </a:lnTo>
                  <a:lnTo>
                    <a:pt x="251" y="192"/>
                  </a:lnTo>
                  <a:lnTo>
                    <a:pt x="251" y="193"/>
                  </a:lnTo>
                  <a:lnTo>
                    <a:pt x="251" y="195"/>
                  </a:lnTo>
                  <a:lnTo>
                    <a:pt x="251" y="195"/>
                  </a:lnTo>
                  <a:lnTo>
                    <a:pt x="247" y="206"/>
                  </a:lnTo>
                  <a:lnTo>
                    <a:pt x="242" y="214"/>
                  </a:lnTo>
                  <a:lnTo>
                    <a:pt x="240" y="218"/>
                  </a:lnTo>
                  <a:lnTo>
                    <a:pt x="237" y="218"/>
                  </a:lnTo>
                  <a:lnTo>
                    <a:pt x="233" y="218"/>
                  </a:lnTo>
                  <a:lnTo>
                    <a:pt x="230" y="214"/>
                  </a:lnTo>
                  <a:lnTo>
                    <a:pt x="230" y="214"/>
                  </a:lnTo>
                  <a:lnTo>
                    <a:pt x="228" y="214"/>
                  </a:lnTo>
                  <a:lnTo>
                    <a:pt x="225" y="216"/>
                  </a:lnTo>
                  <a:lnTo>
                    <a:pt x="219" y="225"/>
                  </a:lnTo>
                  <a:lnTo>
                    <a:pt x="218" y="230"/>
                  </a:lnTo>
                  <a:lnTo>
                    <a:pt x="214" y="234"/>
                  </a:lnTo>
                  <a:lnTo>
                    <a:pt x="211" y="234"/>
                  </a:lnTo>
                  <a:lnTo>
                    <a:pt x="207" y="232"/>
                  </a:lnTo>
                  <a:lnTo>
                    <a:pt x="207" y="232"/>
                  </a:lnTo>
                  <a:lnTo>
                    <a:pt x="205" y="228"/>
                  </a:lnTo>
                  <a:lnTo>
                    <a:pt x="204" y="227"/>
                  </a:lnTo>
                  <a:lnTo>
                    <a:pt x="200" y="227"/>
                  </a:lnTo>
                  <a:lnTo>
                    <a:pt x="198" y="225"/>
                  </a:lnTo>
                  <a:lnTo>
                    <a:pt x="198" y="220"/>
                  </a:lnTo>
                  <a:lnTo>
                    <a:pt x="198" y="220"/>
                  </a:lnTo>
                  <a:lnTo>
                    <a:pt x="198" y="209"/>
                  </a:lnTo>
                  <a:lnTo>
                    <a:pt x="197" y="202"/>
                  </a:lnTo>
                  <a:lnTo>
                    <a:pt x="195" y="195"/>
                  </a:lnTo>
                  <a:lnTo>
                    <a:pt x="197" y="188"/>
                  </a:lnTo>
                  <a:lnTo>
                    <a:pt x="197" y="188"/>
                  </a:lnTo>
                  <a:lnTo>
                    <a:pt x="197" y="185"/>
                  </a:lnTo>
                  <a:lnTo>
                    <a:pt x="195" y="181"/>
                  </a:lnTo>
                  <a:lnTo>
                    <a:pt x="192" y="180"/>
                  </a:lnTo>
                  <a:lnTo>
                    <a:pt x="186" y="178"/>
                  </a:lnTo>
                  <a:lnTo>
                    <a:pt x="178" y="178"/>
                  </a:lnTo>
                  <a:lnTo>
                    <a:pt x="169" y="180"/>
                  </a:lnTo>
                  <a:lnTo>
                    <a:pt x="169" y="18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6" name="Freeform 1771">
              <a:extLst>
                <a:ext uri="{FF2B5EF4-FFF2-40B4-BE49-F238E27FC236}">
                  <a16:creationId xmlns:a16="http://schemas.microsoft.com/office/drawing/2014/main" id="{0DABA7EE-5BE8-442C-B4FE-1F6D427A4D37}"/>
                </a:ext>
              </a:extLst>
            </p:cNvPr>
            <p:cNvSpPr>
              <a:spLocks/>
            </p:cNvSpPr>
            <p:nvPr/>
          </p:nvSpPr>
          <p:spPr bwMode="auto">
            <a:xfrm>
              <a:off x="5290620" y="2774445"/>
              <a:ext cx="267824" cy="183250"/>
            </a:xfrm>
            <a:custGeom>
              <a:avLst/>
              <a:gdLst/>
              <a:ahLst/>
              <a:cxnLst>
                <a:cxn ang="0">
                  <a:pos x="84" y="23"/>
                </a:cxn>
                <a:cxn ang="0">
                  <a:pos x="70" y="26"/>
                </a:cxn>
                <a:cxn ang="0">
                  <a:pos x="63" y="38"/>
                </a:cxn>
                <a:cxn ang="0">
                  <a:pos x="49" y="58"/>
                </a:cxn>
                <a:cxn ang="0">
                  <a:pos x="45" y="70"/>
                </a:cxn>
                <a:cxn ang="0">
                  <a:pos x="26" y="101"/>
                </a:cxn>
                <a:cxn ang="0">
                  <a:pos x="17" y="99"/>
                </a:cxn>
                <a:cxn ang="0">
                  <a:pos x="17" y="103"/>
                </a:cxn>
                <a:cxn ang="0">
                  <a:pos x="0" y="108"/>
                </a:cxn>
                <a:cxn ang="0">
                  <a:pos x="17" y="125"/>
                </a:cxn>
                <a:cxn ang="0">
                  <a:pos x="17" y="138"/>
                </a:cxn>
                <a:cxn ang="0">
                  <a:pos x="42" y="153"/>
                </a:cxn>
                <a:cxn ang="0">
                  <a:pos x="40" y="162"/>
                </a:cxn>
                <a:cxn ang="0">
                  <a:pos x="61" y="186"/>
                </a:cxn>
                <a:cxn ang="0">
                  <a:pos x="71" y="185"/>
                </a:cxn>
                <a:cxn ang="0">
                  <a:pos x="78" y="179"/>
                </a:cxn>
                <a:cxn ang="0">
                  <a:pos x="85" y="186"/>
                </a:cxn>
                <a:cxn ang="0">
                  <a:pos x="78" y="195"/>
                </a:cxn>
                <a:cxn ang="0">
                  <a:pos x="96" y="207"/>
                </a:cxn>
                <a:cxn ang="0">
                  <a:pos x="89" y="218"/>
                </a:cxn>
                <a:cxn ang="0">
                  <a:pos x="97" y="223"/>
                </a:cxn>
                <a:cxn ang="0">
                  <a:pos x="120" y="223"/>
                </a:cxn>
                <a:cxn ang="0">
                  <a:pos x="139" y="226"/>
                </a:cxn>
                <a:cxn ang="0">
                  <a:pos x="164" y="226"/>
                </a:cxn>
                <a:cxn ang="0">
                  <a:pos x="190" y="228"/>
                </a:cxn>
                <a:cxn ang="0">
                  <a:pos x="223" y="209"/>
                </a:cxn>
                <a:cxn ang="0">
                  <a:pos x="247" y="211"/>
                </a:cxn>
                <a:cxn ang="0">
                  <a:pos x="258" y="213"/>
                </a:cxn>
                <a:cxn ang="0">
                  <a:pos x="270" y="218"/>
                </a:cxn>
                <a:cxn ang="0">
                  <a:pos x="291" y="226"/>
                </a:cxn>
                <a:cxn ang="0">
                  <a:pos x="303" y="183"/>
                </a:cxn>
                <a:cxn ang="0">
                  <a:pos x="320" y="172"/>
                </a:cxn>
                <a:cxn ang="0">
                  <a:pos x="333" y="152"/>
                </a:cxn>
                <a:cxn ang="0">
                  <a:pos x="320" y="143"/>
                </a:cxn>
                <a:cxn ang="0">
                  <a:pos x="306" y="148"/>
                </a:cxn>
                <a:cxn ang="0">
                  <a:pos x="298" y="150"/>
                </a:cxn>
                <a:cxn ang="0">
                  <a:pos x="279" y="141"/>
                </a:cxn>
                <a:cxn ang="0">
                  <a:pos x="277" y="127"/>
                </a:cxn>
                <a:cxn ang="0">
                  <a:pos x="275" y="106"/>
                </a:cxn>
                <a:cxn ang="0">
                  <a:pos x="277" y="71"/>
                </a:cxn>
                <a:cxn ang="0">
                  <a:pos x="258" y="45"/>
                </a:cxn>
                <a:cxn ang="0">
                  <a:pos x="251" y="37"/>
                </a:cxn>
                <a:cxn ang="0">
                  <a:pos x="233" y="4"/>
                </a:cxn>
                <a:cxn ang="0">
                  <a:pos x="218" y="2"/>
                </a:cxn>
                <a:cxn ang="0">
                  <a:pos x="200" y="14"/>
                </a:cxn>
                <a:cxn ang="0">
                  <a:pos x="176" y="19"/>
                </a:cxn>
                <a:cxn ang="0">
                  <a:pos x="165" y="28"/>
                </a:cxn>
                <a:cxn ang="0">
                  <a:pos x="150" y="16"/>
                </a:cxn>
                <a:cxn ang="0">
                  <a:pos x="134" y="16"/>
                </a:cxn>
                <a:cxn ang="0">
                  <a:pos x="115" y="14"/>
                </a:cxn>
                <a:cxn ang="0">
                  <a:pos x="101" y="9"/>
                </a:cxn>
                <a:cxn ang="0">
                  <a:pos x="96" y="14"/>
                </a:cxn>
              </a:cxnLst>
              <a:rect l="0" t="0" r="r" b="b"/>
              <a:pathLst>
                <a:path w="333" h="230">
                  <a:moveTo>
                    <a:pt x="92" y="16"/>
                  </a:moveTo>
                  <a:lnTo>
                    <a:pt x="92" y="16"/>
                  </a:lnTo>
                  <a:lnTo>
                    <a:pt x="87" y="21"/>
                  </a:lnTo>
                  <a:lnTo>
                    <a:pt x="84" y="23"/>
                  </a:lnTo>
                  <a:lnTo>
                    <a:pt x="80" y="24"/>
                  </a:lnTo>
                  <a:lnTo>
                    <a:pt x="78" y="24"/>
                  </a:lnTo>
                  <a:lnTo>
                    <a:pt x="73" y="24"/>
                  </a:lnTo>
                  <a:lnTo>
                    <a:pt x="70" y="26"/>
                  </a:lnTo>
                  <a:lnTo>
                    <a:pt x="66" y="30"/>
                  </a:lnTo>
                  <a:lnTo>
                    <a:pt x="66" y="30"/>
                  </a:lnTo>
                  <a:lnTo>
                    <a:pt x="64" y="35"/>
                  </a:lnTo>
                  <a:lnTo>
                    <a:pt x="63" y="38"/>
                  </a:lnTo>
                  <a:lnTo>
                    <a:pt x="61" y="44"/>
                  </a:lnTo>
                  <a:lnTo>
                    <a:pt x="54" y="51"/>
                  </a:lnTo>
                  <a:lnTo>
                    <a:pt x="54" y="51"/>
                  </a:lnTo>
                  <a:lnTo>
                    <a:pt x="49" y="58"/>
                  </a:lnTo>
                  <a:lnTo>
                    <a:pt x="49" y="61"/>
                  </a:lnTo>
                  <a:lnTo>
                    <a:pt x="49" y="65"/>
                  </a:lnTo>
                  <a:lnTo>
                    <a:pt x="45" y="70"/>
                  </a:lnTo>
                  <a:lnTo>
                    <a:pt x="45" y="70"/>
                  </a:lnTo>
                  <a:lnTo>
                    <a:pt x="37" y="89"/>
                  </a:lnTo>
                  <a:lnTo>
                    <a:pt x="31" y="98"/>
                  </a:lnTo>
                  <a:lnTo>
                    <a:pt x="26" y="101"/>
                  </a:lnTo>
                  <a:lnTo>
                    <a:pt x="26" y="101"/>
                  </a:lnTo>
                  <a:lnTo>
                    <a:pt x="24" y="101"/>
                  </a:lnTo>
                  <a:lnTo>
                    <a:pt x="23" y="101"/>
                  </a:lnTo>
                  <a:lnTo>
                    <a:pt x="21" y="99"/>
                  </a:lnTo>
                  <a:lnTo>
                    <a:pt x="17" y="99"/>
                  </a:lnTo>
                  <a:lnTo>
                    <a:pt x="17" y="99"/>
                  </a:lnTo>
                  <a:lnTo>
                    <a:pt x="16" y="101"/>
                  </a:lnTo>
                  <a:lnTo>
                    <a:pt x="17" y="103"/>
                  </a:lnTo>
                  <a:lnTo>
                    <a:pt x="17" y="103"/>
                  </a:lnTo>
                  <a:lnTo>
                    <a:pt x="14" y="105"/>
                  </a:lnTo>
                  <a:lnTo>
                    <a:pt x="14" y="105"/>
                  </a:lnTo>
                  <a:lnTo>
                    <a:pt x="5" y="106"/>
                  </a:lnTo>
                  <a:lnTo>
                    <a:pt x="0" y="108"/>
                  </a:lnTo>
                  <a:lnTo>
                    <a:pt x="0" y="108"/>
                  </a:lnTo>
                  <a:lnTo>
                    <a:pt x="7" y="117"/>
                  </a:lnTo>
                  <a:lnTo>
                    <a:pt x="12" y="122"/>
                  </a:lnTo>
                  <a:lnTo>
                    <a:pt x="17" y="125"/>
                  </a:lnTo>
                  <a:lnTo>
                    <a:pt x="17" y="129"/>
                  </a:lnTo>
                  <a:lnTo>
                    <a:pt x="17" y="131"/>
                  </a:lnTo>
                  <a:lnTo>
                    <a:pt x="17" y="131"/>
                  </a:lnTo>
                  <a:lnTo>
                    <a:pt x="17" y="138"/>
                  </a:lnTo>
                  <a:lnTo>
                    <a:pt x="21" y="143"/>
                  </a:lnTo>
                  <a:lnTo>
                    <a:pt x="26" y="146"/>
                  </a:lnTo>
                  <a:lnTo>
                    <a:pt x="31" y="148"/>
                  </a:lnTo>
                  <a:lnTo>
                    <a:pt x="42" y="153"/>
                  </a:lnTo>
                  <a:lnTo>
                    <a:pt x="44" y="155"/>
                  </a:lnTo>
                  <a:lnTo>
                    <a:pt x="42" y="160"/>
                  </a:lnTo>
                  <a:lnTo>
                    <a:pt x="42" y="160"/>
                  </a:lnTo>
                  <a:lnTo>
                    <a:pt x="40" y="162"/>
                  </a:lnTo>
                  <a:lnTo>
                    <a:pt x="40" y="166"/>
                  </a:lnTo>
                  <a:lnTo>
                    <a:pt x="44" y="174"/>
                  </a:lnTo>
                  <a:lnTo>
                    <a:pt x="50" y="181"/>
                  </a:lnTo>
                  <a:lnTo>
                    <a:pt x="61" y="186"/>
                  </a:lnTo>
                  <a:lnTo>
                    <a:pt x="61" y="186"/>
                  </a:lnTo>
                  <a:lnTo>
                    <a:pt x="66" y="186"/>
                  </a:lnTo>
                  <a:lnTo>
                    <a:pt x="70" y="186"/>
                  </a:lnTo>
                  <a:lnTo>
                    <a:pt x="71" y="185"/>
                  </a:lnTo>
                  <a:lnTo>
                    <a:pt x="71" y="181"/>
                  </a:lnTo>
                  <a:lnTo>
                    <a:pt x="73" y="178"/>
                  </a:lnTo>
                  <a:lnTo>
                    <a:pt x="75" y="178"/>
                  </a:lnTo>
                  <a:lnTo>
                    <a:pt x="78" y="179"/>
                  </a:lnTo>
                  <a:lnTo>
                    <a:pt x="78" y="179"/>
                  </a:lnTo>
                  <a:lnTo>
                    <a:pt x="85" y="183"/>
                  </a:lnTo>
                  <a:lnTo>
                    <a:pt x="87" y="185"/>
                  </a:lnTo>
                  <a:lnTo>
                    <a:pt x="85" y="186"/>
                  </a:lnTo>
                  <a:lnTo>
                    <a:pt x="84" y="188"/>
                  </a:lnTo>
                  <a:lnTo>
                    <a:pt x="80" y="188"/>
                  </a:lnTo>
                  <a:lnTo>
                    <a:pt x="78" y="192"/>
                  </a:lnTo>
                  <a:lnTo>
                    <a:pt x="78" y="195"/>
                  </a:lnTo>
                  <a:lnTo>
                    <a:pt x="84" y="200"/>
                  </a:lnTo>
                  <a:lnTo>
                    <a:pt x="84" y="200"/>
                  </a:lnTo>
                  <a:lnTo>
                    <a:pt x="92" y="206"/>
                  </a:lnTo>
                  <a:lnTo>
                    <a:pt x="96" y="207"/>
                  </a:lnTo>
                  <a:lnTo>
                    <a:pt x="96" y="211"/>
                  </a:lnTo>
                  <a:lnTo>
                    <a:pt x="94" y="213"/>
                  </a:lnTo>
                  <a:lnTo>
                    <a:pt x="91" y="216"/>
                  </a:lnTo>
                  <a:lnTo>
                    <a:pt x="89" y="218"/>
                  </a:lnTo>
                  <a:lnTo>
                    <a:pt x="91" y="221"/>
                  </a:lnTo>
                  <a:lnTo>
                    <a:pt x="91" y="221"/>
                  </a:lnTo>
                  <a:lnTo>
                    <a:pt x="94" y="223"/>
                  </a:lnTo>
                  <a:lnTo>
                    <a:pt x="97" y="223"/>
                  </a:lnTo>
                  <a:lnTo>
                    <a:pt x="103" y="221"/>
                  </a:lnTo>
                  <a:lnTo>
                    <a:pt x="111" y="219"/>
                  </a:lnTo>
                  <a:lnTo>
                    <a:pt x="115" y="221"/>
                  </a:lnTo>
                  <a:lnTo>
                    <a:pt x="120" y="223"/>
                  </a:lnTo>
                  <a:lnTo>
                    <a:pt x="120" y="223"/>
                  </a:lnTo>
                  <a:lnTo>
                    <a:pt x="127" y="226"/>
                  </a:lnTo>
                  <a:lnTo>
                    <a:pt x="131" y="228"/>
                  </a:lnTo>
                  <a:lnTo>
                    <a:pt x="139" y="226"/>
                  </a:lnTo>
                  <a:lnTo>
                    <a:pt x="146" y="225"/>
                  </a:lnTo>
                  <a:lnTo>
                    <a:pt x="153" y="223"/>
                  </a:lnTo>
                  <a:lnTo>
                    <a:pt x="153" y="223"/>
                  </a:lnTo>
                  <a:lnTo>
                    <a:pt x="164" y="226"/>
                  </a:lnTo>
                  <a:lnTo>
                    <a:pt x="172" y="230"/>
                  </a:lnTo>
                  <a:lnTo>
                    <a:pt x="178" y="230"/>
                  </a:lnTo>
                  <a:lnTo>
                    <a:pt x="183" y="230"/>
                  </a:lnTo>
                  <a:lnTo>
                    <a:pt x="190" y="228"/>
                  </a:lnTo>
                  <a:lnTo>
                    <a:pt x="195" y="223"/>
                  </a:lnTo>
                  <a:lnTo>
                    <a:pt x="195" y="223"/>
                  </a:lnTo>
                  <a:lnTo>
                    <a:pt x="207" y="216"/>
                  </a:lnTo>
                  <a:lnTo>
                    <a:pt x="223" y="209"/>
                  </a:lnTo>
                  <a:lnTo>
                    <a:pt x="230" y="207"/>
                  </a:lnTo>
                  <a:lnTo>
                    <a:pt x="237" y="206"/>
                  </a:lnTo>
                  <a:lnTo>
                    <a:pt x="242" y="207"/>
                  </a:lnTo>
                  <a:lnTo>
                    <a:pt x="247" y="211"/>
                  </a:lnTo>
                  <a:lnTo>
                    <a:pt x="247" y="211"/>
                  </a:lnTo>
                  <a:lnTo>
                    <a:pt x="249" y="213"/>
                  </a:lnTo>
                  <a:lnTo>
                    <a:pt x="252" y="213"/>
                  </a:lnTo>
                  <a:lnTo>
                    <a:pt x="258" y="213"/>
                  </a:lnTo>
                  <a:lnTo>
                    <a:pt x="263" y="213"/>
                  </a:lnTo>
                  <a:lnTo>
                    <a:pt x="266" y="214"/>
                  </a:lnTo>
                  <a:lnTo>
                    <a:pt x="270" y="218"/>
                  </a:lnTo>
                  <a:lnTo>
                    <a:pt x="270" y="218"/>
                  </a:lnTo>
                  <a:lnTo>
                    <a:pt x="275" y="223"/>
                  </a:lnTo>
                  <a:lnTo>
                    <a:pt x="280" y="225"/>
                  </a:lnTo>
                  <a:lnTo>
                    <a:pt x="291" y="226"/>
                  </a:lnTo>
                  <a:lnTo>
                    <a:pt x="291" y="226"/>
                  </a:lnTo>
                  <a:lnTo>
                    <a:pt x="294" y="204"/>
                  </a:lnTo>
                  <a:lnTo>
                    <a:pt x="296" y="195"/>
                  </a:lnTo>
                  <a:lnTo>
                    <a:pt x="299" y="188"/>
                  </a:lnTo>
                  <a:lnTo>
                    <a:pt x="303" y="183"/>
                  </a:lnTo>
                  <a:lnTo>
                    <a:pt x="308" y="178"/>
                  </a:lnTo>
                  <a:lnTo>
                    <a:pt x="313" y="174"/>
                  </a:lnTo>
                  <a:lnTo>
                    <a:pt x="320" y="172"/>
                  </a:lnTo>
                  <a:lnTo>
                    <a:pt x="320" y="172"/>
                  </a:lnTo>
                  <a:lnTo>
                    <a:pt x="327" y="169"/>
                  </a:lnTo>
                  <a:lnTo>
                    <a:pt x="329" y="164"/>
                  </a:lnTo>
                  <a:lnTo>
                    <a:pt x="331" y="159"/>
                  </a:lnTo>
                  <a:lnTo>
                    <a:pt x="333" y="152"/>
                  </a:lnTo>
                  <a:lnTo>
                    <a:pt x="333" y="152"/>
                  </a:lnTo>
                  <a:lnTo>
                    <a:pt x="329" y="148"/>
                  </a:lnTo>
                  <a:lnTo>
                    <a:pt x="327" y="145"/>
                  </a:lnTo>
                  <a:lnTo>
                    <a:pt x="320" y="143"/>
                  </a:lnTo>
                  <a:lnTo>
                    <a:pt x="315" y="143"/>
                  </a:lnTo>
                  <a:lnTo>
                    <a:pt x="312" y="145"/>
                  </a:lnTo>
                  <a:lnTo>
                    <a:pt x="312" y="145"/>
                  </a:lnTo>
                  <a:lnTo>
                    <a:pt x="306" y="148"/>
                  </a:lnTo>
                  <a:lnTo>
                    <a:pt x="303" y="148"/>
                  </a:lnTo>
                  <a:lnTo>
                    <a:pt x="299" y="148"/>
                  </a:lnTo>
                  <a:lnTo>
                    <a:pt x="298" y="150"/>
                  </a:lnTo>
                  <a:lnTo>
                    <a:pt x="298" y="150"/>
                  </a:lnTo>
                  <a:lnTo>
                    <a:pt x="296" y="153"/>
                  </a:lnTo>
                  <a:lnTo>
                    <a:pt x="291" y="153"/>
                  </a:lnTo>
                  <a:lnTo>
                    <a:pt x="286" y="148"/>
                  </a:lnTo>
                  <a:lnTo>
                    <a:pt x="279" y="141"/>
                  </a:lnTo>
                  <a:lnTo>
                    <a:pt x="279" y="141"/>
                  </a:lnTo>
                  <a:lnTo>
                    <a:pt x="275" y="136"/>
                  </a:lnTo>
                  <a:lnTo>
                    <a:pt x="275" y="132"/>
                  </a:lnTo>
                  <a:lnTo>
                    <a:pt x="277" y="127"/>
                  </a:lnTo>
                  <a:lnTo>
                    <a:pt x="275" y="118"/>
                  </a:lnTo>
                  <a:lnTo>
                    <a:pt x="275" y="118"/>
                  </a:lnTo>
                  <a:lnTo>
                    <a:pt x="275" y="113"/>
                  </a:lnTo>
                  <a:lnTo>
                    <a:pt x="275" y="106"/>
                  </a:lnTo>
                  <a:lnTo>
                    <a:pt x="279" y="92"/>
                  </a:lnTo>
                  <a:lnTo>
                    <a:pt x="279" y="85"/>
                  </a:lnTo>
                  <a:lnTo>
                    <a:pt x="279" y="78"/>
                  </a:lnTo>
                  <a:lnTo>
                    <a:pt x="277" y="71"/>
                  </a:lnTo>
                  <a:lnTo>
                    <a:pt x="273" y="66"/>
                  </a:lnTo>
                  <a:lnTo>
                    <a:pt x="273" y="66"/>
                  </a:lnTo>
                  <a:lnTo>
                    <a:pt x="261" y="52"/>
                  </a:lnTo>
                  <a:lnTo>
                    <a:pt x="258" y="45"/>
                  </a:lnTo>
                  <a:lnTo>
                    <a:pt x="256" y="42"/>
                  </a:lnTo>
                  <a:lnTo>
                    <a:pt x="254" y="40"/>
                  </a:lnTo>
                  <a:lnTo>
                    <a:pt x="254" y="40"/>
                  </a:lnTo>
                  <a:lnTo>
                    <a:pt x="251" y="37"/>
                  </a:lnTo>
                  <a:lnTo>
                    <a:pt x="249" y="30"/>
                  </a:lnTo>
                  <a:lnTo>
                    <a:pt x="242" y="16"/>
                  </a:lnTo>
                  <a:lnTo>
                    <a:pt x="239" y="9"/>
                  </a:lnTo>
                  <a:lnTo>
                    <a:pt x="233" y="4"/>
                  </a:lnTo>
                  <a:lnTo>
                    <a:pt x="230" y="0"/>
                  </a:lnTo>
                  <a:lnTo>
                    <a:pt x="223" y="0"/>
                  </a:lnTo>
                  <a:lnTo>
                    <a:pt x="223" y="0"/>
                  </a:lnTo>
                  <a:lnTo>
                    <a:pt x="218" y="2"/>
                  </a:lnTo>
                  <a:lnTo>
                    <a:pt x="214" y="4"/>
                  </a:lnTo>
                  <a:lnTo>
                    <a:pt x="209" y="9"/>
                  </a:lnTo>
                  <a:lnTo>
                    <a:pt x="204" y="12"/>
                  </a:lnTo>
                  <a:lnTo>
                    <a:pt x="200" y="14"/>
                  </a:lnTo>
                  <a:lnTo>
                    <a:pt x="193" y="16"/>
                  </a:lnTo>
                  <a:lnTo>
                    <a:pt x="193" y="16"/>
                  </a:lnTo>
                  <a:lnTo>
                    <a:pt x="181" y="18"/>
                  </a:lnTo>
                  <a:lnTo>
                    <a:pt x="176" y="19"/>
                  </a:lnTo>
                  <a:lnTo>
                    <a:pt x="172" y="21"/>
                  </a:lnTo>
                  <a:lnTo>
                    <a:pt x="167" y="26"/>
                  </a:lnTo>
                  <a:lnTo>
                    <a:pt x="167" y="26"/>
                  </a:lnTo>
                  <a:lnTo>
                    <a:pt x="165" y="28"/>
                  </a:lnTo>
                  <a:lnTo>
                    <a:pt x="162" y="28"/>
                  </a:lnTo>
                  <a:lnTo>
                    <a:pt x="158" y="23"/>
                  </a:lnTo>
                  <a:lnTo>
                    <a:pt x="153" y="18"/>
                  </a:lnTo>
                  <a:lnTo>
                    <a:pt x="150" y="16"/>
                  </a:lnTo>
                  <a:lnTo>
                    <a:pt x="146" y="16"/>
                  </a:lnTo>
                  <a:lnTo>
                    <a:pt x="146" y="16"/>
                  </a:lnTo>
                  <a:lnTo>
                    <a:pt x="139" y="18"/>
                  </a:lnTo>
                  <a:lnTo>
                    <a:pt x="134" y="16"/>
                  </a:lnTo>
                  <a:lnTo>
                    <a:pt x="129" y="16"/>
                  </a:lnTo>
                  <a:lnTo>
                    <a:pt x="118" y="14"/>
                  </a:lnTo>
                  <a:lnTo>
                    <a:pt x="118" y="14"/>
                  </a:lnTo>
                  <a:lnTo>
                    <a:pt x="115" y="14"/>
                  </a:lnTo>
                  <a:lnTo>
                    <a:pt x="111" y="14"/>
                  </a:lnTo>
                  <a:lnTo>
                    <a:pt x="106" y="11"/>
                  </a:lnTo>
                  <a:lnTo>
                    <a:pt x="103" y="9"/>
                  </a:lnTo>
                  <a:lnTo>
                    <a:pt x="101" y="9"/>
                  </a:lnTo>
                  <a:lnTo>
                    <a:pt x="99" y="11"/>
                  </a:lnTo>
                  <a:lnTo>
                    <a:pt x="99" y="11"/>
                  </a:lnTo>
                  <a:lnTo>
                    <a:pt x="96" y="14"/>
                  </a:lnTo>
                  <a:lnTo>
                    <a:pt x="96" y="14"/>
                  </a:lnTo>
                  <a:lnTo>
                    <a:pt x="94" y="14"/>
                  </a:lnTo>
                  <a:lnTo>
                    <a:pt x="92" y="16"/>
                  </a:lnTo>
                  <a:lnTo>
                    <a:pt x="92" y="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7" name="Freeform 1772">
              <a:extLst>
                <a:ext uri="{FF2B5EF4-FFF2-40B4-BE49-F238E27FC236}">
                  <a16:creationId xmlns:a16="http://schemas.microsoft.com/office/drawing/2014/main" id="{33974A75-D237-4EEE-AD35-75FE564B4E29}"/>
                </a:ext>
              </a:extLst>
            </p:cNvPr>
            <p:cNvSpPr>
              <a:spLocks/>
            </p:cNvSpPr>
            <p:nvPr/>
          </p:nvSpPr>
          <p:spPr bwMode="auto">
            <a:xfrm>
              <a:off x="5371674" y="2441427"/>
              <a:ext cx="269585" cy="207917"/>
            </a:xfrm>
            <a:custGeom>
              <a:avLst/>
              <a:gdLst/>
              <a:ahLst/>
              <a:cxnLst>
                <a:cxn ang="0">
                  <a:pos x="286" y="216"/>
                </a:cxn>
                <a:cxn ang="0">
                  <a:pos x="265" y="233"/>
                </a:cxn>
                <a:cxn ang="0">
                  <a:pos x="263" y="256"/>
                </a:cxn>
                <a:cxn ang="0">
                  <a:pos x="251" y="252"/>
                </a:cxn>
                <a:cxn ang="0">
                  <a:pos x="230" y="250"/>
                </a:cxn>
                <a:cxn ang="0">
                  <a:pos x="218" y="252"/>
                </a:cxn>
                <a:cxn ang="0">
                  <a:pos x="209" y="240"/>
                </a:cxn>
                <a:cxn ang="0">
                  <a:pos x="194" y="249"/>
                </a:cxn>
                <a:cxn ang="0">
                  <a:pos x="178" y="240"/>
                </a:cxn>
                <a:cxn ang="0">
                  <a:pos x="145" y="237"/>
                </a:cxn>
                <a:cxn ang="0">
                  <a:pos x="129" y="233"/>
                </a:cxn>
                <a:cxn ang="0">
                  <a:pos x="94" y="223"/>
                </a:cxn>
                <a:cxn ang="0">
                  <a:pos x="54" y="226"/>
                </a:cxn>
                <a:cxn ang="0">
                  <a:pos x="35" y="240"/>
                </a:cxn>
                <a:cxn ang="0">
                  <a:pos x="25" y="240"/>
                </a:cxn>
                <a:cxn ang="0">
                  <a:pos x="16" y="242"/>
                </a:cxn>
                <a:cxn ang="0">
                  <a:pos x="18" y="216"/>
                </a:cxn>
                <a:cxn ang="0">
                  <a:pos x="2" y="207"/>
                </a:cxn>
                <a:cxn ang="0">
                  <a:pos x="12" y="193"/>
                </a:cxn>
                <a:cxn ang="0">
                  <a:pos x="30" y="179"/>
                </a:cxn>
                <a:cxn ang="0">
                  <a:pos x="14" y="116"/>
                </a:cxn>
                <a:cxn ang="0">
                  <a:pos x="40" y="118"/>
                </a:cxn>
                <a:cxn ang="0">
                  <a:pos x="66" y="106"/>
                </a:cxn>
                <a:cxn ang="0">
                  <a:pos x="82" y="99"/>
                </a:cxn>
                <a:cxn ang="0">
                  <a:pos x="93" y="106"/>
                </a:cxn>
                <a:cxn ang="0">
                  <a:pos x="93" y="95"/>
                </a:cxn>
                <a:cxn ang="0">
                  <a:pos x="93" y="76"/>
                </a:cxn>
                <a:cxn ang="0">
                  <a:pos x="110" y="59"/>
                </a:cxn>
                <a:cxn ang="0">
                  <a:pos x="126" y="50"/>
                </a:cxn>
                <a:cxn ang="0">
                  <a:pos x="122" y="43"/>
                </a:cxn>
                <a:cxn ang="0">
                  <a:pos x="124" y="26"/>
                </a:cxn>
                <a:cxn ang="0">
                  <a:pos x="141" y="17"/>
                </a:cxn>
                <a:cxn ang="0">
                  <a:pos x="159" y="14"/>
                </a:cxn>
                <a:cxn ang="0">
                  <a:pos x="178" y="0"/>
                </a:cxn>
                <a:cxn ang="0">
                  <a:pos x="192" y="3"/>
                </a:cxn>
                <a:cxn ang="0">
                  <a:pos x="202" y="8"/>
                </a:cxn>
                <a:cxn ang="0">
                  <a:pos x="220" y="8"/>
                </a:cxn>
                <a:cxn ang="0">
                  <a:pos x="223" y="22"/>
                </a:cxn>
                <a:cxn ang="0">
                  <a:pos x="242" y="15"/>
                </a:cxn>
                <a:cxn ang="0">
                  <a:pos x="263" y="22"/>
                </a:cxn>
                <a:cxn ang="0">
                  <a:pos x="275" y="28"/>
                </a:cxn>
                <a:cxn ang="0">
                  <a:pos x="274" y="38"/>
                </a:cxn>
                <a:cxn ang="0">
                  <a:pos x="279" y="55"/>
                </a:cxn>
                <a:cxn ang="0">
                  <a:pos x="275" y="64"/>
                </a:cxn>
                <a:cxn ang="0">
                  <a:pos x="274" y="73"/>
                </a:cxn>
                <a:cxn ang="0">
                  <a:pos x="284" y="89"/>
                </a:cxn>
                <a:cxn ang="0">
                  <a:pos x="300" y="109"/>
                </a:cxn>
                <a:cxn ang="0">
                  <a:pos x="307" y="118"/>
                </a:cxn>
                <a:cxn ang="0">
                  <a:pos x="314" y="127"/>
                </a:cxn>
                <a:cxn ang="0">
                  <a:pos x="328" y="134"/>
                </a:cxn>
                <a:cxn ang="0">
                  <a:pos x="338" y="142"/>
                </a:cxn>
                <a:cxn ang="0">
                  <a:pos x="333" y="151"/>
                </a:cxn>
                <a:cxn ang="0">
                  <a:pos x="314" y="163"/>
                </a:cxn>
                <a:cxn ang="0">
                  <a:pos x="300" y="156"/>
                </a:cxn>
                <a:cxn ang="0">
                  <a:pos x="289" y="163"/>
                </a:cxn>
                <a:cxn ang="0">
                  <a:pos x="293" y="174"/>
                </a:cxn>
                <a:cxn ang="0">
                  <a:pos x="298" y="191"/>
                </a:cxn>
                <a:cxn ang="0">
                  <a:pos x="303" y="214"/>
                </a:cxn>
              </a:cxnLst>
              <a:rect l="0" t="0" r="r" b="b"/>
              <a:pathLst>
                <a:path w="338" h="261">
                  <a:moveTo>
                    <a:pt x="303" y="214"/>
                  </a:moveTo>
                  <a:lnTo>
                    <a:pt x="303" y="214"/>
                  </a:lnTo>
                  <a:lnTo>
                    <a:pt x="295" y="214"/>
                  </a:lnTo>
                  <a:lnTo>
                    <a:pt x="286" y="216"/>
                  </a:lnTo>
                  <a:lnTo>
                    <a:pt x="279" y="219"/>
                  </a:lnTo>
                  <a:lnTo>
                    <a:pt x="274" y="223"/>
                  </a:lnTo>
                  <a:lnTo>
                    <a:pt x="268" y="226"/>
                  </a:lnTo>
                  <a:lnTo>
                    <a:pt x="265" y="233"/>
                  </a:lnTo>
                  <a:lnTo>
                    <a:pt x="263" y="238"/>
                  </a:lnTo>
                  <a:lnTo>
                    <a:pt x="263" y="245"/>
                  </a:lnTo>
                  <a:lnTo>
                    <a:pt x="263" y="245"/>
                  </a:lnTo>
                  <a:lnTo>
                    <a:pt x="263" y="256"/>
                  </a:lnTo>
                  <a:lnTo>
                    <a:pt x="261" y="261"/>
                  </a:lnTo>
                  <a:lnTo>
                    <a:pt x="260" y="261"/>
                  </a:lnTo>
                  <a:lnTo>
                    <a:pt x="258" y="259"/>
                  </a:lnTo>
                  <a:lnTo>
                    <a:pt x="251" y="252"/>
                  </a:lnTo>
                  <a:lnTo>
                    <a:pt x="251" y="252"/>
                  </a:lnTo>
                  <a:lnTo>
                    <a:pt x="247" y="250"/>
                  </a:lnTo>
                  <a:lnTo>
                    <a:pt x="239" y="249"/>
                  </a:lnTo>
                  <a:lnTo>
                    <a:pt x="230" y="250"/>
                  </a:lnTo>
                  <a:lnTo>
                    <a:pt x="223" y="252"/>
                  </a:lnTo>
                  <a:lnTo>
                    <a:pt x="223" y="252"/>
                  </a:lnTo>
                  <a:lnTo>
                    <a:pt x="220" y="254"/>
                  </a:lnTo>
                  <a:lnTo>
                    <a:pt x="218" y="252"/>
                  </a:lnTo>
                  <a:lnTo>
                    <a:pt x="216" y="245"/>
                  </a:lnTo>
                  <a:lnTo>
                    <a:pt x="214" y="242"/>
                  </a:lnTo>
                  <a:lnTo>
                    <a:pt x="213" y="240"/>
                  </a:lnTo>
                  <a:lnTo>
                    <a:pt x="209" y="240"/>
                  </a:lnTo>
                  <a:lnTo>
                    <a:pt x="202" y="243"/>
                  </a:lnTo>
                  <a:lnTo>
                    <a:pt x="202" y="243"/>
                  </a:lnTo>
                  <a:lnTo>
                    <a:pt x="195" y="249"/>
                  </a:lnTo>
                  <a:lnTo>
                    <a:pt x="194" y="249"/>
                  </a:lnTo>
                  <a:lnTo>
                    <a:pt x="194" y="247"/>
                  </a:lnTo>
                  <a:lnTo>
                    <a:pt x="192" y="245"/>
                  </a:lnTo>
                  <a:lnTo>
                    <a:pt x="187" y="242"/>
                  </a:lnTo>
                  <a:lnTo>
                    <a:pt x="178" y="240"/>
                  </a:lnTo>
                  <a:lnTo>
                    <a:pt x="166" y="240"/>
                  </a:lnTo>
                  <a:lnTo>
                    <a:pt x="166" y="240"/>
                  </a:lnTo>
                  <a:lnTo>
                    <a:pt x="150" y="240"/>
                  </a:lnTo>
                  <a:lnTo>
                    <a:pt x="145" y="237"/>
                  </a:lnTo>
                  <a:lnTo>
                    <a:pt x="141" y="235"/>
                  </a:lnTo>
                  <a:lnTo>
                    <a:pt x="134" y="233"/>
                  </a:lnTo>
                  <a:lnTo>
                    <a:pt x="134" y="233"/>
                  </a:lnTo>
                  <a:lnTo>
                    <a:pt x="129" y="233"/>
                  </a:lnTo>
                  <a:lnTo>
                    <a:pt x="124" y="231"/>
                  </a:lnTo>
                  <a:lnTo>
                    <a:pt x="112" y="228"/>
                  </a:lnTo>
                  <a:lnTo>
                    <a:pt x="103" y="224"/>
                  </a:lnTo>
                  <a:lnTo>
                    <a:pt x="94" y="223"/>
                  </a:lnTo>
                  <a:lnTo>
                    <a:pt x="82" y="223"/>
                  </a:lnTo>
                  <a:lnTo>
                    <a:pt x="66" y="223"/>
                  </a:lnTo>
                  <a:lnTo>
                    <a:pt x="66" y="223"/>
                  </a:lnTo>
                  <a:lnTo>
                    <a:pt x="54" y="226"/>
                  </a:lnTo>
                  <a:lnTo>
                    <a:pt x="46" y="228"/>
                  </a:lnTo>
                  <a:lnTo>
                    <a:pt x="40" y="231"/>
                  </a:lnTo>
                  <a:lnTo>
                    <a:pt x="37" y="235"/>
                  </a:lnTo>
                  <a:lnTo>
                    <a:pt x="35" y="240"/>
                  </a:lnTo>
                  <a:lnTo>
                    <a:pt x="33" y="242"/>
                  </a:lnTo>
                  <a:lnTo>
                    <a:pt x="30" y="240"/>
                  </a:lnTo>
                  <a:lnTo>
                    <a:pt x="30" y="240"/>
                  </a:lnTo>
                  <a:lnTo>
                    <a:pt x="25" y="240"/>
                  </a:lnTo>
                  <a:lnTo>
                    <a:pt x="21" y="242"/>
                  </a:lnTo>
                  <a:lnTo>
                    <a:pt x="18" y="247"/>
                  </a:lnTo>
                  <a:lnTo>
                    <a:pt x="18" y="247"/>
                  </a:lnTo>
                  <a:lnTo>
                    <a:pt x="16" y="242"/>
                  </a:lnTo>
                  <a:lnTo>
                    <a:pt x="16" y="237"/>
                  </a:lnTo>
                  <a:lnTo>
                    <a:pt x="18" y="226"/>
                  </a:lnTo>
                  <a:lnTo>
                    <a:pt x="18" y="221"/>
                  </a:lnTo>
                  <a:lnTo>
                    <a:pt x="18" y="216"/>
                  </a:lnTo>
                  <a:lnTo>
                    <a:pt x="14" y="212"/>
                  </a:lnTo>
                  <a:lnTo>
                    <a:pt x="7" y="210"/>
                  </a:lnTo>
                  <a:lnTo>
                    <a:pt x="7" y="210"/>
                  </a:lnTo>
                  <a:lnTo>
                    <a:pt x="2" y="207"/>
                  </a:lnTo>
                  <a:lnTo>
                    <a:pt x="0" y="205"/>
                  </a:lnTo>
                  <a:lnTo>
                    <a:pt x="2" y="202"/>
                  </a:lnTo>
                  <a:lnTo>
                    <a:pt x="4" y="200"/>
                  </a:lnTo>
                  <a:lnTo>
                    <a:pt x="12" y="193"/>
                  </a:lnTo>
                  <a:lnTo>
                    <a:pt x="25" y="188"/>
                  </a:lnTo>
                  <a:lnTo>
                    <a:pt x="25" y="188"/>
                  </a:lnTo>
                  <a:lnTo>
                    <a:pt x="28" y="184"/>
                  </a:lnTo>
                  <a:lnTo>
                    <a:pt x="30" y="179"/>
                  </a:lnTo>
                  <a:lnTo>
                    <a:pt x="30" y="172"/>
                  </a:lnTo>
                  <a:lnTo>
                    <a:pt x="28" y="163"/>
                  </a:lnTo>
                  <a:lnTo>
                    <a:pt x="23" y="142"/>
                  </a:lnTo>
                  <a:lnTo>
                    <a:pt x="14" y="116"/>
                  </a:lnTo>
                  <a:lnTo>
                    <a:pt x="14" y="116"/>
                  </a:lnTo>
                  <a:lnTo>
                    <a:pt x="23" y="116"/>
                  </a:lnTo>
                  <a:lnTo>
                    <a:pt x="30" y="116"/>
                  </a:lnTo>
                  <a:lnTo>
                    <a:pt x="40" y="118"/>
                  </a:lnTo>
                  <a:lnTo>
                    <a:pt x="46" y="118"/>
                  </a:lnTo>
                  <a:lnTo>
                    <a:pt x="51" y="116"/>
                  </a:lnTo>
                  <a:lnTo>
                    <a:pt x="58" y="113"/>
                  </a:lnTo>
                  <a:lnTo>
                    <a:pt x="66" y="106"/>
                  </a:lnTo>
                  <a:lnTo>
                    <a:pt x="66" y="106"/>
                  </a:lnTo>
                  <a:lnTo>
                    <a:pt x="73" y="101"/>
                  </a:lnTo>
                  <a:lnTo>
                    <a:pt x="79" y="99"/>
                  </a:lnTo>
                  <a:lnTo>
                    <a:pt x="82" y="99"/>
                  </a:lnTo>
                  <a:lnTo>
                    <a:pt x="84" y="101"/>
                  </a:lnTo>
                  <a:lnTo>
                    <a:pt x="87" y="106"/>
                  </a:lnTo>
                  <a:lnTo>
                    <a:pt x="89" y="108"/>
                  </a:lnTo>
                  <a:lnTo>
                    <a:pt x="93" y="106"/>
                  </a:lnTo>
                  <a:lnTo>
                    <a:pt x="93" y="106"/>
                  </a:lnTo>
                  <a:lnTo>
                    <a:pt x="96" y="102"/>
                  </a:lnTo>
                  <a:lnTo>
                    <a:pt x="96" y="101"/>
                  </a:lnTo>
                  <a:lnTo>
                    <a:pt x="93" y="95"/>
                  </a:lnTo>
                  <a:lnTo>
                    <a:pt x="91" y="92"/>
                  </a:lnTo>
                  <a:lnTo>
                    <a:pt x="89" y="89"/>
                  </a:lnTo>
                  <a:lnTo>
                    <a:pt x="89" y="83"/>
                  </a:lnTo>
                  <a:lnTo>
                    <a:pt x="93" y="76"/>
                  </a:lnTo>
                  <a:lnTo>
                    <a:pt x="93" y="76"/>
                  </a:lnTo>
                  <a:lnTo>
                    <a:pt x="99" y="68"/>
                  </a:lnTo>
                  <a:lnTo>
                    <a:pt x="105" y="62"/>
                  </a:lnTo>
                  <a:lnTo>
                    <a:pt x="110" y="59"/>
                  </a:lnTo>
                  <a:lnTo>
                    <a:pt x="113" y="59"/>
                  </a:lnTo>
                  <a:lnTo>
                    <a:pt x="120" y="55"/>
                  </a:lnTo>
                  <a:lnTo>
                    <a:pt x="124" y="54"/>
                  </a:lnTo>
                  <a:lnTo>
                    <a:pt x="126" y="50"/>
                  </a:lnTo>
                  <a:lnTo>
                    <a:pt x="126" y="50"/>
                  </a:lnTo>
                  <a:lnTo>
                    <a:pt x="127" y="47"/>
                  </a:lnTo>
                  <a:lnTo>
                    <a:pt x="127" y="43"/>
                  </a:lnTo>
                  <a:lnTo>
                    <a:pt x="122" y="43"/>
                  </a:lnTo>
                  <a:lnTo>
                    <a:pt x="120" y="42"/>
                  </a:lnTo>
                  <a:lnTo>
                    <a:pt x="120" y="40"/>
                  </a:lnTo>
                  <a:lnTo>
                    <a:pt x="120" y="35"/>
                  </a:lnTo>
                  <a:lnTo>
                    <a:pt x="124" y="26"/>
                  </a:lnTo>
                  <a:lnTo>
                    <a:pt x="124" y="26"/>
                  </a:lnTo>
                  <a:lnTo>
                    <a:pt x="131" y="21"/>
                  </a:lnTo>
                  <a:lnTo>
                    <a:pt x="136" y="17"/>
                  </a:lnTo>
                  <a:lnTo>
                    <a:pt x="141" y="17"/>
                  </a:lnTo>
                  <a:lnTo>
                    <a:pt x="147" y="17"/>
                  </a:lnTo>
                  <a:lnTo>
                    <a:pt x="153" y="17"/>
                  </a:lnTo>
                  <a:lnTo>
                    <a:pt x="157" y="17"/>
                  </a:lnTo>
                  <a:lnTo>
                    <a:pt x="159" y="14"/>
                  </a:lnTo>
                  <a:lnTo>
                    <a:pt x="159" y="14"/>
                  </a:lnTo>
                  <a:lnTo>
                    <a:pt x="166" y="5"/>
                  </a:lnTo>
                  <a:lnTo>
                    <a:pt x="171" y="1"/>
                  </a:lnTo>
                  <a:lnTo>
                    <a:pt x="178" y="0"/>
                  </a:lnTo>
                  <a:lnTo>
                    <a:pt x="178" y="0"/>
                  </a:lnTo>
                  <a:lnTo>
                    <a:pt x="185" y="0"/>
                  </a:lnTo>
                  <a:lnTo>
                    <a:pt x="190" y="0"/>
                  </a:lnTo>
                  <a:lnTo>
                    <a:pt x="192" y="3"/>
                  </a:lnTo>
                  <a:lnTo>
                    <a:pt x="195" y="5"/>
                  </a:lnTo>
                  <a:lnTo>
                    <a:pt x="197" y="7"/>
                  </a:lnTo>
                  <a:lnTo>
                    <a:pt x="199" y="8"/>
                  </a:lnTo>
                  <a:lnTo>
                    <a:pt x="202" y="8"/>
                  </a:lnTo>
                  <a:lnTo>
                    <a:pt x="209" y="7"/>
                  </a:lnTo>
                  <a:lnTo>
                    <a:pt x="209" y="7"/>
                  </a:lnTo>
                  <a:lnTo>
                    <a:pt x="216" y="7"/>
                  </a:lnTo>
                  <a:lnTo>
                    <a:pt x="220" y="8"/>
                  </a:lnTo>
                  <a:lnTo>
                    <a:pt x="221" y="12"/>
                  </a:lnTo>
                  <a:lnTo>
                    <a:pt x="221" y="15"/>
                  </a:lnTo>
                  <a:lnTo>
                    <a:pt x="221" y="19"/>
                  </a:lnTo>
                  <a:lnTo>
                    <a:pt x="223" y="22"/>
                  </a:lnTo>
                  <a:lnTo>
                    <a:pt x="225" y="22"/>
                  </a:lnTo>
                  <a:lnTo>
                    <a:pt x="230" y="21"/>
                  </a:lnTo>
                  <a:lnTo>
                    <a:pt x="230" y="21"/>
                  </a:lnTo>
                  <a:lnTo>
                    <a:pt x="242" y="15"/>
                  </a:lnTo>
                  <a:lnTo>
                    <a:pt x="251" y="15"/>
                  </a:lnTo>
                  <a:lnTo>
                    <a:pt x="258" y="17"/>
                  </a:lnTo>
                  <a:lnTo>
                    <a:pt x="263" y="22"/>
                  </a:lnTo>
                  <a:lnTo>
                    <a:pt x="263" y="22"/>
                  </a:lnTo>
                  <a:lnTo>
                    <a:pt x="265" y="24"/>
                  </a:lnTo>
                  <a:lnTo>
                    <a:pt x="268" y="26"/>
                  </a:lnTo>
                  <a:lnTo>
                    <a:pt x="274" y="28"/>
                  </a:lnTo>
                  <a:lnTo>
                    <a:pt x="275" y="28"/>
                  </a:lnTo>
                  <a:lnTo>
                    <a:pt x="275" y="29"/>
                  </a:lnTo>
                  <a:lnTo>
                    <a:pt x="275" y="33"/>
                  </a:lnTo>
                  <a:lnTo>
                    <a:pt x="274" y="38"/>
                  </a:lnTo>
                  <a:lnTo>
                    <a:pt x="274" y="38"/>
                  </a:lnTo>
                  <a:lnTo>
                    <a:pt x="274" y="43"/>
                  </a:lnTo>
                  <a:lnTo>
                    <a:pt x="274" y="47"/>
                  </a:lnTo>
                  <a:lnTo>
                    <a:pt x="277" y="54"/>
                  </a:lnTo>
                  <a:lnTo>
                    <a:pt x="279" y="55"/>
                  </a:lnTo>
                  <a:lnTo>
                    <a:pt x="279" y="57"/>
                  </a:lnTo>
                  <a:lnTo>
                    <a:pt x="279" y="61"/>
                  </a:lnTo>
                  <a:lnTo>
                    <a:pt x="275" y="64"/>
                  </a:lnTo>
                  <a:lnTo>
                    <a:pt x="275" y="64"/>
                  </a:lnTo>
                  <a:lnTo>
                    <a:pt x="272" y="66"/>
                  </a:lnTo>
                  <a:lnTo>
                    <a:pt x="270" y="69"/>
                  </a:lnTo>
                  <a:lnTo>
                    <a:pt x="270" y="71"/>
                  </a:lnTo>
                  <a:lnTo>
                    <a:pt x="274" y="73"/>
                  </a:lnTo>
                  <a:lnTo>
                    <a:pt x="279" y="78"/>
                  </a:lnTo>
                  <a:lnTo>
                    <a:pt x="282" y="82"/>
                  </a:lnTo>
                  <a:lnTo>
                    <a:pt x="284" y="89"/>
                  </a:lnTo>
                  <a:lnTo>
                    <a:pt x="284" y="89"/>
                  </a:lnTo>
                  <a:lnTo>
                    <a:pt x="286" y="97"/>
                  </a:lnTo>
                  <a:lnTo>
                    <a:pt x="291" y="102"/>
                  </a:lnTo>
                  <a:lnTo>
                    <a:pt x="295" y="106"/>
                  </a:lnTo>
                  <a:lnTo>
                    <a:pt x="300" y="109"/>
                  </a:lnTo>
                  <a:lnTo>
                    <a:pt x="307" y="113"/>
                  </a:lnTo>
                  <a:lnTo>
                    <a:pt x="308" y="115"/>
                  </a:lnTo>
                  <a:lnTo>
                    <a:pt x="307" y="118"/>
                  </a:lnTo>
                  <a:lnTo>
                    <a:pt x="307" y="118"/>
                  </a:lnTo>
                  <a:lnTo>
                    <a:pt x="303" y="123"/>
                  </a:lnTo>
                  <a:lnTo>
                    <a:pt x="305" y="125"/>
                  </a:lnTo>
                  <a:lnTo>
                    <a:pt x="308" y="127"/>
                  </a:lnTo>
                  <a:lnTo>
                    <a:pt x="314" y="127"/>
                  </a:lnTo>
                  <a:lnTo>
                    <a:pt x="322" y="127"/>
                  </a:lnTo>
                  <a:lnTo>
                    <a:pt x="326" y="129"/>
                  </a:lnTo>
                  <a:lnTo>
                    <a:pt x="328" y="134"/>
                  </a:lnTo>
                  <a:lnTo>
                    <a:pt x="328" y="134"/>
                  </a:lnTo>
                  <a:lnTo>
                    <a:pt x="329" y="136"/>
                  </a:lnTo>
                  <a:lnTo>
                    <a:pt x="331" y="139"/>
                  </a:lnTo>
                  <a:lnTo>
                    <a:pt x="336" y="142"/>
                  </a:lnTo>
                  <a:lnTo>
                    <a:pt x="338" y="142"/>
                  </a:lnTo>
                  <a:lnTo>
                    <a:pt x="338" y="146"/>
                  </a:lnTo>
                  <a:lnTo>
                    <a:pt x="336" y="148"/>
                  </a:lnTo>
                  <a:lnTo>
                    <a:pt x="333" y="151"/>
                  </a:lnTo>
                  <a:lnTo>
                    <a:pt x="333" y="151"/>
                  </a:lnTo>
                  <a:lnTo>
                    <a:pt x="326" y="156"/>
                  </a:lnTo>
                  <a:lnTo>
                    <a:pt x="321" y="162"/>
                  </a:lnTo>
                  <a:lnTo>
                    <a:pt x="317" y="163"/>
                  </a:lnTo>
                  <a:lnTo>
                    <a:pt x="314" y="163"/>
                  </a:lnTo>
                  <a:lnTo>
                    <a:pt x="308" y="162"/>
                  </a:lnTo>
                  <a:lnTo>
                    <a:pt x="303" y="158"/>
                  </a:lnTo>
                  <a:lnTo>
                    <a:pt x="303" y="158"/>
                  </a:lnTo>
                  <a:lnTo>
                    <a:pt x="300" y="156"/>
                  </a:lnTo>
                  <a:lnTo>
                    <a:pt x="295" y="156"/>
                  </a:lnTo>
                  <a:lnTo>
                    <a:pt x="293" y="158"/>
                  </a:lnTo>
                  <a:lnTo>
                    <a:pt x="289" y="160"/>
                  </a:lnTo>
                  <a:lnTo>
                    <a:pt x="289" y="163"/>
                  </a:lnTo>
                  <a:lnTo>
                    <a:pt x="289" y="167"/>
                  </a:lnTo>
                  <a:lnTo>
                    <a:pt x="289" y="170"/>
                  </a:lnTo>
                  <a:lnTo>
                    <a:pt x="293" y="174"/>
                  </a:lnTo>
                  <a:lnTo>
                    <a:pt x="293" y="174"/>
                  </a:lnTo>
                  <a:lnTo>
                    <a:pt x="296" y="179"/>
                  </a:lnTo>
                  <a:lnTo>
                    <a:pt x="300" y="184"/>
                  </a:lnTo>
                  <a:lnTo>
                    <a:pt x="300" y="188"/>
                  </a:lnTo>
                  <a:lnTo>
                    <a:pt x="298" y="191"/>
                  </a:lnTo>
                  <a:lnTo>
                    <a:pt x="298" y="196"/>
                  </a:lnTo>
                  <a:lnTo>
                    <a:pt x="298" y="200"/>
                  </a:lnTo>
                  <a:lnTo>
                    <a:pt x="300" y="207"/>
                  </a:lnTo>
                  <a:lnTo>
                    <a:pt x="303" y="214"/>
                  </a:lnTo>
                  <a:lnTo>
                    <a:pt x="303" y="2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8" name="Freeform 1773">
              <a:extLst>
                <a:ext uri="{FF2B5EF4-FFF2-40B4-BE49-F238E27FC236}">
                  <a16:creationId xmlns:a16="http://schemas.microsoft.com/office/drawing/2014/main" id="{020A6CAB-0909-41A5-B0CB-A0EE77F6F93D}"/>
                </a:ext>
              </a:extLst>
            </p:cNvPr>
            <p:cNvSpPr>
              <a:spLocks/>
            </p:cNvSpPr>
            <p:nvPr/>
          </p:nvSpPr>
          <p:spPr bwMode="auto">
            <a:xfrm>
              <a:off x="5119708" y="2497810"/>
              <a:ext cx="280158" cy="243157"/>
            </a:xfrm>
            <a:custGeom>
              <a:avLst/>
              <a:gdLst/>
              <a:ahLst/>
              <a:cxnLst>
                <a:cxn ang="0">
                  <a:pos x="332" y="181"/>
                </a:cxn>
                <a:cxn ang="0">
                  <a:pos x="339" y="199"/>
                </a:cxn>
                <a:cxn ang="0">
                  <a:pos x="348" y="215"/>
                </a:cxn>
                <a:cxn ang="0">
                  <a:pos x="345" y="218"/>
                </a:cxn>
                <a:cxn ang="0">
                  <a:pos x="346" y="232"/>
                </a:cxn>
                <a:cxn ang="0">
                  <a:pos x="329" y="241"/>
                </a:cxn>
                <a:cxn ang="0">
                  <a:pos x="299" y="275"/>
                </a:cxn>
                <a:cxn ang="0">
                  <a:pos x="301" y="291"/>
                </a:cxn>
                <a:cxn ang="0">
                  <a:pos x="301" y="300"/>
                </a:cxn>
                <a:cxn ang="0">
                  <a:pos x="294" y="303"/>
                </a:cxn>
                <a:cxn ang="0">
                  <a:pos x="273" y="291"/>
                </a:cxn>
                <a:cxn ang="0">
                  <a:pos x="240" y="286"/>
                </a:cxn>
                <a:cxn ang="0">
                  <a:pos x="216" y="288"/>
                </a:cxn>
                <a:cxn ang="0">
                  <a:pos x="205" y="296"/>
                </a:cxn>
                <a:cxn ang="0">
                  <a:pos x="197" y="295"/>
                </a:cxn>
                <a:cxn ang="0">
                  <a:pos x="197" y="284"/>
                </a:cxn>
                <a:cxn ang="0">
                  <a:pos x="184" y="277"/>
                </a:cxn>
                <a:cxn ang="0">
                  <a:pos x="174" y="286"/>
                </a:cxn>
                <a:cxn ang="0">
                  <a:pos x="169" y="284"/>
                </a:cxn>
                <a:cxn ang="0">
                  <a:pos x="163" y="281"/>
                </a:cxn>
                <a:cxn ang="0">
                  <a:pos x="143" y="255"/>
                </a:cxn>
                <a:cxn ang="0">
                  <a:pos x="129" y="255"/>
                </a:cxn>
                <a:cxn ang="0">
                  <a:pos x="122" y="244"/>
                </a:cxn>
                <a:cxn ang="0">
                  <a:pos x="101" y="235"/>
                </a:cxn>
                <a:cxn ang="0">
                  <a:pos x="96" y="237"/>
                </a:cxn>
                <a:cxn ang="0">
                  <a:pos x="96" y="248"/>
                </a:cxn>
                <a:cxn ang="0">
                  <a:pos x="78" y="241"/>
                </a:cxn>
                <a:cxn ang="0">
                  <a:pos x="73" y="228"/>
                </a:cxn>
                <a:cxn ang="0">
                  <a:pos x="80" y="223"/>
                </a:cxn>
                <a:cxn ang="0">
                  <a:pos x="64" y="220"/>
                </a:cxn>
                <a:cxn ang="0">
                  <a:pos x="40" y="209"/>
                </a:cxn>
                <a:cxn ang="0">
                  <a:pos x="24" y="208"/>
                </a:cxn>
                <a:cxn ang="0">
                  <a:pos x="29" y="183"/>
                </a:cxn>
                <a:cxn ang="0">
                  <a:pos x="17" y="169"/>
                </a:cxn>
                <a:cxn ang="0">
                  <a:pos x="19" y="154"/>
                </a:cxn>
                <a:cxn ang="0">
                  <a:pos x="15" y="138"/>
                </a:cxn>
                <a:cxn ang="0">
                  <a:pos x="15" y="127"/>
                </a:cxn>
                <a:cxn ang="0">
                  <a:pos x="7" y="114"/>
                </a:cxn>
                <a:cxn ang="0">
                  <a:pos x="0" y="100"/>
                </a:cxn>
                <a:cxn ang="0">
                  <a:pos x="5" y="72"/>
                </a:cxn>
                <a:cxn ang="0">
                  <a:pos x="12" y="65"/>
                </a:cxn>
                <a:cxn ang="0">
                  <a:pos x="14" y="58"/>
                </a:cxn>
                <a:cxn ang="0">
                  <a:pos x="7" y="56"/>
                </a:cxn>
                <a:cxn ang="0">
                  <a:pos x="2" y="49"/>
                </a:cxn>
                <a:cxn ang="0">
                  <a:pos x="35" y="40"/>
                </a:cxn>
                <a:cxn ang="0">
                  <a:pos x="71" y="30"/>
                </a:cxn>
                <a:cxn ang="0">
                  <a:pos x="85" y="16"/>
                </a:cxn>
                <a:cxn ang="0">
                  <a:pos x="103" y="9"/>
                </a:cxn>
                <a:cxn ang="0">
                  <a:pos x="137" y="0"/>
                </a:cxn>
                <a:cxn ang="0">
                  <a:pos x="163" y="11"/>
                </a:cxn>
                <a:cxn ang="0">
                  <a:pos x="157" y="11"/>
                </a:cxn>
                <a:cxn ang="0">
                  <a:pos x="153" y="18"/>
                </a:cxn>
                <a:cxn ang="0">
                  <a:pos x="163" y="26"/>
                </a:cxn>
                <a:cxn ang="0">
                  <a:pos x="191" y="20"/>
                </a:cxn>
                <a:cxn ang="0">
                  <a:pos x="292" y="26"/>
                </a:cxn>
                <a:cxn ang="0">
                  <a:pos x="310" y="26"/>
                </a:cxn>
                <a:cxn ang="0">
                  <a:pos x="327" y="44"/>
                </a:cxn>
                <a:cxn ang="0">
                  <a:pos x="341" y="94"/>
                </a:cxn>
                <a:cxn ang="0">
                  <a:pos x="338" y="119"/>
                </a:cxn>
                <a:cxn ang="0">
                  <a:pos x="315" y="133"/>
                </a:cxn>
                <a:cxn ang="0">
                  <a:pos x="320" y="141"/>
                </a:cxn>
                <a:cxn ang="0">
                  <a:pos x="331" y="155"/>
                </a:cxn>
                <a:cxn ang="0">
                  <a:pos x="331" y="176"/>
                </a:cxn>
              </a:cxnLst>
              <a:rect l="0" t="0" r="r" b="b"/>
              <a:pathLst>
                <a:path w="350" h="305">
                  <a:moveTo>
                    <a:pt x="331" y="176"/>
                  </a:moveTo>
                  <a:lnTo>
                    <a:pt x="331" y="176"/>
                  </a:lnTo>
                  <a:lnTo>
                    <a:pt x="332" y="180"/>
                  </a:lnTo>
                  <a:lnTo>
                    <a:pt x="332" y="181"/>
                  </a:lnTo>
                  <a:lnTo>
                    <a:pt x="331" y="185"/>
                  </a:lnTo>
                  <a:lnTo>
                    <a:pt x="331" y="188"/>
                  </a:lnTo>
                  <a:lnTo>
                    <a:pt x="332" y="190"/>
                  </a:lnTo>
                  <a:lnTo>
                    <a:pt x="339" y="199"/>
                  </a:lnTo>
                  <a:lnTo>
                    <a:pt x="339" y="199"/>
                  </a:lnTo>
                  <a:lnTo>
                    <a:pt x="348" y="211"/>
                  </a:lnTo>
                  <a:lnTo>
                    <a:pt x="348" y="215"/>
                  </a:lnTo>
                  <a:lnTo>
                    <a:pt x="348" y="215"/>
                  </a:lnTo>
                  <a:lnTo>
                    <a:pt x="343" y="215"/>
                  </a:lnTo>
                  <a:lnTo>
                    <a:pt x="343" y="216"/>
                  </a:lnTo>
                  <a:lnTo>
                    <a:pt x="345" y="218"/>
                  </a:lnTo>
                  <a:lnTo>
                    <a:pt x="345" y="218"/>
                  </a:lnTo>
                  <a:lnTo>
                    <a:pt x="348" y="223"/>
                  </a:lnTo>
                  <a:lnTo>
                    <a:pt x="350" y="228"/>
                  </a:lnTo>
                  <a:lnTo>
                    <a:pt x="348" y="230"/>
                  </a:lnTo>
                  <a:lnTo>
                    <a:pt x="346" y="232"/>
                  </a:lnTo>
                  <a:lnTo>
                    <a:pt x="338" y="235"/>
                  </a:lnTo>
                  <a:lnTo>
                    <a:pt x="338" y="235"/>
                  </a:lnTo>
                  <a:lnTo>
                    <a:pt x="334" y="237"/>
                  </a:lnTo>
                  <a:lnTo>
                    <a:pt x="329" y="241"/>
                  </a:lnTo>
                  <a:lnTo>
                    <a:pt x="320" y="249"/>
                  </a:lnTo>
                  <a:lnTo>
                    <a:pt x="303" y="272"/>
                  </a:lnTo>
                  <a:lnTo>
                    <a:pt x="303" y="272"/>
                  </a:lnTo>
                  <a:lnTo>
                    <a:pt x="299" y="275"/>
                  </a:lnTo>
                  <a:lnTo>
                    <a:pt x="299" y="279"/>
                  </a:lnTo>
                  <a:lnTo>
                    <a:pt x="299" y="284"/>
                  </a:lnTo>
                  <a:lnTo>
                    <a:pt x="301" y="289"/>
                  </a:lnTo>
                  <a:lnTo>
                    <a:pt x="301" y="291"/>
                  </a:lnTo>
                  <a:lnTo>
                    <a:pt x="301" y="295"/>
                  </a:lnTo>
                  <a:lnTo>
                    <a:pt x="301" y="295"/>
                  </a:lnTo>
                  <a:lnTo>
                    <a:pt x="299" y="296"/>
                  </a:lnTo>
                  <a:lnTo>
                    <a:pt x="301" y="300"/>
                  </a:lnTo>
                  <a:lnTo>
                    <a:pt x="305" y="303"/>
                  </a:lnTo>
                  <a:lnTo>
                    <a:pt x="305" y="305"/>
                  </a:lnTo>
                  <a:lnTo>
                    <a:pt x="303" y="305"/>
                  </a:lnTo>
                  <a:lnTo>
                    <a:pt x="294" y="303"/>
                  </a:lnTo>
                  <a:lnTo>
                    <a:pt x="294" y="303"/>
                  </a:lnTo>
                  <a:lnTo>
                    <a:pt x="280" y="298"/>
                  </a:lnTo>
                  <a:lnTo>
                    <a:pt x="275" y="295"/>
                  </a:lnTo>
                  <a:lnTo>
                    <a:pt x="273" y="291"/>
                  </a:lnTo>
                  <a:lnTo>
                    <a:pt x="271" y="289"/>
                  </a:lnTo>
                  <a:lnTo>
                    <a:pt x="271" y="289"/>
                  </a:lnTo>
                  <a:lnTo>
                    <a:pt x="256" y="286"/>
                  </a:lnTo>
                  <a:lnTo>
                    <a:pt x="240" y="286"/>
                  </a:lnTo>
                  <a:lnTo>
                    <a:pt x="219" y="286"/>
                  </a:lnTo>
                  <a:lnTo>
                    <a:pt x="219" y="286"/>
                  </a:lnTo>
                  <a:lnTo>
                    <a:pt x="217" y="286"/>
                  </a:lnTo>
                  <a:lnTo>
                    <a:pt x="216" y="288"/>
                  </a:lnTo>
                  <a:lnTo>
                    <a:pt x="211" y="293"/>
                  </a:lnTo>
                  <a:lnTo>
                    <a:pt x="207" y="296"/>
                  </a:lnTo>
                  <a:lnTo>
                    <a:pt x="207" y="298"/>
                  </a:lnTo>
                  <a:lnTo>
                    <a:pt x="205" y="296"/>
                  </a:lnTo>
                  <a:lnTo>
                    <a:pt x="205" y="296"/>
                  </a:lnTo>
                  <a:lnTo>
                    <a:pt x="202" y="296"/>
                  </a:lnTo>
                  <a:lnTo>
                    <a:pt x="198" y="296"/>
                  </a:lnTo>
                  <a:lnTo>
                    <a:pt x="197" y="295"/>
                  </a:lnTo>
                  <a:lnTo>
                    <a:pt x="197" y="293"/>
                  </a:lnTo>
                  <a:lnTo>
                    <a:pt x="197" y="293"/>
                  </a:lnTo>
                  <a:lnTo>
                    <a:pt x="198" y="288"/>
                  </a:lnTo>
                  <a:lnTo>
                    <a:pt x="197" y="284"/>
                  </a:lnTo>
                  <a:lnTo>
                    <a:pt x="195" y="281"/>
                  </a:lnTo>
                  <a:lnTo>
                    <a:pt x="191" y="279"/>
                  </a:lnTo>
                  <a:lnTo>
                    <a:pt x="188" y="277"/>
                  </a:lnTo>
                  <a:lnTo>
                    <a:pt x="184" y="277"/>
                  </a:lnTo>
                  <a:lnTo>
                    <a:pt x="181" y="279"/>
                  </a:lnTo>
                  <a:lnTo>
                    <a:pt x="179" y="281"/>
                  </a:lnTo>
                  <a:lnTo>
                    <a:pt x="179" y="281"/>
                  </a:lnTo>
                  <a:lnTo>
                    <a:pt x="174" y="286"/>
                  </a:lnTo>
                  <a:lnTo>
                    <a:pt x="170" y="288"/>
                  </a:lnTo>
                  <a:lnTo>
                    <a:pt x="169" y="288"/>
                  </a:lnTo>
                  <a:lnTo>
                    <a:pt x="169" y="284"/>
                  </a:lnTo>
                  <a:lnTo>
                    <a:pt x="169" y="284"/>
                  </a:lnTo>
                  <a:lnTo>
                    <a:pt x="169" y="282"/>
                  </a:lnTo>
                  <a:lnTo>
                    <a:pt x="167" y="281"/>
                  </a:lnTo>
                  <a:lnTo>
                    <a:pt x="163" y="281"/>
                  </a:lnTo>
                  <a:lnTo>
                    <a:pt x="163" y="281"/>
                  </a:lnTo>
                  <a:lnTo>
                    <a:pt x="162" y="274"/>
                  </a:lnTo>
                  <a:lnTo>
                    <a:pt x="158" y="267"/>
                  </a:lnTo>
                  <a:lnTo>
                    <a:pt x="153" y="260"/>
                  </a:lnTo>
                  <a:lnTo>
                    <a:pt x="143" y="255"/>
                  </a:lnTo>
                  <a:lnTo>
                    <a:pt x="143" y="255"/>
                  </a:lnTo>
                  <a:lnTo>
                    <a:pt x="136" y="253"/>
                  </a:lnTo>
                  <a:lnTo>
                    <a:pt x="130" y="255"/>
                  </a:lnTo>
                  <a:lnTo>
                    <a:pt x="129" y="255"/>
                  </a:lnTo>
                  <a:lnTo>
                    <a:pt x="125" y="253"/>
                  </a:lnTo>
                  <a:lnTo>
                    <a:pt x="125" y="253"/>
                  </a:lnTo>
                  <a:lnTo>
                    <a:pt x="122" y="248"/>
                  </a:lnTo>
                  <a:lnTo>
                    <a:pt x="122" y="244"/>
                  </a:lnTo>
                  <a:lnTo>
                    <a:pt x="122" y="242"/>
                  </a:lnTo>
                  <a:lnTo>
                    <a:pt x="116" y="241"/>
                  </a:lnTo>
                  <a:lnTo>
                    <a:pt x="116" y="241"/>
                  </a:lnTo>
                  <a:lnTo>
                    <a:pt x="101" y="235"/>
                  </a:lnTo>
                  <a:lnTo>
                    <a:pt x="96" y="234"/>
                  </a:lnTo>
                  <a:lnTo>
                    <a:pt x="96" y="235"/>
                  </a:lnTo>
                  <a:lnTo>
                    <a:pt x="96" y="237"/>
                  </a:lnTo>
                  <a:lnTo>
                    <a:pt x="96" y="237"/>
                  </a:lnTo>
                  <a:lnTo>
                    <a:pt x="97" y="241"/>
                  </a:lnTo>
                  <a:lnTo>
                    <a:pt x="97" y="242"/>
                  </a:lnTo>
                  <a:lnTo>
                    <a:pt x="97" y="246"/>
                  </a:lnTo>
                  <a:lnTo>
                    <a:pt x="96" y="248"/>
                  </a:lnTo>
                  <a:lnTo>
                    <a:pt x="92" y="249"/>
                  </a:lnTo>
                  <a:lnTo>
                    <a:pt x="89" y="249"/>
                  </a:lnTo>
                  <a:lnTo>
                    <a:pt x="83" y="246"/>
                  </a:lnTo>
                  <a:lnTo>
                    <a:pt x="78" y="241"/>
                  </a:lnTo>
                  <a:lnTo>
                    <a:pt x="78" y="241"/>
                  </a:lnTo>
                  <a:lnTo>
                    <a:pt x="75" y="235"/>
                  </a:lnTo>
                  <a:lnTo>
                    <a:pt x="73" y="232"/>
                  </a:lnTo>
                  <a:lnTo>
                    <a:pt x="73" y="228"/>
                  </a:lnTo>
                  <a:lnTo>
                    <a:pt x="75" y="228"/>
                  </a:lnTo>
                  <a:lnTo>
                    <a:pt x="78" y="227"/>
                  </a:lnTo>
                  <a:lnTo>
                    <a:pt x="80" y="225"/>
                  </a:lnTo>
                  <a:lnTo>
                    <a:pt x="80" y="223"/>
                  </a:lnTo>
                  <a:lnTo>
                    <a:pt x="80" y="223"/>
                  </a:lnTo>
                  <a:lnTo>
                    <a:pt x="76" y="220"/>
                  </a:lnTo>
                  <a:lnTo>
                    <a:pt x="73" y="220"/>
                  </a:lnTo>
                  <a:lnTo>
                    <a:pt x="64" y="220"/>
                  </a:lnTo>
                  <a:lnTo>
                    <a:pt x="52" y="216"/>
                  </a:lnTo>
                  <a:lnTo>
                    <a:pt x="52" y="216"/>
                  </a:lnTo>
                  <a:lnTo>
                    <a:pt x="45" y="211"/>
                  </a:lnTo>
                  <a:lnTo>
                    <a:pt x="40" y="209"/>
                  </a:lnTo>
                  <a:lnTo>
                    <a:pt x="36" y="204"/>
                  </a:lnTo>
                  <a:lnTo>
                    <a:pt x="35" y="202"/>
                  </a:lnTo>
                  <a:lnTo>
                    <a:pt x="33" y="202"/>
                  </a:lnTo>
                  <a:lnTo>
                    <a:pt x="24" y="208"/>
                  </a:lnTo>
                  <a:lnTo>
                    <a:pt x="24" y="208"/>
                  </a:lnTo>
                  <a:lnTo>
                    <a:pt x="28" y="197"/>
                  </a:lnTo>
                  <a:lnTo>
                    <a:pt x="29" y="188"/>
                  </a:lnTo>
                  <a:lnTo>
                    <a:pt x="29" y="183"/>
                  </a:lnTo>
                  <a:lnTo>
                    <a:pt x="28" y="181"/>
                  </a:lnTo>
                  <a:lnTo>
                    <a:pt x="21" y="178"/>
                  </a:lnTo>
                  <a:lnTo>
                    <a:pt x="19" y="174"/>
                  </a:lnTo>
                  <a:lnTo>
                    <a:pt x="17" y="169"/>
                  </a:lnTo>
                  <a:lnTo>
                    <a:pt x="17" y="169"/>
                  </a:lnTo>
                  <a:lnTo>
                    <a:pt x="15" y="164"/>
                  </a:lnTo>
                  <a:lnTo>
                    <a:pt x="17" y="161"/>
                  </a:lnTo>
                  <a:lnTo>
                    <a:pt x="19" y="154"/>
                  </a:lnTo>
                  <a:lnTo>
                    <a:pt x="21" y="152"/>
                  </a:lnTo>
                  <a:lnTo>
                    <a:pt x="21" y="148"/>
                  </a:lnTo>
                  <a:lnTo>
                    <a:pt x="19" y="143"/>
                  </a:lnTo>
                  <a:lnTo>
                    <a:pt x="15" y="138"/>
                  </a:lnTo>
                  <a:lnTo>
                    <a:pt x="15" y="138"/>
                  </a:lnTo>
                  <a:lnTo>
                    <a:pt x="14" y="134"/>
                  </a:lnTo>
                  <a:lnTo>
                    <a:pt x="14" y="131"/>
                  </a:lnTo>
                  <a:lnTo>
                    <a:pt x="15" y="127"/>
                  </a:lnTo>
                  <a:lnTo>
                    <a:pt x="15" y="124"/>
                  </a:lnTo>
                  <a:lnTo>
                    <a:pt x="15" y="122"/>
                  </a:lnTo>
                  <a:lnTo>
                    <a:pt x="12" y="119"/>
                  </a:lnTo>
                  <a:lnTo>
                    <a:pt x="7" y="114"/>
                  </a:lnTo>
                  <a:lnTo>
                    <a:pt x="7" y="114"/>
                  </a:lnTo>
                  <a:lnTo>
                    <a:pt x="2" y="108"/>
                  </a:lnTo>
                  <a:lnTo>
                    <a:pt x="0" y="105"/>
                  </a:lnTo>
                  <a:lnTo>
                    <a:pt x="0" y="100"/>
                  </a:lnTo>
                  <a:lnTo>
                    <a:pt x="2" y="94"/>
                  </a:lnTo>
                  <a:lnTo>
                    <a:pt x="5" y="89"/>
                  </a:lnTo>
                  <a:lnTo>
                    <a:pt x="5" y="80"/>
                  </a:lnTo>
                  <a:lnTo>
                    <a:pt x="5" y="72"/>
                  </a:lnTo>
                  <a:lnTo>
                    <a:pt x="3" y="61"/>
                  </a:lnTo>
                  <a:lnTo>
                    <a:pt x="3" y="61"/>
                  </a:lnTo>
                  <a:lnTo>
                    <a:pt x="9" y="63"/>
                  </a:lnTo>
                  <a:lnTo>
                    <a:pt x="12" y="65"/>
                  </a:lnTo>
                  <a:lnTo>
                    <a:pt x="14" y="65"/>
                  </a:lnTo>
                  <a:lnTo>
                    <a:pt x="14" y="63"/>
                  </a:lnTo>
                  <a:lnTo>
                    <a:pt x="14" y="63"/>
                  </a:lnTo>
                  <a:lnTo>
                    <a:pt x="14" y="58"/>
                  </a:lnTo>
                  <a:lnTo>
                    <a:pt x="12" y="54"/>
                  </a:lnTo>
                  <a:lnTo>
                    <a:pt x="12" y="54"/>
                  </a:lnTo>
                  <a:lnTo>
                    <a:pt x="9" y="54"/>
                  </a:lnTo>
                  <a:lnTo>
                    <a:pt x="7" y="56"/>
                  </a:lnTo>
                  <a:lnTo>
                    <a:pt x="5" y="56"/>
                  </a:lnTo>
                  <a:lnTo>
                    <a:pt x="2" y="53"/>
                  </a:lnTo>
                  <a:lnTo>
                    <a:pt x="2" y="49"/>
                  </a:lnTo>
                  <a:lnTo>
                    <a:pt x="2" y="49"/>
                  </a:lnTo>
                  <a:lnTo>
                    <a:pt x="7" y="49"/>
                  </a:lnTo>
                  <a:lnTo>
                    <a:pt x="12" y="49"/>
                  </a:lnTo>
                  <a:lnTo>
                    <a:pt x="22" y="46"/>
                  </a:lnTo>
                  <a:lnTo>
                    <a:pt x="35" y="40"/>
                  </a:lnTo>
                  <a:lnTo>
                    <a:pt x="52" y="35"/>
                  </a:lnTo>
                  <a:lnTo>
                    <a:pt x="52" y="35"/>
                  </a:lnTo>
                  <a:lnTo>
                    <a:pt x="64" y="32"/>
                  </a:lnTo>
                  <a:lnTo>
                    <a:pt x="71" y="30"/>
                  </a:lnTo>
                  <a:lnTo>
                    <a:pt x="75" y="26"/>
                  </a:lnTo>
                  <a:lnTo>
                    <a:pt x="76" y="23"/>
                  </a:lnTo>
                  <a:lnTo>
                    <a:pt x="80" y="20"/>
                  </a:lnTo>
                  <a:lnTo>
                    <a:pt x="85" y="16"/>
                  </a:lnTo>
                  <a:lnTo>
                    <a:pt x="92" y="14"/>
                  </a:lnTo>
                  <a:lnTo>
                    <a:pt x="92" y="14"/>
                  </a:lnTo>
                  <a:lnTo>
                    <a:pt x="101" y="11"/>
                  </a:lnTo>
                  <a:lnTo>
                    <a:pt x="103" y="9"/>
                  </a:lnTo>
                  <a:lnTo>
                    <a:pt x="108" y="6"/>
                  </a:lnTo>
                  <a:lnTo>
                    <a:pt x="125" y="2"/>
                  </a:lnTo>
                  <a:lnTo>
                    <a:pt x="125" y="2"/>
                  </a:lnTo>
                  <a:lnTo>
                    <a:pt x="137" y="0"/>
                  </a:lnTo>
                  <a:lnTo>
                    <a:pt x="144" y="0"/>
                  </a:lnTo>
                  <a:lnTo>
                    <a:pt x="151" y="4"/>
                  </a:lnTo>
                  <a:lnTo>
                    <a:pt x="163" y="11"/>
                  </a:lnTo>
                  <a:lnTo>
                    <a:pt x="163" y="11"/>
                  </a:lnTo>
                  <a:lnTo>
                    <a:pt x="165" y="13"/>
                  </a:lnTo>
                  <a:lnTo>
                    <a:pt x="165" y="14"/>
                  </a:lnTo>
                  <a:lnTo>
                    <a:pt x="162" y="14"/>
                  </a:lnTo>
                  <a:lnTo>
                    <a:pt x="157" y="11"/>
                  </a:lnTo>
                  <a:lnTo>
                    <a:pt x="157" y="11"/>
                  </a:lnTo>
                  <a:lnTo>
                    <a:pt x="151" y="7"/>
                  </a:lnTo>
                  <a:lnTo>
                    <a:pt x="150" y="7"/>
                  </a:lnTo>
                  <a:lnTo>
                    <a:pt x="153" y="18"/>
                  </a:lnTo>
                  <a:lnTo>
                    <a:pt x="153" y="18"/>
                  </a:lnTo>
                  <a:lnTo>
                    <a:pt x="157" y="21"/>
                  </a:lnTo>
                  <a:lnTo>
                    <a:pt x="160" y="25"/>
                  </a:lnTo>
                  <a:lnTo>
                    <a:pt x="163" y="26"/>
                  </a:lnTo>
                  <a:lnTo>
                    <a:pt x="170" y="26"/>
                  </a:lnTo>
                  <a:lnTo>
                    <a:pt x="181" y="25"/>
                  </a:lnTo>
                  <a:lnTo>
                    <a:pt x="191" y="20"/>
                  </a:lnTo>
                  <a:lnTo>
                    <a:pt x="191" y="20"/>
                  </a:lnTo>
                  <a:lnTo>
                    <a:pt x="224" y="25"/>
                  </a:lnTo>
                  <a:lnTo>
                    <a:pt x="254" y="28"/>
                  </a:lnTo>
                  <a:lnTo>
                    <a:pt x="280" y="28"/>
                  </a:lnTo>
                  <a:lnTo>
                    <a:pt x="292" y="26"/>
                  </a:lnTo>
                  <a:lnTo>
                    <a:pt x="301" y="25"/>
                  </a:lnTo>
                  <a:lnTo>
                    <a:pt x="301" y="25"/>
                  </a:lnTo>
                  <a:lnTo>
                    <a:pt x="305" y="25"/>
                  </a:lnTo>
                  <a:lnTo>
                    <a:pt x="310" y="26"/>
                  </a:lnTo>
                  <a:lnTo>
                    <a:pt x="320" y="32"/>
                  </a:lnTo>
                  <a:lnTo>
                    <a:pt x="324" y="35"/>
                  </a:lnTo>
                  <a:lnTo>
                    <a:pt x="327" y="39"/>
                  </a:lnTo>
                  <a:lnTo>
                    <a:pt x="327" y="44"/>
                  </a:lnTo>
                  <a:lnTo>
                    <a:pt x="327" y="47"/>
                  </a:lnTo>
                  <a:lnTo>
                    <a:pt x="327" y="47"/>
                  </a:lnTo>
                  <a:lnTo>
                    <a:pt x="336" y="73"/>
                  </a:lnTo>
                  <a:lnTo>
                    <a:pt x="341" y="94"/>
                  </a:lnTo>
                  <a:lnTo>
                    <a:pt x="343" y="103"/>
                  </a:lnTo>
                  <a:lnTo>
                    <a:pt x="343" y="110"/>
                  </a:lnTo>
                  <a:lnTo>
                    <a:pt x="341" y="115"/>
                  </a:lnTo>
                  <a:lnTo>
                    <a:pt x="338" y="119"/>
                  </a:lnTo>
                  <a:lnTo>
                    <a:pt x="338" y="119"/>
                  </a:lnTo>
                  <a:lnTo>
                    <a:pt x="325" y="124"/>
                  </a:lnTo>
                  <a:lnTo>
                    <a:pt x="317" y="131"/>
                  </a:lnTo>
                  <a:lnTo>
                    <a:pt x="315" y="133"/>
                  </a:lnTo>
                  <a:lnTo>
                    <a:pt x="313" y="136"/>
                  </a:lnTo>
                  <a:lnTo>
                    <a:pt x="315" y="138"/>
                  </a:lnTo>
                  <a:lnTo>
                    <a:pt x="320" y="141"/>
                  </a:lnTo>
                  <a:lnTo>
                    <a:pt x="320" y="141"/>
                  </a:lnTo>
                  <a:lnTo>
                    <a:pt x="327" y="143"/>
                  </a:lnTo>
                  <a:lnTo>
                    <a:pt x="331" y="147"/>
                  </a:lnTo>
                  <a:lnTo>
                    <a:pt x="331" y="152"/>
                  </a:lnTo>
                  <a:lnTo>
                    <a:pt x="331" y="155"/>
                  </a:lnTo>
                  <a:lnTo>
                    <a:pt x="329" y="166"/>
                  </a:lnTo>
                  <a:lnTo>
                    <a:pt x="329" y="171"/>
                  </a:lnTo>
                  <a:lnTo>
                    <a:pt x="331" y="176"/>
                  </a:lnTo>
                  <a:lnTo>
                    <a:pt x="331" y="1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9" name="Freeform 1774">
              <a:extLst>
                <a:ext uri="{FF2B5EF4-FFF2-40B4-BE49-F238E27FC236}">
                  <a16:creationId xmlns:a16="http://schemas.microsoft.com/office/drawing/2014/main" id="{D6AC72BA-BB7F-4857-AAF4-0C0A5CC21A09}"/>
                </a:ext>
              </a:extLst>
            </p:cNvPr>
            <p:cNvSpPr>
              <a:spLocks/>
            </p:cNvSpPr>
            <p:nvPr/>
          </p:nvSpPr>
          <p:spPr bwMode="auto">
            <a:xfrm>
              <a:off x="4585822" y="2656391"/>
              <a:ext cx="364735" cy="350638"/>
            </a:xfrm>
            <a:custGeom>
              <a:avLst/>
              <a:gdLst/>
              <a:ahLst/>
              <a:cxnLst>
                <a:cxn ang="0">
                  <a:pos x="419" y="291"/>
                </a:cxn>
                <a:cxn ang="0">
                  <a:pos x="402" y="306"/>
                </a:cxn>
                <a:cxn ang="0">
                  <a:pos x="409" y="336"/>
                </a:cxn>
                <a:cxn ang="0">
                  <a:pos x="435" y="350"/>
                </a:cxn>
                <a:cxn ang="0">
                  <a:pos x="432" y="371"/>
                </a:cxn>
                <a:cxn ang="0">
                  <a:pos x="390" y="400"/>
                </a:cxn>
                <a:cxn ang="0">
                  <a:pos x="360" y="400"/>
                </a:cxn>
                <a:cxn ang="0">
                  <a:pos x="331" y="392"/>
                </a:cxn>
                <a:cxn ang="0">
                  <a:pos x="311" y="379"/>
                </a:cxn>
                <a:cxn ang="0">
                  <a:pos x="278" y="406"/>
                </a:cxn>
                <a:cxn ang="0">
                  <a:pos x="268" y="435"/>
                </a:cxn>
                <a:cxn ang="0">
                  <a:pos x="240" y="437"/>
                </a:cxn>
                <a:cxn ang="0">
                  <a:pos x="207" y="419"/>
                </a:cxn>
                <a:cxn ang="0">
                  <a:pos x="177" y="419"/>
                </a:cxn>
                <a:cxn ang="0">
                  <a:pos x="149" y="416"/>
                </a:cxn>
                <a:cxn ang="0">
                  <a:pos x="120" y="400"/>
                </a:cxn>
                <a:cxn ang="0">
                  <a:pos x="106" y="388"/>
                </a:cxn>
                <a:cxn ang="0">
                  <a:pos x="127" y="327"/>
                </a:cxn>
                <a:cxn ang="0">
                  <a:pos x="123" y="322"/>
                </a:cxn>
                <a:cxn ang="0">
                  <a:pos x="141" y="298"/>
                </a:cxn>
                <a:cxn ang="0">
                  <a:pos x="129" y="277"/>
                </a:cxn>
                <a:cxn ang="0">
                  <a:pos x="129" y="256"/>
                </a:cxn>
                <a:cxn ang="0">
                  <a:pos x="113" y="240"/>
                </a:cxn>
                <a:cxn ang="0">
                  <a:pos x="97" y="209"/>
                </a:cxn>
                <a:cxn ang="0">
                  <a:pos x="92" y="197"/>
                </a:cxn>
                <a:cxn ang="0">
                  <a:pos x="82" y="186"/>
                </a:cxn>
                <a:cxn ang="0">
                  <a:pos x="62" y="179"/>
                </a:cxn>
                <a:cxn ang="0">
                  <a:pos x="24" y="167"/>
                </a:cxn>
                <a:cxn ang="0">
                  <a:pos x="3" y="157"/>
                </a:cxn>
                <a:cxn ang="0">
                  <a:pos x="10" y="148"/>
                </a:cxn>
                <a:cxn ang="0">
                  <a:pos x="12" y="141"/>
                </a:cxn>
                <a:cxn ang="0">
                  <a:pos x="3" y="130"/>
                </a:cxn>
                <a:cxn ang="0">
                  <a:pos x="31" y="123"/>
                </a:cxn>
                <a:cxn ang="0">
                  <a:pos x="48" y="116"/>
                </a:cxn>
                <a:cxn ang="0">
                  <a:pos x="73" y="132"/>
                </a:cxn>
                <a:cxn ang="0">
                  <a:pos x="94" y="127"/>
                </a:cxn>
                <a:cxn ang="0">
                  <a:pos x="106" y="129"/>
                </a:cxn>
                <a:cxn ang="0">
                  <a:pos x="113" y="115"/>
                </a:cxn>
                <a:cxn ang="0">
                  <a:pos x="102" y="78"/>
                </a:cxn>
                <a:cxn ang="0">
                  <a:pos x="120" y="71"/>
                </a:cxn>
                <a:cxn ang="0">
                  <a:pos x="141" y="89"/>
                </a:cxn>
                <a:cxn ang="0">
                  <a:pos x="177" y="83"/>
                </a:cxn>
                <a:cxn ang="0">
                  <a:pos x="186" y="66"/>
                </a:cxn>
                <a:cxn ang="0">
                  <a:pos x="224" y="45"/>
                </a:cxn>
                <a:cxn ang="0">
                  <a:pos x="223" y="33"/>
                </a:cxn>
                <a:cxn ang="0">
                  <a:pos x="228" y="7"/>
                </a:cxn>
                <a:cxn ang="0">
                  <a:pos x="277" y="19"/>
                </a:cxn>
                <a:cxn ang="0">
                  <a:pos x="294" y="33"/>
                </a:cxn>
                <a:cxn ang="0">
                  <a:pos x="313" y="47"/>
                </a:cxn>
                <a:cxn ang="0">
                  <a:pos x="336" y="49"/>
                </a:cxn>
                <a:cxn ang="0">
                  <a:pos x="341" y="66"/>
                </a:cxn>
                <a:cxn ang="0">
                  <a:pos x="365" y="83"/>
                </a:cxn>
                <a:cxn ang="0">
                  <a:pos x="400" y="92"/>
                </a:cxn>
                <a:cxn ang="0">
                  <a:pos x="421" y="101"/>
                </a:cxn>
                <a:cxn ang="0">
                  <a:pos x="445" y="123"/>
                </a:cxn>
                <a:cxn ang="0">
                  <a:pos x="418" y="184"/>
                </a:cxn>
                <a:cxn ang="0">
                  <a:pos x="405" y="200"/>
                </a:cxn>
                <a:cxn ang="0">
                  <a:pos x="393" y="221"/>
                </a:cxn>
                <a:cxn ang="0">
                  <a:pos x="381" y="244"/>
                </a:cxn>
                <a:cxn ang="0">
                  <a:pos x="386" y="251"/>
                </a:cxn>
                <a:cxn ang="0">
                  <a:pos x="404" y="238"/>
                </a:cxn>
                <a:cxn ang="0">
                  <a:pos x="411" y="256"/>
                </a:cxn>
              </a:cxnLst>
              <a:rect l="0" t="0" r="r" b="b"/>
              <a:pathLst>
                <a:path w="454" h="439">
                  <a:moveTo>
                    <a:pt x="412" y="263"/>
                  </a:moveTo>
                  <a:lnTo>
                    <a:pt x="412" y="263"/>
                  </a:lnTo>
                  <a:lnTo>
                    <a:pt x="409" y="270"/>
                  </a:lnTo>
                  <a:lnTo>
                    <a:pt x="409" y="275"/>
                  </a:lnTo>
                  <a:lnTo>
                    <a:pt x="411" y="278"/>
                  </a:lnTo>
                  <a:lnTo>
                    <a:pt x="414" y="282"/>
                  </a:lnTo>
                  <a:lnTo>
                    <a:pt x="419" y="287"/>
                  </a:lnTo>
                  <a:lnTo>
                    <a:pt x="419" y="291"/>
                  </a:lnTo>
                  <a:lnTo>
                    <a:pt x="418" y="294"/>
                  </a:lnTo>
                  <a:lnTo>
                    <a:pt x="418" y="294"/>
                  </a:lnTo>
                  <a:lnTo>
                    <a:pt x="414" y="296"/>
                  </a:lnTo>
                  <a:lnTo>
                    <a:pt x="411" y="299"/>
                  </a:lnTo>
                  <a:lnTo>
                    <a:pt x="402" y="301"/>
                  </a:lnTo>
                  <a:lnTo>
                    <a:pt x="400" y="303"/>
                  </a:lnTo>
                  <a:lnTo>
                    <a:pt x="400" y="305"/>
                  </a:lnTo>
                  <a:lnTo>
                    <a:pt x="402" y="306"/>
                  </a:lnTo>
                  <a:lnTo>
                    <a:pt x="407" y="312"/>
                  </a:lnTo>
                  <a:lnTo>
                    <a:pt x="407" y="312"/>
                  </a:lnTo>
                  <a:lnTo>
                    <a:pt x="414" y="315"/>
                  </a:lnTo>
                  <a:lnTo>
                    <a:pt x="416" y="320"/>
                  </a:lnTo>
                  <a:lnTo>
                    <a:pt x="416" y="324"/>
                  </a:lnTo>
                  <a:lnTo>
                    <a:pt x="414" y="325"/>
                  </a:lnTo>
                  <a:lnTo>
                    <a:pt x="411" y="332"/>
                  </a:lnTo>
                  <a:lnTo>
                    <a:pt x="409" y="336"/>
                  </a:lnTo>
                  <a:lnTo>
                    <a:pt x="411" y="341"/>
                  </a:lnTo>
                  <a:lnTo>
                    <a:pt x="411" y="341"/>
                  </a:lnTo>
                  <a:lnTo>
                    <a:pt x="412" y="346"/>
                  </a:lnTo>
                  <a:lnTo>
                    <a:pt x="416" y="350"/>
                  </a:lnTo>
                  <a:lnTo>
                    <a:pt x="421" y="350"/>
                  </a:lnTo>
                  <a:lnTo>
                    <a:pt x="425" y="350"/>
                  </a:lnTo>
                  <a:lnTo>
                    <a:pt x="432" y="350"/>
                  </a:lnTo>
                  <a:lnTo>
                    <a:pt x="435" y="350"/>
                  </a:lnTo>
                  <a:lnTo>
                    <a:pt x="437" y="350"/>
                  </a:lnTo>
                  <a:lnTo>
                    <a:pt x="437" y="350"/>
                  </a:lnTo>
                  <a:lnTo>
                    <a:pt x="438" y="352"/>
                  </a:lnTo>
                  <a:lnTo>
                    <a:pt x="437" y="355"/>
                  </a:lnTo>
                  <a:lnTo>
                    <a:pt x="435" y="360"/>
                  </a:lnTo>
                  <a:lnTo>
                    <a:pt x="432" y="365"/>
                  </a:lnTo>
                  <a:lnTo>
                    <a:pt x="432" y="371"/>
                  </a:lnTo>
                  <a:lnTo>
                    <a:pt x="432" y="371"/>
                  </a:lnTo>
                  <a:lnTo>
                    <a:pt x="414" y="381"/>
                  </a:lnTo>
                  <a:lnTo>
                    <a:pt x="405" y="386"/>
                  </a:lnTo>
                  <a:lnTo>
                    <a:pt x="404" y="388"/>
                  </a:lnTo>
                  <a:lnTo>
                    <a:pt x="404" y="390"/>
                  </a:lnTo>
                  <a:lnTo>
                    <a:pt x="404" y="390"/>
                  </a:lnTo>
                  <a:lnTo>
                    <a:pt x="404" y="393"/>
                  </a:lnTo>
                  <a:lnTo>
                    <a:pt x="400" y="397"/>
                  </a:lnTo>
                  <a:lnTo>
                    <a:pt x="390" y="400"/>
                  </a:lnTo>
                  <a:lnTo>
                    <a:pt x="379" y="402"/>
                  </a:lnTo>
                  <a:lnTo>
                    <a:pt x="374" y="402"/>
                  </a:lnTo>
                  <a:lnTo>
                    <a:pt x="371" y="400"/>
                  </a:lnTo>
                  <a:lnTo>
                    <a:pt x="371" y="400"/>
                  </a:lnTo>
                  <a:lnTo>
                    <a:pt x="369" y="399"/>
                  </a:lnTo>
                  <a:lnTo>
                    <a:pt x="365" y="399"/>
                  </a:lnTo>
                  <a:lnTo>
                    <a:pt x="364" y="400"/>
                  </a:lnTo>
                  <a:lnTo>
                    <a:pt x="360" y="400"/>
                  </a:lnTo>
                  <a:lnTo>
                    <a:pt x="357" y="397"/>
                  </a:lnTo>
                  <a:lnTo>
                    <a:pt x="357" y="397"/>
                  </a:lnTo>
                  <a:lnTo>
                    <a:pt x="353" y="392"/>
                  </a:lnTo>
                  <a:lnTo>
                    <a:pt x="350" y="390"/>
                  </a:lnTo>
                  <a:lnTo>
                    <a:pt x="344" y="388"/>
                  </a:lnTo>
                  <a:lnTo>
                    <a:pt x="336" y="390"/>
                  </a:lnTo>
                  <a:lnTo>
                    <a:pt x="336" y="390"/>
                  </a:lnTo>
                  <a:lnTo>
                    <a:pt x="331" y="392"/>
                  </a:lnTo>
                  <a:lnTo>
                    <a:pt x="329" y="390"/>
                  </a:lnTo>
                  <a:lnTo>
                    <a:pt x="327" y="388"/>
                  </a:lnTo>
                  <a:lnTo>
                    <a:pt x="320" y="388"/>
                  </a:lnTo>
                  <a:lnTo>
                    <a:pt x="320" y="388"/>
                  </a:lnTo>
                  <a:lnTo>
                    <a:pt x="317" y="386"/>
                  </a:lnTo>
                  <a:lnTo>
                    <a:pt x="313" y="385"/>
                  </a:lnTo>
                  <a:lnTo>
                    <a:pt x="311" y="381"/>
                  </a:lnTo>
                  <a:lnTo>
                    <a:pt x="311" y="379"/>
                  </a:lnTo>
                  <a:lnTo>
                    <a:pt x="308" y="381"/>
                  </a:lnTo>
                  <a:lnTo>
                    <a:pt x="297" y="388"/>
                  </a:lnTo>
                  <a:lnTo>
                    <a:pt x="297" y="388"/>
                  </a:lnTo>
                  <a:lnTo>
                    <a:pt x="290" y="392"/>
                  </a:lnTo>
                  <a:lnTo>
                    <a:pt x="283" y="395"/>
                  </a:lnTo>
                  <a:lnTo>
                    <a:pt x="278" y="399"/>
                  </a:lnTo>
                  <a:lnTo>
                    <a:pt x="278" y="402"/>
                  </a:lnTo>
                  <a:lnTo>
                    <a:pt x="278" y="406"/>
                  </a:lnTo>
                  <a:lnTo>
                    <a:pt x="278" y="406"/>
                  </a:lnTo>
                  <a:lnTo>
                    <a:pt x="278" y="414"/>
                  </a:lnTo>
                  <a:lnTo>
                    <a:pt x="277" y="418"/>
                  </a:lnTo>
                  <a:lnTo>
                    <a:pt x="277" y="423"/>
                  </a:lnTo>
                  <a:lnTo>
                    <a:pt x="277" y="433"/>
                  </a:lnTo>
                  <a:lnTo>
                    <a:pt x="277" y="433"/>
                  </a:lnTo>
                  <a:lnTo>
                    <a:pt x="271" y="433"/>
                  </a:lnTo>
                  <a:lnTo>
                    <a:pt x="268" y="435"/>
                  </a:lnTo>
                  <a:lnTo>
                    <a:pt x="264" y="437"/>
                  </a:lnTo>
                  <a:lnTo>
                    <a:pt x="263" y="439"/>
                  </a:lnTo>
                  <a:lnTo>
                    <a:pt x="257" y="437"/>
                  </a:lnTo>
                  <a:lnTo>
                    <a:pt x="257" y="437"/>
                  </a:lnTo>
                  <a:lnTo>
                    <a:pt x="254" y="437"/>
                  </a:lnTo>
                  <a:lnTo>
                    <a:pt x="250" y="435"/>
                  </a:lnTo>
                  <a:lnTo>
                    <a:pt x="247" y="437"/>
                  </a:lnTo>
                  <a:lnTo>
                    <a:pt x="240" y="437"/>
                  </a:lnTo>
                  <a:lnTo>
                    <a:pt x="228" y="432"/>
                  </a:lnTo>
                  <a:lnTo>
                    <a:pt x="228" y="432"/>
                  </a:lnTo>
                  <a:lnTo>
                    <a:pt x="228" y="428"/>
                  </a:lnTo>
                  <a:lnTo>
                    <a:pt x="226" y="426"/>
                  </a:lnTo>
                  <a:lnTo>
                    <a:pt x="223" y="425"/>
                  </a:lnTo>
                  <a:lnTo>
                    <a:pt x="219" y="426"/>
                  </a:lnTo>
                  <a:lnTo>
                    <a:pt x="219" y="426"/>
                  </a:lnTo>
                  <a:lnTo>
                    <a:pt x="207" y="419"/>
                  </a:lnTo>
                  <a:lnTo>
                    <a:pt x="200" y="416"/>
                  </a:lnTo>
                  <a:lnTo>
                    <a:pt x="195" y="414"/>
                  </a:lnTo>
                  <a:lnTo>
                    <a:pt x="193" y="416"/>
                  </a:lnTo>
                  <a:lnTo>
                    <a:pt x="191" y="419"/>
                  </a:lnTo>
                  <a:lnTo>
                    <a:pt x="189" y="421"/>
                  </a:lnTo>
                  <a:lnTo>
                    <a:pt x="186" y="421"/>
                  </a:lnTo>
                  <a:lnTo>
                    <a:pt x="186" y="421"/>
                  </a:lnTo>
                  <a:lnTo>
                    <a:pt x="177" y="419"/>
                  </a:lnTo>
                  <a:lnTo>
                    <a:pt x="172" y="421"/>
                  </a:lnTo>
                  <a:lnTo>
                    <a:pt x="169" y="421"/>
                  </a:lnTo>
                  <a:lnTo>
                    <a:pt x="165" y="419"/>
                  </a:lnTo>
                  <a:lnTo>
                    <a:pt x="165" y="419"/>
                  </a:lnTo>
                  <a:lnTo>
                    <a:pt x="162" y="418"/>
                  </a:lnTo>
                  <a:lnTo>
                    <a:pt x="160" y="416"/>
                  </a:lnTo>
                  <a:lnTo>
                    <a:pt x="155" y="416"/>
                  </a:lnTo>
                  <a:lnTo>
                    <a:pt x="149" y="416"/>
                  </a:lnTo>
                  <a:lnTo>
                    <a:pt x="148" y="416"/>
                  </a:lnTo>
                  <a:lnTo>
                    <a:pt x="146" y="414"/>
                  </a:lnTo>
                  <a:lnTo>
                    <a:pt x="146" y="414"/>
                  </a:lnTo>
                  <a:lnTo>
                    <a:pt x="142" y="409"/>
                  </a:lnTo>
                  <a:lnTo>
                    <a:pt x="139" y="407"/>
                  </a:lnTo>
                  <a:lnTo>
                    <a:pt x="129" y="404"/>
                  </a:lnTo>
                  <a:lnTo>
                    <a:pt x="122" y="402"/>
                  </a:lnTo>
                  <a:lnTo>
                    <a:pt x="120" y="400"/>
                  </a:lnTo>
                  <a:lnTo>
                    <a:pt x="120" y="397"/>
                  </a:lnTo>
                  <a:lnTo>
                    <a:pt x="120" y="397"/>
                  </a:lnTo>
                  <a:lnTo>
                    <a:pt x="120" y="395"/>
                  </a:lnTo>
                  <a:lnTo>
                    <a:pt x="118" y="393"/>
                  </a:lnTo>
                  <a:lnTo>
                    <a:pt x="115" y="392"/>
                  </a:lnTo>
                  <a:lnTo>
                    <a:pt x="111" y="392"/>
                  </a:lnTo>
                  <a:lnTo>
                    <a:pt x="106" y="388"/>
                  </a:lnTo>
                  <a:lnTo>
                    <a:pt x="106" y="388"/>
                  </a:lnTo>
                  <a:lnTo>
                    <a:pt x="111" y="386"/>
                  </a:lnTo>
                  <a:lnTo>
                    <a:pt x="115" y="379"/>
                  </a:lnTo>
                  <a:lnTo>
                    <a:pt x="118" y="369"/>
                  </a:lnTo>
                  <a:lnTo>
                    <a:pt x="122" y="352"/>
                  </a:lnTo>
                  <a:lnTo>
                    <a:pt x="122" y="352"/>
                  </a:lnTo>
                  <a:lnTo>
                    <a:pt x="123" y="329"/>
                  </a:lnTo>
                  <a:lnTo>
                    <a:pt x="125" y="327"/>
                  </a:lnTo>
                  <a:lnTo>
                    <a:pt x="127" y="327"/>
                  </a:lnTo>
                  <a:lnTo>
                    <a:pt x="127" y="327"/>
                  </a:lnTo>
                  <a:lnTo>
                    <a:pt x="129" y="324"/>
                  </a:lnTo>
                  <a:lnTo>
                    <a:pt x="129" y="322"/>
                  </a:lnTo>
                  <a:lnTo>
                    <a:pt x="127" y="320"/>
                  </a:lnTo>
                  <a:lnTo>
                    <a:pt x="125" y="322"/>
                  </a:lnTo>
                  <a:lnTo>
                    <a:pt x="125" y="322"/>
                  </a:lnTo>
                  <a:lnTo>
                    <a:pt x="123" y="324"/>
                  </a:lnTo>
                  <a:lnTo>
                    <a:pt x="123" y="322"/>
                  </a:lnTo>
                  <a:lnTo>
                    <a:pt x="125" y="308"/>
                  </a:lnTo>
                  <a:lnTo>
                    <a:pt x="125" y="308"/>
                  </a:lnTo>
                  <a:lnTo>
                    <a:pt x="129" y="291"/>
                  </a:lnTo>
                  <a:lnTo>
                    <a:pt x="130" y="284"/>
                  </a:lnTo>
                  <a:lnTo>
                    <a:pt x="130" y="284"/>
                  </a:lnTo>
                  <a:lnTo>
                    <a:pt x="134" y="285"/>
                  </a:lnTo>
                  <a:lnTo>
                    <a:pt x="137" y="289"/>
                  </a:lnTo>
                  <a:lnTo>
                    <a:pt x="141" y="298"/>
                  </a:lnTo>
                  <a:lnTo>
                    <a:pt x="142" y="303"/>
                  </a:lnTo>
                  <a:lnTo>
                    <a:pt x="144" y="301"/>
                  </a:lnTo>
                  <a:lnTo>
                    <a:pt x="144" y="301"/>
                  </a:lnTo>
                  <a:lnTo>
                    <a:pt x="142" y="294"/>
                  </a:lnTo>
                  <a:lnTo>
                    <a:pt x="142" y="289"/>
                  </a:lnTo>
                  <a:lnTo>
                    <a:pt x="137" y="284"/>
                  </a:lnTo>
                  <a:lnTo>
                    <a:pt x="129" y="277"/>
                  </a:lnTo>
                  <a:lnTo>
                    <a:pt x="129" y="277"/>
                  </a:lnTo>
                  <a:lnTo>
                    <a:pt x="122" y="273"/>
                  </a:lnTo>
                  <a:lnTo>
                    <a:pt x="122" y="273"/>
                  </a:lnTo>
                  <a:lnTo>
                    <a:pt x="122" y="271"/>
                  </a:lnTo>
                  <a:lnTo>
                    <a:pt x="125" y="270"/>
                  </a:lnTo>
                  <a:lnTo>
                    <a:pt x="127" y="268"/>
                  </a:lnTo>
                  <a:lnTo>
                    <a:pt x="129" y="264"/>
                  </a:lnTo>
                  <a:lnTo>
                    <a:pt x="129" y="264"/>
                  </a:lnTo>
                  <a:lnTo>
                    <a:pt x="129" y="256"/>
                  </a:lnTo>
                  <a:lnTo>
                    <a:pt x="127" y="252"/>
                  </a:lnTo>
                  <a:lnTo>
                    <a:pt x="125" y="251"/>
                  </a:lnTo>
                  <a:lnTo>
                    <a:pt x="127" y="247"/>
                  </a:lnTo>
                  <a:lnTo>
                    <a:pt x="127" y="247"/>
                  </a:lnTo>
                  <a:lnTo>
                    <a:pt x="127" y="245"/>
                  </a:lnTo>
                  <a:lnTo>
                    <a:pt x="125" y="245"/>
                  </a:lnTo>
                  <a:lnTo>
                    <a:pt x="120" y="244"/>
                  </a:lnTo>
                  <a:lnTo>
                    <a:pt x="113" y="240"/>
                  </a:lnTo>
                  <a:lnTo>
                    <a:pt x="113" y="240"/>
                  </a:lnTo>
                  <a:lnTo>
                    <a:pt x="102" y="233"/>
                  </a:lnTo>
                  <a:lnTo>
                    <a:pt x="95" y="224"/>
                  </a:lnTo>
                  <a:lnTo>
                    <a:pt x="92" y="217"/>
                  </a:lnTo>
                  <a:lnTo>
                    <a:pt x="94" y="214"/>
                  </a:lnTo>
                  <a:lnTo>
                    <a:pt x="95" y="212"/>
                  </a:lnTo>
                  <a:lnTo>
                    <a:pt x="95" y="212"/>
                  </a:lnTo>
                  <a:lnTo>
                    <a:pt x="97" y="209"/>
                  </a:lnTo>
                  <a:lnTo>
                    <a:pt x="97" y="207"/>
                  </a:lnTo>
                  <a:lnTo>
                    <a:pt x="95" y="205"/>
                  </a:lnTo>
                  <a:lnTo>
                    <a:pt x="92" y="204"/>
                  </a:lnTo>
                  <a:lnTo>
                    <a:pt x="92" y="204"/>
                  </a:lnTo>
                  <a:lnTo>
                    <a:pt x="90" y="204"/>
                  </a:lnTo>
                  <a:lnTo>
                    <a:pt x="90" y="202"/>
                  </a:lnTo>
                  <a:lnTo>
                    <a:pt x="90" y="200"/>
                  </a:lnTo>
                  <a:lnTo>
                    <a:pt x="92" y="197"/>
                  </a:lnTo>
                  <a:lnTo>
                    <a:pt x="87" y="197"/>
                  </a:lnTo>
                  <a:lnTo>
                    <a:pt x="87" y="197"/>
                  </a:lnTo>
                  <a:lnTo>
                    <a:pt x="80" y="197"/>
                  </a:lnTo>
                  <a:lnTo>
                    <a:pt x="78" y="193"/>
                  </a:lnTo>
                  <a:lnTo>
                    <a:pt x="78" y="191"/>
                  </a:lnTo>
                  <a:lnTo>
                    <a:pt x="82" y="188"/>
                  </a:lnTo>
                  <a:lnTo>
                    <a:pt x="82" y="188"/>
                  </a:lnTo>
                  <a:lnTo>
                    <a:pt x="82" y="186"/>
                  </a:lnTo>
                  <a:lnTo>
                    <a:pt x="80" y="184"/>
                  </a:lnTo>
                  <a:lnTo>
                    <a:pt x="78" y="183"/>
                  </a:lnTo>
                  <a:lnTo>
                    <a:pt x="73" y="184"/>
                  </a:lnTo>
                  <a:lnTo>
                    <a:pt x="73" y="184"/>
                  </a:lnTo>
                  <a:lnTo>
                    <a:pt x="68" y="184"/>
                  </a:lnTo>
                  <a:lnTo>
                    <a:pt x="66" y="181"/>
                  </a:lnTo>
                  <a:lnTo>
                    <a:pt x="66" y="179"/>
                  </a:lnTo>
                  <a:lnTo>
                    <a:pt x="62" y="179"/>
                  </a:lnTo>
                  <a:lnTo>
                    <a:pt x="62" y="179"/>
                  </a:lnTo>
                  <a:lnTo>
                    <a:pt x="57" y="179"/>
                  </a:lnTo>
                  <a:lnTo>
                    <a:pt x="54" y="177"/>
                  </a:lnTo>
                  <a:lnTo>
                    <a:pt x="50" y="174"/>
                  </a:lnTo>
                  <a:lnTo>
                    <a:pt x="43" y="172"/>
                  </a:lnTo>
                  <a:lnTo>
                    <a:pt x="43" y="172"/>
                  </a:lnTo>
                  <a:lnTo>
                    <a:pt x="31" y="167"/>
                  </a:lnTo>
                  <a:lnTo>
                    <a:pt x="24" y="167"/>
                  </a:lnTo>
                  <a:lnTo>
                    <a:pt x="19" y="167"/>
                  </a:lnTo>
                  <a:lnTo>
                    <a:pt x="19" y="167"/>
                  </a:lnTo>
                  <a:lnTo>
                    <a:pt x="15" y="169"/>
                  </a:lnTo>
                  <a:lnTo>
                    <a:pt x="14" y="167"/>
                  </a:lnTo>
                  <a:lnTo>
                    <a:pt x="10" y="164"/>
                  </a:lnTo>
                  <a:lnTo>
                    <a:pt x="5" y="158"/>
                  </a:lnTo>
                  <a:lnTo>
                    <a:pt x="5" y="158"/>
                  </a:lnTo>
                  <a:lnTo>
                    <a:pt x="3" y="157"/>
                  </a:lnTo>
                  <a:lnTo>
                    <a:pt x="3" y="155"/>
                  </a:lnTo>
                  <a:lnTo>
                    <a:pt x="8" y="153"/>
                  </a:lnTo>
                  <a:lnTo>
                    <a:pt x="15" y="153"/>
                  </a:lnTo>
                  <a:lnTo>
                    <a:pt x="17" y="151"/>
                  </a:lnTo>
                  <a:lnTo>
                    <a:pt x="17" y="150"/>
                  </a:lnTo>
                  <a:lnTo>
                    <a:pt x="17" y="150"/>
                  </a:lnTo>
                  <a:lnTo>
                    <a:pt x="14" y="148"/>
                  </a:lnTo>
                  <a:lnTo>
                    <a:pt x="10" y="148"/>
                  </a:lnTo>
                  <a:lnTo>
                    <a:pt x="8" y="148"/>
                  </a:lnTo>
                  <a:lnTo>
                    <a:pt x="7" y="146"/>
                  </a:lnTo>
                  <a:lnTo>
                    <a:pt x="7" y="146"/>
                  </a:lnTo>
                  <a:lnTo>
                    <a:pt x="7" y="144"/>
                  </a:lnTo>
                  <a:lnTo>
                    <a:pt x="7" y="144"/>
                  </a:lnTo>
                  <a:lnTo>
                    <a:pt x="10" y="143"/>
                  </a:lnTo>
                  <a:lnTo>
                    <a:pt x="14" y="143"/>
                  </a:lnTo>
                  <a:lnTo>
                    <a:pt x="12" y="141"/>
                  </a:lnTo>
                  <a:lnTo>
                    <a:pt x="12" y="141"/>
                  </a:lnTo>
                  <a:lnTo>
                    <a:pt x="8" y="141"/>
                  </a:lnTo>
                  <a:lnTo>
                    <a:pt x="5" y="141"/>
                  </a:lnTo>
                  <a:lnTo>
                    <a:pt x="1" y="141"/>
                  </a:lnTo>
                  <a:lnTo>
                    <a:pt x="0" y="139"/>
                  </a:lnTo>
                  <a:lnTo>
                    <a:pt x="0" y="139"/>
                  </a:lnTo>
                  <a:lnTo>
                    <a:pt x="0" y="134"/>
                  </a:lnTo>
                  <a:lnTo>
                    <a:pt x="3" y="130"/>
                  </a:lnTo>
                  <a:lnTo>
                    <a:pt x="8" y="127"/>
                  </a:lnTo>
                  <a:lnTo>
                    <a:pt x="17" y="125"/>
                  </a:lnTo>
                  <a:lnTo>
                    <a:pt x="17" y="125"/>
                  </a:lnTo>
                  <a:lnTo>
                    <a:pt x="24" y="123"/>
                  </a:lnTo>
                  <a:lnTo>
                    <a:pt x="26" y="122"/>
                  </a:lnTo>
                  <a:lnTo>
                    <a:pt x="28" y="122"/>
                  </a:lnTo>
                  <a:lnTo>
                    <a:pt x="31" y="123"/>
                  </a:lnTo>
                  <a:lnTo>
                    <a:pt x="31" y="123"/>
                  </a:lnTo>
                  <a:lnTo>
                    <a:pt x="36" y="125"/>
                  </a:lnTo>
                  <a:lnTo>
                    <a:pt x="40" y="125"/>
                  </a:lnTo>
                  <a:lnTo>
                    <a:pt x="41" y="122"/>
                  </a:lnTo>
                  <a:lnTo>
                    <a:pt x="43" y="120"/>
                  </a:lnTo>
                  <a:lnTo>
                    <a:pt x="43" y="120"/>
                  </a:lnTo>
                  <a:lnTo>
                    <a:pt x="43" y="116"/>
                  </a:lnTo>
                  <a:lnTo>
                    <a:pt x="45" y="116"/>
                  </a:lnTo>
                  <a:lnTo>
                    <a:pt x="48" y="116"/>
                  </a:lnTo>
                  <a:lnTo>
                    <a:pt x="54" y="113"/>
                  </a:lnTo>
                  <a:lnTo>
                    <a:pt x="54" y="113"/>
                  </a:lnTo>
                  <a:lnTo>
                    <a:pt x="57" y="113"/>
                  </a:lnTo>
                  <a:lnTo>
                    <a:pt x="59" y="113"/>
                  </a:lnTo>
                  <a:lnTo>
                    <a:pt x="62" y="116"/>
                  </a:lnTo>
                  <a:lnTo>
                    <a:pt x="69" y="129"/>
                  </a:lnTo>
                  <a:lnTo>
                    <a:pt x="69" y="129"/>
                  </a:lnTo>
                  <a:lnTo>
                    <a:pt x="73" y="132"/>
                  </a:lnTo>
                  <a:lnTo>
                    <a:pt x="76" y="130"/>
                  </a:lnTo>
                  <a:lnTo>
                    <a:pt x="83" y="125"/>
                  </a:lnTo>
                  <a:lnTo>
                    <a:pt x="83" y="125"/>
                  </a:lnTo>
                  <a:lnTo>
                    <a:pt x="87" y="123"/>
                  </a:lnTo>
                  <a:lnTo>
                    <a:pt x="88" y="125"/>
                  </a:lnTo>
                  <a:lnTo>
                    <a:pt x="90" y="127"/>
                  </a:lnTo>
                  <a:lnTo>
                    <a:pt x="94" y="127"/>
                  </a:lnTo>
                  <a:lnTo>
                    <a:pt x="94" y="127"/>
                  </a:lnTo>
                  <a:lnTo>
                    <a:pt x="97" y="125"/>
                  </a:lnTo>
                  <a:lnTo>
                    <a:pt x="99" y="123"/>
                  </a:lnTo>
                  <a:lnTo>
                    <a:pt x="99" y="123"/>
                  </a:lnTo>
                  <a:lnTo>
                    <a:pt x="101" y="122"/>
                  </a:lnTo>
                  <a:lnTo>
                    <a:pt x="101" y="122"/>
                  </a:lnTo>
                  <a:lnTo>
                    <a:pt x="102" y="123"/>
                  </a:lnTo>
                  <a:lnTo>
                    <a:pt x="104" y="125"/>
                  </a:lnTo>
                  <a:lnTo>
                    <a:pt x="106" y="129"/>
                  </a:lnTo>
                  <a:lnTo>
                    <a:pt x="111" y="129"/>
                  </a:lnTo>
                  <a:lnTo>
                    <a:pt x="111" y="129"/>
                  </a:lnTo>
                  <a:lnTo>
                    <a:pt x="116" y="127"/>
                  </a:lnTo>
                  <a:lnTo>
                    <a:pt x="115" y="123"/>
                  </a:lnTo>
                  <a:lnTo>
                    <a:pt x="113" y="120"/>
                  </a:lnTo>
                  <a:lnTo>
                    <a:pt x="113" y="118"/>
                  </a:lnTo>
                  <a:lnTo>
                    <a:pt x="113" y="115"/>
                  </a:lnTo>
                  <a:lnTo>
                    <a:pt x="113" y="115"/>
                  </a:lnTo>
                  <a:lnTo>
                    <a:pt x="113" y="108"/>
                  </a:lnTo>
                  <a:lnTo>
                    <a:pt x="111" y="101"/>
                  </a:lnTo>
                  <a:lnTo>
                    <a:pt x="109" y="94"/>
                  </a:lnTo>
                  <a:lnTo>
                    <a:pt x="106" y="89"/>
                  </a:lnTo>
                  <a:lnTo>
                    <a:pt x="106" y="89"/>
                  </a:lnTo>
                  <a:lnTo>
                    <a:pt x="102" y="87"/>
                  </a:lnTo>
                  <a:lnTo>
                    <a:pt x="102" y="83"/>
                  </a:lnTo>
                  <a:lnTo>
                    <a:pt x="102" y="78"/>
                  </a:lnTo>
                  <a:lnTo>
                    <a:pt x="101" y="75"/>
                  </a:lnTo>
                  <a:lnTo>
                    <a:pt x="101" y="75"/>
                  </a:lnTo>
                  <a:lnTo>
                    <a:pt x="101" y="71"/>
                  </a:lnTo>
                  <a:lnTo>
                    <a:pt x="104" y="71"/>
                  </a:lnTo>
                  <a:lnTo>
                    <a:pt x="109" y="73"/>
                  </a:lnTo>
                  <a:lnTo>
                    <a:pt x="116" y="73"/>
                  </a:lnTo>
                  <a:lnTo>
                    <a:pt x="116" y="73"/>
                  </a:lnTo>
                  <a:lnTo>
                    <a:pt x="120" y="71"/>
                  </a:lnTo>
                  <a:lnTo>
                    <a:pt x="122" y="73"/>
                  </a:lnTo>
                  <a:lnTo>
                    <a:pt x="123" y="80"/>
                  </a:lnTo>
                  <a:lnTo>
                    <a:pt x="125" y="87"/>
                  </a:lnTo>
                  <a:lnTo>
                    <a:pt x="125" y="89"/>
                  </a:lnTo>
                  <a:lnTo>
                    <a:pt x="127" y="90"/>
                  </a:lnTo>
                  <a:lnTo>
                    <a:pt x="127" y="90"/>
                  </a:lnTo>
                  <a:lnTo>
                    <a:pt x="134" y="89"/>
                  </a:lnTo>
                  <a:lnTo>
                    <a:pt x="141" y="89"/>
                  </a:lnTo>
                  <a:lnTo>
                    <a:pt x="151" y="90"/>
                  </a:lnTo>
                  <a:lnTo>
                    <a:pt x="158" y="94"/>
                  </a:lnTo>
                  <a:lnTo>
                    <a:pt x="162" y="94"/>
                  </a:lnTo>
                  <a:lnTo>
                    <a:pt x="165" y="92"/>
                  </a:lnTo>
                  <a:lnTo>
                    <a:pt x="165" y="92"/>
                  </a:lnTo>
                  <a:lnTo>
                    <a:pt x="176" y="87"/>
                  </a:lnTo>
                  <a:lnTo>
                    <a:pt x="179" y="85"/>
                  </a:lnTo>
                  <a:lnTo>
                    <a:pt x="177" y="83"/>
                  </a:lnTo>
                  <a:lnTo>
                    <a:pt x="177" y="83"/>
                  </a:lnTo>
                  <a:lnTo>
                    <a:pt x="172" y="82"/>
                  </a:lnTo>
                  <a:lnTo>
                    <a:pt x="170" y="80"/>
                  </a:lnTo>
                  <a:lnTo>
                    <a:pt x="170" y="78"/>
                  </a:lnTo>
                  <a:lnTo>
                    <a:pt x="170" y="75"/>
                  </a:lnTo>
                  <a:lnTo>
                    <a:pt x="174" y="73"/>
                  </a:lnTo>
                  <a:lnTo>
                    <a:pt x="179" y="69"/>
                  </a:lnTo>
                  <a:lnTo>
                    <a:pt x="186" y="66"/>
                  </a:lnTo>
                  <a:lnTo>
                    <a:pt x="186" y="66"/>
                  </a:lnTo>
                  <a:lnTo>
                    <a:pt x="210" y="56"/>
                  </a:lnTo>
                  <a:lnTo>
                    <a:pt x="216" y="54"/>
                  </a:lnTo>
                  <a:lnTo>
                    <a:pt x="217" y="50"/>
                  </a:lnTo>
                  <a:lnTo>
                    <a:pt x="217" y="50"/>
                  </a:lnTo>
                  <a:lnTo>
                    <a:pt x="221" y="47"/>
                  </a:lnTo>
                  <a:lnTo>
                    <a:pt x="223" y="47"/>
                  </a:lnTo>
                  <a:lnTo>
                    <a:pt x="224" y="45"/>
                  </a:lnTo>
                  <a:lnTo>
                    <a:pt x="223" y="43"/>
                  </a:lnTo>
                  <a:lnTo>
                    <a:pt x="223" y="43"/>
                  </a:lnTo>
                  <a:lnTo>
                    <a:pt x="221" y="40"/>
                  </a:lnTo>
                  <a:lnTo>
                    <a:pt x="223" y="38"/>
                  </a:lnTo>
                  <a:lnTo>
                    <a:pt x="223" y="38"/>
                  </a:lnTo>
                  <a:lnTo>
                    <a:pt x="223" y="35"/>
                  </a:lnTo>
                  <a:lnTo>
                    <a:pt x="223" y="35"/>
                  </a:lnTo>
                  <a:lnTo>
                    <a:pt x="223" y="33"/>
                  </a:lnTo>
                  <a:lnTo>
                    <a:pt x="223" y="29"/>
                  </a:lnTo>
                  <a:lnTo>
                    <a:pt x="223" y="24"/>
                  </a:lnTo>
                  <a:lnTo>
                    <a:pt x="223" y="19"/>
                  </a:lnTo>
                  <a:lnTo>
                    <a:pt x="223" y="19"/>
                  </a:lnTo>
                  <a:lnTo>
                    <a:pt x="223" y="16"/>
                  </a:lnTo>
                  <a:lnTo>
                    <a:pt x="223" y="12"/>
                  </a:lnTo>
                  <a:lnTo>
                    <a:pt x="224" y="9"/>
                  </a:lnTo>
                  <a:lnTo>
                    <a:pt x="228" y="7"/>
                  </a:lnTo>
                  <a:lnTo>
                    <a:pt x="240" y="3"/>
                  </a:lnTo>
                  <a:lnTo>
                    <a:pt x="256" y="0"/>
                  </a:lnTo>
                  <a:lnTo>
                    <a:pt x="256" y="0"/>
                  </a:lnTo>
                  <a:lnTo>
                    <a:pt x="259" y="10"/>
                  </a:lnTo>
                  <a:lnTo>
                    <a:pt x="263" y="16"/>
                  </a:lnTo>
                  <a:lnTo>
                    <a:pt x="266" y="19"/>
                  </a:lnTo>
                  <a:lnTo>
                    <a:pt x="270" y="19"/>
                  </a:lnTo>
                  <a:lnTo>
                    <a:pt x="277" y="19"/>
                  </a:lnTo>
                  <a:lnTo>
                    <a:pt x="278" y="21"/>
                  </a:lnTo>
                  <a:lnTo>
                    <a:pt x="282" y="24"/>
                  </a:lnTo>
                  <a:lnTo>
                    <a:pt x="282" y="24"/>
                  </a:lnTo>
                  <a:lnTo>
                    <a:pt x="283" y="28"/>
                  </a:lnTo>
                  <a:lnTo>
                    <a:pt x="285" y="29"/>
                  </a:lnTo>
                  <a:lnTo>
                    <a:pt x="289" y="31"/>
                  </a:lnTo>
                  <a:lnTo>
                    <a:pt x="292" y="31"/>
                  </a:lnTo>
                  <a:lnTo>
                    <a:pt x="294" y="33"/>
                  </a:lnTo>
                  <a:lnTo>
                    <a:pt x="296" y="35"/>
                  </a:lnTo>
                  <a:lnTo>
                    <a:pt x="296" y="35"/>
                  </a:lnTo>
                  <a:lnTo>
                    <a:pt x="297" y="36"/>
                  </a:lnTo>
                  <a:lnTo>
                    <a:pt x="299" y="38"/>
                  </a:lnTo>
                  <a:lnTo>
                    <a:pt x="306" y="40"/>
                  </a:lnTo>
                  <a:lnTo>
                    <a:pt x="308" y="40"/>
                  </a:lnTo>
                  <a:lnTo>
                    <a:pt x="311" y="43"/>
                  </a:lnTo>
                  <a:lnTo>
                    <a:pt x="313" y="47"/>
                  </a:lnTo>
                  <a:lnTo>
                    <a:pt x="315" y="52"/>
                  </a:lnTo>
                  <a:lnTo>
                    <a:pt x="315" y="52"/>
                  </a:lnTo>
                  <a:lnTo>
                    <a:pt x="317" y="57"/>
                  </a:lnTo>
                  <a:lnTo>
                    <a:pt x="318" y="61"/>
                  </a:lnTo>
                  <a:lnTo>
                    <a:pt x="322" y="59"/>
                  </a:lnTo>
                  <a:lnTo>
                    <a:pt x="325" y="57"/>
                  </a:lnTo>
                  <a:lnTo>
                    <a:pt x="332" y="52"/>
                  </a:lnTo>
                  <a:lnTo>
                    <a:pt x="336" y="49"/>
                  </a:lnTo>
                  <a:lnTo>
                    <a:pt x="337" y="49"/>
                  </a:lnTo>
                  <a:lnTo>
                    <a:pt x="337" y="49"/>
                  </a:lnTo>
                  <a:lnTo>
                    <a:pt x="339" y="50"/>
                  </a:lnTo>
                  <a:lnTo>
                    <a:pt x="339" y="52"/>
                  </a:lnTo>
                  <a:lnTo>
                    <a:pt x="337" y="57"/>
                  </a:lnTo>
                  <a:lnTo>
                    <a:pt x="337" y="61"/>
                  </a:lnTo>
                  <a:lnTo>
                    <a:pt x="337" y="64"/>
                  </a:lnTo>
                  <a:lnTo>
                    <a:pt x="341" y="66"/>
                  </a:lnTo>
                  <a:lnTo>
                    <a:pt x="346" y="69"/>
                  </a:lnTo>
                  <a:lnTo>
                    <a:pt x="346" y="69"/>
                  </a:lnTo>
                  <a:lnTo>
                    <a:pt x="350" y="71"/>
                  </a:lnTo>
                  <a:lnTo>
                    <a:pt x="353" y="73"/>
                  </a:lnTo>
                  <a:lnTo>
                    <a:pt x="357" y="78"/>
                  </a:lnTo>
                  <a:lnTo>
                    <a:pt x="358" y="82"/>
                  </a:lnTo>
                  <a:lnTo>
                    <a:pt x="362" y="82"/>
                  </a:lnTo>
                  <a:lnTo>
                    <a:pt x="365" y="83"/>
                  </a:lnTo>
                  <a:lnTo>
                    <a:pt x="371" y="82"/>
                  </a:lnTo>
                  <a:lnTo>
                    <a:pt x="371" y="82"/>
                  </a:lnTo>
                  <a:lnTo>
                    <a:pt x="381" y="83"/>
                  </a:lnTo>
                  <a:lnTo>
                    <a:pt x="390" y="83"/>
                  </a:lnTo>
                  <a:lnTo>
                    <a:pt x="390" y="83"/>
                  </a:lnTo>
                  <a:lnTo>
                    <a:pt x="395" y="85"/>
                  </a:lnTo>
                  <a:lnTo>
                    <a:pt x="398" y="87"/>
                  </a:lnTo>
                  <a:lnTo>
                    <a:pt x="400" y="92"/>
                  </a:lnTo>
                  <a:lnTo>
                    <a:pt x="404" y="96"/>
                  </a:lnTo>
                  <a:lnTo>
                    <a:pt x="404" y="97"/>
                  </a:lnTo>
                  <a:lnTo>
                    <a:pt x="407" y="97"/>
                  </a:lnTo>
                  <a:lnTo>
                    <a:pt x="407" y="97"/>
                  </a:lnTo>
                  <a:lnTo>
                    <a:pt x="411" y="97"/>
                  </a:lnTo>
                  <a:lnTo>
                    <a:pt x="412" y="101"/>
                  </a:lnTo>
                  <a:lnTo>
                    <a:pt x="416" y="103"/>
                  </a:lnTo>
                  <a:lnTo>
                    <a:pt x="421" y="101"/>
                  </a:lnTo>
                  <a:lnTo>
                    <a:pt x="421" y="101"/>
                  </a:lnTo>
                  <a:lnTo>
                    <a:pt x="430" y="101"/>
                  </a:lnTo>
                  <a:lnTo>
                    <a:pt x="437" y="103"/>
                  </a:lnTo>
                  <a:lnTo>
                    <a:pt x="452" y="110"/>
                  </a:lnTo>
                  <a:lnTo>
                    <a:pt x="452" y="110"/>
                  </a:lnTo>
                  <a:lnTo>
                    <a:pt x="454" y="111"/>
                  </a:lnTo>
                  <a:lnTo>
                    <a:pt x="454" y="113"/>
                  </a:lnTo>
                  <a:lnTo>
                    <a:pt x="445" y="123"/>
                  </a:lnTo>
                  <a:lnTo>
                    <a:pt x="440" y="134"/>
                  </a:lnTo>
                  <a:lnTo>
                    <a:pt x="437" y="144"/>
                  </a:lnTo>
                  <a:lnTo>
                    <a:pt x="433" y="160"/>
                  </a:lnTo>
                  <a:lnTo>
                    <a:pt x="433" y="179"/>
                  </a:lnTo>
                  <a:lnTo>
                    <a:pt x="433" y="179"/>
                  </a:lnTo>
                  <a:lnTo>
                    <a:pt x="426" y="184"/>
                  </a:lnTo>
                  <a:lnTo>
                    <a:pt x="421" y="184"/>
                  </a:lnTo>
                  <a:lnTo>
                    <a:pt x="418" y="184"/>
                  </a:lnTo>
                  <a:lnTo>
                    <a:pt x="412" y="186"/>
                  </a:lnTo>
                  <a:lnTo>
                    <a:pt x="412" y="186"/>
                  </a:lnTo>
                  <a:lnTo>
                    <a:pt x="411" y="190"/>
                  </a:lnTo>
                  <a:lnTo>
                    <a:pt x="412" y="191"/>
                  </a:lnTo>
                  <a:lnTo>
                    <a:pt x="412" y="193"/>
                  </a:lnTo>
                  <a:lnTo>
                    <a:pt x="409" y="197"/>
                  </a:lnTo>
                  <a:lnTo>
                    <a:pt x="409" y="197"/>
                  </a:lnTo>
                  <a:lnTo>
                    <a:pt x="405" y="200"/>
                  </a:lnTo>
                  <a:lnTo>
                    <a:pt x="404" y="204"/>
                  </a:lnTo>
                  <a:lnTo>
                    <a:pt x="404" y="207"/>
                  </a:lnTo>
                  <a:lnTo>
                    <a:pt x="398" y="209"/>
                  </a:lnTo>
                  <a:lnTo>
                    <a:pt x="398" y="209"/>
                  </a:lnTo>
                  <a:lnTo>
                    <a:pt x="395" y="211"/>
                  </a:lnTo>
                  <a:lnTo>
                    <a:pt x="393" y="212"/>
                  </a:lnTo>
                  <a:lnTo>
                    <a:pt x="393" y="217"/>
                  </a:lnTo>
                  <a:lnTo>
                    <a:pt x="393" y="221"/>
                  </a:lnTo>
                  <a:lnTo>
                    <a:pt x="391" y="224"/>
                  </a:lnTo>
                  <a:lnTo>
                    <a:pt x="386" y="226"/>
                  </a:lnTo>
                  <a:lnTo>
                    <a:pt x="386" y="226"/>
                  </a:lnTo>
                  <a:lnTo>
                    <a:pt x="384" y="228"/>
                  </a:lnTo>
                  <a:lnTo>
                    <a:pt x="383" y="231"/>
                  </a:lnTo>
                  <a:lnTo>
                    <a:pt x="383" y="237"/>
                  </a:lnTo>
                  <a:lnTo>
                    <a:pt x="383" y="242"/>
                  </a:lnTo>
                  <a:lnTo>
                    <a:pt x="381" y="244"/>
                  </a:lnTo>
                  <a:lnTo>
                    <a:pt x="379" y="247"/>
                  </a:lnTo>
                  <a:lnTo>
                    <a:pt x="379" y="247"/>
                  </a:lnTo>
                  <a:lnTo>
                    <a:pt x="376" y="251"/>
                  </a:lnTo>
                  <a:lnTo>
                    <a:pt x="376" y="252"/>
                  </a:lnTo>
                  <a:lnTo>
                    <a:pt x="379" y="254"/>
                  </a:lnTo>
                  <a:lnTo>
                    <a:pt x="384" y="252"/>
                  </a:lnTo>
                  <a:lnTo>
                    <a:pt x="384" y="252"/>
                  </a:lnTo>
                  <a:lnTo>
                    <a:pt x="386" y="251"/>
                  </a:lnTo>
                  <a:lnTo>
                    <a:pt x="388" y="249"/>
                  </a:lnTo>
                  <a:lnTo>
                    <a:pt x="388" y="244"/>
                  </a:lnTo>
                  <a:lnTo>
                    <a:pt x="390" y="240"/>
                  </a:lnTo>
                  <a:lnTo>
                    <a:pt x="393" y="238"/>
                  </a:lnTo>
                  <a:lnTo>
                    <a:pt x="397" y="237"/>
                  </a:lnTo>
                  <a:lnTo>
                    <a:pt x="397" y="237"/>
                  </a:lnTo>
                  <a:lnTo>
                    <a:pt x="402" y="237"/>
                  </a:lnTo>
                  <a:lnTo>
                    <a:pt x="404" y="238"/>
                  </a:lnTo>
                  <a:lnTo>
                    <a:pt x="405" y="240"/>
                  </a:lnTo>
                  <a:lnTo>
                    <a:pt x="407" y="242"/>
                  </a:lnTo>
                  <a:lnTo>
                    <a:pt x="405" y="247"/>
                  </a:lnTo>
                  <a:lnTo>
                    <a:pt x="404" y="252"/>
                  </a:lnTo>
                  <a:lnTo>
                    <a:pt x="404" y="252"/>
                  </a:lnTo>
                  <a:lnTo>
                    <a:pt x="404" y="254"/>
                  </a:lnTo>
                  <a:lnTo>
                    <a:pt x="407" y="254"/>
                  </a:lnTo>
                  <a:lnTo>
                    <a:pt x="411" y="256"/>
                  </a:lnTo>
                  <a:lnTo>
                    <a:pt x="412" y="263"/>
                  </a:lnTo>
                  <a:lnTo>
                    <a:pt x="412" y="26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0" name="Freeform 1775">
              <a:extLst>
                <a:ext uri="{FF2B5EF4-FFF2-40B4-BE49-F238E27FC236}">
                  <a16:creationId xmlns:a16="http://schemas.microsoft.com/office/drawing/2014/main" id="{F856C03F-E7FB-4C56-AB31-66E9FDA8AC8B}"/>
                </a:ext>
              </a:extLst>
            </p:cNvPr>
            <p:cNvSpPr>
              <a:spLocks/>
            </p:cNvSpPr>
            <p:nvPr/>
          </p:nvSpPr>
          <p:spPr bwMode="auto">
            <a:xfrm>
              <a:off x="4906505" y="2822018"/>
              <a:ext cx="336541" cy="359449"/>
            </a:xfrm>
            <a:custGeom>
              <a:avLst/>
              <a:gdLst/>
              <a:ahLst/>
              <a:cxnLst>
                <a:cxn ang="0">
                  <a:pos x="251" y="66"/>
                </a:cxn>
                <a:cxn ang="0">
                  <a:pos x="246" y="49"/>
                </a:cxn>
                <a:cxn ang="0">
                  <a:pos x="239" y="39"/>
                </a:cxn>
                <a:cxn ang="0">
                  <a:pos x="200" y="18"/>
                </a:cxn>
                <a:cxn ang="0">
                  <a:pos x="193" y="7"/>
                </a:cxn>
                <a:cxn ang="0">
                  <a:pos x="186" y="2"/>
                </a:cxn>
                <a:cxn ang="0">
                  <a:pos x="157" y="11"/>
                </a:cxn>
                <a:cxn ang="0">
                  <a:pos x="134" y="11"/>
                </a:cxn>
                <a:cxn ang="0">
                  <a:pos x="136" y="28"/>
                </a:cxn>
                <a:cxn ang="0">
                  <a:pos x="122" y="25"/>
                </a:cxn>
                <a:cxn ang="0">
                  <a:pos x="122" y="42"/>
                </a:cxn>
                <a:cxn ang="0">
                  <a:pos x="108" y="39"/>
                </a:cxn>
                <a:cxn ang="0">
                  <a:pos x="96" y="30"/>
                </a:cxn>
                <a:cxn ang="0">
                  <a:pos x="89" y="47"/>
                </a:cxn>
                <a:cxn ang="0">
                  <a:pos x="85" y="63"/>
                </a:cxn>
                <a:cxn ang="0">
                  <a:pos x="66" y="44"/>
                </a:cxn>
                <a:cxn ang="0">
                  <a:pos x="54" y="39"/>
                </a:cxn>
                <a:cxn ang="0">
                  <a:pos x="52" y="51"/>
                </a:cxn>
                <a:cxn ang="0">
                  <a:pos x="28" y="58"/>
                </a:cxn>
                <a:cxn ang="0">
                  <a:pos x="11" y="73"/>
                </a:cxn>
                <a:cxn ang="0">
                  <a:pos x="11" y="94"/>
                </a:cxn>
                <a:cxn ang="0">
                  <a:pos x="14" y="110"/>
                </a:cxn>
                <a:cxn ang="0">
                  <a:pos x="11" y="136"/>
                </a:cxn>
                <a:cxn ang="0">
                  <a:pos x="37" y="145"/>
                </a:cxn>
                <a:cxn ang="0">
                  <a:pos x="32" y="166"/>
                </a:cxn>
                <a:cxn ang="0">
                  <a:pos x="73" y="133"/>
                </a:cxn>
                <a:cxn ang="0">
                  <a:pos x="108" y="150"/>
                </a:cxn>
                <a:cxn ang="0">
                  <a:pos x="127" y="176"/>
                </a:cxn>
                <a:cxn ang="0">
                  <a:pos x="136" y="201"/>
                </a:cxn>
                <a:cxn ang="0">
                  <a:pos x="159" y="230"/>
                </a:cxn>
                <a:cxn ang="0">
                  <a:pos x="181" y="248"/>
                </a:cxn>
                <a:cxn ang="0">
                  <a:pos x="211" y="277"/>
                </a:cxn>
                <a:cxn ang="0">
                  <a:pos x="254" y="302"/>
                </a:cxn>
                <a:cxn ang="0">
                  <a:pos x="274" y="315"/>
                </a:cxn>
                <a:cxn ang="0">
                  <a:pos x="289" y="319"/>
                </a:cxn>
                <a:cxn ang="0">
                  <a:pos x="307" y="347"/>
                </a:cxn>
                <a:cxn ang="0">
                  <a:pos x="331" y="390"/>
                </a:cxn>
                <a:cxn ang="0">
                  <a:pos x="324" y="422"/>
                </a:cxn>
                <a:cxn ang="0">
                  <a:pos x="321" y="448"/>
                </a:cxn>
                <a:cxn ang="0">
                  <a:pos x="343" y="429"/>
                </a:cxn>
                <a:cxn ang="0">
                  <a:pos x="362" y="401"/>
                </a:cxn>
                <a:cxn ang="0">
                  <a:pos x="361" y="371"/>
                </a:cxn>
                <a:cxn ang="0">
                  <a:pos x="348" y="354"/>
                </a:cxn>
                <a:cxn ang="0">
                  <a:pos x="368" y="326"/>
                </a:cxn>
                <a:cxn ang="0">
                  <a:pos x="399" y="343"/>
                </a:cxn>
                <a:cxn ang="0">
                  <a:pos x="415" y="355"/>
                </a:cxn>
                <a:cxn ang="0">
                  <a:pos x="411" y="329"/>
                </a:cxn>
                <a:cxn ang="0">
                  <a:pos x="369" y="300"/>
                </a:cxn>
                <a:cxn ang="0">
                  <a:pos x="329" y="270"/>
                </a:cxn>
                <a:cxn ang="0">
                  <a:pos x="322" y="256"/>
                </a:cxn>
                <a:cxn ang="0">
                  <a:pos x="256" y="207"/>
                </a:cxn>
                <a:cxn ang="0">
                  <a:pos x="228" y="166"/>
                </a:cxn>
                <a:cxn ang="0">
                  <a:pos x="199" y="131"/>
                </a:cxn>
                <a:cxn ang="0">
                  <a:pos x="207" y="110"/>
                </a:cxn>
                <a:cxn ang="0">
                  <a:pos x="204" y="82"/>
                </a:cxn>
                <a:cxn ang="0">
                  <a:pos x="227" y="70"/>
                </a:cxn>
                <a:cxn ang="0">
                  <a:pos x="247" y="70"/>
                </a:cxn>
              </a:cxnLst>
              <a:rect l="0" t="0" r="r" b="b"/>
              <a:pathLst>
                <a:path w="418" h="449">
                  <a:moveTo>
                    <a:pt x="247" y="75"/>
                  </a:moveTo>
                  <a:lnTo>
                    <a:pt x="247" y="75"/>
                  </a:lnTo>
                  <a:lnTo>
                    <a:pt x="251" y="75"/>
                  </a:lnTo>
                  <a:lnTo>
                    <a:pt x="253" y="75"/>
                  </a:lnTo>
                  <a:lnTo>
                    <a:pt x="254" y="73"/>
                  </a:lnTo>
                  <a:lnTo>
                    <a:pt x="254" y="72"/>
                  </a:lnTo>
                  <a:lnTo>
                    <a:pt x="251" y="66"/>
                  </a:lnTo>
                  <a:lnTo>
                    <a:pt x="247" y="63"/>
                  </a:lnTo>
                  <a:lnTo>
                    <a:pt x="247" y="63"/>
                  </a:lnTo>
                  <a:lnTo>
                    <a:pt x="244" y="59"/>
                  </a:lnTo>
                  <a:lnTo>
                    <a:pt x="242" y="56"/>
                  </a:lnTo>
                  <a:lnTo>
                    <a:pt x="242" y="53"/>
                  </a:lnTo>
                  <a:lnTo>
                    <a:pt x="246" y="49"/>
                  </a:lnTo>
                  <a:lnTo>
                    <a:pt x="246" y="49"/>
                  </a:lnTo>
                  <a:lnTo>
                    <a:pt x="247" y="47"/>
                  </a:lnTo>
                  <a:lnTo>
                    <a:pt x="247" y="46"/>
                  </a:lnTo>
                  <a:lnTo>
                    <a:pt x="244" y="44"/>
                  </a:lnTo>
                  <a:lnTo>
                    <a:pt x="240" y="44"/>
                  </a:lnTo>
                  <a:lnTo>
                    <a:pt x="237" y="40"/>
                  </a:lnTo>
                  <a:lnTo>
                    <a:pt x="237" y="40"/>
                  </a:lnTo>
                  <a:lnTo>
                    <a:pt x="239" y="39"/>
                  </a:lnTo>
                  <a:lnTo>
                    <a:pt x="242" y="35"/>
                  </a:lnTo>
                  <a:lnTo>
                    <a:pt x="246" y="32"/>
                  </a:lnTo>
                  <a:lnTo>
                    <a:pt x="247" y="28"/>
                  </a:lnTo>
                  <a:lnTo>
                    <a:pt x="247" y="28"/>
                  </a:lnTo>
                  <a:lnTo>
                    <a:pt x="225" y="25"/>
                  </a:lnTo>
                  <a:lnTo>
                    <a:pt x="209" y="21"/>
                  </a:lnTo>
                  <a:lnTo>
                    <a:pt x="200" y="18"/>
                  </a:lnTo>
                  <a:lnTo>
                    <a:pt x="199" y="16"/>
                  </a:lnTo>
                  <a:lnTo>
                    <a:pt x="199" y="12"/>
                  </a:lnTo>
                  <a:lnTo>
                    <a:pt x="199" y="12"/>
                  </a:lnTo>
                  <a:lnTo>
                    <a:pt x="199" y="11"/>
                  </a:lnTo>
                  <a:lnTo>
                    <a:pt x="197" y="9"/>
                  </a:lnTo>
                  <a:lnTo>
                    <a:pt x="195" y="9"/>
                  </a:lnTo>
                  <a:lnTo>
                    <a:pt x="193" y="7"/>
                  </a:lnTo>
                  <a:lnTo>
                    <a:pt x="193" y="7"/>
                  </a:lnTo>
                  <a:lnTo>
                    <a:pt x="195" y="4"/>
                  </a:lnTo>
                  <a:lnTo>
                    <a:pt x="197" y="2"/>
                  </a:lnTo>
                  <a:lnTo>
                    <a:pt x="197" y="0"/>
                  </a:lnTo>
                  <a:lnTo>
                    <a:pt x="195" y="0"/>
                  </a:lnTo>
                  <a:lnTo>
                    <a:pt x="186" y="2"/>
                  </a:lnTo>
                  <a:lnTo>
                    <a:pt x="186" y="2"/>
                  </a:lnTo>
                  <a:lnTo>
                    <a:pt x="180" y="4"/>
                  </a:lnTo>
                  <a:lnTo>
                    <a:pt x="173" y="4"/>
                  </a:lnTo>
                  <a:lnTo>
                    <a:pt x="167" y="4"/>
                  </a:lnTo>
                  <a:lnTo>
                    <a:pt x="162" y="4"/>
                  </a:lnTo>
                  <a:lnTo>
                    <a:pt x="162" y="4"/>
                  </a:lnTo>
                  <a:lnTo>
                    <a:pt x="159" y="7"/>
                  </a:lnTo>
                  <a:lnTo>
                    <a:pt x="157" y="11"/>
                  </a:lnTo>
                  <a:lnTo>
                    <a:pt x="155" y="14"/>
                  </a:lnTo>
                  <a:lnTo>
                    <a:pt x="152" y="16"/>
                  </a:lnTo>
                  <a:lnTo>
                    <a:pt x="152" y="16"/>
                  </a:lnTo>
                  <a:lnTo>
                    <a:pt x="148" y="16"/>
                  </a:lnTo>
                  <a:lnTo>
                    <a:pt x="145" y="14"/>
                  </a:lnTo>
                  <a:lnTo>
                    <a:pt x="141" y="11"/>
                  </a:lnTo>
                  <a:lnTo>
                    <a:pt x="134" y="11"/>
                  </a:lnTo>
                  <a:lnTo>
                    <a:pt x="134" y="11"/>
                  </a:lnTo>
                  <a:lnTo>
                    <a:pt x="132" y="14"/>
                  </a:lnTo>
                  <a:lnTo>
                    <a:pt x="132" y="18"/>
                  </a:lnTo>
                  <a:lnTo>
                    <a:pt x="134" y="23"/>
                  </a:lnTo>
                  <a:lnTo>
                    <a:pt x="136" y="26"/>
                  </a:lnTo>
                  <a:lnTo>
                    <a:pt x="136" y="26"/>
                  </a:lnTo>
                  <a:lnTo>
                    <a:pt x="136" y="28"/>
                  </a:lnTo>
                  <a:lnTo>
                    <a:pt x="136" y="28"/>
                  </a:lnTo>
                  <a:lnTo>
                    <a:pt x="134" y="30"/>
                  </a:lnTo>
                  <a:lnTo>
                    <a:pt x="132" y="30"/>
                  </a:lnTo>
                  <a:lnTo>
                    <a:pt x="127" y="26"/>
                  </a:lnTo>
                  <a:lnTo>
                    <a:pt x="124" y="25"/>
                  </a:lnTo>
                  <a:lnTo>
                    <a:pt x="124" y="23"/>
                  </a:lnTo>
                  <a:lnTo>
                    <a:pt x="122" y="25"/>
                  </a:lnTo>
                  <a:lnTo>
                    <a:pt x="122" y="25"/>
                  </a:lnTo>
                  <a:lnTo>
                    <a:pt x="122" y="28"/>
                  </a:lnTo>
                  <a:lnTo>
                    <a:pt x="124" y="33"/>
                  </a:lnTo>
                  <a:lnTo>
                    <a:pt x="124" y="39"/>
                  </a:lnTo>
                  <a:lnTo>
                    <a:pt x="124" y="42"/>
                  </a:lnTo>
                  <a:lnTo>
                    <a:pt x="122" y="42"/>
                  </a:lnTo>
                  <a:lnTo>
                    <a:pt x="122" y="42"/>
                  </a:lnTo>
                  <a:lnTo>
                    <a:pt x="120" y="42"/>
                  </a:lnTo>
                  <a:lnTo>
                    <a:pt x="120" y="42"/>
                  </a:lnTo>
                  <a:lnTo>
                    <a:pt x="117" y="39"/>
                  </a:lnTo>
                  <a:lnTo>
                    <a:pt x="113" y="37"/>
                  </a:lnTo>
                  <a:lnTo>
                    <a:pt x="112" y="37"/>
                  </a:lnTo>
                  <a:lnTo>
                    <a:pt x="108" y="39"/>
                  </a:lnTo>
                  <a:lnTo>
                    <a:pt x="108" y="39"/>
                  </a:lnTo>
                  <a:lnTo>
                    <a:pt x="106" y="39"/>
                  </a:lnTo>
                  <a:lnTo>
                    <a:pt x="105" y="39"/>
                  </a:lnTo>
                  <a:lnTo>
                    <a:pt x="103" y="35"/>
                  </a:lnTo>
                  <a:lnTo>
                    <a:pt x="99" y="32"/>
                  </a:lnTo>
                  <a:lnTo>
                    <a:pt x="98" y="30"/>
                  </a:lnTo>
                  <a:lnTo>
                    <a:pt x="96" y="30"/>
                  </a:lnTo>
                  <a:lnTo>
                    <a:pt x="96" y="30"/>
                  </a:lnTo>
                  <a:lnTo>
                    <a:pt x="94" y="30"/>
                  </a:lnTo>
                  <a:lnTo>
                    <a:pt x="94" y="32"/>
                  </a:lnTo>
                  <a:lnTo>
                    <a:pt x="94" y="35"/>
                  </a:lnTo>
                  <a:lnTo>
                    <a:pt x="92" y="42"/>
                  </a:lnTo>
                  <a:lnTo>
                    <a:pt x="91" y="44"/>
                  </a:lnTo>
                  <a:lnTo>
                    <a:pt x="89" y="47"/>
                  </a:lnTo>
                  <a:lnTo>
                    <a:pt x="89" y="47"/>
                  </a:lnTo>
                  <a:lnTo>
                    <a:pt x="85" y="51"/>
                  </a:lnTo>
                  <a:lnTo>
                    <a:pt x="85" y="53"/>
                  </a:lnTo>
                  <a:lnTo>
                    <a:pt x="85" y="58"/>
                  </a:lnTo>
                  <a:lnTo>
                    <a:pt x="87" y="61"/>
                  </a:lnTo>
                  <a:lnTo>
                    <a:pt x="87" y="63"/>
                  </a:lnTo>
                  <a:lnTo>
                    <a:pt x="85" y="63"/>
                  </a:lnTo>
                  <a:lnTo>
                    <a:pt x="85" y="63"/>
                  </a:lnTo>
                  <a:lnTo>
                    <a:pt x="84" y="63"/>
                  </a:lnTo>
                  <a:lnTo>
                    <a:pt x="82" y="63"/>
                  </a:lnTo>
                  <a:lnTo>
                    <a:pt x="79" y="58"/>
                  </a:lnTo>
                  <a:lnTo>
                    <a:pt x="75" y="53"/>
                  </a:lnTo>
                  <a:lnTo>
                    <a:pt x="70" y="47"/>
                  </a:lnTo>
                  <a:lnTo>
                    <a:pt x="70" y="47"/>
                  </a:lnTo>
                  <a:lnTo>
                    <a:pt x="66" y="44"/>
                  </a:lnTo>
                  <a:lnTo>
                    <a:pt x="65" y="40"/>
                  </a:lnTo>
                  <a:lnTo>
                    <a:pt x="65" y="32"/>
                  </a:lnTo>
                  <a:lnTo>
                    <a:pt x="65" y="32"/>
                  </a:lnTo>
                  <a:lnTo>
                    <a:pt x="63" y="30"/>
                  </a:lnTo>
                  <a:lnTo>
                    <a:pt x="61" y="32"/>
                  </a:lnTo>
                  <a:lnTo>
                    <a:pt x="58" y="35"/>
                  </a:lnTo>
                  <a:lnTo>
                    <a:pt x="54" y="39"/>
                  </a:lnTo>
                  <a:lnTo>
                    <a:pt x="54" y="39"/>
                  </a:lnTo>
                  <a:lnTo>
                    <a:pt x="52" y="39"/>
                  </a:lnTo>
                  <a:lnTo>
                    <a:pt x="52" y="40"/>
                  </a:lnTo>
                  <a:lnTo>
                    <a:pt x="54" y="44"/>
                  </a:lnTo>
                  <a:lnTo>
                    <a:pt x="54" y="46"/>
                  </a:lnTo>
                  <a:lnTo>
                    <a:pt x="54" y="47"/>
                  </a:lnTo>
                  <a:lnTo>
                    <a:pt x="52" y="51"/>
                  </a:lnTo>
                  <a:lnTo>
                    <a:pt x="49" y="53"/>
                  </a:lnTo>
                  <a:lnTo>
                    <a:pt x="49" y="53"/>
                  </a:lnTo>
                  <a:lnTo>
                    <a:pt x="42" y="58"/>
                  </a:lnTo>
                  <a:lnTo>
                    <a:pt x="38" y="56"/>
                  </a:lnTo>
                  <a:lnTo>
                    <a:pt x="33" y="56"/>
                  </a:lnTo>
                  <a:lnTo>
                    <a:pt x="28" y="58"/>
                  </a:lnTo>
                  <a:lnTo>
                    <a:pt x="28" y="58"/>
                  </a:lnTo>
                  <a:lnTo>
                    <a:pt x="23" y="61"/>
                  </a:lnTo>
                  <a:lnTo>
                    <a:pt x="18" y="61"/>
                  </a:lnTo>
                  <a:lnTo>
                    <a:pt x="12" y="58"/>
                  </a:lnTo>
                  <a:lnTo>
                    <a:pt x="12" y="58"/>
                  </a:lnTo>
                  <a:lnTo>
                    <a:pt x="9" y="65"/>
                  </a:lnTo>
                  <a:lnTo>
                    <a:pt x="9" y="70"/>
                  </a:lnTo>
                  <a:lnTo>
                    <a:pt x="11" y="73"/>
                  </a:lnTo>
                  <a:lnTo>
                    <a:pt x="14" y="77"/>
                  </a:lnTo>
                  <a:lnTo>
                    <a:pt x="19" y="82"/>
                  </a:lnTo>
                  <a:lnTo>
                    <a:pt x="19" y="86"/>
                  </a:lnTo>
                  <a:lnTo>
                    <a:pt x="18" y="89"/>
                  </a:lnTo>
                  <a:lnTo>
                    <a:pt x="18" y="89"/>
                  </a:lnTo>
                  <a:lnTo>
                    <a:pt x="14" y="91"/>
                  </a:lnTo>
                  <a:lnTo>
                    <a:pt x="11" y="94"/>
                  </a:lnTo>
                  <a:lnTo>
                    <a:pt x="2" y="96"/>
                  </a:lnTo>
                  <a:lnTo>
                    <a:pt x="0" y="98"/>
                  </a:lnTo>
                  <a:lnTo>
                    <a:pt x="0" y="100"/>
                  </a:lnTo>
                  <a:lnTo>
                    <a:pt x="2" y="101"/>
                  </a:lnTo>
                  <a:lnTo>
                    <a:pt x="7" y="107"/>
                  </a:lnTo>
                  <a:lnTo>
                    <a:pt x="7" y="107"/>
                  </a:lnTo>
                  <a:lnTo>
                    <a:pt x="14" y="110"/>
                  </a:lnTo>
                  <a:lnTo>
                    <a:pt x="16" y="115"/>
                  </a:lnTo>
                  <a:lnTo>
                    <a:pt x="16" y="119"/>
                  </a:lnTo>
                  <a:lnTo>
                    <a:pt x="14" y="120"/>
                  </a:lnTo>
                  <a:lnTo>
                    <a:pt x="11" y="127"/>
                  </a:lnTo>
                  <a:lnTo>
                    <a:pt x="9" y="131"/>
                  </a:lnTo>
                  <a:lnTo>
                    <a:pt x="11" y="136"/>
                  </a:lnTo>
                  <a:lnTo>
                    <a:pt x="11" y="136"/>
                  </a:lnTo>
                  <a:lnTo>
                    <a:pt x="12" y="141"/>
                  </a:lnTo>
                  <a:lnTo>
                    <a:pt x="16" y="145"/>
                  </a:lnTo>
                  <a:lnTo>
                    <a:pt x="21" y="145"/>
                  </a:lnTo>
                  <a:lnTo>
                    <a:pt x="25" y="145"/>
                  </a:lnTo>
                  <a:lnTo>
                    <a:pt x="32" y="145"/>
                  </a:lnTo>
                  <a:lnTo>
                    <a:pt x="35" y="145"/>
                  </a:lnTo>
                  <a:lnTo>
                    <a:pt x="37" y="145"/>
                  </a:lnTo>
                  <a:lnTo>
                    <a:pt x="37" y="145"/>
                  </a:lnTo>
                  <a:lnTo>
                    <a:pt x="38" y="147"/>
                  </a:lnTo>
                  <a:lnTo>
                    <a:pt x="37" y="150"/>
                  </a:lnTo>
                  <a:lnTo>
                    <a:pt x="35" y="155"/>
                  </a:lnTo>
                  <a:lnTo>
                    <a:pt x="32" y="160"/>
                  </a:lnTo>
                  <a:lnTo>
                    <a:pt x="32" y="166"/>
                  </a:lnTo>
                  <a:lnTo>
                    <a:pt x="32" y="166"/>
                  </a:lnTo>
                  <a:lnTo>
                    <a:pt x="42" y="160"/>
                  </a:lnTo>
                  <a:lnTo>
                    <a:pt x="51" y="155"/>
                  </a:lnTo>
                  <a:lnTo>
                    <a:pt x="56" y="152"/>
                  </a:lnTo>
                  <a:lnTo>
                    <a:pt x="59" y="147"/>
                  </a:lnTo>
                  <a:lnTo>
                    <a:pt x="63" y="140"/>
                  </a:lnTo>
                  <a:lnTo>
                    <a:pt x="68" y="136"/>
                  </a:lnTo>
                  <a:lnTo>
                    <a:pt x="73" y="133"/>
                  </a:lnTo>
                  <a:lnTo>
                    <a:pt x="73" y="133"/>
                  </a:lnTo>
                  <a:lnTo>
                    <a:pt x="79" y="131"/>
                  </a:lnTo>
                  <a:lnTo>
                    <a:pt x="85" y="133"/>
                  </a:lnTo>
                  <a:lnTo>
                    <a:pt x="91" y="136"/>
                  </a:lnTo>
                  <a:lnTo>
                    <a:pt x="94" y="140"/>
                  </a:lnTo>
                  <a:lnTo>
                    <a:pt x="103" y="148"/>
                  </a:lnTo>
                  <a:lnTo>
                    <a:pt x="108" y="150"/>
                  </a:lnTo>
                  <a:lnTo>
                    <a:pt x="113" y="150"/>
                  </a:lnTo>
                  <a:lnTo>
                    <a:pt x="113" y="150"/>
                  </a:lnTo>
                  <a:lnTo>
                    <a:pt x="119" y="152"/>
                  </a:lnTo>
                  <a:lnTo>
                    <a:pt x="122" y="154"/>
                  </a:lnTo>
                  <a:lnTo>
                    <a:pt x="124" y="159"/>
                  </a:lnTo>
                  <a:lnTo>
                    <a:pt x="126" y="164"/>
                  </a:lnTo>
                  <a:lnTo>
                    <a:pt x="127" y="176"/>
                  </a:lnTo>
                  <a:lnTo>
                    <a:pt x="129" y="181"/>
                  </a:lnTo>
                  <a:lnTo>
                    <a:pt x="132" y="185"/>
                  </a:lnTo>
                  <a:lnTo>
                    <a:pt x="132" y="185"/>
                  </a:lnTo>
                  <a:lnTo>
                    <a:pt x="134" y="188"/>
                  </a:lnTo>
                  <a:lnTo>
                    <a:pt x="136" y="192"/>
                  </a:lnTo>
                  <a:lnTo>
                    <a:pt x="136" y="197"/>
                  </a:lnTo>
                  <a:lnTo>
                    <a:pt x="136" y="201"/>
                  </a:lnTo>
                  <a:lnTo>
                    <a:pt x="136" y="204"/>
                  </a:lnTo>
                  <a:lnTo>
                    <a:pt x="139" y="207"/>
                  </a:lnTo>
                  <a:lnTo>
                    <a:pt x="143" y="211"/>
                  </a:lnTo>
                  <a:lnTo>
                    <a:pt x="143" y="211"/>
                  </a:lnTo>
                  <a:lnTo>
                    <a:pt x="157" y="221"/>
                  </a:lnTo>
                  <a:lnTo>
                    <a:pt x="159" y="225"/>
                  </a:lnTo>
                  <a:lnTo>
                    <a:pt x="159" y="230"/>
                  </a:lnTo>
                  <a:lnTo>
                    <a:pt x="159" y="230"/>
                  </a:lnTo>
                  <a:lnTo>
                    <a:pt x="159" y="232"/>
                  </a:lnTo>
                  <a:lnTo>
                    <a:pt x="160" y="234"/>
                  </a:lnTo>
                  <a:lnTo>
                    <a:pt x="167" y="235"/>
                  </a:lnTo>
                  <a:lnTo>
                    <a:pt x="174" y="239"/>
                  </a:lnTo>
                  <a:lnTo>
                    <a:pt x="178" y="242"/>
                  </a:lnTo>
                  <a:lnTo>
                    <a:pt x="181" y="248"/>
                  </a:lnTo>
                  <a:lnTo>
                    <a:pt x="181" y="248"/>
                  </a:lnTo>
                  <a:lnTo>
                    <a:pt x="185" y="254"/>
                  </a:lnTo>
                  <a:lnTo>
                    <a:pt x="188" y="254"/>
                  </a:lnTo>
                  <a:lnTo>
                    <a:pt x="192" y="258"/>
                  </a:lnTo>
                  <a:lnTo>
                    <a:pt x="200" y="267"/>
                  </a:lnTo>
                  <a:lnTo>
                    <a:pt x="200" y="267"/>
                  </a:lnTo>
                  <a:lnTo>
                    <a:pt x="211" y="277"/>
                  </a:lnTo>
                  <a:lnTo>
                    <a:pt x="221" y="284"/>
                  </a:lnTo>
                  <a:lnTo>
                    <a:pt x="233" y="288"/>
                  </a:lnTo>
                  <a:lnTo>
                    <a:pt x="244" y="289"/>
                  </a:lnTo>
                  <a:lnTo>
                    <a:pt x="244" y="289"/>
                  </a:lnTo>
                  <a:lnTo>
                    <a:pt x="247" y="289"/>
                  </a:lnTo>
                  <a:lnTo>
                    <a:pt x="251" y="293"/>
                  </a:lnTo>
                  <a:lnTo>
                    <a:pt x="254" y="302"/>
                  </a:lnTo>
                  <a:lnTo>
                    <a:pt x="260" y="308"/>
                  </a:lnTo>
                  <a:lnTo>
                    <a:pt x="263" y="310"/>
                  </a:lnTo>
                  <a:lnTo>
                    <a:pt x="267" y="312"/>
                  </a:lnTo>
                  <a:lnTo>
                    <a:pt x="267" y="312"/>
                  </a:lnTo>
                  <a:lnTo>
                    <a:pt x="272" y="312"/>
                  </a:lnTo>
                  <a:lnTo>
                    <a:pt x="274" y="312"/>
                  </a:lnTo>
                  <a:lnTo>
                    <a:pt x="274" y="315"/>
                  </a:lnTo>
                  <a:lnTo>
                    <a:pt x="274" y="317"/>
                  </a:lnTo>
                  <a:lnTo>
                    <a:pt x="274" y="319"/>
                  </a:lnTo>
                  <a:lnTo>
                    <a:pt x="275" y="321"/>
                  </a:lnTo>
                  <a:lnTo>
                    <a:pt x="280" y="319"/>
                  </a:lnTo>
                  <a:lnTo>
                    <a:pt x="280" y="319"/>
                  </a:lnTo>
                  <a:lnTo>
                    <a:pt x="286" y="319"/>
                  </a:lnTo>
                  <a:lnTo>
                    <a:pt x="289" y="319"/>
                  </a:lnTo>
                  <a:lnTo>
                    <a:pt x="289" y="322"/>
                  </a:lnTo>
                  <a:lnTo>
                    <a:pt x="289" y="324"/>
                  </a:lnTo>
                  <a:lnTo>
                    <a:pt x="289" y="333"/>
                  </a:lnTo>
                  <a:lnTo>
                    <a:pt x="291" y="338"/>
                  </a:lnTo>
                  <a:lnTo>
                    <a:pt x="296" y="342"/>
                  </a:lnTo>
                  <a:lnTo>
                    <a:pt x="296" y="342"/>
                  </a:lnTo>
                  <a:lnTo>
                    <a:pt x="307" y="347"/>
                  </a:lnTo>
                  <a:lnTo>
                    <a:pt x="314" y="350"/>
                  </a:lnTo>
                  <a:lnTo>
                    <a:pt x="317" y="352"/>
                  </a:lnTo>
                  <a:lnTo>
                    <a:pt x="321" y="357"/>
                  </a:lnTo>
                  <a:lnTo>
                    <a:pt x="324" y="362"/>
                  </a:lnTo>
                  <a:lnTo>
                    <a:pt x="328" y="373"/>
                  </a:lnTo>
                  <a:lnTo>
                    <a:pt x="328" y="373"/>
                  </a:lnTo>
                  <a:lnTo>
                    <a:pt x="331" y="390"/>
                  </a:lnTo>
                  <a:lnTo>
                    <a:pt x="333" y="399"/>
                  </a:lnTo>
                  <a:lnTo>
                    <a:pt x="333" y="406"/>
                  </a:lnTo>
                  <a:lnTo>
                    <a:pt x="329" y="409"/>
                  </a:lnTo>
                  <a:lnTo>
                    <a:pt x="329" y="409"/>
                  </a:lnTo>
                  <a:lnTo>
                    <a:pt x="326" y="413"/>
                  </a:lnTo>
                  <a:lnTo>
                    <a:pt x="326" y="418"/>
                  </a:lnTo>
                  <a:lnTo>
                    <a:pt x="324" y="422"/>
                  </a:lnTo>
                  <a:lnTo>
                    <a:pt x="322" y="427"/>
                  </a:lnTo>
                  <a:lnTo>
                    <a:pt x="322" y="427"/>
                  </a:lnTo>
                  <a:lnTo>
                    <a:pt x="319" y="434"/>
                  </a:lnTo>
                  <a:lnTo>
                    <a:pt x="317" y="439"/>
                  </a:lnTo>
                  <a:lnTo>
                    <a:pt x="317" y="444"/>
                  </a:lnTo>
                  <a:lnTo>
                    <a:pt x="321" y="448"/>
                  </a:lnTo>
                  <a:lnTo>
                    <a:pt x="321" y="448"/>
                  </a:lnTo>
                  <a:lnTo>
                    <a:pt x="326" y="449"/>
                  </a:lnTo>
                  <a:lnTo>
                    <a:pt x="329" y="449"/>
                  </a:lnTo>
                  <a:lnTo>
                    <a:pt x="331" y="448"/>
                  </a:lnTo>
                  <a:lnTo>
                    <a:pt x="333" y="446"/>
                  </a:lnTo>
                  <a:lnTo>
                    <a:pt x="336" y="437"/>
                  </a:lnTo>
                  <a:lnTo>
                    <a:pt x="343" y="429"/>
                  </a:lnTo>
                  <a:lnTo>
                    <a:pt x="343" y="429"/>
                  </a:lnTo>
                  <a:lnTo>
                    <a:pt x="347" y="423"/>
                  </a:lnTo>
                  <a:lnTo>
                    <a:pt x="348" y="420"/>
                  </a:lnTo>
                  <a:lnTo>
                    <a:pt x="350" y="415"/>
                  </a:lnTo>
                  <a:lnTo>
                    <a:pt x="354" y="408"/>
                  </a:lnTo>
                  <a:lnTo>
                    <a:pt x="357" y="404"/>
                  </a:lnTo>
                  <a:lnTo>
                    <a:pt x="362" y="401"/>
                  </a:lnTo>
                  <a:lnTo>
                    <a:pt x="362" y="401"/>
                  </a:lnTo>
                  <a:lnTo>
                    <a:pt x="368" y="397"/>
                  </a:lnTo>
                  <a:lnTo>
                    <a:pt x="369" y="392"/>
                  </a:lnTo>
                  <a:lnTo>
                    <a:pt x="371" y="387"/>
                  </a:lnTo>
                  <a:lnTo>
                    <a:pt x="371" y="383"/>
                  </a:lnTo>
                  <a:lnTo>
                    <a:pt x="368" y="378"/>
                  </a:lnTo>
                  <a:lnTo>
                    <a:pt x="364" y="375"/>
                  </a:lnTo>
                  <a:lnTo>
                    <a:pt x="361" y="371"/>
                  </a:lnTo>
                  <a:lnTo>
                    <a:pt x="357" y="369"/>
                  </a:lnTo>
                  <a:lnTo>
                    <a:pt x="357" y="369"/>
                  </a:lnTo>
                  <a:lnTo>
                    <a:pt x="348" y="366"/>
                  </a:lnTo>
                  <a:lnTo>
                    <a:pt x="345" y="362"/>
                  </a:lnTo>
                  <a:lnTo>
                    <a:pt x="345" y="359"/>
                  </a:lnTo>
                  <a:lnTo>
                    <a:pt x="348" y="354"/>
                  </a:lnTo>
                  <a:lnTo>
                    <a:pt x="348" y="354"/>
                  </a:lnTo>
                  <a:lnTo>
                    <a:pt x="352" y="347"/>
                  </a:lnTo>
                  <a:lnTo>
                    <a:pt x="352" y="342"/>
                  </a:lnTo>
                  <a:lnTo>
                    <a:pt x="354" y="335"/>
                  </a:lnTo>
                  <a:lnTo>
                    <a:pt x="357" y="331"/>
                  </a:lnTo>
                  <a:lnTo>
                    <a:pt x="361" y="328"/>
                  </a:lnTo>
                  <a:lnTo>
                    <a:pt x="361" y="328"/>
                  </a:lnTo>
                  <a:lnTo>
                    <a:pt x="368" y="326"/>
                  </a:lnTo>
                  <a:lnTo>
                    <a:pt x="373" y="326"/>
                  </a:lnTo>
                  <a:lnTo>
                    <a:pt x="378" y="329"/>
                  </a:lnTo>
                  <a:lnTo>
                    <a:pt x="387" y="331"/>
                  </a:lnTo>
                  <a:lnTo>
                    <a:pt x="387" y="331"/>
                  </a:lnTo>
                  <a:lnTo>
                    <a:pt x="392" y="333"/>
                  </a:lnTo>
                  <a:lnTo>
                    <a:pt x="395" y="336"/>
                  </a:lnTo>
                  <a:lnTo>
                    <a:pt x="399" y="343"/>
                  </a:lnTo>
                  <a:lnTo>
                    <a:pt x="402" y="352"/>
                  </a:lnTo>
                  <a:lnTo>
                    <a:pt x="404" y="355"/>
                  </a:lnTo>
                  <a:lnTo>
                    <a:pt x="408" y="357"/>
                  </a:lnTo>
                  <a:lnTo>
                    <a:pt x="408" y="357"/>
                  </a:lnTo>
                  <a:lnTo>
                    <a:pt x="415" y="357"/>
                  </a:lnTo>
                  <a:lnTo>
                    <a:pt x="415" y="357"/>
                  </a:lnTo>
                  <a:lnTo>
                    <a:pt x="415" y="355"/>
                  </a:lnTo>
                  <a:lnTo>
                    <a:pt x="415" y="352"/>
                  </a:lnTo>
                  <a:lnTo>
                    <a:pt x="416" y="345"/>
                  </a:lnTo>
                  <a:lnTo>
                    <a:pt x="416" y="345"/>
                  </a:lnTo>
                  <a:lnTo>
                    <a:pt x="418" y="340"/>
                  </a:lnTo>
                  <a:lnTo>
                    <a:pt x="416" y="336"/>
                  </a:lnTo>
                  <a:lnTo>
                    <a:pt x="415" y="333"/>
                  </a:lnTo>
                  <a:lnTo>
                    <a:pt x="411" y="329"/>
                  </a:lnTo>
                  <a:lnTo>
                    <a:pt x="402" y="321"/>
                  </a:lnTo>
                  <a:lnTo>
                    <a:pt x="394" y="315"/>
                  </a:lnTo>
                  <a:lnTo>
                    <a:pt x="394" y="315"/>
                  </a:lnTo>
                  <a:lnTo>
                    <a:pt x="380" y="307"/>
                  </a:lnTo>
                  <a:lnTo>
                    <a:pt x="375" y="303"/>
                  </a:lnTo>
                  <a:lnTo>
                    <a:pt x="369" y="300"/>
                  </a:lnTo>
                  <a:lnTo>
                    <a:pt x="369" y="300"/>
                  </a:lnTo>
                  <a:lnTo>
                    <a:pt x="366" y="296"/>
                  </a:lnTo>
                  <a:lnTo>
                    <a:pt x="359" y="293"/>
                  </a:lnTo>
                  <a:lnTo>
                    <a:pt x="343" y="286"/>
                  </a:lnTo>
                  <a:lnTo>
                    <a:pt x="334" y="281"/>
                  </a:lnTo>
                  <a:lnTo>
                    <a:pt x="329" y="277"/>
                  </a:lnTo>
                  <a:lnTo>
                    <a:pt x="328" y="272"/>
                  </a:lnTo>
                  <a:lnTo>
                    <a:pt x="329" y="270"/>
                  </a:lnTo>
                  <a:lnTo>
                    <a:pt x="331" y="268"/>
                  </a:lnTo>
                  <a:lnTo>
                    <a:pt x="331" y="268"/>
                  </a:lnTo>
                  <a:lnTo>
                    <a:pt x="336" y="263"/>
                  </a:lnTo>
                  <a:lnTo>
                    <a:pt x="336" y="261"/>
                  </a:lnTo>
                  <a:lnTo>
                    <a:pt x="334" y="260"/>
                  </a:lnTo>
                  <a:lnTo>
                    <a:pt x="329" y="258"/>
                  </a:lnTo>
                  <a:lnTo>
                    <a:pt x="322" y="256"/>
                  </a:lnTo>
                  <a:lnTo>
                    <a:pt x="303" y="254"/>
                  </a:lnTo>
                  <a:lnTo>
                    <a:pt x="293" y="251"/>
                  </a:lnTo>
                  <a:lnTo>
                    <a:pt x="286" y="248"/>
                  </a:lnTo>
                  <a:lnTo>
                    <a:pt x="286" y="248"/>
                  </a:lnTo>
                  <a:lnTo>
                    <a:pt x="272" y="234"/>
                  </a:lnTo>
                  <a:lnTo>
                    <a:pt x="263" y="220"/>
                  </a:lnTo>
                  <a:lnTo>
                    <a:pt x="256" y="207"/>
                  </a:lnTo>
                  <a:lnTo>
                    <a:pt x="253" y="195"/>
                  </a:lnTo>
                  <a:lnTo>
                    <a:pt x="247" y="180"/>
                  </a:lnTo>
                  <a:lnTo>
                    <a:pt x="244" y="174"/>
                  </a:lnTo>
                  <a:lnTo>
                    <a:pt x="240" y="173"/>
                  </a:lnTo>
                  <a:lnTo>
                    <a:pt x="240" y="173"/>
                  </a:lnTo>
                  <a:lnTo>
                    <a:pt x="233" y="171"/>
                  </a:lnTo>
                  <a:lnTo>
                    <a:pt x="228" y="166"/>
                  </a:lnTo>
                  <a:lnTo>
                    <a:pt x="221" y="160"/>
                  </a:lnTo>
                  <a:lnTo>
                    <a:pt x="213" y="154"/>
                  </a:lnTo>
                  <a:lnTo>
                    <a:pt x="213" y="154"/>
                  </a:lnTo>
                  <a:lnTo>
                    <a:pt x="207" y="148"/>
                  </a:lnTo>
                  <a:lnTo>
                    <a:pt x="204" y="143"/>
                  </a:lnTo>
                  <a:lnTo>
                    <a:pt x="200" y="136"/>
                  </a:lnTo>
                  <a:lnTo>
                    <a:pt x="199" y="131"/>
                  </a:lnTo>
                  <a:lnTo>
                    <a:pt x="199" y="124"/>
                  </a:lnTo>
                  <a:lnTo>
                    <a:pt x="199" y="119"/>
                  </a:lnTo>
                  <a:lnTo>
                    <a:pt x="200" y="115"/>
                  </a:lnTo>
                  <a:lnTo>
                    <a:pt x="204" y="112"/>
                  </a:lnTo>
                  <a:lnTo>
                    <a:pt x="204" y="112"/>
                  </a:lnTo>
                  <a:lnTo>
                    <a:pt x="206" y="112"/>
                  </a:lnTo>
                  <a:lnTo>
                    <a:pt x="207" y="110"/>
                  </a:lnTo>
                  <a:lnTo>
                    <a:pt x="206" y="105"/>
                  </a:lnTo>
                  <a:lnTo>
                    <a:pt x="199" y="94"/>
                  </a:lnTo>
                  <a:lnTo>
                    <a:pt x="199" y="94"/>
                  </a:lnTo>
                  <a:lnTo>
                    <a:pt x="197" y="87"/>
                  </a:lnTo>
                  <a:lnTo>
                    <a:pt x="197" y="82"/>
                  </a:lnTo>
                  <a:lnTo>
                    <a:pt x="200" y="80"/>
                  </a:lnTo>
                  <a:lnTo>
                    <a:pt x="204" y="82"/>
                  </a:lnTo>
                  <a:lnTo>
                    <a:pt x="204" y="82"/>
                  </a:lnTo>
                  <a:lnTo>
                    <a:pt x="207" y="84"/>
                  </a:lnTo>
                  <a:lnTo>
                    <a:pt x="209" y="82"/>
                  </a:lnTo>
                  <a:lnTo>
                    <a:pt x="213" y="80"/>
                  </a:lnTo>
                  <a:lnTo>
                    <a:pt x="220" y="75"/>
                  </a:lnTo>
                  <a:lnTo>
                    <a:pt x="227" y="70"/>
                  </a:lnTo>
                  <a:lnTo>
                    <a:pt x="227" y="70"/>
                  </a:lnTo>
                  <a:lnTo>
                    <a:pt x="233" y="68"/>
                  </a:lnTo>
                  <a:lnTo>
                    <a:pt x="233" y="70"/>
                  </a:lnTo>
                  <a:lnTo>
                    <a:pt x="235" y="72"/>
                  </a:lnTo>
                  <a:lnTo>
                    <a:pt x="240" y="70"/>
                  </a:lnTo>
                  <a:lnTo>
                    <a:pt x="240" y="70"/>
                  </a:lnTo>
                  <a:lnTo>
                    <a:pt x="246" y="70"/>
                  </a:lnTo>
                  <a:lnTo>
                    <a:pt x="247" y="70"/>
                  </a:lnTo>
                  <a:lnTo>
                    <a:pt x="247" y="75"/>
                  </a:lnTo>
                  <a:lnTo>
                    <a:pt x="247" y="75"/>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1" name="Freeform 1776">
              <a:extLst>
                <a:ext uri="{FF2B5EF4-FFF2-40B4-BE49-F238E27FC236}">
                  <a16:creationId xmlns:a16="http://schemas.microsoft.com/office/drawing/2014/main" id="{71747D22-0E49-4E23-B991-DAD9BD54BB5C}"/>
                </a:ext>
              </a:extLst>
            </p:cNvPr>
            <p:cNvSpPr>
              <a:spLocks/>
            </p:cNvSpPr>
            <p:nvPr/>
          </p:nvSpPr>
          <p:spPr bwMode="auto">
            <a:xfrm>
              <a:off x="5161995" y="2896023"/>
              <a:ext cx="111006" cy="103957"/>
            </a:xfrm>
            <a:custGeom>
              <a:avLst/>
              <a:gdLst/>
              <a:ahLst/>
              <a:cxnLst>
                <a:cxn ang="0">
                  <a:pos x="127" y="80"/>
                </a:cxn>
                <a:cxn ang="0">
                  <a:pos x="134" y="81"/>
                </a:cxn>
                <a:cxn ang="0">
                  <a:pos x="134" y="76"/>
                </a:cxn>
                <a:cxn ang="0">
                  <a:pos x="123" y="61"/>
                </a:cxn>
                <a:cxn ang="0">
                  <a:pos x="132" y="62"/>
                </a:cxn>
                <a:cxn ang="0">
                  <a:pos x="137" y="61"/>
                </a:cxn>
                <a:cxn ang="0">
                  <a:pos x="122" y="45"/>
                </a:cxn>
                <a:cxn ang="0">
                  <a:pos x="118" y="38"/>
                </a:cxn>
                <a:cxn ang="0">
                  <a:pos x="127" y="15"/>
                </a:cxn>
                <a:cxn ang="0">
                  <a:pos x="116" y="17"/>
                </a:cxn>
                <a:cxn ang="0">
                  <a:pos x="106" y="12"/>
                </a:cxn>
                <a:cxn ang="0">
                  <a:pos x="101" y="7"/>
                </a:cxn>
                <a:cxn ang="0">
                  <a:pos x="90" y="5"/>
                </a:cxn>
                <a:cxn ang="0">
                  <a:pos x="78" y="7"/>
                </a:cxn>
                <a:cxn ang="0">
                  <a:pos x="71" y="8"/>
                </a:cxn>
                <a:cxn ang="0">
                  <a:pos x="57" y="3"/>
                </a:cxn>
                <a:cxn ang="0">
                  <a:pos x="52" y="3"/>
                </a:cxn>
                <a:cxn ang="0">
                  <a:pos x="31" y="0"/>
                </a:cxn>
                <a:cxn ang="0">
                  <a:pos x="26" y="3"/>
                </a:cxn>
                <a:cxn ang="0">
                  <a:pos x="15" y="5"/>
                </a:cxn>
                <a:cxn ang="0">
                  <a:pos x="7" y="1"/>
                </a:cxn>
                <a:cxn ang="0">
                  <a:pos x="0" y="17"/>
                </a:cxn>
                <a:cxn ang="0">
                  <a:pos x="3" y="24"/>
                </a:cxn>
                <a:cxn ang="0">
                  <a:pos x="14" y="38"/>
                </a:cxn>
                <a:cxn ang="0">
                  <a:pos x="17" y="43"/>
                </a:cxn>
                <a:cxn ang="0">
                  <a:pos x="14" y="50"/>
                </a:cxn>
                <a:cxn ang="0">
                  <a:pos x="19" y="52"/>
                </a:cxn>
                <a:cxn ang="0">
                  <a:pos x="42" y="78"/>
                </a:cxn>
                <a:cxn ang="0">
                  <a:pos x="52" y="87"/>
                </a:cxn>
                <a:cxn ang="0">
                  <a:pos x="59" y="99"/>
                </a:cxn>
                <a:cxn ang="0">
                  <a:pos x="69" y="109"/>
                </a:cxn>
                <a:cxn ang="0">
                  <a:pos x="69" y="113"/>
                </a:cxn>
                <a:cxn ang="0">
                  <a:pos x="76" y="118"/>
                </a:cxn>
                <a:cxn ang="0">
                  <a:pos x="85" y="125"/>
                </a:cxn>
                <a:cxn ang="0">
                  <a:pos x="99" y="128"/>
                </a:cxn>
                <a:cxn ang="0">
                  <a:pos x="96" y="116"/>
                </a:cxn>
                <a:cxn ang="0">
                  <a:pos x="99" y="111"/>
                </a:cxn>
                <a:cxn ang="0">
                  <a:pos x="108" y="97"/>
                </a:cxn>
                <a:cxn ang="0">
                  <a:pos x="113" y="94"/>
                </a:cxn>
                <a:cxn ang="0">
                  <a:pos x="116" y="99"/>
                </a:cxn>
                <a:cxn ang="0">
                  <a:pos x="116" y="94"/>
                </a:cxn>
                <a:cxn ang="0">
                  <a:pos x="115" y="81"/>
                </a:cxn>
                <a:cxn ang="0">
                  <a:pos x="123" y="85"/>
                </a:cxn>
              </a:cxnLst>
              <a:rect l="0" t="0" r="r" b="b"/>
              <a:pathLst>
                <a:path w="137" h="130">
                  <a:moveTo>
                    <a:pt x="123" y="85"/>
                  </a:moveTo>
                  <a:lnTo>
                    <a:pt x="123" y="85"/>
                  </a:lnTo>
                  <a:lnTo>
                    <a:pt x="127" y="80"/>
                  </a:lnTo>
                  <a:lnTo>
                    <a:pt x="130" y="81"/>
                  </a:lnTo>
                  <a:lnTo>
                    <a:pt x="132" y="81"/>
                  </a:lnTo>
                  <a:lnTo>
                    <a:pt x="134" y="81"/>
                  </a:lnTo>
                  <a:lnTo>
                    <a:pt x="134" y="81"/>
                  </a:lnTo>
                  <a:lnTo>
                    <a:pt x="134" y="80"/>
                  </a:lnTo>
                  <a:lnTo>
                    <a:pt x="134" y="76"/>
                  </a:lnTo>
                  <a:lnTo>
                    <a:pt x="130" y="69"/>
                  </a:lnTo>
                  <a:lnTo>
                    <a:pt x="123" y="61"/>
                  </a:lnTo>
                  <a:lnTo>
                    <a:pt x="123" y="61"/>
                  </a:lnTo>
                  <a:lnTo>
                    <a:pt x="125" y="61"/>
                  </a:lnTo>
                  <a:lnTo>
                    <a:pt x="129" y="62"/>
                  </a:lnTo>
                  <a:lnTo>
                    <a:pt x="132" y="62"/>
                  </a:lnTo>
                  <a:lnTo>
                    <a:pt x="136" y="62"/>
                  </a:lnTo>
                  <a:lnTo>
                    <a:pt x="136" y="62"/>
                  </a:lnTo>
                  <a:lnTo>
                    <a:pt x="137" y="61"/>
                  </a:lnTo>
                  <a:lnTo>
                    <a:pt x="136" y="57"/>
                  </a:lnTo>
                  <a:lnTo>
                    <a:pt x="129" y="52"/>
                  </a:lnTo>
                  <a:lnTo>
                    <a:pt x="122" y="45"/>
                  </a:lnTo>
                  <a:lnTo>
                    <a:pt x="118" y="41"/>
                  </a:lnTo>
                  <a:lnTo>
                    <a:pt x="118" y="38"/>
                  </a:lnTo>
                  <a:lnTo>
                    <a:pt x="118" y="38"/>
                  </a:lnTo>
                  <a:lnTo>
                    <a:pt x="125" y="24"/>
                  </a:lnTo>
                  <a:lnTo>
                    <a:pt x="127" y="17"/>
                  </a:lnTo>
                  <a:lnTo>
                    <a:pt x="127" y="15"/>
                  </a:lnTo>
                  <a:lnTo>
                    <a:pt x="125" y="15"/>
                  </a:lnTo>
                  <a:lnTo>
                    <a:pt x="116" y="17"/>
                  </a:lnTo>
                  <a:lnTo>
                    <a:pt x="116" y="17"/>
                  </a:lnTo>
                  <a:lnTo>
                    <a:pt x="111" y="17"/>
                  </a:lnTo>
                  <a:lnTo>
                    <a:pt x="109" y="15"/>
                  </a:lnTo>
                  <a:lnTo>
                    <a:pt x="106" y="12"/>
                  </a:lnTo>
                  <a:lnTo>
                    <a:pt x="104" y="7"/>
                  </a:lnTo>
                  <a:lnTo>
                    <a:pt x="103" y="7"/>
                  </a:lnTo>
                  <a:lnTo>
                    <a:pt x="101" y="7"/>
                  </a:lnTo>
                  <a:lnTo>
                    <a:pt x="101" y="7"/>
                  </a:lnTo>
                  <a:lnTo>
                    <a:pt x="96" y="7"/>
                  </a:lnTo>
                  <a:lnTo>
                    <a:pt x="90" y="5"/>
                  </a:lnTo>
                  <a:lnTo>
                    <a:pt x="83" y="3"/>
                  </a:lnTo>
                  <a:lnTo>
                    <a:pt x="80" y="5"/>
                  </a:lnTo>
                  <a:lnTo>
                    <a:pt x="78" y="7"/>
                  </a:lnTo>
                  <a:lnTo>
                    <a:pt x="78" y="7"/>
                  </a:lnTo>
                  <a:lnTo>
                    <a:pt x="75" y="8"/>
                  </a:lnTo>
                  <a:lnTo>
                    <a:pt x="71" y="8"/>
                  </a:lnTo>
                  <a:lnTo>
                    <a:pt x="66" y="7"/>
                  </a:lnTo>
                  <a:lnTo>
                    <a:pt x="59" y="3"/>
                  </a:lnTo>
                  <a:lnTo>
                    <a:pt x="57" y="3"/>
                  </a:lnTo>
                  <a:lnTo>
                    <a:pt x="54" y="3"/>
                  </a:lnTo>
                  <a:lnTo>
                    <a:pt x="54" y="3"/>
                  </a:lnTo>
                  <a:lnTo>
                    <a:pt x="52" y="3"/>
                  </a:lnTo>
                  <a:lnTo>
                    <a:pt x="49" y="3"/>
                  </a:lnTo>
                  <a:lnTo>
                    <a:pt x="40" y="1"/>
                  </a:lnTo>
                  <a:lnTo>
                    <a:pt x="31" y="0"/>
                  </a:lnTo>
                  <a:lnTo>
                    <a:pt x="29" y="1"/>
                  </a:lnTo>
                  <a:lnTo>
                    <a:pt x="26" y="3"/>
                  </a:lnTo>
                  <a:lnTo>
                    <a:pt x="26" y="3"/>
                  </a:lnTo>
                  <a:lnTo>
                    <a:pt x="21" y="12"/>
                  </a:lnTo>
                  <a:lnTo>
                    <a:pt x="19" y="10"/>
                  </a:lnTo>
                  <a:lnTo>
                    <a:pt x="15" y="5"/>
                  </a:lnTo>
                  <a:lnTo>
                    <a:pt x="15" y="5"/>
                  </a:lnTo>
                  <a:lnTo>
                    <a:pt x="10" y="1"/>
                  </a:lnTo>
                  <a:lnTo>
                    <a:pt x="7" y="1"/>
                  </a:lnTo>
                  <a:lnTo>
                    <a:pt x="3" y="3"/>
                  </a:lnTo>
                  <a:lnTo>
                    <a:pt x="2" y="7"/>
                  </a:lnTo>
                  <a:lnTo>
                    <a:pt x="0" y="17"/>
                  </a:lnTo>
                  <a:lnTo>
                    <a:pt x="2" y="20"/>
                  </a:lnTo>
                  <a:lnTo>
                    <a:pt x="3" y="24"/>
                  </a:lnTo>
                  <a:lnTo>
                    <a:pt x="3" y="24"/>
                  </a:lnTo>
                  <a:lnTo>
                    <a:pt x="9" y="27"/>
                  </a:lnTo>
                  <a:lnTo>
                    <a:pt x="10" y="33"/>
                  </a:lnTo>
                  <a:lnTo>
                    <a:pt x="14" y="38"/>
                  </a:lnTo>
                  <a:lnTo>
                    <a:pt x="15" y="41"/>
                  </a:lnTo>
                  <a:lnTo>
                    <a:pt x="15" y="41"/>
                  </a:lnTo>
                  <a:lnTo>
                    <a:pt x="17" y="43"/>
                  </a:lnTo>
                  <a:lnTo>
                    <a:pt x="17" y="45"/>
                  </a:lnTo>
                  <a:lnTo>
                    <a:pt x="15" y="48"/>
                  </a:lnTo>
                  <a:lnTo>
                    <a:pt x="14" y="50"/>
                  </a:lnTo>
                  <a:lnTo>
                    <a:pt x="17" y="52"/>
                  </a:lnTo>
                  <a:lnTo>
                    <a:pt x="17" y="52"/>
                  </a:lnTo>
                  <a:lnTo>
                    <a:pt x="19" y="52"/>
                  </a:lnTo>
                  <a:lnTo>
                    <a:pt x="24" y="55"/>
                  </a:lnTo>
                  <a:lnTo>
                    <a:pt x="33" y="66"/>
                  </a:lnTo>
                  <a:lnTo>
                    <a:pt x="42" y="78"/>
                  </a:lnTo>
                  <a:lnTo>
                    <a:pt x="49" y="83"/>
                  </a:lnTo>
                  <a:lnTo>
                    <a:pt x="49" y="83"/>
                  </a:lnTo>
                  <a:lnTo>
                    <a:pt x="52" y="87"/>
                  </a:lnTo>
                  <a:lnTo>
                    <a:pt x="54" y="90"/>
                  </a:lnTo>
                  <a:lnTo>
                    <a:pt x="56" y="95"/>
                  </a:lnTo>
                  <a:lnTo>
                    <a:pt x="59" y="99"/>
                  </a:lnTo>
                  <a:lnTo>
                    <a:pt x="59" y="99"/>
                  </a:lnTo>
                  <a:lnTo>
                    <a:pt x="68" y="106"/>
                  </a:lnTo>
                  <a:lnTo>
                    <a:pt x="69" y="109"/>
                  </a:lnTo>
                  <a:lnTo>
                    <a:pt x="69" y="111"/>
                  </a:lnTo>
                  <a:lnTo>
                    <a:pt x="69" y="111"/>
                  </a:lnTo>
                  <a:lnTo>
                    <a:pt x="69" y="113"/>
                  </a:lnTo>
                  <a:lnTo>
                    <a:pt x="71" y="113"/>
                  </a:lnTo>
                  <a:lnTo>
                    <a:pt x="73" y="114"/>
                  </a:lnTo>
                  <a:lnTo>
                    <a:pt x="76" y="118"/>
                  </a:lnTo>
                  <a:lnTo>
                    <a:pt x="76" y="118"/>
                  </a:lnTo>
                  <a:lnTo>
                    <a:pt x="80" y="121"/>
                  </a:lnTo>
                  <a:lnTo>
                    <a:pt x="85" y="125"/>
                  </a:lnTo>
                  <a:lnTo>
                    <a:pt x="96" y="130"/>
                  </a:lnTo>
                  <a:lnTo>
                    <a:pt x="96" y="130"/>
                  </a:lnTo>
                  <a:lnTo>
                    <a:pt x="99" y="128"/>
                  </a:lnTo>
                  <a:lnTo>
                    <a:pt x="99" y="125"/>
                  </a:lnTo>
                  <a:lnTo>
                    <a:pt x="97" y="121"/>
                  </a:lnTo>
                  <a:lnTo>
                    <a:pt x="96" y="116"/>
                  </a:lnTo>
                  <a:lnTo>
                    <a:pt x="96" y="114"/>
                  </a:lnTo>
                  <a:lnTo>
                    <a:pt x="99" y="111"/>
                  </a:lnTo>
                  <a:lnTo>
                    <a:pt x="99" y="111"/>
                  </a:lnTo>
                  <a:lnTo>
                    <a:pt x="104" y="106"/>
                  </a:lnTo>
                  <a:lnTo>
                    <a:pt x="106" y="101"/>
                  </a:lnTo>
                  <a:lnTo>
                    <a:pt x="108" y="97"/>
                  </a:lnTo>
                  <a:lnTo>
                    <a:pt x="109" y="92"/>
                  </a:lnTo>
                  <a:lnTo>
                    <a:pt x="109" y="92"/>
                  </a:lnTo>
                  <a:lnTo>
                    <a:pt x="113" y="94"/>
                  </a:lnTo>
                  <a:lnTo>
                    <a:pt x="115" y="95"/>
                  </a:lnTo>
                  <a:lnTo>
                    <a:pt x="115" y="99"/>
                  </a:lnTo>
                  <a:lnTo>
                    <a:pt x="116" y="99"/>
                  </a:lnTo>
                  <a:lnTo>
                    <a:pt x="116" y="99"/>
                  </a:lnTo>
                  <a:lnTo>
                    <a:pt x="118" y="95"/>
                  </a:lnTo>
                  <a:lnTo>
                    <a:pt x="116" y="94"/>
                  </a:lnTo>
                  <a:lnTo>
                    <a:pt x="115" y="87"/>
                  </a:lnTo>
                  <a:lnTo>
                    <a:pt x="113" y="83"/>
                  </a:lnTo>
                  <a:lnTo>
                    <a:pt x="115" y="81"/>
                  </a:lnTo>
                  <a:lnTo>
                    <a:pt x="118" y="83"/>
                  </a:lnTo>
                  <a:lnTo>
                    <a:pt x="123" y="85"/>
                  </a:lnTo>
                  <a:lnTo>
                    <a:pt x="123" y="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2" name="Freeform 1777">
              <a:extLst>
                <a:ext uri="{FF2B5EF4-FFF2-40B4-BE49-F238E27FC236}">
                  <a16:creationId xmlns:a16="http://schemas.microsoft.com/office/drawing/2014/main" id="{D3CDF923-908B-4F8E-902C-8EE68CC39179}"/>
                </a:ext>
              </a:extLst>
            </p:cNvPr>
            <p:cNvSpPr>
              <a:spLocks/>
            </p:cNvSpPr>
            <p:nvPr/>
          </p:nvSpPr>
          <p:spPr bwMode="auto">
            <a:xfrm>
              <a:off x="6032423" y="2469618"/>
              <a:ext cx="1147063" cy="607892"/>
            </a:xfrm>
            <a:custGeom>
              <a:avLst/>
              <a:gdLst/>
              <a:ahLst/>
              <a:cxnLst>
                <a:cxn ang="0">
                  <a:pos x="834" y="687"/>
                </a:cxn>
                <a:cxn ang="0">
                  <a:pos x="789" y="729"/>
                </a:cxn>
                <a:cxn ang="0">
                  <a:pos x="766" y="757"/>
                </a:cxn>
                <a:cxn ang="0">
                  <a:pos x="745" y="729"/>
                </a:cxn>
                <a:cxn ang="0">
                  <a:pos x="698" y="689"/>
                </a:cxn>
                <a:cxn ang="0">
                  <a:pos x="677" y="645"/>
                </a:cxn>
                <a:cxn ang="0">
                  <a:pos x="637" y="607"/>
                </a:cxn>
                <a:cxn ang="0">
                  <a:pos x="538" y="614"/>
                </a:cxn>
                <a:cxn ang="0">
                  <a:pos x="531" y="551"/>
                </a:cxn>
                <a:cxn ang="0">
                  <a:pos x="515" y="510"/>
                </a:cxn>
                <a:cxn ang="0">
                  <a:pos x="519" y="473"/>
                </a:cxn>
                <a:cxn ang="0">
                  <a:pos x="512" y="461"/>
                </a:cxn>
                <a:cxn ang="0">
                  <a:pos x="486" y="454"/>
                </a:cxn>
                <a:cxn ang="0">
                  <a:pos x="466" y="485"/>
                </a:cxn>
                <a:cxn ang="0">
                  <a:pos x="447" y="492"/>
                </a:cxn>
                <a:cxn ang="0">
                  <a:pos x="331" y="543"/>
                </a:cxn>
                <a:cxn ang="0">
                  <a:pos x="289" y="687"/>
                </a:cxn>
                <a:cxn ang="0">
                  <a:pos x="204" y="691"/>
                </a:cxn>
                <a:cxn ang="0">
                  <a:pos x="191" y="647"/>
                </a:cxn>
                <a:cxn ang="0">
                  <a:pos x="164" y="619"/>
                </a:cxn>
                <a:cxn ang="0">
                  <a:pos x="132" y="562"/>
                </a:cxn>
                <a:cxn ang="0">
                  <a:pos x="174" y="565"/>
                </a:cxn>
                <a:cxn ang="0">
                  <a:pos x="165" y="534"/>
                </a:cxn>
                <a:cxn ang="0">
                  <a:pos x="211" y="524"/>
                </a:cxn>
                <a:cxn ang="0">
                  <a:pos x="230" y="475"/>
                </a:cxn>
                <a:cxn ang="0">
                  <a:pos x="198" y="452"/>
                </a:cxn>
                <a:cxn ang="0">
                  <a:pos x="113" y="466"/>
                </a:cxn>
                <a:cxn ang="0">
                  <a:pos x="75" y="489"/>
                </a:cxn>
                <a:cxn ang="0">
                  <a:pos x="73" y="431"/>
                </a:cxn>
                <a:cxn ang="0">
                  <a:pos x="16" y="377"/>
                </a:cxn>
                <a:cxn ang="0">
                  <a:pos x="10" y="320"/>
                </a:cxn>
                <a:cxn ang="0">
                  <a:pos x="50" y="283"/>
                </a:cxn>
                <a:cxn ang="0">
                  <a:pos x="101" y="236"/>
                </a:cxn>
                <a:cxn ang="0">
                  <a:pos x="184" y="205"/>
                </a:cxn>
                <a:cxn ang="0">
                  <a:pos x="299" y="252"/>
                </a:cxn>
                <a:cxn ang="0">
                  <a:pos x="374" y="238"/>
                </a:cxn>
                <a:cxn ang="0">
                  <a:pos x="466" y="249"/>
                </a:cxn>
                <a:cxn ang="0">
                  <a:pos x="527" y="229"/>
                </a:cxn>
                <a:cxn ang="0">
                  <a:pos x="496" y="177"/>
                </a:cxn>
                <a:cxn ang="0">
                  <a:pos x="529" y="134"/>
                </a:cxn>
                <a:cxn ang="0">
                  <a:pos x="508" y="80"/>
                </a:cxn>
                <a:cxn ang="0">
                  <a:pos x="778" y="7"/>
                </a:cxn>
                <a:cxn ang="0">
                  <a:pos x="857" y="31"/>
                </a:cxn>
                <a:cxn ang="0">
                  <a:pos x="954" y="80"/>
                </a:cxn>
                <a:cxn ang="0">
                  <a:pos x="1038" y="62"/>
                </a:cxn>
                <a:cxn ang="0">
                  <a:pos x="1088" y="113"/>
                </a:cxn>
                <a:cxn ang="0">
                  <a:pos x="1189" y="233"/>
                </a:cxn>
                <a:cxn ang="0">
                  <a:pos x="1281" y="240"/>
                </a:cxn>
                <a:cxn ang="0">
                  <a:pos x="1400" y="306"/>
                </a:cxn>
                <a:cxn ang="0">
                  <a:pos x="1410" y="348"/>
                </a:cxn>
                <a:cxn ang="0">
                  <a:pos x="1370" y="419"/>
                </a:cxn>
                <a:cxn ang="0">
                  <a:pos x="1328" y="442"/>
                </a:cxn>
                <a:cxn ang="0">
                  <a:pos x="1264" y="491"/>
                </a:cxn>
                <a:cxn ang="0">
                  <a:pos x="1257" y="536"/>
                </a:cxn>
                <a:cxn ang="0">
                  <a:pos x="1175" y="550"/>
                </a:cxn>
                <a:cxn ang="0">
                  <a:pos x="1198" y="630"/>
                </a:cxn>
                <a:cxn ang="0">
                  <a:pos x="1182" y="665"/>
                </a:cxn>
                <a:cxn ang="0">
                  <a:pos x="1146" y="654"/>
                </a:cxn>
                <a:cxn ang="0">
                  <a:pos x="1010" y="649"/>
                </a:cxn>
                <a:cxn ang="0">
                  <a:pos x="944" y="670"/>
                </a:cxn>
                <a:cxn ang="0">
                  <a:pos x="858" y="670"/>
                </a:cxn>
              </a:cxnLst>
              <a:rect l="0" t="0" r="r" b="b"/>
              <a:pathLst>
                <a:path w="1431" h="757">
                  <a:moveTo>
                    <a:pt x="857" y="677"/>
                  </a:moveTo>
                  <a:lnTo>
                    <a:pt x="855" y="679"/>
                  </a:lnTo>
                  <a:lnTo>
                    <a:pt x="855" y="679"/>
                  </a:lnTo>
                  <a:lnTo>
                    <a:pt x="848" y="680"/>
                  </a:lnTo>
                  <a:lnTo>
                    <a:pt x="846" y="684"/>
                  </a:lnTo>
                  <a:lnTo>
                    <a:pt x="846" y="687"/>
                  </a:lnTo>
                  <a:lnTo>
                    <a:pt x="844" y="689"/>
                  </a:lnTo>
                  <a:lnTo>
                    <a:pt x="844" y="689"/>
                  </a:lnTo>
                  <a:lnTo>
                    <a:pt x="841" y="687"/>
                  </a:lnTo>
                  <a:lnTo>
                    <a:pt x="841" y="686"/>
                  </a:lnTo>
                  <a:lnTo>
                    <a:pt x="837" y="684"/>
                  </a:lnTo>
                  <a:lnTo>
                    <a:pt x="834" y="687"/>
                  </a:lnTo>
                  <a:lnTo>
                    <a:pt x="834" y="687"/>
                  </a:lnTo>
                  <a:lnTo>
                    <a:pt x="823" y="699"/>
                  </a:lnTo>
                  <a:lnTo>
                    <a:pt x="809" y="706"/>
                  </a:lnTo>
                  <a:lnTo>
                    <a:pt x="809" y="706"/>
                  </a:lnTo>
                  <a:lnTo>
                    <a:pt x="806" y="710"/>
                  </a:lnTo>
                  <a:lnTo>
                    <a:pt x="803" y="712"/>
                  </a:lnTo>
                  <a:lnTo>
                    <a:pt x="801" y="715"/>
                  </a:lnTo>
                  <a:lnTo>
                    <a:pt x="796" y="717"/>
                  </a:lnTo>
                  <a:lnTo>
                    <a:pt x="796" y="717"/>
                  </a:lnTo>
                  <a:lnTo>
                    <a:pt x="792" y="719"/>
                  </a:lnTo>
                  <a:lnTo>
                    <a:pt x="790" y="719"/>
                  </a:lnTo>
                  <a:lnTo>
                    <a:pt x="789" y="724"/>
                  </a:lnTo>
                  <a:lnTo>
                    <a:pt x="789" y="727"/>
                  </a:lnTo>
                  <a:lnTo>
                    <a:pt x="789" y="729"/>
                  </a:lnTo>
                  <a:lnTo>
                    <a:pt x="787" y="731"/>
                  </a:lnTo>
                  <a:lnTo>
                    <a:pt x="787" y="731"/>
                  </a:lnTo>
                  <a:lnTo>
                    <a:pt x="780" y="736"/>
                  </a:lnTo>
                  <a:lnTo>
                    <a:pt x="775" y="740"/>
                  </a:lnTo>
                  <a:lnTo>
                    <a:pt x="771" y="745"/>
                  </a:lnTo>
                  <a:lnTo>
                    <a:pt x="771" y="748"/>
                  </a:lnTo>
                  <a:lnTo>
                    <a:pt x="773" y="752"/>
                  </a:lnTo>
                  <a:lnTo>
                    <a:pt x="773" y="752"/>
                  </a:lnTo>
                  <a:lnTo>
                    <a:pt x="775" y="755"/>
                  </a:lnTo>
                  <a:lnTo>
                    <a:pt x="773" y="757"/>
                  </a:lnTo>
                  <a:lnTo>
                    <a:pt x="769" y="757"/>
                  </a:lnTo>
                  <a:lnTo>
                    <a:pt x="766" y="757"/>
                  </a:lnTo>
                  <a:lnTo>
                    <a:pt x="766" y="757"/>
                  </a:lnTo>
                  <a:lnTo>
                    <a:pt x="752" y="748"/>
                  </a:lnTo>
                  <a:lnTo>
                    <a:pt x="752" y="748"/>
                  </a:lnTo>
                  <a:lnTo>
                    <a:pt x="756" y="743"/>
                  </a:lnTo>
                  <a:lnTo>
                    <a:pt x="757" y="738"/>
                  </a:lnTo>
                  <a:lnTo>
                    <a:pt x="757" y="736"/>
                  </a:lnTo>
                  <a:lnTo>
                    <a:pt x="757" y="736"/>
                  </a:lnTo>
                  <a:lnTo>
                    <a:pt x="756" y="736"/>
                  </a:lnTo>
                  <a:lnTo>
                    <a:pt x="754" y="736"/>
                  </a:lnTo>
                  <a:lnTo>
                    <a:pt x="752" y="736"/>
                  </a:lnTo>
                  <a:lnTo>
                    <a:pt x="750" y="733"/>
                  </a:lnTo>
                  <a:lnTo>
                    <a:pt x="750" y="733"/>
                  </a:lnTo>
                  <a:lnTo>
                    <a:pt x="749" y="729"/>
                  </a:lnTo>
                  <a:lnTo>
                    <a:pt x="745" y="729"/>
                  </a:lnTo>
                  <a:lnTo>
                    <a:pt x="726" y="731"/>
                  </a:lnTo>
                  <a:lnTo>
                    <a:pt x="726" y="731"/>
                  </a:lnTo>
                  <a:lnTo>
                    <a:pt x="712" y="731"/>
                  </a:lnTo>
                  <a:lnTo>
                    <a:pt x="707" y="729"/>
                  </a:lnTo>
                  <a:lnTo>
                    <a:pt x="705" y="727"/>
                  </a:lnTo>
                  <a:lnTo>
                    <a:pt x="703" y="724"/>
                  </a:lnTo>
                  <a:lnTo>
                    <a:pt x="703" y="717"/>
                  </a:lnTo>
                  <a:lnTo>
                    <a:pt x="703" y="717"/>
                  </a:lnTo>
                  <a:lnTo>
                    <a:pt x="703" y="698"/>
                  </a:lnTo>
                  <a:lnTo>
                    <a:pt x="702" y="692"/>
                  </a:lnTo>
                  <a:lnTo>
                    <a:pt x="700" y="691"/>
                  </a:lnTo>
                  <a:lnTo>
                    <a:pt x="698" y="689"/>
                  </a:lnTo>
                  <a:lnTo>
                    <a:pt x="698" y="689"/>
                  </a:lnTo>
                  <a:lnTo>
                    <a:pt x="682" y="689"/>
                  </a:lnTo>
                  <a:lnTo>
                    <a:pt x="682" y="689"/>
                  </a:lnTo>
                  <a:lnTo>
                    <a:pt x="682" y="684"/>
                  </a:lnTo>
                  <a:lnTo>
                    <a:pt x="682" y="677"/>
                  </a:lnTo>
                  <a:lnTo>
                    <a:pt x="684" y="665"/>
                  </a:lnTo>
                  <a:lnTo>
                    <a:pt x="684" y="665"/>
                  </a:lnTo>
                  <a:lnTo>
                    <a:pt x="688" y="645"/>
                  </a:lnTo>
                  <a:lnTo>
                    <a:pt x="686" y="642"/>
                  </a:lnTo>
                  <a:lnTo>
                    <a:pt x="686" y="642"/>
                  </a:lnTo>
                  <a:lnTo>
                    <a:pt x="682" y="642"/>
                  </a:lnTo>
                  <a:lnTo>
                    <a:pt x="681" y="644"/>
                  </a:lnTo>
                  <a:lnTo>
                    <a:pt x="681" y="644"/>
                  </a:lnTo>
                  <a:lnTo>
                    <a:pt x="677" y="645"/>
                  </a:lnTo>
                  <a:lnTo>
                    <a:pt x="674" y="645"/>
                  </a:lnTo>
                  <a:lnTo>
                    <a:pt x="670" y="639"/>
                  </a:lnTo>
                  <a:lnTo>
                    <a:pt x="667" y="628"/>
                  </a:lnTo>
                  <a:lnTo>
                    <a:pt x="663" y="625"/>
                  </a:lnTo>
                  <a:lnTo>
                    <a:pt x="660" y="621"/>
                  </a:lnTo>
                  <a:lnTo>
                    <a:pt x="660" y="621"/>
                  </a:lnTo>
                  <a:lnTo>
                    <a:pt x="655" y="619"/>
                  </a:lnTo>
                  <a:lnTo>
                    <a:pt x="653" y="616"/>
                  </a:lnTo>
                  <a:lnTo>
                    <a:pt x="648" y="609"/>
                  </a:lnTo>
                  <a:lnTo>
                    <a:pt x="646" y="607"/>
                  </a:lnTo>
                  <a:lnTo>
                    <a:pt x="644" y="605"/>
                  </a:lnTo>
                  <a:lnTo>
                    <a:pt x="641" y="605"/>
                  </a:lnTo>
                  <a:lnTo>
                    <a:pt x="637" y="607"/>
                  </a:lnTo>
                  <a:lnTo>
                    <a:pt x="637" y="607"/>
                  </a:lnTo>
                  <a:lnTo>
                    <a:pt x="628" y="612"/>
                  </a:lnTo>
                  <a:lnTo>
                    <a:pt x="621" y="614"/>
                  </a:lnTo>
                  <a:lnTo>
                    <a:pt x="614" y="614"/>
                  </a:lnTo>
                  <a:lnTo>
                    <a:pt x="608" y="612"/>
                  </a:lnTo>
                  <a:lnTo>
                    <a:pt x="590" y="611"/>
                  </a:lnTo>
                  <a:lnTo>
                    <a:pt x="580" y="611"/>
                  </a:lnTo>
                  <a:lnTo>
                    <a:pt x="567" y="612"/>
                  </a:lnTo>
                  <a:lnTo>
                    <a:pt x="567" y="612"/>
                  </a:lnTo>
                  <a:lnTo>
                    <a:pt x="554" y="616"/>
                  </a:lnTo>
                  <a:lnTo>
                    <a:pt x="543" y="618"/>
                  </a:lnTo>
                  <a:lnTo>
                    <a:pt x="540" y="616"/>
                  </a:lnTo>
                  <a:lnTo>
                    <a:pt x="538" y="614"/>
                  </a:lnTo>
                  <a:lnTo>
                    <a:pt x="531" y="605"/>
                  </a:lnTo>
                  <a:lnTo>
                    <a:pt x="531" y="605"/>
                  </a:lnTo>
                  <a:lnTo>
                    <a:pt x="512" y="581"/>
                  </a:lnTo>
                  <a:lnTo>
                    <a:pt x="512" y="581"/>
                  </a:lnTo>
                  <a:lnTo>
                    <a:pt x="510" y="578"/>
                  </a:lnTo>
                  <a:lnTo>
                    <a:pt x="510" y="576"/>
                  </a:lnTo>
                  <a:lnTo>
                    <a:pt x="510" y="576"/>
                  </a:lnTo>
                  <a:lnTo>
                    <a:pt x="510" y="567"/>
                  </a:lnTo>
                  <a:lnTo>
                    <a:pt x="510" y="564"/>
                  </a:lnTo>
                  <a:lnTo>
                    <a:pt x="512" y="562"/>
                  </a:lnTo>
                  <a:lnTo>
                    <a:pt x="515" y="560"/>
                  </a:lnTo>
                  <a:lnTo>
                    <a:pt x="524" y="555"/>
                  </a:lnTo>
                  <a:lnTo>
                    <a:pt x="531" y="551"/>
                  </a:lnTo>
                  <a:lnTo>
                    <a:pt x="540" y="543"/>
                  </a:lnTo>
                  <a:lnTo>
                    <a:pt x="540" y="543"/>
                  </a:lnTo>
                  <a:lnTo>
                    <a:pt x="538" y="536"/>
                  </a:lnTo>
                  <a:lnTo>
                    <a:pt x="536" y="534"/>
                  </a:lnTo>
                  <a:lnTo>
                    <a:pt x="533" y="532"/>
                  </a:lnTo>
                  <a:lnTo>
                    <a:pt x="529" y="532"/>
                  </a:lnTo>
                  <a:lnTo>
                    <a:pt x="527" y="534"/>
                  </a:lnTo>
                  <a:lnTo>
                    <a:pt x="524" y="532"/>
                  </a:lnTo>
                  <a:lnTo>
                    <a:pt x="522" y="531"/>
                  </a:lnTo>
                  <a:lnTo>
                    <a:pt x="522" y="525"/>
                  </a:lnTo>
                  <a:lnTo>
                    <a:pt x="522" y="525"/>
                  </a:lnTo>
                  <a:lnTo>
                    <a:pt x="519" y="515"/>
                  </a:lnTo>
                  <a:lnTo>
                    <a:pt x="515" y="510"/>
                  </a:lnTo>
                  <a:lnTo>
                    <a:pt x="512" y="504"/>
                  </a:lnTo>
                  <a:lnTo>
                    <a:pt x="507" y="494"/>
                  </a:lnTo>
                  <a:lnTo>
                    <a:pt x="507" y="494"/>
                  </a:lnTo>
                  <a:lnTo>
                    <a:pt x="505" y="489"/>
                  </a:lnTo>
                  <a:lnTo>
                    <a:pt x="507" y="485"/>
                  </a:lnTo>
                  <a:lnTo>
                    <a:pt x="507" y="484"/>
                  </a:lnTo>
                  <a:lnTo>
                    <a:pt x="510" y="485"/>
                  </a:lnTo>
                  <a:lnTo>
                    <a:pt x="515" y="485"/>
                  </a:lnTo>
                  <a:lnTo>
                    <a:pt x="517" y="484"/>
                  </a:lnTo>
                  <a:lnTo>
                    <a:pt x="517" y="480"/>
                  </a:lnTo>
                  <a:lnTo>
                    <a:pt x="517" y="480"/>
                  </a:lnTo>
                  <a:lnTo>
                    <a:pt x="517" y="475"/>
                  </a:lnTo>
                  <a:lnTo>
                    <a:pt x="519" y="473"/>
                  </a:lnTo>
                  <a:lnTo>
                    <a:pt x="524" y="470"/>
                  </a:lnTo>
                  <a:lnTo>
                    <a:pt x="526" y="468"/>
                  </a:lnTo>
                  <a:lnTo>
                    <a:pt x="527" y="466"/>
                  </a:lnTo>
                  <a:lnTo>
                    <a:pt x="527" y="461"/>
                  </a:lnTo>
                  <a:lnTo>
                    <a:pt x="527" y="454"/>
                  </a:lnTo>
                  <a:lnTo>
                    <a:pt x="527" y="454"/>
                  </a:lnTo>
                  <a:lnTo>
                    <a:pt x="527" y="450"/>
                  </a:lnTo>
                  <a:lnTo>
                    <a:pt x="526" y="449"/>
                  </a:lnTo>
                  <a:lnTo>
                    <a:pt x="522" y="449"/>
                  </a:lnTo>
                  <a:lnTo>
                    <a:pt x="520" y="449"/>
                  </a:lnTo>
                  <a:lnTo>
                    <a:pt x="515" y="454"/>
                  </a:lnTo>
                  <a:lnTo>
                    <a:pt x="512" y="461"/>
                  </a:lnTo>
                  <a:lnTo>
                    <a:pt x="512" y="461"/>
                  </a:lnTo>
                  <a:lnTo>
                    <a:pt x="510" y="464"/>
                  </a:lnTo>
                  <a:lnTo>
                    <a:pt x="508" y="466"/>
                  </a:lnTo>
                  <a:lnTo>
                    <a:pt x="503" y="470"/>
                  </a:lnTo>
                  <a:lnTo>
                    <a:pt x="501" y="470"/>
                  </a:lnTo>
                  <a:lnTo>
                    <a:pt x="500" y="468"/>
                  </a:lnTo>
                  <a:lnTo>
                    <a:pt x="500" y="466"/>
                  </a:lnTo>
                  <a:lnTo>
                    <a:pt x="501" y="461"/>
                  </a:lnTo>
                  <a:lnTo>
                    <a:pt x="501" y="461"/>
                  </a:lnTo>
                  <a:lnTo>
                    <a:pt x="503" y="457"/>
                  </a:lnTo>
                  <a:lnTo>
                    <a:pt x="501" y="454"/>
                  </a:lnTo>
                  <a:lnTo>
                    <a:pt x="500" y="452"/>
                  </a:lnTo>
                  <a:lnTo>
                    <a:pt x="496" y="452"/>
                  </a:lnTo>
                  <a:lnTo>
                    <a:pt x="486" y="454"/>
                  </a:lnTo>
                  <a:lnTo>
                    <a:pt x="472" y="461"/>
                  </a:lnTo>
                  <a:lnTo>
                    <a:pt x="472" y="461"/>
                  </a:lnTo>
                  <a:lnTo>
                    <a:pt x="466" y="464"/>
                  </a:lnTo>
                  <a:lnTo>
                    <a:pt x="465" y="466"/>
                  </a:lnTo>
                  <a:lnTo>
                    <a:pt x="465" y="468"/>
                  </a:lnTo>
                  <a:lnTo>
                    <a:pt x="468" y="470"/>
                  </a:lnTo>
                  <a:lnTo>
                    <a:pt x="473" y="475"/>
                  </a:lnTo>
                  <a:lnTo>
                    <a:pt x="473" y="477"/>
                  </a:lnTo>
                  <a:lnTo>
                    <a:pt x="473" y="482"/>
                  </a:lnTo>
                  <a:lnTo>
                    <a:pt x="473" y="482"/>
                  </a:lnTo>
                  <a:lnTo>
                    <a:pt x="472" y="485"/>
                  </a:lnTo>
                  <a:lnTo>
                    <a:pt x="468" y="485"/>
                  </a:lnTo>
                  <a:lnTo>
                    <a:pt x="466" y="485"/>
                  </a:lnTo>
                  <a:lnTo>
                    <a:pt x="465" y="482"/>
                  </a:lnTo>
                  <a:lnTo>
                    <a:pt x="460" y="477"/>
                  </a:lnTo>
                  <a:lnTo>
                    <a:pt x="456" y="475"/>
                  </a:lnTo>
                  <a:lnTo>
                    <a:pt x="454" y="477"/>
                  </a:lnTo>
                  <a:lnTo>
                    <a:pt x="454" y="477"/>
                  </a:lnTo>
                  <a:lnTo>
                    <a:pt x="451" y="478"/>
                  </a:lnTo>
                  <a:lnTo>
                    <a:pt x="451" y="478"/>
                  </a:lnTo>
                  <a:lnTo>
                    <a:pt x="453" y="482"/>
                  </a:lnTo>
                  <a:lnTo>
                    <a:pt x="454" y="485"/>
                  </a:lnTo>
                  <a:lnTo>
                    <a:pt x="454" y="489"/>
                  </a:lnTo>
                  <a:lnTo>
                    <a:pt x="451" y="491"/>
                  </a:lnTo>
                  <a:lnTo>
                    <a:pt x="451" y="491"/>
                  </a:lnTo>
                  <a:lnTo>
                    <a:pt x="447" y="492"/>
                  </a:lnTo>
                  <a:lnTo>
                    <a:pt x="444" y="494"/>
                  </a:lnTo>
                  <a:lnTo>
                    <a:pt x="437" y="494"/>
                  </a:lnTo>
                  <a:lnTo>
                    <a:pt x="433" y="494"/>
                  </a:lnTo>
                  <a:lnTo>
                    <a:pt x="430" y="497"/>
                  </a:lnTo>
                  <a:lnTo>
                    <a:pt x="426" y="504"/>
                  </a:lnTo>
                  <a:lnTo>
                    <a:pt x="421" y="513"/>
                  </a:lnTo>
                  <a:lnTo>
                    <a:pt x="421" y="513"/>
                  </a:lnTo>
                  <a:lnTo>
                    <a:pt x="406" y="517"/>
                  </a:lnTo>
                  <a:lnTo>
                    <a:pt x="381" y="525"/>
                  </a:lnTo>
                  <a:lnTo>
                    <a:pt x="338" y="539"/>
                  </a:lnTo>
                  <a:lnTo>
                    <a:pt x="338" y="539"/>
                  </a:lnTo>
                  <a:lnTo>
                    <a:pt x="332" y="541"/>
                  </a:lnTo>
                  <a:lnTo>
                    <a:pt x="331" y="543"/>
                  </a:lnTo>
                  <a:lnTo>
                    <a:pt x="331" y="557"/>
                  </a:lnTo>
                  <a:lnTo>
                    <a:pt x="331" y="557"/>
                  </a:lnTo>
                  <a:lnTo>
                    <a:pt x="331" y="722"/>
                  </a:lnTo>
                  <a:lnTo>
                    <a:pt x="331" y="722"/>
                  </a:lnTo>
                  <a:lnTo>
                    <a:pt x="324" y="724"/>
                  </a:lnTo>
                  <a:lnTo>
                    <a:pt x="318" y="726"/>
                  </a:lnTo>
                  <a:lnTo>
                    <a:pt x="313" y="726"/>
                  </a:lnTo>
                  <a:lnTo>
                    <a:pt x="312" y="724"/>
                  </a:lnTo>
                  <a:lnTo>
                    <a:pt x="308" y="720"/>
                  </a:lnTo>
                  <a:lnTo>
                    <a:pt x="308" y="720"/>
                  </a:lnTo>
                  <a:lnTo>
                    <a:pt x="296" y="698"/>
                  </a:lnTo>
                  <a:lnTo>
                    <a:pt x="292" y="691"/>
                  </a:lnTo>
                  <a:lnTo>
                    <a:pt x="289" y="687"/>
                  </a:lnTo>
                  <a:lnTo>
                    <a:pt x="289" y="687"/>
                  </a:lnTo>
                  <a:lnTo>
                    <a:pt x="275" y="677"/>
                  </a:lnTo>
                  <a:lnTo>
                    <a:pt x="264" y="673"/>
                  </a:lnTo>
                  <a:lnTo>
                    <a:pt x="261" y="673"/>
                  </a:lnTo>
                  <a:lnTo>
                    <a:pt x="256" y="673"/>
                  </a:lnTo>
                  <a:lnTo>
                    <a:pt x="256" y="673"/>
                  </a:lnTo>
                  <a:lnTo>
                    <a:pt x="237" y="677"/>
                  </a:lnTo>
                  <a:lnTo>
                    <a:pt x="228" y="682"/>
                  </a:lnTo>
                  <a:lnTo>
                    <a:pt x="221" y="686"/>
                  </a:lnTo>
                  <a:lnTo>
                    <a:pt x="221" y="686"/>
                  </a:lnTo>
                  <a:lnTo>
                    <a:pt x="205" y="701"/>
                  </a:lnTo>
                  <a:lnTo>
                    <a:pt x="205" y="701"/>
                  </a:lnTo>
                  <a:lnTo>
                    <a:pt x="204" y="691"/>
                  </a:lnTo>
                  <a:lnTo>
                    <a:pt x="205" y="682"/>
                  </a:lnTo>
                  <a:lnTo>
                    <a:pt x="209" y="677"/>
                  </a:lnTo>
                  <a:lnTo>
                    <a:pt x="212" y="670"/>
                  </a:lnTo>
                  <a:lnTo>
                    <a:pt x="216" y="666"/>
                  </a:lnTo>
                  <a:lnTo>
                    <a:pt x="217" y="661"/>
                  </a:lnTo>
                  <a:lnTo>
                    <a:pt x="216" y="656"/>
                  </a:lnTo>
                  <a:lnTo>
                    <a:pt x="212" y="651"/>
                  </a:lnTo>
                  <a:lnTo>
                    <a:pt x="212" y="651"/>
                  </a:lnTo>
                  <a:lnTo>
                    <a:pt x="205" y="647"/>
                  </a:lnTo>
                  <a:lnTo>
                    <a:pt x="202" y="645"/>
                  </a:lnTo>
                  <a:lnTo>
                    <a:pt x="197" y="645"/>
                  </a:lnTo>
                  <a:lnTo>
                    <a:pt x="195" y="645"/>
                  </a:lnTo>
                  <a:lnTo>
                    <a:pt x="191" y="647"/>
                  </a:lnTo>
                  <a:lnTo>
                    <a:pt x="190" y="647"/>
                  </a:lnTo>
                  <a:lnTo>
                    <a:pt x="186" y="645"/>
                  </a:lnTo>
                  <a:lnTo>
                    <a:pt x="184" y="640"/>
                  </a:lnTo>
                  <a:lnTo>
                    <a:pt x="184" y="640"/>
                  </a:lnTo>
                  <a:lnTo>
                    <a:pt x="181" y="635"/>
                  </a:lnTo>
                  <a:lnTo>
                    <a:pt x="177" y="633"/>
                  </a:lnTo>
                  <a:lnTo>
                    <a:pt x="174" y="632"/>
                  </a:lnTo>
                  <a:lnTo>
                    <a:pt x="170" y="633"/>
                  </a:lnTo>
                  <a:lnTo>
                    <a:pt x="165" y="633"/>
                  </a:lnTo>
                  <a:lnTo>
                    <a:pt x="165" y="632"/>
                  </a:lnTo>
                  <a:lnTo>
                    <a:pt x="164" y="630"/>
                  </a:lnTo>
                  <a:lnTo>
                    <a:pt x="164" y="630"/>
                  </a:lnTo>
                  <a:lnTo>
                    <a:pt x="164" y="619"/>
                  </a:lnTo>
                  <a:lnTo>
                    <a:pt x="158" y="604"/>
                  </a:lnTo>
                  <a:lnTo>
                    <a:pt x="155" y="595"/>
                  </a:lnTo>
                  <a:lnTo>
                    <a:pt x="151" y="586"/>
                  </a:lnTo>
                  <a:lnTo>
                    <a:pt x="146" y="581"/>
                  </a:lnTo>
                  <a:lnTo>
                    <a:pt x="141" y="579"/>
                  </a:lnTo>
                  <a:lnTo>
                    <a:pt x="141" y="579"/>
                  </a:lnTo>
                  <a:lnTo>
                    <a:pt x="136" y="578"/>
                  </a:lnTo>
                  <a:lnTo>
                    <a:pt x="130" y="576"/>
                  </a:lnTo>
                  <a:lnTo>
                    <a:pt x="127" y="574"/>
                  </a:lnTo>
                  <a:lnTo>
                    <a:pt x="125" y="571"/>
                  </a:lnTo>
                  <a:lnTo>
                    <a:pt x="125" y="567"/>
                  </a:lnTo>
                  <a:lnTo>
                    <a:pt x="129" y="564"/>
                  </a:lnTo>
                  <a:lnTo>
                    <a:pt x="132" y="562"/>
                  </a:lnTo>
                  <a:lnTo>
                    <a:pt x="139" y="560"/>
                  </a:lnTo>
                  <a:lnTo>
                    <a:pt x="139" y="560"/>
                  </a:lnTo>
                  <a:lnTo>
                    <a:pt x="146" y="560"/>
                  </a:lnTo>
                  <a:lnTo>
                    <a:pt x="150" y="560"/>
                  </a:lnTo>
                  <a:lnTo>
                    <a:pt x="151" y="562"/>
                  </a:lnTo>
                  <a:lnTo>
                    <a:pt x="153" y="564"/>
                  </a:lnTo>
                  <a:lnTo>
                    <a:pt x="155" y="565"/>
                  </a:lnTo>
                  <a:lnTo>
                    <a:pt x="157" y="567"/>
                  </a:lnTo>
                  <a:lnTo>
                    <a:pt x="162" y="569"/>
                  </a:lnTo>
                  <a:lnTo>
                    <a:pt x="169" y="569"/>
                  </a:lnTo>
                  <a:lnTo>
                    <a:pt x="169" y="569"/>
                  </a:lnTo>
                  <a:lnTo>
                    <a:pt x="174" y="567"/>
                  </a:lnTo>
                  <a:lnTo>
                    <a:pt x="174" y="565"/>
                  </a:lnTo>
                  <a:lnTo>
                    <a:pt x="174" y="564"/>
                  </a:lnTo>
                  <a:lnTo>
                    <a:pt x="164" y="557"/>
                  </a:lnTo>
                  <a:lnTo>
                    <a:pt x="158" y="553"/>
                  </a:lnTo>
                  <a:lnTo>
                    <a:pt x="155" y="548"/>
                  </a:lnTo>
                  <a:lnTo>
                    <a:pt x="153" y="546"/>
                  </a:lnTo>
                  <a:lnTo>
                    <a:pt x="153" y="545"/>
                  </a:lnTo>
                  <a:lnTo>
                    <a:pt x="155" y="543"/>
                  </a:lnTo>
                  <a:lnTo>
                    <a:pt x="158" y="541"/>
                  </a:lnTo>
                  <a:lnTo>
                    <a:pt x="158" y="541"/>
                  </a:lnTo>
                  <a:lnTo>
                    <a:pt x="164" y="539"/>
                  </a:lnTo>
                  <a:lnTo>
                    <a:pt x="165" y="538"/>
                  </a:lnTo>
                  <a:lnTo>
                    <a:pt x="165" y="536"/>
                  </a:lnTo>
                  <a:lnTo>
                    <a:pt x="165" y="534"/>
                  </a:lnTo>
                  <a:lnTo>
                    <a:pt x="164" y="532"/>
                  </a:lnTo>
                  <a:lnTo>
                    <a:pt x="164" y="531"/>
                  </a:lnTo>
                  <a:lnTo>
                    <a:pt x="165" y="529"/>
                  </a:lnTo>
                  <a:lnTo>
                    <a:pt x="169" y="525"/>
                  </a:lnTo>
                  <a:lnTo>
                    <a:pt x="169" y="525"/>
                  </a:lnTo>
                  <a:lnTo>
                    <a:pt x="177" y="522"/>
                  </a:lnTo>
                  <a:lnTo>
                    <a:pt x="181" y="522"/>
                  </a:lnTo>
                  <a:lnTo>
                    <a:pt x="186" y="525"/>
                  </a:lnTo>
                  <a:lnTo>
                    <a:pt x="190" y="525"/>
                  </a:lnTo>
                  <a:lnTo>
                    <a:pt x="195" y="524"/>
                  </a:lnTo>
                  <a:lnTo>
                    <a:pt x="195" y="524"/>
                  </a:lnTo>
                  <a:lnTo>
                    <a:pt x="202" y="524"/>
                  </a:lnTo>
                  <a:lnTo>
                    <a:pt x="211" y="524"/>
                  </a:lnTo>
                  <a:lnTo>
                    <a:pt x="224" y="527"/>
                  </a:lnTo>
                  <a:lnTo>
                    <a:pt x="230" y="527"/>
                  </a:lnTo>
                  <a:lnTo>
                    <a:pt x="231" y="527"/>
                  </a:lnTo>
                  <a:lnTo>
                    <a:pt x="230" y="524"/>
                  </a:lnTo>
                  <a:lnTo>
                    <a:pt x="224" y="518"/>
                  </a:lnTo>
                  <a:lnTo>
                    <a:pt x="224" y="518"/>
                  </a:lnTo>
                  <a:lnTo>
                    <a:pt x="219" y="513"/>
                  </a:lnTo>
                  <a:lnTo>
                    <a:pt x="219" y="508"/>
                  </a:lnTo>
                  <a:lnTo>
                    <a:pt x="221" y="503"/>
                  </a:lnTo>
                  <a:lnTo>
                    <a:pt x="224" y="496"/>
                  </a:lnTo>
                  <a:lnTo>
                    <a:pt x="230" y="484"/>
                  </a:lnTo>
                  <a:lnTo>
                    <a:pt x="231" y="478"/>
                  </a:lnTo>
                  <a:lnTo>
                    <a:pt x="230" y="475"/>
                  </a:lnTo>
                  <a:lnTo>
                    <a:pt x="230" y="475"/>
                  </a:lnTo>
                  <a:lnTo>
                    <a:pt x="226" y="468"/>
                  </a:lnTo>
                  <a:lnTo>
                    <a:pt x="228" y="463"/>
                  </a:lnTo>
                  <a:lnTo>
                    <a:pt x="230" y="459"/>
                  </a:lnTo>
                  <a:lnTo>
                    <a:pt x="228" y="454"/>
                  </a:lnTo>
                  <a:lnTo>
                    <a:pt x="228" y="454"/>
                  </a:lnTo>
                  <a:lnTo>
                    <a:pt x="224" y="447"/>
                  </a:lnTo>
                  <a:lnTo>
                    <a:pt x="217" y="444"/>
                  </a:lnTo>
                  <a:lnTo>
                    <a:pt x="209" y="444"/>
                  </a:lnTo>
                  <a:lnTo>
                    <a:pt x="205" y="445"/>
                  </a:lnTo>
                  <a:lnTo>
                    <a:pt x="204" y="447"/>
                  </a:lnTo>
                  <a:lnTo>
                    <a:pt x="204" y="447"/>
                  </a:lnTo>
                  <a:lnTo>
                    <a:pt x="198" y="452"/>
                  </a:lnTo>
                  <a:lnTo>
                    <a:pt x="195" y="452"/>
                  </a:lnTo>
                  <a:lnTo>
                    <a:pt x="179" y="444"/>
                  </a:lnTo>
                  <a:lnTo>
                    <a:pt x="179" y="444"/>
                  </a:lnTo>
                  <a:lnTo>
                    <a:pt x="172" y="440"/>
                  </a:lnTo>
                  <a:lnTo>
                    <a:pt x="167" y="438"/>
                  </a:lnTo>
                  <a:lnTo>
                    <a:pt x="160" y="438"/>
                  </a:lnTo>
                  <a:lnTo>
                    <a:pt x="153" y="440"/>
                  </a:lnTo>
                  <a:lnTo>
                    <a:pt x="148" y="442"/>
                  </a:lnTo>
                  <a:lnTo>
                    <a:pt x="141" y="445"/>
                  </a:lnTo>
                  <a:lnTo>
                    <a:pt x="127" y="457"/>
                  </a:lnTo>
                  <a:lnTo>
                    <a:pt x="127" y="457"/>
                  </a:lnTo>
                  <a:lnTo>
                    <a:pt x="120" y="463"/>
                  </a:lnTo>
                  <a:lnTo>
                    <a:pt x="113" y="466"/>
                  </a:lnTo>
                  <a:lnTo>
                    <a:pt x="104" y="466"/>
                  </a:lnTo>
                  <a:lnTo>
                    <a:pt x="97" y="468"/>
                  </a:lnTo>
                  <a:lnTo>
                    <a:pt x="94" y="470"/>
                  </a:lnTo>
                  <a:lnTo>
                    <a:pt x="90" y="475"/>
                  </a:lnTo>
                  <a:lnTo>
                    <a:pt x="90" y="475"/>
                  </a:lnTo>
                  <a:lnTo>
                    <a:pt x="89" y="480"/>
                  </a:lnTo>
                  <a:lnTo>
                    <a:pt x="87" y="484"/>
                  </a:lnTo>
                  <a:lnTo>
                    <a:pt x="80" y="487"/>
                  </a:lnTo>
                  <a:lnTo>
                    <a:pt x="76" y="491"/>
                  </a:lnTo>
                  <a:lnTo>
                    <a:pt x="75" y="492"/>
                  </a:lnTo>
                  <a:lnTo>
                    <a:pt x="75" y="496"/>
                  </a:lnTo>
                  <a:lnTo>
                    <a:pt x="75" y="496"/>
                  </a:lnTo>
                  <a:lnTo>
                    <a:pt x="75" y="489"/>
                  </a:lnTo>
                  <a:lnTo>
                    <a:pt x="76" y="485"/>
                  </a:lnTo>
                  <a:lnTo>
                    <a:pt x="80" y="482"/>
                  </a:lnTo>
                  <a:lnTo>
                    <a:pt x="83" y="471"/>
                  </a:lnTo>
                  <a:lnTo>
                    <a:pt x="83" y="471"/>
                  </a:lnTo>
                  <a:lnTo>
                    <a:pt x="73" y="466"/>
                  </a:lnTo>
                  <a:lnTo>
                    <a:pt x="69" y="463"/>
                  </a:lnTo>
                  <a:lnTo>
                    <a:pt x="71" y="461"/>
                  </a:lnTo>
                  <a:lnTo>
                    <a:pt x="75" y="457"/>
                  </a:lnTo>
                  <a:lnTo>
                    <a:pt x="78" y="456"/>
                  </a:lnTo>
                  <a:lnTo>
                    <a:pt x="82" y="450"/>
                  </a:lnTo>
                  <a:lnTo>
                    <a:pt x="82" y="447"/>
                  </a:lnTo>
                  <a:lnTo>
                    <a:pt x="80" y="444"/>
                  </a:lnTo>
                  <a:lnTo>
                    <a:pt x="73" y="431"/>
                  </a:lnTo>
                  <a:lnTo>
                    <a:pt x="73" y="431"/>
                  </a:lnTo>
                  <a:lnTo>
                    <a:pt x="56" y="412"/>
                  </a:lnTo>
                  <a:lnTo>
                    <a:pt x="45" y="403"/>
                  </a:lnTo>
                  <a:lnTo>
                    <a:pt x="42" y="402"/>
                  </a:lnTo>
                  <a:lnTo>
                    <a:pt x="38" y="402"/>
                  </a:lnTo>
                  <a:lnTo>
                    <a:pt x="31" y="403"/>
                  </a:lnTo>
                  <a:lnTo>
                    <a:pt x="31" y="403"/>
                  </a:lnTo>
                  <a:lnTo>
                    <a:pt x="26" y="403"/>
                  </a:lnTo>
                  <a:lnTo>
                    <a:pt x="24" y="402"/>
                  </a:lnTo>
                  <a:lnTo>
                    <a:pt x="22" y="393"/>
                  </a:lnTo>
                  <a:lnTo>
                    <a:pt x="22" y="388"/>
                  </a:lnTo>
                  <a:lnTo>
                    <a:pt x="19" y="383"/>
                  </a:lnTo>
                  <a:lnTo>
                    <a:pt x="16" y="377"/>
                  </a:lnTo>
                  <a:lnTo>
                    <a:pt x="9" y="374"/>
                  </a:lnTo>
                  <a:lnTo>
                    <a:pt x="9" y="374"/>
                  </a:lnTo>
                  <a:lnTo>
                    <a:pt x="5" y="372"/>
                  </a:lnTo>
                  <a:lnTo>
                    <a:pt x="2" y="370"/>
                  </a:lnTo>
                  <a:lnTo>
                    <a:pt x="0" y="367"/>
                  </a:lnTo>
                  <a:lnTo>
                    <a:pt x="0" y="365"/>
                  </a:lnTo>
                  <a:lnTo>
                    <a:pt x="2" y="358"/>
                  </a:lnTo>
                  <a:lnTo>
                    <a:pt x="5" y="349"/>
                  </a:lnTo>
                  <a:lnTo>
                    <a:pt x="10" y="341"/>
                  </a:lnTo>
                  <a:lnTo>
                    <a:pt x="12" y="334"/>
                  </a:lnTo>
                  <a:lnTo>
                    <a:pt x="14" y="327"/>
                  </a:lnTo>
                  <a:lnTo>
                    <a:pt x="12" y="323"/>
                  </a:lnTo>
                  <a:lnTo>
                    <a:pt x="10" y="320"/>
                  </a:lnTo>
                  <a:lnTo>
                    <a:pt x="10" y="320"/>
                  </a:lnTo>
                  <a:lnTo>
                    <a:pt x="9" y="316"/>
                  </a:lnTo>
                  <a:lnTo>
                    <a:pt x="9" y="313"/>
                  </a:lnTo>
                  <a:lnTo>
                    <a:pt x="9" y="304"/>
                  </a:lnTo>
                  <a:lnTo>
                    <a:pt x="12" y="294"/>
                  </a:lnTo>
                  <a:lnTo>
                    <a:pt x="17" y="285"/>
                  </a:lnTo>
                  <a:lnTo>
                    <a:pt x="24" y="276"/>
                  </a:lnTo>
                  <a:lnTo>
                    <a:pt x="31" y="271"/>
                  </a:lnTo>
                  <a:lnTo>
                    <a:pt x="36" y="268"/>
                  </a:lnTo>
                  <a:lnTo>
                    <a:pt x="40" y="269"/>
                  </a:lnTo>
                  <a:lnTo>
                    <a:pt x="42" y="271"/>
                  </a:lnTo>
                  <a:lnTo>
                    <a:pt x="42" y="271"/>
                  </a:lnTo>
                  <a:lnTo>
                    <a:pt x="50" y="283"/>
                  </a:lnTo>
                  <a:lnTo>
                    <a:pt x="59" y="292"/>
                  </a:lnTo>
                  <a:lnTo>
                    <a:pt x="64" y="296"/>
                  </a:lnTo>
                  <a:lnTo>
                    <a:pt x="69" y="297"/>
                  </a:lnTo>
                  <a:lnTo>
                    <a:pt x="73" y="294"/>
                  </a:lnTo>
                  <a:lnTo>
                    <a:pt x="75" y="289"/>
                  </a:lnTo>
                  <a:lnTo>
                    <a:pt x="76" y="280"/>
                  </a:lnTo>
                  <a:lnTo>
                    <a:pt x="76" y="269"/>
                  </a:lnTo>
                  <a:lnTo>
                    <a:pt x="76" y="269"/>
                  </a:lnTo>
                  <a:lnTo>
                    <a:pt x="76" y="264"/>
                  </a:lnTo>
                  <a:lnTo>
                    <a:pt x="76" y="259"/>
                  </a:lnTo>
                  <a:lnTo>
                    <a:pt x="82" y="250"/>
                  </a:lnTo>
                  <a:lnTo>
                    <a:pt x="90" y="243"/>
                  </a:lnTo>
                  <a:lnTo>
                    <a:pt x="101" y="236"/>
                  </a:lnTo>
                  <a:lnTo>
                    <a:pt x="122" y="224"/>
                  </a:lnTo>
                  <a:lnTo>
                    <a:pt x="132" y="215"/>
                  </a:lnTo>
                  <a:lnTo>
                    <a:pt x="141" y="207"/>
                  </a:lnTo>
                  <a:lnTo>
                    <a:pt x="141" y="207"/>
                  </a:lnTo>
                  <a:lnTo>
                    <a:pt x="146" y="202"/>
                  </a:lnTo>
                  <a:lnTo>
                    <a:pt x="151" y="200"/>
                  </a:lnTo>
                  <a:lnTo>
                    <a:pt x="157" y="202"/>
                  </a:lnTo>
                  <a:lnTo>
                    <a:pt x="160" y="205"/>
                  </a:lnTo>
                  <a:lnTo>
                    <a:pt x="165" y="208"/>
                  </a:lnTo>
                  <a:lnTo>
                    <a:pt x="170" y="210"/>
                  </a:lnTo>
                  <a:lnTo>
                    <a:pt x="177" y="210"/>
                  </a:lnTo>
                  <a:lnTo>
                    <a:pt x="184" y="205"/>
                  </a:lnTo>
                  <a:lnTo>
                    <a:pt x="184" y="205"/>
                  </a:lnTo>
                  <a:lnTo>
                    <a:pt x="193" y="200"/>
                  </a:lnTo>
                  <a:lnTo>
                    <a:pt x="198" y="198"/>
                  </a:lnTo>
                  <a:lnTo>
                    <a:pt x="202" y="198"/>
                  </a:lnTo>
                  <a:lnTo>
                    <a:pt x="205" y="200"/>
                  </a:lnTo>
                  <a:lnTo>
                    <a:pt x="217" y="207"/>
                  </a:lnTo>
                  <a:lnTo>
                    <a:pt x="226" y="210"/>
                  </a:lnTo>
                  <a:lnTo>
                    <a:pt x="237" y="212"/>
                  </a:lnTo>
                  <a:lnTo>
                    <a:pt x="237" y="212"/>
                  </a:lnTo>
                  <a:lnTo>
                    <a:pt x="244" y="214"/>
                  </a:lnTo>
                  <a:lnTo>
                    <a:pt x="251" y="217"/>
                  </a:lnTo>
                  <a:lnTo>
                    <a:pt x="263" y="224"/>
                  </a:lnTo>
                  <a:lnTo>
                    <a:pt x="289" y="243"/>
                  </a:lnTo>
                  <a:lnTo>
                    <a:pt x="299" y="252"/>
                  </a:lnTo>
                  <a:lnTo>
                    <a:pt x="310" y="259"/>
                  </a:lnTo>
                  <a:lnTo>
                    <a:pt x="315" y="259"/>
                  </a:lnTo>
                  <a:lnTo>
                    <a:pt x="320" y="259"/>
                  </a:lnTo>
                  <a:lnTo>
                    <a:pt x="325" y="257"/>
                  </a:lnTo>
                  <a:lnTo>
                    <a:pt x="329" y="255"/>
                  </a:lnTo>
                  <a:lnTo>
                    <a:pt x="329" y="255"/>
                  </a:lnTo>
                  <a:lnTo>
                    <a:pt x="339" y="243"/>
                  </a:lnTo>
                  <a:lnTo>
                    <a:pt x="350" y="236"/>
                  </a:lnTo>
                  <a:lnTo>
                    <a:pt x="355" y="235"/>
                  </a:lnTo>
                  <a:lnTo>
                    <a:pt x="362" y="233"/>
                  </a:lnTo>
                  <a:lnTo>
                    <a:pt x="367" y="235"/>
                  </a:lnTo>
                  <a:lnTo>
                    <a:pt x="374" y="238"/>
                  </a:lnTo>
                  <a:lnTo>
                    <a:pt x="374" y="238"/>
                  </a:lnTo>
                  <a:lnTo>
                    <a:pt x="381" y="240"/>
                  </a:lnTo>
                  <a:lnTo>
                    <a:pt x="386" y="240"/>
                  </a:lnTo>
                  <a:lnTo>
                    <a:pt x="395" y="236"/>
                  </a:lnTo>
                  <a:lnTo>
                    <a:pt x="400" y="235"/>
                  </a:lnTo>
                  <a:lnTo>
                    <a:pt x="409" y="235"/>
                  </a:lnTo>
                  <a:lnTo>
                    <a:pt x="419" y="238"/>
                  </a:lnTo>
                  <a:lnTo>
                    <a:pt x="433" y="249"/>
                  </a:lnTo>
                  <a:lnTo>
                    <a:pt x="433" y="249"/>
                  </a:lnTo>
                  <a:lnTo>
                    <a:pt x="447" y="255"/>
                  </a:lnTo>
                  <a:lnTo>
                    <a:pt x="456" y="259"/>
                  </a:lnTo>
                  <a:lnTo>
                    <a:pt x="461" y="257"/>
                  </a:lnTo>
                  <a:lnTo>
                    <a:pt x="465" y="254"/>
                  </a:lnTo>
                  <a:lnTo>
                    <a:pt x="466" y="249"/>
                  </a:lnTo>
                  <a:lnTo>
                    <a:pt x="470" y="245"/>
                  </a:lnTo>
                  <a:lnTo>
                    <a:pt x="472" y="245"/>
                  </a:lnTo>
                  <a:lnTo>
                    <a:pt x="475" y="245"/>
                  </a:lnTo>
                  <a:lnTo>
                    <a:pt x="484" y="249"/>
                  </a:lnTo>
                  <a:lnTo>
                    <a:pt x="484" y="249"/>
                  </a:lnTo>
                  <a:lnTo>
                    <a:pt x="489" y="252"/>
                  </a:lnTo>
                  <a:lnTo>
                    <a:pt x="494" y="254"/>
                  </a:lnTo>
                  <a:lnTo>
                    <a:pt x="500" y="254"/>
                  </a:lnTo>
                  <a:lnTo>
                    <a:pt x="505" y="254"/>
                  </a:lnTo>
                  <a:lnTo>
                    <a:pt x="515" y="249"/>
                  </a:lnTo>
                  <a:lnTo>
                    <a:pt x="522" y="242"/>
                  </a:lnTo>
                  <a:lnTo>
                    <a:pt x="526" y="235"/>
                  </a:lnTo>
                  <a:lnTo>
                    <a:pt x="527" y="229"/>
                  </a:lnTo>
                  <a:lnTo>
                    <a:pt x="526" y="224"/>
                  </a:lnTo>
                  <a:lnTo>
                    <a:pt x="524" y="221"/>
                  </a:lnTo>
                  <a:lnTo>
                    <a:pt x="520" y="215"/>
                  </a:lnTo>
                  <a:lnTo>
                    <a:pt x="515" y="212"/>
                  </a:lnTo>
                  <a:lnTo>
                    <a:pt x="508" y="208"/>
                  </a:lnTo>
                  <a:lnTo>
                    <a:pt x="508" y="208"/>
                  </a:lnTo>
                  <a:lnTo>
                    <a:pt x="487" y="200"/>
                  </a:lnTo>
                  <a:lnTo>
                    <a:pt x="482" y="195"/>
                  </a:lnTo>
                  <a:lnTo>
                    <a:pt x="480" y="191"/>
                  </a:lnTo>
                  <a:lnTo>
                    <a:pt x="479" y="189"/>
                  </a:lnTo>
                  <a:lnTo>
                    <a:pt x="480" y="186"/>
                  </a:lnTo>
                  <a:lnTo>
                    <a:pt x="487" y="181"/>
                  </a:lnTo>
                  <a:lnTo>
                    <a:pt x="496" y="177"/>
                  </a:lnTo>
                  <a:lnTo>
                    <a:pt x="503" y="172"/>
                  </a:lnTo>
                  <a:lnTo>
                    <a:pt x="505" y="168"/>
                  </a:lnTo>
                  <a:lnTo>
                    <a:pt x="505" y="165"/>
                  </a:lnTo>
                  <a:lnTo>
                    <a:pt x="503" y="160"/>
                  </a:lnTo>
                  <a:lnTo>
                    <a:pt x="498" y="154"/>
                  </a:lnTo>
                  <a:lnTo>
                    <a:pt x="498" y="154"/>
                  </a:lnTo>
                  <a:lnTo>
                    <a:pt x="494" y="151"/>
                  </a:lnTo>
                  <a:lnTo>
                    <a:pt x="494" y="148"/>
                  </a:lnTo>
                  <a:lnTo>
                    <a:pt x="496" y="146"/>
                  </a:lnTo>
                  <a:lnTo>
                    <a:pt x="498" y="142"/>
                  </a:lnTo>
                  <a:lnTo>
                    <a:pt x="507" y="139"/>
                  </a:lnTo>
                  <a:lnTo>
                    <a:pt x="519" y="137"/>
                  </a:lnTo>
                  <a:lnTo>
                    <a:pt x="529" y="134"/>
                  </a:lnTo>
                  <a:lnTo>
                    <a:pt x="538" y="132"/>
                  </a:lnTo>
                  <a:lnTo>
                    <a:pt x="540" y="130"/>
                  </a:lnTo>
                  <a:lnTo>
                    <a:pt x="540" y="128"/>
                  </a:lnTo>
                  <a:lnTo>
                    <a:pt x="538" y="127"/>
                  </a:lnTo>
                  <a:lnTo>
                    <a:pt x="533" y="123"/>
                  </a:lnTo>
                  <a:lnTo>
                    <a:pt x="533" y="123"/>
                  </a:lnTo>
                  <a:lnTo>
                    <a:pt x="522" y="118"/>
                  </a:lnTo>
                  <a:lnTo>
                    <a:pt x="513" y="111"/>
                  </a:lnTo>
                  <a:lnTo>
                    <a:pt x="508" y="102"/>
                  </a:lnTo>
                  <a:lnTo>
                    <a:pt x="505" y="94"/>
                  </a:lnTo>
                  <a:lnTo>
                    <a:pt x="505" y="87"/>
                  </a:lnTo>
                  <a:lnTo>
                    <a:pt x="507" y="83"/>
                  </a:lnTo>
                  <a:lnTo>
                    <a:pt x="508" y="80"/>
                  </a:lnTo>
                  <a:lnTo>
                    <a:pt x="512" y="78"/>
                  </a:lnTo>
                  <a:lnTo>
                    <a:pt x="517" y="76"/>
                  </a:lnTo>
                  <a:lnTo>
                    <a:pt x="529" y="74"/>
                  </a:lnTo>
                  <a:lnTo>
                    <a:pt x="529" y="74"/>
                  </a:lnTo>
                  <a:lnTo>
                    <a:pt x="548" y="74"/>
                  </a:lnTo>
                  <a:lnTo>
                    <a:pt x="573" y="71"/>
                  </a:lnTo>
                  <a:lnTo>
                    <a:pt x="634" y="59"/>
                  </a:lnTo>
                  <a:lnTo>
                    <a:pt x="696" y="43"/>
                  </a:lnTo>
                  <a:lnTo>
                    <a:pt x="738" y="31"/>
                  </a:lnTo>
                  <a:lnTo>
                    <a:pt x="738" y="31"/>
                  </a:lnTo>
                  <a:lnTo>
                    <a:pt x="752" y="24"/>
                  </a:lnTo>
                  <a:lnTo>
                    <a:pt x="762" y="19"/>
                  </a:lnTo>
                  <a:lnTo>
                    <a:pt x="778" y="7"/>
                  </a:lnTo>
                  <a:lnTo>
                    <a:pt x="785" y="3"/>
                  </a:lnTo>
                  <a:lnTo>
                    <a:pt x="792" y="0"/>
                  </a:lnTo>
                  <a:lnTo>
                    <a:pt x="799" y="1"/>
                  </a:lnTo>
                  <a:lnTo>
                    <a:pt x="808" y="5"/>
                  </a:lnTo>
                  <a:lnTo>
                    <a:pt x="808" y="5"/>
                  </a:lnTo>
                  <a:lnTo>
                    <a:pt x="815" y="10"/>
                  </a:lnTo>
                  <a:lnTo>
                    <a:pt x="823" y="10"/>
                  </a:lnTo>
                  <a:lnTo>
                    <a:pt x="837" y="8"/>
                  </a:lnTo>
                  <a:lnTo>
                    <a:pt x="843" y="8"/>
                  </a:lnTo>
                  <a:lnTo>
                    <a:pt x="848" y="12"/>
                  </a:lnTo>
                  <a:lnTo>
                    <a:pt x="853" y="19"/>
                  </a:lnTo>
                  <a:lnTo>
                    <a:pt x="857" y="31"/>
                  </a:lnTo>
                  <a:lnTo>
                    <a:pt x="857" y="31"/>
                  </a:lnTo>
                  <a:lnTo>
                    <a:pt x="862" y="48"/>
                  </a:lnTo>
                  <a:lnTo>
                    <a:pt x="867" y="59"/>
                  </a:lnTo>
                  <a:lnTo>
                    <a:pt x="874" y="64"/>
                  </a:lnTo>
                  <a:lnTo>
                    <a:pt x="881" y="66"/>
                  </a:lnTo>
                  <a:lnTo>
                    <a:pt x="898" y="64"/>
                  </a:lnTo>
                  <a:lnTo>
                    <a:pt x="907" y="66"/>
                  </a:lnTo>
                  <a:lnTo>
                    <a:pt x="917" y="69"/>
                  </a:lnTo>
                  <a:lnTo>
                    <a:pt x="917" y="69"/>
                  </a:lnTo>
                  <a:lnTo>
                    <a:pt x="928" y="73"/>
                  </a:lnTo>
                  <a:lnTo>
                    <a:pt x="937" y="76"/>
                  </a:lnTo>
                  <a:lnTo>
                    <a:pt x="951" y="76"/>
                  </a:lnTo>
                  <a:lnTo>
                    <a:pt x="954" y="78"/>
                  </a:lnTo>
                  <a:lnTo>
                    <a:pt x="954" y="80"/>
                  </a:lnTo>
                  <a:lnTo>
                    <a:pt x="947" y="88"/>
                  </a:lnTo>
                  <a:lnTo>
                    <a:pt x="947" y="88"/>
                  </a:lnTo>
                  <a:lnTo>
                    <a:pt x="942" y="94"/>
                  </a:lnTo>
                  <a:lnTo>
                    <a:pt x="942" y="97"/>
                  </a:lnTo>
                  <a:lnTo>
                    <a:pt x="942" y="99"/>
                  </a:lnTo>
                  <a:lnTo>
                    <a:pt x="945" y="101"/>
                  </a:lnTo>
                  <a:lnTo>
                    <a:pt x="954" y="101"/>
                  </a:lnTo>
                  <a:lnTo>
                    <a:pt x="966" y="99"/>
                  </a:lnTo>
                  <a:lnTo>
                    <a:pt x="980" y="92"/>
                  </a:lnTo>
                  <a:lnTo>
                    <a:pt x="998" y="85"/>
                  </a:lnTo>
                  <a:lnTo>
                    <a:pt x="1018" y="73"/>
                  </a:lnTo>
                  <a:lnTo>
                    <a:pt x="1018" y="73"/>
                  </a:lnTo>
                  <a:lnTo>
                    <a:pt x="1038" y="62"/>
                  </a:lnTo>
                  <a:lnTo>
                    <a:pt x="1050" y="57"/>
                  </a:lnTo>
                  <a:lnTo>
                    <a:pt x="1058" y="55"/>
                  </a:lnTo>
                  <a:lnTo>
                    <a:pt x="1064" y="57"/>
                  </a:lnTo>
                  <a:lnTo>
                    <a:pt x="1064" y="60"/>
                  </a:lnTo>
                  <a:lnTo>
                    <a:pt x="1064" y="66"/>
                  </a:lnTo>
                  <a:lnTo>
                    <a:pt x="1058" y="71"/>
                  </a:lnTo>
                  <a:lnTo>
                    <a:pt x="1053" y="76"/>
                  </a:lnTo>
                  <a:lnTo>
                    <a:pt x="1053" y="76"/>
                  </a:lnTo>
                  <a:lnTo>
                    <a:pt x="1052" y="78"/>
                  </a:lnTo>
                  <a:lnTo>
                    <a:pt x="1052" y="80"/>
                  </a:lnTo>
                  <a:lnTo>
                    <a:pt x="1055" y="85"/>
                  </a:lnTo>
                  <a:lnTo>
                    <a:pt x="1074" y="101"/>
                  </a:lnTo>
                  <a:lnTo>
                    <a:pt x="1088" y="113"/>
                  </a:lnTo>
                  <a:lnTo>
                    <a:pt x="1106" y="132"/>
                  </a:lnTo>
                  <a:lnTo>
                    <a:pt x="1123" y="154"/>
                  </a:lnTo>
                  <a:lnTo>
                    <a:pt x="1132" y="168"/>
                  </a:lnTo>
                  <a:lnTo>
                    <a:pt x="1139" y="186"/>
                  </a:lnTo>
                  <a:lnTo>
                    <a:pt x="1139" y="186"/>
                  </a:lnTo>
                  <a:lnTo>
                    <a:pt x="1158" y="221"/>
                  </a:lnTo>
                  <a:lnTo>
                    <a:pt x="1165" y="233"/>
                  </a:lnTo>
                  <a:lnTo>
                    <a:pt x="1170" y="240"/>
                  </a:lnTo>
                  <a:lnTo>
                    <a:pt x="1175" y="243"/>
                  </a:lnTo>
                  <a:lnTo>
                    <a:pt x="1179" y="243"/>
                  </a:lnTo>
                  <a:lnTo>
                    <a:pt x="1182" y="243"/>
                  </a:lnTo>
                  <a:lnTo>
                    <a:pt x="1184" y="240"/>
                  </a:lnTo>
                  <a:lnTo>
                    <a:pt x="1189" y="233"/>
                  </a:lnTo>
                  <a:lnTo>
                    <a:pt x="1194" y="226"/>
                  </a:lnTo>
                  <a:lnTo>
                    <a:pt x="1198" y="224"/>
                  </a:lnTo>
                  <a:lnTo>
                    <a:pt x="1203" y="224"/>
                  </a:lnTo>
                  <a:lnTo>
                    <a:pt x="1210" y="226"/>
                  </a:lnTo>
                  <a:lnTo>
                    <a:pt x="1217" y="231"/>
                  </a:lnTo>
                  <a:lnTo>
                    <a:pt x="1217" y="231"/>
                  </a:lnTo>
                  <a:lnTo>
                    <a:pt x="1224" y="236"/>
                  </a:lnTo>
                  <a:lnTo>
                    <a:pt x="1233" y="242"/>
                  </a:lnTo>
                  <a:lnTo>
                    <a:pt x="1240" y="243"/>
                  </a:lnTo>
                  <a:lnTo>
                    <a:pt x="1247" y="245"/>
                  </a:lnTo>
                  <a:lnTo>
                    <a:pt x="1259" y="243"/>
                  </a:lnTo>
                  <a:lnTo>
                    <a:pt x="1271" y="242"/>
                  </a:lnTo>
                  <a:lnTo>
                    <a:pt x="1281" y="240"/>
                  </a:lnTo>
                  <a:lnTo>
                    <a:pt x="1294" y="240"/>
                  </a:lnTo>
                  <a:lnTo>
                    <a:pt x="1301" y="242"/>
                  </a:lnTo>
                  <a:lnTo>
                    <a:pt x="1306" y="245"/>
                  </a:lnTo>
                  <a:lnTo>
                    <a:pt x="1313" y="250"/>
                  </a:lnTo>
                  <a:lnTo>
                    <a:pt x="1320" y="257"/>
                  </a:lnTo>
                  <a:lnTo>
                    <a:pt x="1320" y="257"/>
                  </a:lnTo>
                  <a:lnTo>
                    <a:pt x="1344" y="287"/>
                  </a:lnTo>
                  <a:lnTo>
                    <a:pt x="1353" y="297"/>
                  </a:lnTo>
                  <a:lnTo>
                    <a:pt x="1363" y="306"/>
                  </a:lnTo>
                  <a:lnTo>
                    <a:pt x="1372" y="311"/>
                  </a:lnTo>
                  <a:lnTo>
                    <a:pt x="1381" y="315"/>
                  </a:lnTo>
                  <a:lnTo>
                    <a:pt x="1389" y="311"/>
                  </a:lnTo>
                  <a:lnTo>
                    <a:pt x="1400" y="306"/>
                  </a:lnTo>
                  <a:lnTo>
                    <a:pt x="1400" y="306"/>
                  </a:lnTo>
                  <a:lnTo>
                    <a:pt x="1412" y="296"/>
                  </a:lnTo>
                  <a:lnTo>
                    <a:pt x="1414" y="297"/>
                  </a:lnTo>
                  <a:lnTo>
                    <a:pt x="1414" y="301"/>
                  </a:lnTo>
                  <a:lnTo>
                    <a:pt x="1414" y="308"/>
                  </a:lnTo>
                  <a:lnTo>
                    <a:pt x="1415" y="316"/>
                  </a:lnTo>
                  <a:lnTo>
                    <a:pt x="1421" y="327"/>
                  </a:lnTo>
                  <a:lnTo>
                    <a:pt x="1431" y="337"/>
                  </a:lnTo>
                  <a:lnTo>
                    <a:pt x="1431" y="337"/>
                  </a:lnTo>
                  <a:lnTo>
                    <a:pt x="1419" y="337"/>
                  </a:lnTo>
                  <a:lnTo>
                    <a:pt x="1414" y="339"/>
                  </a:lnTo>
                  <a:lnTo>
                    <a:pt x="1410" y="343"/>
                  </a:lnTo>
                  <a:lnTo>
                    <a:pt x="1410" y="348"/>
                  </a:lnTo>
                  <a:lnTo>
                    <a:pt x="1410" y="353"/>
                  </a:lnTo>
                  <a:lnTo>
                    <a:pt x="1408" y="358"/>
                  </a:lnTo>
                  <a:lnTo>
                    <a:pt x="1403" y="363"/>
                  </a:lnTo>
                  <a:lnTo>
                    <a:pt x="1393" y="367"/>
                  </a:lnTo>
                  <a:lnTo>
                    <a:pt x="1393" y="367"/>
                  </a:lnTo>
                  <a:lnTo>
                    <a:pt x="1382" y="372"/>
                  </a:lnTo>
                  <a:lnTo>
                    <a:pt x="1374" y="377"/>
                  </a:lnTo>
                  <a:lnTo>
                    <a:pt x="1370" y="383"/>
                  </a:lnTo>
                  <a:lnTo>
                    <a:pt x="1367" y="391"/>
                  </a:lnTo>
                  <a:lnTo>
                    <a:pt x="1367" y="398"/>
                  </a:lnTo>
                  <a:lnTo>
                    <a:pt x="1367" y="405"/>
                  </a:lnTo>
                  <a:lnTo>
                    <a:pt x="1370" y="419"/>
                  </a:lnTo>
                  <a:lnTo>
                    <a:pt x="1370" y="419"/>
                  </a:lnTo>
                  <a:lnTo>
                    <a:pt x="1372" y="428"/>
                  </a:lnTo>
                  <a:lnTo>
                    <a:pt x="1372" y="433"/>
                  </a:lnTo>
                  <a:lnTo>
                    <a:pt x="1368" y="437"/>
                  </a:lnTo>
                  <a:lnTo>
                    <a:pt x="1361" y="442"/>
                  </a:lnTo>
                  <a:lnTo>
                    <a:pt x="1351" y="447"/>
                  </a:lnTo>
                  <a:lnTo>
                    <a:pt x="1351" y="447"/>
                  </a:lnTo>
                  <a:lnTo>
                    <a:pt x="1346" y="449"/>
                  </a:lnTo>
                  <a:lnTo>
                    <a:pt x="1342" y="449"/>
                  </a:lnTo>
                  <a:lnTo>
                    <a:pt x="1339" y="447"/>
                  </a:lnTo>
                  <a:lnTo>
                    <a:pt x="1337" y="445"/>
                  </a:lnTo>
                  <a:lnTo>
                    <a:pt x="1335" y="444"/>
                  </a:lnTo>
                  <a:lnTo>
                    <a:pt x="1332" y="442"/>
                  </a:lnTo>
                  <a:lnTo>
                    <a:pt x="1328" y="442"/>
                  </a:lnTo>
                  <a:lnTo>
                    <a:pt x="1323" y="442"/>
                  </a:lnTo>
                  <a:lnTo>
                    <a:pt x="1323" y="442"/>
                  </a:lnTo>
                  <a:lnTo>
                    <a:pt x="1314" y="444"/>
                  </a:lnTo>
                  <a:lnTo>
                    <a:pt x="1307" y="442"/>
                  </a:lnTo>
                  <a:lnTo>
                    <a:pt x="1294" y="435"/>
                  </a:lnTo>
                  <a:lnTo>
                    <a:pt x="1288" y="433"/>
                  </a:lnTo>
                  <a:lnTo>
                    <a:pt x="1283" y="431"/>
                  </a:lnTo>
                  <a:lnTo>
                    <a:pt x="1280" y="433"/>
                  </a:lnTo>
                  <a:lnTo>
                    <a:pt x="1278" y="437"/>
                  </a:lnTo>
                  <a:lnTo>
                    <a:pt x="1278" y="437"/>
                  </a:lnTo>
                  <a:lnTo>
                    <a:pt x="1274" y="454"/>
                  </a:lnTo>
                  <a:lnTo>
                    <a:pt x="1269" y="471"/>
                  </a:lnTo>
                  <a:lnTo>
                    <a:pt x="1264" y="491"/>
                  </a:lnTo>
                  <a:lnTo>
                    <a:pt x="1257" y="504"/>
                  </a:lnTo>
                  <a:lnTo>
                    <a:pt x="1257" y="504"/>
                  </a:lnTo>
                  <a:lnTo>
                    <a:pt x="1255" y="510"/>
                  </a:lnTo>
                  <a:lnTo>
                    <a:pt x="1255" y="513"/>
                  </a:lnTo>
                  <a:lnTo>
                    <a:pt x="1257" y="515"/>
                  </a:lnTo>
                  <a:lnTo>
                    <a:pt x="1260" y="517"/>
                  </a:lnTo>
                  <a:lnTo>
                    <a:pt x="1264" y="520"/>
                  </a:lnTo>
                  <a:lnTo>
                    <a:pt x="1266" y="524"/>
                  </a:lnTo>
                  <a:lnTo>
                    <a:pt x="1266" y="527"/>
                  </a:lnTo>
                  <a:lnTo>
                    <a:pt x="1266" y="527"/>
                  </a:lnTo>
                  <a:lnTo>
                    <a:pt x="1264" y="532"/>
                  </a:lnTo>
                  <a:lnTo>
                    <a:pt x="1260" y="534"/>
                  </a:lnTo>
                  <a:lnTo>
                    <a:pt x="1257" y="536"/>
                  </a:lnTo>
                  <a:lnTo>
                    <a:pt x="1254" y="536"/>
                  </a:lnTo>
                  <a:lnTo>
                    <a:pt x="1245" y="532"/>
                  </a:lnTo>
                  <a:lnTo>
                    <a:pt x="1236" y="529"/>
                  </a:lnTo>
                  <a:lnTo>
                    <a:pt x="1236" y="529"/>
                  </a:lnTo>
                  <a:lnTo>
                    <a:pt x="1231" y="527"/>
                  </a:lnTo>
                  <a:lnTo>
                    <a:pt x="1226" y="527"/>
                  </a:lnTo>
                  <a:lnTo>
                    <a:pt x="1212" y="531"/>
                  </a:lnTo>
                  <a:lnTo>
                    <a:pt x="1180" y="541"/>
                  </a:lnTo>
                  <a:lnTo>
                    <a:pt x="1180" y="541"/>
                  </a:lnTo>
                  <a:lnTo>
                    <a:pt x="1172" y="543"/>
                  </a:lnTo>
                  <a:lnTo>
                    <a:pt x="1168" y="546"/>
                  </a:lnTo>
                  <a:lnTo>
                    <a:pt x="1172" y="548"/>
                  </a:lnTo>
                  <a:lnTo>
                    <a:pt x="1175" y="550"/>
                  </a:lnTo>
                  <a:lnTo>
                    <a:pt x="1186" y="555"/>
                  </a:lnTo>
                  <a:lnTo>
                    <a:pt x="1189" y="558"/>
                  </a:lnTo>
                  <a:lnTo>
                    <a:pt x="1189" y="560"/>
                  </a:lnTo>
                  <a:lnTo>
                    <a:pt x="1187" y="562"/>
                  </a:lnTo>
                  <a:lnTo>
                    <a:pt x="1187" y="562"/>
                  </a:lnTo>
                  <a:lnTo>
                    <a:pt x="1186" y="565"/>
                  </a:lnTo>
                  <a:lnTo>
                    <a:pt x="1186" y="569"/>
                  </a:lnTo>
                  <a:lnTo>
                    <a:pt x="1187" y="578"/>
                  </a:lnTo>
                  <a:lnTo>
                    <a:pt x="1194" y="600"/>
                  </a:lnTo>
                  <a:lnTo>
                    <a:pt x="1198" y="611"/>
                  </a:lnTo>
                  <a:lnTo>
                    <a:pt x="1200" y="619"/>
                  </a:lnTo>
                  <a:lnTo>
                    <a:pt x="1200" y="628"/>
                  </a:lnTo>
                  <a:lnTo>
                    <a:pt x="1198" y="630"/>
                  </a:lnTo>
                  <a:lnTo>
                    <a:pt x="1196" y="632"/>
                  </a:lnTo>
                  <a:lnTo>
                    <a:pt x="1196" y="632"/>
                  </a:lnTo>
                  <a:lnTo>
                    <a:pt x="1193" y="635"/>
                  </a:lnTo>
                  <a:lnTo>
                    <a:pt x="1191" y="637"/>
                  </a:lnTo>
                  <a:lnTo>
                    <a:pt x="1191" y="640"/>
                  </a:lnTo>
                  <a:lnTo>
                    <a:pt x="1191" y="642"/>
                  </a:lnTo>
                  <a:lnTo>
                    <a:pt x="1193" y="645"/>
                  </a:lnTo>
                  <a:lnTo>
                    <a:pt x="1191" y="647"/>
                  </a:lnTo>
                  <a:lnTo>
                    <a:pt x="1187" y="649"/>
                  </a:lnTo>
                  <a:lnTo>
                    <a:pt x="1187" y="649"/>
                  </a:lnTo>
                  <a:lnTo>
                    <a:pt x="1184" y="651"/>
                  </a:lnTo>
                  <a:lnTo>
                    <a:pt x="1182" y="656"/>
                  </a:lnTo>
                  <a:lnTo>
                    <a:pt x="1182" y="665"/>
                  </a:lnTo>
                  <a:lnTo>
                    <a:pt x="1184" y="675"/>
                  </a:lnTo>
                  <a:lnTo>
                    <a:pt x="1184" y="679"/>
                  </a:lnTo>
                  <a:lnTo>
                    <a:pt x="1184" y="682"/>
                  </a:lnTo>
                  <a:lnTo>
                    <a:pt x="1184" y="682"/>
                  </a:lnTo>
                  <a:lnTo>
                    <a:pt x="1179" y="675"/>
                  </a:lnTo>
                  <a:lnTo>
                    <a:pt x="1172" y="672"/>
                  </a:lnTo>
                  <a:lnTo>
                    <a:pt x="1166" y="668"/>
                  </a:lnTo>
                  <a:lnTo>
                    <a:pt x="1161" y="668"/>
                  </a:lnTo>
                  <a:lnTo>
                    <a:pt x="1153" y="666"/>
                  </a:lnTo>
                  <a:lnTo>
                    <a:pt x="1151" y="663"/>
                  </a:lnTo>
                  <a:lnTo>
                    <a:pt x="1149" y="659"/>
                  </a:lnTo>
                  <a:lnTo>
                    <a:pt x="1149" y="659"/>
                  </a:lnTo>
                  <a:lnTo>
                    <a:pt x="1146" y="654"/>
                  </a:lnTo>
                  <a:lnTo>
                    <a:pt x="1142" y="651"/>
                  </a:lnTo>
                  <a:lnTo>
                    <a:pt x="1135" y="649"/>
                  </a:lnTo>
                  <a:lnTo>
                    <a:pt x="1126" y="647"/>
                  </a:lnTo>
                  <a:lnTo>
                    <a:pt x="1104" y="645"/>
                  </a:lnTo>
                  <a:lnTo>
                    <a:pt x="1071" y="644"/>
                  </a:lnTo>
                  <a:lnTo>
                    <a:pt x="1071" y="644"/>
                  </a:lnTo>
                  <a:lnTo>
                    <a:pt x="1055" y="644"/>
                  </a:lnTo>
                  <a:lnTo>
                    <a:pt x="1041" y="644"/>
                  </a:lnTo>
                  <a:lnTo>
                    <a:pt x="1025" y="647"/>
                  </a:lnTo>
                  <a:lnTo>
                    <a:pt x="1017" y="649"/>
                  </a:lnTo>
                  <a:lnTo>
                    <a:pt x="1013" y="649"/>
                  </a:lnTo>
                  <a:lnTo>
                    <a:pt x="1010" y="649"/>
                  </a:lnTo>
                  <a:lnTo>
                    <a:pt x="1010" y="649"/>
                  </a:lnTo>
                  <a:lnTo>
                    <a:pt x="999" y="644"/>
                  </a:lnTo>
                  <a:lnTo>
                    <a:pt x="987" y="637"/>
                  </a:lnTo>
                  <a:lnTo>
                    <a:pt x="980" y="633"/>
                  </a:lnTo>
                  <a:lnTo>
                    <a:pt x="973" y="632"/>
                  </a:lnTo>
                  <a:lnTo>
                    <a:pt x="968" y="632"/>
                  </a:lnTo>
                  <a:lnTo>
                    <a:pt x="959" y="633"/>
                  </a:lnTo>
                  <a:lnTo>
                    <a:pt x="959" y="633"/>
                  </a:lnTo>
                  <a:lnTo>
                    <a:pt x="952" y="637"/>
                  </a:lnTo>
                  <a:lnTo>
                    <a:pt x="947" y="644"/>
                  </a:lnTo>
                  <a:lnTo>
                    <a:pt x="945" y="651"/>
                  </a:lnTo>
                  <a:lnTo>
                    <a:pt x="945" y="658"/>
                  </a:lnTo>
                  <a:lnTo>
                    <a:pt x="945" y="668"/>
                  </a:lnTo>
                  <a:lnTo>
                    <a:pt x="944" y="670"/>
                  </a:lnTo>
                  <a:lnTo>
                    <a:pt x="940" y="670"/>
                  </a:lnTo>
                  <a:lnTo>
                    <a:pt x="940" y="670"/>
                  </a:lnTo>
                  <a:lnTo>
                    <a:pt x="926" y="663"/>
                  </a:lnTo>
                  <a:lnTo>
                    <a:pt x="910" y="654"/>
                  </a:lnTo>
                  <a:lnTo>
                    <a:pt x="895" y="649"/>
                  </a:lnTo>
                  <a:lnTo>
                    <a:pt x="886" y="649"/>
                  </a:lnTo>
                  <a:lnTo>
                    <a:pt x="879" y="649"/>
                  </a:lnTo>
                  <a:lnTo>
                    <a:pt x="879" y="649"/>
                  </a:lnTo>
                  <a:lnTo>
                    <a:pt x="872" y="651"/>
                  </a:lnTo>
                  <a:lnTo>
                    <a:pt x="869" y="652"/>
                  </a:lnTo>
                  <a:lnTo>
                    <a:pt x="865" y="656"/>
                  </a:lnTo>
                  <a:lnTo>
                    <a:pt x="862" y="661"/>
                  </a:lnTo>
                  <a:lnTo>
                    <a:pt x="858" y="670"/>
                  </a:lnTo>
                  <a:lnTo>
                    <a:pt x="857" y="677"/>
                  </a:lnTo>
                  <a:lnTo>
                    <a:pt x="857" y="6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3" name="Freeform 1778">
              <a:extLst>
                <a:ext uri="{FF2B5EF4-FFF2-40B4-BE49-F238E27FC236}">
                  <a16:creationId xmlns:a16="http://schemas.microsoft.com/office/drawing/2014/main" id="{C43016D8-1F70-4756-B817-81D479E8FDF1}"/>
                </a:ext>
              </a:extLst>
            </p:cNvPr>
            <p:cNvSpPr>
              <a:spLocks/>
            </p:cNvSpPr>
            <p:nvPr/>
          </p:nvSpPr>
          <p:spPr bwMode="auto">
            <a:xfrm>
              <a:off x="5021034" y="1248547"/>
              <a:ext cx="304827" cy="195582"/>
            </a:xfrm>
            <a:custGeom>
              <a:avLst/>
              <a:gdLst/>
              <a:ahLst/>
              <a:cxnLst>
                <a:cxn ang="0">
                  <a:pos x="179" y="233"/>
                </a:cxn>
                <a:cxn ang="0">
                  <a:pos x="151" y="211"/>
                </a:cxn>
                <a:cxn ang="0">
                  <a:pos x="115" y="192"/>
                </a:cxn>
                <a:cxn ang="0">
                  <a:pos x="144" y="179"/>
                </a:cxn>
                <a:cxn ang="0">
                  <a:pos x="183" y="169"/>
                </a:cxn>
                <a:cxn ang="0">
                  <a:pos x="190" y="159"/>
                </a:cxn>
                <a:cxn ang="0">
                  <a:pos x="134" y="162"/>
                </a:cxn>
                <a:cxn ang="0">
                  <a:pos x="101" y="157"/>
                </a:cxn>
                <a:cxn ang="0">
                  <a:pos x="139" y="139"/>
                </a:cxn>
                <a:cxn ang="0">
                  <a:pos x="209" y="117"/>
                </a:cxn>
                <a:cxn ang="0">
                  <a:pos x="190" y="112"/>
                </a:cxn>
                <a:cxn ang="0">
                  <a:pos x="165" y="103"/>
                </a:cxn>
                <a:cxn ang="0">
                  <a:pos x="143" y="110"/>
                </a:cxn>
                <a:cxn ang="0">
                  <a:pos x="101" y="134"/>
                </a:cxn>
                <a:cxn ang="0">
                  <a:pos x="61" y="115"/>
                </a:cxn>
                <a:cxn ang="0">
                  <a:pos x="26" y="82"/>
                </a:cxn>
                <a:cxn ang="0">
                  <a:pos x="50" y="78"/>
                </a:cxn>
                <a:cxn ang="0">
                  <a:pos x="43" y="71"/>
                </a:cxn>
                <a:cxn ang="0">
                  <a:pos x="43" y="56"/>
                </a:cxn>
                <a:cxn ang="0">
                  <a:pos x="26" y="68"/>
                </a:cxn>
                <a:cxn ang="0">
                  <a:pos x="7" y="52"/>
                </a:cxn>
                <a:cxn ang="0">
                  <a:pos x="3" y="33"/>
                </a:cxn>
                <a:cxn ang="0">
                  <a:pos x="26" y="17"/>
                </a:cxn>
                <a:cxn ang="0">
                  <a:pos x="42" y="21"/>
                </a:cxn>
                <a:cxn ang="0">
                  <a:pos x="54" y="19"/>
                </a:cxn>
                <a:cxn ang="0">
                  <a:pos x="66" y="17"/>
                </a:cxn>
                <a:cxn ang="0">
                  <a:pos x="90" y="19"/>
                </a:cxn>
                <a:cxn ang="0">
                  <a:pos x="113" y="16"/>
                </a:cxn>
                <a:cxn ang="0">
                  <a:pos x="103" y="26"/>
                </a:cxn>
                <a:cxn ang="0">
                  <a:pos x="84" y="33"/>
                </a:cxn>
                <a:cxn ang="0">
                  <a:pos x="106" y="45"/>
                </a:cxn>
                <a:cxn ang="0">
                  <a:pos x="115" y="59"/>
                </a:cxn>
                <a:cxn ang="0">
                  <a:pos x="124" y="28"/>
                </a:cxn>
                <a:cxn ang="0">
                  <a:pos x="136" y="23"/>
                </a:cxn>
                <a:cxn ang="0">
                  <a:pos x="158" y="38"/>
                </a:cxn>
                <a:cxn ang="0">
                  <a:pos x="197" y="82"/>
                </a:cxn>
                <a:cxn ang="0">
                  <a:pos x="202" y="78"/>
                </a:cxn>
                <a:cxn ang="0">
                  <a:pos x="176" y="23"/>
                </a:cxn>
                <a:cxn ang="0">
                  <a:pos x="181" y="5"/>
                </a:cxn>
                <a:cxn ang="0">
                  <a:pos x="198" y="2"/>
                </a:cxn>
                <a:cxn ang="0">
                  <a:pos x="221" y="11"/>
                </a:cxn>
                <a:cxn ang="0">
                  <a:pos x="259" y="21"/>
                </a:cxn>
                <a:cxn ang="0">
                  <a:pos x="254" y="28"/>
                </a:cxn>
                <a:cxn ang="0">
                  <a:pos x="251" y="47"/>
                </a:cxn>
                <a:cxn ang="0">
                  <a:pos x="256" y="42"/>
                </a:cxn>
                <a:cxn ang="0">
                  <a:pos x="277" y="35"/>
                </a:cxn>
                <a:cxn ang="0">
                  <a:pos x="287" y="51"/>
                </a:cxn>
                <a:cxn ang="0">
                  <a:pos x="294" y="65"/>
                </a:cxn>
                <a:cxn ang="0">
                  <a:pos x="322" y="66"/>
                </a:cxn>
                <a:cxn ang="0">
                  <a:pos x="353" y="80"/>
                </a:cxn>
                <a:cxn ang="0">
                  <a:pos x="380" y="91"/>
                </a:cxn>
                <a:cxn ang="0">
                  <a:pos x="364" y="99"/>
                </a:cxn>
                <a:cxn ang="0">
                  <a:pos x="306" y="106"/>
                </a:cxn>
                <a:cxn ang="0">
                  <a:pos x="296" y="122"/>
                </a:cxn>
                <a:cxn ang="0">
                  <a:pos x="291" y="139"/>
                </a:cxn>
                <a:cxn ang="0">
                  <a:pos x="272" y="148"/>
                </a:cxn>
                <a:cxn ang="0">
                  <a:pos x="270" y="162"/>
                </a:cxn>
                <a:cxn ang="0">
                  <a:pos x="254" y="183"/>
                </a:cxn>
                <a:cxn ang="0">
                  <a:pos x="238" y="195"/>
                </a:cxn>
                <a:cxn ang="0">
                  <a:pos x="230" y="233"/>
                </a:cxn>
                <a:cxn ang="0">
                  <a:pos x="219" y="244"/>
                </a:cxn>
              </a:cxnLst>
              <a:rect l="0" t="0" r="r" b="b"/>
              <a:pathLst>
                <a:path w="380" h="246">
                  <a:moveTo>
                    <a:pt x="205" y="244"/>
                  </a:moveTo>
                  <a:lnTo>
                    <a:pt x="205" y="244"/>
                  </a:lnTo>
                  <a:lnTo>
                    <a:pt x="190" y="239"/>
                  </a:lnTo>
                  <a:lnTo>
                    <a:pt x="179" y="233"/>
                  </a:lnTo>
                  <a:lnTo>
                    <a:pt x="174" y="230"/>
                  </a:lnTo>
                  <a:lnTo>
                    <a:pt x="169" y="225"/>
                  </a:lnTo>
                  <a:lnTo>
                    <a:pt x="158" y="214"/>
                  </a:lnTo>
                  <a:lnTo>
                    <a:pt x="151" y="211"/>
                  </a:lnTo>
                  <a:lnTo>
                    <a:pt x="139" y="206"/>
                  </a:lnTo>
                  <a:lnTo>
                    <a:pt x="139" y="206"/>
                  </a:lnTo>
                  <a:lnTo>
                    <a:pt x="118" y="195"/>
                  </a:lnTo>
                  <a:lnTo>
                    <a:pt x="115" y="192"/>
                  </a:lnTo>
                  <a:lnTo>
                    <a:pt x="113" y="190"/>
                  </a:lnTo>
                  <a:lnTo>
                    <a:pt x="117" y="186"/>
                  </a:lnTo>
                  <a:lnTo>
                    <a:pt x="122" y="185"/>
                  </a:lnTo>
                  <a:lnTo>
                    <a:pt x="144" y="179"/>
                  </a:lnTo>
                  <a:lnTo>
                    <a:pt x="144" y="179"/>
                  </a:lnTo>
                  <a:lnTo>
                    <a:pt x="158" y="176"/>
                  </a:lnTo>
                  <a:lnTo>
                    <a:pt x="171" y="172"/>
                  </a:lnTo>
                  <a:lnTo>
                    <a:pt x="183" y="169"/>
                  </a:lnTo>
                  <a:lnTo>
                    <a:pt x="190" y="164"/>
                  </a:lnTo>
                  <a:lnTo>
                    <a:pt x="193" y="160"/>
                  </a:lnTo>
                  <a:lnTo>
                    <a:pt x="191" y="159"/>
                  </a:lnTo>
                  <a:lnTo>
                    <a:pt x="190" y="159"/>
                  </a:lnTo>
                  <a:lnTo>
                    <a:pt x="178" y="157"/>
                  </a:lnTo>
                  <a:lnTo>
                    <a:pt x="157" y="159"/>
                  </a:lnTo>
                  <a:lnTo>
                    <a:pt x="157" y="159"/>
                  </a:lnTo>
                  <a:lnTo>
                    <a:pt x="134" y="162"/>
                  </a:lnTo>
                  <a:lnTo>
                    <a:pt x="118" y="162"/>
                  </a:lnTo>
                  <a:lnTo>
                    <a:pt x="106" y="160"/>
                  </a:lnTo>
                  <a:lnTo>
                    <a:pt x="103" y="159"/>
                  </a:lnTo>
                  <a:lnTo>
                    <a:pt x="101" y="157"/>
                  </a:lnTo>
                  <a:lnTo>
                    <a:pt x="103" y="155"/>
                  </a:lnTo>
                  <a:lnTo>
                    <a:pt x="110" y="150"/>
                  </a:lnTo>
                  <a:lnTo>
                    <a:pt x="122" y="145"/>
                  </a:lnTo>
                  <a:lnTo>
                    <a:pt x="139" y="139"/>
                  </a:lnTo>
                  <a:lnTo>
                    <a:pt x="139" y="139"/>
                  </a:lnTo>
                  <a:lnTo>
                    <a:pt x="178" y="129"/>
                  </a:lnTo>
                  <a:lnTo>
                    <a:pt x="204" y="120"/>
                  </a:lnTo>
                  <a:lnTo>
                    <a:pt x="209" y="117"/>
                  </a:lnTo>
                  <a:lnTo>
                    <a:pt x="211" y="115"/>
                  </a:lnTo>
                  <a:lnTo>
                    <a:pt x="211" y="113"/>
                  </a:lnTo>
                  <a:lnTo>
                    <a:pt x="204" y="112"/>
                  </a:lnTo>
                  <a:lnTo>
                    <a:pt x="190" y="112"/>
                  </a:lnTo>
                  <a:lnTo>
                    <a:pt x="190" y="112"/>
                  </a:lnTo>
                  <a:lnTo>
                    <a:pt x="176" y="110"/>
                  </a:lnTo>
                  <a:lnTo>
                    <a:pt x="169" y="106"/>
                  </a:lnTo>
                  <a:lnTo>
                    <a:pt x="165" y="103"/>
                  </a:lnTo>
                  <a:lnTo>
                    <a:pt x="164" y="101"/>
                  </a:lnTo>
                  <a:lnTo>
                    <a:pt x="162" y="99"/>
                  </a:lnTo>
                  <a:lnTo>
                    <a:pt x="160" y="99"/>
                  </a:lnTo>
                  <a:lnTo>
                    <a:pt x="143" y="110"/>
                  </a:lnTo>
                  <a:lnTo>
                    <a:pt x="143" y="110"/>
                  </a:lnTo>
                  <a:lnTo>
                    <a:pt x="120" y="125"/>
                  </a:lnTo>
                  <a:lnTo>
                    <a:pt x="110" y="131"/>
                  </a:lnTo>
                  <a:lnTo>
                    <a:pt x="101" y="134"/>
                  </a:lnTo>
                  <a:lnTo>
                    <a:pt x="92" y="136"/>
                  </a:lnTo>
                  <a:lnTo>
                    <a:pt x="84" y="132"/>
                  </a:lnTo>
                  <a:lnTo>
                    <a:pt x="73" y="127"/>
                  </a:lnTo>
                  <a:lnTo>
                    <a:pt x="61" y="115"/>
                  </a:lnTo>
                  <a:lnTo>
                    <a:pt x="61" y="115"/>
                  </a:lnTo>
                  <a:lnTo>
                    <a:pt x="38" y="94"/>
                  </a:lnTo>
                  <a:lnTo>
                    <a:pt x="28" y="84"/>
                  </a:lnTo>
                  <a:lnTo>
                    <a:pt x="26" y="82"/>
                  </a:lnTo>
                  <a:lnTo>
                    <a:pt x="28" y="80"/>
                  </a:lnTo>
                  <a:lnTo>
                    <a:pt x="40" y="78"/>
                  </a:lnTo>
                  <a:lnTo>
                    <a:pt x="40" y="78"/>
                  </a:lnTo>
                  <a:lnTo>
                    <a:pt x="50" y="78"/>
                  </a:lnTo>
                  <a:lnTo>
                    <a:pt x="50" y="77"/>
                  </a:lnTo>
                  <a:lnTo>
                    <a:pt x="49" y="77"/>
                  </a:lnTo>
                  <a:lnTo>
                    <a:pt x="45" y="75"/>
                  </a:lnTo>
                  <a:lnTo>
                    <a:pt x="43" y="71"/>
                  </a:lnTo>
                  <a:lnTo>
                    <a:pt x="42" y="66"/>
                  </a:lnTo>
                  <a:lnTo>
                    <a:pt x="42" y="61"/>
                  </a:lnTo>
                  <a:lnTo>
                    <a:pt x="42" y="61"/>
                  </a:lnTo>
                  <a:lnTo>
                    <a:pt x="43" y="56"/>
                  </a:lnTo>
                  <a:lnTo>
                    <a:pt x="42" y="56"/>
                  </a:lnTo>
                  <a:lnTo>
                    <a:pt x="37" y="63"/>
                  </a:lnTo>
                  <a:lnTo>
                    <a:pt x="31" y="66"/>
                  </a:lnTo>
                  <a:lnTo>
                    <a:pt x="26" y="68"/>
                  </a:lnTo>
                  <a:lnTo>
                    <a:pt x="21" y="68"/>
                  </a:lnTo>
                  <a:lnTo>
                    <a:pt x="16" y="63"/>
                  </a:lnTo>
                  <a:lnTo>
                    <a:pt x="16" y="63"/>
                  </a:lnTo>
                  <a:lnTo>
                    <a:pt x="7" y="52"/>
                  </a:lnTo>
                  <a:lnTo>
                    <a:pt x="3" y="47"/>
                  </a:lnTo>
                  <a:lnTo>
                    <a:pt x="0" y="42"/>
                  </a:lnTo>
                  <a:lnTo>
                    <a:pt x="0" y="38"/>
                  </a:lnTo>
                  <a:lnTo>
                    <a:pt x="3" y="33"/>
                  </a:lnTo>
                  <a:lnTo>
                    <a:pt x="9" y="28"/>
                  </a:lnTo>
                  <a:lnTo>
                    <a:pt x="17" y="23"/>
                  </a:lnTo>
                  <a:lnTo>
                    <a:pt x="17" y="23"/>
                  </a:lnTo>
                  <a:lnTo>
                    <a:pt x="26" y="17"/>
                  </a:lnTo>
                  <a:lnTo>
                    <a:pt x="33" y="16"/>
                  </a:lnTo>
                  <a:lnTo>
                    <a:pt x="37" y="17"/>
                  </a:lnTo>
                  <a:lnTo>
                    <a:pt x="40" y="19"/>
                  </a:lnTo>
                  <a:lnTo>
                    <a:pt x="42" y="21"/>
                  </a:lnTo>
                  <a:lnTo>
                    <a:pt x="45" y="23"/>
                  </a:lnTo>
                  <a:lnTo>
                    <a:pt x="49" y="23"/>
                  </a:lnTo>
                  <a:lnTo>
                    <a:pt x="54" y="19"/>
                  </a:lnTo>
                  <a:lnTo>
                    <a:pt x="54" y="19"/>
                  </a:lnTo>
                  <a:lnTo>
                    <a:pt x="59" y="16"/>
                  </a:lnTo>
                  <a:lnTo>
                    <a:pt x="63" y="16"/>
                  </a:lnTo>
                  <a:lnTo>
                    <a:pt x="64" y="16"/>
                  </a:lnTo>
                  <a:lnTo>
                    <a:pt x="66" y="17"/>
                  </a:lnTo>
                  <a:lnTo>
                    <a:pt x="70" y="19"/>
                  </a:lnTo>
                  <a:lnTo>
                    <a:pt x="73" y="21"/>
                  </a:lnTo>
                  <a:lnTo>
                    <a:pt x="80" y="21"/>
                  </a:lnTo>
                  <a:lnTo>
                    <a:pt x="90" y="19"/>
                  </a:lnTo>
                  <a:lnTo>
                    <a:pt x="90" y="19"/>
                  </a:lnTo>
                  <a:lnTo>
                    <a:pt x="101" y="16"/>
                  </a:lnTo>
                  <a:lnTo>
                    <a:pt x="108" y="16"/>
                  </a:lnTo>
                  <a:lnTo>
                    <a:pt x="113" y="16"/>
                  </a:lnTo>
                  <a:lnTo>
                    <a:pt x="113" y="17"/>
                  </a:lnTo>
                  <a:lnTo>
                    <a:pt x="113" y="21"/>
                  </a:lnTo>
                  <a:lnTo>
                    <a:pt x="110" y="24"/>
                  </a:lnTo>
                  <a:lnTo>
                    <a:pt x="103" y="26"/>
                  </a:lnTo>
                  <a:lnTo>
                    <a:pt x="94" y="30"/>
                  </a:lnTo>
                  <a:lnTo>
                    <a:pt x="94" y="30"/>
                  </a:lnTo>
                  <a:lnTo>
                    <a:pt x="84" y="31"/>
                  </a:lnTo>
                  <a:lnTo>
                    <a:pt x="84" y="33"/>
                  </a:lnTo>
                  <a:lnTo>
                    <a:pt x="87" y="35"/>
                  </a:lnTo>
                  <a:lnTo>
                    <a:pt x="92" y="37"/>
                  </a:lnTo>
                  <a:lnTo>
                    <a:pt x="99" y="40"/>
                  </a:lnTo>
                  <a:lnTo>
                    <a:pt x="106" y="45"/>
                  </a:lnTo>
                  <a:lnTo>
                    <a:pt x="110" y="52"/>
                  </a:lnTo>
                  <a:lnTo>
                    <a:pt x="110" y="52"/>
                  </a:lnTo>
                  <a:lnTo>
                    <a:pt x="113" y="59"/>
                  </a:lnTo>
                  <a:lnTo>
                    <a:pt x="115" y="59"/>
                  </a:lnTo>
                  <a:lnTo>
                    <a:pt x="115" y="51"/>
                  </a:lnTo>
                  <a:lnTo>
                    <a:pt x="117" y="44"/>
                  </a:lnTo>
                  <a:lnTo>
                    <a:pt x="118" y="35"/>
                  </a:lnTo>
                  <a:lnTo>
                    <a:pt x="124" y="28"/>
                  </a:lnTo>
                  <a:lnTo>
                    <a:pt x="127" y="26"/>
                  </a:lnTo>
                  <a:lnTo>
                    <a:pt x="131" y="23"/>
                  </a:lnTo>
                  <a:lnTo>
                    <a:pt x="131" y="23"/>
                  </a:lnTo>
                  <a:lnTo>
                    <a:pt x="136" y="23"/>
                  </a:lnTo>
                  <a:lnTo>
                    <a:pt x="139" y="23"/>
                  </a:lnTo>
                  <a:lnTo>
                    <a:pt x="144" y="26"/>
                  </a:lnTo>
                  <a:lnTo>
                    <a:pt x="150" y="30"/>
                  </a:lnTo>
                  <a:lnTo>
                    <a:pt x="158" y="38"/>
                  </a:lnTo>
                  <a:lnTo>
                    <a:pt x="169" y="49"/>
                  </a:lnTo>
                  <a:lnTo>
                    <a:pt x="186" y="71"/>
                  </a:lnTo>
                  <a:lnTo>
                    <a:pt x="193" y="78"/>
                  </a:lnTo>
                  <a:lnTo>
                    <a:pt x="197" y="82"/>
                  </a:lnTo>
                  <a:lnTo>
                    <a:pt x="200" y="82"/>
                  </a:lnTo>
                  <a:lnTo>
                    <a:pt x="200" y="82"/>
                  </a:lnTo>
                  <a:lnTo>
                    <a:pt x="202" y="80"/>
                  </a:lnTo>
                  <a:lnTo>
                    <a:pt x="202" y="78"/>
                  </a:lnTo>
                  <a:lnTo>
                    <a:pt x="200" y="71"/>
                  </a:lnTo>
                  <a:lnTo>
                    <a:pt x="186" y="49"/>
                  </a:lnTo>
                  <a:lnTo>
                    <a:pt x="181" y="35"/>
                  </a:lnTo>
                  <a:lnTo>
                    <a:pt x="176" y="23"/>
                  </a:lnTo>
                  <a:lnTo>
                    <a:pt x="176" y="17"/>
                  </a:lnTo>
                  <a:lnTo>
                    <a:pt x="176" y="12"/>
                  </a:lnTo>
                  <a:lnTo>
                    <a:pt x="178" y="9"/>
                  </a:lnTo>
                  <a:lnTo>
                    <a:pt x="181" y="5"/>
                  </a:lnTo>
                  <a:lnTo>
                    <a:pt x="181" y="5"/>
                  </a:lnTo>
                  <a:lnTo>
                    <a:pt x="188" y="2"/>
                  </a:lnTo>
                  <a:lnTo>
                    <a:pt x="193" y="0"/>
                  </a:lnTo>
                  <a:lnTo>
                    <a:pt x="198" y="2"/>
                  </a:lnTo>
                  <a:lnTo>
                    <a:pt x="200" y="4"/>
                  </a:lnTo>
                  <a:lnTo>
                    <a:pt x="209" y="9"/>
                  </a:lnTo>
                  <a:lnTo>
                    <a:pt x="214" y="11"/>
                  </a:lnTo>
                  <a:lnTo>
                    <a:pt x="221" y="11"/>
                  </a:lnTo>
                  <a:lnTo>
                    <a:pt x="221" y="11"/>
                  </a:lnTo>
                  <a:lnTo>
                    <a:pt x="235" y="11"/>
                  </a:lnTo>
                  <a:lnTo>
                    <a:pt x="242" y="12"/>
                  </a:lnTo>
                  <a:lnTo>
                    <a:pt x="259" y="21"/>
                  </a:lnTo>
                  <a:lnTo>
                    <a:pt x="259" y="21"/>
                  </a:lnTo>
                  <a:lnTo>
                    <a:pt x="259" y="23"/>
                  </a:lnTo>
                  <a:lnTo>
                    <a:pt x="258" y="23"/>
                  </a:lnTo>
                  <a:lnTo>
                    <a:pt x="254" y="28"/>
                  </a:lnTo>
                  <a:lnTo>
                    <a:pt x="251" y="31"/>
                  </a:lnTo>
                  <a:lnTo>
                    <a:pt x="249" y="35"/>
                  </a:lnTo>
                  <a:lnTo>
                    <a:pt x="249" y="40"/>
                  </a:lnTo>
                  <a:lnTo>
                    <a:pt x="251" y="47"/>
                  </a:lnTo>
                  <a:lnTo>
                    <a:pt x="251" y="47"/>
                  </a:lnTo>
                  <a:lnTo>
                    <a:pt x="252" y="51"/>
                  </a:lnTo>
                  <a:lnTo>
                    <a:pt x="254" y="51"/>
                  </a:lnTo>
                  <a:lnTo>
                    <a:pt x="256" y="42"/>
                  </a:lnTo>
                  <a:lnTo>
                    <a:pt x="259" y="37"/>
                  </a:lnTo>
                  <a:lnTo>
                    <a:pt x="263" y="33"/>
                  </a:lnTo>
                  <a:lnTo>
                    <a:pt x="268" y="31"/>
                  </a:lnTo>
                  <a:lnTo>
                    <a:pt x="277" y="35"/>
                  </a:lnTo>
                  <a:lnTo>
                    <a:pt x="277" y="35"/>
                  </a:lnTo>
                  <a:lnTo>
                    <a:pt x="282" y="38"/>
                  </a:lnTo>
                  <a:lnTo>
                    <a:pt x="285" y="45"/>
                  </a:lnTo>
                  <a:lnTo>
                    <a:pt x="287" y="51"/>
                  </a:lnTo>
                  <a:lnTo>
                    <a:pt x="287" y="54"/>
                  </a:lnTo>
                  <a:lnTo>
                    <a:pt x="287" y="59"/>
                  </a:lnTo>
                  <a:lnTo>
                    <a:pt x="289" y="63"/>
                  </a:lnTo>
                  <a:lnTo>
                    <a:pt x="294" y="65"/>
                  </a:lnTo>
                  <a:lnTo>
                    <a:pt x="303" y="65"/>
                  </a:lnTo>
                  <a:lnTo>
                    <a:pt x="303" y="65"/>
                  </a:lnTo>
                  <a:lnTo>
                    <a:pt x="319" y="66"/>
                  </a:lnTo>
                  <a:lnTo>
                    <a:pt x="322" y="66"/>
                  </a:lnTo>
                  <a:lnTo>
                    <a:pt x="324" y="68"/>
                  </a:lnTo>
                  <a:lnTo>
                    <a:pt x="333" y="73"/>
                  </a:lnTo>
                  <a:lnTo>
                    <a:pt x="339" y="77"/>
                  </a:lnTo>
                  <a:lnTo>
                    <a:pt x="353" y="80"/>
                  </a:lnTo>
                  <a:lnTo>
                    <a:pt x="353" y="80"/>
                  </a:lnTo>
                  <a:lnTo>
                    <a:pt x="366" y="84"/>
                  </a:lnTo>
                  <a:lnTo>
                    <a:pt x="374" y="87"/>
                  </a:lnTo>
                  <a:lnTo>
                    <a:pt x="380" y="91"/>
                  </a:lnTo>
                  <a:lnTo>
                    <a:pt x="380" y="92"/>
                  </a:lnTo>
                  <a:lnTo>
                    <a:pt x="380" y="94"/>
                  </a:lnTo>
                  <a:lnTo>
                    <a:pt x="374" y="96"/>
                  </a:lnTo>
                  <a:lnTo>
                    <a:pt x="364" y="99"/>
                  </a:lnTo>
                  <a:lnTo>
                    <a:pt x="331" y="103"/>
                  </a:lnTo>
                  <a:lnTo>
                    <a:pt x="331" y="103"/>
                  </a:lnTo>
                  <a:lnTo>
                    <a:pt x="313" y="105"/>
                  </a:lnTo>
                  <a:lnTo>
                    <a:pt x="306" y="106"/>
                  </a:lnTo>
                  <a:lnTo>
                    <a:pt x="303" y="110"/>
                  </a:lnTo>
                  <a:lnTo>
                    <a:pt x="299" y="112"/>
                  </a:lnTo>
                  <a:lnTo>
                    <a:pt x="298" y="115"/>
                  </a:lnTo>
                  <a:lnTo>
                    <a:pt x="296" y="122"/>
                  </a:lnTo>
                  <a:lnTo>
                    <a:pt x="296" y="127"/>
                  </a:lnTo>
                  <a:lnTo>
                    <a:pt x="294" y="134"/>
                  </a:lnTo>
                  <a:lnTo>
                    <a:pt x="292" y="138"/>
                  </a:lnTo>
                  <a:lnTo>
                    <a:pt x="291" y="139"/>
                  </a:lnTo>
                  <a:lnTo>
                    <a:pt x="285" y="143"/>
                  </a:lnTo>
                  <a:lnTo>
                    <a:pt x="280" y="145"/>
                  </a:lnTo>
                  <a:lnTo>
                    <a:pt x="280" y="145"/>
                  </a:lnTo>
                  <a:lnTo>
                    <a:pt x="272" y="148"/>
                  </a:lnTo>
                  <a:lnTo>
                    <a:pt x="270" y="150"/>
                  </a:lnTo>
                  <a:lnTo>
                    <a:pt x="268" y="153"/>
                  </a:lnTo>
                  <a:lnTo>
                    <a:pt x="268" y="157"/>
                  </a:lnTo>
                  <a:lnTo>
                    <a:pt x="270" y="162"/>
                  </a:lnTo>
                  <a:lnTo>
                    <a:pt x="272" y="167"/>
                  </a:lnTo>
                  <a:lnTo>
                    <a:pt x="272" y="172"/>
                  </a:lnTo>
                  <a:lnTo>
                    <a:pt x="266" y="178"/>
                  </a:lnTo>
                  <a:lnTo>
                    <a:pt x="254" y="183"/>
                  </a:lnTo>
                  <a:lnTo>
                    <a:pt x="254" y="183"/>
                  </a:lnTo>
                  <a:lnTo>
                    <a:pt x="247" y="186"/>
                  </a:lnTo>
                  <a:lnTo>
                    <a:pt x="242" y="190"/>
                  </a:lnTo>
                  <a:lnTo>
                    <a:pt x="238" y="195"/>
                  </a:lnTo>
                  <a:lnTo>
                    <a:pt x="235" y="200"/>
                  </a:lnTo>
                  <a:lnTo>
                    <a:pt x="232" y="211"/>
                  </a:lnTo>
                  <a:lnTo>
                    <a:pt x="230" y="223"/>
                  </a:lnTo>
                  <a:lnTo>
                    <a:pt x="230" y="233"/>
                  </a:lnTo>
                  <a:lnTo>
                    <a:pt x="228" y="237"/>
                  </a:lnTo>
                  <a:lnTo>
                    <a:pt x="226" y="240"/>
                  </a:lnTo>
                  <a:lnTo>
                    <a:pt x="223" y="244"/>
                  </a:lnTo>
                  <a:lnTo>
                    <a:pt x="219" y="244"/>
                  </a:lnTo>
                  <a:lnTo>
                    <a:pt x="212" y="246"/>
                  </a:lnTo>
                  <a:lnTo>
                    <a:pt x="205" y="244"/>
                  </a:lnTo>
                  <a:lnTo>
                    <a:pt x="205" y="2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4" name="Freeform 1779">
              <a:extLst>
                <a:ext uri="{FF2B5EF4-FFF2-40B4-BE49-F238E27FC236}">
                  <a16:creationId xmlns:a16="http://schemas.microsoft.com/office/drawing/2014/main" id="{D6D93BEB-057C-4EC6-A9D5-6581E06EDE7F}"/>
                </a:ext>
              </a:extLst>
            </p:cNvPr>
            <p:cNvSpPr>
              <a:spLocks/>
            </p:cNvSpPr>
            <p:nvPr/>
          </p:nvSpPr>
          <p:spPr bwMode="auto">
            <a:xfrm>
              <a:off x="5223666" y="1220355"/>
              <a:ext cx="264300" cy="81052"/>
            </a:xfrm>
            <a:custGeom>
              <a:avLst/>
              <a:gdLst/>
              <a:ahLst/>
              <a:cxnLst>
                <a:cxn ang="0">
                  <a:pos x="21" y="49"/>
                </a:cxn>
                <a:cxn ang="0">
                  <a:pos x="17" y="42"/>
                </a:cxn>
                <a:cxn ang="0">
                  <a:pos x="19" y="38"/>
                </a:cxn>
                <a:cxn ang="0">
                  <a:pos x="5" y="31"/>
                </a:cxn>
                <a:cxn ang="0">
                  <a:pos x="1" y="23"/>
                </a:cxn>
                <a:cxn ang="0">
                  <a:pos x="21" y="21"/>
                </a:cxn>
                <a:cxn ang="0">
                  <a:pos x="43" y="26"/>
                </a:cxn>
                <a:cxn ang="0">
                  <a:pos x="43" y="21"/>
                </a:cxn>
                <a:cxn ang="0">
                  <a:pos x="36" y="9"/>
                </a:cxn>
                <a:cxn ang="0">
                  <a:pos x="50" y="14"/>
                </a:cxn>
                <a:cxn ang="0">
                  <a:pos x="66" y="17"/>
                </a:cxn>
                <a:cxn ang="0">
                  <a:pos x="57" y="3"/>
                </a:cxn>
                <a:cxn ang="0">
                  <a:pos x="64" y="2"/>
                </a:cxn>
                <a:cxn ang="0">
                  <a:pos x="97" y="12"/>
                </a:cxn>
                <a:cxn ang="0">
                  <a:pos x="125" y="16"/>
                </a:cxn>
                <a:cxn ang="0">
                  <a:pos x="137" y="16"/>
                </a:cxn>
                <a:cxn ang="0">
                  <a:pos x="149" y="31"/>
                </a:cxn>
                <a:cxn ang="0">
                  <a:pos x="158" y="33"/>
                </a:cxn>
                <a:cxn ang="0">
                  <a:pos x="162" y="19"/>
                </a:cxn>
                <a:cxn ang="0">
                  <a:pos x="169" y="3"/>
                </a:cxn>
                <a:cxn ang="0">
                  <a:pos x="181" y="0"/>
                </a:cxn>
                <a:cxn ang="0">
                  <a:pos x="191" y="5"/>
                </a:cxn>
                <a:cxn ang="0">
                  <a:pos x="188" y="17"/>
                </a:cxn>
                <a:cxn ang="0">
                  <a:pos x="195" y="24"/>
                </a:cxn>
                <a:cxn ang="0">
                  <a:pos x="205" y="23"/>
                </a:cxn>
                <a:cxn ang="0">
                  <a:pos x="214" y="10"/>
                </a:cxn>
                <a:cxn ang="0">
                  <a:pos x="230" y="10"/>
                </a:cxn>
                <a:cxn ang="0">
                  <a:pos x="283" y="24"/>
                </a:cxn>
                <a:cxn ang="0">
                  <a:pos x="306" y="24"/>
                </a:cxn>
                <a:cxn ang="0">
                  <a:pos x="327" y="33"/>
                </a:cxn>
                <a:cxn ang="0">
                  <a:pos x="327" y="45"/>
                </a:cxn>
                <a:cxn ang="0">
                  <a:pos x="301" y="56"/>
                </a:cxn>
                <a:cxn ang="0">
                  <a:pos x="285" y="70"/>
                </a:cxn>
                <a:cxn ang="0">
                  <a:pos x="280" y="80"/>
                </a:cxn>
                <a:cxn ang="0">
                  <a:pos x="264" y="85"/>
                </a:cxn>
                <a:cxn ang="0">
                  <a:pos x="245" y="82"/>
                </a:cxn>
                <a:cxn ang="0">
                  <a:pos x="226" y="92"/>
                </a:cxn>
                <a:cxn ang="0">
                  <a:pos x="207" y="99"/>
                </a:cxn>
                <a:cxn ang="0">
                  <a:pos x="170" y="87"/>
                </a:cxn>
                <a:cxn ang="0">
                  <a:pos x="144" y="82"/>
                </a:cxn>
                <a:cxn ang="0">
                  <a:pos x="68" y="73"/>
                </a:cxn>
                <a:cxn ang="0">
                  <a:pos x="64" y="70"/>
                </a:cxn>
                <a:cxn ang="0">
                  <a:pos x="82" y="64"/>
                </a:cxn>
                <a:cxn ang="0">
                  <a:pos x="135" y="52"/>
                </a:cxn>
                <a:cxn ang="0">
                  <a:pos x="111" y="50"/>
                </a:cxn>
                <a:cxn ang="0">
                  <a:pos x="62" y="57"/>
                </a:cxn>
                <a:cxn ang="0">
                  <a:pos x="38" y="57"/>
                </a:cxn>
              </a:cxnLst>
              <a:rect l="0" t="0" r="r" b="b"/>
              <a:pathLst>
                <a:path w="331" h="99">
                  <a:moveTo>
                    <a:pt x="29" y="54"/>
                  </a:moveTo>
                  <a:lnTo>
                    <a:pt x="29" y="54"/>
                  </a:lnTo>
                  <a:lnTo>
                    <a:pt x="21" y="49"/>
                  </a:lnTo>
                  <a:lnTo>
                    <a:pt x="17" y="45"/>
                  </a:lnTo>
                  <a:lnTo>
                    <a:pt x="15" y="44"/>
                  </a:lnTo>
                  <a:lnTo>
                    <a:pt x="17" y="42"/>
                  </a:lnTo>
                  <a:lnTo>
                    <a:pt x="19" y="42"/>
                  </a:lnTo>
                  <a:lnTo>
                    <a:pt x="21" y="40"/>
                  </a:lnTo>
                  <a:lnTo>
                    <a:pt x="19" y="38"/>
                  </a:lnTo>
                  <a:lnTo>
                    <a:pt x="12" y="37"/>
                  </a:lnTo>
                  <a:lnTo>
                    <a:pt x="12" y="37"/>
                  </a:lnTo>
                  <a:lnTo>
                    <a:pt x="5" y="31"/>
                  </a:lnTo>
                  <a:lnTo>
                    <a:pt x="1" y="28"/>
                  </a:lnTo>
                  <a:lnTo>
                    <a:pt x="0" y="24"/>
                  </a:lnTo>
                  <a:lnTo>
                    <a:pt x="1" y="23"/>
                  </a:lnTo>
                  <a:lnTo>
                    <a:pt x="5" y="21"/>
                  </a:lnTo>
                  <a:lnTo>
                    <a:pt x="12" y="21"/>
                  </a:lnTo>
                  <a:lnTo>
                    <a:pt x="21" y="21"/>
                  </a:lnTo>
                  <a:lnTo>
                    <a:pt x="33" y="24"/>
                  </a:lnTo>
                  <a:lnTo>
                    <a:pt x="33" y="24"/>
                  </a:lnTo>
                  <a:lnTo>
                    <a:pt x="43" y="26"/>
                  </a:lnTo>
                  <a:lnTo>
                    <a:pt x="45" y="26"/>
                  </a:lnTo>
                  <a:lnTo>
                    <a:pt x="45" y="24"/>
                  </a:lnTo>
                  <a:lnTo>
                    <a:pt x="43" y="21"/>
                  </a:lnTo>
                  <a:lnTo>
                    <a:pt x="40" y="16"/>
                  </a:lnTo>
                  <a:lnTo>
                    <a:pt x="36" y="12"/>
                  </a:lnTo>
                  <a:lnTo>
                    <a:pt x="36" y="9"/>
                  </a:lnTo>
                  <a:lnTo>
                    <a:pt x="40" y="10"/>
                  </a:lnTo>
                  <a:lnTo>
                    <a:pt x="50" y="14"/>
                  </a:lnTo>
                  <a:lnTo>
                    <a:pt x="50" y="14"/>
                  </a:lnTo>
                  <a:lnTo>
                    <a:pt x="62" y="17"/>
                  </a:lnTo>
                  <a:lnTo>
                    <a:pt x="64" y="19"/>
                  </a:lnTo>
                  <a:lnTo>
                    <a:pt x="66" y="17"/>
                  </a:lnTo>
                  <a:lnTo>
                    <a:pt x="64" y="14"/>
                  </a:lnTo>
                  <a:lnTo>
                    <a:pt x="61" y="9"/>
                  </a:lnTo>
                  <a:lnTo>
                    <a:pt x="57" y="3"/>
                  </a:lnTo>
                  <a:lnTo>
                    <a:pt x="57" y="2"/>
                  </a:lnTo>
                  <a:lnTo>
                    <a:pt x="57" y="0"/>
                  </a:lnTo>
                  <a:lnTo>
                    <a:pt x="64" y="2"/>
                  </a:lnTo>
                  <a:lnTo>
                    <a:pt x="80" y="7"/>
                  </a:lnTo>
                  <a:lnTo>
                    <a:pt x="80" y="7"/>
                  </a:lnTo>
                  <a:lnTo>
                    <a:pt x="97" y="12"/>
                  </a:lnTo>
                  <a:lnTo>
                    <a:pt x="109" y="16"/>
                  </a:lnTo>
                  <a:lnTo>
                    <a:pt x="120" y="16"/>
                  </a:lnTo>
                  <a:lnTo>
                    <a:pt x="125" y="16"/>
                  </a:lnTo>
                  <a:lnTo>
                    <a:pt x="130" y="14"/>
                  </a:lnTo>
                  <a:lnTo>
                    <a:pt x="134" y="14"/>
                  </a:lnTo>
                  <a:lnTo>
                    <a:pt x="137" y="16"/>
                  </a:lnTo>
                  <a:lnTo>
                    <a:pt x="142" y="21"/>
                  </a:lnTo>
                  <a:lnTo>
                    <a:pt x="142" y="21"/>
                  </a:lnTo>
                  <a:lnTo>
                    <a:pt x="149" y="31"/>
                  </a:lnTo>
                  <a:lnTo>
                    <a:pt x="153" y="33"/>
                  </a:lnTo>
                  <a:lnTo>
                    <a:pt x="156" y="35"/>
                  </a:lnTo>
                  <a:lnTo>
                    <a:pt x="158" y="33"/>
                  </a:lnTo>
                  <a:lnTo>
                    <a:pt x="160" y="31"/>
                  </a:lnTo>
                  <a:lnTo>
                    <a:pt x="162" y="19"/>
                  </a:lnTo>
                  <a:lnTo>
                    <a:pt x="162" y="19"/>
                  </a:lnTo>
                  <a:lnTo>
                    <a:pt x="162" y="12"/>
                  </a:lnTo>
                  <a:lnTo>
                    <a:pt x="165" y="7"/>
                  </a:lnTo>
                  <a:lnTo>
                    <a:pt x="169" y="3"/>
                  </a:lnTo>
                  <a:lnTo>
                    <a:pt x="172" y="0"/>
                  </a:lnTo>
                  <a:lnTo>
                    <a:pt x="176" y="0"/>
                  </a:lnTo>
                  <a:lnTo>
                    <a:pt x="181" y="0"/>
                  </a:lnTo>
                  <a:lnTo>
                    <a:pt x="189" y="2"/>
                  </a:lnTo>
                  <a:lnTo>
                    <a:pt x="189" y="2"/>
                  </a:lnTo>
                  <a:lnTo>
                    <a:pt x="191" y="5"/>
                  </a:lnTo>
                  <a:lnTo>
                    <a:pt x="191" y="7"/>
                  </a:lnTo>
                  <a:lnTo>
                    <a:pt x="189" y="14"/>
                  </a:lnTo>
                  <a:lnTo>
                    <a:pt x="188" y="17"/>
                  </a:lnTo>
                  <a:lnTo>
                    <a:pt x="188" y="21"/>
                  </a:lnTo>
                  <a:lnTo>
                    <a:pt x="189" y="23"/>
                  </a:lnTo>
                  <a:lnTo>
                    <a:pt x="195" y="24"/>
                  </a:lnTo>
                  <a:lnTo>
                    <a:pt x="195" y="24"/>
                  </a:lnTo>
                  <a:lnTo>
                    <a:pt x="202" y="24"/>
                  </a:lnTo>
                  <a:lnTo>
                    <a:pt x="205" y="23"/>
                  </a:lnTo>
                  <a:lnTo>
                    <a:pt x="209" y="17"/>
                  </a:lnTo>
                  <a:lnTo>
                    <a:pt x="210" y="14"/>
                  </a:lnTo>
                  <a:lnTo>
                    <a:pt x="214" y="10"/>
                  </a:lnTo>
                  <a:lnTo>
                    <a:pt x="221" y="10"/>
                  </a:lnTo>
                  <a:lnTo>
                    <a:pt x="230" y="10"/>
                  </a:lnTo>
                  <a:lnTo>
                    <a:pt x="230" y="10"/>
                  </a:lnTo>
                  <a:lnTo>
                    <a:pt x="252" y="16"/>
                  </a:lnTo>
                  <a:lnTo>
                    <a:pt x="270" y="21"/>
                  </a:lnTo>
                  <a:lnTo>
                    <a:pt x="283" y="24"/>
                  </a:lnTo>
                  <a:lnTo>
                    <a:pt x="297" y="24"/>
                  </a:lnTo>
                  <a:lnTo>
                    <a:pt x="297" y="24"/>
                  </a:lnTo>
                  <a:lnTo>
                    <a:pt x="306" y="24"/>
                  </a:lnTo>
                  <a:lnTo>
                    <a:pt x="313" y="26"/>
                  </a:lnTo>
                  <a:lnTo>
                    <a:pt x="320" y="30"/>
                  </a:lnTo>
                  <a:lnTo>
                    <a:pt x="327" y="33"/>
                  </a:lnTo>
                  <a:lnTo>
                    <a:pt x="331" y="37"/>
                  </a:lnTo>
                  <a:lnTo>
                    <a:pt x="331" y="42"/>
                  </a:lnTo>
                  <a:lnTo>
                    <a:pt x="327" y="45"/>
                  </a:lnTo>
                  <a:lnTo>
                    <a:pt x="317" y="50"/>
                  </a:lnTo>
                  <a:lnTo>
                    <a:pt x="317" y="50"/>
                  </a:lnTo>
                  <a:lnTo>
                    <a:pt x="301" y="56"/>
                  </a:lnTo>
                  <a:lnTo>
                    <a:pt x="290" y="61"/>
                  </a:lnTo>
                  <a:lnTo>
                    <a:pt x="287" y="66"/>
                  </a:lnTo>
                  <a:lnTo>
                    <a:pt x="285" y="70"/>
                  </a:lnTo>
                  <a:lnTo>
                    <a:pt x="283" y="73"/>
                  </a:lnTo>
                  <a:lnTo>
                    <a:pt x="283" y="77"/>
                  </a:lnTo>
                  <a:lnTo>
                    <a:pt x="280" y="80"/>
                  </a:lnTo>
                  <a:lnTo>
                    <a:pt x="273" y="84"/>
                  </a:lnTo>
                  <a:lnTo>
                    <a:pt x="273" y="84"/>
                  </a:lnTo>
                  <a:lnTo>
                    <a:pt x="264" y="85"/>
                  </a:lnTo>
                  <a:lnTo>
                    <a:pt x="259" y="85"/>
                  </a:lnTo>
                  <a:lnTo>
                    <a:pt x="250" y="82"/>
                  </a:lnTo>
                  <a:lnTo>
                    <a:pt x="245" y="82"/>
                  </a:lnTo>
                  <a:lnTo>
                    <a:pt x="242" y="82"/>
                  </a:lnTo>
                  <a:lnTo>
                    <a:pt x="235" y="85"/>
                  </a:lnTo>
                  <a:lnTo>
                    <a:pt x="226" y="92"/>
                  </a:lnTo>
                  <a:lnTo>
                    <a:pt x="226" y="92"/>
                  </a:lnTo>
                  <a:lnTo>
                    <a:pt x="216" y="98"/>
                  </a:lnTo>
                  <a:lnTo>
                    <a:pt x="207" y="99"/>
                  </a:lnTo>
                  <a:lnTo>
                    <a:pt x="198" y="98"/>
                  </a:lnTo>
                  <a:lnTo>
                    <a:pt x="189" y="96"/>
                  </a:lnTo>
                  <a:lnTo>
                    <a:pt x="170" y="87"/>
                  </a:lnTo>
                  <a:lnTo>
                    <a:pt x="158" y="84"/>
                  </a:lnTo>
                  <a:lnTo>
                    <a:pt x="144" y="82"/>
                  </a:lnTo>
                  <a:lnTo>
                    <a:pt x="144" y="82"/>
                  </a:lnTo>
                  <a:lnTo>
                    <a:pt x="111" y="80"/>
                  </a:lnTo>
                  <a:lnTo>
                    <a:pt x="78" y="77"/>
                  </a:lnTo>
                  <a:lnTo>
                    <a:pt x="68" y="73"/>
                  </a:lnTo>
                  <a:lnTo>
                    <a:pt x="66" y="73"/>
                  </a:lnTo>
                  <a:lnTo>
                    <a:pt x="64" y="71"/>
                  </a:lnTo>
                  <a:lnTo>
                    <a:pt x="64" y="70"/>
                  </a:lnTo>
                  <a:lnTo>
                    <a:pt x="68" y="68"/>
                  </a:lnTo>
                  <a:lnTo>
                    <a:pt x="82" y="64"/>
                  </a:lnTo>
                  <a:lnTo>
                    <a:pt x="82" y="64"/>
                  </a:lnTo>
                  <a:lnTo>
                    <a:pt x="115" y="57"/>
                  </a:lnTo>
                  <a:lnTo>
                    <a:pt x="134" y="54"/>
                  </a:lnTo>
                  <a:lnTo>
                    <a:pt x="135" y="52"/>
                  </a:lnTo>
                  <a:lnTo>
                    <a:pt x="134" y="50"/>
                  </a:lnTo>
                  <a:lnTo>
                    <a:pt x="111" y="50"/>
                  </a:lnTo>
                  <a:lnTo>
                    <a:pt x="111" y="50"/>
                  </a:lnTo>
                  <a:lnTo>
                    <a:pt x="95" y="52"/>
                  </a:lnTo>
                  <a:lnTo>
                    <a:pt x="83" y="54"/>
                  </a:lnTo>
                  <a:lnTo>
                    <a:pt x="62" y="57"/>
                  </a:lnTo>
                  <a:lnTo>
                    <a:pt x="54" y="59"/>
                  </a:lnTo>
                  <a:lnTo>
                    <a:pt x="47" y="59"/>
                  </a:lnTo>
                  <a:lnTo>
                    <a:pt x="38" y="57"/>
                  </a:lnTo>
                  <a:lnTo>
                    <a:pt x="29" y="54"/>
                  </a:lnTo>
                  <a:lnTo>
                    <a:pt x="29" y="5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5" name="Freeform 1780">
              <a:extLst>
                <a:ext uri="{FF2B5EF4-FFF2-40B4-BE49-F238E27FC236}">
                  <a16:creationId xmlns:a16="http://schemas.microsoft.com/office/drawing/2014/main" id="{BD052758-FB1E-4FE3-9B41-AF6856F96AE1}"/>
                </a:ext>
              </a:extLst>
            </p:cNvPr>
            <p:cNvSpPr>
              <a:spLocks noEditPoints="1"/>
            </p:cNvSpPr>
            <p:nvPr/>
          </p:nvSpPr>
          <p:spPr bwMode="auto">
            <a:xfrm>
              <a:off x="4858933" y="1734862"/>
              <a:ext cx="736516" cy="625512"/>
            </a:xfrm>
            <a:custGeom>
              <a:avLst/>
              <a:gdLst/>
              <a:ahLst/>
              <a:cxnLst>
                <a:cxn ang="0">
                  <a:pos x="312" y="179"/>
                </a:cxn>
                <a:cxn ang="0">
                  <a:pos x="388" y="169"/>
                </a:cxn>
                <a:cxn ang="0">
                  <a:pos x="387" y="139"/>
                </a:cxn>
                <a:cxn ang="0">
                  <a:pos x="374" y="136"/>
                </a:cxn>
                <a:cxn ang="0">
                  <a:pos x="346" y="146"/>
                </a:cxn>
                <a:cxn ang="0">
                  <a:pos x="327" y="181"/>
                </a:cxn>
                <a:cxn ang="0">
                  <a:pos x="428" y="129"/>
                </a:cxn>
                <a:cxn ang="0">
                  <a:pos x="442" y="97"/>
                </a:cxn>
                <a:cxn ang="0">
                  <a:pos x="463" y="92"/>
                </a:cxn>
                <a:cxn ang="0">
                  <a:pos x="487" y="75"/>
                </a:cxn>
                <a:cxn ang="0">
                  <a:pos x="524" y="54"/>
                </a:cxn>
                <a:cxn ang="0">
                  <a:pos x="623" y="26"/>
                </a:cxn>
                <a:cxn ang="0">
                  <a:pos x="635" y="48"/>
                </a:cxn>
                <a:cxn ang="0">
                  <a:pos x="674" y="28"/>
                </a:cxn>
                <a:cxn ang="0">
                  <a:pos x="782" y="73"/>
                </a:cxn>
                <a:cxn ang="0">
                  <a:pos x="662" y="146"/>
                </a:cxn>
                <a:cxn ang="0">
                  <a:pos x="536" y="132"/>
                </a:cxn>
                <a:cxn ang="0">
                  <a:pos x="437" y="190"/>
                </a:cxn>
                <a:cxn ang="0">
                  <a:pos x="353" y="306"/>
                </a:cxn>
                <a:cxn ang="0">
                  <a:pos x="312" y="433"/>
                </a:cxn>
                <a:cxn ang="0">
                  <a:pos x="258" y="534"/>
                </a:cxn>
                <a:cxn ang="0">
                  <a:pos x="256" y="670"/>
                </a:cxn>
                <a:cxn ang="0">
                  <a:pos x="200" y="701"/>
                </a:cxn>
                <a:cxn ang="0">
                  <a:pos x="165" y="722"/>
                </a:cxn>
                <a:cxn ang="0">
                  <a:pos x="68" y="775"/>
                </a:cxn>
                <a:cxn ang="0">
                  <a:pos x="33" y="719"/>
                </a:cxn>
                <a:cxn ang="0">
                  <a:pos x="30" y="684"/>
                </a:cxn>
                <a:cxn ang="0">
                  <a:pos x="16" y="658"/>
                </a:cxn>
                <a:cxn ang="0">
                  <a:pos x="12" y="609"/>
                </a:cxn>
                <a:cxn ang="0">
                  <a:pos x="54" y="597"/>
                </a:cxn>
                <a:cxn ang="0">
                  <a:pos x="28" y="560"/>
                </a:cxn>
                <a:cxn ang="0">
                  <a:pos x="31" y="541"/>
                </a:cxn>
                <a:cxn ang="0">
                  <a:pos x="85" y="508"/>
                </a:cxn>
                <a:cxn ang="0">
                  <a:pos x="141" y="466"/>
                </a:cxn>
                <a:cxn ang="0">
                  <a:pos x="202" y="461"/>
                </a:cxn>
                <a:cxn ang="0">
                  <a:pos x="172" y="458"/>
                </a:cxn>
                <a:cxn ang="0">
                  <a:pos x="214" y="402"/>
                </a:cxn>
                <a:cxn ang="0">
                  <a:pos x="207" y="385"/>
                </a:cxn>
                <a:cxn ang="0">
                  <a:pos x="268" y="332"/>
                </a:cxn>
                <a:cxn ang="0">
                  <a:pos x="286" y="292"/>
                </a:cxn>
                <a:cxn ang="0">
                  <a:pos x="319" y="250"/>
                </a:cxn>
                <a:cxn ang="0">
                  <a:pos x="346" y="233"/>
                </a:cxn>
                <a:cxn ang="0">
                  <a:pos x="346" y="205"/>
                </a:cxn>
                <a:cxn ang="0">
                  <a:pos x="397" y="198"/>
                </a:cxn>
                <a:cxn ang="0">
                  <a:pos x="409" y="169"/>
                </a:cxn>
                <a:cxn ang="0">
                  <a:pos x="463" y="102"/>
                </a:cxn>
                <a:cxn ang="0">
                  <a:pos x="493" y="97"/>
                </a:cxn>
                <a:cxn ang="0">
                  <a:pos x="536" y="102"/>
                </a:cxn>
                <a:cxn ang="0">
                  <a:pos x="597" y="73"/>
                </a:cxn>
                <a:cxn ang="0">
                  <a:pos x="615" y="54"/>
                </a:cxn>
                <a:cxn ang="0">
                  <a:pos x="679" y="29"/>
                </a:cxn>
                <a:cxn ang="0">
                  <a:pos x="716" y="14"/>
                </a:cxn>
                <a:cxn ang="0">
                  <a:pos x="721" y="47"/>
                </a:cxn>
                <a:cxn ang="0">
                  <a:pos x="789" y="17"/>
                </a:cxn>
                <a:cxn ang="0">
                  <a:pos x="822" y="17"/>
                </a:cxn>
                <a:cxn ang="0">
                  <a:pos x="857" y="24"/>
                </a:cxn>
                <a:cxn ang="0">
                  <a:pos x="872" y="66"/>
                </a:cxn>
                <a:cxn ang="0">
                  <a:pos x="912" y="90"/>
                </a:cxn>
                <a:cxn ang="0">
                  <a:pos x="320" y="176"/>
                </a:cxn>
                <a:cxn ang="0">
                  <a:pos x="355" y="200"/>
                </a:cxn>
                <a:cxn ang="0">
                  <a:pos x="493" y="61"/>
                </a:cxn>
                <a:cxn ang="0">
                  <a:pos x="559" y="68"/>
                </a:cxn>
                <a:cxn ang="0">
                  <a:pos x="669" y="10"/>
                </a:cxn>
              </a:cxnLst>
              <a:rect l="0" t="0" r="r" b="b"/>
              <a:pathLst>
                <a:path w="918" h="780">
                  <a:moveTo>
                    <a:pt x="286" y="193"/>
                  </a:moveTo>
                  <a:lnTo>
                    <a:pt x="286" y="193"/>
                  </a:lnTo>
                  <a:lnTo>
                    <a:pt x="286" y="198"/>
                  </a:lnTo>
                  <a:lnTo>
                    <a:pt x="286" y="200"/>
                  </a:lnTo>
                  <a:lnTo>
                    <a:pt x="282" y="203"/>
                  </a:lnTo>
                  <a:lnTo>
                    <a:pt x="282" y="203"/>
                  </a:lnTo>
                  <a:lnTo>
                    <a:pt x="277" y="205"/>
                  </a:lnTo>
                  <a:lnTo>
                    <a:pt x="279" y="200"/>
                  </a:lnTo>
                  <a:lnTo>
                    <a:pt x="279" y="200"/>
                  </a:lnTo>
                  <a:lnTo>
                    <a:pt x="284" y="191"/>
                  </a:lnTo>
                  <a:lnTo>
                    <a:pt x="286" y="190"/>
                  </a:lnTo>
                  <a:lnTo>
                    <a:pt x="286" y="193"/>
                  </a:lnTo>
                  <a:lnTo>
                    <a:pt x="286" y="193"/>
                  </a:lnTo>
                  <a:close/>
                  <a:moveTo>
                    <a:pt x="289" y="195"/>
                  </a:moveTo>
                  <a:lnTo>
                    <a:pt x="289" y="195"/>
                  </a:lnTo>
                  <a:lnTo>
                    <a:pt x="289" y="191"/>
                  </a:lnTo>
                  <a:lnTo>
                    <a:pt x="291" y="191"/>
                  </a:lnTo>
                  <a:lnTo>
                    <a:pt x="292" y="191"/>
                  </a:lnTo>
                  <a:lnTo>
                    <a:pt x="292" y="188"/>
                  </a:lnTo>
                  <a:lnTo>
                    <a:pt x="292" y="188"/>
                  </a:lnTo>
                  <a:lnTo>
                    <a:pt x="294" y="186"/>
                  </a:lnTo>
                  <a:lnTo>
                    <a:pt x="296" y="186"/>
                  </a:lnTo>
                  <a:lnTo>
                    <a:pt x="298" y="188"/>
                  </a:lnTo>
                  <a:lnTo>
                    <a:pt x="296" y="191"/>
                  </a:lnTo>
                  <a:lnTo>
                    <a:pt x="296" y="191"/>
                  </a:lnTo>
                  <a:lnTo>
                    <a:pt x="292" y="196"/>
                  </a:lnTo>
                  <a:lnTo>
                    <a:pt x="291" y="196"/>
                  </a:lnTo>
                  <a:lnTo>
                    <a:pt x="289" y="195"/>
                  </a:lnTo>
                  <a:lnTo>
                    <a:pt x="289" y="195"/>
                  </a:lnTo>
                  <a:close/>
                  <a:moveTo>
                    <a:pt x="299" y="184"/>
                  </a:moveTo>
                  <a:lnTo>
                    <a:pt x="299" y="184"/>
                  </a:lnTo>
                  <a:lnTo>
                    <a:pt x="303" y="181"/>
                  </a:lnTo>
                  <a:lnTo>
                    <a:pt x="305" y="177"/>
                  </a:lnTo>
                  <a:lnTo>
                    <a:pt x="308" y="177"/>
                  </a:lnTo>
                  <a:lnTo>
                    <a:pt x="312" y="179"/>
                  </a:lnTo>
                  <a:lnTo>
                    <a:pt x="312" y="179"/>
                  </a:lnTo>
                  <a:lnTo>
                    <a:pt x="320" y="181"/>
                  </a:lnTo>
                  <a:lnTo>
                    <a:pt x="322" y="181"/>
                  </a:lnTo>
                  <a:lnTo>
                    <a:pt x="319" y="183"/>
                  </a:lnTo>
                  <a:lnTo>
                    <a:pt x="319" y="183"/>
                  </a:lnTo>
                  <a:lnTo>
                    <a:pt x="315" y="184"/>
                  </a:lnTo>
                  <a:lnTo>
                    <a:pt x="313" y="188"/>
                  </a:lnTo>
                  <a:lnTo>
                    <a:pt x="312" y="190"/>
                  </a:lnTo>
                  <a:lnTo>
                    <a:pt x="308" y="191"/>
                  </a:lnTo>
                  <a:lnTo>
                    <a:pt x="308" y="191"/>
                  </a:lnTo>
                  <a:lnTo>
                    <a:pt x="306" y="191"/>
                  </a:lnTo>
                  <a:lnTo>
                    <a:pt x="305" y="190"/>
                  </a:lnTo>
                  <a:lnTo>
                    <a:pt x="303" y="191"/>
                  </a:lnTo>
                  <a:lnTo>
                    <a:pt x="303" y="191"/>
                  </a:lnTo>
                  <a:lnTo>
                    <a:pt x="301" y="193"/>
                  </a:lnTo>
                  <a:lnTo>
                    <a:pt x="299" y="191"/>
                  </a:lnTo>
                  <a:lnTo>
                    <a:pt x="299" y="191"/>
                  </a:lnTo>
                  <a:lnTo>
                    <a:pt x="299" y="190"/>
                  </a:lnTo>
                  <a:lnTo>
                    <a:pt x="299" y="190"/>
                  </a:lnTo>
                  <a:lnTo>
                    <a:pt x="299" y="186"/>
                  </a:lnTo>
                  <a:lnTo>
                    <a:pt x="299" y="184"/>
                  </a:lnTo>
                  <a:lnTo>
                    <a:pt x="299" y="184"/>
                  </a:lnTo>
                  <a:close/>
                  <a:moveTo>
                    <a:pt x="400" y="141"/>
                  </a:moveTo>
                  <a:lnTo>
                    <a:pt x="400" y="141"/>
                  </a:lnTo>
                  <a:lnTo>
                    <a:pt x="404" y="144"/>
                  </a:lnTo>
                  <a:lnTo>
                    <a:pt x="407" y="151"/>
                  </a:lnTo>
                  <a:lnTo>
                    <a:pt x="407" y="153"/>
                  </a:lnTo>
                  <a:lnTo>
                    <a:pt x="407" y="156"/>
                  </a:lnTo>
                  <a:lnTo>
                    <a:pt x="406" y="158"/>
                  </a:lnTo>
                  <a:lnTo>
                    <a:pt x="402" y="158"/>
                  </a:lnTo>
                  <a:lnTo>
                    <a:pt x="402" y="158"/>
                  </a:lnTo>
                  <a:lnTo>
                    <a:pt x="395" y="160"/>
                  </a:lnTo>
                  <a:lnTo>
                    <a:pt x="392" y="162"/>
                  </a:lnTo>
                  <a:lnTo>
                    <a:pt x="390" y="165"/>
                  </a:lnTo>
                  <a:lnTo>
                    <a:pt x="388" y="169"/>
                  </a:lnTo>
                  <a:lnTo>
                    <a:pt x="388" y="169"/>
                  </a:lnTo>
                  <a:lnTo>
                    <a:pt x="385" y="172"/>
                  </a:lnTo>
                  <a:lnTo>
                    <a:pt x="383" y="172"/>
                  </a:lnTo>
                  <a:lnTo>
                    <a:pt x="381" y="170"/>
                  </a:lnTo>
                  <a:lnTo>
                    <a:pt x="381" y="170"/>
                  </a:lnTo>
                  <a:lnTo>
                    <a:pt x="380" y="170"/>
                  </a:lnTo>
                  <a:lnTo>
                    <a:pt x="378" y="170"/>
                  </a:lnTo>
                  <a:lnTo>
                    <a:pt x="376" y="174"/>
                  </a:lnTo>
                  <a:lnTo>
                    <a:pt x="374" y="177"/>
                  </a:lnTo>
                  <a:lnTo>
                    <a:pt x="373" y="177"/>
                  </a:lnTo>
                  <a:lnTo>
                    <a:pt x="371" y="176"/>
                  </a:lnTo>
                  <a:lnTo>
                    <a:pt x="371" y="176"/>
                  </a:lnTo>
                  <a:lnTo>
                    <a:pt x="367" y="176"/>
                  </a:lnTo>
                  <a:lnTo>
                    <a:pt x="366" y="176"/>
                  </a:lnTo>
                  <a:lnTo>
                    <a:pt x="359" y="177"/>
                  </a:lnTo>
                  <a:lnTo>
                    <a:pt x="355" y="179"/>
                  </a:lnTo>
                  <a:lnTo>
                    <a:pt x="357" y="174"/>
                  </a:lnTo>
                  <a:lnTo>
                    <a:pt x="357" y="174"/>
                  </a:lnTo>
                  <a:lnTo>
                    <a:pt x="360" y="167"/>
                  </a:lnTo>
                  <a:lnTo>
                    <a:pt x="360" y="163"/>
                  </a:lnTo>
                  <a:lnTo>
                    <a:pt x="362" y="162"/>
                  </a:lnTo>
                  <a:lnTo>
                    <a:pt x="366" y="160"/>
                  </a:lnTo>
                  <a:lnTo>
                    <a:pt x="366" y="160"/>
                  </a:lnTo>
                  <a:lnTo>
                    <a:pt x="369" y="158"/>
                  </a:lnTo>
                  <a:lnTo>
                    <a:pt x="371" y="156"/>
                  </a:lnTo>
                  <a:lnTo>
                    <a:pt x="369" y="151"/>
                  </a:lnTo>
                  <a:lnTo>
                    <a:pt x="369" y="148"/>
                  </a:lnTo>
                  <a:lnTo>
                    <a:pt x="369" y="148"/>
                  </a:lnTo>
                  <a:lnTo>
                    <a:pt x="373" y="142"/>
                  </a:lnTo>
                  <a:lnTo>
                    <a:pt x="376" y="139"/>
                  </a:lnTo>
                  <a:lnTo>
                    <a:pt x="380" y="136"/>
                  </a:lnTo>
                  <a:lnTo>
                    <a:pt x="385" y="136"/>
                  </a:lnTo>
                  <a:lnTo>
                    <a:pt x="385" y="136"/>
                  </a:lnTo>
                  <a:lnTo>
                    <a:pt x="387" y="137"/>
                  </a:lnTo>
                  <a:lnTo>
                    <a:pt x="387" y="139"/>
                  </a:lnTo>
                  <a:lnTo>
                    <a:pt x="383" y="144"/>
                  </a:lnTo>
                  <a:lnTo>
                    <a:pt x="381" y="148"/>
                  </a:lnTo>
                  <a:lnTo>
                    <a:pt x="381" y="149"/>
                  </a:lnTo>
                  <a:lnTo>
                    <a:pt x="383" y="149"/>
                  </a:lnTo>
                  <a:lnTo>
                    <a:pt x="383" y="149"/>
                  </a:lnTo>
                  <a:lnTo>
                    <a:pt x="387" y="149"/>
                  </a:lnTo>
                  <a:lnTo>
                    <a:pt x="387" y="149"/>
                  </a:lnTo>
                  <a:lnTo>
                    <a:pt x="385" y="153"/>
                  </a:lnTo>
                  <a:lnTo>
                    <a:pt x="383" y="156"/>
                  </a:lnTo>
                  <a:lnTo>
                    <a:pt x="387" y="155"/>
                  </a:lnTo>
                  <a:lnTo>
                    <a:pt x="387" y="155"/>
                  </a:lnTo>
                  <a:lnTo>
                    <a:pt x="392" y="149"/>
                  </a:lnTo>
                  <a:lnTo>
                    <a:pt x="392" y="146"/>
                  </a:lnTo>
                  <a:lnTo>
                    <a:pt x="392" y="144"/>
                  </a:lnTo>
                  <a:lnTo>
                    <a:pt x="393" y="141"/>
                  </a:lnTo>
                  <a:lnTo>
                    <a:pt x="393" y="141"/>
                  </a:lnTo>
                  <a:lnTo>
                    <a:pt x="397" y="139"/>
                  </a:lnTo>
                  <a:lnTo>
                    <a:pt x="400" y="141"/>
                  </a:lnTo>
                  <a:lnTo>
                    <a:pt x="400" y="141"/>
                  </a:lnTo>
                  <a:close/>
                  <a:moveTo>
                    <a:pt x="369" y="132"/>
                  </a:moveTo>
                  <a:lnTo>
                    <a:pt x="369" y="132"/>
                  </a:lnTo>
                  <a:lnTo>
                    <a:pt x="373" y="127"/>
                  </a:lnTo>
                  <a:lnTo>
                    <a:pt x="376" y="122"/>
                  </a:lnTo>
                  <a:lnTo>
                    <a:pt x="387" y="116"/>
                  </a:lnTo>
                  <a:lnTo>
                    <a:pt x="387" y="116"/>
                  </a:lnTo>
                  <a:lnTo>
                    <a:pt x="392" y="115"/>
                  </a:lnTo>
                  <a:lnTo>
                    <a:pt x="393" y="115"/>
                  </a:lnTo>
                  <a:lnTo>
                    <a:pt x="392" y="118"/>
                  </a:lnTo>
                  <a:lnTo>
                    <a:pt x="388" y="123"/>
                  </a:lnTo>
                  <a:lnTo>
                    <a:pt x="388" y="123"/>
                  </a:lnTo>
                  <a:lnTo>
                    <a:pt x="383" y="130"/>
                  </a:lnTo>
                  <a:lnTo>
                    <a:pt x="381" y="132"/>
                  </a:lnTo>
                  <a:lnTo>
                    <a:pt x="378" y="134"/>
                  </a:lnTo>
                  <a:lnTo>
                    <a:pt x="378" y="134"/>
                  </a:lnTo>
                  <a:lnTo>
                    <a:pt x="374" y="136"/>
                  </a:lnTo>
                  <a:lnTo>
                    <a:pt x="373" y="137"/>
                  </a:lnTo>
                  <a:lnTo>
                    <a:pt x="371" y="141"/>
                  </a:lnTo>
                  <a:lnTo>
                    <a:pt x="369" y="141"/>
                  </a:lnTo>
                  <a:lnTo>
                    <a:pt x="369" y="141"/>
                  </a:lnTo>
                  <a:lnTo>
                    <a:pt x="367" y="139"/>
                  </a:lnTo>
                  <a:lnTo>
                    <a:pt x="367" y="137"/>
                  </a:lnTo>
                  <a:lnTo>
                    <a:pt x="369" y="132"/>
                  </a:lnTo>
                  <a:lnTo>
                    <a:pt x="369" y="132"/>
                  </a:lnTo>
                  <a:close/>
                  <a:moveTo>
                    <a:pt x="346" y="158"/>
                  </a:moveTo>
                  <a:lnTo>
                    <a:pt x="346" y="158"/>
                  </a:lnTo>
                  <a:lnTo>
                    <a:pt x="346" y="158"/>
                  </a:lnTo>
                  <a:lnTo>
                    <a:pt x="346" y="156"/>
                  </a:lnTo>
                  <a:lnTo>
                    <a:pt x="352" y="153"/>
                  </a:lnTo>
                  <a:lnTo>
                    <a:pt x="357" y="151"/>
                  </a:lnTo>
                  <a:lnTo>
                    <a:pt x="352" y="151"/>
                  </a:lnTo>
                  <a:lnTo>
                    <a:pt x="352" y="151"/>
                  </a:lnTo>
                  <a:lnTo>
                    <a:pt x="343" y="153"/>
                  </a:lnTo>
                  <a:lnTo>
                    <a:pt x="339" y="156"/>
                  </a:lnTo>
                  <a:lnTo>
                    <a:pt x="338" y="158"/>
                  </a:lnTo>
                  <a:lnTo>
                    <a:pt x="333" y="156"/>
                  </a:lnTo>
                  <a:lnTo>
                    <a:pt x="333" y="156"/>
                  </a:lnTo>
                  <a:lnTo>
                    <a:pt x="331" y="153"/>
                  </a:lnTo>
                  <a:lnTo>
                    <a:pt x="331" y="151"/>
                  </a:lnTo>
                  <a:lnTo>
                    <a:pt x="333" y="149"/>
                  </a:lnTo>
                  <a:lnTo>
                    <a:pt x="334" y="148"/>
                  </a:lnTo>
                  <a:lnTo>
                    <a:pt x="334" y="148"/>
                  </a:lnTo>
                  <a:lnTo>
                    <a:pt x="334" y="146"/>
                  </a:lnTo>
                  <a:lnTo>
                    <a:pt x="336" y="146"/>
                  </a:lnTo>
                  <a:lnTo>
                    <a:pt x="338" y="144"/>
                  </a:lnTo>
                  <a:lnTo>
                    <a:pt x="339" y="144"/>
                  </a:lnTo>
                  <a:lnTo>
                    <a:pt x="339" y="144"/>
                  </a:lnTo>
                  <a:lnTo>
                    <a:pt x="341" y="142"/>
                  </a:lnTo>
                  <a:lnTo>
                    <a:pt x="341" y="144"/>
                  </a:lnTo>
                  <a:lnTo>
                    <a:pt x="343" y="146"/>
                  </a:lnTo>
                  <a:lnTo>
                    <a:pt x="346" y="146"/>
                  </a:lnTo>
                  <a:lnTo>
                    <a:pt x="346" y="146"/>
                  </a:lnTo>
                  <a:lnTo>
                    <a:pt x="348" y="146"/>
                  </a:lnTo>
                  <a:lnTo>
                    <a:pt x="348" y="144"/>
                  </a:lnTo>
                  <a:lnTo>
                    <a:pt x="350" y="142"/>
                  </a:lnTo>
                  <a:lnTo>
                    <a:pt x="353" y="142"/>
                  </a:lnTo>
                  <a:lnTo>
                    <a:pt x="353" y="142"/>
                  </a:lnTo>
                  <a:lnTo>
                    <a:pt x="357" y="142"/>
                  </a:lnTo>
                  <a:lnTo>
                    <a:pt x="355" y="139"/>
                  </a:lnTo>
                  <a:lnTo>
                    <a:pt x="353" y="136"/>
                  </a:lnTo>
                  <a:lnTo>
                    <a:pt x="353" y="134"/>
                  </a:lnTo>
                  <a:lnTo>
                    <a:pt x="355" y="132"/>
                  </a:lnTo>
                  <a:lnTo>
                    <a:pt x="355" y="132"/>
                  </a:lnTo>
                  <a:lnTo>
                    <a:pt x="357" y="132"/>
                  </a:lnTo>
                  <a:lnTo>
                    <a:pt x="359" y="134"/>
                  </a:lnTo>
                  <a:lnTo>
                    <a:pt x="364" y="137"/>
                  </a:lnTo>
                  <a:lnTo>
                    <a:pt x="366" y="142"/>
                  </a:lnTo>
                  <a:lnTo>
                    <a:pt x="366" y="144"/>
                  </a:lnTo>
                  <a:lnTo>
                    <a:pt x="364" y="146"/>
                  </a:lnTo>
                  <a:lnTo>
                    <a:pt x="364" y="146"/>
                  </a:lnTo>
                  <a:lnTo>
                    <a:pt x="364" y="146"/>
                  </a:lnTo>
                  <a:lnTo>
                    <a:pt x="364" y="148"/>
                  </a:lnTo>
                  <a:lnTo>
                    <a:pt x="366" y="149"/>
                  </a:lnTo>
                  <a:lnTo>
                    <a:pt x="366" y="153"/>
                  </a:lnTo>
                  <a:lnTo>
                    <a:pt x="366" y="155"/>
                  </a:lnTo>
                  <a:lnTo>
                    <a:pt x="364" y="155"/>
                  </a:lnTo>
                  <a:lnTo>
                    <a:pt x="364" y="155"/>
                  </a:lnTo>
                  <a:lnTo>
                    <a:pt x="355" y="158"/>
                  </a:lnTo>
                  <a:lnTo>
                    <a:pt x="346" y="158"/>
                  </a:lnTo>
                  <a:lnTo>
                    <a:pt x="346" y="158"/>
                  </a:lnTo>
                  <a:close/>
                  <a:moveTo>
                    <a:pt x="334" y="183"/>
                  </a:moveTo>
                  <a:lnTo>
                    <a:pt x="334" y="183"/>
                  </a:lnTo>
                  <a:lnTo>
                    <a:pt x="329" y="184"/>
                  </a:lnTo>
                  <a:lnTo>
                    <a:pt x="326" y="184"/>
                  </a:lnTo>
                  <a:lnTo>
                    <a:pt x="326" y="183"/>
                  </a:lnTo>
                  <a:lnTo>
                    <a:pt x="327" y="181"/>
                  </a:lnTo>
                  <a:lnTo>
                    <a:pt x="327" y="181"/>
                  </a:lnTo>
                  <a:lnTo>
                    <a:pt x="329" y="179"/>
                  </a:lnTo>
                  <a:lnTo>
                    <a:pt x="329" y="177"/>
                  </a:lnTo>
                  <a:lnTo>
                    <a:pt x="329" y="176"/>
                  </a:lnTo>
                  <a:lnTo>
                    <a:pt x="331" y="176"/>
                  </a:lnTo>
                  <a:lnTo>
                    <a:pt x="331" y="176"/>
                  </a:lnTo>
                  <a:lnTo>
                    <a:pt x="334" y="174"/>
                  </a:lnTo>
                  <a:lnTo>
                    <a:pt x="334" y="174"/>
                  </a:lnTo>
                  <a:lnTo>
                    <a:pt x="334" y="172"/>
                  </a:lnTo>
                  <a:lnTo>
                    <a:pt x="336" y="170"/>
                  </a:lnTo>
                  <a:lnTo>
                    <a:pt x="336" y="170"/>
                  </a:lnTo>
                  <a:lnTo>
                    <a:pt x="345" y="169"/>
                  </a:lnTo>
                  <a:lnTo>
                    <a:pt x="352" y="169"/>
                  </a:lnTo>
                  <a:lnTo>
                    <a:pt x="352" y="169"/>
                  </a:lnTo>
                  <a:lnTo>
                    <a:pt x="357" y="169"/>
                  </a:lnTo>
                  <a:lnTo>
                    <a:pt x="357" y="169"/>
                  </a:lnTo>
                  <a:lnTo>
                    <a:pt x="353" y="172"/>
                  </a:lnTo>
                  <a:lnTo>
                    <a:pt x="353" y="172"/>
                  </a:lnTo>
                  <a:lnTo>
                    <a:pt x="343" y="179"/>
                  </a:lnTo>
                  <a:lnTo>
                    <a:pt x="334" y="183"/>
                  </a:lnTo>
                  <a:lnTo>
                    <a:pt x="334" y="183"/>
                  </a:lnTo>
                  <a:close/>
                  <a:moveTo>
                    <a:pt x="453" y="123"/>
                  </a:moveTo>
                  <a:lnTo>
                    <a:pt x="453" y="123"/>
                  </a:lnTo>
                  <a:lnTo>
                    <a:pt x="446" y="123"/>
                  </a:lnTo>
                  <a:lnTo>
                    <a:pt x="444" y="122"/>
                  </a:lnTo>
                  <a:lnTo>
                    <a:pt x="444" y="120"/>
                  </a:lnTo>
                  <a:lnTo>
                    <a:pt x="442" y="120"/>
                  </a:lnTo>
                  <a:lnTo>
                    <a:pt x="442" y="120"/>
                  </a:lnTo>
                  <a:lnTo>
                    <a:pt x="439" y="122"/>
                  </a:lnTo>
                  <a:lnTo>
                    <a:pt x="437" y="125"/>
                  </a:lnTo>
                  <a:lnTo>
                    <a:pt x="434" y="129"/>
                  </a:lnTo>
                  <a:lnTo>
                    <a:pt x="430" y="130"/>
                  </a:lnTo>
                  <a:lnTo>
                    <a:pt x="430" y="130"/>
                  </a:lnTo>
                  <a:lnTo>
                    <a:pt x="428" y="130"/>
                  </a:lnTo>
                  <a:lnTo>
                    <a:pt x="428" y="129"/>
                  </a:lnTo>
                  <a:lnTo>
                    <a:pt x="428" y="127"/>
                  </a:lnTo>
                  <a:lnTo>
                    <a:pt x="423" y="127"/>
                  </a:lnTo>
                  <a:lnTo>
                    <a:pt x="423" y="127"/>
                  </a:lnTo>
                  <a:lnTo>
                    <a:pt x="420" y="127"/>
                  </a:lnTo>
                  <a:lnTo>
                    <a:pt x="421" y="125"/>
                  </a:lnTo>
                  <a:lnTo>
                    <a:pt x="423" y="122"/>
                  </a:lnTo>
                  <a:lnTo>
                    <a:pt x="423" y="122"/>
                  </a:lnTo>
                  <a:lnTo>
                    <a:pt x="423" y="120"/>
                  </a:lnTo>
                  <a:lnTo>
                    <a:pt x="423" y="120"/>
                  </a:lnTo>
                  <a:lnTo>
                    <a:pt x="423" y="118"/>
                  </a:lnTo>
                  <a:lnTo>
                    <a:pt x="425" y="116"/>
                  </a:lnTo>
                  <a:lnTo>
                    <a:pt x="425" y="116"/>
                  </a:lnTo>
                  <a:lnTo>
                    <a:pt x="423" y="115"/>
                  </a:lnTo>
                  <a:lnTo>
                    <a:pt x="423" y="115"/>
                  </a:lnTo>
                  <a:lnTo>
                    <a:pt x="423" y="113"/>
                  </a:lnTo>
                  <a:lnTo>
                    <a:pt x="425" y="111"/>
                  </a:lnTo>
                  <a:lnTo>
                    <a:pt x="427" y="111"/>
                  </a:lnTo>
                  <a:lnTo>
                    <a:pt x="425" y="109"/>
                  </a:lnTo>
                  <a:lnTo>
                    <a:pt x="425" y="109"/>
                  </a:lnTo>
                  <a:lnTo>
                    <a:pt x="423" y="109"/>
                  </a:lnTo>
                  <a:lnTo>
                    <a:pt x="425" y="108"/>
                  </a:lnTo>
                  <a:lnTo>
                    <a:pt x="428" y="108"/>
                  </a:lnTo>
                  <a:lnTo>
                    <a:pt x="434" y="106"/>
                  </a:lnTo>
                  <a:lnTo>
                    <a:pt x="437" y="106"/>
                  </a:lnTo>
                  <a:lnTo>
                    <a:pt x="437" y="106"/>
                  </a:lnTo>
                  <a:lnTo>
                    <a:pt x="437" y="104"/>
                  </a:lnTo>
                  <a:lnTo>
                    <a:pt x="435" y="102"/>
                  </a:lnTo>
                  <a:lnTo>
                    <a:pt x="434" y="101"/>
                  </a:lnTo>
                  <a:lnTo>
                    <a:pt x="434" y="99"/>
                  </a:lnTo>
                  <a:lnTo>
                    <a:pt x="434" y="99"/>
                  </a:lnTo>
                  <a:lnTo>
                    <a:pt x="437" y="99"/>
                  </a:lnTo>
                  <a:lnTo>
                    <a:pt x="440" y="99"/>
                  </a:lnTo>
                  <a:lnTo>
                    <a:pt x="442" y="99"/>
                  </a:lnTo>
                  <a:lnTo>
                    <a:pt x="442" y="97"/>
                  </a:lnTo>
                  <a:lnTo>
                    <a:pt x="442" y="97"/>
                  </a:lnTo>
                  <a:lnTo>
                    <a:pt x="442" y="95"/>
                  </a:lnTo>
                  <a:lnTo>
                    <a:pt x="446" y="95"/>
                  </a:lnTo>
                  <a:lnTo>
                    <a:pt x="447" y="97"/>
                  </a:lnTo>
                  <a:lnTo>
                    <a:pt x="449" y="95"/>
                  </a:lnTo>
                  <a:lnTo>
                    <a:pt x="449" y="95"/>
                  </a:lnTo>
                  <a:lnTo>
                    <a:pt x="449" y="94"/>
                  </a:lnTo>
                  <a:lnTo>
                    <a:pt x="451" y="95"/>
                  </a:lnTo>
                  <a:lnTo>
                    <a:pt x="453" y="97"/>
                  </a:lnTo>
                  <a:lnTo>
                    <a:pt x="454" y="95"/>
                  </a:lnTo>
                  <a:lnTo>
                    <a:pt x="454" y="95"/>
                  </a:lnTo>
                  <a:lnTo>
                    <a:pt x="456" y="95"/>
                  </a:lnTo>
                  <a:lnTo>
                    <a:pt x="458" y="97"/>
                  </a:lnTo>
                  <a:lnTo>
                    <a:pt x="458" y="99"/>
                  </a:lnTo>
                  <a:lnTo>
                    <a:pt x="460" y="99"/>
                  </a:lnTo>
                  <a:lnTo>
                    <a:pt x="460" y="99"/>
                  </a:lnTo>
                  <a:lnTo>
                    <a:pt x="461" y="99"/>
                  </a:lnTo>
                  <a:lnTo>
                    <a:pt x="461" y="101"/>
                  </a:lnTo>
                  <a:lnTo>
                    <a:pt x="460" y="106"/>
                  </a:lnTo>
                  <a:lnTo>
                    <a:pt x="460" y="106"/>
                  </a:lnTo>
                  <a:lnTo>
                    <a:pt x="460" y="109"/>
                  </a:lnTo>
                  <a:lnTo>
                    <a:pt x="458" y="111"/>
                  </a:lnTo>
                  <a:lnTo>
                    <a:pt x="456" y="113"/>
                  </a:lnTo>
                  <a:lnTo>
                    <a:pt x="456" y="116"/>
                  </a:lnTo>
                  <a:lnTo>
                    <a:pt x="456" y="116"/>
                  </a:lnTo>
                  <a:lnTo>
                    <a:pt x="458" y="120"/>
                  </a:lnTo>
                  <a:lnTo>
                    <a:pt x="458" y="122"/>
                  </a:lnTo>
                  <a:lnTo>
                    <a:pt x="453" y="123"/>
                  </a:lnTo>
                  <a:lnTo>
                    <a:pt x="453" y="123"/>
                  </a:lnTo>
                  <a:close/>
                  <a:moveTo>
                    <a:pt x="477" y="97"/>
                  </a:moveTo>
                  <a:lnTo>
                    <a:pt x="477" y="97"/>
                  </a:lnTo>
                  <a:lnTo>
                    <a:pt x="463" y="97"/>
                  </a:lnTo>
                  <a:lnTo>
                    <a:pt x="461" y="95"/>
                  </a:lnTo>
                  <a:lnTo>
                    <a:pt x="461" y="94"/>
                  </a:lnTo>
                  <a:lnTo>
                    <a:pt x="461" y="94"/>
                  </a:lnTo>
                  <a:lnTo>
                    <a:pt x="463" y="92"/>
                  </a:lnTo>
                  <a:lnTo>
                    <a:pt x="465" y="92"/>
                  </a:lnTo>
                  <a:lnTo>
                    <a:pt x="468" y="92"/>
                  </a:lnTo>
                  <a:lnTo>
                    <a:pt x="470" y="89"/>
                  </a:lnTo>
                  <a:lnTo>
                    <a:pt x="470" y="89"/>
                  </a:lnTo>
                  <a:lnTo>
                    <a:pt x="470" y="85"/>
                  </a:lnTo>
                  <a:lnTo>
                    <a:pt x="472" y="83"/>
                  </a:lnTo>
                  <a:lnTo>
                    <a:pt x="474" y="82"/>
                  </a:lnTo>
                  <a:lnTo>
                    <a:pt x="477" y="83"/>
                  </a:lnTo>
                  <a:lnTo>
                    <a:pt x="477" y="83"/>
                  </a:lnTo>
                  <a:lnTo>
                    <a:pt x="479" y="83"/>
                  </a:lnTo>
                  <a:lnTo>
                    <a:pt x="479" y="83"/>
                  </a:lnTo>
                  <a:lnTo>
                    <a:pt x="481" y="82"/>
                  </a:lnTo>
                  <a:lnTo>
                    <a:pt x="484" y="82"/>
                  </a:lnTo>
                  <a:lnTo>
                    <a:pt x="484" y="82"/>
                  </a:lnTo>
                  <a:lnTo>
                    <a:pt x="486" y="80"/>
                  </a:lnTo>
                  <a:lnTo>
                    <a:pt x="486" y="78"/>
                  </a:lnTo>
                  <a:lnTo>
                    <a:pt x="487" y="76"/>
                  </a:lnTo>
                  <a:lnTo>
                    <a:pt x="493" y="80"/>
                  </a:lnTo>
                  <a:lnTo>
                    <a:pt x="493" y="80"/>
                  </a:lnTo>
                  <a:lnTo>
                    <a:pt x="496" y="82"/>
                  </a:lnTo>
                  <a:lnTo>
                    <a:pt x="496" y="83"/>
                  </a:lnTo>
                  <a:lnTo>
                    <a:pt x="496" y="85"/>
                  </a:lnTo>
                  <a:lnTo>
                    <a:pt x="494" y="87"/>
                  </a:lnTo>
                  <a:lnTo>
                    <a:pt x="489" y="90"/>
                  </a:lnTo>
                  <a:lnTo>
                    <a:pt x="487" y="94"/>
                  </a:lnTo>
                  <a:lnTo>
                    <a:pt x="487" y="94"/>
                  </a:lnTo>
                  <a:lnTo>
                    <a:pt x="486" y="95"/>
                  </a:lnTo>
                  <a:lnTo>
                    <a:pt x="482" y="97"/>
                  </a:lnTo>
                  <a:lnTo>
                    <a:pt x="477" y="97"/>
                  </a:lnTo>
                  <a:lnTo>
                    <a:pt x="477" y="97"/>
                  </a:lnTo>
                  <a:close/>
                  <a:moveTo>
                    <a:pt x="500" y="80"/>
                  </a:moveTo>
                  <a:lnTo>
                    <a:pt x="500" y="80"/>
                  </a:lnTo>
                  <a:lnTo>
                    <a:pt x="494" y="76"/>
                  </a:lnTo>
                  <a:lnTo>
                    <a:pt x="491" y="75"/>
                  </a:lnTo>
                  <a:lnTo>
                    <a:pt x="487" y="75"/>
                  </a:lnTo>
                  <a:lnTo>
                    <a:pt x="489" y="71"/>
                  </a:lnTo>
                  <a:lnTo>
                    <a:pt x="489" y="71"/>
                  </a:lnTo>
                  <a:lnTo>
                    <a:pt x="493" y="69"/>
                  </a:lnTo>
                  <a:lnTo>
                    <a:pt x="493" y="68"/>
                  </a:lnTo>
                  <a:lnTo>
                    <a:pt x="494" y="66"/>
                  </a:lnTo>
                  <a:lnTo>
                    <a:pt x="496" y="66"/>
                  </a:lnTo>
                  <a:lnTo>
                    <a:pt x="496" y="66"/>
                  </a:lnTo>
                  <a:lnTo>
                    <a:pt x="500" y="66"/>
                  </a:lnTo>
                  <a:lnTo>
                    <a:pt x="501" y="64"/>
                  </a:lnTo>
                  <a:lnTo>
                    <a:pt x="503" y="64"/>
                  </a:lnTo>
                  <a:lnTo>
                    <a:pt x="505" y="64"/>
                  </a:lnTo>
                  <a:lnTo>
                    <a:pt x="505" y="64"/>
                  </a:lnTo>
                  <a:lnTo>
                    <a:pt x="508" y="66"/>
                  </a:lnTo>
                  <a:lnTo>
                    <a:pt x="510" y="66"/>
                  </a:lnTo>
                  <a:lnTo>
                    <a:pt x="514" y="66"/>
                  </a:lnTo>
                  <a:lnTo>
                    <a:pt x="517" y="66"/>
                  </a:lnTo>
                  <a:lnTo>
                    <a:pt x="517" y="66"/>
                  </a:lnTo>
                  <a:lnTo>
                    <a:pt x="519" y="68"/>
                  </a:lnTo>
                  <a:lnTo>
                    <a:pt x="521" y="69"/>
                  </a:lnTo>
                  <a:lnTo>
                    <a:pt x="515" y="75"/>
                  </a:lnTo>
                  <a:lnTo>
                    <a:pt x="515" y="75"/>
                  </a:lnTo>
                  <a:lnTo>
                    <a:pt x="507" y="80"/>
                  </a:lnTo>
                  <a:lnTo>
                    <a:pt x="503" y="82"/>
                  </a:lnTo>
                  <a:lnTo>
                    <a:pt x="500" y="80"/>
                  </a:lnTo>
                  <a:lnTo>
                    <a:pt x="500" y="80"/>
                  </a:lnTo>
                  <a:close/>
                  <a:moveTo>
                    <a:pt x="535" y="62"/>
                  </a:moveTo>
                  <a:lnTo>
                    <a:pt x="535" y="62"/>
                  </a:lnTo>
                  <a:lnTo>
                    <a:pt x="528" y="62"/>
                  </a:lnTo>
                  <a:lnTo>
                    <a:pt x="521" y="61"/>
                  </a:lnTo>
                  <a:lnTo>
                    <a:pt x="517" y="57"/>
                  </a:lnTo>
                  <a:lnTo>
                    <a:pt x="517" y="52"/>
                  </a:lnTo>
                  <a:lnTo>
                    <a:pt x="517" y="52"/>
                  </a:lnTo>
                  <a:lnTo>
                    <a:pt x="517" y="50"/>
                  </a:lnTo>
                  <a:lnTo>
                    <a:pt x="521" y="52"/>
                  </a:lnTo>
                  <a:lnTo>
                    <a:pt x="524" y="54"/>
                  </a:lnTo>
                  <a:lnTo>
                    <a:pt x="528" y="55"/>
                  </a:lnTo>
                  <a:lnTo>
                    <a:pt x="528" y="55"/>
                  </a:lnTo>
                  <a:lnTo>
                    <a:pt x="536" y="59"/>
                  </a:lnTo>
                  <a:lnTo>
                    <a:pt x="536" y="61"/>
                  </a:lnTo>
                  <a:lnTo>
                    <a:pt x="535" y="62"/>
                  </a:lnTo>
                  <a:lnTo>
                    <a:pt x="535" y="62"/>
                  </a:lnTo>
                  <a:close/>
                  <a:moveTo>
                    <a:pt x="548" y="55"/>
                  </a:moveTo>
                  <a:lnTo>
                    <a:pt x="548" y="55"/>
                  </a:lnTo>
                  <a:lnTo>
                    <a:pt x="554" y="54"/>
                  </a:lnTo>
                  <a:lnTo>
                    <a:pt x="557" y="54"/>
                  </a:lnTo>
                  <a:lnTo>
                    <a:pt x="559" y="55"/>
                  </a:lnTo>
                  <a:lnTo>
                    <a:pt x="559" y="59"/>
                  </a:lnTo>
                  <a:lnTo>
                    <a:pt x="559" y="59"/>
                  </a:lnTo>
                  <a:lnTo>
                    <a:pt x="557" y="66"/>
                  </a:lnTo>
                  <a:lnTo>
                    <a:pt x="555" y="66"/>
                  </a:lnTo>
                  <a:lnTo>
                    <a:pt x="552" y="66"/>
                  </a:lnTo>
                  <a:lnTo>
                    <a:pt x="552" y="66"/>
                  </a:lnTo>
                  <a:lnTo>
                    <a:pt x="547" y="64"/>
                  </a:lnTo>
                  <a:lnTo>
                    <a:pt x="545" y="62"/>
                  </a:lnTo>
                  <a:lnTo>
                    <a:pt x="545" y="59"/>
                  </a:lnTo>
                  <a:lnTo>
                    <a:pt x="548" y="55"/>
                  </a:lnTo>
                  <a:lnTo>
                    <a:pt x="548" y="55"/>
                  </a:lnTo>
                  <a:close/>
                  <a:moveTo>
                    <a:pt x="613" y="38"/>
                  </a:moveTo>
                  <a:lnTo>
                    <a:pt x="613" y="38"/>
                  </a:lnTo>
                  <a:lnTo>
                    <a:pt x="608" y="38"/>
                  </a:lnTo>
                  <a:lnTo>
                    <a:pt x="608" y="36"/>
                  </a:lnTo>
                  <a:lnTo>
                    <a:pt x="609" y="35"/>
                  </a:lnTo>
                  <a:lnTo>
                    <a:pt x="609" y="35"/>
                  </a:lnTo>
                  <a:lnTo>
                    <a:pt x="606" y="33"/>
                  </a:lnTo>
                  <a:lnTo>
                    <a:pt x="606" y="33"/>
                  </a:lnTo>
                  <a:lnTo>
                    <a:pt x="602" y="31"/>
                  </a:lnTo>
                  <a:lnTo>
                    <a:pt x="606" y="29"/>
                  </a:lnTo>
                  <a:lnTo>
                    <a:pt x="620" y="26"/>
                  </a:lnTo>
                  <a:lnTo>
                    <a:pt x="620" y="26"/>
                  </a:lnTo>
                  <a:lnTo>
                    <a:pt x="623" y="26"/>
                  </a:lnTo>
                  <a:lnTo>
                    <a:pt x="625" y="28"/>
                  </a:lnTo>
                  <a:lnTo>
                    <a:pt x="627" y="28"/>
                  </a:lnTo>
                  <a:lnTo>
                    <a:pt x="629" y="26"/>
                  </a:lnTo>
                  <a:lnTo>
                    <a:pt x="629" y="26"/>
                  </a:lnTo>
                  <a:lnTo>
                    <a:pt x="630" y="22"/>
                  </a:lnTo>
                  <a:lnTo>
                    <a:pt x="632" y="22"/>
                  </a:lnTo>
                  <a:lnTo>
                    <a:pt x="634" y="22"/>
                  </a:lnTo>
                  <a:lnTo>
                    <a:pt x="639" y="22"/>
                  </a:lnTo>
                  <a:lnTo>
                    <a:pt x="639" y="22"/>
                  </a:lnTo>
                  <a:lnTo>
                    <a:pt x="641" y="22"/>
                  </a:lnTo>
                  <a:lnTo>
                    <a:pt x="641" y="21"/>
                  </a:lnTo>
                  <a:lnTo>
                    <a:pt x="641" y="19"/>
                  </a:lnTo>
                  <a:lnTo>
                    <a:pt x="644" y="17"/>
                  </a:lnTo>
                  <a:lnTo>
                    <a:pt x="644" y="17"/>
                  </a:lnTo>
                  <a:lnTo>
                    <a:pt x="649" y="15"/>
                  </a:lnTo>
                  <a:lnTo>
                    <a:pt x="653" y="17"/>
                  </a:lnTo>
                  <a:lnTo>
                    <a:pt x="653" y="17"/>
                  </a:lnTo>
                  <a:lnTo>
                    <a:pt x="653" y="19"/>
                  </a:lnTo>
                  <a:lnTo>
                    <a:pt x="646" y="26"/>
                  </a:lnTo>
                  <a:lnTo>
                    <a:pt x="646" y="26"/>
                  </a:lnTo>
                  <a:lnTo>
                    <a:pt x="634" y="35"/>
                  </a:lnTo>
                  <a:lnTo>
                    <a:pt x="630" y="36"/>
                  </a:lnTo>
                  <a:lnTo>
                    <a:pt x="627" y="35"/>
                  </a:lnTo>
                  <a:lnTo>
                    <a:pt x="627" y="35"/>
                  </a:lnTo>
                  <a:lnTo>
                    <a:pt x="623" y="33"/>
                  </a:lnTo>
                  <a:lnTo>
                    <a:pt x="620" y="35"/>
                  </a:lnTo>
                  <a:lnTo>
                    <a:pt x="616" y="36"/>
                  </a:lnTo>
                  <a:lnTo>
                    <a:pt x="613" y="38"/>
                  </a:lnTo>
                  <a:lnTo>
                    <a:pt x="613" y="38"/>
                  </a:lnTo>
                  <a:close/>
                  <a:moveTo>
                    <a:pt x="616" y="47"/>
                  </a:moveTo>
                  <a:lnTo>
                    <a:pt x="616" y="47"/>
                  </a:lnTo>
                  <a:lnTo>
                    <a:pt x="623" y="45"/>
                  </a:lnTo>
                  <a:lnTo>
                    <a:pt x="629" y="45"/>
                  </a:lnTo>
                  <a:lnTo>
                    <a:pt x="632" y="47"/>
                  </a:lnTo>
                  <a:lnTo>
                    <a:pt x="635" y="48"/>
                  </a:lnTo>
                  <a:lnTo>
                    <a:pt x="635" y="48"/>
                  </a:lnTo>
                  <a:lnTo>
                    <a:pt x="635" y="50"/>
                  </a:lnTo>
                  <a:lnTo>
                    <a:pt x="634" y="52"/>
                  </a:lnTo>
                  <a:lnTo>
                    <a:pt x="625" y="52"/>
                  </a:lnTo>
                  <a:lnTo>
                    <a:pt x="616" y="50"/>
                  </a:lnTo>
                  <a:lnTo>
                    <a:pt x="615" y="48"/>
                  </a:lnTo>
                  <a:lnTo>
                    <a:pt x="616" y="47"/>
                  </a:lnTo>
                  <a:lnTo>
                    <a:pt x="616" y="47"/>
                  </a:lnTo>
                  <a:close/>
                  <a:moveTo>
                    <a:pt x="639" y="48"/>
                  </a:moveTo>
                  <a:lnTo>
                    <a:pt x="639" y="48"/>
                  </a:lnTo>
                  <a:lnTo>
                    <a:pt x="634" y="45"/>
                  </a:lnTo>
                  <a:lnTo>
                    <a:pt x="634" y="43"/>
                  </a:lnTo>
                  <a:lnTo>
                    <a:pt x="634" y="42"/>
                  </a:lnTo>
                  <a:lnTo>
                    <a:pt x="637" y="38"/>
                  </a:lnTo>
                  <a:lnTo>
                    <a:pt x="646" y="35"/>
                  </a:lnTo>
                  <a:lnTo>
                    <a:pt x="646" y="35"/>
                  </a:lnTo>
                  <a:lnTo>
                    <a:pt x="651" y="31"/>
                  </a:lnTo>
                  <a:lnTo>
                    <a:pt x="653" y="29"/>
                  </a:lnTo>
                  <a:lnTo>
                    <a:pt x="653" y="29"/>
                  </a:lnTo>
                  <a:lnTo>
                    <a:pt x="656" y="31"/>
                  </a:lnTo>
                  <a:lnTo>
                    <a:pt x="656" y="31"/>
                  </a:lnTo>
                  <a:lnTo>
                    <a:pt x="660" y="33"/>
                  </a:lnTo>
                  <a:lnTo>
                    <a:pt x="660" y="35"/>
                  </a:lnTo>
                  <a:lnTo>
                    <a:pt x="658" y="38"/>
                  </a:lnTo>
                  <a:lnTo>
                    <a:pt x="651" y="47"/>
                  </a:lnTo>
                  <a:lnTo>
                    <a:pt x="651" y="47"/>
                  </a:lnTo>
                  <a:lnTo>
                    <a:pt x="648" y="50"/>
                  </a:lnTo>
                  <a:lnTo>
                    <a:pt x="646" y="50"/>
                  </a:lnTo>
                  <a:lnTo>
                    <a:pt x="639" y="48"/>
                  </a:lnTo>
                  <a:lnTo>
                    <a:pt x="639" y="48"/>
                  </a:lnTo>
                  <a:close/>
                  <a:moveTo>
                    <a:pt x="667" y="22"/>
                  </a:moveTo>
                  <a:lnTo>
                    <a:pt x="667" y="22"/>
                  </a:lnTo>
                  <a:lnTo>
                    <a:pt x="670" y="24"/>
                  </a:lnTo>
                  <a:lnTo>
                    <a:pt x="674" y="26"/>
                  </a:lnTo>
                  <a:lnTo>
                    <a:pt x="674" y="28"/>
                  </a:lnTo>
                  <a:lnTo>
                    <a:pt x="674" y="31"/>
                  </a:lnTo>
                  <a:lnTo>
                    <a:pt x="672" y="35"/>
                  </a:lnTo>
                  <a:lnTo>
                    <a:pt x="667" y="36"/>
                  </a:lnTo>
                  <a:lnTo>
                    <a:pt x="667" y="36"/>
                  </a:lnTo>
                  <a:lnTo>
                    <a:pt x="665" y="36"/>
                  </a:lnTo>
                  <a:lnTo>
                    <a:pt x="663" y="35"/>
                  </a:lnTo>
                  <a:lnTo>
                    <a:pt x="660" y="28"/>
                  </a:lnTo>
                  <a:lnTo>
                    <a:pt x="660" y="26"/>
                  </a:lnTo>
                  <a:lnTo>
                    <a:pt x="662" y="22"/>
                  </a:lnTo>
                  <a:lnTo>
                    <a:pt x="663" y="22"/>
                  </a:lnTo>
                  <a:lnTo>
                    <a:pt x="667" y="22"/>
                  </a:lnTo>
                  <a:lnTo>
                    <a:pt x="667" y="22"/>
                  </a:lnTo>
                  <a:close/>
                  <a:moveTo>
                    <a:pt x="843" y="130"/>
                  </a:moveTo>
                  <a:lnTo>
                    <a:pt x="843" y="130"/>
                  </a:lnTo>
                  <a:lnTo>
                    <a:pt x="837" y="127"/>
                  </a:lnTo>
                  <a:lnTo>
                    <a:pt x="836" y="122"/>
                  </a:lnTo>
                  <a:lnTo>
                    <a:pt x="837" y="118"/>
                  </a:lnTo>
                  <a:lnTo>
                    <a:pt x="843" y="115"/>
                  </a:lnTo>
                  <a:lnTo>
                    <a:pt x="851" y="106"/>
                  </a:lnTo>
                  <a:lnTo>
                    <a:pt x="853" y="102"/>
                  </a:lnTo>
                  <a:lnTo>
                    <a:pt x="853" y="99"/>
                  </a:lnTo>
                  <a:lnTo>
                    <a:pt x="853" y="99"/>
                  </a:lnTo>
                  <a:lnTo>
                    <a:pt x="850" y="94"/>
                  </a:lnTo>
                  <a:lnTo>
                    <a:pt x="844" y="90"/>
                  </a:lnTo>
                  <a:lnTo>
                    <a:pt x="832" y="85"/>
                  </a:lnTo>
                  <a:lnTo>
                    <a:pt x="820" y="78"/>
                  </a:lnTo>
                  <a:lnTo>
                    <a:pt x="815" y="75"/>
                  </a:lnTo>
                  <a:lnTo>
                    <a:pt x="811" y="71"/>
                  </a:lnTo>
                  <a:lnTo>
                    <a:pt x="811" y="71"/>
                  </a:lnTo>
                  <a:lnTo>
                    <a:pt x="808" y="68"/>
                  </a:lnTo>
                  <a:lnTo>
                    <a:pt x="803" y="66"/>
                  </a:lnTo>
                  <a:lnTo>
                    <a:pt x="797" y="66"/>
                  </a:lnTo>
                  <a:lnTo>
                    <a:pt x="792" y="69"/>
                  </a:lnTo>
                  <a:lnTo>
                    <a:pt x="792" y="69"/>
                  </a:lnTo>
                  <a:lnTo>
                    <a:pt x="782" y="73"/>
                  </a:lnTo>
                  <a:lnTo>
                    <a:pt x="775" y="75"/>
                  </a:lnTo>
                  <a:lnTo>
                    <a:pt x="771" y="75"/>
                  </a:lnTo>
                  <a:lnTo>
                    <a:pt x="766" y="75"/>
                  </a:lnTo>
                  <a:lnTo>
                    <a:pt x="761" y="73"/>
                  </a:lnTo>
                  <a:lnTo>
                    <a:pt x="757" y="73"/>
                  </a:lnTo>
                  <a:lnTo>
                    <a:pt x="754" y="76"/>
                  </a:lnTo>
                  <a:lnTo>
                    <a:pt x="754" y="76"/>
                  </a:lnTo>
                  <a:lnTo>
                    <a:pt x="745" y="83"/>
                  </a:lnTo>
                  <a:lnTo>
                    <a:pt x="738" y="90"/>
                  </a:lnTo>
                  <a:lnTo>
                    <a:pt x="735" y="97"/>
                  </a:lnTo>
                  <a:lnTo>
                    <a:pt x="733" y="104"/>
                  </a:lnTo>
                  <a:lnTo>
                    <a:pt x="733" y="104"/>
                  </a:lnTo>
                  <a:lnTo>
                    <a:pt x="731" y="109"/>
                  </a:lnTo>
                  <a:lnTo>
                    <a:pt x="730" y="115"/>
                  </a:lnTo>
                  <a:lnTo>
                    <a:pt x="730" y="120"/>
                  </a:lnTo>
                  <a:lnTo>
                    <a:pt x="731" y="127"/>
                  </a:lnTo>
                  <a:lnTo>
                    <a:pt x="731" y="127"/>
                  </a:lnTo>
                  <a:lnTo>
                    <a:pt x="733" y="132"/>
                  </a:lnTo>
                  <a:lnTo>
                    <a:pt x="733" y="134"/>
                  </a:lnTo>
                  <a:lnTo>
                    <a:pt x="730" y="136"/>
                  </a:lnTo>
                  <a:lnTo>
                    <a:pt x="726" y="137"/>
                  </a:lnTo>
                  <a:lnTo>
                    <a:pt x="717" y="141"/>
                  </a:lnTo>
                  <a:lnTo>
                    <a:pt x="714" y="142"/>
                  </a:lnTo>
                  <a:lnTo>
                    <a:pt x="710" y="146"/>
                  </a:lnTo>
                  <a:lnTo>
                    <a:pt x="710" y="146"/>
                  </a:lnTo>
                  <a:lnTo>
                    <a:pt x="709" y="153"/>
                  </a:lnTo>
                  <a:lnTo>
                    <a:pt x="705" y="156"/>
                  </a:lnTo>
                  <a:lnTo>
                    <a:pt x="700" y="160"/>
                  </a:lnTo>
                  <a:lnTo>
                    <a:pt x="700" y="160"/>
                  </a:lnTo>
                  <a:lnTo>
                    <a:pt x="691" y="153"/>
                  </a:lnTo>
                  <a:lnTo>
                    <a:pt x="681" y="148"/>
                  </a:lnTo>
                  <a:lnTo>
                    <a:pt x="667" y="144"/>
                  </a:lnTo>
                  <a:lnTo>
                    <a:pt x="667" y="144"/>
                  </a:lnTo>
                  <a:lnTo>
                    <a:pt x="663" y="144"/>
                  </a:lnTo>
                  <a:lnTo>
                    <a:pt x="662" y="146"/>
                  </a:lnTo>
                  <a:lnTo>
                    <a:pt x="656" y="151"/>
                  </a:lnTo>
                  <a:lnTo>
                    <a:pt x="648" y="155"/>
                  </a:lnTo>
                  <a:lnTo>
                    <a:pt x="648" y="155"/>
                  </a:lnTo>
                  <a:lnTo>
                    <a:pt x="641" y="155"/>
                  </a:lnTo>
                  <a:lnTo>
                    <a:pt x="639" y="153"/>
                  </a:lnTo>
                  <a:lnTo>
                    <a:pt x="634" y="151"/>
                  </a:lnTo>
                  <a:lnTo>
                    <a:pt x="623" y="151"/>
                  </a:lnTo>
                  <a:lnTo>
                    <a:pt x="623" y="151"/>
                  </a:lnTo>
                  <a:lnTo>
                    <a:pt x="613" y="149"/>
                  </a:lnTo>
                  <a:lnTo>
                    <a:pt x="611" y="149"/>
                  </a:lnTo>
                  <a:lnTo>
                    <a:pt x="611" y="148"/>
                  </a:lnTo>
                  <a:lnTo>
                    <a:pt x="611" y="142"/>
                  </a:lnTo>
                  <a:lnTo>
                    <a:pt x="609" y="139"/>
                  </a:lnTo>
                  <a:lnTo>
                    <a:pt x="606" y="134"/>
                  </a:lnTo>
                  <a:lnTo>
                    <a:pt x="606" y="134"/>
                  </a:lnTo>
                  <a:lnTo>
                    <a:pt x="594" y="123"/>
                  </a:lnTo>
                  <a:lnTo>
                    <a:pt x="585" y="116"/>
                  </a:lnTo>
                  <a:lnTo>
                    <a:pt x="580" y="115"/>
                  </a:lnTo>
                  <a:lnTo>
                    <a:pt x="576" y="113"/>
                  </a:lnTo>
                  <a:lnTo>
                    <a:pt x="571" y="113"/>
                  </a:lnTo>
                  <a:lnTo>
                    <a:pt x="568" y="116"/>
                  </a:lnTo>
                  <a:lnTo>
                    <a:pt x="568" y="116"/>
                  </a:lnTo>
                  <a:lnTo>
                    <a:pt x="566" y="120"/>
                  </a:lnTo>
                  <a:lnTo>
                    <a:pt x="566" y="123"/>
                  </a:lnTo>
                  <a:lnTo>
                    <a:pt x="568" y="127"/>
                  </a:lnTo>
                  <a:lnTo>
                    <a:pt x="568" y="130"/>
                  </a:lnTo>
                  <a:lnTo>
                    <a:pt x="568" y="130"/>
                  </a:lnTo>
                  <a:lnTo>
                    <a:pt x="564" y="130"/>
                  </a:lnTo>
                  <a:lnTo>
                    <a:pt x="559" y="129"/>
                  </a:lnTo>
                  <a:lnTo>
                    <a:pt x="554" y="127"/>
                  </a:lnTo>
                  <a:lnTo>
                    <a:pt x="552" y="129"/>
                  </a:lnTo>
                  <a:lnTo>
                    <a:pt x="550" y="130"/>
                  </a:lnTo>
                  <a:lnTo>
                    <a:pt x="550" y="130"/>
                  </a:lnTo>
                  <a:lnTo>
                    <a:pt x="536" y="130"/>
                  </a:lnTo>
                  <a:lnTo>
                    <a:pt x="536" y="132"/>
                  </a:lnTo>
                  <a:lnTo>
                    <a:pt x="538" y="136"/>
                  </a:lnTo>
                  <a:lnTo>
                    <a:pt x="540" y="137"/>
                  </a:lnTo>
                  <a:lnTo>
                    <a:pt x="541" y="142"/>
                  </a:lnTo>
                  <a:lnTo>
                    <a:pt x="540" y="146"/>
                  </a:lnTo>
                  <a:lnTo>
                    <a:pt x="535" y="153"/>
                  </a:lnTo>
                  <a:lnTo>
                    <a:pt x="535" y="153"/>
                  </a:lnTo>
                  <a:lnTo>
                    <a:pt x="529" y="158"/>
                  </a:lnTo>
                  <a:lnTo>
                    <a:pt x="529" y="162"/>
                  </a:lnTo>
                  <a:lnTo>
                    <a:pt x="529" y="163"/>
                  </a:lnTo>
                  <a:lnTo>
                    <a:pt x="533" y="163"/>
                  </a:lnTo>
                  <a:lnTo>
                    <a:pt x="535" y="165"/>
                  </a:lnTo>
                  <a:lnTo>
                    <a:pt x="536" y="165"/>
                  </a:lnTo>
                  <a:lnTo>
                    <a:pt x="536" y="169"/>
                  </a:lnTo>
                  <a:lnTo>
                    <a:pt x="531" y="172"/>
                  </a:lnTo>
                  <a:lnTo>
                    <a:pt x="531" y="172"/>
                  </a:lnTo>
                  <a:lnTo>
                    <a:pt x="524" y="174"/>
                  </a:lnTo>
                  <a:lnTo>
                    <a:pt x="515" y="174"/>
                  </a:lnTo>
                  <a:lnTo>
                    <a:pt x="496" y="167"/>
                  </a:lnTo>
                  <a:lnTo>
                    <a:pt x="486" y="163"/>
                  </a:lnTo>
                  <a:lnTo>
                    <a:pt x="477" y="162"/>
                  </a:lnTo>
                  <a:lnTo>
                    <a:pt x="468" y="162"/>
                  </a:lnTo>
                  <a:lnTo>
                    <a:pt x="461" y="163"/>
                  </a:lnTo>
                  <a:lnTo>
                    <a:pt x="461" y="163"/>
                  </a:lnTo>
                  <a:lnTo>
                    <a:pt x="460" y="165"/>
                  </a:lnTo>
                  <a:lnTo>
                    <a:pt x="460" y="169"/>
                  </a:lnTo>
                  <a:lnTo>
                    <a:pt x="461" y="179"/>
                  </a:lnTo>
                  <a:lnTo>
                    <a:pt x="463" y="183"/>
                  </a:lnTo>
                  <a:lnTo>
                    <a:pt x="463" y="188"/>
                  </a:lnTo>
                  <a:lnTo>
                    <a:pt x="461" y="193"/>
                  </a:lnTo>
                  <a:lnTo>
                    <a:pt x="456" y="196"/>
                  </a:lnTo>
                  <a:lnTo>
                    <a:pt x="456" y="196"/>
                  </a:lnTo>
                  <a:lnTo>
                    <a:pt x="454" y="198"/>
                  </a:lnTo>
                  <a:lnTo>
                    <a:pt x="451" y="196"/>
                  </a:lnTo>
                  <a:lnTo>
                    <a:pt x="444" y="193"/>
                  </a:lnTo>
                  <a:lnTo>
                    <a:pt x="437" y="190"/>
                  </a:lnTo>
                  <a:lnTo>
                    <a:pt x="434" y="190"/>
                  </a:lnTo>
                  <a:lnTo>
                    <a:pt x="432" y="190"/>
                  </a:lnTo>
                  <a:lnTo>
                    <a:pt x="432" y="190"/>
                  </a:lnTo>
                  <a:lnTo>
                    <a:pt x="420" y="196"/>
                  </a:lnTo>
                  <a:lnTo>
                    <a:pt x="414" y="200"/>
                  </a:lnTo>
                  <a:lnTo>
                    <a:pt x="411" y="207"/>
                  </a:lnTo>
                  <a:lnTo>
                    <a:pt x="411" y="207"/>
                  </a:lnTo>
                  <a:lnTo>
                    <a:pt x="404" y="219"/>
                  </a:lnTo>
                  <a:lnTo>
                    <a:pt x="397" y="226"/>
                  </a:lnTo>
                  <a:lnTo>
                    <a:pt x="393" y="228"/>
                  </a:lnTo>
                  <a:lnTo>
                    <a:pt x="392" y="231"/>
                  </a:lnTo>
                  <a:lnTo>
                    <a:pt x="392" y="231"/>
                  </a:lnTo>
                  <a:lnTo>
                    <a:pt x="390" y="233"/>
                  </a:lnTo>
                  <a:lnTo>
                    <a:pt x="392" y="235"/>
                  </a:lnTo>
                  <a:lnTo>
                    <a:pt x="397" y="240"/>
                  </a:lnTo>
                  <a:lnTo>
                    <a:pt x="402" y="245"/>
                  </a:lnTo>
                  <a:lnTo>
                    <a:pt x="402" y="249"/>
                  </a:lnTo>
                  <a:lnTo>
                    <a:pt x="402" y="252"/>
                  </a:lnTo>
                  <a:lnTo>
                    <a:pt x="402" y="252"/>
                  </a:lnTo>
                  <a:lnTo>
                    <a:pt x="399" y="257"/>
                  </a:lnTo>
                  <a:lnTo>
                    <a:pt x="393" y="261"/>
                  </a:lnTo>
                  <a:lnTo>
                    <a:pt x="388" y="264"/>
                  </a:lnTo>
                  <a:lnTo>
                    <a:pt x="381" y="273"/>
                  </a:lnTo>
                  <a:lnTo>
                    <a:pt x="381" y="273"/>
                  </a:lnTo>
                  <a:lnTo>
                    <a:pt x="378" y="278"/>
                  </a:lnTo>
                  <a:lnTo>
                    <a:pt x="374" y="282"/>
                  </a:lnTo>
                  <a:lnTo>
                    <a:pt x="369" y="285"/>
                  </a:lnTo>
                  <a:lnTo>
                    <a:pt x="366" y="289"/>
                  </a:lnTo>
                  <a:lnTo>
                    <a:pt x="367" y="294"/>
                  </a:lnTo>
                  <a:lnTo>
                    <a:pt x="367" y="294"/>
                  </a:lnTo>
                  <a:lnTo>
                    <a:pt x="369" y="297"/>
                  </a:lnTo>
                  <a:lnTo>
                    <a:pt x="369" y="299"/>
                  </a:lnTo>
                  <a:lnTo>
                    <a:pt x="366" y="303"/>
                  </a:lnTo>
                  <a:lnTo>
                    <a:pt x="360" y="304"/>
                  </a:lnTo>
                  <a:lnTo>
                    <a:pt x="353" y="306"/>
                  </a:lnTo>
                  <a:lnTo>
                    <a:pt x="339" y="308"/>
                  </a:lnTo>
                  <a:lnTo>
                    <a:pt x="334" y="310"/>
                  </a:lnTo>
                  <a:lnTo>
                    <a:pt x="334" y="311"/>
                  </a:lnTo>
                  <a:lnTo>
                    <a:pt x="334" y="311"/>
                  </a:lnTo>
                  <a:lnTo>
                    <a:pt x="334" y="311"/>
                  </a:lnTo>
                  <a:lnTo>
                    <a:pt x="338" y="320"/>
                  </a:lnTo>
                  <a:lnTo>
                    <a:pt x="338" y="325"/>
                  </a:lnTo>
                  <a:lnTo>
                    <a:pt x="339" y="331"/>
                  </a:lnTo>
                  <a:lnTo>
                    <a:pt x="338" y="334"/>
                  </a:lnTo>
                  <a:lnTo>
                    <a:pt x="336" y="339"/>
                  </a:lnTo>
                  <a:lnTo>
                    <a:pt x="334" y="343"/>
                  </a:lnTo>
                  <a:lnTo>
                    <a:pt x="336" y="348"/>
                  </a:lnTo>
                  <a:lnTo>
                    <a:pt x="336" y="348"/>
                  </a:lnTo>
                  <a:lnTo>
                    <a:pt x="336" y="357"/>
                  </a:lnTo>
                  <a:lnTo>
                    <a:pt x="334" y="358"/>
                  </a:lnTo>
                  <a:lnTo>
                    <a:pt x="331" y="362"/>
                  </a:lnTo>
                  <a:lnTo>
                    <a:pt x="329" y="367"/>
                  </a:lnTo>
                  <a:lnTo>
                    <a:pt x="329" y="367"/>
                  </a:lnTo>
                  <a:lnTo>
                    <a:pt x="327" y="371"/>
                  </a:lnTo>
                  <a:lnTo>
                    <a:pt x="324" y="376"/>
                  </a:lnTo>
                  <a:lnTo>
                    <a:pt x="315" y="386"/>
                  </a:lnTo>
                  <a:lnTo>
                    <a:pt x="308" y="398"/>
                  </a:lnTo>
                  <a:lnTo>
                    <a:pt x="306" y="402"/>
                  </a:lnTo>
                  <a:lnTo>
                    <a:pt x="308" y="404"/>
                  </a:lnTo>
                  <a:lnTo>
                    <a:pt x="308" y="404"/>
                  </a:lnTo>
                  <a:lnTo>
                    <a:pt x="315" y="407"/>
                  </a:lnTo>
                  <a:lnTo>
                    <a:pt x="320" y="409"/>
                  </a:lnTo>
                  <a:lnTo>
                    <a:pt x="322" y="411"/>
                  </a:lnTo>
                  <a:lnTo>
                    <a:pt x="324" y="412"/>
                  </a:lnTo>
                  <a:lnTo>
                    <a:pt x="324" y="416"/>
                  </a:lnTo>
                  <a:lnTo>
                    <a:pt x="324" y="421"/>
                  </a:lnTo>
                  <a:lnTo>
                    <a:pt x="324" y="421"/>
                  </a:lnTo>
                  <a:lnTo>
                    <a:pt x="320" y="428"/>
                  </a:lnTo>
                  <a:lnTo>
                    <a:pt x="317" y="433"/>
                  </a:lnTo>
                  <a:lnTo>
                    <a:pt x="312" y="433"/>
                  </a:lnTo>
                  <a:lnTo>
                    <a:pt x="306" y="433"/>
                  </a:lnTo>
                  <a:lnTo>
                    <a:pt x="296" y="430"/>
                  </a:lnTo>
                  <a:lnTo>
                    <a:pt x="291" y="430"/>
                  </a:lnTo>
                  <a:lnTo>
                    <a:pt x="287" y="432"/>
                  </a:lnTo>
                  <a:lnTo>
                    <a:pt x="287" y="432"/>
                  </a:lnTo>
                  <a:lnTo>
                    <a:pt x="275" y="438"/>
                  </a:lnTo>
                  <a:lnTo>
                    <a:pt x="263" y="447"/>
                  </a:lnTo>
                  <a:lnTo>
                    <a:pt x="254" y="456"/>
                  </a:lnTo>
                  <a:lnTo>
                    <a:pt x="252" y="459"/>
                  </a:lnTo>
                  <a:lnTo>
                    <a:pt x="252" y="463"/>
                  </a:lnTo>
                  <a:lnTo>
                    <a:pt x="252" y="463"/>
                  </a:lnTo>
                  <a:lnTo>
                    <a:pt x="254" y="466"/>
                  </a:lnTo>
                  <a:lnTo>
                    <a:pt x="254" y="468"/>
                  </a:lnTo>
                  <a:lnTo>
                    <a:pt x="249" y="473"/>
                  </a:lnTo>
                  <a:lnTo>
                    <a:pt x="247" y="477"/>
                  </a:lnTo>
                  <a:lnTo>
                    <a:pt x="245" y="480"/>
                  </a:lnTo>
                  <a:lnTo>
                    <a:pt x="247" y="484"/>
                  </a:lnTo>
                  <a:lnTo>
                    <a:pt x="251" y="489"/>
                  </a:lnTo>
                  <a:lnTo>
                    <a:pt x="251" y="489"/>
                  </a:lnTo>
                  <a:lnTo>
                    <a:pt x="252" y="491"/>
                  </a:lnTo>
                  <a:lnTo>
                    <a:pt x="254" y="492"/>
                  </a:lnTo>
                  <a:lnTo>
                    <a:pt x="251" y="498"/>
                  </a:lnTo>
                  <a:lnTo>
                    <a:pt x="249" y="501"/>
                  </a:lnTo>
                  <a:lnTo>
                    <a:pt x="249" y="505"/>
                  </a:lnTo>
                  <a:lnTo>
                    <a:pt x="251" y="506"/>
                  </a:lnTo>
                  <a:lnTo>
                    <a:pt x="251" y="506"/>
                  </a:lnTo>
                  <a:lnTo>
                    <a:pt x="251" y="510"/>
                  </a:lnTo>
                  <a:lnTo>
                    <a:pt x="251" y="512"/>
                  </a:lnTo>
                  <a:lnTo>
                    <a:pt x="249" y="513"/>
                  </a:lnTo>
                  <a:lnTo>
                    <a:pt x="249" y="517"/>
                  </a:lnTo>
                  <a:lnTo>
                    <a:pt x="249" y="519"/>
                  </a:lnTo>
                  <a:lnTo>
                    <a:pt x="251" y="522"/>
                  </a:lnTo>
                  <a:lnTo>
                    <a:pt x="254" y="527"/>
                  </a:lnTo>
                  <a:lnTo>
                    <a:pt x="254" y="527"/>
                  </a:lnTo>
                  <a:lnTo>
                    <a:pt x="258" y="534"/>
                  </a:lnTo>
                  <a:lnTo>
                    <a:pt x="258" y="541"/>
                  </a:lnTo>
                  <a:lnTo>
                    <a:pt x="252" y="553"/>
                  </a:lnTo>
                  <a:lnTo>
                    <a:pt x="252" y="560"/>
                  </a:lnTo>
                  <a:lnTo>
                    <a:pt x="252" y="566"/>
                  </a:lnTo>
                  <a:lnTo>
                    <a:pt x="256" y="573"/>
                  </a:lnTo>
                  <a:lnTo>
                    <a:pt x="265" y="578"/>
                  </a:lnTo>
                  <a:lnTo>
                    <a:pt x="265" y="578"/>
                  </a:lnTo>
                  <a:lnTo>
                    <a:pt x="273" y="585"/>
                  </a:lnTo>
                  <a:lnTo>
                    <a:pt x="277" y="586"/>
                  </a:lnTo>
                  <a:lnTo>
                    <a:pt x="277" y="590"/>
                  </a:lnTo>
                  <a:lnTo>
                    <a:pt x="277" y="595"/>
                  </a:lnTo>
                  <a:lnTo>
                    <a:pt x="273" y="602"/>
                  </a:lnTo>
                  <a:lnTo>
                    <a:pt x="273" y="602"/>
                  </a:lnTo>
                  <a:lnTo>
                    <a:pt x="272" y="604"/>
                  </a:lnTo>
                  <a:lnTo>
                    <a:pt x="268" y="606"/>
                  </a:lnTo>
                  <a:lnTo>
                    <a:pt x="265" y="606"/>
                  </a:lnTo>
                  <a:lnTo>
                    <a:pt x="259" y="607"/>
                  </a:lnTo>
                  <a:lnTo>
                    <a:pt x="258" y="607"/>
                  </a:lnTo>
                  <a:lnTo>
                    <a:pt x="256" y="609"/>
                  </a:lnTo>
                  <a:lnTo>
                    <a:pt x="256" y="609"/>
                  </a:lnTo>
                  <a:lnTo>
                    <a:pt x="256" y="613"/>
                  </a:lnTo>
                  <a:lnTo>
                    <a:pt x="258" y="616"/>
                  </a:lnTo>
                  <a:lnTo>
                    <a:pt x="263" y="627"/>
                  </a:lnTo>
                  <a:lnTo>
                    <a:pt x="268" y="637"/>
                  </a:lnTo>
                  <a:lnTo>
                    <a:pt x="268" y="642"/>
                  </a:lnTo>
                  <a:lnTo>
                    <a:pt x="266" y="646"/>
                  </a:lnTo>
                  <a:lnTo>
                    <a:pt x="266" y="646"/>
                  </a:lnTo>
                  <a:lnTo>
                    <a:pt x="265" y="649"/>
                  </a:lnTo>
                  <a:lnTo>
                    <a:pt x="263" y="651"/>
                  </a:lnTo>
                  <a:lnTo>
                    <a:pt x="265" y="656"/>
                  </a:lnTo>
                  <a:lnTo>
                    <a:pt x="265" y="660"/>
                  </a:lnTo>
                  <a:lnTo>
                    <a:pt x="263" y="663"/>
                  </a:lnTo>
                  <a:lnTo>
                    <a:pt x="259" y="667"/>
                  </a:lnTo>
                  <a:lnTo>
                    <a:pt x="259" y="667"/>
                  </a:lnTo>
                  <a:lnTo>
                    <a:pt x="256" y="670"/>
                  </a:lnTo>
                  <a:lnTo>
                    <a:pt x="252" y="672"/>
                  </a:lnTo>
                  <a:lnTo>
                    <a:pt x="245" y="674"/>
                  </a:lnTo>
                  <a:lnTo>
                    <a:pt x="242" y="674"/>
                  </a:lnTo>
                  <a:lnTo>
                    <a:pt x="242" y="677"/>
                  </a:lnTo>
                  <a:lnTo>
                    <a:pt x="242" y="677"/>
                  </a:lnTo>
                  <a:lnTo>
                    <a:pt x="242" y="680"/>
                  </a:lnTo>
                  <a:lnTo>
                    <a:pt x="242" y="684"/>
                  </a:lnTo>
                  <a:lnTo>
                    <a:pt x="239" y="687"/>
                  </a:lnTo>
                  <a:lnTo>
                    <a:pt x="237" y="689"/>
                  </a:lnTo>
                  <a:lnTo>
                    <a:pt x="235" y="691"/>
                  </a:lnTo>
                  <a:lnTo>
                    <a:pt x="235" y="694"/>
                  </a:lnTo>
                  <a:lnTo>
                    <a:pt x="237" y="700"/>
                  </a:lnTo>
                  <a:lnTo>
                    <a:pt x="237" y="700"/>
                  </a:lnTo>
                  <a:lnTo>
                    <a:pt x="239" y="707"/>
                  </a:lnTo>
                  <a:lnTo>
                    <a:pt x="240" y="714"/>
                  </a:lnTo>
                  <a:lnTo>
                    <a:pt x="239" y="719"/>
                  </a:lnTo>
                  <a:lnTo>
                    <a:pt x="237" y="724"/>
                  </a:lnTo>
                  <a:lnTo>
                    <a:pt x="235" y="728"/>
                  </a:lnTo>
                  <a:lnTo>
                    <a:pt x="232" y="729"/>
                  </a:lnTo>
                  <a:lnTo>
                    <a:pt x="230" y="729"/>
                  </a:lnTo>
                  <a:lnTo>
                    <a:pt x="228" y="728"/>
                  </a:lnTo>
                  <a:lnTo>
                    <a:pt x="228" y="728"/>
                  </a:lnTo>
                  <a:lnTo>
                    <a:pt x="225" y="719"/>
                  </a:lnTo>
                  <a:lnTo>
                    <a:pt x="223" y="717"/>
                  </a:lnTo>
                  <a:lnTo>
                    <a:pt x="221" y="717"/>
                  </a:lnTo>
                  <a:lnTo>
                    <a:pt x="221" y="717"/>
                  </a:lnTo>
                  <a:lnTo>
                    <a:pt x="216" y="715"/>
                  </a:lnTo>
                  <a:lnTo>
                    <a:pt x="212" y="714"/>
                  </a:lnTo>
                  <a:lnTo>
                    <a:pt x="212" y="714"/>
                  </a:lnTo>
                  <a:lnTo>
                    <a:pt x="209" y="714"/>
                  </a:lnTo>
                  <a:lnTo>
                    <a:pt x="209" y="714"/>
                  </a:lnTo>
                  <a:lnTo>
                    <a:pt x="204" y="712"/>
                  </a:lnTo>
                  <a:lnTo>
                    <a:pt x="204" y="710"/>
                  </a:lnTo>
                  <a:lnTo>
                    <a:pt x="204" y="707"/>
                  </a:lnTo>
                  <a:lnTo>
                    <a:pt x="200" y="701"/>
                  </a:lnTo>
                  <a:lnTo>
                    <a:pt x="200" y="701"/>
                  </a:lnTo>
                  <a:lnTo>
                    <a:pt x="198" y="698"/>
                  </a:lnTo>
                  <a:lnTo>
                    <a:pt x="198" y="696"/>
                  </a:lnTo>
                  <a:lnTo>
                    <a:pt x="200" y="694"/>
                  </a:lnTo>
                  <a:lnTo>
                    <a:pt x="200" y="691"/>
                  </a:lnTo>
                  <a:lnTo>
                    <a:pt x="200" y="691"/>
                  </a:lnTo>
                  <a:lnTo>
                    <a:pt x="200" y="689"/>
                  </a:lnTo>
                  <a:lnTo>
                    <a:pt x="198" y="691"/>
                  </a:lnTo>
                  <a:lnTo>
                    <a:pt x="197" y="693"/>
                  </a:lnTo>
                  <a:lnTo>
                    <a:pt x="195" y="693"/>
                  </a:lnTo>
                  <a:lnTo>
                    <a:pt x="193" y="691"/>
                  </a:lnTo>
                  <a:lnTo>
                    <a:pt x="193" y="691"/>
                  </a:lnTo>
                  <a:lnTo>
                    <a:pt x="190" y="689"/>
                  </a:lnTo>
                  <a:lnTo>
                    <a:pt x="188" y="691"/>
                  </a:lnTo>
                  <a:lnTo>
                    <a:pt x="190" y="696"/>
                  </a:lnTo>
                  <a:lnTo>
                    <a:pt x="193" y="700"/>
                  </a:lnTo>
                  <a:lnTo>
                    <a:pt x="193" y="700"/>
                  </a:lnTo>
                  <a:lnTo>
                    <a:pt x="195" y="705"/>
                  </a:lnTo>
                  <a:lnTo>
                    <a:pt x="195" y="707"/>
                  </a:lnTo>
                  <a:lnTo>
                    <a:pt x="193" y="707"/>
                  </a:lnTo>
                  <a:lnTo>
                    <a:pt x="190" y="710"/>
                  </a:lnTo>
                  <a:lnTo>
                    <a:pt x="190" y="712"/>
                  </a:lnTo>
                  <a:lnTo>
                    <a:pt x="188" y="715"/>
                  </a:lnTo>
                  <a:lnTo>
                    <a:pt x="188" y="715"/>
                  </a:lnTo>
                  <a:lnTo>
                    <a:pt x="188" y="721"/>
                  </a:lnTo>
                  <a:lnTo>
                    <a:pt x="185" y="722"/>
                  </a:lnTo>
                  <a:lnTo>
                    <a:pt x="181" y="722"/>
                  </a:lnTo>
                  <a:lnTo>
                    <a:pt x="176" y="724"/>
                  </a:lnTo>
                  <a:lnTo>
                    <a:pt x="176" y="724"/>
                  </a:lnTo>
                  <a:lnTo>
                    <a:pt x="174" y="726"/>
                  </a:lnTo>
                  <a:lnTo>
                    <a:pt x="172" y="724"/>
                  </a:lnTo>
                  <a:lnTo>
                    <a:pt x="169" y="721"/>
                  </a:lnTo>
                  <a:lnTo>
                    <a:pt x="167" y="719"/>
                  </a:lnTo>
                  <a:lnTo>
                    <a:pt x="165" y="722"/>
                  </a:lnTo>
                  <a:lnTo>
                    <a:pt x="165" y="722"/>
                  </a:lnTo>
                  <a:lnTo>
                    <a:pt x="165" y="726"/>
                  </a:lnTo>
                  <a:lnTo>
                    <a:pt x="164" y="728"/>
                  </a:lnTo>
                  <a:lnTo>
                    <a:pt x="158" y="729"/>
                  </a:lnTo>
                  <a:lnTo>
                    <a:pt x="153" y="729"/>
                  </a:lnTo>
                  <a:lnTo>
                    <a:pt x="153" y="731"/>
                  </a:lnTo>
                  <a:lnTo>
                    <a:pt x="157" y="733"/>
                  </a:lnTo>
                  <a:lnTo>
                    <a:pt x="157" y="733"/>
                  </a:lnTo>
                  <a:lnTo>
                    <a:pt x="158" y="734"/>
                  </a:lnTo>
                  <a:lnTo>
                    <a:pt x="158" y="736"/>
                  </a:lnTo>
                  <a:lnTo>
                    <a:pt x="155" y="738"/>
                  </a:lnTo>
                  <a:lnTo>
                    <a:pt x="151" y="738"/>
                  </a:lnTo>
                  <a:lnTo>
                    <a:pt x="150" y="740"/>
                  </a:lnTo>
                  <a:lnTo>
                    <a:pt x="150" y="741"/>
                  </a:lnTo>
                  <a:lnTo>
                    <a:pt x="150" y="741"/>
                  </a:lnTo>
                  <a:lnTo>
                    <a:pt x="150" y="745"/>
                  </a:lnTo>
                  <a:lnTo>
                    <a:pt x="146" y="745"/>
                  </a:lnTo>
                  <a:lnTo>
                    <a:pt x="143" y="747"/>
                  </a:lnTo>
                  <a:lnTo>
                    <a:pt x="139" y="748"/>
                  </a:lnTo>
                  <a:lnTo>
                    <a:pt x="138" y="752"/>
                  </a:lnTo>
                  <a:lnTo>
                    <a:pt x="138" y="752"/>
                  </a:lnTo>
                  <a:lnTo>
                    <a:pt x="132" y="759"/>
                  </a:lnTo>
                  <a:lnTo>
                    <a:pt x="127" y="762"/>
                  </a:lnTo>
                  <a:lnTo>
                    <a:pt x="120" y="766"/>
                  </a:lnTo>
                  <a:lnTo>
                    <a:pt x="117" y="769"/>
                  </a:lnTo>
                  <a:lnTo>
                    <a:pt x="117" y="769"/>
                  </a:lnTo>
                  <a:lnTo>
                    <a:pt x="113" y="771"/>
                  </a:lnTo>
                  <a:lnTo>
                    <a:pt x="108" y="773"/>
                  </a:lnTo>
                  <a:lnTo>
                    <a:pt x="97" y="775"/>
                  </a:lnTo>
                  <a:lnTo>
                    <a:pt x="85" y="776"/>
                  </a:lnTo>
                  <a:lnTo>
                    <a:pt x="77" y="778"/>
                  </a:lnTo>
                  <a:lnTo>
                    <a:pt x="77" y="778"/>
                  </a:lnTo>
                  <a:lnTo>
                    <a:pt x="73" y="780"/>
                  </a:lnTo>
                  <a:lnTo>
                    <a:pt x="73" y="778"/>
                  </a:lnTo>
                  <a:lnTo>
                    <a:pt x="73" y="776"/>
                  </a:lnTo>
                  <a:lnTo>
                    <a:pt x="68" y="775"/>
                  </a:lnTo>
                  <a:lnTo>
                    <a:pt x="68" y="775"/>
                  </a:lnTo>
                  <a:lnTo>
                    <a:pt x="64" y="773"/>
                  </a:lnTo>
                  <a:lnTo>
                    <a:pt x="63" y="775"/>
                  </a:lnTo>
                  <a:lnTo>
                    <a:pt x="61" y="776"/>
                  </a:lnTo>
                  <a:lnTo>
                    <a:pt x="59" y="775"/>
                  </a:lnTo>
                  <a:lnTo>
                    <a:pt x="59" y="775"/>
                  </a:lnTo>
                  <a:lnTo>
                    <a:pt x="57" y="773"/>
                  </a:lnTo>
                  <a:lnTo>
                    <a:pt x="57" y="771"/>
                  </a:lnTo>
                  <a:lnTo>
                    <a:pt x="59" y="769"/>
                  </a:lnTo>
                  <a:lnTo>
                    <a:pt x="59" y="768"/>
                  </a:lnTo>
                  <a:lnTo>
                    <a:pt x="57" y="766"/>
                  </a:lnTo>
                  <a:lnTo>
                    <a:pt x="57" y="766"/>
                  </a:lnTo>
                  <a:lnTo>
                    <a:pt x="45" y="762"/>
                  </a:lnTo>
                  <a:lnTo>
                    <a:pt x="40" y="759"/>
                  </a:lnTo>
                  <a:lnTo>
                    <a:pt x="37" y="754"/>
                  </a:lnTo>
                  <a:lnTo>
                    <a:pt x="37" y="754"/>
                  </a:lnTo>
                  <a:lnTo>
                    <a:pt x="35" y="752"/>
                  </a:lnTo>
                  <a:lnTo>
                    <a:pt x="31" y="752"/>
                  </a:lnTo>
                  <a:lnTo>
                    <a:pt x="28" y="750"/>
                  </a:lnTo>
                  <a:lnTo>
                    <a:pt x="21" y="745"/>
                  </a:lnTo>
                  <a:lnTo>
                    <a:pt x="21" y="745"/>
                  </a:lnTo>
                  <a:lnTo>
                    <a:pt x="17" y="740"/>
                  </a:lnTo>
                  <a:lnTo>
                    <a:pt x="19" y="731"/>
                  </a:lnTo>
                  <a:lnTo>
                    <a:pt x="19" y="731"/>
                  </a:lnTo>
                  <a:lnTo>
                    <a:pt x="21" y="722"/>
                  </a:lnTo>
                  <a:lnTo>
                    <a:pt x="23" y="722"/>
                  </a:lnTo>
                  <a:lnTo>
                    <a:pt x="23" y="722"/>
                  </a:lnTo>
                  <a:lnTo>
                    <a:pt x="26" y="726"/>
                  </a:lnTo>
                  <a:lnTo>
                    <a:pt x="28" y="728"/>
                  </a:lnTo>
                  <a:lnTo>
                    <a:pt x="31" y="726"/>
                  </a:lnTo>
                  <a:lnTo>
                    <a:pt x="31" y="726"/>
                  </a:lnTo>
                  <a:lnTo>
                    <a:pt x="35" y="724"/>
                  </a:lnTo>
                  <a:lnTo>
                    <a:pt x="37" y="722"/>
                  </a:lnTo>
                  <a:lnTo>
                    <a:pt x="35" y="721"/>
                  </a:lnTo>
                  <a:lnTo>
                    <a:pt x="33" y="719"/>
                  </a:lnTo>
                  <a:lnTo>
                    <a:pt x="33" y="717"/>
                  </a:lnTo>
                  <a:lnTo>
                    <a:pt x="35" y="715"/>
                  </a:lnTo>
                  <a:lnTo>
                    <a:pt x="35" y="715"/>
                  </a:lnTo>
                  <a:lnTo>
                    <a:pt x="37" y="712"/>
                  </a:lnTo>
                  <a:lnTo>
                    <a:pt x="35" y="710"/>
                  </a:lnTo>
                  <a:lnTo>
                    <a:pt x="33" y="710"/>
                  </a:lnTo>
                  <a:lnTo>
                    <a:pt x="33" y="708"/>
                  </a:lnTo>
                  <a:lnTo>
                    <a:pt x="35" y="707"/>
                  </a:lnTo>
                  <a:lnTo>
                    <a:pt x="35" y="707"/>
                  </a:lnTo>
                  <a:lnTo>
                    <a:pt x="37" y="705"/>
                  </a:lnTo>
                  <a:lnTo>
                    <a:pt x="38" y="703"/>
                  </a:lnTo>
                  <a:lnTo>
                    <a:pt x="37" y="700"/>
                  </a:lnTo>
                  <a:lnTo>
                    <a:pt x="33" y="700"/>
                  </a:lnTo>
                  <a:lnTo>
                    <a:pt x="31" y="700"/>
                  </a:lnTo>
                  <a:lnTo>
                    <a:pt x="30" y="703"/>
                  </a:lnTo>
                  <a:lnTo>
                    <a:pt x="30" y="703"/>
                  </a:lnTo>
                  <a:lnTo>
                    <a:pt x="28" y="707"/>
                  </a:lnTo>
                  <a:lnTo>
                    <a:pt x="26" y="705"/>
                  </a:lnTo>
                  <a:lnTo>
                    <a:pt x="23" y="703"/>
                  </a:lnTo>
                  <a:lnTo>
                    <a:pt x="21" y="703"/>
                  </a:lnTo>
                  <a:lnTo>
                    <a:pt x="21" y="705"/>
                  </a:lnTo>
                  <a:lnTo>
                    <a:pt x="21" y="705"/>
                  </a:lnTo>
                  <a:lnTo>
                    <a:pt x="19" y="707"/>
                  </a:lnTo>
                  <a:lnTo>
                    <a:pt x="16" y="707"/>
                  </a:lnTo>
                  <a:lnTo>
                    <a:pt x="10" y="703"/>
                  </a:lnTo>
                  <a:lnTo>
                    <a:pt x="9" y="700"/>
                  </a:lnTo>
                  <a:lnTo>
                    <a:pt x="9" y="696"/>
                  </a:lnTo>
                  <a:lnTo>
                    <a:pt x="10" y="691"/>
                  </a:lnTo>
                  <a:lnTo>
                    <a:pt x="12" y="687"/>
                  </a:lnTo>
                  <a:lnTo>
                    <a:pt x="12" y="687"/>
                  </a:lnTo>
                  <a:lnTo>
                    <a:pt x="19" y="682"/>
                  </a:lnTo>
                  <a:lnTo>
                    <a:pt x="23" y="684"/>
                  </a:lnTo>
                  <a:lnTo>
                    <a:pt x="24" y="686"/>
                  </a:lnTo>
                  <a:lnTo>
                    <a:pt x="30" y="684"/>
                  </a:lnTo>
                  <a:lnTo>
                    <a:pt x="30" y="684"/>
                  </a:lnTo>
                  <a:lnTo>
                    <a:pt x="31" y="680"/>
                  </a:lnTo>
                  <a:lnTo>
                    <a:pt x="31" y="679"/>
                  </a:lnTo>
                  <a:lnTo>
                    <a:pt x="28" y="677"/>
                  </a:lnTo>
                  <a:lnTo>
                    <a:pt x="24" y="674"/>
                  </a:lnTo>
                  <a:lnTo>
                    <a:pt x="26" y="674"/>
                  </a:lnTo>
                  <a:lnTo>
                    <a:pt x="28" y="672"/>
                  </a:lnTo>
                  <a:lnTo>
                    <a:pt x="28" y="672"/>
                  </a:lnTo>
                  <a:lnTo>
                    <a:pt x="35" y="668"/>
                  </a:lnTo>
                  <a:lnTo>
                    <a:pt x="38" y="660"/>
                  </a:lnTo>
                  <a:lnTo>
                    <a:pt x="42" y="654"/>
                  </a:lnTo>
                  <a:lnTo>
                    <a:pt x="40" y="653"/>
                  </a:lnTo>
                  <a:lnTo>
                    <a:pt x="38" y="651"/>
                  </a:lnTo>
                  <a:lnTo>
                    <a:pt x="38" y="651"/>
                  </a:lnTo>
                  <a:lnTo>
                    <a:pt x="37" y="653"/>
                  </a:lnTo>
                  <a:lnTo>
                    <a:pt x="35" y="654"/>
                  </a:lnTo>
                  <a:lnTo>
                    <a:pt x="33" y="660"/>
                  </a:lnTo>
                  <a:lnTo>
                    <a:pt x="33" y="663"/>
                  </a:lnTo>
                  <a:lnTo>
                    <a:pt x="31" y="665"/>
                  </a:lnTo>
                  <a:lnTo>
                    <a:pt x="30" y="667"/>
                  </a:lnTo>
                  <a:lnTo>
                    <a:pt x="30" y="667"/>
                  </a:lnTo>
                  <a:lnTo>
                    <a:pt x="28" y="667"/>
                  </a:lnTo>
                  <a:lnTo>
                    <a:pt x="28" y="665"/>
                  </a:lnTo>
                  <a:lnTo>
                    <a:pt x="28" y="661"/>
                  </a:lnTo>
                  <a:lnTo>
                    <a:pt x="28" y="656"/>
                  </a:lnTo>
                  <a:lnTo>
                    <a:pt x="28" y="656"/>
                  </a:lnTo>
                  <a:lnTo>
                    <a:pt x="26" y="658"/>
                  </a:lnTo>
                  <a:lnTo>
                    <a:pt x="26" y="658"/>
                  </a:lnTo>
                  <a:lnTo>
                    <a:pt x="24" y="660"/>
                  </a:lnTo>
                  <a:lnTo>
                    <a:pt x="24" y="660"/>
                  </a:lnTo>
                  <a:lnTo>
                    <a:pt x="23" y="656"/>
                  </a:lnTo>
                  <a:lnTo>
                    <a:pt x="21" y="654"/>
                  </a:lnTo>
                  <a:lnTo>
                    <a:pt x="21" y="654"/>
                  </a:lnTo>
                  <a:lnTo>
                    <a:pt x="19" y="654"/>
                  </a:lnTo>
                  <a:lnTo>
                    <a:pt x="19" y="654"/>
                  </a:lnTo>
                  <a:lnTo>
                    <a:pt x="16" y="658"/>
                  </a:lnTo>
                  <a:lnTo>
                    <a:pt x="12" y="656"/>
                  </a:lnTo>
                  <a:lnTo>
                    <a:pt x="3" y="647"/>
                  </a:lnTo>
                  <a:lnTo>
                    <a:pt x="3" y="647"/>
                  </a:lnTo>
                  <a:lnTo>
                    <a:pt x="3" y="647"/>
                  </a:lnTo>
                  <a:lnTo>
                    <a:pt x="3" y="647"/>
                  </a:lnTo>
                  <a:lnTo>
                    <a:pt x="7" y="646"/>
                  </a:lnTo>
                  <a:lnTo>
                    <a:pt x="12" y="642"/>
                  </a:lnTo>
                  <a:lnTo>
                    <a:pt x="14" y="640"/>
                  </a:lnTo>
                  <a:lnTo>
                    <a:pt x="16" y="637"/>
                  </a:lnTo>
                  <a:lnTo>
                    <a:pt x="16" y="637"/>
                  </a:lnTo>
                  <a:lnTo>
                    <a:pt x="16" y="633"/>
                  </a:lnTo>
                  <a:lnTo>
                    <a:pt x="14" y="632"/>
                  </a:lnTo>
                  <a:lnTo>
                    <a:pt x="10" y="632"/>
                  </a:lnTo>
                  <a:lnTo>
                    <a:pt x="7" y="632"/>
                  </a:lnTo>
                  <a:lnTo>
                    <a:pt x="5" y="630"/>
                  </a:lnTo>
                  <a:lnTo>
                    <a:pt x="3" y="627"/>
                  </a:lnTo>
                  <a:lnTo>
                    <a:pt x="3" y="627"/>
                  </a:lnTo>
                  <a:lnTo>
                    <a:pt x="2" y="625"/>
                  </a:lnTo>
                  <a:lnTo>
                    <a:pt x="3" y="623"/>
                  </a:lnTo>
                  <a:lnTo>
                    <a:pt x="7" y="625"/>
                  </a:lnTo>
                  <a:lnTo>
                    <a:pt x="12" y="627"/>
                  </a:lnTo>
                  <a:lnTo>
                    <a:pt x="14" y="627"/>
                  </a:lnTo>
                  <a:lnTo>
                    <a:pt x="14" y="623"/>
                  </a:lnTo>
                  <a:lnTo>
                    <a:pt x="14" y="623"/>
                  </a:lnTo>
                  <a:lnTo>
                    <a:pt x="14" y="621"/>
                  </a:lnTo>
                  <a:lnTo>
                    <a:pt x="12" y="620"/>
                  </a:lnTo>
                  <a:lnTo>
                    <a:pt x="9" y="620"/>
                  </a:lnTo>
                  <a:lnTo>
                    <a:pt x="5" y="620"/>
                  </a:lnTo>
                  <a:lnTo>
                    <a:pt x="3" y="618"/>
                  </a:lnTo>
                  <a:lnTo>
                    <a:pt x="3" y="614"/>
                  </a:lnTo>
                  <a:lnTo>
                    <a:pt x="3" y="614"/>
                  </a:lnTo>
                  <a:lnTo>
                    <a:pt x="3" y="609"/>
                  </a:lnTo>
                  <a:lnTo>
                    <a:pt x="3" y="607"/>
                  </a:lnTo>
                  <a:lnTo>
                    <a:pt x="12" y="609"/>
                  </a:lnTo>
                  <a:lnTo>
                    <a:pt x="12" y="609"/>
                  </a:lnTo>
                  <a:lnTo>
                    <a:pt x="16" y="609"/>
                  </a:lnTo>
                  <a:lnTo>
                    <a:pt x="21" y="609"/>
                  </a:lnTo>
                  <a:lnTo>
                    <a:pt x="30" y="606"/>
                  </a:lnTo>
                  <a:lnTo>
                    <a:pt x="38" y="604"/>
                  </a:lnTo>
                  <a:lnTo>
                    <a:pt x="43" y="604"/>
                  </a:lnTo>
                  <a:lnTo>
                    <a:pt x="47" y="606"/>
                  </a:lnTo>
                  <a:lnTo>
                    <a:pt x="47" y="606"/>
                  </a:lnTo>
                  <a:lnTo>
                    <a:pt x="50" y="607"/>
                  </a:lnTo>
                  <a:lnTo>
                    <a:pt x="52" y="607"/>
                  </a:lnTo>
                  <a:lnTo>
                    <a:pt x="56" y="604"/>
                  </a:lnTo>
                  <a:lnTo>
                    <a:pt x="57" y="602"/>
                  </a:lnTo>
                  <a:lnTo>
                    <a:pt x="59" y="602"/>
                  </a:lnTo>
                  <a:lnTo>
                    <a:pt x="63" y="602"/>
                  </a:lnTo>
                  <a:lnTo>
                    <a:pt x="68" y="606"/>
                  </a:lnTo>
                  <a:lnTo>
                    <a:pt x="68" y="606"/>
                  </a:lnTo>
                  <a:lnTo>
                    <a:pt x="75" y="613"/>
                  </a:lnTo>
                  <a:lnTo>
                    <a:pt x="75" y="611"/>
                  </a:lnTo>
                  <a:lnTo>
                    <a:pt x="75" y="609"/>
                  </a:lnTo>
                  <a:lnTo>
                    <a:pt x="75" y="607"/>
                  </a:lnTo>
                  <a:lnTo>
                    <a:pt x="77" y="604"/>
                  </a:lnTo>
                  <a:lnTo>
                    <a:pt x="82" y="602"/>
                  </a:lnTo>
                  <a:lnTo>
                    <a:pt x="82" y="602"/>
                  </a:lnTo>
                  <a:lnTo>
                    <a:pt x="89" y="600"/>
                  </a:lnTo>
                  <a:lnTo>
                    <a:pt x="91" y="599"/>
                  </a:lnTo>
                  <a:lnTo>
                    <a:pt x="91" y="599"/>
                  </a:lnTo>
                  <a:lnTo>
                    <a:pt x="85" y="599"/>
                  </a:lnTo>
                  <a:lnTo>
                    <a:pt x="77" y="599"/>
                  </a:lnTo>
                  <a:lnTo>
                    <a:pt x="77" y="599"/>
                  </a:lnTo>
                  <a:lnTo>
                    <a:pt x="71" y="599"/>
                  </a:lnTo>
                  <a:lnTo>
                    <a:pt x="68" y="599"/>
                  </a:lnTo>
                  <a:lnTo>
                    <a:pt x="61" y="595"/>
                  </a:lnTo>
                  <a:lnTo>
                    <a:pt x="57" y="593"/>
                  </a:lnTo>
                  <a:lnTo>
                    <a:pt x="56" y="593"/>
                  </a:lnTo>
                  <a:lnTo>
                    <a:pt x="54" y="597"/>
                  </a:lnTo>
                  <a:lnTo>
                    <a:pt x="54" y="597"/>
                  </a:lnTo>
                  <a:lnTo>
                    <a:pt x="52" y="600"/>
                  </a:lnTo>
                  <a:lnTo>
                    <a:pt x="49" y="602"/>
                  </a:lnTo>
                  <a:lnTo>
                    <a:pt x="42" y="600"/>
                  </a:lnTo>
                  <a:lnTo>
                    <a:pt x="33" y="599"/>
                  </a:lnTo>
                  <a:lnTo>
                    <a:pt x="28" y="599"/>
                  </a:lnTo>
                  <a:lnTo>
                    <a:pt x="23" y="600"/>
                  </a:lnTo>
                  <a:lnTo>
                    <a:pt x="23" y="600"/>
                  </a:lnTo>
                  <a:lnTo>
                    <a:pt x="17" y="604"/>
                  </a:lnTo>
                  <a:lnTo>
                    <a:pt x="12" y="604"/>
                  </a:lnTo>
                  <a:lnTo>
                    <a:pt x="9" y="604"/>
                  </a:lnTo>
                  <a:lnTo>
                    <a:pt x="5" y="602"/>
                  </a:lnTo>
                  <a:lnTo>
                    <a:pt x="3" y="600"/>
                  </a:lnTo>
                  <a:lnTo>
                    <a:pt x="3" y="597"/>
                  </a:lnTo>
                  <a:lnTo>
                    <a:pt x="3" y="595"/>
                  </a:lnTo>
                  <a:lnTo>
                    <a:pt x="5" y="593"/>
                  </a:lnTo>
                  <a:lnTo>
                    <a:pt x="5" y="593"/>
                  </a:lnTo>
                  <a:lnTo>
                    <a:pt x="5" y="592"/>
                  </a:lnTo>
                  <a:lnTo>
                    <a:pt x="5" y="590"/>
                  </a:lnTo>
                  <a:lnTo>
                    <a:pt x="2" y="588"/>
                  </a:lnTo>
                  <a:lnTo>
                    <a:pt x="0" y="588"/>
                  </a:lnTo>
                  <a:lnTo>
                    <a:pt x="0" y="586"/>
                  </a:lnTo>
                  <a:lnTo>
                    <a:pt x="5" y="583"/>
                  </a:lnTo>
                  <a:lnTo>
                    <a:pt x="5" y="583"/>
                  </a:lnTo>
                  <a:lnTo>
                    <a:pt x="9" y="581"/>
                  </a:lnTo>
                  <a:lnTo>
                    <a:pt x="9" y="580"/>
                  </a:lnTo>
                  <a:lnTo>
                    <a:pt x="5" y="576"/>
                  </a:lnTo>
                  <a:lnTo>
                    <a:pt x="2" y="574"/>
                  </a:lnTo>
                  <a:lnTo>
                    <a:pt x="0" y="571"/>
                  </a:lnTo>
                  <a:lnTo>
                    <a:pt x="2" y="567"/>
                  </a:lnTo>
                  <a:lnTo>
                    <a:pt x="7" y="564"/>
                  </a:lnTo>
                  <a:lnTo>
                    <a:pt x="7" y="564"/>
                  </a:lnTo>
                  <a:lnTo>
                    <a:pt x="14" y="560"/>
                  </a:lnTo>
                  <a:lnTo>
                    <a:pt x="19" y="559"/>
                  </a:lnTo>
                  <a:lnTo>
                    <a:pt x="24" y="559"/>
                  </a:lnTo>
                  <a:lnTo>
                    <a:pt x="28" y="560"/>
                  </a:lnTo>
                  <a:lnTo>
                    <a:pt x="33" y="564"/>
                  </a:lnTo>
                  <a:lnTo>
                    <a:pt x="35" y="566"/>
                  </a:lnTo>
                  <a:lnTo>
                    <a:pt x="37" y="566"/>
                  </a:lnTo>
                  <a:lnTo>
                    <a:pt x="37" y="566"/>
                  </a:lnTo>
                  <a:lnTo>
                    <a:pt x="40" y="564"/>
                  </a:lnTo>
                  <a:lnTo>
                    <a:pt x="43" y="564"/>
                  </a:lnTo>
                  <a:lnTo>
                    <a:pt x="50" y="564"/>
                  </a:lnTo>
                  <a:lnTo>
                    <a:pt x="52" y="564"/>
                  </a:lnTo>
                  <a:lnTo>
                    <a:pt x="45" y="560"/>
                  </a:lnTo>
                  <a:lnTo>
                    <a:pt x="45" y="560"/>
                  </a:lnTo>
                  <a:lnTo>
                    <a:pt x="38" y="559"/>
                  </a:lnTo>
                  <a:lnTo>
                    <a:pt x="33" y="557"/>
                  </a:lnTo>
                  <a:lnTo>
                    <a:pt x="21" y="557"/>
                  </a:lnTo>
                  <a:lnTo>
                    <a:pt x="10" y="557"/>
                  </a:lnTo>
                  <a:lnTo>
                    <a:pt x="5" y="555"/>
                  </a:lnTo>
                  <a:lnTo>
                    <a:pt x="2" y="553"/>
                  </a:lnTo>
                  <a:lnTo>
                    <a:pt x="2" y="553"/>
                  </a:lnTo>
                  <a:lnTo>
                    <a:pt x="0" y="552"/>
                  </a:lnTo>
                  <a:lnTo>
                    <a:pt x="0" y="550"/>
                  </a:lnTo>
                  <a:lnTo>
                    <a:pt x="5" y="550"/>
                  </a:lnTo>
                  <a:lnTo>
                    <a:pt x="9" y="550"/>
                  </a:lnTo>
                  <a:lnTo>
                    <a:pt x="9" y="550"/>
                  </a:lnTo>
                  <a:lnTo>
                    <a:pt x="9" y="548"/>
                  </a:lnTo>
                  <a:lnTo>
                    <a:pt x="9" y="548"/>
                  </a:lnTo>
                  <a:lnTo>
                    <a:pt x="5" y="543"/>
                  </a:lnTo>
                  <a:lnTo>
                    <a:pt x="5" y="543"/>
                  </a:lnTo>
                  <a:lnTo>
                    <a:pt x="7" y="543"/>
                  </a:lnTo>
                  <a:lnTo>
                    <a:pt x="21" y="545"/>
                  </a:lnTo>
                  <a:lnTo>
                    <a:pt x="21" y="545"/>
                  </a:lnTo>
                  <a:lnTo>
                    <a:pt x="28" y="545"/>
                  </a:lnTo>
                  <a:lnTo>
                    <a:pt x="28" y="545"/>
                  </a:lnTo>
                  <a:lnTo>
                    <a:pt x="28" y="543"/>
                  </a:lnTo>
                  <a:lnTo>
                    <a:pt x="26" y="541"/>
                  </a:lnTo>
                  <a:lnTo>
                    <a:pt x="28" y="539"/>
                  </a:lnTo>
                  <a:lnTo>
                    <a:pt x="31" y="541"/>
                  </a:lnTo>
                  <a:lnTo>
                    <a:pt x="31" y="541"/>
                  </a:lnTo>
                  <a:lnTo>
                    <a:pt x="37" y="541"/>
                  </a:lnTo>
                  <a:lnTo>
                    <a:pt x="37" y="539"/>
                  </a:lnTo>
                  <a:lnTo>
                    <a:pt x="37" y="538"/>
                  </a:lnTo>
                  <a:lnTo>
                    <a:pt x="37" y="536"/>
                  </a:lnTo>
                  <a:lnTo>
                    <a:pt x="40" y="534"/>
                  </a:lnTo>
                  <a:lnTo>
                    <a:pt x="47" y="531"/>
                  </a:lnTo>
                  <a:lnTo>
                    <a:pt x="47" y="531"/>
                  </a:lnTo>
                  <a:lnTo>
                    <a:pt x="54" y="529"/>
                  </a:lnTo>
                  <a:lnTo>
                    <a:pt x="61" y="529"/>
                  </a:lnTo>
                  <a:lnTo>
                    <a:pt x="66" y="529"/>
                  </a:lnTo>
                  <a:lnTo>
                    <a:pt x="68" y="531"/>
                  </a:lnTo>
                  <a:lnTo>
                    <a:pt x="71" y="533"/>
                  </a:lnTo>
                  <a:lnTo>
                    <a:pt x="70" y="529"/>
                  </a:lnTo>
                  <a:lnTo>
                    <a:pt x="70" y="529"/>
                  </a:lnTo>
                  <a:lnTo>
                    <a:pt x="68" y="526"/>
                  </a:lnTo>
                  <a:lnTo>
                    <a:pt x="63" y="524"/>
                  </a:lnTo>
                  <a:lnTo>
                    <a:pt x="52" y="522"/>
                  </a:lnTo>
                  <a:lnTo>
                    <a:pt x="49" y="522"/>
                  </a:lnTo>
                  <a:lnTo>
                    <a:pt x="47" y="520"/>
                  </a:lnTo>
                  <a:lnTo>
                    <a:pt x="49" y="519"/>
                  </a:lnTo>
                  <a:lnTo>
                    <a:pt x="56" y="517"/>
                  </a:lnTo>
                  <a:lnTo>
                    <a:pt x="56" y="517"/>
                  </a:lnTo>
                  <a:lnTo>
                    <a:pt x="64" y="515"/>
                  </a:lnTo>
                  <a:lnTo>
                    <a:pt x="71" y="515"/>
                  </a:lnTo>
                  <a:lnTo>
                    <a:pt x="84" y="519"/>
                  </a:lnTo>
                  <a:lnTo>
                    <a:pt x="89" y="520"/>
                  </a:lnTo>
                  <a:lnTo>
                    <a:pt x="87" y="519"/>
                  </a:lnTo>
                  <a:lnTo>
                    <a:pt x="87" y="519"/>
                  </a:lnTo>
                  <a:lnTo>
                    <a:pt x="85" y="515"/>
                  </a:lnTo>
                  <a:lnTo>
                    <a:pt x="87" y="512"/>
                  </a:lnTo>
                  <a:lnTo>
                    <a:pt x="89" y="508"/>
                  </a:lnTo>
                  <a:lnTo>
                    <a:pt x="91" y="506"/>
                  </a:lnTo>
                  <a:lnTo>
                    <a:pt x="85" y="508"/>
                  </a:lnTo>
                  <a:lnTo>
                    <a:pt x="85" y="508"/>
                  </a:lnTo>
                  <a:lnTo>
                    <a:pt x="78" y="508"/>
                  </a:lnTo>
                  <a:lnTo>
                    <a:pt x="75" y="506"/>
                  </a:lnTo>
                  <a:lnTo>
                    <a:pt x="71" y="505"/>
                  </a:lnTo>
                  <a:lnTo>
                    <a:pt x="71" y="503"/>
                  </a:lnTo>
                  <a:lnTo>
                    <a:pt x="70" y="499"/>
                  </a:lnTo>
                  <a:lnTo>
                    <a:pt x="71" y="496"/>
                  </a:lnTo>
                  <a:lnTo>
                    <a:pt x="71" y="496"/>
                  </a:lnTo>
                  <a:lnTo>
                    <a:pt x="77" y="496"/>
                  </a:lnTo>
                  <a:lnTo>
                    <a:pt x="84" y="496"/>
                  </a:lnTo>
                  <a:lnTo>
                    <a:pt x="92" y="498"/>
                  </a:lnTo>
                  <a:lnTo>
                    <a:pt x="103" y="498"/>
                  </a:lnTo>
                  <a:lnTo>
                    <a:pt x="103" y="498"/>
                  </a:lnTo>
                  <a:lnTo>
                    <a:pt x="106" y="496"/>
                  </a:lnTo>
                  <a:lnTo>
                    <a:pt x="106" y="494"/>
                  </a:lnTo>
                  <a:lnTo>
                    <a:pt x="104" y="491"/>
                  </a:lnTo>
                  <a:lnTo>
                    <a:pt x="103" y="489"/>
                  </a:lnTo>
                  <a:lnTo>
                    <a:pt x="110" y="491"/>
                  </a:lnTo>
                  <a:lnTo>
                    <a:pt x="110" y="491"/>
                  </a:lnTo>
                  <a:lnTo>
                    <a:pt x="117" y="492"/>
                  </a:lnTo>
                  <a:lnTo>
                    <a:pt x="115" y="491"/>
                  </a:lnTo>
                  <a:lnTo>
                    <a:pt x="113" y="489"/>
                  </a:lnTo>
                  <a:lnTo>
                    <a:pt x="113" y="487"/>
                  </a:lnTo>
                  <a:lnTo>
                    <a:pt x="115" y="487"/>
                  </a:lnTo>
                  <a:lnTo>
                    <a:pt x="120" y="485"/>
                  </a:lnTo>
                  <a:lnTo>
                    <a:pt x="120" y="485"/>
                  </a:lnTo>
                  <a:lnTo>
                    <a:pt x="125" y="485"/>
                  </a:lnTo>
                  <a:lnTo>
                    <a:pt x="129" y="484"/>
                  </a:lnTo>
                  <a:lnTo>
                    <a:pt x="127" y="482"/>
                  </a:lnTo>
                  <a:lnTo>
                    <a:pt x="125" y="480"/>
                  </a:lnTo>
                  <a:lnTo>
                    <a:pt x="120" y="477"/>
                  </a:lnTo>
                  <a:lnTo>
                    <a:pt x="120" y="475"/>
                  </a:lnTo>
                  <a:lnTo>
                    <a:pt x="122" y="473"/>
                  </a:lnTo>
                  <a:lnTo>
                    <a:pt x="122" y="473"/>
                  </a:lnTo>
                  <a:lnTo>
                    <a:pt x="136" y="468"/>
                  </a:lnTo>
                  <a:lnTo>
                    <a:pt x="141" y="466"/>
                  </a:lnTo>
                  <a:lnTo>
                    <a:pt x="146" y="468"/>
                  </a:lnTo>
                  <a:lnTo>
                    <a:pt x="146" y="468"/>
                  </a:lnTo>
                  <a:lnTo>
                    <a:pt x="148" y="470"/>
                  </a:lnTo>
                  <a:lnTo>
                    <a:pt x="148" y="466"/>
                  </a:lnTo>
                  <a:lnTo>
                    <a:pt x="150" y="463"/>
                  </a:lnTo>
                  <a:lnTo>
                    <a:pt x="151" y="463"/>
                  </a:lnTo>
                  <a:lnTo>
                    <a:pt x="155" y="461"/>
                  </a:lnTo>
                  <a:lnTo>
                    <a:pt x="155" y="461"/>
                  </a:lnTo>
                  <a:lnTo>
                    <a:pt x="160" y="461"/>
                  </a:lnTo>
                  <a:lnTo>
                    <a:pt x="164" y="458"/>
                  </a:lnTo>
                  <a:lnTo>
                    <a:pt x="167" y="458"/>
                  </a:lnTo>
                  <a:lnTo>
                    <a:pt x="171" y="463"/>
                  </a:lnTo>
                  <a:lnTo>
                    <a:pt x="171" y="463"/>
                  </a:lnTo>
                  <a:lnTo>
                    <a:pt x="174" y="470"/>
                  </a:lnTo>
                  <a:lnTo>
                    <a:pt x="174" y="473"/>
                  </a:lnTo>
                  <a:lnTo>
                    <a:pt x="174" y="475"/>
                  </a:lnTo>
                  <a:lnTo>
                    <a:pt x="178" y="472"/>
                  </a:lnTo>
                  <a:lnTo>
                    <a:pt x="178" y="472"/>
                  </a:lnTo>
                  <a:lnTo>
                    <a:pt x="181" y="470"/>
                  </a:lnTo>
                  <a:lnTo>
                    <a:pt x="186" y="468"/>
                  </a:lnTo>
                  <a:lnTo>
                    <a:pt x="193" y="468"/>
                  </a:lnTo>
                  <a:lnTo>
                    <a:pt x="202" y="470"/>
                  </a:lnTo>
                  <a:lnTo>
                    <a:pt x="207" y="470"/>
                  </a:lnTo>
                  <a:lnTo>
                    <a:pt x="207" y="470"/>
                  </a:lnTo>
                  <a:lnTo>
                    <a:pt x="209" y="468"/>
                  </a:lnTo>
                  <a:lnTo>
                    <a:pt x="207" y="466"/>
                  </a:lnTo>
                  <a:lnTo>
                    <a:pt x="204" y="465"/>
                  </a:lnTo>
                  <a:lnTo>
                    <a:pt x="204" y="465"/>
                  </a:lnTo>
                  <a:lnTo>
                    <a:pt x="205" y="463"/>
                  </a:lnTo>
                  <a:lnTo>
                    <a:pt x="205" y="463"/>
                  </a:lnTo>
                  <a:lnTo>
                    <a:pt x="205" y="463"/>
                  </a:lnTo>
                  <a:lnTo>
                    <a:pt x="205" y="461"/>
                  </a:lnTo>
                  <a:lnTo>
                    <a:pt x="204" y="461"/>
                  </a:lnTo>
                  <a:lnTo>
                    <a:pt x="202" y="461"/>
                  </a:lnTo>
                  <a:lnTo>
                    <a:pt x="202" y="461"/>
                  </a:lnTo>
                  <a:lnTo>
                    <a:pt x="207" y="458"/>
                  </a:lnTo>
                  <a:lnTo>
                    <a:pt x="207" y="458"/>
                  </a:lnTo>
                  <a:lnTo>
                    <a:pt x="225" y="449"/>
                  </a:lnTo>
                  <a:lnTo>
                    <a:pt x="228" y="447"/>
                  </a:lnTo>
                  <a:lnTo>
                    <a:pt x="225" y="445"/>
                  </a:lnTo>
                  <a:lnTo>
                    <a:pt x="225" y="445"/>
                  </a:lnTo>
                  <a:lnTo>
                    <a:pt x="219" y="444"/>
                  </a:lnTo>
                  <a:lnTo>
                    <a:pt x="218" y="442"/>
                  </a:lnTo>
                  <a:lnTo>
                    <a:pt x="219" y="440"/>
                  </a:lnTo>
                  <a:lnTo>
                    <a:pt x="223" y="438"/>
                  </a:lnTo>
                  <a:lnTo>
                    <a:pt x="228" y="435"/>
                  </a:lnTo>
                  <a:lnTo>
                    <a:pt x="228" y="435"/>
                  </a:lnTo>
                  <a:lnTo>
                    <a:pt x="226" y="433"/>
                  </a:lnTo>
                  <a:lnTo>
                    <a:pt x="226" y="433"/>
                  </a:lnTo>
                  <a:lnTo>
                    <a:pt x="221" y="433"/>
                  </a:lnTo>
                  <a:lnTo>
                    <a:pt x="219" y="433"/>
                  </a:lnTo>
                  <a:lnTo>
                    <a:pt x="216" y="437"/>
                  </a:lnTo>
                  <a:lnTo>
                    <a:pt x="209" y="440"/>
                  </a:lnTo>
                  <a:lnTo>
                    <a:pt x="209" y="440"/>
                  </a:lnTo>
                  <a:lnTo>
                    <a:pt x="205" y="442"/>
                  </a:lnTo>
                  <a:lnTo>
                    <a:pt x="207" y="442"/>
                  </a:lnTo>
                  <a:lnTo>
                    <a:pt x="211" y="442"/>
                  </a:lnTo>
                  <a:lnTo>
                    <a:pt x="214" y="442"/>
                  </a:lnTo>
                  <a:lnTo>
                    <a:pt x="214" y="444"/>
                  </a:lnTo>
                  <a:lnTo>
                    <a:pt x="214" y="445"/>
                  </a:lnTo>
                  <a:lnTo>
                    <a:pt x="209" y="451"/>
                  </a:lnTo>
                  <a:lnTo>
                    <a:pt x="209" y="451"/>
                  </a:lnTo>
                  <a:lnTo>
                    <a:pt x="197" y="459"/>
                  </a:lnTo>
                  <a:lnTo>
                    <a:pt x="186" y="463"/>
                  </a:lnTo>
                  <a:lnTo>
                    <a:pt x="178" y="465"/>
                  </a:lnTo>
                  <a:lnTo>
                    <a:pt x="176" y="465"/>
                  </a:lnTo>
                  <a:lnTo>
                    <a:pt x="174" y="461"/>
                  </a:lnTo>
                  <a:lnTo>
                    <a:pt x="174" y="461"/>
                  </a:lnTo>
                  <a:lnTo>
                    <a:pt x="174" y="459"/>
                  </a:lnTo>
                  <a:lnTo>
                    <a:pt x="172" y="458"/>
                  </a:lnTo>
                  <a:lnTo>
                    <a:pt x="171" y="458"/>
                  </a:lnTo>
                  <a:lnTo>
                    <a:pt x="171" y="454"/>
                  </a:lnTo>
                  <a:lnTo>
                    <a:pt x="171" y="454"/>
                  </a:lnTo>
                  <a:lnTo>
                    <a:pt x="171" y="452"/>
                  </a:lnTo>
                  <a:lnTo>
                    <a:pt x="169" y="452"/>
                  </a:lnTo>
                  <a:lnTo>
                    <a:pt x="165" y="454"/>
                  </a:lnTo>
                  <a:lnTo>
                    <a:pt x="162" y="456"/>
                  </a:lnTo>
                  <a:lnTo>
                    <a:pt x="160" y="454"/>
                  </a:lnTo>
                  <a:lnTo>
                    <a:pt x="162" y="451"/>
                  </a:lnTo>
                  <a:lnTo>
                    <a:pt x="162" y="451"/>
                  </a:lnTo>
                  <a:lnTo>
                    <a:pt x="164" y="449"/>
                  </a:lnTo>
                  <a:lnTo>
                    <a:pt x="165" y="445"/>
                  </a:lnTo>
                  <a:lnTo>
                    <a:pt x="171" y="442"/>
                  </a:lnTo>
                  <a:lnTo>
                    <a:pt x="178" y="437"/>
                  </a:lnTo>
                  <a:lnTo>
                    <a:pt x="179" y="433"/>
                  </a:lnTo>
                  <a:lnTo>
                    <a:pt x="181" y="426"/>
                  </a:lnTo>
                  <a:lnTo>
                    <a:pt x="181" y="426"/>
                  </a:lnTo>
                  <a:lnTo>
                    <a:pt x="183" y="425"/>
                  </a:lnTo>
                  <a:lnTo>
                    <a:pt x="185" y="421"/>
                  </a:lnTo>
                  <a:lnTo>
                    <a:pt x="190" y="421"/>
                  </a:lnTo>
                  <a:lnTo>
                    <a:pt x="193" y="419"/>
                  </a:lnTo>
                  <a:lnTo>
                    <a:pt x="195" y="418"/>
                  </a:lnTo>
                  <a:lnTo>
                    <a:pt x="195" y="414"/>
                  </a:lnTo>
                  <a:lnTo>
                    <a:pt x="195" y="414"/>
                  </a:lnTo>
                  <a:lnTo>
                    <a:pt x="195" y="412"/>
                  </a:lnTo>
                  <a:lnTo>
                    <a:pt x="197" y="409"/>
                  </a:lnTo>
                  <a:lnTo>
                    <a:pt x="200" y="407"/>
                  </a:lnTo>
                  <a:lnTo>
                    <a:pt x="207" y="405"/>
                  </a:lnTo>
                  <a:lnTo>
                    <a:pt x="207" y="405"/>
                  </a:lnTo>
                  <a:lnTo>
                    <a:pt x="209" y="405"/>
                  </a:lnTo>
                  <a:lnTo>
                    <a:pt x="209" y="404"/>
                  </a:lnTo>
                  <a:lnTo>
                    <a:pt x="209" y="402"/>
                  </a:lnTo>
                  <a:lnTo>
                    <a:pt x="211" y="400"/>
                  </a:lnTo>
                  <a:lnTo>
                    <a:pt x="211" y="400"/>
                  </a:lnTo>
                  <a:lnTo>
                    <a:pt x="214" y="402"/>
                  </a:lnTo>
                  <a:lnTo>
                    <a:pt x="214" y="402"/>
                  </a:lnTo>
                  <a:lnTo>
                    <a:pt x="216" y="405"/>
                  </a:lnTo>
                  <a:lnTo>
                    <a:pt x="219" y="409"/>
                  </a:lnTo>
                  <a:lnTo>
                    <a:pt x="221" y="411"/>
                  </a:lnTo>
                  <a:lnTo>
                    <a:pt x="223" y="411"/>
                  </a:lnTo>
                  <a:lnTo>
                    <a:pt x="223" y="411"/>
                  </a:lnTo>
                  <a:lnTo>
                    <a:pt x="228" y="411"/>
                  </a:lnTo>
                  <a:lnTo>
                    <a:pt x="230" y="409"/>
                  </a:lnTo>
                  <a:lnTo>
                    <a:pt x="230" y="407"/>
                  </a:lnTo>
                  <a:lnTo>
                    <a:pt x="233" y="402"/>
                  </a:lnTo>
                  <a:lnTo>
                    <a:pt x="233" y="402"/>
                  </a:lnTo>
                  <a:lnTo>
                    <a:pt x="233" y="402"/>
                  </a:lnTo>
                  <a:lnTo>
                    <a:pt x="233" y="400"/>
                  </a:lnTo>
                  <a:lnTo>
                    <a:pt x="230" y="398"/>
                  </a:lnTo>
                  <a:lnTo>
                    <a:pt x="228" y="397"/>
                  </a:lnTo>
                  <a:lnTo>
                    <a:pt x="228" y="395"/>
                  </a:lnTo>
                  <a:lnTo>
                    <a:pt x="230" y="393"/>
                  </a:lnTo>
                  <a:lnTo>
                    <a:pt x="230" y="393"/>
                  </a:lnTo>
                  <a:lnTo>
                    <a:pt x="235" y="391"/>
                  </a:lnTo>
                  <a:lnTo>
                    <a:pt x="235" y="390"/>
                  </a:lnTo>
                  <a:lnTo>
                    <a:pt x="235" y="388"/>
                  </a:lnTo>
                  <a:lnTo>
                    <a:pt x="230" y="390"/>
                  </a:lnTo>
                  <a:lnTo>
                    <a:pt x="230" y="390"/>
                  </a:lnTo>
                  <a:lnTo>
                    <a:pt x="225" y="393"/>
                  </a:lnTo>
                  <a:lnTo>
                    <a:pt x="223" y="393"/>
                  </a:lnTo>
                  <a:lnTo>
                    <a:pt x="225" y="391"/>
                  </a:lnTo>
                  <a:lnTo>
                    <a:pt x="225" y="390"/>
                  </a:lnTo>
                  <a:lnTo>
                    <a:pt x="223" y="388"/>
                  </a:lnTo>
                  <a:lnTo>
                    <a:pt x="221" y="386"/>
                  </a:lnTo>
                  <a:lnTo>
                    <a:pt x="221" y="386"/>
                  </a:lnTo>
                  <a:lnTo>
                    <a:pt x="214" y="386"/>
                  </a:lnTo>
                  <a:lnTo>
                    <a:pt x="211" y="386"/>
                  </a:lnTo>
                  <a:lnTo>
                    <a:pt x="207" y="386"/>
                  </a:lnTo>
                  <a:lnTo>
                    <a:pt x="207" y="385"/>
                  </a:lnTo>
                  <a:lnTo>
                    <a:pt x="207" y="385"/>
                  </a:lnTo>
                  <a:lnTo>
                    <a:pt x="209" y="383"/>
                  </a:lnTo>
                  <a:lnTo>
                    <a:pt x="212" y="381"/>
                  </a:lnTo>
                  <a:lnTo>
                    <a:pt x="223" y="383"/>
                  </a:lnTo>
                  <a:lnTo>
                    <a:pt x="223" y="383"/>
                  </a:lnTo>
                  <a:lnTo>
                    <a:pt x="225" y="383"/>
                  </a:lnTo>
                  <a:lnTo>
                    <a:pt x="228" y="381"/>
                  </a:lnTo>
                  <a:lnTo>
                    <a:pt x="232" y="379"/>
                  </a:lnTo>
                  <a:lnTo>
                    <a:pt x="235" y="379"/>
                  </a:lnTo>
                  <a:lnTo>
                    <a:pt x="235" y="379"/>
                  </a:lnTo>
                  <a:lnTo>
                    <a:pt x="240" y="378"/>
                  </a:lnTo>
                  <a:lnTo>
                    <a:pt x="244" y="376"/>
                  </a:lnTo>
                  <a:lnTo>
                    <a:pt x="245" y="374"/>
                  </a:lnTo>
                  <a:lnTo>
                    <a:pt x="252" y="374"/>
                  </a:lnTo>
                  <a:lnTo>
                    <a:pt x="252" y="374"/>
                  </a:lnTo>
                  <a:lnTo>
                    <a:pt x="258" y="372"/>
                  </a:lnTo>
                  <a:lnTo>
                    <a:pt x="261" y="369"/>
                  </a:lnTo>
                  <a:lnTo>
                    <a:pt x="261" y="365"/>
                  </a:lnTo>
                  <a:lnTo>
                    <a:pt x="259" y="362"/>
                  </a:lnTo>
                  <a:lnTo>
                    <a:pt x="259" y="362"/>
                  </a:lnTo>
                  <a:lnTo>
                    <a:pt x="258" y="360"/>
                  </a:lnTo>
                  <a:lnTo>
                    <a:pt x="259" y="360"/>
                  </a:lnTo>
                  <a:lnTo>
                    <a:pt x="261" y="357"/>
                  </a:lnTo>
                  <a:lnTo>
                    <a:pt x="266" y="353"/>
                  </a:lnTo>
                  <a:lnTo>
                    <a:pt x="266" y="351"/>
                  </a:lnTo>
                  <a:lnTo>
                    <a:pt x="266" y="348"/>
                  </a:lnTo>
                  <a:lnTo>
                    <a:pt x="266" y="348"/>
                  </a:lnTo>
                  <a:lnTo>
                    <a:pt x="266" y="346"/>
                  </a:lnTo>
                  <a:lnTo>
                    <a:pt x="263" y="346"/>
                  </a:lnTo>
                  <a:lnTo>
                    <a:pt x="261" y="344"/>
                  </a:lnTo>
                  <a:lnTo>
                    <a:pt x="259" y="341"/>
                  </a:lnTo>
                  <a:lnTo>
                    <a:pt x="259" y="341"/>
                  </a:lnTo>
                  <a:lnTo>
                    <a:pt x="259" y="336"/>
                  </a:lnTo>
                  <a:lnTo>
                    <a:pt x="263" y="336"/>
                  </a:lnTo>
                  <a:lnTo>
                    <a:pt x="266" y="334"/>
                  </a:lnTo>
                  <a:lnTo>
                    <a:pt x="268" y="332"/>
                  </a:lnTo>
                  <a:lnTo>
                    <a:pt x="270" y="329"/>
                  </a:lnTo>
                  <a:lnTo>
                    <a:pt x="270" y="329"/>
                  </a:lnTo>
                  <a:lnTo>
                    <a:pt x="273" y="324"/>
                  </a:lnTo>
                  <a:lnTo>
                    <a:pt x="277" y="320"/>
                  </a:lnTo>
                  <a:lnTo>
                    <a:pt x="280" y="320"/>
                  </a:lnTo>
                  <a:lnTo>
                    <a:pt x="282" y="317"/>
                  </a:lnTo>
                  <a:lnTo>
                    <a:pt x="282" y="317"/>
                  </a:lnTo>
                  <a:lnTo>
                    <a:pt x="282" y="315"/>
                  </a:lnTo>
                  <a:lnTo>
                    <a:pt x="279" y="313"/>
                  </a:lnTo>
                  <a:lnTo>
                    <a:pt x="273" y="313"/>
                  </a:lnTo>
                  <a:lnTo>
                    <a:pt x="270" y="313"/>
                  </a:lnTo>
                  <a:lnTo>
                    <a:pt x="275" y="311"/>
                  </a:lnTo>
                  <a:lnTo>
                    <a:pt x="275" y="311"/>
                  </a:lnTo>
                  <a:lnTo>
                    <a:pt x="282" y="308"/>
                  </a:lnTo>
                  <a:lnTo>
                    <a:pt x="289" y="308"/>
                  </a:lnTo>
                  <a:lnTo>
                    <a:pt x="305" y="304"/>
                  </a:lnTo>
                  <a:lnTo>
                    <a:pt x="305" y="304"/>
                  </a:lnTo>
                  <a:lnTo>
                    <a:pt x="313" y="303"/>
                  </a:lnTo>
                  <a:lnTo>
                    <a:pt x="322" y="299"/>
                  </a:lnTo>
                  <a:lnTo>
                    <a:pt x="324" y="297"/>
                  </a:lnTo>
                  <a:lnTo>
                    <a:pt x="320" y="297"/>
                  </a:lnTo>
                  <a:lnTo>
                    <a:pt x="320" y="297"/>
                  </a:lnTo>
                  <a:lnTo>
                    <a:pt x="298" y="303"/>
                  </a:lnTo>
                  <a:lnTo>
                    <a:pt x="289" y="304"/>
                  </a:lnTo>
                  <a:lnTo>
                    <a:pt x="284" y="304"/>
                  </a:lnTo>
                  <a:lnTo>
                    <a:pt x="284" y="304"/>
                  </a:lnTo>
                  <a:lnTo>
                    <a:pt x="284" y="304"/>
                  </a:lnTo>
                  <a:lnTo>
                    <a:pt x="284" y="303"/>
                  </a:lnTo>
                  <a:lnTo>
                    <a:pt x="289" y="301"/>
                  </a:lnTo>
                  <a:lnTo>
                    <a:pt x="292" y="299"/>
                  </a:lnTo>
                  <a:lnTo>
                    <a:pt x="289" y="299"/>
                  </a:lnTo>
                  <a:lnTo>
                    <a:pt x="289" y="299"/>
                  </a:lnTo>
                  <a:lnTo>
                    <a:pt x="284" y="297"/>
                  </a:lnTo>
                  <a:lnTo>
                    <a:pt x="284" y="296"/>
                  </a:lnTo>
                  <a:lnTo>
                    <a:pt x="286" y="292"/>
                  </a:lnTo>
                  <a:lnTo>
                    <a:pt x="286" y="290"/>
                  </a:lnTo>
                  <a:lnTo>
                    <a:pt x="284" y="289"/>
                  </a:lnTo>
                  <a:lnTo>
                    <a:pt x="284" y="289"/>
                  </a:lnTo>
                  <a:lnTo>
                    <a:pt x="282" y="285"/>
                  </a:lnTo>
                  <a:lnTo>
                    <a:pt x="284" y="285"/>
                  </a:lnTo>
                  <a:lnTo>
                    <a:pt x="286" y="285"/>
                  </a:lnTo>
                  <a:lnTo>
                    <a:pt x="289" y="285"/>
                  </a:lnTo>
                  <a:lnTo>
                    <a:pt x="289" y="285"/>
                  </a:lnTo>
                  <a:lnTo>
                    <a:pt x="291" y="285"/>
                  </a:lnTo>
                  <a:lnTo>
                    <a:pt x="291" y="285"/>
                  </a:lnTo>
                  <a:lnTo>
                    <a:pt x="291" y="284"/>
                  </a:lnTo>
                  <a:lnTo>
                    <a:pt x="292" y="282"/>
                  </a:lnTo>
                  <a:lnTo>
                    <a:pt x="292" y="282"/>
                  </a:lnTo>
                  <a:lnTo>
                    <a:pt x="294" y="280"/>
                  </a:lnTo>
                  <a:lnTo>
                    <a:pt x="291" y="278"/>
                  </a:lnTo>
                  <a:lnTo>
                    <a:pt x="289" y="278"/>
                  </a:lnTo>
                  <a:lnTo>
                    <a:pt x="292" y="275"/>
                  </a:lnTo>
                  <a:lnTo>
                    <a:pt x="292" y="275"/>
                  </a:lnTo>
                  <a:lnTo>
                    <a:pt x="296" y="271"/>
                  </a:lnTo>
                  <a:lnTo>
                    <a:pt x="298" y="271"/>
                  </a:lnTo>
                  <a:lnTo>
                    <a:pt x="301" y="271"/>
                  </a:lnTo>
                  <a:lnTo>
                    <a:pt x="305" y="270"/>
                  </a:lnTo>
                  <a:lnTo>
                    <a:pt x="305" y="270"/>
                  </a:lnTo>
                  <a:lnTo>
                    <a:pt x="306" y="268"/>
                  </a:lnTo>
                  <a:lnTo>
                    <a:pt x="306" y="266"/>
                  </a:lnTo>
                  <a:lnTo>
                    <a:pt x="303" y="263"/>
                  </a:lnTo>
                  <a:lnTo>
                    <a:pt x="301" y="259"/>
                  </a:lnTo>
                  <a:lnTo>
                    <a:pt x="308" y="259"/>
                  </a:lnTo>
                  <a:lnTo>
                    <a:pt x="308" y="259"/>
                  </a:lnTo>
                  <a:lnTo>
                    <a:pt x="313" y="257"/>
                  </a:lnTo>
                  <a:lnTo>
                    <a:pt x="317" y="257"/>
                  </a:lnTo>
                  <a:lnTo>
                    <a:pt x="319" y="256"/>
                  </a:lnTo>
                  <a:lnTo>
                    <a:pt x="319" y="254"/>
                  </a:lnTo>
                  <a:lnTo>
                    <a:pt x="319" y="250"/>
                  </a:lnTo>
                  <a:lnTo>
                    <a:pt x="319" y="250"/>
                  </a:lnTo>
                  <a:lnTo>
                    <a:pt x="320" y="249"/>
                  </a:lnTo>
                  <a:lnTo>
                    <a:pt x="320" y="249"/>
                  </a:lnTo>
                  <a:lnTo>
                    <a:pt x="324" y="249"/>
                  </a:lnTo>
                  <a:lnTo>
                    <a:pt x="326" y="247"/>
                  </a:lnTo>
                  <a:lnTo>
                    <a:pt x="327" y="247"/>
                  </a:lnTo>
                  <a:lnTo>
                    <a:pt x="331" y="247"/>
                  </a:lnTo>
                  <a:lnTo>
                    <a:pt x="331" y="247"/>
                  </a:lnTo>
                  <a:lnTo>
                    <a:pt x="336" y="245"/>
                  </a:lnTo>
                  <a:lnTo>
                    <a:pt x="341" y="245"/>
                  </a:lnTo>
                  <a:lnTo>
                    <a:pt x="346" y="243"/>
                  </a:lnTo>
                  <a:lnTo>
                    <a:pt x="353" y="242"/>
                  </a:lnTo>
                  <a:lnTo>
                    <a:pt x="353" y="242"/>
                  </a:lnTo>
                  <a:lnTo>
                    <a:pt x="359" y="243"/>
                  </a:lnTo>
                  <a:lnTo>
                    <a:pt x="362" y="245"/>
                  </a:lnTo>
                  <a:lnTo>
                    <a:pt x="367" y="249"/>
                  </a:lnTo>
                  <a:lnTo>
                    <a:pt x="371" y="250"/>
                  </a:lnTo>
                  <a:lnTo>
                    <a:pt x="369" y="247"/>
                  </a:lnTo>
                  <a:lnTo>
                    <a:pt x="369" y="247"/>
                  </a:lnTo>
                  <a:lnTo>
                    <a:pt x="369" y="245"/>
                  </a:lnTo>
                  <a:lnTo>
                    <a:pt x="371" y="243"/>
                  </a:lnTo>
                  <a:lnTo>
                    <a:pt x="374" y="242"/>
                  </a:lnTo>
                  <a:lnTo>
                    <a:pt x="360" y="240"/>
                  </a:lnTo>
                  <a:lnTo>
                    <a:pt x="360" y="240"/>
                  </a:lnTo>
                  <a:lnTo>
                    <a:pt x="350" y="240"/>
                  </a:lnTo>
                  <a:lnTo>
                    <a:pt x="343" y="240"/>
                  </a:lnTo>
                  <a:lnTo>
                    <a:pt x="339" y="242"/>
                  </a:lnTo>
                  <a:lnTo>
                    <a:pt x="336" y="242"/>
                  </a:lnTo>
                  <a:lnTo>
                    <a:pt x="336" y="242"/>
                  </a:lnTo>
                  <a:lnTo>
                    <a:pt x="333" y="240"/>
                  </a:lnTo>
                  <a:lnTo>
                    <a:pt x="333" y="238"/>
                  </a:lnTo>
                  <a:lnTo>
                    <a:pt x="338" y="233"/>
                  </a:lnTo>
                  <a:lnTo>
                    <a:pt x="338" y="233"/>
                  </a:lnTo>
                  <a:lnTo>
                    <a:pt x="341" y="231"/>
                  </a:lnTo>
                  <a:lnTo>
                    <a:pt x="345" y="231"/>
                  </a:lnTo>
                  <a:lnTo>
                    <a:pt x="346" y="233"/>
                  </a:lnTo>
                  <a:lnTo>
                    <a:pt x="348" y="233"/>
                  </a:lnTo>
                  <a:lnTo>
                    <a:pt x="348" y="233"/>
                  </a:lnTo>
                  <a:lnTo>
                    <a:pt x="348" y="231"/>
                  </a:lnTo>
                  <a:lnTo>
                    <a:pt x="348" y="230"/>
                  </a:lnTo>
                  <a:lnTo>
                    <a:pt x="343" y="228"/>
                  </a:lnTo>
                  <a:lnTo>
                    <a:pt x="343" y="226"/>
                  </a:lnTo>
                  <a:lnTo>
                    <a:pt x="343" y="224"/>
                  </a:lnTo>
                  <a:lnTo>
                    <a:pt x="352" y="223"/>
                  </a:lnTo>
                  <a:lnTo>
                    <a:pt x="352" y="223"/>
                  </a:lnTo>
                  <a:lnTo>
                    <a:pt x="359" y="221"/>
                  </a:lnTo>
                  <a:lnTo>
                    <a:pt x="360" y="221"/>
                  </a:lnTo>
                  <a:lnTo>
                    <a:pt x="360" y="219"/>
                  </a:lnTo>
                  <a:lnTo>
                    <a:pt x="359" y="217"/>
                  </a:lnTo>
                  <a:lnTo>
                    <a:pt x="364" y="214"/>
                  </a:lnTo>
                  <a:lnTo>
                    <a:pt x="364" y="214"/>
                  </a:lnTo>
                  <a:lnTo>
                    <a:pt x="373" y="212"/>
                  </a:lnTo>
                  <a:lnTo>
                    <a:pt x="380" y="212"/>
                  </a:lnTo>
                  <a:lnTo>
                    <a:pt x="381" y="210"/>
                  </a:lnTo>
                  <a:lnTo>
                    <a:pt x="374" y="209"/>
                  </a:lnTo>
                  <a:lnTo>
                    <a:pt x="374" y="209"/>
                  </a:lnTo>
                  <a:lnTo>
                    <a:pt x="371" y="209"/>
                  </a:lnTo>
                  <a:lnTo>
                    <a:pt x="366" y="209"/>
                  </a:lnTo>
                  <a:lnTo>
                    <a:pt x="360" y="212"/>
                  </a:lnTo>
                  <a:lnTo>
                    <a:pt x="355" y="217"/>
                  </a:lnTo>
                  <a:lnTo>
                    <a:pt x="352" y="217"/>
                  </a:lnTo>
                  <a:lnTo>
                    <a:pt x="346" y="217"/>
                  </a:lnTo>
                  <a:lnTo>
                    <a:pt x="346" y="217"/>
                  </a:lnTo>
                  <a:lnTo>
                    <a:pt x="343" y="216"/>
                  </a:lnTo>
                  <a:lnTo>
                    <a:pt x="345" y="214"/>
                  </a:lnTo>
                  <a:lnTo>
                    <a:pt x="348" y="212"/>
                  </a:lnTo>
                  <a:lnTo>
                    <a:pt x="348" y="212"/>
                  </a:lnTo>
                  <a:lnTo>
                    <a:pt x="346" y="210"/>
                  </a:lnTo>
                  <a:lnTo>
                    <a:pt x="346" y="210"/>
                  </a:lnTo>
                  <a:lnTo>
                    <a:pt x="345" y="209"/>
                  </a:lnTo>
                  <a:lnTo>
                    <a:pt x="346" y="205"/>
                  </a:lnTo>
                  <a:lnTo>
                    <a:pt x="357" y="202"/>
                  </a:lnTo>
                  <a:lnTo>
                    <a:pt x="373" y="200"/>
                  </a:lnTo>
                  <a:lnTo>
                    <a:pt x="381" y="198"/>
                  </a:lnTo>
                  <a:lnTo>
                    <a:pt x="381" y="198"/>
                  </a:lnTo>
                  <a:lnTo>
                    <a:pt x="385" y="198"/>
                  </a:lnTo>
                  <a:lnTo>
                    <a:pt x="387" y="196"/>
                  </a:lnTo>
                  <a:lnTo>
                    <a:pt x="383" y="195"/>
                  </a:lnTo>
                  <a:lnTo>
                    <a:pt x="378" y="193"/>
                  </a:lnTo>
                  <a:lnTo>
                    <a:pt x="378" y="193"/>
                  </a:lnTo>
                  <a:lnTo>
                    <a:pt x="371" y="193"/>
                  </a:lnTo>
                  <a:lnTo>
                    <a:pt x="367" y="195"/>
                  </a:lnTo>
                  <a:lnTo>
                    <a:pt x="366" y="195"/>
                  </a:lnTo>
                  <a:lnTo>
                    <a:pt x="364" y="193"/>
                  </a:lnTo>
                  <a:lnTo>
                    <a:pt x="364" y="193"/>
                  </a:lnTo>
                  <a:lnTo>
                    <a:pt x="364" y="191"/>
                  </a:lnTo>
                  <a:lnTo>
                    <a:pt x="366" y="190"/>
                  </a:lnTo>
                  <a:lnTo>
                    <a:pt x="369" y="188"/>
                  </a:lnTo>
                  <a:lnTo>
                    <a:pt x="374" y="186"/>
                  </a:lnTo>
                  <a:lnTo>
                    <a:pt x="378" y="186"/>
                  </a:lnTo>
                  <a:lnTo>
                    <a:pt x="378" y="186"/>
                  </a:lnTo>
                  <a:lnTo>
                    <a:pt x="380" y="190"/>
                  </a:lnTo>
                  <a:lnTo>
                    <a:pt x="380" y="190"/>
                  </a:lnTo>
                  <a:lnTo>
                    <a:pt x="381" y="188"/>
                  </a:lnTo>
                  <a:lnTo>
                    <a:pt x="385" y="184"/>
                  </a:lnTo>
                  <a:lnTo>
                    <a:pt x="385" y="184"/>
                  </a:lnTo>
                  <a:lnTo>
                    <a:pt x="387" y="181"/>
                  </a:lnTo>
                  <a:lnTo>
                    <a:pt x="390" y="181"/>
                  </a:lnTo>
                  <a:lnTo>
                    <a:pt x="390" y="184"/>
                  </a:lnTo>
                  <a:lnTo>
                    <a:pt x="390" y="190"/>
                  </a:lnTo>
                  <a:lnTo>
                    <a:pt x="390" y="190"/>
                  </a:lnTo>
                  <a:lnTo>
                    <a:pt x="392" y="195"/>
                  </a:lnTo>
                  <a:lnTo>
                    <a:pt x="393" y="200"/>
                  </a:lnTo>
                  <a:lnTo>
                    <a:pt x="395" y="202"/>
                  </a:lnTo>
                  <a:lnTo>
                    <a:pt x="397" y="198"/>
                  </a:lnTo>
                  <a:lnTo>
                    <a:pt x="397" y="198"/>
                  </a:lnTo>
                  <a:lnTo>
                    <a:pt x="397" y="195"/>
                  </a:lnTo>
                  <a:lnTo>
                    <a:pt x="399" y="191"/>
                  </a:lnTo>
                  <a:lnTo>
                    <a:pt x="402" y="188"/>
                  </a:lnTo>
                  <a:lnTo>
                    <a:pt x="404" y="184"/>
                  </a:lnTo>
                  <a:lnTo>
                    <a:pt x="399" y="183"/>
                  </a:lnTo>
                  <a:lnTo>
                    <a:pt x="399" y="183"/>
                  </a:lnTo>
                  <a:lnTo>
                    <a:pt x="395" y="183"/>
                  </a:lnTo>
                  <a:lnTo>
                    <a:pt x="395" y="183"/>
                  </a:lnTo>
                  <a:lnTo>
                    <a:pt x="395" y="181"/>
                  </a:lnTo>
                  <a:lnTo>
                    <a:pt x="393" y="179"/>
                  </a:lnTo>
                  <a:lnTo>
                    <a:pt x="393" y="179"/>
                  </a:lnTo>
                  <a:lnTo>
                    <a:pt x="390" y="177"/>
                  </a:lnTo>
                  <a:lnTo>
                    <a:pt x="392" y="176"/>
                  </a:lnTo>
                  <a:lnTo>
                    <a:pt x="399" y="172"/>
                  </a:lnTo>
                  <a:lnTo>
                    <a:pt x="406" y="172"/>
                  </a:lnTo>
                  <a:lnTo>
                    <a:pt x="406" y="172"/>
                  </a:lnTo>
                  <a:lnTo>
                    <a:pt x="413" y="172"/>
                  </a:lnTo>
                  <a:lnTo>
                    <a:pt x="416" y="172"/>
                  </a:lnTo>
                  <a:lnTo>
                    <a:pt x="418" y="174"/>
                  </a:lnTo>
                  <a:lnTo>
                    <a:pt x="425" y="174"/>
                  </a:lnTo>
                  <a:lnTo>
                    <a:pt x="425" y="174"/>
                  </a:lnTo>
                  <a:lnTo>
                    <a:pt x="434" y="170"/>
                  </a:lnTo>
                  <a:lnTo>
                    <a:pt x="440" y="165"/>
                  </a:lnTo>
                  <a:lnTo>
                    <a:pt x="442" y="162"/>
                  </a:lnTo>
                  <a:lnTo>
                    <a:pt x="440" y="162"/>
                  </a:lnTo>
                  <a:lnTo>
                    <a:pt x="437" y="163"/>
                  </a:lnTo>
                  <a:lnTo>
                    <a:pt x="437" y="163"/>
                  </a:lnTo>
                  <a:lnTo>
                    <a:pt x="427" y="169"/>
                  </a:lnTo>
                  <a:lnTo>
                    <a:pt x="425" y="169"/>
                  </a:lnTo>
                  <a:lnTo>
                    <a:pt x="425" y="165"/>
                  </a:lnTo>
                  <a:lnTo>
                    <a:pt x="425" y="165"/>
                  </a:lnTo>
                  <a:lnTo>
                    <a:pt x="423" y="165"/>
                  </a:lnTo>
                  <a:lnTo>
                    <a:pt x="421" y="165"/>
                  </a:lnTo>
                  <a:lnTo>
                    <a:pt x="413" y="167"/>
                  </a:lnTo>
                  <a:lnTo>
                    <a:pt x="409" y="169"/>
                  </a:lnTo>
                  <a:lnTo>
                    <a:pt x="406" y="169"/>
                  </a:lnTo>
                  <a:lnTo>
                    <a:pt x="406" y="165"/>
                  </a:lnTo>
                  <a:lnTo>
                    <a:pt x="407" y="162"/>
                  </a:lnTo>
                  <a:lnTo>
                    <a:pt x="407" y="162"/>
                  </a:lnTo>
                  <a:lnTo>
                    <a:pt x="413" y="155"/>
                  </a:lnTo>
                  <a:lnTo>
                    <a:pt x="418" y="153"/>
                  </a:lnTo>
                  <a:lnTo>
                    <a:pt x="423" y="153"/>
                  </a:lnTo>
                  <a:lnTo>
                    <a:pt x="428" y="151"/>
                  </a:lnTo>
                  <a:lnTo>
                    <a:pt x="428" y="151"/>
                  </a:lnTo>
                  <a:lnTo>
                    <a:pt x="432" y="149"/>
                  </a:lnTo>
                  <a:lnTo>
                    <a:pt x="434" y="148"/>
                  </a:lnTo>
                  <a:lnTo>
                    <a:pt x="437" y="144"/>
                  </a:lnTo>
                  <a:lnTo>
                    <a:pt x="444" y="142"/>
                  </a:lnTo>
                  <a:lnTo>
                    <a:pt x="444" y="142"/>
                  </a:lnTo>
                  <a:lnTo>
                    <a:pt x="449" y="141"/>
                  </a:lnTo>
                  <a:lnTo>
                    <a:pt x="446" y="139"/>
                  </a:lnTo>
                  <a:lnTo>
                    <a:pt x="442" y="137"/>
                  </a:lnTo>
                  <a:lnTo>
                    <a:pt x="440" y="136"/>
                  </a:lnTo>
                  <a:lnTo>
                    <a:pt x="442" y="132"/>
                  </a:lnTo>
                  <a:lnTo>
                    <a:pt x="442" y="132"/>
                  </a:lnTo>
                  <a:lnTo>
                    <a:pt x="446" y="130"/>
                  </a:lnTo>
                  <a:lnTo>
                    <a:pt x="449" y="127"/>
                  </a:lnTo>
                  <a:lnTo>
                    <a:pt x="456" y="125"/>
                  </a:lnTo>
                  <a:lnTo>
                    <a:pt x="461" y="123"/>
                  </a:lnTo>
                  <a:lnTo>
                    <a:pt x="461" y="122"/>
                  </a:lnTo>
                  <a:lnTo>
                    <a:pt x="461" y="118"/>
                  </a:lnTo>
                  <a:lnTo>
                    <a:pt x="461" y="118"/>
                  </a:lnTo>
                  <a:lnTo>
                    <a:pt x="460" y="115"/>
                  </a:lnTo>
                  <a:lnTo>
                    <a:pt x="461" y="111"/>
                  </a:lnTo>
                  <a:lnTo>
                    <a:pt x="463" y="109"/>
                  </a:lnTo>
                  <a:lnTo>
                    <a:pt x="465" y="108"/>
                  </a:lnTo>
                  <a:lnTo>
                    <a:pt x="463" y="104"/>
                  </a:lnTo>
                  <a:lnTo>
                    <a:pt x="463" y="104"/>
                  </a:lnTo>
                  <a:lnTo>
                    <a:pt x="463" y="102"/>
                  </a:lnTo>
                  <a:lnTo>
                    <a:pt x="463" y="102"/>
                  </a:lnTo>
                  <a:lnTo>
                    <a:pt x="467" y="102"/>
                  </a:lnTo>
                  <a:lnTo>
                    <a:pt x="475" y="109"/>
                  </a:lnTo>
                  <a:lnTo>
                    <a:pt x="475" y="109"/>
                  </a:lnTo>
                  <a:lnTo>
                    <a:pt x="479" y="115"/>
                  </a:lnTo>
                  <a:lnTo>
                    <a:pt x="482" y="115"/>
                  </a:lnTo>
                  <a:lnTo>
                    <a:pt x="484" y="113"/>
                  </a:lnTo>
                  <a:lnTo>
                    <a:pt x="481" y="109"/>
                  </a:lnTo>
                  <a:lnTo>
                    <a:pt x="481" y="109"/>
                  </a:lnTo>
                  <a:lnTo>
                    <a:pt x="474" y="104"/>
                  </a:lnTo>
                  <a:lnTo>
                    <a:pt x="474" y="102"/>
                  </a:lnTo>
                  <a:lnTo>
                    <a:pt x="474" y="102"/>
                  </a:lnTo>
                  <a:lnTo>
                    <a:pt x="481" y="99"/>
                  </a:lnTo>
                  <a:lnTo>
                    <a:pt x="481" y="99"/>
                  </a:lnTo>
                  <a:lnTo>
                    <a:pt x="486" y="99"/>
                  </a:lnTo>
                  <a:lnTo>
                    <a:pt x="489" y="102"/>
                  </a:lnTo>
                  <a:lnTo>
                    <a:pt x="491" y="108"/>
                  </a:lnTo>
                  <a:lnTo>
                    <a:pt x="494" y="109"/>
                  </a:lnTo>
                  <a:lnTo>
                    <a:pt x="500" y="111"/>
                  </a:lnTo>
                  <a:lnTo>
                    <a:pt x="500" y="111"/>
                  </a:lnTo>
                  <a:lnTo>
                    <a:pt x="505" y="113"/>
                  </a:lnTo>
                  <a:lnTo>
                    <a:pt x="503" y="115"/>
                  </a:lnTo>
                  <a:lnTo>
                    <a:pt x="503" y="116"/>
                  </a:lnTo>
                  <a:lnTo>
                    <a:pt x="503" y="116"/>
                  </a:lnTo>
                  <a:lnTo>
                    <a:pt x="512" y="122"/>
                  </a:lnTo>
                  <a:lnTo>
                    <a:pt x="512" y="122"/>
                  </a:lnTo>
                  <a:lnTo>
                    <a:pt x="510" y="115"/>
                  </a:lnTo>
                  <a:lnTo>
                    <a:pt x="508" y="111"/>
                  </a:lnTo>
                  <a:lnTo>
                    <a:pt x="505" y="108"/>
                  </a:lnTo>
                  <a:lnTo>
                    <a:pt x="501" y="108"/>
                  </a:lnTo>
                  <a:lnTo>
                    <a:pt x="494" y="106"/>
                  </a:lnTo>
                  <a:lnTo>
                    <a:pt x="493" y="104"/>
                  </a:lnTo>
                  <a:lnTo>
                    <a:pt x="493" y="101"/>
                  </a:lnTo>
                  <a:lnTo>
                    <a:pt x="493" y="101"/>
                  </a:lnTo>
                  <a:lnTo>
                    <a:pt x="493" y="99"/>
                  </a:lnTo>
                  <a:lnTo>
                    <a:pt x="493" y="97"/>
                  </a:lnTo>
                  <a:lnTo>
                    <a:pt x="489" y="95"/>
                  </a:lnTo>
                  <a:lnTo>
                    <a:pt x="489" y="94"/>
                  </a:lnTo>
                  <a:lnTo>
                    <a:pt x="491" y="92"/>
                  </a:lnTo>
                  <a:lnTo>
                    <a:pt x="501" y="85"/>
                  </a:lnTo>
                  <a:lnTo>
                    <a:pt x="501" y="85"/>
                  </a:lnTo>
                  <a:lnTo>
                    <a:pt x="507" y="83"/>
                  </a:lnTo>
                  <a:lnTo>
                    <a:pt x="514" y="82"/>
                  </a:lnTo>
                  <a:lnTo>
                    <a:pt x="517" y="82"/>
                  </a:lnTo>
                  <a:lnTo>
                    <a:pt x="519" y="83"/>
                  </a:lnTo>
                  <a:lnTo>
                    <a:pt x="519" y="85"/>
                  </a:lnTo>
                  <a:lnTo>
                    <a:pt x="517" y="90"/>
                  </a:lnTo>
                  <a:lnTo>
                    <a:pt x="517" y="90"/>
                  </a:lnTo>
                  <a:lnTo>
                    <a:pt x="515" y="94"/>
                  </a:lnTo>
                  <a:lnTo>
                    <a:pt x="515" y="97"/>
                  </a:lnTo>
                  <a:lnTo>
                    <a:pt x="517" y="97"/>
                  </a:lnTo>
                  <a:lnTo>
                    <a:pt x="521" y="95"/>
                  </a:lnTo>
                  <a:lnTo>
                    <a:pt x="521" y="95"/>
                  </a:lnTo>
                  <a:lnTo>
                    <a:pt x="522" y="92"/>
                  </a:lnTo>
                  <a:lnTo>
                    <a:pt x="522" y="92"/>
                  </a:lnTo>
                  <a:lnTo>
                    <a:pt x="522" y="89"/>
                  </a:lnTo>
                  <a:lnTo>
                    <a:pt x="524" y="83"/>
                  </a:lnTo>
                  <a:lnTo>
                    <a:pt x="524" y="83"/>
                  </a:lnTo>
                  <a:lnTo>
                    <a:pt x="531" y="75"/>
                  </a:lnTo>
                  <a:lnTo>
                    <a:pt x="533" y="75"/>
                  </a:lnTo>
                  <a:lnTo>
                    <a:pt x="535" y="76"/>
                  </a:lnTo>
                  <a:lnTo>
                    <a:pt x="535" y="76"/>
                  </a:lnTo>
                  <a:lnTo>
                    <a:pt x="535" y="76"/>
                  </a:lnTo>
                  <a:lnTo>
                    <a:pt x="536" y="76"/>
                  </a:lnTo>
                  <a:lnTo>
                    <a:pt x="538" y="73"/>
                  </a:lnTo>
                  <a:lnTo>
                    <a:pt x="540" y="73"/>
                  </a:lnTo>
                  <a:lnTo>
                    <a:pt x="541" y="76"/>
                  </a:lnTo>
                  <a:lnTo>
                    <a:pt x="541" y="76"/>
                  </a:lnTo>
                  <a:lnTo>
                    <a:pt x="541" y="83"/>
                  </a:lnTo>
                  <a:lnTo>
                    <a:pt x="540" y="92"/>
                  </a:lnTo>
                  <a:lnTo>
                    <a:pt x="536" y="102"/>
                  </a:lnTo>
                  <a:lnTo>
                    <a:pt x="529" y="115"/>
                  </a:lnTo>
                  <a:lnTo>
                    <a:pt x="529" y="115"/>
                  </a:lnTo>
                  <a:lnTo>
                    <a:pt x="536" y="109"/>
                  </a:lnTo>
                  <a:lnTo>
                    <a:pt x="541" y="104"/>
                  </a:lnTo>
                  <a:lnTo>
                    <a:pt x="545" y="99"/>
                  </a:lnTo>
                  <a:lnTo>
                    <a:pt x="547" y="94"/>
                  </a:lnTo>
                  <a:lnTo>
                    <a:pt x="547" y="87"/>
                  </a:lnTo>
                  <a:lnTo>
                    <a:pt x="548" y="85"/>
                  </a:lnTo>
                  <a:lnTo>
                    <a:pt x="550" y="85"/>
                  </a:lnTo>
                  <a:lnTo>
                    <a:pt x="550" y="85"/>
                  </a:lnTo>
                  <a:lnTo>
                    <a:pt x="561" y="76"/>
                  </a:lnTo>
                  <a:lnTo>
                    <a:pt x="566" y="73"/>
                  </a:lnTo>
                  <a:lnTo>
                    <a:pt x="568" y="73"/>
                  </a:lnTo>
                  <a:lnTo>
                    <a:pt x="568" y="75"/>
                  </a:lnTo>
                  <a:lnTo>
                    <a:pt x="568" y="75"/>
                  </a:lnTo>
                  <a:lnTo>
                    <a:pt x="566" y="76"/>
                  </a:lnTo>
                  <a:lnTo>
                    <a:pt x="568" y="78"/>
                  </a:lnTo>
                  <a:lnTo>
                    <a:pt x="569" y="78"/>
                  </a:lnTo>
                  <a:lnTo>
                    <a:pt x="573" y="76"/>
                  </a:lnTo>
                  <a:lnTo>
                    <a:pt x="573" y="75"/>
                  </a:lnTo>
                  <a:lnTo>
                    <a:pt x="573" y="73"/>
                  </a:lnTo>
                  <a:lnTo>
                    <a:pt x="573" y="73"/>
                  </a:lnTo>
                  <a:lnTo>
                    <a:pt x="571" y="71"/>
                  </a:lnTo>
                  <a:lnTo>
                    <a:pt x="573" y="69"/>
                  </a:lnTo>
                  <a:lnTo>
                    <a:pt x="578" y="69"/>
                  </a:lnTo>
                  <a:lnTo>
                    <a:pt x="587" y="75"/>
                  </a:lnTo>
                  <a:lnTo>
                    <a:pt x="587" y="75"/>
                  </a:lnTo>
                  <a:lnTo>
                    <a:pt x="601" y="85"/>
                  </a:lnTo>
                  <a:lnTo>
                    <a:pt x="602" y="87"/>
                  </a:lnTo>
                  <a:lnTo>
                    <a:pt x="601" y="83"/>
                  </a:lnTo>
                  <a:lnTo>
                    <a:pt x="601" y="83"/>
                  </a:lnTo>
                  <a:lnTo>
                    <a:pt x="595" y="76"/>
                  </a:lnTo>
                  <a:lnTo>
                    <a:pt x="595" y="75"/>
                  </a:lnTo>
                  <a:lnTo>
                    <a:pt x="597" y="73"/>
                  </a:lnTo>
                  <a:lnTo>
                    <a:pt x="597" y="73"/>
                  </a:lnTo>
                  <a:lnTo>
                    <a:pt x="599" y="71"/>
                  </a:lnTo>
                  <a:lnTo>
                    <a:pt x="597" y="69"/>
                  </a:lnTo>
                  <a:lnTo>
                    <a:pt x="594" y="69"/>
                  </a:lnTo>
                  <a:lnTo>
                    <a:pt x="592" y="68"/>
                  </a:lnTo>
                  <a:lnTo>
                    <a:pt x="592" y="68"/>
                  </a:lnTo>
                  <a:lnTo>
                    <a:pt x="588" y="66"/>
                  </a:lnTo>
                  <a:lnTo>
                    <a:pt x="585" y="64"/>
                  </a:lnTo>
                  <a:lnTo>
                    <a:pt x="582" y="64"/>
                  </a:lnTo>
                  <a:lnTo>
                    <a:pt x="580" y="62"/>
                  </a:lnTo>
                  <a:lnTo>
                    <a:pt x="580" y="62"/>
                  </a:lnTo>
                  <a:lnTo>
                    <a:pt x="580" y="61"/>
                  </a:lnTo>
                  <a:lnTo>
                    <a:pt x="578" y="61"/>
                  </a:lnTo>
                  <a:lnTo>
                    <a:pt x="573" y="59"/>
                  </a:lnTo>
                  <a:lnTo>
                    <a:pt x="573" y="57"/>
                  </a:lnTo>
                  <a:lnTo>
                    <a:pt x="573" y="57"/>
                  </a:lnTo>
                  <a:lnTo>
                    <a:pt x="576" y="52"/>
                  </a:lnTo>
                  <a:lnTo>
                    <a:pt x="576" y="52"/>
                  </a:lnTo>
                  <a:lnTo>
                    <a:pt x="582" y="52"/>
                  </a:lnTo>
                  <a:lnTo>
                    <a:pt x="585" y="52"/>
                  </a:lnTo>
                  <a:lnTo>
                    <a:pt x="588" y="54"/>
                  </a:lnTo>
                  <a:lnTo>
                    <a:pt x="590" y="57"/>
                  </a:lnTo>
                  <a:lnTo>
                    <a:pt x="594" y="61"/>
                  </a:lnTo>
                  <a:lnTo>
                    <a:pt x="594" y="57"/>
                  </a:lnTo>
                  <a:lnTo>
                    <a:pt x="594" y="57"/>
                  </a:lnTo>
                  <a:lnTo>
                    <a:pt x="595" y="50"/>
                  </a:lnTo>
                  <a:lnTo>
                    <a:pt x="595" y="50"/>
                  </a:lnTo>
                  <a:lnTo>
                    <a:pt x="597" y="50"/>
                  </a:lnTo>
                  <a:lnTo>
                    <a:pt x="602" y="52"/>
                  </a:lnTo>
                  <a:lnTo>
                    <a:pt x="606" y="52"/>
                  </a:lnTo>
                  <a:lnTo>
                    <a:pt x="606" y="52"/>
                  </a:lnTo>
                  <a:lnTo>
                    <a:pt x="608" y="52"/>
                  </a:lnTo>
                  <a:lnTo>
                    <a:pt x="609" y="52"/>
                  </a:lnTo>
                  <a:lnTo>
                    <a:pt x="611" y="54"/>
                  </a:lnTo>
                  <a:lnTo>
                    <a:pt x="615" y="54"/>
                  </a:lnTo>
                  <a:lnTo>
                    <a:pt x="615" y="54"/>
                  </a:lnTo>
                  <a:lnTo>
                    <a:pt x="620" y="54"/>
                  </a:lnTo>
                  <a:lnTo>
                    <a:pt x="629" y="55"/>
                  </a:lnTo>
                  <a:lnTo>
                    <a:pt x="634" y="59"/>
                  </a:lnTo>
                  <a:lnTo>
                    <a:pt x="635" y="61"/>
                  </a:lnTo>
                  <a:lnTo>
                    <a:pt x="634" y="64"/>
                  </a:lnTo>
                  <a:lnTo>
                    <a:pt x="634" y="64"/>
                  </a:lnTo>
                  <a:lnTo>
                    <a:pt x="634" y="66"/>
                  </a:lnTo>
                  <a:lnTo>
                    <a:pt x="634" y="68"/>
                  </a:lnTo>
                  <a:lnTo>
                    <a:pt x="639" y="71"/>
                  </a:lnTo>
                  <a:lnTo>
                    <a:pt x="646" y="71"/>
                  </a:lnTo>
                  <a:lnTo>
                    <a:pt x="649" y="71"/>
                  </a:lnTo>
                  <a:lnTo>
                    <a:pt x="649" y="71"/>
                  </a:lnTo>
                  <a:lnTo>
                    <a:pt x="651" y="71"/>
                  </a:lnTo>
                  <a:lnTo>
                    <a:pt x="649" y="69"/>
                  </a:lnTo>
                  <a:lnTo>
                    <a:pt x="644" y="68"/>
                  </a:lnTo>
                  <a:lnTo>
                    <a:pt x="641" y="66"/>
                  </a:lnTo>
                  <a:lnTo>
                    <a:pt x="641" y="64"/>
                  </a:lnTo>
                  <a:lnTo>
                    <a:pt x="642" y="64"/>
                  </a:lnTo>
                  <a:lnTo>
                    <a:pt x="642" y="64"/>
                  </a:lnTo>
                  <a:lnTo>
                    <a:pt x="644" y="62"/>
                  </a:lnTo>
                  <a:lnTo>
                    <a:pt x="644" y="61"/>
                  </a:lnTo>
                  <a:lnTo>
                    <a:pt x="642" y="59"/>
                  </a:lnTo>
                  <a:lnTo>
                    <a:pt x="642" y="57"/>
                  </a:lnTo>
                  <a:lnTo>
                    <a:pt x="642" y="57"/>
                  </a:lnTo>
                  <a:lnTo>
                    <a:pt x="644" y="55"/>
                  </a:lnTo>
                  <a:lnTo>
                    <a:pt x="648" y="54"/>
                  </a:lnTo>
                  <a:lnTo>
                    <a:pt x="648" y="54"/>
                  </a:lnTo>
                  <a:lnTo>
                    <a:pt x="653" y="50"/>
                  </a:lnTo>
                  <a:lnTo>
                    <a:pt x="653" y="48"/>
                  </a:lnTo>
                  <a:lnTo>
                    <a:pt x="656" y="45"/>
                  </a:lnTo>
                  <a:lnTo>
                    <a:pt x="667" y="40"/>
                  </a:lnTo>
                  <a:lnTo>
                    <a:pt x="667" y="40"/>
                  </a:lnTo>
                  <a:lnTo>
                    <a:pt x="674" y="35"/>
                  </a:lnTo>
                  <a:lnTo>
                    <a:pt x="677" y="31"/>
                  </a:lnTo>
                  <a:lnTo>
                    <a:pt x="679" y="29"/>
                  </a:lnTo>
                  <a:lnTo>
                    <a:pt x="681" y="28"/>
                  </a:lnTo>
                  <a:lnTo>
                    <a:pt x="681" y="26"/>
                  </a:lnTo>
                  <a:lnTo>
                    <a:pt x="686" y="28"/>
                  </a:lnTo>
                  <a:lnTo>
                    <a:pt x="686" y="28"/>
                  </a:lnTo>
                  <a:lnTo>
                    <a:pt x="695" y="29"/>
                  </a:lnTo>
                  <a:lnTo>
                    <a:pt x="696" y="29"/>
                  </a:lnTo>
                  <a:lnTo>
                    <a:pt x="693" y="28"/>
                  </a:lnTo>
                  <a:lnTo>
                    <a:pt x="686" y="24"/>
                  </a:lnTo>
                  <a:lnTo>
                    <a:pt x="686" y="24"/>
                  </a:lnTo>
                  <a:lnTo>
                    <a:pt x="679" y="21"/>
                  </a:lnTo>
                  <a:lnTo>
                    <a:pt x="677" y="17"/>
                  </a:lnTo>
                  <a:lnTo>
                    <a:pt x="681" y="15"/>
                  </a:lnTo>
                  <a:lnTo>
                    <a:pt x="686" y="17"/>
                  </a:lnTo>
                  <a:lnTo>
                    <a:pt x="686" y="17"/>
                  </a:lnTo>
                  <a:lnTo>
                    <a:pt x="689" y="21"/>
                  </a:lnTo>
                  <a:lnTo>
                    <a:pt x="691" y="19"/>
                  </a:lnTo>
                  <a:lnTo>
                    <a:pt x="691" y="15"/>
                  </a:lnTo>
                  <a:lnTo>
                    <a:pt x="689" y="12"/>
                  </a:lnTo>
                  <a:lnTo>
                    <a:pt x="689" y="12"/>
                  </a:lnTo>
                  <a:lnTo>
                    <a:pt x="688" y="10"/>
                  </a:lnTo>
                  <a:lnTo>
                    <a:pt x="689" y="8"/>
                  </a:lnTo>
                  <a:lnTo>
                    <a:pt x="693" y="8"/>
                  </a:lnTo>
                  <a:lnTo>
                    <a:pt x="696" y="10"/>
                  </a:lnTo>
                  <a:lnTo>
                    <a:pt x="696" y="10"/>
                  </a:lnTo>
                  <a:lnTo>
                    <a:pt x="698" y="12"/>
                  </a:lnTo>
                  <a:lnTo>
                    <a:pt x="702" y="10"/>
                  </a:lnTo>
                  <a:lnTo>
                    <a:pt x="703" y="10"/>
                  </a:lnTo>
                  <a:lnTo>
                    <a:pt x="707" y="10"/>
                  </a:lnTo>
                  <a:lnTo>
                    <a:pt x="707" y="10"/>
                  </a:lnTo>
                  <a:lnTo>
                    <a:pt x="710" y="15"/>
                  </a:lnTo>
                  <a:lnTo>
                    <a:pt x="712" y="19"/>
                  </a:lnTo>
                  <a:lnTo>
                    <a:pt x="714" y="19"/>
                  </a:lnTo>
                  <a:lnTo>
                    <a:pt x="714" y="19"/>
                  </a:lnTo>
                  <a:lnTo>
                    <a:pt x="716" y="14"/>
                  </a:lnTo>
                  <a:lnTo>
                    <a:pt x="716" y="14"/>
                  </a:lnTo>
                  <a:lnTo>
                    <a:pt x="717" y="8"/>
                  </a:lnTo>
                  <a:lnTo>
                    <a:pt x="719" y="8"/>
                  </a:lnTo>
                  <a:lnTo>
                    <a:pt x="723" y="12"/>
                  </a:lnTo>
                  <a:lnTo>
                    <a:pt x="724" y="14"/>
                  </a:lnTo>
                  <a:lnTo>
                    <a:pt x="730" y="14"/>
                  </a:lnTo>
                  <a:lnTo>
                    <a:pt x="730" y="14"/>
                  </a:lnTo>
                  <a:lnTo>
                    <a:pt x="735" y="14"/>
                  </a:lnTo>
                  <a:lnTo>
                    <a:pt x="736" y="15"/>
                  </a:lnTo>
                  <a:lnTo>
                    <a:pt x="735" y="15"/>
                  </a:lnTo>
                  <a:lnTo>
                    <a:pt x="719" y="29"/>
                  </a:lnTo>
                  <a:lnTo>
                    <a:pt x="719" y="29"/>
                  </a:lnTo>
                  <a:lnTo>
                    <a:pt x="712" y="36"/>
                  </a:lnTo>
                  <a:lnTo>
                    <a:pt x="712" y="38"/>
                  </a:lnTo>
                  <a:lnTo>
                    <a:pt x="712" y="40"/>
                  </a:lnTo>
                  <a:lnTo>
                    <a:pt x="714" y="42"/>
                  </a:lnTo>
                  <a:lnTo>
                    <a:pt x="710" y="47"/>
                  </a:lnTo>
                  <a:lnTo>
                    <a:pt x="710" y="47"/>
                  </a:lnTo>
                  <a:lnTo>
                    <a:pt x="709" y="48"/>
                  </a:lnTo>
                  <a:lnTo>
                    <a:pt x="709" y="50"/>
                  </a:lnTo>
                  <a:lnTo>
                    <a:pt x="709" y="52"/>
                  </a:lnTo>
                  <a:lnTo>
                    <a:pt x="705" y="57"/>
                  </a:lnTo>
                  <a:lnTo>
                    <a:pt x="705" y="57"/>
                  </a:lnTo>
                  <a:lnTo>
                    <a:pt x="702" y="62"/>
                  </a:lnTo>
                  <a:lnTo>
                    <a:pt x="702" y="64"/>
                  </a:lnTo>
                  <a:lnTo>
                    <a:pt x="702" y="66"/>
                  </a:lnTo>
                  <a:lnTo>
                    <a:pt x="705" y="64"/>
                  </a:lnTo>
                  <a:lnTo>
                    <a:pt x="705" y="64"/>
                  </a:lnTo>
                  <a:lnTo>
                    <a:pt x="707" y="62"/>
                  </a:lnTo>
                  <a:lnTo>
                    <a:pt x="710" y="64"/>
                  </a:lnTo>
                  <a:lnTo>
                    <a:pt x="712" y="64"/>
                  </a:lnTo>
                  <a:lnTo>
                    <a:pt x="717" y="59"/>
                  </a:lnTo>
                  <a:lnTo>
                    <a:pt x="717" y="59"/>
                  </a:lnTo>
                  <a:lnTo>
                    <a:pt x="721" y="54"/>
                  </a:lnTo>
                  <a:lnTo>
                    <a:pt x="721" y="50"/>
                  </a:lnTo>
                  <a:lnTo>
                    <a:pt x="721" y="47"/>
                  </a:lnTo>
                  <a:lnTo>
                    <a:pt x="726" y="42"/>
                  </a:lnTo>
                  <a:lnTo>
                    <a:pt x="726" y="42"/>
                  </a:lnTo>
                  <a:lnTo>
                    <a:pt x="747" y="21"/>
                  </a:lnTo>
                  <a:lnTo>
                    <a:pt x="756" y="14"/>
                  </a:lnTo>
                  <a:lnTo>
                    <a:pt x="759" y="10"/>
                  </a:lnTo>
                  <a:lnTo>
                    <a:pt x="763" y="10"/>
                  </a:lnTo>
                  <a:lnTo>
                    <a:pt x="763" y="10"/>
                  </a:lnTo>
                  <a:lnTo>
                    <a:pt x="764" y="12"/>
                  </a:lnTo>
                  <a:lnTo>
                    <a:pt x="764" y="14"/>
                  </a:lnTo>
                  <a:lnTo>
                    <a:pt x="763" y="21"/>
                  </a:lnTo>
                  <a:lnTo>
                    <a:pt x="761" y="26"/>
                  </a:lnTo>
                  <a:lnTo>
                    <a:pt x="761" y="29"/>
                  </a:lnTo>
                  <a:lnTo>
                    <a:pt x="761" y="29"/>
                  </a:lnTo>
                  <a:lnTo>
                    <a:pt x="761" y="35"/>
                  </a:lnTo>
                  <a:lnTo>
                    <a:pt x="757" y="42"/>
                  </a:lnTo>
                  <a:lnTo>
                    <a:pt x="757" y="47"/>
                  </a:lnTo>
                  <a:lnTo>
                    <a:pt x="757" y="47"/>
                  </a:lnTo>
                  <a:lnTo>
                    <a:pt x="761" y="45"/>
                  </a:lnTo>
                  <a:lnTo>
                    <a:pt x="761" y="45"/>
                  </a:lnTo>
                  <a:lnTo>
                    <a:pt x="770" y="42"/>
                  </a:lnTo>
                  <a:lnTo>
                    <a:pt x="773" y="42"/>
                  </a:lnTo>
                  <a:lnTo>
                    <a:pt x="775" y="40"/>
                  </a:lnTo>
                  <a:lnTo>
                    <a:pt x="773" y="36"/>
                  </a:lnTo>
                  <a:lnTo>
                    <a:pt x="773" y="36"/>
                  </a:lnTo>
                  <a:lnTo>
                    <a:pt x="773" y="33"/>
                  </a:lnTo>
                  <a:lnTo>
                    <a:pt x="775" y="31"/>
                  </a:lnTo>
                  <a:lnTo>
                    <a:pt x="777" y="29"/>
                  </a:lnTo>
                  <a:lnTo>
                    <a:pt x="778" y="28"/>
                  </a:lnTo>
                  <a:lnTo>
                    <a:pt x="778" y="28"/>
                  </a:lnTo>
                  <a:lnTo>
                    <a:pt x="778" y="24"/>
                  </a:lnTo>
                  <a:lnTo>
                    <a:pt x="782" y="24"/>
                  </a:lnTo>
                  <a:lnTo>
                    <a:pt x="785" y="22"/>
                  </a:lnTo>
                  <a:lnTo>
                    <a:pt x="785" y="19"/>
                  </a:lnTo>
                  <a:lnTo>
                    <a:pt x="785" y="19"/>
                  </a:lnTo>
                  <a:lnTo>
                    <a:pt x="789" y="17"/>
                  </a:lnTo>
                  <a:lnTo>
                    <a:pt x="790" y="15"/>
                  </a:lnTo>
                  <a:lnTo>
                    <a:pt x="785" y="14"/>
                  </a:lnTo>
                  <a:lnTo>
                    <a:pt x="785" y="14"/>
                  </a:lnTo>
                  <a:lnTo>
                    <a:pt x="782" y="14"/>
                  </a:lnTo>
                  <a:lnTo>
                    <a:pt x="780" y="12"/>
                  </a:lnTo>
                  <a:lnTo>
                    <a:pt x="780" y="10"/>
                  </a:lnTo>
                  <a:lnTo>
                    <a:pt x="780" y="8"/>
                  </a:lnTo>
                  <a:lnTo>
                    <a:pt x="784" y="5"/>
                  </a:lnTo>
                  <a:lnTo>
                    <a:pt x="785" y="5"/>
                  </a:lnTo>
                  <a:lnTo>
                    <a:pt x="789" y="7"/>
                  </a:lnTo>
                  <a:lnTo>
                    <a:pt x="789" y="7"/>
                  </a:lnTo>
                  <a:lnTo>
                    <a:pt x="790" y="7"/>
                  </a:lnTo>
                  <a:lnTo>
                    <a:pt x="792" y="7"/>
                  </a:lnTo>
                  <a:lnTo>
                    <a:pt x="794" y="3"/>
                  </a:lnTo>
                  <a:lnTo>
                    <a:pt x="796" y="0"/>
                  </a:lnTo>
                  <a:lnTo>
                    <a:pt x="797" y="0"/>
                  </a:lnTo>
                  <a:lnTo>
                    <a:pt x="801" y="1"/>
                  </a:lnTo>
                  <a:lnTo>
                    <a:pt x="801" y="1"/>
                  </a:lnTo>
                  <a:lnTo>
                    <a:pt x="803" y="3"/>
                  </a:lnTo>
                  <a:lnTo>
                    <a:pt x="806" y="5"/>
                  </a:lnTo>
                  <a:lnTo>
                    <a:pt x="811" y="3"/>
                  </a:lnTo>
                  <a:lnTo>
                    <a:pt x="817" y="3"/>
                  </a:lnTo>
                  <a:lnTo>
                    <a:pt x="817" y="3"/>
                  </a:lnTo>
                  <a:lnTo>
                    <a:pt x="817" y="5"/>
                  </a:lnTo>
                  <a:lnTo>
                    <a:pt x="817" y="5"/>
                  </a:lnTo>
                  <a:lnTo>
                    <a:pt x="818" y="7"/>
                  </a:lnTo>
                  <a:lnTo>
                    <a:pt x="818" y="8"/>
                  </a:lnTo>
                  <a:lnTo>
                    <a:pt x="822" y="8"/>
                  </a:lnTo>
                  <a:lnTo>
                    <a:pt x="827" y="7"/>
                  </a:lnTo>
                  <a:lnTo>
                    <a:pt x="829" y="8"/>
                  </a:lnTo>
                  <a:lnTo>
                    <a:pt x="829" y="10"/>
                  </a:lnTo>
                  <a:lnTo>
                    <a:pt x="829" y="10"/>
                  </a:lnTo>
                  <a:lnTo>
                    <a:pt x="829" y="12"/>
                  </a:lnTo>
                  <a:lnTo>
                    <a:pt x="827" y="14"/>
                  </a:lnTo>
                  <a:lnTo>
                    <a:pt x="822" y="17"/>
                  </a:lnTo>
                  <a:lnTo>
                    <a:pt x="815" y="19"/>
                  </a:lnTo>
                  <a:lnTo>
                    <a:pt x="813" y="21"/>
                  </a:lnTo>
                  <a:lnTo>
                    <a:pt x="813" y="21"/>
                  </a:lnTo>
                  <a:lnTo>
                    <a:pt x="811" y="26"/>
                  </a:lnTo>
                  <a:lnTo>
                    <a:pt x="813" y="26"/>
                  </a:lnTo>
                  <a:lnTo>
                    <a:pt x="818" y="24"/>
                  </a:lnTo>
                  <a:lnTo>
                    <a:pt x="818" y="24"/>
                  </a:lnTo>
                  <a:lnTo>
                    <a:pt x="822" y="26"/>
                  </a:lnTo>
                  <a:lnTo>
                    <a:pt x="820" y="28"/>
                  </a:lnTo>
                  <a:lnTo>
                    <a:pt x="817" y="31"/>
                  </a:lnTo>
                  <a:lnTo>
                    <a:pt x="811" y="35"/>
                  </a:lnTo>
                  <a:lnTo>
                    <a:pt x="811" y="35"/>
                  </a:lnTo>
                  <a:lnTo>
                    <a:pt x="806" y="38"/>
                  </a:lnTo>
                  <a:lnTo>
                    <a:pt x="806" y="40"/>
                  </a:lnTo>
                  <a:lnTo>
                    <a:pt x="810" y="42"/>
                  </a:lnTo>
                  <a:lnTo>
                    <a:pt x="815" y="40"/>
                  </a:lnTo>
                  <a:lnTo>
                    <a:pt x="815" y="40"/>
                  </a:lnTo>
                  <a:lnTo>
                    <a:pt x="818" y="40"/>
                  </a:lnTo>
                  <a:lnTo>
                    <a:pt x="820" y="40"/>
                  </a:lnTo>
                  <a:lnTo>
                    <a:pt x="825" y="42"/>
                  </a:lnTo>
                  <a:lnTo>
                    <a:pt x="827" y="43"/>
                  </a:lnTo>
                  <a:lnTo>
                    <a:pt x="825" y="38"/>
                  </a:lnTo>
                  <a:lnTo>
                    <a:pt x="825" y="38"/>
                  </a:lnTo>
                  <a:lnTo>
                    <a:pt x="825" y="29"/>
                  </a:lnTo>
                  <a:lnTo>
                    <a:pt x="827" y="24"/>
                  </a:lnTo>
                  <a:lnTo>
                    <a:pt x="829" y="21"/>
                  </a:lnTo>
                  <a:lnTo>
                    <a:pt x="832" y="17"/>
                  </a:lnTo>
                  <a:lnTo>
                    <a:pt x="837" y="15"/>
                  </a:lnTo>
                  <a:lnTo>
                    <a:pt x="843" y="15"/>
                  </a:lnTo>
                  <a:lnTo>
                    <a:pt x="848" y="15"/>
                  </a:lnTo>
                  <a:lnTo>
                    <a:pt x="848" y="15"/>
                  </a:lnTo>
                  <a:lnTo>
                    <a:pt x="853" y="17"/>
                  </a:lnTo>
                  <a:lnTo>
                    <a:pt x="857" y="21"/>
                  </a:lnTo>
                  <a:lnTo>
                    <a:pt x="857" y="22"/>
                  </a:lnTo>
                  <a:lnTo>
                    <a:pt x="857" y="24"/>
                  </a:lnTo>
                  <a:lnTo>
                    <a:pt x="857" y="26"/>
                  </a:lnTo>
                  <a:lnTo>
                    <a:pt x="864" y="26"/>
                  </a:lnTo>
                  <a:lnTo>
                    <a:pt x="864" y="26"/>
                  </a:lnTo>
                  <a:lnTo>
                    <a:pt x="871" y="24"/>
                  </a:lnTo>
                  <a:lnTo>
                    <a:pt x="872" y="26"/>
                  </a:lnTo>
                  <a:lnTo>
                    <a:pt x="872" y="28"/>
                  </a:lnTo>
                  <a:lnTo>
                    <a:pt x="878" y="26"/>
                  </a:lnTo>
                  <a:lnTo>
                    <a:pt x="878" y="26"/>
                  </a:lnTo>
                  <a:lnTo>
                    <a:pt x="881" y="26"/>
                  </a:lnTo>
                  <a:lnTo>
                    <a:pt x="883" y="26"/>
                  </a:lnTo>
                  <a:lnTo>
                    <a:pt x="888" y="29"/>
                  </a:lnTo>
                  <a:lnTo>
                    <a:pt x="890" y="33"/>
                  </a:lnTo>
                  <a:lnTo>
                    <a:pt x="893" y="35"/>
                  </a:lnTo>
                  <a:lnTo>
                    <a:pt x="897" y="35"/>
                  </a:lnTo>
                  <a:lnTo>
                    <a:pt x="897" y="35"/>
                  </a:lnTo>
                  <a:lnTo>
                    <a:pt x="900" y="36"/>
                  </a:lnTo>
                  <a:lnTo>
                    <a:pt x="902" y="40"/>
                  </a:lnTo>
                  <a:lnTo>
                    <a:pt x="905" y="42"/>
                  </a:lnTo>
                  <a:lnTo>
                    <a:pt x="911" y="43"/>
                  </a:lnTo>
                  <a:lnTo>
                    <a:pt x="911" y="43"/>
                  </a:lnTo>
                  <a:lnTo>
                    <a:pt x="914" y="43"/>
                  </a:lnTo>
                  <a:lnTo>
                    <a:pt x="916" y="45"/>
                  </a:lnTo>
                  <a:lnTo>
                    <a:pt x="918" y="47"/>
                  </a:lnTo>
                  <a:lnTo>
                    <a:pt x="918" y="48"/>
                  </a:lnTo>
                  <a:lnTo>
                    <a:pt x="916" y="52"/>
                  </a:lnTo>
                  <a:lnTo>
                    <a:pt x="914" y="54"/>
                  </a:lnTo>
                  <a:lnTo>
                    <a:pt x="911" y="54"/>
                  </a:lnTo>
                  <a:lnTo>
                    <a:pt x="907" y="54"/>
                  </a:lnTo>
                  <a:lnTo>
                    <a:pt x="907" y="54"/>
                  </a:lnTo>
                  <a:lnTo>
                    <a:pt x="902" y="54"/>
                  </a:lnTo>
                  <a:lnTo>
                    <a:pt x="898" y="55"/>
                  </a:lnTo>
                  <a:lnTo>
                    <a:pt x="891" y="61"/>
                  </a:lnTo>
                  <a:lnTo>
                    <a:pt x="886" y="64"/>
                  </a:lnTo>
                  <a:lnTo>
                    <a:pt x="881" y="66"/>
                  </a:lnTo>
                  <a:lnTo>
                    <a:pt x="872" y="66"/>
                  </a:lnTo>
                  <a:lnTo>
                    <a:pt x="864" y="64"/>
                  </a:lnTo>
                  <a:lnTo>
                    <a:pt x="864" y="64"/>
                  </a:lnTo>
                  <a:lnTo>
                    <a:pt x="844" y="61"/>
                  </a:lnTo>
                  <a:lnTo>
                    <a:pt x="834" y="61"/>
                  </a:lnTo>
                  <a:lnTo>
                    <a:pt x="831" y="62"/>
                  </a:lnTo>
                  <a:lnTo>
                    <a:pt x="834" y="64"/>
                  </a:lnTo>
                  <a:lnTo>
                    <a:pt x="834" y="64"/>
                  </a:lnTo>
                  <a:lnTo>
                    <a:pt x="839" y="64"/>
                  </a:lnTo>
                  <a:lnTo>
                    <a:pt x="844" y="66"/>
                  </a:lnTo>
                  <a:lnTo>
                    <a:pt x="850" y="69"/>
                  </a:lnTo>
                  <a:lnTo>
                    <a:pt x="858" y="71"/>
                  </a:lnTo>
                  <a:lnTo>
                    <a:pt x="858" y="71"/>
                  </a:lnTo>
                  <a:lnTo>
                    <a:pt x="864" y="71"/>
                  </a:lnTo>
                  <a:lnTo>
                    <a:pt x="867" y="73"/>
                  </a:lnTo>
                  <a:lnTo>
                    <a:pt x="869" y="75"/>
                  </a:lnTo>
                  <a:lnTo>
                    <a:pt x="871" y="76"/>
                  </a:lnTo>
                  <a:lnTo>
                    <a:pt x="871" y="82"/>
                  </a:lnTo>
                  <a:lnTo>
                    <a:pt x="869" y="85"/>
                  </a:lnTo>
                  <a:lnTo>
                    <a:pt x="869" y="85"/>
                  </a:lnTo>
                  <a:lnTo>
                    <a:pt x="867" y="87"/>
                  </a:lnTo>
                  <a:lnTo>
                    <a:pt x="869" y="89"/>
                  </a:lnTo>
                  <a:lnTo>
                    <a:pt x="878" y="87"/>
                  </a:lnTo>
                  <a:lnTo>
                    <a:pt x="878" y="87"/>
                  </a:lnTo>
                  <a:lnTo>
                    <a:pt x="883" y="85"/>
                  </a:lnTo>
                  <a:lnTo>
                    <a:pt x="884" y="82"/>
                  </a:lnTo>
                  <a:lnTo>
                    <a:pt x="888" y="78"/>
                  </a:lnTo>
                  <a:lnTo>
                    <a:pt x="890" y="80"/>
                  </a:lnTo>
                  <a:lnTo>
                    <a:pt x="890" y="80"/>
                  </a:lnTo>
                  <a:lnTo>
                    <a:pt x="893" y="83"/>
                  </a:lnTo>
                  <a:lnTo>
                    <a:pt x="897" y="83"/>
                  </a:lnTo>
                  <a:lnTo>
                    <a:pt x="902" y="83"/>
                  </a:lnTo>
                  <a:lnTo>
                    <a:pt x="909" y="83"/>
                  </a:lnTo>
                  <a:lnTo>
                    <a:pt x="909" y="83"/>
                  </a:lnTo>
                  <a:lnTo>
                    <a:pt x="912" y="90"/>
                  </a:lnTo>
                  <a:lnTo>
                    <a:pt x="912" y="90"/>
                  </a:lnTo>
                  <a:lnTo>
                    <a:pt x="912" y="94"/>
                  </a:lnTo>
                  <a:lnTo>
                    <a:pt x="912" y="97"/>
                  </a:lnTo>
                  <a:lnTo>
                    <a:pt x="911" y="99"/>
                  </a:lnTo>
                  <a:lnTo>
                    <a:pt x="909" y="99"/>
                  </a:lnTo>
                  <a:lnTo>
                    <a:pt x="902" y="99"/>
                  </a:lnTo>
                  <a:lnTo>
                    <a:pt x="895" y="97"/>
                  </a:lnTo>
                  <a:lnTo>
                    <a:pt x="895" y="97"/>
                  </a:lnTo>
                  <a:lnTo>
                    <a:pt x="888" y="94"/>
                  </a:lnTo>
                  <a:lnTo>
                    <a:pt x="886" y="95"/>
                  </a:lnTo>
                  <a:lnTo>
                    <a:pt x="884" y="99"/>
                  </a:lnTo>
                  <a:lnTo>
                    <a:pt x="884" y="99"/>
                  </a:lnTo>
                  <a:lnTo>
                    <a:pt x="881" y="102"/>
                  </a:lnTo>
                  <a:lnTo>
                    <a:pt x="878" y="104"/>
                  </a:lnTo>
                  <a:lnTo>
                    <a:pt x="867" y="108"/>
                  </a:lnTo>
                  <a:lnTo>
                    <a:pt x="858" y="111"/>
                  </a:lnTo>
                  <a:lnTo>
                    <a:pt x="855" y="115"/>
                  </a:lnTo>
                  <a:lnTo>
                    <a:pt x="853" y="118"/>
                  </a:lnTo>
                  <a:lnTo>
                    <a:pt x="853" y="118"/>
                  </a:lnTo>
                  <a:lnTo>
                    <a:pt x="853" y="125"/>
                  </a:lnTo>
                  <a:lnTo>
                    <a:pt x="851" y="130"/>
                  </a:lnTo>
                  <a:lnTo>
                    <a:pt x="848" y="130"/>
                  </a:lnTo>
                  <a:lnTo>
                    <a:pt x="843" y="130"/>
                  </a:lnTo>
                  <a:lnTo>
                    <a:pt x="843" y="130"/>
                  </a:lnTo>
                  <a:close/>
                  <a:moveTo>
                    <a:pt x="320" y="176"/>
                  </a:moveTo>
                  <a:lnTo>
                    <a:pt x="320" y="176"/>
                  </a:lnTo>
                  <a:lnTo>
                    <a:pt x="322" y="174"/>
                  </a:lnTo>
                  <a:lnTo>
                    <a:pt x="324" y="174"/>
                  </a:lnTo>
                  <a:lnTo>
                    <a:pt x="326" y="176"/>
                  </a:lnTo>
                  <a:lnTo>
                    <a:pt x="326" y="177"/>
                  </a:lnTo>
                  <a:lnTo>
                    <a:pt x="326" y="177"/>
                  </a:lnTo>
                  <a:lnTo>
                    <a:pt x="324" y="179"/>
                  </a:lnTo>
                  <a:lnTo>
                    <a:pt x="322" y="179"/>
                  </a:lnTo>
                  <a:lnTo>
                    <a:pt x="320" y="177"/>
                  </a:lnTo>
                  <a:lnTo>
                    <a:pt x="320" y="176"/>
                  </a:lnTo>
                  <a:lnTo>
                    <a:pt x="320" y="176"/>
                  </a:lnTo>
                  <a:close/>
                  <a:moveTo>
                    <a:pt x="508" y="59"/>
                  </a:moveTo>
                  <a:lnTo>
                    <a:pt x="508" y="59"/>
                  </a:lnTo>
                  <a:lnTo>
                    <a:pt x="512" y="59"/>
                  </a:lnTo>
                  <a:lnTo>
                    <a:pt x="514" y="59"/>
                  </a:lnTo>
                  <a:lnTo>
                    <a:pt x="517" y="61"/>
                  </a:lnTo>
                  <a:lnTo>
                    <a:pt x="517" y="62"/>
                  </a:lnTo>
                  <a:lnTo>
                    <a:pt x="517" y="62"/>
                  </a:lnTo>
                  <a:lnTo>
                    <a:pt x="515" y="62"/>
                  </a:lnTo>
                  <a:lnTo>
                    <a:pt x="512" y="62"/>
                  </a:lnTo>
                  <a:lnTo>
                    <a:pt x="508" y="61"/>
                  </a:lnTo>
                  <a:lnTo>
                    <a:pt x="508" y="59"/>
                  </a:lnTo>
                  <a:lnTo>
                    <a:pt x="508" y="59"/>
                  </a:lnTo>
                  <a:close/>
                  <a:moveTo>
                    <a:pt x="399" y="134"/>
                  </a:moveTo>
                  <a:lnTo>
                    <a:pt x="399" y="134"/>
                  </a:lnTo>
                  <a:lnTo>
                    <a:pt x="402" y="134"/>
                  </a:lnTo>
                  <a:lnTo>
                    <a:pt x="406" y="134"/>
                  </a:lnTo>
                  <a:lnTo>
                    <a:pt x="409" y="136"/>
                  </a:lnTo>
                  <a:lnTo>
                    <a:pt x="409" y="137"/>
                  </a:lnTo>
                  <a:lnTo>
                    <a:pt x="409" y="137"/>
                  </a:lnTo>
                  <a:lnTo>
                    <a:pt x="409" y="137"/>
                  </a:lnTo>
                  <a:lnTo>
                    <a:pt x="406" y="139"/>
                  </a:lnTo>
                  <a:lnTo>
                    <a:pt x="402" y="137"/>
                  </a:lnTo>
                  <a:lnTo>
                    <a:pt x="399" y="136"/>
                  </a:lnTo>
                  <a:lnTo>
                    <a:pt x="399" y="134"/>
                  </a:lnTo>
                  <a:lnTo>
                    <a:pt x="399" y="134"/>
                  </a:lnTo>
                  <a:close/>
                  <a:moveTo>
                    <a:pt x="355" y="200"/>
                  </a:moveTo>
                  <a:lnTo>
                    <a:pt x="355" y="200"/>
                  </a:lnTo>
                  <a:lnTo>
                    <a:pt x="352" y="200"/>
                  </a:lnTo>
                  <a:lnTo>
                    <a:pt x="352" y="196"/>
                  </a:lnTo>
                  <a:lnTo>
                    <a:pt x="353" y="195"/>
                  </a:lnTo>
                  <a:lnTo>
                    <a:pt x="355" y="195"/>
                  </a:lnTo>
                  <a:lnTo>
                    <a:pt x="355" y="195"/>
                  </a:lnTo>
                  <a:lnTo>
                    <a:pt x="359" y="198"/>
                  </a:lnTo>
                  <a:lnTo>
                    <a:pt x="359" y="198"/>
                  </a:lnTo>
                  <a:lnTo>
                    <a:pt x="355" y="200"/>
                  </a:lnTo>
                  <a:lnTo>
                    <a:pt x="355" y="200"/>
                  </a:lnTo>
                  <a:close/>
                  <a:moveTo>
                    <a:pt x="418" y="146"/>
                  </a:moveTo>
                  <a:lnTo>
                    <a:pt x="418" y="146"/>
                  </a:lnTo>
                  <a:lnTo>
                    <a:pt x="420" y="144"/>
                  </a:lnTo>
                  <a:lnTo>
                    <a:pt x="421" y="144"/>
                  </a:lnTo>
                  <a:lnTo>
                    <a:pt x="427" y="144"/>
                  </a:lnTo>
                  <a:lnTo>
                    <a:pt x="428" y="146"/>
                  </a:lnTo>
                  <a:lnTo>
                    <a:pt x="428" y="148"/>
                  </a:lnTo>
                  <a:lnTo>
                    <a:pt x="427" y="148"/>
                  </a:lnTo>
                  <a:lnTo>
                    <a:pt x="427" y="148"/>
                  </a:lnTo>
                  <a:lnTo>
                    <a:pt x="420" y="149"/>
                  </a:lnTo>
                  <a:lnTo>
                    <a:pt x="418" y="148"/>
                  </a:lnTo>
                  <a:lnTo>
                    <a:pt x="418" y="146"/>
                  </a:lnTo>
                  <a:lnTo>
                    <a:pt x="418" y="146"/>
                  </a:lnTo>
                  <a:close/>
                  <a:moveTo>
                    <a:pt x="430" y="141"/>
                  </a:moveTo>
                  <a:lnTo>
                    <a:pt x="430" y="141"/>
                  </a:lnTo>
                  <a:lnTo>
                    <a:pt x="430" y="139"/>
                  </a:lnTo>
                  <a:lnTo>
                    <a:pt x="430" y="137"/>
                  </a:lnTo>
                  <a:lnTo>
                    <a:pt x="434" y="136"/>
                  </a:lnTo>
                  <a:lnTo>
                    <a:pt x="437" y="137"/>
                  </a:lnTo>
                  <a:lnTo>
                    <a:pt x="437" y="137"/>
                  </a:lnTo>
                  <a:lnTo>
                    <a:pt x="439" y="139"/>
                  </a:lnTo>
                  <a:lnTo>
                    <a:pt x="437" y="141"/>
                  </a:lnTo>
                  <a:lnTo>
                    <a:pt x="434" y="141"/>
                  </a:lnTo>
                  <a:lnTo>
                    <a:pt x="430" y="141"/>
                  </a:lnTo>
                  <a:lnTo>
                    <a:pt x="430" y="141"/>
                  </a:lnTo>
                  <a:close/>
                  <a:moveTo>
                    <a:pt x="484" y="66"/>
                  </a:moveTo>
                  <a:lnTo>
                    <a:pt x="484" y="66"/>
                  </a:lnTo>
                  <a:lnTo>
                    <a:pt x="484" y="64"/>
                  </a:lnTo>
                  <a:lnTo>
                    <a:pt x="486" y="62"/>
                  </a:lnTo>
                  <a:lnTo>
                    <a:pt x="487" y="62"/>
                  </a:lnTo>
                  <a:lnTo>
                    <a:pt x="487" y="62"/>
                  </a:lnTo>
                  <a:lnTo>
                    <a:pt x="489" y="62"/>
                  </a:lnTo>
                  <a:lnTo>
                    <a:pt x="491" y="62"/>
                  </a:lnTo>
                  <a:lnTo>
                    <a:pt x="493" y="61"/>
                  </a:lnTo>
                  <a:lnTo>
                    <a:pt x="494" y="62"/>
                  </a:lnTo>
                  <a:lnTo>
                    <a:pt x="494" y="62"/>
                  </a:lnTo>
                  <a:lnTo>
                    <a:pt x="493" y="64"/>
                  </a:lnTo>
                  <a:lnTo>
                    <a:pt x="489" y="68"/>
                  </a:lnTo>
                  <a:lnTo>
                    <a:pt x="486" y="68"/>
                  </a:lnTo>
                  <a:lnTo>
                    <a:pt x="484" y="68"/>
                  </a:lnTo>
                  <a:lnTo>
                    <a:pt x="484" y="66"/>
                  </a:lnTo>
                  <a:lnTo>
                    <a:pt x="484" y="66"/>
                  </a:lnTo>
                  <a:close/>
                  <a:moveTo>
                    <a:pt x="500" y="61"/>
                  </a:moveTo>
                  <a:lnTo>
                    <a:pt x="500" y="61"/>
                  </a:lnTo>
                  <a:lnTo>
                    <a:pt x="498" y="61"/>
                  </a:lnTo>
                  <a:lnTo>
                    <a:pt x="498" y="59"/>
                  </a:lnTo>
                  <a:lnTo>
                    <a:pt x="500" y="55"/>
                  </a:lnTo>
                  <a:lnTo>
                    <a:pt x="501" y="54"/>
                  </a:lnTo>
                  <a:lnTo>
                    <a:pt x="505" y="54"/>
                  </a:lnTo>
                  <a:lnTo>
                    <a:pt x="505" y="54"/>
                  </a:lnTo>
                  <a:lnTo>
                    <a:pt x="505" y="55"/>
                  </a:lnTo>
                  <a:lnTo>
                    <a:pt x="505" y="57"/>
                  </a:lnTo>
                  <a:lnTo>
                    <a:pt x="503" y="61"/>
                  </a:lnTo>
                  <a:lnTo>
                    <a:pt x="500" y="61"/>
                  </a:lnTo>
                  <a:lnTo>
                    <a:pt x="500" y="61"/>
                  </a:lnTo>
                  <a:close/>
                  <a:moveTo>
                    <a:pt x="515" y="76"/>
                  </a:moveTo>
                  <a:lnTo>
                    <a:pt x="515" y="76"/>
                  </a:lnTo>
                  <a:lnTo>
                    <a:pt x="519" y="73"/>
                  </a:lnTo>
                  <a:lnTo>
                    <a:pt x="522" y="71"/>
                  </a:lnTo>
                  <a:lnTo>
                    <a:pt x="526" y="69"/>
                  </a:lnTo>
                  <a:lnTo>
                    <a:pt x="528" y="71"/>
                  </a:lnTo>
                  <a:lnTo>
                    <a:pt x="528" y="71"/>
                  </a:lnTo>
                  <a:lnTo>
                    <a:pt x="524" y="75"/>
                  </a:lnTo>
                  <a:lnTo>
                    <a:pt x="521" y="76"/>
                  </a:lnTo>
                  <a:lnTo>
                    <a:pt x="517" y="78"/>
                  </a:lnTo>
                  <a:lnTo>
                    <a:pt x="515" y="78"/>
                  </a:lnTo>
                  <a:lnTo>
                    <a:pt x="515" y="76"/>
                  </a:lnTo>
                  <a:lnTo>
                    <a:pt x="515" y="76"/>
                  </a:lnTo>
                  <a:close/>
                  <a:moveTo>
                    <a:pt x="559" y="68"/>
                  </a:moveTo>
                  <a:lnTo>
                    <a:pt x="559" y="68"/>
                  </a:lnTo>
                  <a:lnTo>
                    <a:pt x="562" y="66"/>
                  </a:lnTo>
                  <a:lnTo>
                    <a:pt x="564" y="68"/>
                  </a:lnTo>
                  <a:lnTo>
                    <a:pt x="568" y="69"/>
                  </a:lnTo>
                  <a:lnTo>
                    <a:pt x="566" y="71"/>
                  </a:lnTo>
                  <a:lnTo>
                    <a:pt x="566" y="71"/>
                  </a:lnTo>
                  <a:lnTo>
                    <a:pt x="566" y="71"/>
                  </a:lnTo>
                  <a:lnTo>
                    <a:pt x="561" y="71"/>
                  </a:lnTo>
                  <a:lnTo>
                    <a:pt x="559" y="71"/>
                  </a:lnTo>
                  <a:lnTo>
                    <a:pt x="559" y="68"/>
                  </a:lnTo>
                  <a:lnTo>
                    <a:pt x="559" y="68"/>
                  </a:lnTo>
                  <a:close/>
                  <a:moveTo>
                    <a:pt x="555" y="73"/>
                  </a:moveTo>
                  <a:lnTo>
                    <a:pt x="555" y="73"/>
                  </a:lnTo>
                  <a:lnTo>
                    <a:pt x="557" y="75"/>
                  </a:lnTo>
                  <a:lnTo>
                    <a:pt x="555" y="78"/>
                  </a:lnTo>
                  <a:lnTo>
                    <a:pt x="552" y="82"/>
                  </a:lnTo>
                  <a:lnTo>
                    <a:pt x="552" y="82"/>
                  </a:lnTo>
                  <a:lnTo>
                    <a:pt x="550" y="82"/>
                  </a:lnTo>
                  <a:lnTo>
                    <a:pt x="550" y="80"/>
                  </a:lnTo>
                  <a:lnTo>
                    <a:pt x="552" y="76"/>
                  </a:lnTo>
                  <a:lnTo>
                    <a:pt x="554" y="73"/>
                  </a:lnTo>
                  <a:lnTo>
                    <a:pt x="555" y="73"/>
                  </a:lnTo>
                  <a:lnTo>
                    <a:pt x="555" y="73"/>
                  </a:lnTo>
                  <a:close/>
                  <a:moveTo>
                    <a:pt x="669" y="10"/>
                  </a:moveTo>
                  <a:lnTo>
                    <a:pt x="669" y="10"/>
                  </a:lnTo>
                  <a:lnTo>
                    <a:pt x="669" y="7"/>
                  </a:lnTo>
                  <a:lnTo>
                    <a:pt x="670" y="7"/>
                  </a:lnTo>
                  <a:lnTo>
                    <a:pt x="674" y="7"/>
                  </a:lnTo>
                  <a:lnTo>
                    <a:pt x="677" y="8"/>
                  </a:lnTo>
                  <a:lnTo>
                    <a:pt x="677" y="8"/>
                  </a:lnTo>
                  <a:lnTo>
                    <a:pt x="679" y="10"/>
                  </a:lnTo>
                  <a:lnTo>
                    <a:pt x="676" y="12"/>
                  </a:lnTo>
                  <a:lnTo>
                    <a:pt x="672" y="12"/>
                  </a:lnTo>
                  <a:lnTo>
                    <a:pt x="669" y="10"/>
                  </a:lnTo>
                  <a:lnTo>
                    <a:pt x="669" y="1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6" name="Freeform 1781">
              <a:extLst>
                <a:ext uri="{FF2B5EF4-FFF2-40B4-BE49-F238E27FC236}">
                  <a16:creationId xmlns:a16="http://schemas.microsoft.com/office/drawing/2014/main" id="{8C37CC0D-9817-47EB-9E14-551E9491FFD1}"/>
                </a:ext>
              </a:extLst>
            </p:cNvPr>
            <p:cNvSpPr>
              <a:spLocks/>
            </p:cNvSpPr>
            <p:nvPr/>
          </p:nvSpPr>
          <p:spPr bwMode="auto">
            <a:xfrm>
              <a:off x="4460719" y="2954170"/>
              <a:ext cx="354163" cy="299541"/>
            </a:xfrm>
            <a:custGeom>
              <a:avLst/>
              <a:gdLst/>
              <a:ahLst/>
              <a:cxnLst>
                <a:cxn ang="0">
                  <a:pos x="37" y="78"/>
                </a:cxn>
                <a:cxn ang="0">
                  <a:pos x="40" y="87"/>
                </a:cxn>
                <a:cxn ang="0">
                  <a:pos x="40" y="94"/>
                </a:cxn>
                <a:cxn ang="0">
                  <a:pos x="59" y="90"/>
                </a:cxn>
                <a:cxn ang="0">
                  <a:pos x="73" y="87"/>
                </a:cxn>
                <a:cxn ang="0">
                  <a:pos x="94" y="90"/>
                </a:cxn>
                <a:cxn ang="0">
                  <a:pos x="103" y="101"/>
                </a:cxn>
                <a:cxn ang="0">
                  <a:pos x="101" y="118"/>
                </a:cxn>
                <a:cxn ang="0">
                  <a:pos x="87" y="149"/>
                </a:cxn>
                <a:cxn ang="0">
                  <a:pos x="82" y="179"/>
                </a:cxn>
                <a:cxn ang="0">
                  <a:pos x="70" y="196"/>
                </a:cxn>
                <a:cxn ang="0">
                  <a:pos x="68" y="207"/>
                </a:cxn>
                <a:cxn ang="0">
                  <a:pos x="80" y="224"/>
                </a:cxn>
                <a:cxn ang="0">
                  <a:pos x="72" y="243"/>
                </a:cxn>
                <a:cxn ang="0">
                  <a:pos x="72" y="263"/>
                </a:cxn>
                <a:cxn ang="0">
                  <a:pos x="80" y="271"/>
                </a:cxn>
                <a:cxn ang="0">
                  <a:pos x="65" y="297"/>
                </a:cxn>
                <a:cxn ang="0">
                  <a:pos x="77" y="315"/>
                </a:cxn>
                <a:cxn ang="0">
                  <a:pos x="99" y="334"/>
                </a:cxn>
                <a:cxn ang="0">
                  <a:pos x="117" y="364"/>
                </a:cxn>
                <a:cxn ang="0">
                  <a:pos x="134" y="369"/>
                </a:cxn>
                <a:cxn ang="0">
                  <a:pos x="143" y="357"/>
                </a:cxn>
                <a:cxn ang="0">
                  <a:pos x="167" y="348"/>
                </a:cxn>
                <a:cxn ang="0">
                  <a:pos x="188" y="334"/>
                </a:cxn>
                <a:cxn ang="0">
                  <a:pos x="213" y="339"/>
                </a:cxn>
                <a:cxn ang="0">
                  <a:pos x="247" y="336"/>
                </a:cxn>
                <a:cxn ang="0">
                  <a:pos x="268" y="308"/>
                </a:cxn>
                <a:cxn ang="0">
                  <a:pos x="300" y="296"/>
                </a:cxn>
                <a:cxn ang="0">
                  <a:pos x="308" y="266"/>
                </a:cxn>
                <a:cxn ang="0">
                  <a:pos x="333" y="242"/>
                </a:cxn>
                <a:cxn ang="0">
                  <a:pos x="315" y="217"/>
                </a:cxn>
                <a:cxn ang="0">
                  <a:pos x="328" y="181"/>
                </a:cxn>
                <a:cxn ang="0">
                  <a:pos x="359" y="149"/>
                </a:cxn>
                <a:cxn ang="0">
                  <a:pos x="354" y="139"/>
                </a:cxn>
                <a:cxn ang="0">
                  <a:pos x="395" y="123"/>
                </a:cxn>
                <a:cxn ang="0">
                  <a:pos x="411" y="109"/>
                </a:cxn>
                <a:cxn ang="0">
                  <a:pos x="439" y="83"/>
                </a:cxn>
                <a:cxn ang="0">
                  <a:pos x="442" y="73"/>
                </a:cxn>
                <a:cxn ang="0">
                  <a:pos x="436" y="62"/>
                </a:cxn>
                <a:cxn ang="0">
                  <a:pos x="416" y="66"/>
                </a:cxn>
                <a:cxn ang="0">
                  <a:pos x="399" y="66"/>
                </a:cxn>
                <a:cxn ang="0">
                  <a:pos x="378" y="59"/>
                </a:cxn>
                <a:cxn ang="0">
                  <a:pos x="354" y="43"/>
                </a:cxn>
                <a:cxn ang="0">
                  <a:pos x="345" y="50"/>
                </a:cxn>
                <a:cxn ang="0">
                  <a:pos x="324" y="48"/>
                </a:cxn>
                <a:cxn ang="0">
                  <a:pos x="307" y="45"/>
                </a:cxn>
                <a:cxn ang="0">
                  <a:pos x="288" y="33"/>
                </a:cxn>
                <a:cxn ang="0">
                  <a:pos x="279" y="24"/>
                </a:cxn>
                <a:cxn ang="0">
                  <a:pos x="265" y="17"/>
                </a:cxn>
                <a:cxn ang="0">
                  <a:pos x="232" y="15"/>
                </a:cxn>
                <a:cxn ang="0">
                  <a:pos x="200" y="12"/>
                </a:cxn>
                <a:cxn ang="0">
                  <a:pos x="138" y="10"/>
                </a:cxn>
                <a:cxn ang="0">
                  <a:pos x="93" y="8"/>
                </a:cxn>
                <a:cxn ang="0">
                  <a:pos x="54" y="0"/>
                </a:cxn>
                <a:cxn ang="0">
                  <a:pos x="35" y="8"/>
                </a:cxn>
                <a:cxn ang="0">
                  <a:pos x="26" y="21"/>
                </a:cxn>
                <a:cxn ang="0">
                  <a:pos x="0" y="36"/>
                </a:cxn>
                <a:cxn ang="0">
                  <a:pos x="7" y="48"/>
                </a:cxn>
                <a:cxn ang="0">
                  <a:pos x="14" y="75"/>
                </a:cxn>
              </a:cxnLst>
              <a:rect l="0" t="0" r="r" b="b"/>
              <a:pathLst>
                <a:path w="442" h="372">
                  <a:moveTo>
                    <a:pt x="18" y="92"/>
                  </a:moveTo>
                  <a:lnTo>
                    <a:pt x="18" y="92"/>
                  </a:lnTo>
                  <a:lnTo>
                    <a:pt x="26" y="83"/>
                  </a:lnTo>
                  <a:lnTo>
                    <a:pt x="33" y="78"/>
                  </a:lnTo>
                  <a:lnTo>
                    <a:pt x="37" y="78"/>
                  </a:lnTo>
                  <a:lnTo>
                    <a:pt x="40" y="80"/>
                  </a:lnTo>
                  <a:lnTo>
                    <a:pt x="40" y="80"/>
                  </a:lnTo>
                  <a:lnTo>
                    <a:pt x="42" y="82"/>
                  </a:lnTo>
                  <a:lnTo>
                    <a:pt x="42" y="82"/>
                  </a:lnTo>
                  <a:lnTo>
                    <a:pt x="40" y="87"/>
                  </a:lnTo>
                  <a:lnTo>
                    <a:pt x="37" y="90"/>
                  </a:lnTo>
                  <a:lnTo>
                    <a:pt x="37" y="90"/>
                  </a:lnTo>
                  <a:lnTo>
                    <a:pt x="39" y="92"/>
                  </a:lnTo>
                  <a:lnTo>
                    <a:pt x="39" y="92"/>
                  </a:lnTo>
                  <a:lnTo>
                    <a:pt x="40" y="94"/>
                  </a:lnTo>
                  <a:lnTo>
                    <a:pt x="42" y="94"/>
                  </a:lnTo>
                  <a:lnTo>
                    <a:pt x="46" y="90"/>
                  </a:lnTo>
                  <a:lnTo>
                    <a:pt x="51" y="88"/>
                  </a:lnTo>
                  <a:lnTo>
                    <a:pt x="54" y="88"/>
                  </a:lnTo>
                  <a:lnTo>
                    <a:pt x="59" y="90"/>
                  </a:lnTo>
                  <a:lnTo>
                    <a:pt x="59" y="90"/>
                  </a:lnTo>
                  <a:lnTo>
                    <a:pt x="66" y="94"/>
                  </a:lnTo>
                  <a:lnTo>
                    <a:pt x="68" y="92"/>
                  </a:lnTo>
                  <a:lnTo>
                    <a:pt x="70" y="90"/>
                  </a:lnTo>
                  <a:lnTo>
                    <a:pt x="73" y="87"/>
                  </a:lnTo>
                  <a:lnTo>
                    <a:pt x="79" y="87"/>
                  </a:lnTo>
                  <a:lnTo>
                    <a:pt x="86" y="87"/>
                  </a:lnTo>
                  <a:lnTo>
                    <a:pt x="86" y="87"/>
                  </a:lnTo>
                  <a:lnTo>
                    <a:pt x="91" y="88"/>
                  </a:lnTo>
                  <a:lnTo>
                    <a:pt x="94" y="90"/>
                  </a:lnTo>
                  <a:lnTo>
                    <a:pt x="96" y="92"/>
                  </a:lnTo>
                  <a:lnTo>
                    <a:pt x="96" y="94"/>
                  </a:lnTo>
                  <a:lnTo>
                    <a:pt x="96" y="97"/>
                  </a:lnTo>
                  <a:lnTo>
                    <a:pt x="98" y="99"/>
                  </a:lnTo>
                  <a:lnTo>
                    <a:pt x="103" y="101"/>
                  </a:lnTo>
                  <a:lnTo>
                    <a:pt x="103" y="101"/>
                  </a:lnTo>
                  <a:lnTo>
                    <a:pt x="106" y="102"/>
                  </a:lnTo>
                  <a:lnTo>
                    <a:pt x="108" y="108"/>
                  </a:lnTo>
                  <a:lnTo>
                    <a:pt x="105" y="111"/>
                  </a:lnTo>
                  <a:lnTo>
                    <a:pt x="101" y="118"/>
                  </a:lnTo>
                  <a:lnTo>
                    <a:pt x="91" y="129"/>
                  </a:lnTo>
                  <a:lnTo>
                    <a:pt x="87" y="134"/>
                  </a:lnTo>
                  <a:lnTo>
                    <a:pt x="86" y="139"/>
                  </a:lnTo>
                  <a:lnTo>
                    <a:pt x="86" y="139"/>
                  </a:lnTo>
                  <a:lnTo>
                    <a:pt x="87" y="149"/>
                  </a:lnTo>
                  <a:lnTo>
                    <a:pt x="86" y="156"/>
                  </a:lnTo>
                  <a:lnTo>
                    <a:pt x="84" y="165"/>
                  </a:lnTo>
                  <a:lnTo>
                    <a:pt x="80" y="172"/>
                  </a:lnTo>
                  <a:lnTo>
                    <a:pt x="80" y="176"/>
                  </a:lnTo>
                  <a:lnTo>
                    <a:pt x="82" y="179"/>
                  </a:lnTo>
                  <a:lnTo>
                    <a:pt x="82" y="179"/>
                  </a:lnTo>
                  <a:lnTo>
                    <a:pt x="84" y="186"/>
                  </a:lnTo>
                  <a:lnTo>
                    <a:pt x="84" y="191"/>
                  </a:lnTo>
                  <a:lnTo>
                    <a:pt x="79" y="195"/>
                  </a:lnTo>
                  <a:lnTo>
                    <a:pt x="70" y="196"/>
                  </a:lnTo>
                  <a:lnTo>
                    <a:pt x="70" y="196"/>
                  </a:lnTo>
                  <a:lnTo>
                    <a:pt x="65" y="198"/>
                  </a:lnTo>
                  <a:lnTo>
                    <a:pt x="63" y="200"/>
                  </a:lnTo>
                  <a:lnTo>
                    <a:pt x="65" y="202"/>
                  </a:lnTo>
                  <a:lnTo>
                    <a:pt x="68" y="207"/>
                  </a:lnTo>
                  <a:lnTo>
                    <a:pt x="70" y="216"/>
                  </a:lnTo>
                  <a:lnTo>
                    <a:pt x="70" y="216"/>
                  </a:lnTo>
                  <a:lnTo>
                    <a:pt x="72" y="221"/>
                  </a:lnTo>
                  <a:lnTo>
                    <a:pt x="75" y="223"/>
                  </a:lnTo>
                  <a:lnTo>
                    <a:pt x="80" y="224"/>
                  </a:lnTo>
                  <a:lnTo>
                    <a:pt x="82" y="226"/>
                  </a:lnTo>
                  <a:lnTo>
                    <a:pt x="82" y="228"/>
                  </a:lnTo>
                  <a:lnTo>
                    <a:pt x="77" y="236"/>
                  </a:lnTo>
                  <a:lnTo>
                    <a:pt x="77" y="236"/>
                  </a:lnTo>
                  <a:lnTo>
                    <a:pt x="72" y="243"/>
                  </a:lnTo>
                  <a:lnTo>
                    <a:pt x="70" y="249"/>
                  </a:lnTo>
                  <a:lnTo>
                    <a:pt x="68" y="254"/>
                  </a:lnTo>
                  <a:lnTo>
                    <a:pt x="68" y="257"/>
                  </a:lnTo>
                  <a:lnTo>
                    <a:pt x="70" y="261"/>
                  </a:lnTo>
                  <a:lnTo>
                    <a:pt x="72" y="263"/>
                  </a:lnTo>
                  <a:lnTo>
                    <a:pt x="77" y="266"/>
                  </a:lnTo>
                  <a:lnTo>
                    <a:pt x="77" y="266"/>
                  </a:lnTo>
                  <a:lnTo>
                    <a:pt x="80" y="268"/>
                  </a:lnTo>
                  <a:lnTo>
                    <a:pt x="82" y="268"/>
                  </a:lnTo>
                  <a:lnTo>
                    <a:pt x="80" y="271"/>
                  </a:lnTo>
                  <a:lnTo>
                    <a:pt x="73" y="278"/>
                  </a:lnTo>
                  <a:lnTo>
                    <a:pt x="73" y="278"/>
                  </a:lnTo>
                  <a:lnTo>
                    <a:pt x="70" y="282"/>
                  </a:lnTo>
                  <a:lnTo>
                    <a:pt x="66" y="287"/>
                  </a:lnTo>
                  <a:lnTo>
                    <a:pt x="65" y="297"/>
                  </a:lnTo>
                  <a:lnTo>
                    <a:pt x="65" y="308"/>
                  </a:lnTo>
                  <a:lnTo>
                    <a:pt x="66" y="317"/>
                  </a:lnTo>
                  <a:lnTo>
                    <a:pt x="66" y="317"/>
                  </a:lnTo>
                  <a:lnTo>
                    <a:pt x="72" y="315"/>
                  </a:lnTo>
                  <a:lnTo>
                    <a:pt x="77" y="315"/>
                  </a:lnTo>
                  <a:lnTo>
                    <a:pt x="84" y="317"/>
                  </a:lnTo>
                  <a:lnTo>
                    <a:pt x="89" y="318"/>
                  </a:lnTo>
                  <a:lnTo>
                    <a:pt x="96" y="327"/>
                  </a:lnTo>
                  <a:lnTo>
                    <a:pt x="98" y="331"/>
                  </a:lnTo>
                  <a:lnTo>
                    <a:pt x="99" y="334"/>
                  </a:lnTo>
                  <a:lnTo>
                    <a:pt x="99" y="334"/>
                  </a:lnTo>
                  <a:lnTo>
                    <a:pt x="101" y="341"/>
                  </a:lnTo>
                  <a:lnTo>
                    <a:pt x="105" y="348"/>
                  </a:lnTo>
                  <a:lnTo>
                    <a:pt x="110" y="357"/>
                  </a:lnTo>
                  <a:lnTo>
                    <a:pt x="117" y="364"/>
                  </a:lnTo>
                  <a:lnTo>
                    <a:pt x="117" y="364"/>
                  </a:lnTo>
                  <a:lnTo>
                    <a:pt x="124" y="371"/>
                  </a:lnTo>
                  <a:lnTo>
                    <a:pt x="129" y="372"/>
                  </a:lnTo>
                  <a:lnTo>
                    <a:pt x="131" y="372"/>
                  </a:lnTo>
                  <a:lnTo>
                    <a:pt x="134" y="369"/>
                  </a:lnTo>
                  <a:lnTo>
                    <a:pt x="134" y="369"/>
                  </a:lnTo>
                  <a:lnTo>
                    <a:pt x="138" y="365"/>
                  </a:lnTo>
                  <a:lnTo>
                    <a:pt x="140" y="362"/>
                  </a:lnTo>
                  <a:lnTo>
                    <a:pt x="143" y="357"/>
                  </a:lnTo>
                  <a:lnTo>
                    <a:pt x="143" y="357"/>
                  </a:lnTo>
                  <a:lnTo>
                    <a:pt x="146" y="353"/>
                  </a:lnTo>
                  <a:lnTo>
                    <a:pt x="148" y="351"/>
                  </a:lnTo>
                  <a:lnTo>
                    <a:pt x="157" y="350"/>
                  </a:lnTo>
                  <a:lnTo>
                    <a:pt x="164" y="348"/>
                  </a:lnTo>
                  <a:lnTo>
                    <a:pt x="167" y="348"/>
                  </a:lnTo>
                  <a:lnTo>
                    <a:pt x="167" y="344"/>
                  </a:lnTo>
                  <a:lnTo>
                    <a:pt x="167" y="344"/>
                  </a:lnTo>
                  <a:lnTo>
                    <a:pt x="173" y="339"/>
                  </a:lnTo>
                  <a:lnTo>
                    <a:pt x="180" y="336"/>
                  </a:lnTo>
                  <a:lnTo>
                    <a:pt x="188" y="334"/>
                  </a:lnTo>
                  <a:lnTo>
                    <a:pt x="194" y="336"/>
                  </a:lnTo>
                  <a:lnTo>
                    <a:pt x="199" y="337"/>
                  </a:lnTo>
                  <a:lnTo>
                    <a:pt x="199" y="337"/>
                  </a:lnTo>
                  <a:lnTo>
                    <a:pt x="206" y="339"/>
                  </a:lnTo>
                  <a:lnTo>
                    <a:pt x="213" y="339"/>
                  </a:lnTo>
                  <a:lnTo>
                    <a:pt x="228" y="337"/>
                  </a:lnTo>
                  <a:lnTo>
                    <a:pt x="241" y="334"/>
                  </a:lnTo>
                  <a:lnTo>
                    <a:pt x="244" y="334"/>
                  </a:lnTo>
                  <a:lnTo>
                    <a:pt x="247" y="336"/>
                  </a:lnTo>
                  <a:lnTo>
                    <a:pt x="247" y="336"/>
                  </a:lnTo>
                  <a:lnTo>
                    <a:pt x="251" y="337"/>
                  </a:lnTo>
                  <a:lnTo>
                    <a:pt x="254" y="334"/>
                  </a:lnTo>
                  <a:lnTo>
                    <a:pt x="260" y="322"/>
                  </a:lnTo>
                  <a:lnTo>
                    <a:pt x="263" y="315"/>
                  </a:lnTo>
                  <a:lnTo>
                    <a:pt x="268" y="308"/>
                  </a:lnTo>
                  <a:lnTo>
                    <a:pt x="275" y="303"/>
                  </a:lnTo>
                  <a:lnTo>
                    <a:pt x="286" y="299"/>
                  </a:lnTo>
                  <a:lnTo>
                    <a:pt x="286" y="299"/>
                  </a:lnTo>
                  <a:lnTo>
                    <a:pt x="298" y="299"/>
                  </a:lnTo>
                  <a:lnTo>
                    <a:pt x="300" y="296"/>
                  </a:lnTo>
                  <a:lnTo>
                    <a:pt x="300" y="292"/>
                  </a:lnTo>
                  <a:lnTo>
                    <a:pt x="300" y="292"/>
                  </a:lnTo>
                  <a:lnTo>
                    <a:pt x="300" y="282"/>
                  </a:lnTo>
                  <a:lnTo>
                    <a:pt x="303" y="273"/>
                  </a:lnTo>
                  <a:lnTo>
                    <a:pt x="308" y="266"/>
                  </a:lnTo>
                  <a:lnTo>
                    <a:pt x="315" y="259"/>
                  </a:lnTo>
                  <a:lnTo>
                    <a:pt x="328" y="249"/>
                  </a:lnTo>
                  <a:lnTo>
                    <a:pt x="333" y="245"/>
                  </a:lnTo>
                  <a:lnTo>
                    <a:pt x="333" y="242"/>
                  </a:lnTo>
                  <a:lnTo>
                    <a:pt x="333" y="242"/>
                  </a:lnTo>
                  <a:lnTo>
                    <a:pt x="331" y="238"/>
                  </a:lnTo>
                  <a:lnTo>
                    <a:pt x="326" y="235"/>
                  </a:lnTo>
                  <a:lnTo>
                    <a:pt x="321" y="230"/>
                  </a:lnTo>
                  <a:lnTo>
                    <a:pt x="319" y="224"/>
                  </a:lnTo>
                  <a:lnTo>
                    <a:pt x="315" y="217"/>
                  </a:lnTo>
                  <a:lnTo>
                    <a:pt x="315" y="217"/>
                  </a:lnTo>
                  <a:lnTo>
                    <a:pt x="315" y="210"/>
                  </a:lnTo>
                  <a:lnTo>
                    <a:pt x="317" y="202"/>
                  </a:lnTo>
                  <a:lnTo>
                    <a:pt x="322" y="191"/>
                  </a:lnTo>
                  <a:lnTo>
                    <a:pt x="328" y="181"/>
                  </a:lnTo>
                  <a:lnTo>
                    <a:pt x="342" y="163"/>
                  </a:lnTo>
                  <a:lnTo>
                    <a:pt x="347" y="158"/>
                  </a:lnTo>
                  <a:lnTo>
                    <a:pt x="350" y="155"/>
                  </a:lnTo>
                  <a:lnTo>
                    <a:pt x="350" y="155"/>
                  </a:lnTo>
                  <a:lnTo>
                    <a:pt x="359" y="149"/>
                  </a:lnTo>
                  <a:lnTo>
                    <a:pt x="359" y="148"/>
                  </a:lnTo>
                  <a:lnTo>
                    <a:pt x="359" y="148"/>
                  </a:lnTo>
                  <a:lnTo>
                    <a:pt x="355" y="144"/>
                  </a:lnTo>
                  <a:lnTo>
                    <a:pt x="354" y="142"/>
                  </a:lnTo>
                  <a:lnTo>
                    <a:pt x="354" y="139"/>
                  </a:lnTo>
                  <a:lnTo>
                    <a:pt x="354" y="139"/>
                  </a:lnTo>
                  <a:lnTo>
                    <a:pt x="357" y="136"/>
                  </a:lnTo>
                  <a:lnTo>
                    <a:pt x="364" y="132"/>
                  </a:lnTo>
                  <a:lnTo>
                    <a:pt x="380" y="127"/>
                  </a:lnTo>
                  <a:lnTo>
                    <a:pt x="395" y="123"/>
                  </a:lnTo>
                  <a:lnTo>
                    <a:pt x="401" y="120"/>
                  </a:lnTo>
                  <a:lnTo>
                    <a:pt x="404" y="116"/>
                  </a:lnTo>
                  <a:lnTo>
                    <a:pt x="404" y="116"/>
                  </a:lnTo>
                  <a:lnTo>
                    <a:pt x="406" y="113"/>
                  </a:lnTo>
                  <a:lnTo>
                    <a:pt x="411" y="109"/>
                  </a:lnTo>
                  <a:lnTo>
                    <a:pt x="425" y="102"/>
                  </a:lnTo>
                  <a:lnTo>
                    <a:pt x="432" y="97"/>
                  </a:lnTo>
                  <a:lnTo>
                    <a:pt x="437" y="94"/>
                  </a:lnTo>
                  <a:lnTo>
                    <a:pt x="441" y="87"/>
                  </a:lnTo>
                  <a:lnTo>
                    <a:pt x="439" y="83"/>
                  </a:lnTo>
                  <a:lnTo>
                    <a:pt x="439" y="80"/>
                  </a:lnTo>
                  <a:lnTo>
                    <a:pt x="439" y="80"/>
                  </a:lnTo>
                  <a:lnTo>
                    <a:pt x="437" y="78"/>
                  </a:lnTo>
                  <a:lnTo>
                    <a:pt x="439" y="76"/>
                  </a:lnTo>
                  <a:lnTo>
                    <a:pt x="442" y="73"/>
                  </a:lnTo>
                  <a:lnTo>
                    <a:pt x="442" y="71"/>
                  </a:lnTo>
                  <a:lnTo>
                    <a:pt x="442" y="69"/>
                  </a:lnTo>
                  <a:lnTo>
                    <a:pt x="441" y="66"/>
                  </a:lnTo>
                  <a:lnTo>
                    <a:pt x="436" y="62"/>
                  </a:lnTo>
                  <a:lnTo>
                    <a:pt x="436" y="62"/>
                  </a:lnTo>
                  <a:lnTo>
                    <a:pt x="430" y="62"/>
                  </a:lnTo>
                  <a:lnTo>
                    <a:pt x="427" y="64"/>
                  </a:lnTo>
                  <a:lnTo>
                    <a:pt x="423" y="66"/>
                  </a:lnTo>
                  <a:lnTo>
                    <a:pt x="422" y="68"/>
                  </a:lnTo>
                  <a:lnTo>
                    <a:pt x="416" y="66"/>
                  </a:lnTo>
                  <a:lnTo>
                    <a:pt x="416" y="66"/>
                  </a:lnTo>
                  <a:lnTo>
                    <a:pt x="413" y="66"/>
                  </a:lnTo>
                  <a:lnTo>
                    <a:pt x="409" y="64"/>
                  </a:lnTo>
                  <a:lnTo>
                    <a:pt x="406" y="66"/>
                  </a:lnTo>
                  <a:lnTo>
                    <a:pt x="399" y="66"/>
                  </a:lnTo>
                  <a:lnTo>
                    <a:pt x="387" y="61"/>
                  </a:lnTo>
                  <a:lnTo>
                    <a:pt x="387" y="61"/>
                  </a:lnTo>
                  <a:lnTo>
                    <a:pt x="385" y="62"/>
                  </a:lnTo>
                  <a:lnTo>
                    <a:pt x="382" y="62"/>
                  </a:lnTo>
                  <a:lnTo>
                    <a:pt x="378" y="59"/>
                  </a:lnTo>
                  <a:lnTo>
                    <a:pt x="378" y="55"/>
                  </a:lnTo>
                  <a:lnTo>
                    <a:pt x="378" y="55"/>
                  </a:lnTo>
                  <a:lnTo>
                    <a:pt x="366" y="48"/>
                  </a:lnTo>
                  <a:lnTo>
                    <a:pt x="359" y="45"/>
                  </a:lnTo>
                  <a:lnTo>
                    <a:pt x="354" y="43"/>
                  </a:lnTo>
                  <a:lnTo>
                    <a:pt x="352" y="45"/>
                  </a:lnTo>
                  <a:lnTo>
                    <a:pt x="350" y="48"/>
                  </a:lnTo>
                  <a:lnTo>
                    <a:pt x="348" y="50"/>
                  </a:lnTo>
                  <a:lnTo>
                    <a:pt x="345" y="50"/>
                  </a:lnTo>
                  <a:lnTo>
                    <a:pt x="345" y="50"/>
                  </a:lnTo>
                  <a:lnTo>
                    <a:pt x="336" y="48"/>
                  </a:lnTo>
                  <a:lnTo>
                    <a:pt x="331" y="50"/>
                  </a:lnTo>
                  <a:lnTo>
                    <a:pt x="328" y="50"/>
                  </a:lnTo>
                  <a:lnTo>
                    <a:pt x="324" y="48"/>
                  </a:lnTo>
                  <a:lnTo>
                    <a:pt x="324" y="48"/>
                  </a:lnTo>
                  <a:lnTo>
                    <a:pt x="321" y="47"/>
                  </a:lnTo>
                  <a:lnTo>
                    <a:pt x="319" y="45"/>
                  </a:lnTo>
                  <a:lnTo>
                    <a:pt x="314" y="45"/>
                  </a:lnTo>
                  <a:lnTo>
                    <a:pt x="308" y="45"/>
                  </a:lnTo>
                  <a:lnTo>
                    <a:pt x="307" y="45"/>
                  </a:lnTo>
                  <a:lnTo>
                    <a:pt x="305" y="43"/>
                  </a:lnTo>
                  <a:lnTo>
                    <a:pt x="305" y="43"/>
                  </a:lnTo>
                  <a:lnTo>
                    <a:pt x="301" y="38"/>
                  </a:lnTo>
                  <a:lnTo>
                    <a:pt x="298" y="36"/>
                  </a:lnTo>
                  <a:lnTo>
                    <a:pt x="288" y="33"/>
                  </a:lnTo>
                  <a:lnTo>
                    <a:pt x="281" y="31"/>
                  </a:lnTo>
                  <a:lnTo>
                    <a:pt x="279" y="29"/>
                  </a:lnTo>
                  <a:lnTo>
                    <a:pt x="279" y="26"/>
                  </a:lnTo>
                  <a:lnTo>
                    <a:pt x="279" y="26"/>
                  </a:lnTo>
                  <a:lnTo>
                    <a:pt x="279" y="24"/>
                  </a:lnTo>
                  <a:lnTo>
                    <a:pt x="277" y="22"/>
                  </a:lnTo>
                  <a:lnTo>
                    <a:pt x="274" y="21"/>
                  </a:lnTo>
                  <a:lnTo>
                    <a:pt x="270" y="21"/>
                  </a:lnTo>
                  <a:lnTo>
                    <a:pt x="265" y="17"/>
                  </a:lnTo>
                  <a:lnTo>
                    <a:pt x="265" y="17"/>
                  </a:lnTo>
                  <a:lnTo>
                    <a:pt x="256" y="19"/>
                  </a:lnTo>
                  <a:lnTo>
                    <a:pt x="249" y="21"/>
                  </a:lnTo>
                  <a:lnTo>
                    <a:pt x="242" y="17"/>
                  </a:lnTo>
                  <a:lnTo>
                    <a:pt x="242" y="17"/>
                  </a:lnTo>
                  <a:lnTo>
                    <a:pt x="232" y="15"/>
                  </a:lnTo>
                  <a:lnTo>
                    <a:pt x="227" y="15"/>
                  </a:lnTo>
                  <a:lnTo>
                    <a:pt x="220" y="17"/>
                  </a:lnTo>
                  <a:lnTo>
                    <a:pt x="209" y="14"/>
                  </a:lnTo>
                  <a:lnTo>
                    <a:pt x="209" y="14"/>
                  </a:lnTo>
                  <a:lnTo>
                    <a:pt x="200" y="12"/>
                  </a:lnTo>
                  <a:lnTo>
                    <a:pt x="194" y="12"/>
                  </a:lnTo>
                  <a:lnTo>
                    <a:pt x="178" y="14"/>
                  </a:lnTo>
                  <a:lnTo>
                    <a:pt x="160" y="14"/>
                  </a:lnTo>
                  <a:lnTo>
                    <a:pt x="150" y="12"/>
                  </a:lnTo>
                  <a:lnTo>
                    <a:pt x="138" y="10"/>
                  </a:lnTo>
                  <a:lnTo>
                    <a:pt x="138" y="10"/>
                  </a:lnTo>
                  <a:lnTo>
                    <a:pt x="126" y="7"/>
                  </a:lnTo>
                  <a:lnTo>
                    <a:pt x="119" y="7"/>
                  </a:lnTo>
                  <a:lnTo>
                    <a:pt x="108" y="8"/>
                  </a:lnTo>
                  <a:lnTo>
                    <a:pt x="93" y="8"/>
                  </a:lnTo>
                  <a:lnTo>
                    <a:pt x="93" y="8"/>
                  </a:lnTo>
                  <a:lnTo>
                    <a:pt x="82" y="8"/>
                  </a:lnTo>
                  <a:lnTo>
                    <a:pt x="75" y="7"/>
                  </a:lnTo>
                  <a:lnTo>
                    <a:pt x="65" y="3"/>
                  </a:lnTo>
                  <a:lnTo>
                    <a:pt x="54" y="0"/>
                  </a:lnTo>
                  <a:lnTo>
                    <a:pt x="49" y="0"/>
                  </a:lnTo>
                  <a:lnTo>
                    <a:pt x="44" y="3"/>
                  </a:lnTo>
                  <a:lnTo>
                    <a:pt x="44" y="3"/>
                  </a:lnTo>
                  <a:lnTo>
                    <a:pt x="39" y="5"/>
                  </a:lnTo>
                  <a:lnTo>
                    <a:pt x="35" y="8"/>
                  </a:lnTo>
                  <a:lnTo>
                    <a:pt x="35" y="14"/>
                  </a:lnTo>
                  <a:lnTo>
                    <a:pt x="33" y="19"/>
                  </a:lnTo>
                  <a:lnTo>
                    <a:pt x="32" y="19"/>
                  </a:lnTo>
                  <a:lnTo>
                    <a:pt x="26" y="21"/>
                  </a:lnTo>
                  <a:lnTo>
                    <a:pt x="26" y="21"/>
                  </a:lnTo>
                  <a:lnTo>
                    <a:pt x="21" y="21"/>
                  </a:lnTo>
                  <a:lnTo>
                    <a:pt x="16" y="22"/>
                  </a:lnTo>
                  <a:lnTo>
                    <a:pt x="5" y="29"/>
                  </a:lnTo>
                  <a:lnTo>
                    <a:pt x="4" y="33"/>
                  </a:lnTo>
                  <a:lnTo>
                    <a:pt x="0" y="36"/>
                  </a:lnTo>
                  <a:lnTo>
                    <a:pt x="0" y="38"/>
                  </a:lnTo>
                  <a:lnTo>
                    <a:pt x="2" y="41"/>
                  </a:lnTo>
                  <a:lnTo>
                    <a:pt x="2" y="41"/>
                  </a:lnTo>
                  <a:lnTo>
                    <a:pt x="7" y="45"/>
                  </a:lnTo>
                  <a:lnTo>
                    <a:pt x="7" y="48"/>
                  </a:lnTo>
                  <a:lnTo>
                    <a:pt x="9" y="54"/>
                  </a:lnTo>
                  <a:lnTo>
                    <a:pt x="12" y="61"/>
                  </a:lnTo>
                  <a:lnTo>
                    <a:pt x="12" y="61"/>
                  </a:lnTo>
                  <a:lnTo>
                    <a:pt x="14" y="68"/>
                  </a:lnTo>
                  <a:lnTo>
                    <a:pt x="14" y="75"/>
                  </a:lnTo>
                  <a:lnTo>
                    <a:pt x="16" y="83"/>
                  </a:lnTo>
                  <a:lnTo>
                    <a:pt x="18" y="92"/>
                  </a:lnTo>
                  <a:lnTo>
                    <a:pt x="18" y="9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7" name="Freeform 1782">
              <a:extLst>
                <a:ext uri="{FF2B5EF4-FFF2-40B4-BE49-F238E27FC236}">
                  <a16:creationId xmlns:a16="http://schemas.microsoft.com/office/drawing/2014/main" id="{EA44E7C8-CC9C-4AD4-8338-82274BE33B58}"/>
                </a:ext>
              </a:extLst>
            </p:cNvPr>
            <p:cNvSpPr>
              <a:spLocks/>
            </p:cNvSpPr>
            <p:nvPr/>
          </p:nvSpPr>
          <p:spPr bwMode="auto">
            <a:xfrm>
              <a:off x="8661325" y="4598121"/>
              <a:ext cx="304827" cy="283683"/>
            </a:xfrm>
            <a:custGeom>
              <a:avLst/>
              <a:gdLst/>
              <a:ahLst/>
              <a:cxnLst>
                <a:cxn ang="0">
                  <a:pos x="10" y="2"/>
                </a:cxn>
                <a:cxn ang="0">
                  <a:pos x="81" y="31"/>
                </a:cxn>
                <a:cxn ang="0">
                  <a:pos x="107" y="42"/>
                </a:cxn>
                <a:cxn ang="0">
                  <a:pos x="132" y="54"/>
                </a:cxn>
                <a:cxn ang="0">
                  <a:pos x="146" y="63"/>
                </a:cxn>
                <a:cxn ang="0">
                  <a:pos x="161" y="68"/>
                </a:cxn>
                <a:cxn ang="0">
                  <a:pos x="191" y="92"/>
                </a:cxn>
                <a:cxn ang="0">
                  <a:pos x="203" y="115"/>
                </a:cxn>
                <a:cxn ang="0">
                  <a:pos x="198" y="127"/>
                </a:cxn>
                <a:cxn ang="0">
                  <a:pos x="215" y="134"/>
                </a:cxn>
                <a:cxn ang="0">
                  <a:pos x="231" y="141"/>
                </a:cxn>
                <a:cxn ang="0">
                  <a:pos x="247" y="153"/>
                </a:cxn>
                <a:cxn ang="0">
                  <a:pos x="257" y="151"/>
                </a:cxn>
                <a:cxn ang="0">
                  <a:pos x="269" y="164"/>
                </a:cxn>
                <a:cxn ang="0">
                  <a:pos x="273" y="183"/>
                </a:cxn>
                <a:cxn ang="0">
                  <a:pos x="268" y="185"/>
                </a:cxn>
                <a:cxn ang="0">
                  <a:pos x="245" y="186"/>
                </a:cxn>
                <a:cxn ang="0">
                  <a:pos x="240" y="188"/>
                </a:cxn>
                <a:cxn ang="0">
                  <a:pos x="247" y="205"/>
                </a:cxn>
                <a:cxn ang="0">
                  <a:pos x="273" y="235"/>
                </a:cxn>
                <a:cxn ang="0">
                  <a:pos x="282" y="242"/>
                </a:cxn>
                <a:cxn ang="0">
                  <a:pos x="292" y="273"/>
                </a:cxn>
                <a:cxn ang="0">
                  <a:pos x="306" y="284"/>
                </a:cxn>
                <a:cxn ang="0">
                  <a:pos x="320" y="280"/>
                </a:cxn>
                <a:cxn ang="0">
                  <a:pos x="323" y="289"/>
                </a:cxn>
                <a:cxn ang="0">
                  <a:pos x="322" y="301"/>
                </a:cxn>
                <a:cxn ang="0">
                  <a:pos x="334" y="306"/>
                </a:cxn>
                <a:cxn ang="0">
                  <a:pos x="346" y="312"/>
                </a:cxn>
                <a:cxn ang="0">
                  <a:pos x="341" y="320"/>
                </a:cxn>
                <a:cxn ang="0">
                  <a:pos x="363" y="331"/>
                </a:cxn>
                <a:cxn ang="0">
                  <a:pos x="376" y="336"/>
                </a:cxn>
                <a:cxn ang="0">
                  <a:pos x="376" y="348"/>
                </a:cxn>
                <a:cxn ang="0">
                  <a:pos x="360" y="353"/>
                </a:cxn>
                <a:cxn ang="0">
                  <a:pos x="351" y="352"/>
                </a:cxn>
                <a:cxn ang="0">
                  <a:pos x="332" y="341"/>
                </a:cxn>
                <a:cxn ang="0">
                  <a:pos x="306" y="334"/>
                </a:cxn>
                <a:cxn ang="0">
                  <a:pos x="266" y="322"/>
                </a:cxn>
                <a:cxn ang="0">
                  <a:pos x="242" y="292"/>
                </a:cxn>
                <a:cxn ang="0">
                  <a:pos x="226" y="270"/>
                </a:cxn>
                <a:cxn ang="0">
                  <a:pos x="205" y="242"/>
                </a:cxn>
                <a:cxn ang="0">
                  <a:pos x="188" y="237"/>
                </a:cxn>
                <a:cxn ang="0">
                  <a:pos x="168" y="230"/>
                </a:cxn>
                <a:cxn ang="0">
                  <a:pos x="165" y="225"/>
                </a:cxn>
                <a:cxn ang="0">
                  <a:pos x="146" y="230"/>
                </a:cxn>
                <a:cxn ang="0">
                  <a:pos x="128" y="218"/>
                </a:cxn>
                <a:cxn ang="0">
                  <a:pos x="132" y="233"/>
                </a:cxn>
                <a:cxn ang="0">
                  <a:pos x="125" y="240"/>
                </a:cxn>
                <a:cxn ang="0">
                  <a:pos x="123" y="244"/>
                </a:cxn>
                <a:cxn ang="0">
                  <a:pos x="109" y="252"/>
                </a:cxn>
                <a:cxn ang="0">
                  <a:pos x="104" y="256"/>
                </a:cxn>
                <a:cxn ang="0">
                  <a:pos x="116" y="266"/>
                </a:cxn>
                <a:cxn ang="0">
                  <a:pos x="120" y="280"/>
                </a:cxn>
                <a:cxn ang="0">
                  <a:pos x="114" y="284"/>
                </a:cxn>
                <a:cxn ang="0">
                  <a:pos x="101" y="291"/>
                </a:cxn>
                <a:cxn ang="0">
                  <a:pos x="87" y="296"/>
                </a:cxn>
                <a:cxn ang="0">
                  <a:pos x="74" y="291"/>
                </a:cxn>
                <a:cxn ang="0">
                  <a:pos x="41" y="291"/>
                </a:cxn>
                <a:cxn ang="0">
                  <a:pos x="33" y="289"/>
                </a:cxn>
                <a:cxn ang="0">
                  <a:pos x="1" y="252"/>
                </a:cxn>
              </a:cxnLst>
              <a:rect l="0" t="0" r="r" b="b"/>
              <a:pathLst>
                <a:path w="379" h="353">
                  <a:moveTo>
                    <a:pt x="0" y="0"/>
                  </a:moveTo>
                  <a:lnTo>
                    <a:pt x="0" y="0"/>
                  </a:lnTo>
                  <a:lnTo>
                    <a:pt x="10" y="2"/>
                  </a:lnTo>
                  <a:lnTo>
                    <a:pt x="22" y="5"/>
                  </a:lnTo>
                  <a:lnTo>
                    <a:pt x="52" y="17"/>
                  </a:lnTo>
                  <a:lnTo>
                    <a:pt x="81" y="31"/>
                  </a:lnTo>
                  <a:lnTo>
                    <a:pt x="95" y="38"/>
                  </a:lnTo>
                  <a:lnTo>
                    <a:pt x="107" y="42"/>
                  </a:lnTo>
                  <a:lnTo>
                    <a:pt x="107" y="42"/>
                  </a:lnTo>
                  <a:lnTo>
                    <a:pt x="116" y="43"/>
                  </a:lnTo>
                  <a:lnTo>
                    <a:pt x="123" y="47"/>
                  </a:lnTo>
                  <a:lnTo>
                    <a:pt x="132" y="54"/>
                  </a:lnTo>
                  <a:lnTo>
                    <a:pt x="137" y="59"/>
                  </a:lnTo>
                  <a:lnTo>
                    <a:pt x="142" y="61"/>
                  </a:lnTo>
                  <a:lnTo>
                    <a:pt x="146" y="63"/>
                  </a:lnTo>
                  <a:lnTo>
                    <a:pt x="146" y="63"/>
                  </a:lnTo>
                  <a:lnTo>
                    <a:pt x="153" y="63"/>
                  </a:lnTo>
                  <a:lnTo>
                    <a:pt x="161" y="68"/>
                  </a:lnTo>
                  <a:lnTo>
                    <a:pt x="172" y="75"/>
                  </a:lnTo>
                  <a:lnTo>
                    <a:pt x="181" y="84"/>
                  </a:lnTo>
                  <a:lnTo>
                    <a:pt x="191" y="92"/>
                  </a:lnTo>
                  <a:lnTo>
                    <a:pt x="198" y="101"/>
                  </a:lnTo>
                  <a:lnTo>
                    <a:pt x="202" y="108"/>
                  </a:lnTo>
                  <a:lnTo>
                    <a:pt x="203" y="115"/>
                  </a:lnTo>
                  <a:lnTo>
                    <a:pt x="203" y="115"/>
                  </a:lnTo>
                  <a:lnTo>
                    <a:pt x="200" y="122"/>
                  </a:lnTo>
                  <a:lnTo>
                    <a:pt x="198" y="127"/>
                  </a:lnTo>
                  <a:lnTo>
                    <a:pt x="200" y="129"/>
                  </a:lnTo>
                  <a:lnTo>
                    <a:pt x="202" y="131"/>
                  </a:lnTo>
                  <a:lnTo>
                    <a:pt x="215" y="134"/>
                  </a:lnTo>
                  <a:lnTo>
                    <a:pt x="215" y="134"/>
                  </a:lnTo>
                  <a:lnTo>
                    <a:pt x="224" y="138"/>
                  </a:lnTo>
                  <a:lnTo>
                    <a:pt x="231" y="141"/>
                  </a:lnTo>
                  <a:lnTo>
                    <a:pt x="238" y="148"/>
                  </a:lnTo>
                  <a:lnTo>
                    <a:pt x="243" y="151"/>
                  </a:lnTo>
                  <a:lnTo>
                    <a:pt x="247" y="153"/>
                  </a:lnTo>
                  <a:lnTo>
                    <a:pt x="252" y="151"/>
                  </a:lnTo>
                  <a:lnTo>
                    <a:pt x="252" y="151"/>
                  </a:lnTo>
                  <a:lnTo>
                    <a:pt x="257" y="151"/>
                  </a:lnTo>
                  <a:lnTo>
                    <a:pt x="261" y="155"/>
                  </a:lnTo>
                  <a:lnTo>
                    <a:pt x="266" y="158"/>
                  </a:lnTo>
                  <a:lnTo>
                    <a:pt x="269" y="164"/>
                  </a:lnTo>
                  <a:lnTo>
                    <a:pt x="275" y="174"/>
                  </a:lnTo>
                  <a:lnTo>
                    <a:pt x="275" y="179"/>
                  </a:lnTo>
                  <a:lnTo>
                    <a:pt x="273" y="183"/>
                  </a:lnTo>
                  <a:lnTo>
                    <a:pt x="273" y="183"/>
                  </a:lnTo>
                  <a:lnTo>
                    <a:pt x="271" y="185"/>
                  </a:lnTo>
                  <a:lnTo>
                    <a:pt x="268" y="185"/>
                  </a:lnTo>
                  <a:lnTo>
                    <a:pt x="259" y="185"/>
                  </a:lnTo>
                  <a:lnTo>
                    <a:pt x="249" y="185"/>
                  </a:lnTo>
                  <a:lnTo>
                    <a:pt x="245" y="186"/>
                  </a:lnTo>
                  <a:lnTo>
                    <a:pt x="242" y="186"/>
                  </a:lnTo>
                  <a:lnTo>
                    <a:pt x="242" y="186"/>
                  </a:lnTo>
                  <a:lnTo>
                    <a:pt x="240" y="188"/>
                  </a:lnTo>
                  <a:lnTo>
                    <a:pt x="240" y="191"/>
                  </a:lnTo>
                  <a:lnTo>
                    <a:pt x="242" y="197"/>
                  </a:lnTo>
                  <a:lnTo>
                    <a:pt x="247" y="205"/>
                  </a:lnTo>
                  <a:lnTo>
                    <a:pt x="252" y="214"/>
                  </a:lnTo>
                  <a:lnTo>
                    <a:pt x="268" y="230"/>
                  </a:lnTo>
                  <a:lnTo>
                    <a:pt x="273" y="235"/>
                  </a:lnTo>
                  <a:lnTo>
                    <a:pt x="278" y="238"/>
                  </a:lnTo>
                  <a:lnTo>
                    <a:pt x="278" y="238"/>
                  </a:lnTo>
                  <a:lnTo>
                    <a:pt x="282" y="242"/>
                  </a:lnTo>
                  <a:lnTo>
                    <a:pt x="285" y="249"/>
                  </a:lnTo>
                  <a:lnTo>
                    <a:pt x="290" y="265"/>
                  </a:lnTo>
                  <a:lnTo>
                    <a:pt x="292" y="273"/>
                  </a:lnTo>
                  <a:lnTo>
                    <a:pt x="297" y="279"/>
                  </a:lnTo>
                  <a:lnTo>
                    <a:pt x="303" y="282"/>
                  </a:lnTo>
                  <a:lnTo>
                    <a:pt x="306" y="284"/>
                  </a:lnTo>
                  <a:lnTo>
                    <a:pt x="311" y="282"/>
                  </a:lnTo>
                  <a:lnTo>
                    <a:pt x="311" y="282"/>
                  </a:lnTo>
                  <a:lnTo>
                    <a:pt x="320" y="280"/>
                  </a:lnTo>
                  <a:lnTo>
                    <a:pt x="325" y="282"/>
                  </a:lnTo>
                  <a:lnTo>
                    <a:pt x="325" y="285"/>
                  </a:lnTo>
                  <a:lnTo>
                    <a:pt x="323" y="289"/>
                  </a:lnTo>
                  <a:lnTo>
                    <a:pt x="322" y="294"/>
                  </a:lnTo>
                  <a:lnTo>
                    <a:pt x="322" y="299"/>
                  </a:lnTo>
                  <a:lnTo>
                    <a:pt x="322" y="301"/>
                  </a:lnTo>
                  <a:lnTo>
                    <a:pt x="325" y="303"/>
                  </a:lnTo>
                  <a:lnTo>
                    <a:pt x="334" y="306"/>
                  </a:lnTo>
                  <a:lnTo>
                    <a:pt x="334" y="306"/>
                  </a:lnTo>
                  <a:lnTo>
                    <a:pt x="344" y="306"/>
                  </a:lnTo>
                  <a:lnTo>
                    <a:pt x="348" y="308"/>
                  </a:lnTo>
                  <a:lnTo>
                    <a:pt x="346" y="312"/>
                  </a:lnTo>
                  <a:lnTo>
                    <a:pt x="344" y="315"/>
                  </a:lnTo>
                  <a:lnTo>
                    <a:pt x="341" y="319"/>
                  </a:lnTo>
                  <a:lnTo>
                    <a:pt x="341" y="320"/>
                  </a:lnTo>
                  <a:lnTo>
                    <a:pt x="343" y="322"/>
                  </a:lnTo>
                  <a:lnTo>
                    <a:pt x="350" y="326"/>
                  </a:lnTo>
                  <a:lnTo>
                    <a:pt x="363" y="331"/>
                  </a:lnTo>
                  <a:lnTo>
                    <a:pt x="363" y="331"/>
                  </a:lnTo>
                  <a:lnTo>
                    <a:pt x="372" y="334"/>
                  </a:lnTo>
                  <a:lnTo>
                    <a:pt x="376" y="336"/>
                  </a:lnTo>
                  <a:lnTo>
                    <a:pt x="379" y="341"/>
                  </a:lnTo>
                  <a:lnTo>
                    <a:pt x="377" y="345"/>
                  </a:lnTo>
                  <a:lnTo>
                    <a:pt x="376" y="348"/>
                  </a:lnTo>
                  <a:lnTo>
                    <a:pt x="370" y="350"/>
                  </a:lnTo>
                  <a:lnTo>
                    <a:pt x="365" y="352"/>
                  </a:lnTo>
                  <a:lnTo>
                    <a:pt x="360" y="353"/>
                  </a:lnTo>
                  <a:lnTo>
                    <a:pt x="360" y="353"/>
                  </a:lnTo>
                  <a:lnTo>
                    <a:pt x="355" y="353"/>
                  </a:lnTo>
                  <a:lnTo>
                    <a:pt x="351" y="352"/>
                  </a:lnTo>
                  <a:lnTo>
                    <a:pt x="344" y="346"/>
                  </a:lnTo>
                  <a:lnTo>
                    <a:pt x="339" y="345"/>
                  </a:lnTo>
                  <a:lnTo>
                    <a:pt x="332" y="341"/>
                  </a:lnTo>
                  <a:lnTo>
                    <a:pt x="322" y="338"/>
                  </a:lnTo>
                  <a:lnTo>
                    <a:pt x="306" y="334"/>
                  </a:lnTo>
                  <a:lnTo>
                    <a:pt x="306" y="334"/>
                  </a:lnTo>
                  <a:lnTo>
                    <a:pt x="278" y="329"/>
                  </a:lnTo>
                  <a:lnTo>
                    <a:pt x="271" y="326"/>
                  </a:lnTo>
                  <a:lnTo>
                    <a:pt x="266" y="322"/>
                  </a:lnTo>
                  <a:lnTo>
                    <a:pt x="261" y="319"/>
                  </a:lnTo>
                  <a:lnTo>
                    <a:pt x="255" y="312"/>
                  </a:lnTo>
                  <a:lnTo>
                    <a:pt x="242" y="292"/>
                  </a:lnTo>
                  <a:lnTo>
                    <a:pt x="242" y="292"/>
                  </a:lnTo>
                  <a:lnTo>
                    <a:pt x="233" y="280"/>
                  </a:lnTo>
                  <a:lnTo>
                    <a:pt x="226" y="270"/>
                  </a:lnTo>
                  <a:lnTo>
                    <a:pt x="217" y="254"/>
                  </a:lnTo>
                  <a:lnTo>
                    <a:pt x="212" y="247"/>
                  </a:lnTo>
                  <a:lnTo>
                    <a:pt x="205" y="242"/>
                  </a:lnTo>
                  <a:lnTo>
                    <a:pt x="198" y="238"/>
                  </a:lnTo>
                  <a:lnTo>
                    <a:pt x="188" y="237"/>
                  </a:lnTo>
                  <a:lnTo>
                    <a:pt x="188" y="237"/>
                  </a:lnTo>
                  <a:lnTo>
                    <a:pt x="177" y="235"/>
                  </a:lnTo>
                  <a:lnTo>
                    <a:pt x="172" y="232"/>
                  </a:lnTo>
                  <a:lnTo>
                    <a:pt x="168" y="230"/>
                  </a:lnTo>
                  <a:lnTo>
                    <a:pt x="167" y="228"/>
                  </a:lnTo>
                  <a:lnTo>
                    <a:pt x="167" y="226"/>
                  </a:lnTo>
                  <a:lnTo>
                    <a:pt x="165" y="225"/>
                  </a:lnTo>
                  <a:lnTo>
                    <a:pt x="153" y="228"/>
                  </a:lnTo>
                  <a:lnTo>
                    <a:pt x="153" y="228"/>
                  </a:lnTo>
                  <a:lnTo>
                    <a:pt x="146" y="230"/>
                  </a:lnTo>
                  <a:lnTo>
                    <a:pt x="139" y="228"/>
                  </a:lnTo>
                  <a:lnTo>
                    <a:pt x="134" y="225"/>
                  </a:lnTo>
                  <a:lnTo>
                    <a:pt x="128" y="218"/>
                  </a:lnTo>
                  <a:lnTo>
                    <a:pt x="128" y="218"/>
                  </a:lnTo>
                  <a:lnTo>
                    <a:pt x="132" y="228"/>
                  </a:lnTo>
                  <a:lnTo>
                    <a:pt x="132" y="233"/>
                  </a:lnTo>
                  <a:lnTo>
                    <a:pt x="132" y="237"/>
                  </a:lnTo>
                  <a:lnTo>
                    <a:pt x="130" y="238"/>
                  </a:lnTo>
                  <a:lnTo>
                    <a:pt x="125" y="240"/>
                  </a:lnTo>
                  <a:lnTo>
                    <a:pt x="125" y="240"/>
                  </a:lnTo>
                  <a:lnTo>
                    <a:pt x="123" y="244"/>
                  </a:lnTo>
                  <a:lnTo>
                    <a:pt x="123" y="244"/>
                  </a:lnTo>
                  <a:lnTo>
                    <a:pt x="123" y="247"/>
                  </a:lnTo>
                  <a:lnTo>
                    <a:pt x="120" y="249"/>
                  </a:lnTo>
                  <a:lnTo>
                    <a:pt x="109" y="252"/>
                  </a:lnTo>
                  <a:lnTo>
                    <a:pt x="106" y="252"/>
                  </a:lnTo>
                  <a:lnTo>
                    <a:pt x="102" y="254"/>
                  </a:lnTo>
                  <a:lnTo>
                    <a:pt x="104" y="256"/>
                  </a:lnTo>
                  <a:lnTo>
                    <a:pt x="109" y="259"/>
                  </a:lnTo>
                  <a:lnTo>
                    <a:pt x="109" y="259"/>
                  </a:lnTo>
                  <a:lnTo>
                    <a:pt x="116" y="266"/>
                  </a:lnTo>
                  <a:lnTo>
                    <a:pt x="120" y="273"/>
                  </a:lnTo>
                  <a:lnTo>
                    <a:pt x="120" y="279"/>
                  </a:lnTo>
                  <a:lnTo>
                    <a:pt x="120" y="280"/>
                  </a:lnTo>
                  <a:lnTo>
                    <a:pt x="118" y="282"/>
                  </a:lnTo>
                  <a:lnTo>
                    <a:pt x="114" y="284"/>
                  </a:lnTo>
                  <a:lnTo>
                    <a:pt x="114" y="284"/>
                  </a:lnTo>
                  <a:lnTo>
                    <a:pt x="111" y="284"/>
                  </a:lnTo>
                  <a:lnTo>
                    <a:pt x="107" y="285"/>
                  </a:lnTo>
                  <a:lnTo>
                    <a:pt x="101" y="291"/>
                  </a:lnTo>
                  <a:lnTo>
                    <a:pt x="95" y="294"/>
                  </a:lnTo>
                  <a:lnTo>
                    <a:pt x="92" y="296"/>
                  </a:lnTo>
                  <a:lnTo>
                    <a:pt x="87" y="296"/>
                  </a:lnTo>
                  <a:lnTo>
                    <a:pt x="81" y="294"/>
                  </a:lnTo>
                  <a:lnTo>
                    <a:pt x="81" y="294"/>
                  </a:lnTo>
                  <a:lnTo>
                    <a:pt x="74" y="291"/>
                  </a:lnTo>
                  <a:lnTo>
                    <a:pt x="67" y="291"/>
                  </a:lnTo>
                  <a:lnTo>
                    <a:pt x="54" y="291"/>
                  </a:lnTo>
                  <a:lnTo>
                    <a:pt x="41" y="291"/>
                  </a:lnTo>
                  <a:lnTo>
                    <a:pt x="36" y="291"/>
                  </a:lnTo>
                  <a:lnTo>
                    <a:pt x="33" y="289"/>
                  </a:lnTo>
                  <a:lnTo>
                    <a:pt x="33" y="289"/>
                  </a:lnTo>
                  <a:lnTo>
                    <a:pt x="20" y="272"/>
                  </a:lnTo>
                  <a:lnTo>
                    <a:pt x="12" y="261"/>
                  </a:lnTo>
                  <a:lnTo>
                    <a:pt x="1" y="252"/>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108" name="Group 734">
              <a:extLst>
                <a:ext uri="{FF2B5EF4-FFF2-40B4-BE49-F238E27FC236}">
                  <a16:creationId xmlns:a16="http://schemas.microsoft.com/office/drawing/2014/main" id="{487203E3-A606-4D66-984A-85049A19330F}"/>
                </a:ext>
              </a:extLst>
            </p:cNvPr>
            <p:cNvGrpSpPr>
              <a:grpSpLocks/>
            </p:cNvGrpSpPr>
            <p:nvPr/>
          </p:nvGrpSpPr>
          <p:grpSpPr bwMode="auto">
            <a:xfrm>
              <a:off x="7399748" y="4325017"/>
              <a:ext cx="1263358" cy="563844"/>
              <a:chOff x="6496330" y="4095583"/>
              <a:chExt cx="1138327" cy="508825"/>
            </a:xfrm>
            <a:solidFill>
              <a:srgbClr val="34715A"/>
            </a:solidFill>
          </p:grpSpPr>
          <p:sp>
            <p:nvSpPr>
              <p:cNvPr id="398" name="Freeform 1784">
                <a:extLst>
                  <a:ext uri="{FF2B5EF4-FFF2-40B4-BE49-F238E27FC236}">
                    <a16:creationId xmlns:a16="http://schemas.microsoft.com/office/drawing/2014/main" id="{41B19955-EE3D-4B92-A2CD-6414A3E82EA4}"/>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9" name="Freeform 1785">
                <a:extLst>
                  <a:ext uri="{FF2B5EF4-FFF2-40B4-BE49-F238E27FC236}">
                    <a16:creationId xmlns:a16="http://schemas.microsoft.com/office/drawing/2014/main" id="{6F47CE51-98BA-4656-A11A-1BFA3E35CE80}"/>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0" name="Freeform 1786">
                <a:extLst>
                  <a:ext uri="{FF2B5EF4-FFF2-40B4-BE49-F238E27FC236}">
                    <a16:creationId xmlns:a16="http://schemas.microsoft.com/office/drawing/2014/main" id="{5707BB9B-7ED2-4873-ADD1-4F21F5D587BB}"/>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lnTo>
                      <a:pt x="305" y="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1" name="Freeform 1787">
                <a:extLst>
                  <a:ext uri="{FF2B5EF4-FFF2-40B4-BE49-F238E27FC236}">
                    <a16:creationId xmlns:a16="http://schemas.microsoft.com/office/drawing/2014/main" id="{FB64FD2F-5677-4D9C-BAD0-C1AB668BB691}"/>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2" name="Freeform 1788">
                <a:extLst>
                  <a:ext uri="{FF2B5EF4-FFF2-40B4-BE49-F238E27FC236}">
                    <a16:creationId xmlns:a16="http://schemas.microsoft.com/office/drawing/2014/main" id="{6B6BA44A-9F3F-433B-BD67-7726E5238F33}"/>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3" name="Freeform 1789">
                <a:extLst>
                  <a:ext uri="{FF2B5EF4-FFF2-40B4-BE49-F238E27FC236}">
                    <a16:creationId xmlns:a16="http://schemas.microsoft.com/office/drawing/2014/main" id="{96228929-E9CB-47A5-8DA4-A0FFB171A6A6}"/>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4" name="Freeform 1790">
                <a:extLst>
                  <a:ext uri="{FF2B5EF4-FFF2-40B4-BE49-F238E27FC236}">
                    <a16:creationId xmlns:a16="http://schemas.microsoft.com/office/drawing/2014/main" id="{DC07AC4A-57D1-493F-B989-48ED9619A69B}"/>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5" name="Freeform 1791">
                <a:extLst>
                  <a:ext uri="{FF2B5EF4-FFF2-40B4-BE49-F238E27FC236}">
                    <a16:creationId xmlns:a16="http://schemas.microsoft.com/office/drawing/2014/main" id="{6E4C170B-AD88-4744-8FC8-8790E2A54E6D}"/>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6" name="Freeform 1792">
                <a:extLst>
                  <a:ext uri="{FF2B5EF4-FFF2-40B4-BE49-F238E27FC236}">
                    <a16:creationId xmlns:a16="http://schemas.microsoft.com/office/drawing/2014/main" id="{A0DD8DCF-2EC8-463A-94CC-34E3814B71D4}"/>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lnTo>
                      <a:pt x="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7" name="Freeform 1793">
                <a:extLst>
                  <a:ext uri="{FF2B5EF4-FFF2-40B4-BE49-F238E27FC236}">
                    <a16:creationId xmlns:a16="http://schemas.microsoft.com/office/drawing/2014/main" id="{0660A919-B25A-41A9-900A-3675BC75038C}"/>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8" name="Freeform 1794">
                <a:extLst>
                  <a:ext uri="{FF2B5EF4-FFF2-40B4-BE49-F238E27FC236}">
                    <a16:creationId xmlns:a16="http://schemas.microsoft.com/office/drawing/2014/main" id="{43598B2A-43F3-451E-8491-2ED44E03F314}"/>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9" name="Freeform 1795">
                <a:extLst>
                  <a:ext uri="{FF2B5EF4-FFF2-40B4-BE49-F238E27FC236}">
                    <a16:creationId xmlns:a16="http://schemas.microsoft.com/office/drawing/2014/main" id="{710FADA7-FDD5-4B0D-94DD-3084C57952B7}"/>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lnTo>
                      <a:pt x="3"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0" name="Freeform 1796">
                <a:extLst>
                  <a:ext uri="{FF2B5EF4-FFF2-40B4-BE49-F238E27FC236}">
                    <a16:creationId xmlns:a16="http://schemas.microsoft.com/office/drawing/2014/main" id="{B032CC69-42C0-4DE2-AB83-27F0A1D0A685}"/>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1" name="Freeform 1797">
                <a:extLst>
                  <a:ext uri="{FF2B5EF4-FFF2-40B4-BE49-F238E27FC236}">
                    <a16:creationId xmlns:a16="http://schemas.microsoft.com/office/drawing/2014/main" id="{79AAC357-BE13-4E92-AE30-D8B14F9C0791}"/>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2" name="Freeform 1798">
                <a:extLst>
                  <a:ext uri="{FF2B5EF4-FFF2-40B4-BE49-F238E27FC236}">
                    <a16:creationId xmlns:a16="http://schemas.microsoft.com/office/drawing/2014/main" id="{47961FFC-5AF5-4EC6-9B0B-BF0E18FC9A68}"/>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3" name="Freeform 1799">
                <a:extLst>
                  <a:ext uri="{FF2B5EF4-FFF2-40B4-BE49-F238E27FC236}">
                    <a16:creationId xmlns:a16="http://schemas.microsoft.com/office/drawing/2014/main" id="{6AB8F493-CD0D-433B-949B-68B2443F4ADE}"/>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4" name="Freeform 1800">
                <a:extLst>
                  <a:ext uri="{FF2B5EF4-FFF2-40B4-BE49-F238E27FC236}">
                    <a16:creationId xmlns:a16="http://schemas.microsoft.com/office/drawing/2014/main" id="{82A7CB1B-8637-4FD4-BD29-DF3E66D9CE9C}"/>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5" name="Freeform 1801">
                <a:extLst>
                  <a:ext uri="{FF2B5EF4-FFF2-40B4-BE49-F238E27FC236}">
                    <a16:creationId xmlns:a16="http://schemas.microsoft.com/office/drawing/2014/main" id="{F2984DD9-0D84-4279-BD3B-70AB42A774C0}"/>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6" name="Freeform 1802">
                <a:extLst>
                  <a:ext uri="{FF2B5EF4-FFF2-40B4-BE49-F238E27FC236}">
                    <a16:creationId xmlns:a16="http://schemas.microsoft.com/office/drawing/2014/main" id="{991F0C75-08C1-4D97-B4E8-BF5E5BD85D67}"/>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7" name="Freeform 1803">
                <a:extLst>
                  <a:ext uri="{FF2B5EF4-FFF2-40B4-BE49-F238E27FC236}">
                    <a16:creationId xmlns:a16="http://schemas.microsoft.com/office/drawing/2014/main" id="{0ACF1C89-8E72-40CC-A9E4-08878F531948}"/>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8" name="Freeform 1804">
                <a:extLst>
                  <a:ext uri="{FF2B5EF4-FFF2-40B4-BE49-F238E27FC236}">
                    <a16:creationId xmlns:a16="http://schemas.microsoft.com/office/drawing/2014/main" id="{4F436A1F-CEDC-4D3D-9B7E-009ADEBF2EDE}"/>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lnTo>
                      <a:pt x="0"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9" name="Freeform 1805">
                <a:extLst>
                  <a:ext uri="{FF2B5EF4-FFF2-40B4-BE49-F238E27FC236}">
                    <a16:creationId xmlns:a16="http://schemas.microsoft.com/office/drawing/2014/main" id="{98D3B8F1-71CD-4E86-8576-2D505B6D5FD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0" name="Freeform 1806">
                <a:extLst>
                  <a:ext uri="{FF2B5EF4-FFF2-40B4-BE49-F238E27FC236}">
                    <a16:creationId xmlns:a16="http://schemas.microsoft.com/office/drawing/2014/main" id="{DADA4CE8-325B-4FF5-A510-E2833DC921BD}"/>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1" name="Freeform 1807">
                <a:extLst>
                  <a:ext uri="{FF2B5EF4-FFF2-40B4-BE49-F238E27FC236}">
                    <a16:creationId xmlns:a16="http://schemas.microsoft.com/office/drawing/2014/main" id="{97F2D883-BD9D-4B1A-9214-FFCF792ED64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lnTo>
                      <a:pt x="2" y="1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2" name="Freeform 1808">
                <a:extLst>
                  <a:ext uri="{FF2B5EF4-FFF2-40B4-BE49-F238E27FC236}">
                    <a16:creationId xmlns:a16="http://schemas.microsoft.com/office/drawing/2014/main" id="{533CF788-6855-4494-97CE-60D0B0DD0F20}"/>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3" name="Freeform 1809">
                <a:extLst>
                  <a:ext uri="{FF2B5EF4-FFF2-40B4-BE49-F238E27FC236}">
                    <a16:creationId xmlns:a16="http://schemas.microsoft.com/office/drawing/2014/main" id="{DB4F35B1-330B-46C6-B77D-D51A966C463E}"/>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4" name="Freeform 1810">
                <a:extLst>
                  <a:ext uri="{FF2B5EF4-FFF2-40B4-BE49-F238E27FC236}">
                    <a16:creationId xmlns:a16="http://schemas.microsoft.com/office/drawing/2014/main" id="{2ED4902D-C09C-4ED9-91FE-41A0DE70D00D}"/>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5" name="Freeform 1811">
                <a:extLst>
                  <a:ext uri="{FF2B5EF4-FFF2-40B4-BE49-F238E27FC236}">
                    <a16:creationId xmlns:a16="http://schemas.microsoft.com/office/drawing/2014/main" id="{DDB0B1F5-C3F0-48AF-BF04-19AC46B01B52}"/>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6" name="Freeform 1812">
                <a:extLst>
                  <a:ext uri="{FF2B5EF4-FFF2-40B4-BE49-F238E27FC236}">
                    <a16:creationId xmlns:a16="http://schemas.microsoft.com/office/drawing/2014/main" id="{CA8566ED-A63A-4FFA-8DA5-60460B0401F1}"/>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7" name="Freeform 1813">
                <a:extLst>
                  <a:ext uri="{FF2B5EF4-FFF2-40B4-BE49-F238E27FC236}">
                    <a16:creationId xmlns:a16="http://schemas.microsoft.com/office/drawing/2014/main" id="{120CDFE8-B8B4-4ACC-A9A6-3A13669BE17D}"/>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lnTo>
                      <a:pt x="0" y="3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8" name="Freeform 1814">
                <a:extLst>
                  <a:ext uri="{FF2B5EF4-FFF2-40B4-BE49-F238E27FC236}">
                    <a16:creationId xmlns:a16="http://schemas.microsoft.com/office/drawing/2014/main" id="{EB35DBA3-EEBD-49E7-9622-88F6EC79D3E5}"/>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9" name="Freeform 1815">
                <a:extLst>
                  <a:ext uri="{FF2B5EF4-FFF2-40B4-BE49-F238E27FC236}">
                    <a16:creationId xmlns:a16="http://schemas.microsoft.com/office/drawing/2014/main" id="{43EBFCB8-9320-4827-8FE7-CE568DA28BD7}"/>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0" name="Freeform 1816">
                <a:extLst>
                  <a:ext uri="{FF2B5EF4-FFF2-40B4-BE49-F238E27FC236}">
                    <a16:creationId xmlns:a16="http://schemas.microsoft.com/office/drawing/2014/main" id="{DE87EEEB-BB1F-4D64-B44C-EBD1D728F6B5}"/>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lnTo>
                      <a:pt x="6"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1" name="Freeform 1817">
                <a:extLst>
                  <a:ext uri="{FF2B5EF4-FFF2-40B4-BE49-F238E27FC236}">
                    <a16:creationId xmlns:a16="http://schemas.microsoft.com/office/drawing/2014/main" id="{5A3D1E61-41D3-4299-AE75-FEA847916CF1}"/>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2" name="Freeform 1818">
                <a:extLst>
                  <a:ext uri="{FF2B5EF4-FFF2-40B4-BE49-F238E27FC236}">
                    <a16:creationId xmlns:a16="http://schemas.microsoft.com/office/drawing/2014/main" id="{0AEE6B40-31E8-404F-89AF-FFDA7808432A}"/>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3" name="Freeform 1819">
                <a:extLst>
                  <a:ext uri="{FF2B5EF4-FFF2-40B4-BE49-F238E27FC236}">
                    <a16:creationId xmlns:a16="http://schemas.microsoft.com/office/drawing/2014/main" id="{8BC12485-8A25-4A6E-AFC1-CAAB98018538}"/>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4" name="Freeform 1820">
                <a:extLst>
                  <a:ext uri="{FF2B5EF4-FFF2-40B4-BE49-F238E27FC236}">
                    <a16:creationId xmlns:a16="http://schemas.microsoft.com/office/drawing/2014/main" id="{215D246B-24A7-419B-B4FB-DF5A188260D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5" name="Freeform 1821">
                <a:extLst>
                  <a:ext uri="{FF2B5EF4-FFF2-40B4-BE49-F238E27FC236}">
                    <a16:creationId xmlns:a16="http://schemas.microsoft.com/office/drawing/2014/main" id="{EA062982-EB9C-4329-96C9-5288882A6D6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6" name="Freeform 1822">
                <a:extLst>
                  <a:ext uri="{FF2B5EF4-FFF2-40B4-BE49-F238E27FC236}">
                    <a16:creationId xmlns:a16="http://schemas.microsoft.com/office/drawing/2014/main" id="{889B11D2-65FF-46BD-92B6-7A76C990629C}"/>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lnTo>
                      <a:pt x="1"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7" name="Freeform 1823">
                <a:extLst>
                  <a:ext uri="{FF2B5EF4-FFF2-40B4-BE49-F238E27FC236}">
                    <a16:creationId xmlns:a16="http://schemas.microsoft.com/office/drawing/2014/main" id="{95CEDA96-85A4-495A-8226-C58497209063}"/>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8" name="Freeform 1824">
                <a:extLst>
                  <a:ext uri="{FF2B5EF4-FFF2-40B4-BE49-F238E27FC236}">
                    <a16:creationId xmlns:a16="http://schemas.microsoft.com/office/drawing/2014/main" id="{BD133EEE-8EC5-426D-9EAF-C63C45A6DC60}"/>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9" name="Freeform 1825">
                <a:extLst>
                  <a:ext uri="{FF2B5EF4-FFF2-40B4-BE49-F238E27FC236}">
                    <a16:creationId xmlns:a16="http://schemas.microsoft.com/office/drawing/2014/main" id="{0A57CD21-77C5-4582-B6B4-7D3E788F8F66}"/>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lnTo>
                      <a:pt x="7"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0" name="Freeform 1826">
                <a:extLst>
                  <a:ext uri="{FF2B5EF4-FFF2-40B4-BE49-F238E27FC236}">
                    <a16:creationId xmlns:a16="http://schemas.microsoft.com/office/drawing/2014/main" id="{7973865F-3740-4469-82FE-08462162A431}"/>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1" name="Freeform 1827">
                <a:extLst>
                  <a:ext uri="{FF2B5EF4-FFF2-40B4-BE49-F238E27FC236}">
                    <a16:creationId xmlns:a16="http://schemas.microsoft.com/office/drawing/2014/main" id="{00DD4517-C9DA-4EE2-A1C3-C52D42C25EBB}"/>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2" name="Freeform 1828">
                <a:extLst>
                  <a:ext uri="{FF2B5EF4-FFF2-40B4-BE49-F238E27FC236}">
                    <a16:creationId xmlns:a16="http://schemas.microsoft.com/office/drawing/2014/main" id="{FEA70C41-11C4-41D4-9BEA-EED62E780C15}"/>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lnTo>
                      <a:pt x="1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3" name="Freeform 1829">
                <a:extLst>
                  <a:ext uri="{FF2B5EF4-FFF2-40B4-BE49-F238E27FC236}">
                    <a16:creationId xmlns:a16="http://schemas.microsoft.com/office/drawing/2014/main" id="{1036AC56-A0ED-49C7-849B-9910C499229D}"/>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4" name="Freeform 1830">
                <a:extLst>
                  <a:ext uri="{FF2B5EF4-FFF2-40B4-BE49-F238E27FC236}">
                    <a16:creationId xmlns:a16="http://schemas.microsoft.com/office/drawing/2014/main" id="{51991053-5995-44D3-B2A6-140B3EF001B4}"/>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5" name="Freeform 1831">
                <a:extLst>
                  <a:ext uri="{FF2B5EF4-FFF2-40B4-BE49-F238E27FC236}">
                    <a16:creationId xmlns:a16="http://schemas.microsoft.com/office/drawing/2014/main" id="{E28F1D6B-E79A-4E8C-BEBC-D86B50538F9C}"/>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lnTo>
                      <a:pt x="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6" name="Freeform 1832">
                <a:extLst>
                  <a:ext uri="{FF2B5EF4-FFF2-40B4-BE49-F238E27FC236}">
                    <a16:creationId xmlns:a16="http://schemas.microsoft.com/office/drawing/2014/main" id="{4A92B897-D023-4EAA-9D4A-B7CB82B8FD1E}"/>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7" name="Freeform 1833">
                <a:extLst>
                  <a:ext uri="{FF2B5EF4-FFF2-40B4-BE49-F238E27FC236}">
                    <a16:creationId xmlns:a16="http://schemas.microsoft.com/office/drawing/2014/main" id="{6BFA7AE3-A8DA-4B4C-8B2A-96FBA6DECBD0}"/>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8" name="Freeform 1834">
                <a:extLst>
                  <a:ext uri="{FF2B5EF4-FFF2-40B4-BE49-F238E27FC236}">
                    <a16:creationId xmlns:a16="http://schemas.microsoft.com/office/drawing/2014/main" id="{A11C6808-66DC-4467-AFFB-1409758278AB}"/>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9" name="Freeform 1835">
                <a:extLst>
                  <a:ext uri="{FF2B5EF4-FFF2-40B4-BE49-F238E27FC236}">
                    <a16:creationId xmlns:a16="http://schemas.microsoft.com/office/drawing/2014/main" id="{41DC1204-4F13-487D-862F-BC38BDF1AA9A}"/>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0" name="Freeform 1836">
                <a:extLst>
                  <a:ext uri="{FF2B5EF4-FFF2-40B4-BE49-F238E27FC236}">
                    <a16:creationId xmlns:a16="http://schemas.microsoft.com/office/drawing/2014/main" id="{7A4D1759-E83D-4222-AA6A-9FCBD8598331}"/>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1" name="Freeform 1837">
                <a:extLst>
                  <a:ext uri="{FF2B5EF4-FFF2-40B4-BE49-F238E27FC236}">
                    <a16:creationId xmlns:a16="http://schemas.microsoft.com/office/drawing/2014/main" id="{C433EE24-B736-4820-9ED2-34F9696AA3B8}"/>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2" name="Freeform 1838">
                <a:extLst>
                  <a:ext uri="{FF2B5EF4-FFF2-40B4-BE49-F238E27FC236}">
                    <a16:creationId xmlns:a16="http://schemas.microsoft.com/office/drawing/2014/main" id="{8AD786BC-F2DC-4140-BD67-F88F6872569B}"/>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3" name="Freeform 1839">
                <a:extLst>
                  <a:ext uri="{FF2B5EF4-FFF2-40B4-BE49-F238E27FC236}">
                    <a16:creationId xmlns:a16="http://schemas.microsoft.com/office/drawing/2014/main" id="{81F02203-2651-40CD-8297-FD9427137CF6}"/>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4" name="Freeform 1840">
                <a:extLst>
                  <a:ext uri="{FF2B5EF4-FFF2-40B4-BE49-F238E27FC236}">
                    <a16:creationId xmlns:a16="http://schemas.microsoft.com/office/drawing/2014/main" id="{FD9A461E-1605-45BB-80AA-CC7403793505}"/>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lnTo>
                      <a:pt x="5"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5" name="Freeform 1841">
                <a:extLst>
                  <a:ext uri="{FF2B5EF4-FFF2-40B4-BE49-F238E27FC236}">
                    <a16:creationId xmlns:a16="http://schemas.microsoft.com/office/drawing/2014/main" id="{8A4F8BA4-8353-4CF7-97E4-4C4E94BDCFA8}"/>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6" name="Freeform 1842">
                <a:extLst>
                  <a:ext uri="{FF2B5EF4-FFF2-40B4-BE49-F238E27FC236}">
                    <a16:creationId xmlns:a16="http://schemas.microsoft.com/office/drawing/2014/main" id="{8457935E-E04A-4B82-AC3D-01A6EF4C7DA4}"/>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7" name="Freeform 1843">
                <a:extLst>
                  <a:ext uri="{FF2B5EF4-FFF2-40B4-BE49-F238E27FC236}">
                    <a16:creationId xmlns:a16="http://schemas.microsoft.com/office/drawing/2014/main" id="{7BBC22A1-1122-45BF-8335-CED5F73A0AAD}"/>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lnTo>
                      <a:pt x="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8" name="Freeform 1844">
                <a:extLst>
                  <a:ext uri="{FF2B5EF4-FFF2-40B4-BE49-F238E27FC236}">
                    <a16:creationId xmlns:a16="http://schemas.microsoft.com/office/drawing/2014/main" id="{DF22788F-27BC-4C5A-AFC4-88094E6CA7A3}"/>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9" name="Freeform 1845">
                <a:extLst>
                  <a:ext uri="{FF2B5EF4-FFF2-40B4-BE49-F238E27FC236}">
                    <a16:creationId xmlns:a16="http://schemas.microsoft.com/office/drawing/2014/main" id="{121070A3-AAFE-478D-9354-A4B7B5720464}"/>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0" name="Freeform 1846">
                <a:extLst>
                  <a:ext uri="{FF2B5EF4-FFF2-40B4-BE49-F238E27FC236}">
                    <a16:creationId xmlns:a16="http://schemas.microsoft.com/office/drawing/2014/main" id="{132A2FC2-8836-4558-A2DF-FAF64237C67A}"/>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1" name="Freeform 1847">
                <a:extLst>
                  <a:ext uri="{FF2B5EF4-FFF2-40B4-BE49-F238E27FC236}">
                    <a16:creationId xmlns:a16="http://schemas.microsoft.com/office/drawing/2014/main" id="{B6BEBBDA-E038-4DBC-9E33-A0D4BC0F39B8}"/>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2" name="Freeform 1848">
                <a:extLst>
                  <a:ext uri="{FF2B5EF4-FFF2-40B4-BE49-F238E27FC236}">
                    <a16:creationId xmlns:a16="http://schemas.microsoft.com/office/drawing/2014/main" id="{84454699-DF74-4B04-B484-99E0345C340F}"/>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3" name="Freeform 1849">
                <a:extLst>
                  <a:ext uri="{FF2B5EF4-FFF2-40B4-BE49-F238E27FC236}">
                    <a16:creationId xmlns:a16="http://schemas.microsoft.com/office/drawing/2014/main" id="{3BC05620-A3F1-4C84-B79C-84FCD92CE14B}"/>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4" name="Freeform 1850">
                <a:extLst>
                  <a:ext uri="{FF2B5EF4-FFF2-40B4-BE49-F238E27FC236}">
                    <a16:creationId xmlns:a16="http://schemas.microsoft.com/office/drawing/2014/main" id="{832CD2F6-1520-4AF5-96CA-F995988A9C88}"/>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5" name="Freeform 1851">
                <a:extLst>
                  <a:ext uri="{FF2B5EF4-FFF2-40B4-BE49-F238E27FC236}">
                    <a16:creationId xmlns:a16="http://schemas.microsoft.com/office/drawing/2014/main" id="{E3AB7379-8C0E-439C-A0FD-61E94DC30D28}"/>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6" name="Freeform 1852">
                <a:extLst>
                  <a:ext uri="{FF2B5EF4-FFF2-40B4-BE49-F238E27FC236}">
                    <a16:creationId xmlns:a16="http://schemas.microsoft.com/office/drawing/2014/main" id="{74305558-EA94-4BF3-B1CA-00AB9E53B29C}"/>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lnTo>
                      <a:pt x="5"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7" name="Freeform 1853">
                <a:extLst>
                  <a:ext uri="{FF2B5EF4-FFF2-40B4-BE49-F238E27FC236}">
                    <a16:creationId xmlns:a16="http://schemas.microsoft.com/office/drawing/2014/main" id="{D75B2651-A356-473F-830D-190912992C38}"/>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8" name="Freeform 1854">
                <a:extLst>
                  <a:ext uri="{FF2B5EF4-FFF2-40B4-BE49-F238E27FC236}">
                    <a16:creationId xmlns:a16="http://schemas.microsoft.com/office/drawing/2014/main" id="{15CEC273-7183-490F-A680-5FA13EEEB6E4}"/>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9" name="Freeform 1855">
                <a:extLst>
                  <a:ext uri="{FF2B5EF4-FFF2-40B4-BE49-F238E27FC236}">
                    <a16:creationId xmlns:a16="http://schemas.microsoft.com/office/drawing/2014/main" id="{79536DD1-7C51-45FB-BE1D-81AD814D6CBF}"/>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lnTo>
                      <a:pt x="2"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0" name="Freeform 1856">
                <a:extLst>
                  <a:ext uri="{FF2B5EF4-FFF2-40B4-BE49-F238E27FC236}">
                    <a16:creationId xmlns:a16="http://schemas.microsoft.com/office/drawing/2014/main" id="{3784D250-1C02-4D0E-B6E0-FD77E9303F28}"/>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1" name="Freeform 1857">
                <a:extLst>
                  <a:ext uri="{FF2B5EF4-FFF2-40B4-BE49-F238E27FC236}">
                    <a16:creationId xmlns:a16="http://schemas.microsoft.com/office/drawing/2014/main" id="{D0BBE733-4323-4FE7-A8B2-79F7CD8C6D37}"/>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2" name="Freeform 1858">
                <a:extLst>
                  <a:ext uri="{FF2B5EF4-FFF2-40B4-BE49-F238E27FC236}">
                    <a16:creationId xmlns:a16="http://schemas.microsoft.com/office/drawing/2014/main" id="{05C8D8B7-5ACF-4172-94AA-8F240821E04E}"/>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lnTo>
                      <a:pt x="0"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3" name="Freeform 1859">
                <a:extLst>
                  <a:ext uri="{FF2B5EF4-FFF2-40B4-BE49-F238E27FC236}">
                    <a16:creationId xmlns:a16="http://schemas.microsoft.com/office/drawing/2014/main" id="{76C0EEB6-1FF7-4413-8E2D-8EB567344257}"/>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4" name="Freeform 1860">
                <a:extLst>
                  <a:ext uri="{FF2B5EF4-FFF2-40B4-BE49-F238E27FC236}">
                    <a16:creationId xmlns:a16="http://schemas.microsoft.com/office/drawing/2014/main" id="{7E8B6A54-0646-4DED-8D3E-C17A196FDBBB}"/>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5" name="Freeform 1861">
                <a:extLst>
                  <a:ext uri="{FF2B5EF4-FFF2-40B4-BE49-F238E27FC236}">
                    <a16:creationId xmlns:a16="http://schemas.microsoft.com/office/drawing/2014/main" id="{F9E04935-4935-4A6E-88E1-33888D295758}"/>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lnTo>
                      <a:pt x="2"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6" name="Freeform 1862">
                <a:extLst>
                  <a:ext uri="{FF2B5EF4-FFF2-40B4-BE49-F238E27FC236}">
                    <a16:creationId xmlns:a16="http://schemas.microsoft.com/office/drawing/2014/main" id="{5751D23C-1048-4267-8215-90E53AE08648}"/>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7" name="Freeform 1863">
                <a:extLst>
                  <a:ext uri="{FF2B5EF4-FFF2-40B4-BE49-F238E27FC236}">
                    <a16:creationId xmlns:a16="http://schemas.microsoft.com/office/drawing/2014/main" id="{D0E23663-69AD-46F6-AACE-1A2E61363DE5}"/>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8" name="Freeform 1864">
                <a:extLst>
                  <a:ext uri="{FF2B5EF4-FFF2-40B4-BE49-F238E27FC236}">
                    <a16:creationId xmlns:a16="http://schemas.microsoft.com/office/drawing/2014/main" id="{FA585E80-0803-4711-A704-97DD018E0DB7}"/>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lnTo>
                      <a:pt x="12" y="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9" name="Freeform 1865">
                <a:extLst>
                  <a:ext uri="{FF2B5EF4-FFF2-40B4-BE49-F238E27FC236}">
                    <a16:creationId xmlns:a16="http://schemas.microsoft.com/office/drawing/2014/main" id="{0245A960-029C-46B9-8F64-C8D14BA48C6C}"/>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0" name="Freeform 1866">
                <a:extLst>
                  <a:ext uri="{FF2B5EF4-FFF2-40B4-BE49-F238E27FC236}">
                    <a16:creationId xmlns:a16="http://schemas.microsoft.com/office/drawing/2014/main" id="{24181027-7BB0-4E64-8FC7-39EAFC98474A}"/>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1" name="Freeform 1867">
                <a:extLst>
                  <a:ext uri="{FF2B5EF4-FFF2-40B4-BE49-F238E27FC236}">
                    <a16:creationId xmlns:a16="http://schemas.microsoft.com/office/drawing/2014/main" id="{2DE1F121-D28E-490C-8EA3-A1DA57B43347}"/>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2" name="Freeform 1868">
                <a:extLst>
                  <a:ext uri="{FF2B5EF4-FFF2-40B4-BE49-F238E27FC236}">
                    <a16:creationId xmlns:a16="http://schemas.microsoft.com/office/drawing/2014/main" id="{05073068-AA4D-421F-B887-F9FF7009471C}"/>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3" name="Freeform 1869">
                <a:extLst>
                  <a:ext uri="{FF2B5EF4-FFF2-40B4-BE49-F238E27FC236}">
                    <a16:creationId xmlns:a16="http://schemas.microsoft.com/office/drawing/2014/main" id="{39E3C7E8-1757-4A3D-A6A8-283089E58DE3}"/>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4" name="Freeform 1870">
                <a:extLst>
                  <a:ext uri="{FF2B5EF4-FFF2-40B4-BE49-F238E27FC236}">
                    <a16:creationId xmlns:a16="http://schemas.microsoft.com/office/drawing/2014/main" id="{AC5317E5-1AB0-42FC-A933-927C02610982}"/>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5" name="Freeform 1871">
                <a:extLst>
                  <a:ext uri="{FF2B5EF4-FFF2-40B4-BE49-F238E27FC236}">
                    <a16:creationId xmlns:a16="http://schemas.microsoft.com/office/drawing/2014/main" id="{7E79ECE0-2C3B-40FA-AE1D-6E5DB2AB476E}"/>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6" name="Freeform 1872">
                <a:extLst>
                  <a:ext uri="{FF2B5EF4-FFF2-40B4-BE49-F238E27FC236}">
                    <a16:creationId xmlns:a16="http://schemas.microsoft.com/office/drawing/2014/main" id="{AEB4E7A4-9949-4E64-86B9-956C69887BB3}"/>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7" name="Freeform 1873">
                <a:extLst>
                  <a:ext uri="{FF2B5EF4-FFF2-40B4-BE49-F238E27FC236}">
                    <a16:creationId xmlns:a16="http://schemas.microsoft.com/office/drawing/2014/main" id="{BA3ECE39-5702-4469-882C-21AB2F0A522E}"/>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lnTo>
                      <a:pt x="4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8" name="Freeform 1874">
                <a:extLst>
                  <a:ext uri="{FF2B5EF4-FFF2-40B4-BE49-F238E27FC236}">
                    <a16:creationId xmlns:a16="http://schemas.microsoft.com/office/drawing/2014/main" id="{84C7877E-B36E-48A3-B97C-2451387B240D}"/>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9" name="Freeform 1875">
                <a:extLst>
                  <a:ext uri="{FF2B5EF4-FFF2-40B4-BE49-F238E27FC236}">
                    <a16:creationId xmlns:a16="http://schemas.microsoft.com/office/drawing/2014/main" id="{DC118113-84EB-48C4-A578-FC6F77D4EE5C}"/>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0" name="Freeform 1876">
                <a:extLst>
                  <a:ext uri="{FF2B5EF4-FFF2-40B4-BE49-F238E27FC236}">
                    <a16:creationId xmlns:a16="http://schemas.microsoft.com/office/drawing/2014/main" id="{F5CB437B-7EBA-44F8-8AAB-195126A7AE93}"/>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1" name="Freeform 1877">
                <a:extLst>
                  <a:ext uri="{FF2B5EF4-FFF2-40B4-BE49-F238E27FC236}">
                    <a16:creationId xmlns:a16="http://schemas.microsoft.com/office/drawing/2014/main" id="{4D2555FE-0D82-4928-996F-136CC6D2F27B}"/>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2" name="Freeform 1878">
                <a:extLst>
                  <a:ext uri="{FF2B5EF4-FFF2-40B4-BE49-F238E27FC236}">
                    <a16:creationId xmlns:a16="http://schemas.microsoft.com/office/drawing/2014/main" id="{B366AF8C-C197-4A5C-887E-9C8F74F3F918}"/>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3" name="Freeform 1879">
                <a:extLst>
                  <a:ext uri="{FF2B5EF4-FFF2-40B4-BE49-F238E27FC236}">
                    <a16:creationId xmlns:a16="http://schemas.microsoft.com/office/drawing/2014/main" id="{B5B9EE2D-29AB-4F38-A673-3AEA24CE71A5}"/>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4" name="Freeform 1880">
                <a:extLst>
                  <a:ext uri="{FF2B5EF4-FFF2-40B4-BE49-F238E27FC236}">
                    <a16:creationId xmlns:a16="http://schemas.microsoft.com/office/drawing/2014/main" id="{8D799BEC-1B14-4D92-93D6-E906959C07C6}"/>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5" name="Freeform 1881">
                <a:extLst>
                  <a:ext uri="{FF2B5EF4-FFF2-40B4-BE49-F238E27FC236}">
                    <a16:creationId xmlns:a16="http://schemas.microsoft.com/office/drawing/2014/main" id="{ECC0CBF5-ADE2-45F0-B079-5FB71CFF7F12}"/>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6" name="Freeform 1882">
                <a:extLst>
                  <a:ext uri="{FF2B5EF4-FFF2-40B4-BE49-F238E27FC236}">
                    <a16:creationId xmlns:a16="http://schemas.microsoft.com/office/drawing/2014/main" id="{D9EA0FD5-393A-4736-B2D1-CA03129EF609}"/>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lnTo>
                      <a:pt x="2"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7" name="Freeform 1883">
                <a:extLst>
                  <a:ext uri="{FF2B5EF4-FFF2-40B4-BE49-F238E27FC236}">
                    <a16:creationId xmlns:a16="http://schemas.microsoft.com/office/drawing/2014/main" id="{C2C09031-C854-4661-82FE-1ABE462B9BB1}"/>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8" name="Freeform 1884">
                <a:extLst>
                  <a:ext uri="{FF2B5EF4-FFF2-40B4-BE49-F238E27FC236}">
                    <a16:creationId xmlns:a16="http://schemas.microsoft.com/office/drawing/2014/main" id="{10D87A3A-620D-4C89-8E50-491821DBB6FE}"/>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9" name="Freeform 1885">
                <a:extLst>
                  <a:ext uri="{FF2B5EF4-FFF2-40B4-BE49-F238E27FC236}">
                    <a16:creationId xmlns:a16="http://schemas.microsoft.com/office/drawing/2014/main" id="{E088C217-397A-44CC-AB73-3FC787B5AF57}"/>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lnTo>
                      <a:pt x="25" y="308"/>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0" name="Freeform 1886">
                <a:extLst>
                  <a:ext uri="{FF2B5EF4-FFF2-40B4-BE49-F238E27FC236}">
                    <a16:creationId xmlns:a16="http://schemas.microsoft.com/office/drawing/2014/main" id="{62FBC1C3-F2EC-4D90-A8F7-11C0CB3DB86D}"/>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1" name="Freeform 1887">
                <a:extLst>
                  <a:ext uri="{FF2B5EF4-FFF2-40B4-BE49-F238E27FC236}">
                    <a16:creationId xmlns:a16="http://schemas.microsoft.com/office/drawing/2014/main" id="{373F2120-2270-4FC2-8354-D98CE550FDD6}"/>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2" name="Freeform 1888">
                <a:extLst>
                  <a:ext uri="{FF2B5EF4-FFF2-40B4-BE49-F238E27FC236}">
                    <a16:creationId xmlns:a16="http://schemas.microsoft.com/office/drawing/2014/main" id="{C546E1AF-9028-4C23-B9AD-A7026F42FE28}"/>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3" name="Freeform 1889">
                <a:extLst>
                  <a:ext uri="{FF2B5EF4-FFF2-40B4-BE49-F238E27FC236}">
                    <a16:creationId xmlns:a16="http://schemas.microsoft.com/office/drawing/2014/main" id="{44065750-B981-4C3A-A9BB-01D505BB60D4}"/>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4" name="Freeform 1890">
                <a:extLst>
                  <a:ext uri="{FF2B5EF4-FFF2-40B4-BE49-F238E27FC236}">
                    <a16:creationId xmlns:a16="http://schemas.microsoft.com/office/drawing/2014/main" id="{DD206552-D79C-4095-B21D-48B825B259F8}"/>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5" name="Freeform 1891">
                <a:extLst>
                  <a:ext uri="{FF2B5EF4-FFF2-40B4-BE49-F238E27FC236}">
                    <a16:creationId xmlns:a16="http://schemas.microsoft.com/office/drawing/2014/main" id="{82ADAC55-2354-42BB-A431-897C579EDB96}"/>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lnTo>
                      <a:pt x="0"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6" name="Freeform 1892">
                <a:extLst>
                  <a:ext uri="{FF2B5EF4-FFF2-40B4-BE49-F238E27FC236}">
                    <a16:creationId xmlns:a16="http://schemas.microsoft.com/office/drawing/2014/main" id="{9686B9CD-83ED-44EB-BB6A-7385630DBF87}"/>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7" name="Freeform 1893">
                <a:extLst>
                  <a:ext uri="{FF2B5EF4-FFF2-40B4-BE49-F238E27FC236}">
                    <a16:creationId xmlns:a16="http://schemas.microsoft.com/office/drawing/2014/main" id="{F2C9A7FA-F907-486E-A9B8-F40B965BF55C}"/>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8" name="Freeform 1894">
                <a:extLst>
                  <a:ext uri="{FF2B5EF4-FFF2-40B4-BE49-F238E27FC236}">
                    <a16:creationId xmlns:a16="http://schemas.microsoft.com/office/drawing/2014/main" id="{13F87254-0F68-4F6F-928E-CFD1F5B69AA1}"/>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lnTo>
                      <a:pt x="0"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9" name="Freeform 1895">
                <a:extLst>
                  <a:ext uri="{FF2B5EF4-FFF2-40B4-BE49-F238E27FC236}">
                    <a16:creationId xmlns:a16="http://schemas.microsoft.com/office/drawing/2014/main" id="{383D1D78-E63A-4CC0-941E-322762E71131}"/>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0" name="Freeform 1896">
                <a:extLst>
                  <a:ext uri="{FF2B5EF4-FFF2-40B4-BE49-F238E27FC236}">
                    <a16:creationId xmlns:a16="http://schemas.microsoft.com/office/drawing/2014/main" id="{1650B7B3-4C9C-4FB1-8C63-5BE7E147DCE7}"/>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1" name="Freeform 1897">
                <a:extLst>
                  <a:ext uri="{FF2B5EF4-FFF2-40B4-BE49-F238E27FC236}">
                    <a16:creationId xmlns:a16="http://schemas.microsoft.com/office/drawing/2014/main" id="{AD050BE2-B5F0-4285-BFCD-10204966C1B5}"/>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2" name="Freeform 1898">
                <a:extLst>
                  <a:ext uri="{FF2B5EF4-FFF2-40B4-BE49-F238E27FC236}">
                    <a16:creationId xmlns:a16="http://schemas.microsoft.com/office/drawing/2014/main" id="{A2290F43-062E-4DBE-98C2-FF63070353AF}"/>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3" name="Freeform 1899">
                <a:extLst>
                  <a:ext uri="{FF2B5EF4-FFF2-40B4-BE49-F238E27FC236}">
                    <a16:creationId xmlns:a16="http://schemas.microsoft.com/office/drawing/2014/main" id="{CD1416A3-AA78-490E-A472-C83B6D2F19D6}"/>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4" name="Freeform 1900">
                <a:extLst>
                  <a:ext uri="{FF2B5EF4-FFF2-40B4-BE49-F238E27FC236}">
                    <a16:creationId xmlns:a16="http://schemas.microsoft.com/office/drawing/2014/main" id="{63DC6187-AF6E-421E-BE19-20D822C9ED0E}"/>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5" name="Freeform 1901">
                <a:extLst>
                  <a:ext uri="{FF2B5EF4-FFF2-40B4-BE49-F238E27FC236}">
                    <a16:creationId xmlns:a16="http://schemas.microsoft.com/office/drawing/2014/main" id="{E6495D38-2B39-4AE9-BD85-860A06CC671C}"/>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6" name="Freeform 1902">
                <a:extLst>
                  <a:ext uri="{FF2B5EF4-FFF2-40B4-BE49-F238E27FC236}">
                    <a16:creationId xmlns:a16="http://schemas.microsoft.com/office/drawing/2014/main" id="{F9DFCF82-E851-41B3-870B-7BE6ACA9EDA8}"/>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7" name="Freeform 1903">
                <a:extLst>
                  <a:ext uri="{FF2B5EF4-FFF2-40B4-BE49-F238E27FC236}">
                    <a16:creationId xmlns:a16="http://schemas.microsoft.com/office/drawing/2014/main" id="{832CCFB1-6E0D-49BF-885F-7587F95FFD46}"/>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lnTo>
                      <a:pt x="9"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8" name="Freeform 1904">
                <a:extLst>
                  <a:ext uri="{FF2B5EF4-FFF2-40B4-BE49-F238E27FC236}">
                    <a16:creationId xmlns:a16="http://schemas.microsoft.com/office/drawing/2014/main" id="{ACB1EFD9-9DDC-4A3E-8535-5BFE5BD2737A}"/>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9" name="Freeform 1905">
                <a:extLst>
                  <a:ext uri="{FF2B5EF4-FFF2-40B4-BE49-F238E27FC236}">
                    <a16:creationId xmlns:a16="http://schemas.microsoft.com/office/drawing/2014/main" id="{989CF2A4-3427-47A0-996B-0A59CFCF0CB4}"/>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0" name="Freeform 1906">
                <a:extLst>
                  <a:ext uri="{FF2B5EF4-FFF2-40B4-BE49-F238E27FC236}">
                    <a16:creationId xmlns:a16="http://schemas.microsoft.com/office/drawing/2014/main" id="{8EEB9406-479D-4633-B2C5-12A7375B1C01}"/>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lnTo>
                      <a:pt x="8"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1" name="Freeform 1907">
                <a:extLst>
                  <a:ext uri="{FF2B5EF4-FFF2-40B4-BE49-F238E27FC236}">
                    <a16:creationId xmlns:a16="http://schemas.microsoft.com/office/drawing/2014/main" id="{4A18B6BA-39E7-42AC-A915-AF945D71B1E6}"/>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2" name="Freeform 1908">
                <a:extLst>
                  <a:ext uri="{FF2B5EF4-FFF2-40B4-BE49-F238E27FC236}">
                    <a16:creationId xmlns:a16="http://schemas.microsoft.com/office/drawing/2014/main" id="{D77E1E3C-1273-41B8-B7B4-FBB353ACBADD}"/>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3" name="Freeform 1909">
                <a:extLst>
                  <a:ext uri="{FF2B5EF4-FFF2-40B4-BE49-F238E27FC236}">
                    <a16:creationId xmlns:a16="http://schemas.microsoft.com/office/drawing/2014/main" id="{A934700D-EBBE-4F4C-8F96-30B533A2ACE4}"/>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lnTo>
                      <a:pt x="23"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4" name="Freeform 1910">
                <a:extLst>
                  <a:ext uri="{FF2B5EF4-FFF2-40B4-BE49-F238E27FC236}">
                    <a16:creationId xmlns:a16="http://schemas.microsoft.com/office/drawing/2014/main" id="{E989367B-BCFF-4FC8-864B-BB3BA22EC035}"/>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5" name="Freeform 1911">
                <a:extLst>
                  <a:ext uri="{FF2B5EF4-FFF2-40B4-BE49-F238E27FC236}">
                    <a16:creationId xmlns:a16="http://schemas.microsoft.com/office/drawing/2014/main" id="{29A235CB-3485-4C01-83C5-E6942CEA604D}"/>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6" name="Freeform 1912">
                <a:extLst>
                  <a:ext uri="{FF2B5EF4-FFF2-40B4-BE49-F238E27FC236}">
                    <a16:creationId xmlns:a16="http://schemas.microsoft.com/office/drawing/2014/main" id="{B7B82A33-A294-4A71-93B3-54C59755FE38}"/>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 ang="0">
                    <a:pos x="33"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lnTo>
                      <a:pt x="33" y="13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7" name="Freeform 1913">
                <a:extLst>
                  <a:ext uri="{FF2B5EF4-FFF2-40B4-BE49-F238E27FC236}">
                    <a16:creationId xmlns:a16="http://schemas.microsoft.com/office/drawing/2014/main" id="{C22B0E66-6C69-4487-925A-7B7426A244EF}"/>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8" name="Freeform 1914">
                <a:extLst>
                  <a:ext uri="{FF2B5EF4-FFF2-40B4-BE49-F238E27FC236}">
                    <a16:creationId xmlns:a16="http://schemas.microsoft.com/office/drawing/2014/main" id="{6A5B7200-DADE-4C2D-B436-567C74999EA5}"/>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9" name="Freeform 1915">
                <a:extLst>
                  <a:ext uri="{FF2B5EF4-FFF2-40B4-BE49-F238E27FC236}">
                    <a16:creationId xmlns:a16="http://schemas.microsoft.com/office/drawing/2014/main" id="{DC85560B-41A9-4DFE-8EE8-A39EF5E731D8}"/>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lnTo>
                      <a:pt x="0"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0" name="Freeform 1916">
                <a:extLst>
                  <a:ext uri="{FF2B5EF4-FFF2-40B4-BE49-F238E27FC236}">
                    <a16:creationId xmlns:a16="http://schemas.microsoft.com/office/drawing/2014/main" id="{08E09634-240D-4EFC-A99D-B35E101069F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1" name="Freeform 1917">
                <a:extLst>
                  <a:ext uri="{FF2B5EF4-FFF2-40B4-BE49-F238E27FC236}">
                    <a16:creationId xmlns:a16="http://schemas.microsoft.com/office/drawing/2014/main" id="{9D08A93C-4EC8-4EF7-A737-8D7EF09F66A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2" name="Freeform 1918">
                <a:extLst>
                  <a:ext uri="{FF2B5EF4-FFF2-40B4-BE49-F238E27FC236}">
                    <a16:creationId xmlns:a16="http://schemas.microsoft.com/office/drawing/2014/main" id="{94010C70-4A85-4255-8A8B-9F719C7F0421}"/>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lnTo>
                      <a:pt x="4"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3" name="Freeform 1919">
                <a:extLst>
                  <a:ext uri="{FF2B5EF4-FFF2-40B4-BE49-F238E27FC236}">
                    <a16:creationId xmlns:a16="http://schemas.microsoft.com/office/drawing/2014/main" id="{1E36E4BF-8ED4-42A6-9D21-5DBE13D74548}"/>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4" name="Freeform 1920">
                <a:extLst>
                  <a:ext uri="{FF2B5EF4-FFF2-40B4-BE49-F238E27FC236}">
                    <a16:creationId xmlns:a16="http://schemas.microsoft.com/office/drawing/2014/main" id="{D5EAB6B5-CA15-4C19-844E-8801C80002BB}"/>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5" name="Freeform 1921">
                <a:extLst>
                  <a:ext uri="{FF2B5EF4-FFF2-40B4-BE49-F238E27FC236}">
                    <a16:creationId xmlns:a16="http://schemas.microsoft.com/office/drawing/2014/main" id="{A24FB936-2E20-4E14-80C3-1F2179D958B3}"/>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lnTo>
                      <a:pt x="3" y="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6" name="Freeform 1922">
                <a:extLst>
                  <a:ext uri="{FF2B5EF4-FFF2-40B4-BE49-F238E27FC236}">
                    <a16:creationId xmlns:a16="http://schemas.microsoft.com/office/drawing/2014/main" id="{CC0FAB2E-9D70-42DD-9EB2-6BE92912F7A1}"/>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7" name="Freeform 1923">
                <a:extLst>
                  <a:ext uri="{FF2B5EF4-FFF2-40B4-BE49-F238E27FC236}">
                    <a16:creationId xmlns:a16="http://schemas.microsoft.com/office/drawing/2014/main" id="{82CE05E2-8619-4E4B-9549-8BD66F952313}"/>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8" name="Freeform 1924">
                <a:extLst>
                  <a:ext uri="{FF2B5EF4-FFF2-40B4-BE49-F238E27FC236}">
                    <a16:creationId xmlns:a16="http://schemas.microsoft.com/office/drawing/2014/main" id="{860043E0-9030-42E5-94B5-64394D4DD8EA}"/>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lnTo>
                      <a:pt x="5"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9" name="Freeform 1925">
                <a:extLst>
                  <a:ext uri="{FF2B5EF4-FFF2-40B4-BE49-F238E27FC236}">
                    <a16:creationId xmlns:a16="http://schemas.microsoft.com/office/drawing/2014/main" id="{A3908D84-64FD-47BA-B30D-0661C0A2671B}"/>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0" name="Freeform 1926">
                <a:extLst>
                  <a:ext uri="{FF2B5EF4-FFF2-40B4-BE49-F238E27FC236}">
                    <a16:creationId xmlns:a16="http://schemas.microsoft.com/office/drawing/2014/main" id="{6C533E03-B241-4F23-B40E-1CF7575DF146}"/>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1" name="Freeform 1927">
                <a:extLst>
                  <a:ext uri="{FF2B5EF4-FFF2-40B4-BE49-F238E27FC236}">
                    <a16:creationId xmlns:a16="http://schemas.microsoft.com/office/drawing/2014/main" id="{06313EA0-871F-4605-8914-1363C1705A30}"/>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lnTo>
                      <a:pt x="0"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2" name="Freeform 1928">
                <a:extLst>
                  <a:ext uri="{FF2B5EF4-FFF2-40B4-BE49-F238E27FC236}">
                    <a16:creationId xmlns:a16="http://schemas.microsoft.com/office/drawing/2014/main" id="{8609171C-EC38-4E7C-A2BC-B090757EA218}"/>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3" name="Freeform 1929">
                <a:extLst>
                  <a:ext uri="{FF2B5EF4-FFF2-40B4-BE49-F238E27FC236}">
                    <a16:creationId xmlns:a16="http://schemas.microsoft.com/office/drawing/2014/main" id="{8C768D95-4455-4497-BC64-99CB38A96C32}"/>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4" name="Freeform 1930">
                <a:extLst>
                  <a:ext uri="{FF2B5EF4-FFF2-40B4-BE49-F238E27FC236}">
                    <a16:creationId xmlns:a16="http://schemas.microsoft.com/office/drawing/2014/main" id="{EDB7E369-55D3-4A80-A825-05E6BFEE7F72}"/>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lnTo>
                      <a:pt x="1"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5" name="Freeform 1931">
                <a:extLst>
                  <a:ext uri="{FF2B5EF4-FFF2-40B4-BE49-F238E27FC236}">
                    <a16:creationId xmlns:a16="http://schemas.microsoft.com/office/drawing/2014/main" id="{687DD140-7A1F-44D5-9083-39DDEF5801AC}"/>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6" name="Freeform 1932">
                <a:extLst>
                  <a:ext uri="{FF2B5EF4-FFF2-40B4-BE49-F238E27FC236}">
                    <a16:creationId xmlns:a16="http://schemas.microsoft.com/office/drawing/2014/main" id="{F39A7801-5225-450F-ADE9-5132415C0776}"/>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7" name="Freeform 1933">
                <a:extLst>
                  <a:ext uri="{FF2B5EF4-FFF2-40B4-BE49-F238E27FC236}">
                    <a16:creationId xmlns:a16="http://schemas.microsoft.com/office/drawing/2014/main" id="{5A004A03-A450-4093-B37A-BA98D689AB9D}"/>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lnTo>
                      <a:pt x="3"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8" name="Freeform 1934">
                <a:extLst>
                  <a:ext uri="{FF2B5EF4-FFF2-40B4-BE49-F238E27FC236}">
                    <a16:creationId xmlns:a16="http://schemas.microsoft.com/office/drawing/2014/main" id="{867E92FE-0D16-4292-ABA1-DF4C15D5482B}"/>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9" name="Freeform 1935">
                <a:extLst>
                  <a:ext uri="{FF2B5EF4-FFF2-40B4-BE49-F238E27FC236}">
                    <a16:creationId xmlns:a16="http://schemas.microsoft.com/office/drawing/2014/main" id="{EB91FE3E-74B5-4E0A-9EB9-00E7D10405C2}"/>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0" name="Freeform 1936">
                <a:extLst>
                  <a:ext uri="{FF2B5EF4-FFF2-40B4-BE49-F238E27FC236}">
                    <a16:creationId xmlns:a16="http://schemas.microsoft.com/office/drawing/2014/main" id="{587FD445-211D-484B-8211-A89461C3F11E}"/>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lnTo>
                      <a:pt x="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1" name="Freeform 1937">
                <a:extLst>
                  <a:ext uri="{FF2B5EF4-FFF2-40B4-BE49-F238E27FC236}">
                    <a16:creationId xmlns:a16="http://schemas.microsoft.com/office/drawing/2014/main" id="{D5DA7BFA-4AC3-4CBA-B47D-5C53338EF4BA}"/>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2" name="Freeform 1938">
                <a:extLst>
                  <a:ext uri="{FF2B5EF4-FFF2-40B4-BE49-F238E27FC236}">
                    <a16:creationId xmlns:a16="http://schemas.microsoft.com/office/drawing/2014/main" id="{9B7EB86A-FE88-4BC7-9A66-01A2CDF2AD00}"/>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3" name="Freeform 1939">
                <a:extLst>
                  <a:ext uri="{FF2B5EF4-FFF2-40B4-BE49-F238E27FC236}">
                    <a16:creationId xmlns:a16="http://schemas.microsoft.com/office/drawing/2014/main" id="{81135D1D-BDCD-4F48-845D-84B8AADAD8BB}"/>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lnTo>
                      <a:pt x="5"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4" name="Freeform 1940">
                <a:extLst>
                  <a:ext uri="{FF2B5EF4-FFF2-40B4-BE49-F238E27FC236}">
                    <a16:creationId xmlns:a16="http://schemas.microsoft.com/office/drawing/2014/main" id="{0AA8D9F7-B92D-4DC3-871A-F089FFB08C40}"/>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5" name="Freeform 1941">
                <a:extLst>
                  <a:ext uri="{FF2B5EF4-FFF2-40B4-BE49-F238E27FC236}">
                    <a16:creationId xmlns:a16="http://schemas.microsoft.com/office/drawing/2014/main" id="{E45DE946-DBF8-44F3-A829-C35DC351BB50}"/>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6" name="Freeform 1942">
                <a:extLst>
                  <a:ext uri="{FF2B5EF4-FFF2-40B4-BE49-F238E27FC236}">
                    <a16:creationId xmlns:a16="http://schemas.microsoft.com/office/drawing/2014/main" id="{3F68577A-1286-477F-ABFF-BDD34E8DDD4E}"/>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7" name="Freeform 1943">
                <a:extLst>
                  <a:ext uri="{FF2B5EF4-FFF2-40B4-BE49-F238E27FC236}">
                    <a16:creationId xmlns:a16="http://schemas.microsoft.com/office/drawing/2014/main" id="{04C5201E-FA03-4FB4-BBD7-C03DC833B19E}"/>
                  </a:ext>
                </a:extLst>
              </p:cNvPr>
              <p:cNvSpPr>
                <a:spLocks/>
              </p:cNvSpPr>
              <p:nvPr/>
            </p:nvSpPr>
            <p:spPr bwMode="auto">
              <a:xfrm>
                <a:off x="7207586" y="4520134"/>
                <a:ext cx="17464" cy="12721"/>
              </a:xfrm>
              <a:custGeom>
                <a:avLst/>
                <a:gdLst/>
                <a:ahLst/>
                <a:cxnLst>
                  <a:cxn ang="0">
                    <a:pos x="2" y="12"/>
                  </a:cxn>
                  <a:cxn ang="0">
                    <a:pos x="2" y="12"/>
                  </a:cxn>
                  <a:cxn ang="0">
                    <a:pos x="7" y="9"/>
                  </a:cxn>
                  <a:cxn ang="0">
                    <a:pos x="7" y="7"/>
                  </a:cxn>
                  <a:cxn ang="0">
                    <a:pos x="7" y="5"/>
                  </a:cxn>
                  <a:cxn ang="0">
                    <a:pos x="7" y="5"/>
                  </a:cxn>
                  <a:cxn ang="0">
                    <a:pos x="7" y="4"/>
                  </a:cxn>
                  <a:cxn ang="0">
                    <a:pos x="10" y="2"/>
                  </a:cxn>
                  <a:cxn ang="0">
                    <a:pos x="19" y="0"/>
                  </a:cxn>
                  <a:cxn ang="0">
                    <a:pos x="19" y="0"/>
                  </a:cxn>
                  <a:cxn ang="0">
                    <a:pos x="23" y="2"/>
                  </a:cxn>
                  <a:cxn ang="0">
                    <a:pos x="24" y="2"/>
                  </a:cxn>
                  <a:cxn ang="0">
                    <a:pos x="21" y="5"/>
                  </a:cxn>
                  <a:cxn ang="0">
                    <a:pos x="21" y="5"/>
                  </a:cxn>
                  <a:cxn ang="0">
                    <a:pos x="19" y="7"/>
                  </a:cxn>
                  <a:cxn ang="0">
                    <a:pos x="17" y="9"/>
                  </a:cxn>
                  <a:cxn ang="0">
                    <a:pos x="16" y="11"/>
                  </a:cxn>
                  <a:cxn ang="0">
                    <a:pos x="14" y="12"/>
                  </a:cxn>
                  <a:cxn ang="0">
                    <a:pos x="14" y="12"/>
                  </a:cxn>
                  <a:cxn ang="0">
                    <a:pos x="12" y="12"/>
                  </a:cxn>
                  <a:cxn ang="0">
                    <a:pos x="12" y="14"/>
                  </a:cxn>
                  <a:cxn ang="0">
                    <a:pos x="12" y="16"/>
                  </a:cxn>
                  <a:cxn ang="0">
                    <a:pos x="10" y="18"/>
                  </a:cxn>
                  <a:cxn ang="0">
                    <a:pos x="10" y="18"/>
                  </a:cxn>
                  <a:cxn ang="0">
                    <a:pos x="0" y="16"/>
                  </a:cxn>
                  <a:cxn ang="0">
                    <a:pos x="0" y="14"/>
                  </a:cxn>
                  <a:cxn ang="0">
                    <a:pos x="2" y="12"/>
                  </a:cxn>
                </a:cxnLst>
                <a:rect l="0" t="0" r="r" b="b"/>
                <a:pathLst>
                  <a:path w="24" h="18">
                    <a:moveTo>
                      <a:pt x="2" y="12"/>
                    </a:moveTo>
                    <a:lnTo>
                      <a:pt x="2" y="12"/>
                    </a:lnTo>
                    <a:lnTo>
                      <a:pt x="7" y="9"/>
                    </a:lnTo>
                    <a:lnTo>
                      <a:pt x="7" y="7"/>
                    </a:lnTo>
                    <a:lnTo>
                      <a:pt x="7" y="5"/>
                    </a:lnTo>
                    <a:lnTo>
                      <a:pt x="7" y="5"/>
                    </a:lnTo>
                    <a:lnTo>
                      <a:pt x="7" y="4"/>
                    </a:lnTo>
                    <a:lnTo>
                      <a:pt x="10" y="2"/>
                    </a:lnTo>
                    <a:lnTo>
                      <a:pt x="19" y="0"/>
                    </a:lnTo>
                    <a:lnTo>
                      <a:pt x="19" y="0"/>
                    </a:lnTo>
                    <a:lnTo>
                      <a:pt x="23" y="2"/>
                    </a:lnTo>
                    <a:lnTo>
                      <a:pt x="24" y="2"/>
                    </a:lnTo>
                    <a:lnTo>
                      <a:pt x="21" y="5"/>
                    </a:lnTo>
                    <a:lnTo>
                      <a:pt x="21" y="5"/>
                    </a:lnTo>
                    <a:lnTo>
                      <a:pt x="19" y="7"/>
                    </a:lnTo>
                    <a:lnTo>
                      <a:pt x="17" y="9"/>
                    </a:lnTo>
                    <a:lnTo>
                      <a:pt x="16" y="11"/>
                    </a:lnTo>
                    <a:lnTo>
                      <a:pt x="14" y="12"/>
                    </a:lnTo>
                    <a:lnTo>
                      <a:pt x="14" y="12"/>
                    </a:lnTo>
                    <a:lnTo>
                      <a:pt x="12" y="12"/>
                    </a:lnTo>
                    <a:lnTo>
                      <a:pt x="12" y="14"/>
                    </a:lnTo>
                    <a:lnTo>
                      <a:pt x="12" y="16"/>
                    </a:lnTo>
                    <a:lnTo>
                      <a:pt x="10" y="18"/>
                    </a:lnTo>
                    <a:lnTo>
                      <a:pt x="10" y="18"/>
                    </a:lnTo>
                    <a:lnTo>
                      <a:pt x="0" y="16"/>
                    </a:lnTo>
                    <a:lnTo>
                      <a:pt x="0"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8" name="Freeform 1944">
                <a:extLst>
                  <a:ext uri="{FF2B5EF4-FFF2-40B4-BE49-F238E27FC236}">
                    <a16:creationId xmlns:a16="http://schemas.microsoft.com/office/drawing/2014/main" id="{3C4E17E5-831D-4D9B-916D-6DE978CB5703}"/>
                  </a:ext>
                </a:extLst>
              </p:cNvPr>
              <p:cNvSpPr>
                <a:spLocks/>
              </p:cNvSpPr>
              <p:nvPr/>
            </p:nvSpPr>
            <p:spPr bwMode="auto">
              <a:xfrm>
                <a:off x="6496330" y="4095583"/>
                <a:ext cx="277835" cy="357768"/>
              </a:xfrm>
              <a:custGeom>
                <a:avLst/>
                <a:gdLst/>
                <a:ahLst/>
                <a:cxnLst>
                  <a:cxn ang="0">
                    <a:pos x="25" y="11"/>
                  </a:cxn>
                  <a:cxn ang="0">
                    <a:pos x="45" y="18"/>
                  </a:cxn>
                  <a:cxn ang="0">
                    <a:pos x="70" y="18"/>
                  </a:cxn>
                  <a:cxn ang="0">
                    <a:pos x="80" y="16"/>
                  </a:cxn>
                  <a:cxn ang="0">
                    <a:pos x="96" y="35"/>
                  </a:cxn>
                  <a:cxn ang="0">
                    <a:pos x="103" y="51"/>
                  </a:cxn>
                  <a:cxn ang="0">
                    <a:pos x="110" y="67"/>
                  </a:cxn>
                  <a:cxn ang="0">
                    <a:pos x="122" y="77"/>
                  </a:cxn>
                  <a:cxn ang="0">
                    <a:pos x="140" y="89"/>
                  </a:cxn>
                  <a:cxn ang="0">
                    <a:pos x="169" y="121"/>
                  </a:cxn>
                  <a:cxn ang="0">
                    <a:pos x="180" y="135"/>
                  </a:cxn>
                  <a:cxn ang="0">
                    <a:pos x="195" y="154"/>
                  </a:cxn>
                  <a:cxn ang="0">
                    <a:pos x="199" y="141"/>
                  </a:cxn>
                  <a:cxn ang="0">
                    <a:pos x="213" y="154"/>
                  </a:cxn>
                  <a:cxn ang="0">
                    <a:pos x="225" y="169"/>
                  </a:cxn>
                  <a:cxn ang="0">
                    <a:pos x="247" y="197"/>
                  </a:cxn>
                  <a:cxn ang="0">
                    <a:pos x="268" y="209"/>
                  </a:cxn>
                  <a:cxn ang="0">
                    <a:pos x="279" y="223"/>
                  </a:cxn>
                  <a:cxn ang="0">
                    <a:pos x="296" y="223"/>
                  </a:cxn>
                  <a:cxn ang="0">
                    <a:pos x="296" y="244"/>
                  </a:cxn>
                  <a:cxn ang="0">
                    <a:pos x="293" y="256"/>
                  </a:cxn>
                  <a:cxn ang="0">
                    <a:pos x="289" y="272"/>
                  </a:cxn>
                  <a:cxn ang="0">
                    <a:pos x="314" y="284"/>
                  </a:cxn>
                  <a:cxn ang="0">
                    <a:pos x="324" y="296"/>
                  </a:cxn>
                  <a:cxn ang="0">
                    <a:pos x="336" y="328"/>
                  </a:cxn>
                  <a:cxn ang="0">
                    <a:pos x="336" y="347"/>
                  </a:cxn>
                  <a:cxn ang="0">
                    <a:pos x="348" y="343"/>
                  </a:cxn>
                  <a:cxn ang="0">
                    <a:pos x="366" y="345"/>
                  </a:cxn>
                  <a:cxn ang="0">
                    <a:pos x="380" y="368"/>
                  </a:cxn>
                  <a:cxn ang="0">
                    <a:pos x="380" y="383"/>
                  </a:cxn>
                  <a:cxn ang="0">
                    <a:pos x="376" y="413"/>
                  </a:cxn>
                  <a:cxn ang="0">
                    <a:pos x="376" y="444"/>
                  </a:cxn>
                  <a:cxn ang="0">
                    <a:pos x="373" y="490"/>
                  </a:cxn>
                  <a:cxn ang="0">
                    <a:pos x="355" y="474"/>
                  </a:cxn>
                  <a:cxn ang="0">
                    <a:pos x="347" y="483"/>
                  </a:cxn>
                  <a:cxn ang="0">
                    <a:pos x="329" y="478"/>
                  </a:cxn>
                  <a:cxn ang="0">
                    <a:pos x="329" y="495"/>
                  </a:cxn>
                  <a:cxn ang="0">
                    <a:pos x="294" y="453"/>
                  </a:cxn>
                  <a:cxn ang="0">
                    <a:pos x="249" y="404"/>
                  </a:cxn>
                  <a:cxn ang="0">
                    <a:pos x="213" y="359"/>
                  </a:cxn>
                  <a:cxn ang="0">
                    <a:pos x="193" y="312"/>
                  </a:cxn>
                  <a:cxn ang="0">
                    <a:pos x="180" y="289"/>
                  </a:cxn>
                  <a:cxn ang="0">
                    <a:pos x="174" y="267"/>
                  </a:cxn>
                  <a:cxn ang="0">
                    <a:pos x="150" y="234"/>
                  </a:cxn>
                  <a:cxn ang="0">
                    <a:pos x="133" y="201"/>
                  </a:cxn>
                  <a:cxn ang="0">
                    <a:pos x="126" y="169"/>
                  </a:cxn>
                  <a:cxn ang="0">
                    <a:pos x="101" y="148"/>
                  </a:cxn>
                  <a:cxn ang="0">
                    <a:pos x="86" y="124"/>
                  </a:cxn>
                  <a:cxn ang="0">
                    <a:pos x="72" y="110"/>
                  </a:cxn>
                  <a:cxn ang="0">
                    <a:pos x="56" y="84"/>
                  </a:cxn>
                  <a:cxn ang="0">
                    <a:pos x="40" y="75"/>
                  </a:cxn>
                  <a:cxn ang="0">
                    <a:pos x="12" y="42"/>
                  </a:cxn>
                  <a:cxn ang="0">
                    <a:pos x="0" y="6"/>
                  </a:cxn>
                </a:cxnLst>
                <a:rect l="0" t="0" r="r" b="b"/>
                <a:pathLst>
                  <a:path w="383" h="497">
                    <a:moveTo>
                      <a:pt x="14" y="2"/>
                    </a:moveTo>
                    <a:lnTo>
                      <a:pt x="14" y="2"/>
                    </a:lnTo>
                    <a:lnTo>
                      <a:pt x="19" y="4"/>
                    </a:lnTo>
                    <a:lnTo>
                      <a:pt x="23" y="6"/>
                    </a:lnTo>
                    <a:lnTo>
                      <a:pt x="25" y="11"/>
                    </a:lnTo>
                    <a:lnTo>
                      <a:pt x="26" y="13"/>
                    </a:lnTo>
                    <a:lnTo>
                      <a:pt x="28" y="14"/>
                    </a:lnTo>
                    <a:lnTo>
                      <a:pt x="39" y="18"/>
                    </a:lnTo>
                    <a:lnTo>
                      <a:pt x="39" y="18"/>
                    </a:lnTo>
                    <a:lnTo>
                      <a:pt x="45" y="18"/>
                    </a:lnTo>
                    <a:lnTo>
                      <a:pt x="51" y="18"/>
                    </a:lnTo>
                    <a:lnTo>
                      <a:pt x="58" y="16"/>
                    </a:lnTo>
                    <a:lnTo>
                      <a:pt x="63" y="14"/>
                    </a:lnTo>
                    <a:lnTo>
                      <a:pt x="66" y="14"/>
                    </a:lnTo>
                    <a:lnTo>
                      <a:pt x="70" y="18"/>
                    </a:lnTo>
                    <a:lnTo>
                      <a:pt x="70" y="18"/>
                    </a:lnTo>
                    <a:lnTo>
                      <a:pt x="73" y="20"/>
                    </a:lnTo>
                    <a:lnTo>
                      <a:pt x="75" y="20"/>
                    </a:lnTo>
                    <a:lnTo>
                      <a:pt x="79" y="16"/>
                    </a:lnTo>
                    <a:lnTo>
                      <a:pt x="80" y="16"/>
                    </a:lnTo>
                    <a:lnTo>
                      <a:pt x="82" y="16"/>
                    </a:lnTo>
                    <a:lnTo>
                      <a:pt x="89" y="23"/>
                    </a:lnTo>
                    <a:lnTo>
                      <a:pt x="89" y="23"/>
                    </a:lnTo>
                    <a:lnTo>
                      <a:pt x="93" y="30"/>
                    </a:lnTo>
                    <a:lnTo>
                      <a:pt x="96" y="35"/>
                    </a:lnTo>
                    <a:lnTo>
                      <a:pt x="98" y="42"/>
                    </a:lnTo>
                    <a:lnTo>
                      <a:pt x="98" y="47"/>
                    </a:lnTo>
                    <a:lnTo>
                      <a:pt x="99" y="49"/>
                    </a:lnTo>
                    <a:lnTo>
                      <a:pt x="103" y="51"/>
                    </a:lnTo>
                    <a:lnTo>
                      <a:pt x="103" y="51"/>
                    </a:lnTo>
                    <a:lnTo>
                      <a:pt x="106" y="53"/>
                    </a:lnTo>
                    <a:lnTo>
                      <a:pt x="108" y="54"/>
                    </a:lnTo>
                    <a:lnTo>
                      <a:pt x="108" y="60"/>
                    </a:lnTo>
                    <a:lnTo>
                      <a:pt x="108" y="65"/>
                    </a:lnTo>
                    <a:lnTo>
                      <a:pt x="110" y="67"/>
                    </a:lnTo>
                    <a:lnTo>
                      <a:pt x="113" y="68"/>
                    </a:lnTo>
                    <a:lnTo>
                      <a:pt x="113" y="68"/>
                    </a:lnTo>
                    <a:lnTo>
                      <a:pt x="117" y="68"/>
                    </a:lnTo>
                    <a:lnTo>
                      <a:pt x="119" y="72"/>
                    </a:lnTo>
                    <a:lnTo>
                      <a:pt x="122" y="77"/>
                    </a:lnTo>
                    <a:lnTo>
                      <a:pt x="126" y="82"/>
                    </a:lnTo>
                    <a:lnTo>
                      <a:pt x="129" y="86"/>
                    </a:lnTo>
                    <a:lnTo>
                      <a:pt x="134" y="88"/>
                    </a:lnTo>
                    <a:lnTo>
                      <a:pt x="134" y="88"/>
                    </a:lnTo>
                    <a:lnTo>
                      <a:pt x="140" y="89"/>
                    </a:lnTo>
                    <a:lnTo>
                      <a:pt x="145" y="91"/>
                    </a:lnTo>
                    <a:lnTo>
                      <a:pt x="155" y="101"/>
                    </a:lnTo>
                    <a:lnTo>
                      <a:pt x="164" y="112"/>
                    </a:lnTo>
                    <a:lnTo>
                      <a:pt x="169" y="121"/>
                    </a:lnTo>
                    <a:lnTo>
                      <a:pt x="169" y="121"/>
                    </a:lnTo>
                    <a:lnTo>
                      <a:pt x="171" y="126"/>
                    </a:lnTo>
                    <a:lnTo>
                      <a:pt x="174" y="126"/>
                    </a:lnTo>
                    <a:lnTo>
                      <a:pt x="176" y="128"/>
                    </a:lnTo>
                    <a:lnTo>
                      <a:pt x="180" y="135"/>
                    </a:lnTo>
                    <a:lnTo>
                      <a:pt x="180" y="135"/>
                    </a:lnTo>
                    <a:lnTo>
                      <a:pt x="183" y="143"/>
                    </a:lnTo>
                    <a:lnTo>
                      <a:pt x="187" y="147"/>
                    </a:lnTo>
                    <a:lnTo>
                      <a:pt x="190" y="148"/>
                    </a:lnTo>
                    <a:lnTo>
                      <a:pt x="195" y="154"/>
                    </a:lnTo>
                    <a:lnTo>
                      <a:pt x="195" y="154"/>
                    </a:lnTo>
                    <a:lnTo>
                      <a:pt x="197" y="154"/>
                    </a:lnTo>
                    <a:lnTo>
                      <a:pt x="199" y="154"/>
                    </a:lnTo>
                    <a:lnTo>
                      <a:pt x="197" y="147"/>
                    </a:lnTo>
                    <a:lnTo>
                      <a:pt x="197" y="143"/>
                    </a:lnTo>
                    <a:lnTo>
                      <a:pt x="199" y="141"/>
                    </a:lnTo>
                    <a:lnTo>
                      <a:pt x="202" y="143"/>
                    </a:lnTo>
                    <a:lnTo>
                      <a:pt x="209" y="148"/>
                    </a:lnTo>
                    <a:lnTo>
                      <a:pt x="209" y="148"/>
                    </a:lnTo>
                    <a:lnTo>
                      <a:pt x="213" y="150"/>
                    </a:lnTo>
                    <a:lnTo>
                      <a:pt x="213" y="154"/>
                    </a:lnTo>
                    <a:lnTo>
                      <a:pt x="214" y="161"/>
                    </a:lnTo>
                    <a:lnTo>
                      <a:pt x="218" y="166"/>
                    </a:lnTo>
                    <a:lnTo>
                      <a:pt x="220" y="168"/>
                    </a:lnTo>
                    <a:lnTo>
                      <a:pt x="225" y="169"/>
                    </a:lnTo>
                    <a:lnTo>
                      <a:pt x="225" y="169"/>
                    </a:lnTo>
                    <a:lnTo>
                      <a:pt x="234" y="173"/>
                    </a:lnTo>
                    <a:lnTo>
                      <a:pt x="241" y="178"/>
                    </a:lnTo>
                    <a:lnTo>
                      <a:pt x="244" y="183"/>
                    </a:lnTo>
                    <a:lnTo>
                      <a:pt x="246" y="190"/>
                    </a:lnTo>
                    <a:lnTo>
                      <a:pt x="247" y="197"/>
                    </a:lnTo>
                    <a:lnTo>
                      <a:pt x="251" y="202"/>
                    </a:lnTo>
                    <a:lnTo>
                      <a:pt x="254" y="206"/>
                    </a:lnTo>
                    <a:lnTo>
                      <a:pt x="261" y="209"/>
                    </a:lnTo>
                    <a:lnTo>
                      <a:pt x="261" y="209"/>
                    </a:lnTo>
                    <a:lnTo>
                      <a:pt x="268" y="209"/>
                    </a:lnTo>
                    <a:lnTo>
                      <a:pt x="274" y="213"/>
                    </a:lnTo>
                    <a:lnTo>
                      <a:pt x="275" y="215"/>
                    </a:lnTo>
                    <a:lnTo>
                      <a:pt x="277" y="218"/>
                    </a:lnTo>
                    <a:lnTo>
                      <a:pt x="277" y="223"/>
                    </a:lnTo>
                    <a:lnTo>
                      <a:pt x="279" y="223"/>
                    </a:lnTo>
                    <a:lnTo>
                      <a:pt x="284" y="222"/>
                    </a:lnTo>
                    <a:lnTo>
                      <a:pt x="284" y="222"/>
                    </a:lnTo>
                    <a:lnTo>
                      <a:pt x="288" y="220"/>
                    </a:lnTo>
                    <a:lnTo>
                      <a:pt x="293" y="222"/>
                    </a:lnTo>
                    <a:lnTo>
                      <a:pt x="296" y="223"/>
                    </a:lnTo>
                    <a:lnTo>
                      <a:pt x="300" y="229"/>
                    </a:lnTo>
                    <a:lnTo>
                      <a:pt x="301" y="232"/>
                    </a:lnTo>
                    <a:lnTo>
                      <a:pt x="301" y="237"/>
                    </a:lnTo>
                    <a:lnTo>
                      <a:pt x="300" y="241"/>
                    </a:lnTo>
                    <a:lnTo>
                      <a:pt x="296" y="244"/>
                    </a:lnTo>
                    <a:lnTo>
                      <a:pt x="296" y="244"/>
                    </a:lnTo>
                    <a:lnTo>
                      <a:pt x="293" y="246"/>
                    </a:lnTo>
                    <a:lnTo>
                      <a:pt x="291" y="248"/>
                    </a:lnTo>
                    <a:lnTo>
                      <a:pt x="291" y="251"/>
                    </a:lnTo>
                    <a:lnTo>
                      <a:pt x="293" y="256"/>
                    </a:lnTo>
                    <a:lnTo>
                      <a:pt x="293" y="260"/>
                    </a:lnTo>
                    <a:lnTo>
                      <a:pt x="291" y="263"/>
                    </a:lnTo>
                    <a:lnTo>
                      <a:pt x="291" y="263"/>
                    </a:lnTo>
                    <a:lnTo>
                      <a:pt x="289" y="269"/>
                    </a:lnTo>
                    <a:lnTo>
                      <a:pt x="289" y="272"/>
                    </a:lnTo>
                    <a:lnTo>
                      <a:pt x="291" y="276"/>
                    </a:lnTo>
                    <a:lnTo>
                      <a:pt x="294" y="279"/>
                    </a:lnTo>
                    <a:lnTo>
                      <a:pt x="303" y="284"/>
                    </a:lnTo>
                    <a:lnTo>
                      <a:pt x="308" y="284"/>
                    </a:lnTo>
                    <a:lnTo>
                      <a:pt x="314" y="284"/>
                    </a:lnTo>
                    <a:lnTo>
                      <a:pt x="314" y="284"/>
                    </a:lnTo>
                    <a:lnTo>
                      <a:pt x="317" y="284"/>
                    </a:lnTo>
                    <a:lnTo>
                      <a:pt x="319" y="286"/>
                    </a:lnTo>
                    <a:lnTo>
                      <a:pt x="322" y="289"/>
                    </a:lnTo>
                    <a:lnTo>
                      <a:pt x="324" y="296"/>
                    </a:lnTo>
                    <a:lnTo>
                      <a:pt x="328" y="305"/>
                    </a:lnTo>
                    <a:lnTo>
                      <a:pt x="331" y="319"/>
                    </a:lnTo>
                    <a:lnTo>
                      <a:pt x="333" y="324"/>
                    </a:lnTo>
                    <a:lnTo>
                      <a:pt x="336" y="328"/>
                    </a:lnTo>
                    <a:lnTo>
                      <a:pt x="336" y="328"/>
                    </a:lnTo>
                    <a:lnTo>
                      <a:pt x="340" y="330"/>
                    </a:lnTo>
                    <a:lnTo>
                      <a:pt x="340" y="333"/>
                    </a:lnTo>
                    <a:lnTo>
                      <a:pt x="336" y="340"/>
                    </a:lnTo>
                    <a:lnTo>
                      <a:pt x="335" y="347"/>
                    </a:lnTo>
                    <a:lnTo>
                      <a:pt x="336" y="347"/>
                    </a:lnTo>
                    <a:lnTo>
                      <a:pt x="340" y="343"/>
                    </a:lnTo>
                    <a:lnTo>
                      <a:pt x="340" y="343"/>
                    </a:lnTo>
                    <a:lnTo>
                      <a:pt x="343" y="340"/>
                    </a:lnTo>
                    <a:lnTo>
                      <a:pt x="347" y="342"/>
                    </a:lnTo>
                    <a:lnTo>
                      <a:pt x="348" y="343"/>
                    </a:lnTo>
                    <a:lnTo>
                      <a:pt x="352" y="342"/>
                    </a:lnTo>
                    <a:lnTo>
                      <a:pt x="352" y="342"/>
                    </a:lnTo>
                    <a:lnTo>
                      <a:pt x="359" y="340"/>
                    </a:lnTo>
                    <a:lnTo>
                      <a:pt x="362" y="340"/>
                    </a:lnTo>
                    <a:lnTo>
                      <a:pt x="366" y="345"/>
                    </a:lnTo>
                    <a:lnTo>
                      <a:pt x="369" y="356"/>
                    </a:lnTo>
                    <a:lnTo>
                      <a:pt x="369" y="356"/>
                    </a:lnTo>
                    <a:lnTo>
                      <a:pt x="373" y="359"/>
                    </a:lnTo>
                    <a:lnTo>
                      <a:pt x="375" y="363"/>
                    </a:lnTo>
                    <a:lnTo>
                      <a:pt x="380" y="368"/>
                    </a:lnTo>
                    <a:lnTo>
                      <a:pt x="382" y="371"/>
                    </a:lnTo>
                    <a:lnTo>
                      <a:pt x="383" y="375"/>
                    </a:lnTo>
                    <a:lnTo>
                      <a:pt x="382" y="378"/>
                    </a:lnTo>
                    <a:lnTo>
                      <a:pt x="380" y="383"/>
                    </a:lnTo>
                    <a:lnTo>
                      <a:pt x="380" y="383"/>
                    </a:lnTo>
                    <a:lnTo>
                      <a:pt x="376" y="392"/>
                    </a:lnTo>
                    <a:lnTo>
                      <a:pt x="376" y="397"/>
                    </a:lnTo>
                    <a:lnTo>
                      <a:pt x="376" y="403"/>
                    </a:lnTo>
                    <a:lnTo>
                      <a:pt x="376" y="413"/>
                    </a:lnTo>
                    <a:lnTo>
                      <a:pt x="376" y="413"/>
                    </a:lnTo>
                    <a:lnTo>
                      <a:pt x="375" y="424"/>
                    </a:lnTo>
                    <a:lnTo>
                      <a:pt x="375" y="427"/>
                    </a:lnTo>
                    <a:lnTo>
                      <a:pt x="376" y="434"/>
                    </a:lnTo>
                    <a:lnTo>
                      <a:pt x="376" y="444"/>
                    </a:lnTo>
                    <a:lnTo>
                      <a:pt x="376" y="444"/>
                    </a:lnTo>
                    <a:lnTo>
                      <a:pt x="376" y="460"/>
                    </a:lnTo>
                    <a:lnTo>
                      <a:pt x="376" y="472"/>
                    </a:lnTo>
                    <a:lnTo>
                      <a:pt x="375" y="483"/>
                    </a:lnTo>
                    <a:lnTo>
                      <a:pt x="375" y="488"/>
                    </a:lnTo>
                    <a:lnTo>
                      <a:pt x="373" y="490"/>
                    </a:lnTo>
                    <a:lnTo>
                      <a:pt x="373" y="490"/>
                    </a:lnTo>
                    <a:lnTo>
                      <a:pt x="369" y="491"/>
                    </a:lnTo>
                    <a:lnTo>
                      <a:pt x="368" y="488"/>
                    </a:lnTo>
                    <a:lnTo>
                      <a:pt x="361" y="479"/>
                    </a:lnTo>
                    <a:lnTo>
                      <a:pt x="355" y="474"/>
                    </a:lnTo>
                    <a:lnTo>
                      <a:pt x="354" y="474"/>
                    </a:lnTo>
                    <a:lnTo>
                      <a:pt x="352" y="478"/>
                    </a:lnTo>
                    <a:lnTo>
                      <a:pt x="352" y="478"/>
                    </a:lnTo>
                    <a:lnTo>
                      <a:pt x="350" y="483"/>
                    </a:lnTo>
                    <a:lnTo>
                      <a:pt x="347" y="483"/>
                    </a:lnTo>
                    <a:lnTo>
                      <a:pt x="343" y="481"/>
                    </a:lnTo>
                    <a:lnTo>
                      <a:pt x="338" y="479"/>
                    </a:lnTo>
                    <a:lnTo>
                      <a:pt x="333" y="476"/>
                    </a:lnTo>
                    <a:lnTo>
                      <a:pt x="329" y="476"/>
                    </a:lnTo>
                    <a:lnTo>
                      <a:pt x="329" y="478"/>
                    </a:lnTo>
                    <a:lnTo>
                      <a:pt x="331" y="484"/>
                    </a:lnTo>
                    <a:lnTo>
                      <a:pt x="331" y="484"/>
                    </a:lnTo>
                    <a:lnTo>
                      <a:pt x="333" y="495"/>
                    </a:lnTo>
                    <a:lnTo>
                      <a:pt x="333" y="497"/>
                    </a:lnTo>
                    <a:lnTo>
                      <a:pt x="329" y="495"/>
                    </a:lnTo>
                    <a:lnTo>
                      <a:pt x="322" y="486"/>
                    </a:lnTo>
                    <a:lnTo>
                      <a:pt x="314" y="472"/>
                    </a:lnTo>
                    <a:lnTo>
                      <a:pt x="314" y="472"/>
                    </a:lnTo>
                    <a:lnTo>
                      <a:pt x="305" y="462"/>
                    </a:lnTo>
                    <a:lnTo>
                      <a:pt x="294" y="453"/>
                    </a:lnTo>
                    <a:lnTo>
                      <a:pt x="282" y="443"/>
                    </a:lnTo>
                    <a:lnTo>
                      <a:pt x="268" y="427"/>
                    </a:lnTo>
                    <a:lnTo>
                      <a:pt x="268" y="427"/>
                    </a:lnTo>
                    <a:lnTo>
                      <a:pt x="256" y="413"/>
                    </a:lnTo>
                    <a:lnTo>
                      <a:pt x="249" y="404"/>
                    </a:lnTo>
                    <a:lnTo>
                      <a:pt x="244" y="396"/>
                    </a:lnTo>
                    <a:lnTo>
                      <a:pt x="235" y="385"/>
                    </a:lnTo>
                    <a:lnTo>
                      <a:pt x="235" y="385"/>
                    </a:lnTo>
                    <a:lnTo>
                      <a:pt x="223" y="373"/>
                    </a:lnTo>
                    <a:lnTo>
                      <a:pt x="213" y="359"/>
                    </a:lnTo>
                    <a:lnTo>
                      <a:pt x="204" y="345"/>
                    </a:lnTo>
                    <a:lnTo>
                      <a:pt x="200" y="333"/>
                    </a:lnTo>
                    <a:lnTo>
                      <a:pt x="200" y="333"/>
                    </a:lnTo>
                    <a:lnTo>
                      <a:pt x="197" y="323"/>
                    </a:lnTo>
                    <a:lnTo>
                      <a:pt x="193" y="312"/>
                    </a:lnTo>
                    <a:lnTo>
                      <a:pt x="190" y="303"/>
                    </a:lnTo>
                    <a:lnTo>
                      <a:pt x="183" y="296"/>
                    </a:lnTo>
                    <a:lnTo>
                      <a:pt x="183" y="296"/>
                    </a:lnTo>
                    <a:lnTo>
                      <a:pt x="181" y="293"/>
                    </a:lnTo>
                    <a:lnTo>
                      <a:pt x="180" y="289"/>
                    </a:lnTo>
                    <a:lnTo>
                      <a:pt x="181" y="284"/>
                    </a:lnTo>
                    <a:lnTo>
                      <a:pt x="181" y="281"/>
                    </a:lnTo>
                    <a:lnTo>
                      <a:pt x="181" y="277"/>
                    </a:lnTo>
                    <a:lnTo>
                      <a:pt x="178" y="272"/>
                    </a:lnTo>
                    <a:lnTo>
                      <a:pt x="174" y="267"/>
                    </a:lnTo>
                    <a:lnTo>
                      <a:pt x="174" y="267"/>
                    </a:lnTo>
                    <a:lnTo>
                      <a:pt x="162" y="253"/>
                    </a:lnTo>
                    <a:lnTo>
                      <a:pt x="157" y="244"/>
                    </a:lnTo>
                    <a:lnTo>
                      <a:pt x="155" y="239"/>
                    </a:lnTo>
                    <a:lnTo>
                      <a:pt x="150" y="234"/>
                    </a:lnTo>
                    <a:lnTo>
                      <a:pt x="150" y="234"/>
                    </a:lnTo>
                    <a:lnTo>
                      <a:pt x="141" y="229"/>
                    </a:lnTo>
                    <a:lnTo>
                      <a:pt x="138" y="223"/>
                    </a:lnTo>
                    <a:lnTo>
                      <a:pt x="133" y="201"/>
                    </a:lnTo>
                    <a:lnTo>
                      <a:pt x="133" y="201"/>
                    </a:lnTo>
                    <a:lnTo>
                      <a:pt x="126" y="180"/>
                    </a:lnTo>
                    <a:lnTo>
                      <a:pt x="124" y="176"/>
                    </a:lnTo>
                    <a:lnTo>
                      <a:pt x="126" y="173"/>
                    </a:lnTo>
                    <a:lnTo>
                      <a:pt x="126" y="173"/>
                    </a:lnTo>
                    <a:lnTo>
                      <a:pt x="126" y="169"/>
                    </a:lnTo>
                    <a:lnTo>
                      <a:pt x="124" y="168"/>
                    </a:lnTo>
                    <a:lnTo>
                      <a:pt x="119" y="161"/>
                    </a:lnTo>
                    <a:lnTo>
                      <a:pt x="110" y="154"/>
                    </a:lnTo>
                    <a:lnTo>
                      <a:pt x="101" y="148"/>
                    </a:lnTo>
                    <a:lnTo>
                      <a:pt x="101" y="148"/>
                    </a:lnTo>
                    <a:lnTo>
                      <a:pt x="93" y="145"/>
                    </a:lnTo>
                    <a:lnTo>
                      <a:pt x="89" y="140"/>
                    </a:lnTo>
                    <a:lnTo>
                      <a:pt x="87" y="136"/>
                    </a:lnTo>
                    <a:lnTo>
                      <a:pt x="86" y="131"/>
                    </a:lnTo>
                    <a:lnTo>
                      <a:pt x="86" y="124"/>
                    </a:lnTo>
                    <a:lnTo>
                      <a:pt x="84" y="121"/>
                    </a:lnTo>
                    <a:lnTo>
                      <a:pt x="79" y="115"/>
                    </a:lnTo>
                    <a:lnTo>
                      <a:pt x="79" y="115"/>
                    </a:lnTo>
                    <a:lnTo>
                      <a:pt x="73" y="112"/>
                    </a:lnTo>
                    <a:lnTo>
                      <a:pt x="72" y="110"/>
                    </a:lnTo>
                    <a:lnTo>
                      <a:pt x="72" y="105"/>
                    </a:lnTo>
                    <a:lnTo>
                      <a:pt x="65" y="94"/>
                    </a:lnTo>
                    <a:lnTo>
                      <a:pt x="65" y="94"/>
                    </a:lnTo>
                    <a:lnTo>
                      <a:pt x="59" y="88"/>
                    </a:lnTo>
                    <a:lnTo>
                      <a:pt x="56" y="84"/>
                    </a:lnTo>
                    <a:lnTo>
                      <a:pt x="52" y="82"/>
                    </a:lnTo>
                    <a:lnTo>
                      <a:pt x="51" y="82"/>
                    </a:lnTo>
                    <a:lnTo>
                      <a:pt x="45" y="81"/>
                    </a:lnTo>
                    <a:lnTo>
                      <a:pt x="44" y="79"/>
                    </a:lnTo>
                    <a:lnTo>
                      <a:pt x="40" y="75"/>
                    </a:lnTo>
                    <a:lnTo>
                      <a:pt x="40" y="75"/>
                    </a:lnTo>
                    <a:lnTo>
                      <a:pt x="33" y="67"/>
                    </a:lnTo>
                    <a:lnTo>
                      <a:pt x="28" y="61"/>
                    </a:lnTo>
                    <a:lnTo>
                      <a:pt x="21" y="54"/>
                    </a:lnTo>
                    <a:lnTo>
                      <a:pt x="12" y="42"/>
                    </a:lnTo>
                    <a:lnTo>
                      <a:pt x="12" y="42"/>
                    </a:lnTo>
                    <a:lnTo>
                      <a:pt x="5" y="25"/>
                    </a:lnTo>
                    <a:lnTo>
                      <a:pt x="2" y="18"/>
                    </a:lnTo>
                    <a:lnTo>
                      <a:pt x="0" y="11"/>
                    </a:lnTo>
                    <a:lnTo>
                      <a:pt x="0" y="6"/>
                    </a:lnTo>
                    <a:lnTo>
                      <a:pt x="2" y="2"/>
                    </a:lnTo>
                    <a:lnTo>
                      <a:pt x="7" y="0"/>
                    </a:lnTo>
                    <a:lnTo>
                      <a:pt x="14" y="2"/>
                    </a:lnTo>
                    <a:lnTo>
                      <a:pt x="14" y="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9" name="Freeform 1945">
                <a:extLst>
                  <a:ext uri="{FF2B5EF4-FFF2-40B4-BE49-F238E27FC236}">
                    <a16:creationId xmlns:a16="http://schemas.microsoft.com/office/drawing/2014/main" id="{E7C06DDD-DF0E-4FAC-B3B6-9614EC8E649E}"/>
                  </a:ext>
                </a:extLst>
              </p:cNvPr>
              <p:cNvSpPr>
                <a:spLocks/>
              </p:cNvSpPr>
              <p:nvPr/>
            </p:nvSpPr>
            <p:spPr bwMode="auto">
              <a:xfrm>
                <a:off x="6750350" y="4451761"/>
                <a:ext cx="238144" cy="87455"/>
              </a:xfrm>
              <a:custGeom>
                <a:avLst/>
                <a:gdLst/>
                <a:ahLst/>
                <a:cxnLst>
                  <a:cxn ang="0">
                    <a:pos x="10" y="30"/>
                  </a:cxn>
                  <a:cxn ang="0">
                    <a:pos x="16" y="23"/>
                  </a:cxn>
                  <a:cxn ang="0">
                    <a:pos x="19" y="18"/>
                  </a:cxn>
                  <a:cxn ang="0">
                    <a:pos x="24" y="4"/>
                  </a:cxn>
                  <a:cxn ang="0">
                    <a:pos x="33" y="0"/>
                  </a:cxn>
                  <a:cxn ang="0">
                    <a:pos x="57" y="7"/>
                  </a:cxn>
                  <a:cxn ang="0">
                    <a:pos x="61" y="4"/>
                  </a:cxn>
                  <a:cxn ang="0">
                    <a:pos x="68" y="0"/>
                  </a:cxn>
                  <a:cxn ang="0">
                    <a:pos x="78" y="9"/>
                  </a:cxn>
                  <a:cxn ang="0">
                    <a:pos x="85" y="11"/>
                  </a:cxn>
                  <a:cxn ang="0">
                    <a:pos x="96" y="13"/>
                  </a:cxn>
                  <a:cxn ang="0">
                    <a:pos x="101" y="14"/>
                  </a:cxn>
                  <a:cxn ang="0">
                    <a:pos x="110" y="14"/>
                  </a:cxn>
                  <a:cxn ang="0">
                    <a:pos x="113" y="21"/>
                  </a:cxn>
                  <a:cxn ang="0">
                    <a:pos x="122" y="37"/>
                  </a:cxn>
                  <a:cxn ang="0">
                    <a:pos x="139" y="40"/>
                  </a:cxn>
                  <a:cxn ang="0">
                    <a:pos x="148" y="40"/>
                  </a:cxn>
                  <a:cxn ang="0">
                    <a:pos x="164" y="39"/>
                  </a:cxn>
                  <a:cxn ang="0">
                    <a:pos x="179" y="46"/>
                  </a:cxn>
                  <a:cxn ang="0">
                    <a:pos x="188" y="32"/>
                  </a:cxn>
                  <a:cxn ang="0">
                    <a:pos x="195" y="21"/>
                  </a:cxn>
                  <a:cxn ang="0">
                    <a:pos x="202" y="20"/>
                  </a:cxn>
                  <a:cxn ang="0">
                    <a:pos x="209" y="30"/>
                  </a:cxn>
                  <a:cxn ang="0">
                    <a:pos x="216" y="32"/>
                  </a:cxn>
                  <a:cxn ang="0">
                    <a:pos x="226" y="34"/>
                  </a:cxn>
                  <a:cxn ang="0">
                    <a:pos x="233" y="35"/>
                  </a:cxn>
                  <a:cxn ang="0">
                    <a:pos x="240" y="40"/>
                  </a:cxn>
                  <a:cxn ang="0">
                    <a:pos x="249" y="40"/>
                  </a:cxn>
                  <a:cxn ang="0">
                    <a:pos x="258" y="42"/>
                  </a:cxn>
                  <a:cxn ang="0">
                    <a:pos x="263" y="54"/>
                  </a:cxn>
                  <a:cxn ang="0">
                    <a:pos x="263" y="68"/>
                  </a:cxn>
                  <a:cxn ang="0">
                    <a:pos x="272" y="74"/>
                  </a:cxn>
                  <a:cxn ang="0">
                    <a:pos x="294" y="75"/>
                  </a:cxn>
                  <a:cxn ang="0">
                    <a:pos x="313" y="72"/>
                  </a:cxn>
                  <a:cxn ang="0">
                    <a:pos x="324" y="86"/>
                  </a:cxn>
                  <a:cxn ang="0">
                    <a:pos x="322" y="110"/>
                  </a:cxn>
                  <a:cxn ang="0">
                    <a:pos x="327" y="117"/>
                  </a:cxn>
                  <a:cxn ang="0">
                    <a:pos x="326" y="122"/>
                  </a:cxn>
                  <a:cxn ang="0">
                    <a:pos x="313" y="115"/>
                  </a:cxn>
                  <a:cxn ang="0">
                    <a:pos x="291" y="107"/>
                  </a:cxn>
                  <a:cxn ang="0">
                    <a:pos x="273" y="100"/>
                  </a:cxn>
                  <a:cxn ang="0">
                    <a:pos x="270" y="105"/>
                  </a:cxn>
                  <a:cxn ang="0">
                    <a:pos x="254" y="105"/>
                  </a:cxn>
                  <a:cxn ang="0">
                    <a:pos x="232" y="101"/>
                  </a:cxn>
                  <a:cxn ang="0">
                    <a:pos x="214" y="101"/>
                  </a:cxn>
                  <a:cxn ang="0">
                    <a:pos x="181" y="93"/>
                  </a:cxn>
                  <a:cxn ang="0">
                    <a:pos x="164" y="81"/>
                  </a:cxn>
                  <a:cxn ang="0">
                    <a:pos x="146" y="77"/>
                  </a:cxn>
                  <a:cxn ang="0">
                    <a:pos x="129" y="75"/>
                  </a:cxn>
                  <a:cxn ang="0">
                    <a:pos x="124" y="74"/>
                  </a:cxn>
                  <a:cxn ang="0">
                    <a:pos x="108" y="81"/>
                  </a:cxn>
                  <a:cxn ang="0">
                    <a:pos x="96" y="77"/>
                  </a:cxn>
                  <a:cxn ang="0">
                    <a:pos x="49" y="63"/>
                  </a:cxn>
                  <a:cxn ang="0">
                    <a:pos x="42" y="58"/>
                  </a:cxn>
                  <a:cxn ang="0">
                    <a:pos x="45" y="46"/>
                  </a:cxn>
                  <a:cxn ang="0">
                    <a:pos x="38" y="46"/>
                  </a:cxn>
                  <a:cxn ang="0">
                    <a:pos x="33" y="42"/>
                  </a:cxn>
                  <a:cxn ang="0">
                    <a:pos x="19" y="39"/>
                  </a:cxn>
                  <a:cxn ang="0">
                    <a:pos x="5" y="40"/>
                  </a:cxn>
                  <a:cxn ang="0">
                    <a:pos x="2" y="34"/>
                  </a:cxn>
                </a:cxnLst>
                <a:rect l="0" t="0" r="r" b="b"/>
                <a:pathLst>
                  <a:path w="329" h="122">
                    <a:moveTo>
                      <a:pt x="5" y="32"/>
                    </a:moveTo>
                    <a:lnTo>
                      <a:pt x="5" y="32"/>
                    </a:lnTo>
                    <a:lnTo>
                      <a:pt x="10" y="30"/>
                    </a:lnTo>
                    <a:lnTo>
                      <a:pt x="12" y="28"/>
                    </a:lnTo>
                    <a:lnTo>
                      <a:pt x="12" y="25"/>
                    </a:lnTo>
                    <a:lnTo>
                      <a:pt x="16" y="23"/>
                    </a:lnTo>
                    <a:lnTo>
                      <a:pt x="16" y="23"/>
                    </a:lnTo>
                    <a:lnTo>
                      <a:pt x="17" y="21"/>
                    </a:lnTo>
                    <a:lnTo>
                      <a:pt x="19" y="18"/>
                    </a:lnTo>
                    <a:lnTo>
                      <a:pt x="21" y="11"/>
                    </a:lnTo>
                    <a:lnTo>
                      <a:pt x="23" y="6"/>
                    </a:lnTo>
                    <a:lnTo>
                      <a:pt x="24" y="4"/>
                    </a:lnTo>
                    <a:lnTo>
                      <a:pt x="28" y="0"/>
                    </a:lnTo>
                    <a:lnTo>
                      <a:pt x="33" y="0"/>
                    </a:lnTo>
                    <a:lnTo>
                      <a:pt x="33" y="0"/>
                    </a:lnTo>
                    <a:lnTo>
                      <a:pt x="45" y="4"/>
                    </a:lnTo>
                    <a:lnTo>
                      <a:pt x="54" y="7"/>
                    </a:lnTo>
                    <a:lnTo>
                      <a:pt x="57" y="7"/>
                    </a:lnTo>
                    <a:lnTo>
                      <a:pt x="59" y="6"/>
                    </a:lnTo>
                    <a:lnTo>
                      <a:pt x="61" y="4"/>
                    </a:lnTo>
                    <a:lnTo>
                      <a:pt x="61" y="4"/>
                    </a:lnTo>
                    <a:lnTo>
                      <a:pt x="61" y="0"/>
                    </a:lnTo>
                    <a:lnTo>
                      <a:pt x="63" y="0"/>
                    </a:lnTo>
                    <a:lnTo>
                      <a:pt x="68" y="0"/>
                    </a:lnTo>
                    <a:lnTo>
                      <a:pt x="73" y="2"/>
                    </a:lnTo>
                    <a:lnTo>
                      <a:pt x="78" y="9"/>
                    </a:lnTo>
                    <a:lnTo>
                      <a:pt x="78" y="9"/>
                    </a:lnTo>
                    <a:lnTo>
                      <a:pt x="80" y="11"/>
                    </a:lnTo>
                    <a:lnTo>
                      <a:pt x="82" y="11"/>
                    </a:lnTo>
                    <a:lnTo>
                      <a:pt x="85" y="11"/>
                    </a:lnTo>
                    <a:lnTo>
                      <a:pt x="90" y="9"/>
                    </a:lnTo>
                    <a:lnTo>
                      <a:pt x="92" y="11"/>
                    </a:lnTo>
                    <a:lnTo>
                      <a:pt x="96" y="13"/>
                    </a:lnTo>
                    <a:lnTo>
                      <a:pt x="96" y="13"/>
                    </a:lnTo>
                    <a:lnTo>
                      <a:pt x="99" y="14"/>
                    </a:lnTo>
                    <a:lnTo>
                      <a:pt x="101" y="14"/>
                    </a:lnTo>
                    <a:lnTo>
                      <a:pt x="106" y="14"/>
                    </a:lnTo>
                    <a:lnTo>
                      <a:pt x="108" y="13"/>
                    </a:lnTo>
                    <a:lnTo>
                      <a:pt x="110" y="14"/>
                    </a:lnTo>
                    <a:lnTo>
                      <a:pt x="111" y="16"/>
                    </a:lnTo>
                    <a:lnTo>
                      <a:pt x="113" y="21"/>
                    </a:lnTo>
                    <a:lnTo>
                      <a:pt x="113" y="21"/>
                    </a:lnTo>
                    <a:lnTo>
                      <a:pt x="117" y="30"/>
                    </a:lnTo>
                    <a:lnTo>
                      <a:pt x="118" y="34"/>
                    </a:lnTo>
                    <a:lnTo>
                      <a:pt x="122" y="37"/>
                    </a:lnTo>
                    <a:lnTo>
                      <a:pt x="125" y="39"/>
                    </a:lnTo>
                    <a:lnTo>
                      <a:pt x="132" y="39"/>
                    </a:lnTo>
                    <a:lnTo>
                      <a:pt x="139" y="40"/>
                    </a:lnTo>
                    <a:lnTo>
                      <a:pt x="139" y="40"/>
                    </a:lnTo>
                    <a:lnTo>
                      <a:pt x="144" y="40"/>
                    </a:lnTo>
                    <a:lnTo>
                      <a:pt x="148" y="40"/>
                    </a:lnTo>
                    <a:lnTo>
                      <a:pt x="153" y="39"/>
                    </a:lnTo>
                    <a:lnTo>
                      <a:pt x="164" y="39"/>
                    </a:lnTo>
                    <a:lnTo>
                      <a:pt x="164" y="39"/>
                    </a:lnTo>
                    <a:lnTo>
                      <a:pt x="169" y="40"/>
                    </a:lnTo>
                    <a:lnTo>
                      <a:pt x="174" y="42"/>
                    </a:lnTo>
                    <a:lnTo>
                      <a:pt x="179" y="46"/>
                    </a:lnTo>
                    <a:lnTo>
                      <a:pt x="181" y="46"/>
                    </a:lnTo>
                    <a:lnTo>
                      <a:pt x="185" y="44"/>
                    </a:lnTo>
                    <a:lnTo>
                      <a:pt x="188" y="32"/>
                    </a:lnTo>
                    <a:lnTo>
                      <a:pt x="188" y="32"/>
                    </a:lnTo>
                    <a:lnTo>
                      <a:pt x="191" y="25"/>
                    </a:lnTo>
                    <a:lnTo>
                      <a:pt x="195" y="21"/>
                    </a:lnTo>
                    <a:lnTo>
                      <a:pt x="197" y="18"/>
                    </a:lnTo>
                    <a:lnTo>
                      <a:pt x="200" y="18"/>
                    </a:lnTo>
                    <a:lnTo>
                      <a:pt x="202" y="20"/>
                    </a:lnTo>
                    <a:lnTo>
                      <a:pt x="204" y="23"/>
                    </a:lnTo>
                    <a:lnTo>
                      <a:pt x="209" y="30"/>
                    </a:lnTo>
                    <a:lnTo>
                      <a:pt x="209" y="30"/>
                    </a:lnTo>
                    <a:lnTo>
                      <a:pt x="211" y="34"/>
                    </a:lnTo>
                    <a:lnTo>
                      <a:pt x="212" y="34"/>
                    </a:lnTo>
                    <a:lnTo>
                      <a:pt x="216" y="32"/>
                    </a:lnTo>
                    <a:lnTo>
                      <a:pt x="221" y="30"/>
                    </a:lnTo>
                    <a:lnTo>
                      <a:pt x="225" y="30"/>
                    </a:lnTo>
                    <a:lnTo>
                      <a:pt x="226" y="34"/>
                    </a:lnTo>
                    <a:lnTo>
                      <a:pt x="226" y="34"/>
                    </a:lnTo>
                    <a:lnTo>
                      <a:pt x="232" y="37"/>
                    </a:lnTo>
                    <a:lnTo>
                      <a:pt x="233" y="35"/>
                    </a:lnTo>
                    <a:lnTo>
                      <a:pt x="235" y="35"/>
                    </a:lnTo>
                    <a:lnTo>
                      <a:pt x="240" y="40"/>
                    </a:lnTo>
                    <a:lnTo>
                      <a:pt x="240" y="40"/>
                    </a:lnTo>
                    <a:lnTo>
                      <a:pt x="242" y="42"/>
                    </a:lnTo>
                    <a:lnTo>
                      <a:pt x="245" y="44"/>
                    </a:lnTo>
                    <a:lnTo>
                      <a:pt x="249" y="40"/>
                    </a:lnTo>
                    <a:lnTo>
                      <a:pt x="251" y="40"/>
                    </a:lnTo>
                    <a:lnTo>
                      <a:pt x="254" y="40"/>
                    </a:lnTo>
                    <a:lnTo>
                      <a:pt x="258" y="42"/>
                    </a:lnTo>
                    <a:lnTo>
                      <a:pt x="261" y="47"/>
                    </a:lnTo>
                    <a:lnTo>
                      <a:pt x="261" y="47"/>
                    </a:lnTo>
                    <a:lnTo>
                      <a:pt x="263" y="54"/>
                    </a:lnTo>
                    <a:lnTo>
                      <a:pt x="265" y="60"/>
                    </a:lnTo>
                    <a:lnTo>
                      <a:pt x="263" y="65"/>
                    </a:lnTo>
                    <a:lnTo>
                      <a:pt x="263" y="68"/>
                    </a:lnTo>
                    <a:lnTo>
                      <a:pt x="263" y="70"/>
                    </a:lnTo>
                    <a:lnTo>
                      <a:pt x="272" y="74"/>
                    </a:lnTo>
                    <a:lnTo>
                      <a:pt x="272" y="74"/>
                    </a:lnTo>
                    <a:lnTo>
                      <a:pt x="279" y="75"/>
                    </a:lnTo>
                    <a:lnTo>
                      <a:pt x="286" y="77"/>
                    </a:lnTo>
                    <a:lnTo>
                      <a:pt x="294" y="75"/>
                    </a:lnTo>
                    <a:lnTo>
                      <a:pt x="303" y="74"/>
                    </a:lnTo>
                    <a:lnTo>
                      <a:pt x="313" y="72"/>
                    </a:lnTo>
                    <a:lnTo>
                      <a:pt x="313" y="72"/>
                    </a:lnTo>
                    <a:lnTo>
                      <a:pt x="320" y="75"/>
                    </a:lnTo>
                    <a:lnTo>
                      <a:pt x="324" y="79"/>
                    </a:lnTo>
                    <a:lnTo>
                      <a:pt x="324" y="86"/>
                    </a:lnTo>
                    <a:lnTo>
                      <a:pt x="324" y="93"/>
                    </a:lnTo>
                    <a:lnTo>
                      <a:pt x="320" y="105"/>
                    </a:lnTo>
                    <a:lnTo>
                      <a:pt x="322" y="110"/>
                    </a:lnTo>
                    <a:lnTo>
                      <a:pt x="326" y="114"/>
                    </a:lnTo>
                    <a:lnTo>
                      <a:pt x="326" y="114"/>
                    </a:lnTo>
                    <a:lnTo>
                      <a:pt x="327" y="117"/>
                    </a:lnTo>
                    <a:lnTo>
                      <a:pt x="329" y="121"/>
                    </a:lnTo>
                    <a:lnTo>
                      <a:pt x="327" y="121"/>
                    </a:lnTo>
                    <a:lnTo>
                      <a:pt x="326" y="122"/>
                    </a:lnTo>
                    <a:lnTo>
                      <a:pt x="320" y="119"/>
                    </a:lnTo>
                    <a:lnTo>
                      <a:pt x="320" y="119"/>
                    </a:lnTo>
                    <a:lnTo>
                      <a:pt x="313" y="115"/>
                    </a:lnTo>
                    <a:lnTo>
                      <a:pt x="308" y="114"/>
                    </a:lnTo>
                    <a:lnTo>
                      <a:pt x="301" y="112"/>
                    </a:lnTo>
                    <a:lnTo>
                      <a:pt x="291" y="107"/>
                    </a:lnTo>
                    <a:lnTo>
                      <a:pt x="291" y="107"/>
                    </a:lnTo>
                    <a:lnTo>
                      <a:pt x="275" y="100"/>
                    </a:lnTo>
                    <a:lnTo>
                      <a:pt x="273" y="100"/>
                    </a:lnTo>
                    <a:lnTo>
                      <a:pt x="273" y="101"/>
                    </a:lnTo>
                    <a:lnTo>
                      <a:pt x="273" y="103"/>
                    </a:lnTo>
                    <a:lnTo>
                      <a:pt x="270" y="105"/>
                    </a:lnTo>
                    <a:lnTo>
                      <a:pt x="265" y="105"/>
                    </a:lnTo>
                    <a:lnTo>
                      <a:pt x="254" y="105"/>
                    </a:lnTo>
                    <a:lnTo>
                      <a:pt x="254" y="105"/>
                    </a:lnTo>
                    <a:lnTo>
                      <a:pt x="237" y="101"/>
                    </a:lnTo>
                    <a:lnTo>
                      <a:pt x="233" y="101"/>
                    </a:lnTo>
                    <a:lnTo>
                      <a:pt x="232" y="101"/>
                    </a:lnTo>
                    <a:lnTo>
                      <a:pt x="228" y="103"/>
                    </a:lnTo>
                    <a:lnTo>
                      <a:pt x="214" y="101"/>
                    </a:lnTo>
                    <a:lnTo>
                      <a:pt x="214" y="101"/>
                    </a:lnTo>
                    <a:lnTo>
                      <a:pt x="200" y="100"/>
                    </a:lnTo>
                    <a:lnTo>
                      <a:pt x="190" y="96"/>
                    </a:lnTo>
                    <a:lnTo>
                      <a:pt x="181" y="93"/>
                    </a:lnTo>
                    <a:lnTo>
                      <a:pt x="176" y="89"/>
                    </a:lnTo>
                    <a:lnTo>
                      <a:pt x="169" y="84"/>
                    </a:lnTo>
                    <a:lnTo>
                      <a:pt x="164" y="81"/>
                    </a:lnTo>
                    <a:lnTo>
                      <a:pt x="158" y="79"/>
                    </a:lnTo>
                    <a:lnTo>
                      <a:pt x="158" y="79"/>
                    </a:lnTo>
                    <a:lnTo>
                      <a:pt x="146" y="77"/>
                    </a:lnTo>
                    <a:lnTo>
                      <a:pt x="139" y="77"/>
                    </a:lnTo>
                    <a:lnTo>
                      <a:pt x="134" y="77"/>
                    </a:lnTo>
                    <a:lnTo>
                      <a:pt x="129" y="75"/>
                    </a:lnTo>
                    <a:lnTo>
                      <a:pt x="129" y="75"/>
                    </a:lnTo>
                    <a:lnTo>
                      <a:pt x="127" y="74"/>
                    </a:lnTo>
                    <a:lnTo>
                      <a:pt x="124" y="74"/>
                    </a:lnTo>
                    <a:lnTo>
                      <a:pt x="117" y="77"/>
                    </a:lnTo>
                    <a:lnTo>
                      <a:pt x="113" y="79"/>
                    </a:lnTo>
                    <a:lnTo>
                      <a:pt x="108" y="81"/>
                    </a:lnTo>
                    <a:lnTo>
                      <a:pt x="101" y="81"/>
                    </a:lnTo>
                    <a:lnTo>
                      <a:pt x="96" y="77"/>
                    </a:lnTo>
                    <a:lnTo>
                      <a:pt x="96" y="77"/>
                    </a:lnTo>
                    <a:lnTo>
                      <a:pt x="80" y="72"/>
                    </a:lnTo>
                    <a:lnTo>
                      <a:pt x="66" y="67"/>
                    </a:lnTo>
                    <a:lnTo>
                      <a:pt x="49" y="63"/>
                    </a:lnTo>
                    <a:lnTo>
                      <a:pt x="43" y="61"/>
                    </a:lnTo>
                    <a:lnTo>
                      <a:pt x="42" y="61"/>
                    </a:lnTo>
                    <a:lnTo>
                      <a:pt x="42" y="58"/>
                    </a:lnTo>
                    <a:lnTo>
                      <a:pt x="43" y="53"/>
                    </a:lnTo>
                    <a:lnTo>
                      <a:pt x="43" y="53"/>
                    </a:lnTo>
                    <a:lnTo>
                      <a:pt x="45" y="46"/>
                    </a:lnTo>
                    <a:lnTo>
                      <a:pt x="45" y="44"/>
                    </a:lnTo>
                    <a:lnTo>
                      <a:pt x="43" y="44"/>
                    </a:lnTo>
                    <a:lnTo>
                      <a:pt x="38" y="46"/>
                    </a:lnTo>
                    <a:lnTo>
                      <a:pt x="35" y="46"/>
                    </a:lnTo>
                    <a:lnTo>
                      <a:pt x="33" y="42"/>
                    </a:lnTo>
                    <a:lnTo>
                      <a:pt x="33" y="42"/>
                    </a:lnTo>
                    <a:lnTo>
                      <a:pt x="30" y="40"/>
                    </a:lnTo>
                    <a:lnTo>
                      <a:pt x="26" y="39"/>
                    </a:lnTo>
                    <a:lnTo>
                      <a:pt x="19" y="39"/>
                    </a:lnTo>
                    <a:lnTo>
                      <a:pt x="12" y="40"/>
                    </a:lnTo>
                    <a:lnTo>
                      <a:pt x="5" y="40"/>
                    </a:lnTo>
                    <a:lnTo>
                      <a:pt x="5" y="40"/>
                    </a:lnTo>
                    <a:lnTo>
                      <a:pt x="0" y="37"/>
                    </a:lnTo>
                    <a:lnTo>
                      <a:pt x="0" y="35"/>
                    </a:lnTo>
                    <a:lnTo>
                      <a:pt x="2" y="34"/>
                    </a:lnTo>
                    <a:lnTo>
                      <a:pt x="5" y="32"/>
                    </a:lnTo>
                    <a:lnTo>
                      <a:pt x="5" y="3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0" name="Freeform 1946">
                <a:extLst>
                  <a:ext uri="{FF2B5EF4-FFF2-40B4-BE49-F238E27FC236}">
                    <a16:creationId xmlns:a16="http://schemas.microsoft.com/office/drawing/2014/main" id="{102B04D2-A957-4D63-861E-85A3AEA01FB5}"/>
                  </a:ext>
                </a:extLst>
              </p:cNvPr>
              <p:cNvSpPr>
                <a:spLocks/>
              </p:cNvSpPr>
              <p:nvPr/>
            </p:nvSpPr>
            <p:spPr bwMode="auto">
              <a:xfrm>
                <a:off x="7020246" y="4520134"/>
                <a:ext cx="23815" cy="22261"/>
              </a:xfrm>
              <a:custGeom>
                <a:avLst/>
                <a:gdLst/>
                <a:ahLst/>
                <a:cxnLst>
                  <a:cxn ang="0">
                    <a:pos x="6" y="21"/>
                  </a:cxn>
                  <a:cxn ang="0">
                    <a:pos x="6" y="21"/>
                  </a:cxn>
                  <a:cxn ang="0">
                    <a:pos x="0" y="23"/>
                  </a:cxn>
                  <a:cxn ang="0">
                    <a:pos x="0" y="24"/>
                  </a:cxn>
                  <a:cxn ang="0">
                    <a:pos x="4" y="28"/>
                  </a:cxn>
                  <a:cxn ang="0">
                    <a:pos x="12" y="30"/>
                  </a:cxn>
                  <a:cxn ang="0">
                    <a:pos x="12" y="30"/>
                  </a:cxn>
                  <a:cxn ang="0">
                    <a:pos x="21" y="30"/>
                  </a:cxn>
                  <a:cxn ang="0">
                    <a:pos x="23" y="28"/>
                  </a:cxn>
                  <a:cxn ang="0">
                    <a:pos x="25" y="26"/>
                  </a:cxn>
                  <a:cxn ang="0">
                    <a:pos x="25" y="23"/>
                  </a:cxn>
                  <a:cxn ang="0">
                    <a:pos x="28" y="14"/>
                  </a:cxn>
                  <a:cxn ang="0">
                    <a:pos x="28" y="14"/>
                  </a:cxn>
                  <a:cxn ang="0">
                    <a:pos x="30" y="7"/>
                  </a:cxn>
                  <a:cxn ang="0">
                    <a:pos x="32" y="3"/>
                  </a:cxn>
                  <a:cxn ang="0">
                    <a:pos x="28" y="2"/>
                  </a:cxn>
                  <a:cxn ang="0">
                    <a:pos x="23" y="0"/>
                  </a:cxn>
                  <a:cxn ang="0">
                    <a:pos x="23" y="0"/>
                  </a:cxn>
                  <a:cxn ang="0">
                    <a:pos x="19" y="0"/>
                  </a:cxn>
                  <a:cxn ang="0">
                    <a:pos x="16" y="0"/>
                  </a:cxn>
                  <a:cxn ang="0">
                    <a:pos x="11" y="3"/>
                  </a:cxn>
                  <a:cxn ang="0">
                    <a:pos x="7" y="7"/>
                  </a:cxn>
                  <a:cxn ang="0">
                    <a:pos x="6" y="10"/>
                  </a:cxn>
                  <a:cxn ang="0">
                    <a:pos x="6" y="10"/>
                  </a:cxn>
                  <a:cxn ang="0">
                    <a:pos x="6" y="17"/>
                  </a:cxn>
                  <a:cxn ang="0">
                    <a:pos x="6" y="21"/>
                  </a:cxn>
                  <a:cxn ang="0">
                    <a:pos x="6" y="21"/>
                  </a:cxn>
                  <a:cxn ang="0">
                    <a:pos x="6" y="21"/>
                  </a:cxn>
                </a:cxnLst>
                <a:rect l="0" t="0" r="r" b="b"/>
                <a:pathLst>
                  <a:path w="32" h="30">
                    <a:moveTo>
                      <a:pt x="6" y="21"/>
                    </a:moveTo>
                    <a:lnTo>
                      <a:pt x="6" y="21"/>
                    </a:lnTo>
                    <a:lnTo>
                      <a:pt x="0" y="23"/>
                    </a:lnTo>
                    <a:lnTo>
                      <a:pt x="0" y="24"/>
                    </a:lnTo>
                    <a:lnTo>
                      <a:pt x="4" y="28"/>
                    </a:lnTo>
                    <a:lnTo>
                      <a:pt x="12" y="30"/>
                    </a:lnTo>
                    <a:lnTo>
                      <a:pt x="12" y="30"/>
                    </a:lnTo>
                    <a:lnTo>
                      <a:pt x="21" y="30"/>
                    </a:lnTo>
                    <a:lnTo>
                      <a:pt x="23" y="28"/>
                    </a:lnTo>
                    <a:lnTo>
                      <a:pt x="25" y="26"/>
                    </a:lnTo>
                    <a:lnTo>
                      <a:pt x="25" y="23"/>
                    </a:lnTo>
                    <a:lnTo>
                      <a:pt x="28" y="14"/>
                    </a:lnTo>
                    <a:lnTo>
                      <a:pt x="28" y="14"/>
                    </a:lnTo>
                    <a:lnTo>
                      <a:pt x="30" y="7"/>
                    </a:lnTo>
                    <a:lnTo>
                      <a:pt x="32" y="3"/>
                    </a:lnTo>
                    <a:lnTo>
                      <a:pt x="28" y="2"/>
                    </a:lnTo>
                    <a:lnTo>
                      <a:pt x="23" y="0"/>
                    </a:lnTo>
                    <a:lnTo>
                      <a:pt x="23" y="0"/>
                    </a:lnTo>
                    <a:lnTo>
                      <a:pt x="19" y="0"/>
                    </a:lnTo>
                    <a:lnTo>
                      <a:pt x="16" y="0"/>
                    </a:lnTo>
                    <a:lnTo>
                      <a:pt x="11" y="3"/>
                    </a:lnTo>
                    <a:lnTo>
                      <a:pt x="7" y="7"/>
                    </a:lnTo>
                    <a:lnTo>
                      <a:pt x="6" y="10"/>
                    </a:lnTo>
                    <a:lnTo>
                      <a:pt x="6" y="10"/>
                    </a:lnTo>
                    <a:lnTo>
                      <a:pt x="6" y="17"/>
                    </a:lnTo>
                    <a:lnTo>
                      <a:pt x="6" y="21"/>
                    </a:lnTo>
                    <a:lnTo>
                      <a:pt x="6" y="21"/>
                    </a:lnTo>
                    <a:lnTo>
                      <a:pt x="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1" name="Freeform 1947">
                <a:extLst>
                  <a:ext uri="{FF2B5EF4-FFF2-40B4-BE49-F238E27FC236}">
                    <a16:creationId xmlns:a16="http://schemas.microsoft.com/office/drawing/2014/main" id="{F36B83DE-AE0F-4695-B63A-AB7D54E4B33F}"/>
                  </a:ext>
                </a:extLst>
              </p:cNvPr>
              <p:cNvSpPr>
                <a:spLocks/>
              </p:cNvSpPr>
              <p:nvPr/>
            </p:nvSpPr>
            <p:spPr bwMode="auto">
              <a:xfrm>
                <a:off x="7044061" y="4516954"/>
                <a:ext cx="60330" cy="30211"/>
              </a:xfrm>
              <a:custGeom>
                <a:avLst/>
                <a:gdLst/>
                <a:ahLst/>
                <a:cxnLst>
                  <a:cxn ang="0">
                    <a:pos x="0" y="26"/>
                  </a:cxn>
                  <a:cxn ang="0">
                    <a:pos x="3" y="19"/>
                  </a:cxn>
                  <a:cxn ang="0">
                    <a:pos x="8" y="14"/>
                  </a:cxn>
                  <a:cxn ang="0">
                    <a:pos x="10" y="12"/>
                  </a:cxn>
                  <a:cxn ang="0">
                    <a:pos x="15" y="12"/>
                  </a:cxn>
                  <a:cxn ang="0">
                    <a:pos x="24" y="14"/>
                  </a:cxn>
                  <a:cxn ang="0">
                    <a:pos x="28" y="14"/>
                  </a:cxn>
                  <a:cxn ang="0">
                    <a:pos x="34" y="22"/>
                  </a:cxn>
                  <a:cxn ang="0">
                    <a:pos x="38" y="26"/>
                  </a:cxn>
                  <a:cxn ang="0">
                    <a:pos x="43" y="22"/>
                  </a:cxn>
                  <a:cxn ang="0">
                    <a:pos x="48" y="22"/>
                  </a:cxn>
                  <a:cxn ang="0">
                    <a:pos x="52" y="21"/>
                  </a:cxn>
                  <a:cxn ang="0">
                    <a:pos x="45" y="15"/>
                  </a:cxn>
                  <a:cxn ang="0">
                    <a:pos x="41" y="14"/>
                  </a:cxn>
                  <a:cxn ang="0">
                    <a:pos x="34" y="8"/>
                  </a:cxn>
                  <a:cxn ang="0">
                    <a:pos x="33" y="1"/>
                  </a:cxn>
                  <a:cxn ang="0">
                    <a:pos x="38" y="0"/>
                  </a:cxn>
                  <a:cxn ang="0">
                    <a:pos x="41" y="0"/>
                  </a:cxn>
                  <a:cxn ang="0">
                    <a:pos x="48" y="5"/>
                  </a:cxn>
                  <a:cxn ang="0">
                    <a:pos x="55" y="8"/>
                  </a:cxn>
                  <a:cxn ang="0">
                    <a:pos x="57" y="7"/>
                  </a:cxn>
                  <a:cxn ang="0">
                    <a:pos x="62" y="5"/>
                  </a:cxn>
                  <a:cxn ang="0">
                    <a:pos x="68" y="8"/>
                  </a:cxn>
                  <a:cxn ang="0">
                    <a:pos x="71" y="8"/>
                  </a:cxn>
                  <a:cxn ang="0">
                    <a:pos x="75" y="7"/>
                  </a:cxn>
                  <a:cxn ang="0">
                    <a:pos x="81" y="14"/>
                  </a:cxn>
                  <a:cxn ang="0">
                    <a:pos x="85" y="26"/>
                  </a:cxn>
                  <a:cxn ang="0">
                    <a:pos x="83" y="28"/>
                  </a:cxn>
                  <a:cxn ang="0">
                    <a:pos x="75" y="26"/>
                  </a:cxn>
                  <a:cxn ang="0">
                    <a:pos x="71" y="24"/>
                  </a:cxn>
                  <a:cxn ang="0">
                    <a:pos x="71" y="28"/>
                  </a:cxn>
                  <a:cxn ang="0">
                    <a:pos x="76" y="29"/>
                  </a:cxn>
                  <a:cxn ang="0">
                    <a:pos x="76" y="33"/>
                  </a:cxn>
                  <a:cxn ang="0">
                    <a:pos x="68" y="31"/>
                  </a:cxn>
                  <a:cxn ang="0">
                    <a:pos x="61" y="31"/>
                  </a:cxn>
                  <a:cxn ang="0">
                    <a:pos x="55" y="29"/>
                  </a:cxn>
                  <a:cxn ang="0">
                    <a:pos x="55" y="28"/>
                  </a:cxn>
                  <a:cxn ang="0">
                    <a:pos x="50" y="31"/>
                  </a:cxn>
                  <a:cxn ang="0">
                    <a:pos x="45" y="33"/>
                  </a:cxn>
                  <a:cxn ang="0">
                    <a:pos x="29" y="36"/>
                  </a:cxn>
                  <a:cxn ang="0">
                    <a:pos x="10" y="41"/>
                  </a:cxn>
                  <a:cxn ang="0">
                    <a:pos x="1" y="40"/>
                  </a:cxn>
                  <a:cxn ang="0">
                    <a:pos x="0" y="35"/>
                  </a:cxn>
                  <a:cxn ang="0">
                    <a:pos x="0" y="26"/>
                  </a:cxn>
                </a:cxnLst>
                <a:rect l="0" t="0" r="r" b="b"/>
                <a:pathLst>
                  <a:path w="85" h="41">
                    <a:moveTo>
                      <a:pt x="0" y="26"/>
                    </a:moveTo>
                    <a:lnTo>
                      <a:pt x="0" y="26"/>
                    </a:lnTo>
                    <a:lnTo>
                      <a:pt x="0" y="21"/>
                    </a:lnTo>
                    <a:lnTo>
                      <a:pt x="3" y="19"/>
                    </a:lnTo>
                    <a:lnTo>
                      <a:pt x="5" y="17"/>
                    </a:lnTo>
                    <a:lnTo>
                      <a:pt x="8" y="14"/>
                    </a:lnTo>
                    <a:lnTo>
                      <a:pt x="8" y="14"/>
                    </a:lnTo>
                    <a:lnTo>
                      <a:pt x="10" y="12"/>
                    </a:lnTo>
                    <a:lnTo>
                      <a:pt x="12" y="10"/>
                    </a:lnTo>
                    <a:lnTo>
                      <a:pt x="15" y="12"/>
                    </a:lnTo>
                    <a:lnTo>
                      <a:pt x="21" y="14"/>
                    </a:lnTo>
                    <a:lnTo>
                      <a:pt x="24" y="14"/>
                    </a:lnTo>
                    <a:lnTo>
                      <a:pt x="24" y="14"/>
                    </a:lnTo>
                    <a:lnTo>
                      <a:pt x="28" y="14"/>
                    </a:lnTo>
                    <a:lnTo>
                      <a:pt x="29" y="15"/>
                    </a:lnTo>
                    <a:lnTo>
                      <a:pt x="34" y="22"/>
                    </a:lnTo>
                    <a:lnTo>
                      <a:pt x="34" y="22"/>
                    </a:lnTo>
                    <a:lnTo>
                      <a:pt x="38" y="26"/>
                    </a:lnTo>
                    <a:lnTo>
                      <a:pt x="41" y="24"/>
                    </a:lnTo>
                    <a:lnTo>
                      <a:pt x="43" y="22"/>
                    </a:lnTo>
                    <a:lnTo>
                      <a:pt x="48" y="22"/>
                    </a:lnTo>
                    <a:lnTo>
                      <a:pt x="48" y="22"/>
                    </a:lnTo>
                    <a:lnTo>
                      <a:pt x="52" y="22"/>
                    </a:lnTo>
                    <a:lnTo>
                      <a:pt x="52" y="21"/>
                    </a:lnTo>
                    <a:lnTo>
                      <a:pt x="50" y="19"/>
                    </a:lnTo>
                    <a:lnTo>
                      <a:pt x="45" y="15"/>
                    </a:lnTo>
                    <a:lnTo>
                      <a:pt x="41" y="14"/>
                    </a:lnTo>
                    <a:lnTo>
                      <a:pt x="41" y="14"/>
                    </a:lnTo>
                    <a:lnTo>
                      <a:pt x="38" y="14"/>
                    </a:lnTo>
                    <a:lnTo>
                      <a:pt x="34" y="8"/>
                    </a:lnTo>
                    <a:lnTo>
                      <a:pt x="33" y="5"/>
                    </a:lnTo>
                    <a:lnTo>
                      <a:pt x="33" y="1"/>
                    </a:lnTo>
                    <a:lnTo>
                      <a:pt x="34" y="0"/>
                    </a:lnTo>
                    <a:lnTo>
                      <a:pt x="38" y="0"/>
                    </a:lnTo>
                    <a:lnTo>
                      <a:pt x="38" y="0"/>
                    </a:lnTo>
                    <a:lnTo>
                      <a:pt x="41" y="0"/>
                    </a:lnTo>
                    <a:lnTo>
                      <a:pt x="45" y="1"/>
                    </a:lnTo>
                    <a:lnTo>
                      <a:pt x="48" y="5"/>
                    </a:lnTo>
                    <a:lnTo>
                      <a:pt x="52" y="8"/>
                    </a:lnTo>
                    <a:lnTo>
                      <a:pt x="55" y="8"/>
                    </a:lnTo>
                    <a:lnTo>
                      <a:pt x="57" y="7"/>
                    </a:lnTo>
                    <a:lnTo>
                      <a:pt x="57" y="7"/>
                    </a:lnTo>
                    <a:lnTo>
                      <a:pt x="61" y="5"/>
                    </a:lnTo>
                    <a:lnTo>
                      <a:pt x="62" y="5"/>
                    </a:lnTo>
                    <a:lnTo>
                      <a:pt x="64" y="7"/>
                    </a:lnTo>
                    <a:lnTo>
                      <a:pt x="68" y="8"/>
                    </a:lnTo>
                    <a:lnTo>
                      <a:pt x="69" y="8"/>
                    </a:lnTo>
                    <a:lnTo>
                      <a:pt x="71" y="8"/>
                    </a:lnTo>
                    <a:lnTo>
                      <a:pt x="71" y="8"/>
                    </a:lnTo>
                    <a:lnTo>
                      <a:pt x="75" y="7"/>
                    </a:lnTo>
                    <a:lnTo>
                      <a:pt x="76" y="8"/>
                    </a:lnTo>
                    <a:lnTo>
                      <a:pt x="81" y="14"/>
                    </a:lnTo>
                    <a:lnTo>
                      <a:pt x="83" y="21"/>
                    </a:lnTo>
                    <a:lnTo>
                      <a:pt x="85" y="26"/>
                    </a:lnTo>
                    <a:lnTo>
                      <a:pt x="85" y="26"/>
                    </a:lnTo>
                    <a:lnTo>
                      <a:pt x="83" y="28"/>
                    </a:lnTo>
                    <a:lnTo>
                      <a:pt x="81" y="28"/>
                    </a:lnTo>
                    <a:lnTo>
                      <a:pt x="75" y="26"/>
                    </a:lnTo>
                    <a:lnTo>
                      <a:pt x="75" y="26"/>
                    </a:lnTo>
                    <a:lnTo>
                      <a:pt x="71" y="24"/>
                    </a:lnTo>
                    <a:lnTo>
                      <a:pt x="69" y="26"/>
                    </a:lnTo>
                    <a:lnTo>
                      <a:pt x="71" y="28"/>
                    </a:lnTo>
                    <a:lnTo>
                      <a:pt x="76" y="29"/>
                    </a:lnTo>
                    <a:lnTo>
                      <a:pt x="76" y="29"/>
                    </a:lnTo>
                    <a:lnTo>
                      <a:pt x="78" y="31"/>
                    </a:lnTo>
                    <a:lnTo>
                      <a:pt x="76" y="33"/>
                    </a:lnTo>
                    <a:lnTo>
                      <a:pt x="68" y="31"/>
                    </a:lnTo>
                    <a:lnTo>
                      <a:pt x="68" y="31"/>
                    </a:lnTo>
                    <a:lnTo>
                      <a:pt x="62" y="29"/>
                    </a:lnTo>
                    <a:lnTo>
                      <a:pt x="61" y="31"/>
                    </a:lnTo>
                    <a:lnTo>
                      <a:pt x="57" y="31"/>
                    </a:lnTo>
                    <a:lnTo>
                      <a:pt x="55" y="29"/>
                    </a:lnTo>
                    <a:lnTo>
                      <a:pt x="55" y="29"/>
                    </a:lnTo>
                    <a:lnTo>
                      <a:pt x="55" y="28"/>
                    </a:lnTo>
                    <a:lnTo>
                      <a:pt x="52" y="29"/>
                    </a:lnTo>
                    <a:lnTo>
                      <a:pt x="50" y="31"/>
                    </a:lnTo>
                    <a:lnTo>
                      <a:pt x="45" y="33"/>
                    </a:lnTo>
                    <a:lnTo>
                      <a:pt x="45" y="33"/>
                    </a:lnTo>
                    <a:lnTo>
                      <a:pt x="40" y="33"/>
                    </a:lnTo>
                    <a:lnTo>
                      <a:pt x="29" y="36"/>
                    </a:lnTo>
                    <a:lnTo>
                      <a:pt x="19" y="40"/>
                    </a:lnTo>
                    <a:lnTo>
                      <a:pt x="10" y="41"/>
                    </a:lnTo>
                    <a:lnTo>
                      <a:pt x="10" y="41"/>
                    </a:lnTo>
                    <a:lnTo>
                      <a:pt x="1" y="40"/>
                    </a:lnTo>
                    <a:lnTo>
                      <a:pt x="0" y="38"/>
                    </a:lnTo>
                    <a:lnTo>
                      <a:pt x="0" y="35"/>
                    </a:lnTo>
                    <a:lnTo>
                      <a:pt x="0" y="31"/>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2" name="Freeform 1948">
                <a:extLst>
                  <a:ext uri="{FF2B5EF4-FFF2-40B4-BE49-F238E27FC236}">
                    <a16:creationId xmlns:a16="http://schemas.microsoft.com/office/drawing/2014/main" id="{DA023C74-ADD7-4CE7-843F-A4C71B9589D1}"/>
                  </a:ext>
                </a:extLst>
              </p:cNvPr>
              <p:cNvSpPr>
                <a:spLocks/>
              </p:cNvSpPr>
              <p:nvPr/>
            </p:nvSpPr>
            <p:spPr bwMode="auto">
              <a:xfrm>
                <a:off x="7120267" y="4516954"/>
                <a:ext cx="80968" cy="27031"/>
              </a:xfrm>
              <a:custGeom>
                <a:avLst/>
                <a:gdLst/>
                <a:ahLst/>
                <a:cxnLst>
                  <a:cxn ang="0">
                    <a:pos x="0" y="26"/>
                  </a:cxn>
                  <a:cxn ang="0">
                    <a:pos x="3" y="17"/>
                  </a:cxn>
                  <a:cxn ang="0">
                    <a:pos x="10" y="12"/>
                  </a:cxn>
                  <a:cxn ang="0">
                    <a:pos x="14" y="9"/>
                  </a:cxn>
                  <a:cxn ang="0">
                    <a:pos x="26" y="7"/>
                  </a:cxn>
                  <a:cxn ang="0">
                    <a:pos x="38" y="12"/>
                  </a:cxn>
                  <a:cxn ang="0">
                    <a:pos x="50" y="19"/>
                  </a:cxn>
                  <a:cxn ang="0">
                    <a:pos x="57" y="21"/>
                  </a:cxn>
                  <a:cxn ang="0">
                    <a:pos x="61" y="21"/>
                  </a:cxn>
                  <a:cxn ang="0">
                    <a:pos x="66" y="19"/>
                  </a:cxn>
                  <a:cxn ang="0">
                    <a:pos x="73" y="16"/>
                  </a:cxn>
                  <a:cxn ang="0">
                    <a:pos x="76" y="16"/>
                  </a:cxn>
                  <a:cxn ang="0">
                    <a:pos x="82" y="19"/>
                  </a:cxn>
                  <a:cxn ang="0">
                    <a:pos x="87" y="24"/>
                  </a:cxn>
                  <a:cxn ang="0">
                    <a:pos x="90" y="24"/>
                  </a:cxn>
                  <a:cxn ang="0">
                    <a:pos x="94" y="19"/>
                  </a:cxn>
                  <a:cxn ang="0">
                    <a:pos x="99" y="14"/>
                  </a:cxn>
                  <a:cxn ang="0">
                    <a:pos x="104" y="10"/>
                  </a:cxn>
                  <a:cxn ang="0">
                    <a:pos x="106" y="7"/>
                  </a:cxn>
                  <a:cxn ang="0">
                    <a:pos x="104" y="7"/>
                  </a:cxn>
                  <a:cxn ang="0">
                    <a:pos x="103" y="5"/>
                  </a:cxn>
                  <a:cxn ang="0">
                    <a:pos x="108" y="0"/>
                  </a:cxn>
                  <a:cxn ang="0">
                    <a:pos x="111" y="5"/>
                  </a:cxn>
                  <a:cxn ang="0">
                    <a:pos x="111" y="10"/>
                  </a:cxn>
                  <a:cxn ang="0">
                    <a:pos x="106" y="16"/>
                  </a:cxn>
                  <a:cxn ang="0">
                    <a:pos x="106" y="19"/>
                  </a:cxn>
                  <a:cxn ang="0">
                    <a:pos x="103" y="23"/>
                  </a:cxn>
                  <a:cxn ang="0">
                    <a:pos x="89" y="30"/>
                  </a:cxn>
                  <a:cxn ang="0">
                    <a:pos x="83" y="30"/>
                  </a:cxn>
                  <a:cxn ang="0">
                    <a:pos x="75" y="33"/>
                  </a:cxn>
                  <a:cxn ang="0">
                    <a:pos x="66" y="35"/>
                  </a:cxn>
                  <a:cxn ang="0">
                    <a:pos x="63" y="33"/>
                  </a:cxn>
                  <a:cxn ang="0">
                    <a:pos x="54" y="35"/>
                  </a:cxn>
                  <a:cxn ang="0">
                    <a:pos x="50" y="37"/>
                  </a:cxn>
                  <a:cxn ang="0">
                    <a:pos x="47" y="37"/>
                  </a:cxn>
                  <a:cxn ang="0">
                    <a:pos x="42" y="38"/>
                  </a:cxn>
                  <a:cxn ang="0">
                    <a:pos x="38" y="37"/>
                  </a:cxn>
                  <a:cxn ang="0">
                    <a:pos x="26" y="33"/>
                  </a:cxn>
                  <a:cxn ang="0">
                    <a:pos x="12" y="31"/>
                  </a:cxn>
                  <a:cxn ang="0">
                    <a:pos x="3" y="33"/>
                  </a:cxn>
                  <a:cxn ang="0">
                    <a:pos x="2" y="33"/>
                  </a:cxn>
                  <a:cxn ang="0">
                    <a:pos x="0" y="26"/>
                  </a:cxn>
                </a:cxnLst>
                <a:rect l="0" t="0" r="r" b="b"/>
                <a:pathLst>
                  <a:path w="111" h="38">
                    <a:moveTo>
                      <a:pt x="0" y="26"/>
                    </a:moveTo>
                    <a:lnTo>
                      <a:pt x="0" y="26"/>
                    </a:lnTo>
                    <a:lnTo>
                      <a:pt x="0" y="21"/>
                    </a:lnTo>
                    <a:lnTo>
                      <a:pt x="3" y="17"/>
                    </a:lnTo>
                    <a:lnTo>
                      <a:pt x="7" y="14"/>
                    </a:lnTo>
                    <a:lnTo>
                      <a:pt x="10" y="12"/>
                    </a:lnTo>
                    <a:lnTo>
                      <a:pt x="10" y="12"/>
                    </a:lnTo>
                    <a:lnTo>
                      <a:pt x="14" y="9"/>
                    </a:lnTo>
                    <a:lnTo>
                      <a:pt x="17" y="7"/>
                    </a:lnTo>
                    <a:lnTo>
                      <a:pt x="26" y="7"/>
                    </a:lnTo>
                    <a:lnTo>
                      <a:pt x="38" y="12"/>
                    </a:lnTo>
                    <a:lnTo>
                      <a:pt x="38" y="12"/>
                    </a:lnTo>
                    <a:lnTo>
                      <a:pt x="45" y="14"/>
                    </a:lnTo>
                    <a:lnTo>
                      <a:pt x="50" y="19"/>
                    </a:lnTo>
                    <a:lnTo>
                      <a:pt x="56" y="21"/>
                    </a:lnTo>
                    <a:lnTo>
                      <a:pt x="57" y="21"/>
                    </a:lnTo>
                    <a:lnTo>
                      <a:pt x="61" y="21"/>
                    </a:lnTo>
                    <a:lnTo>
                      <a:pt x="61" y="21"/>
                    </a:lnTo>
                    <a:lnTo>
                      <a:pt x="64" y="19"/>
                    </a:lnTo>
                    <a:lnTo>
                      <a:pt x="66" y="19"/>
                    </a:lnTo>
                    <a:lnTo>
                      <a:pt x="70" y="19"/>
                    </a:lnTo>
                    <a:lnTo>
                      <a:pt x="73" y="16"/>
                    </a:lnTo>
                    <a:lnTo>
                      <a:pt x="73" y="16"/>
                    </a:lnTo>
                    <a:lnTo>
                      <a:pt x="76" y="16"/>
                    </a:lnTo>
                    <a:lnTo>
                      <a:pt x="78" y="16"/>
                    </a:lnTo>
                    <a:lnTo>
                      <a:pt x="82" y="19"/>
                    </a:lnTo>
                    <a:lnTo>
                      <a:pt x="85" y="23"/>
                    </a:lnTo>
                    <a:lnTo>
                      <a:pt x="87" y="24"/>
                    </a:lnTo>
                    <a:lnTo>
                      <a:pt x="90" y="24"/>
                    </a:lnTo>
                    <a:lnTo>
                      <a:pt x="90" y="24"/>
                    </a:lnTo>
                    <a:lnTo>
                      <a:pt x="94" y="23"/>
                    </a:lnTo>
                    <a:lnTo>
                      <a:pt x="94" y="19"/>
                    </a:lnTo>
                    <a:lnTo>
                      <a:pt x="94" y="17"/>
                    </a:lnTo>
                    <a:lnTo>
                      <a:pt x="99" y="14"/>
                    </a:lnTo>
                    <a:lnTo>
                      <a:pt x="99" y="14"/>
                    </a:lnTo>
                    <a:lnTo>
                      <a:pt x="104" y="10"/>
                    </a:lnTo>
                    <a:lnTo>
                      <a:pt x="106" y="9"/>
                    </a:lnTo>
                    <a:lnTo>
                      <a:pt x="106" y="7"/>
                    </a:lnTo>
                    <a:lnTo>
                      <a:pt x="104" y="7"/>
                    </a:lnTo>
                    <a:lnTo>
                      <a:pt x="104" y="7"/>
                    </a:lnTo>
                    <a:lnTo>
                      <a:pt x="103" y="5"/>
                    </a:lnTo>
                    <a:lnTo>
                      <a:pt x="103" y="5"/>
                    </a:lnTo>
                    <a:lnTo>
                      <a:pt x="104" y="2"/>
                    </a:lnTo>
                    <a:lnTo>
                      <a:pt x="108" y="0"/>
                    </a:lnTo>
                    <a:lnTo>
                      <a:pt x="110" y="2"/>
                    </a:lnTo>
                    <a:lnTo>
                      <a:pt x="111" y="5"/>
                    </a:lnTo>
                    <a:lnTo>
                      <a:pt x="111" y="5"/>
                    </a:lnTo>
                    <a:lnTo>
                      <a:pt x="111" y="10"/>
                    </a:lnTo>
                    <a:lnTo>
                      <a:pt x="110" y="14"/>
                    </a:lnTo>
                    <a:lnTo>
                      <a:pt x="106" y="16"/>
                    </a:lnTo>
                    <a:lnTo>
                      <a:pt x="106" y="19"/>
                    </a:lnTo>
                    <a:lnTo>
                      <a:pt x="106" y="19"/>
                    </a:lnTo>
                    <a:lnTo>
                      <a:pt x="106" y="21"/>
                    </a:lnTo>
                    <a:lnTo>
                      <a:pt x="103" y="23"/>
                    </a:lnTo>
                    <a:lnTo>
                      <a:pt x="96" y="28"/>
                    </a:lnTo>
                    <a:lnTo>
                      <a:pt x="89" y="30"/>
                    </a:lnTo>
                    <a:lnTo>
                      <a:pt x="83" y="30"/>
                    </a:lnTo>
                    <a:lnTo>
                      <a:pt x="83" y="30"/>
                    </a:lnTo>
                    <a:lnTo>
                      <a:pt x="80" y="30"/>
                    </a:lnTo>
                    <a:lnTo>
                      <a:pt x="75" y="33"/>
                    </a:lnTo>
                    <a:lnTo>
                      <a:pt x="70" y="35"/>
                    </a:lnTo>
                    <a:lnTo>
                      <a:pt x="66" y="35"/>
                    </a:lnTo>
                    <a:lnTo>
                      <a:pt x="63" y="33"/>
                    </a:lnTo>
                    <a:lnTo>
                      <a:pt x="63" y="33"/>
                    </a:lnTo>
                    <a:lnTo>
                      <a:pt x="56" y="33"/>
                    </a:lnTo>
                    <a:lnTo>
                      <a:pt x="54" y="35"/>
                    </a:lnTo>
                    <a:lnTo>
                      <a:pt x="52" y="37"/>
                    </a:lnTo>
                    <a:lnTo>
                      <a:pt x="50" y="37"/>
                    </a:lnTo>
                    <a:lnTo>
                      <a:pt x="50" y="37"/>
                    </a:lnTo>
                    <a:lnTo>
                      <a:pt x="47" y="37"/>
                    </a:lnTo>
                    <a:lnTo>
                      <a:pt x="43" y="38"/>
                    </a:lnTo>
                    <a:lnTo>
                      <a:pt x="42" y="38"/>
                    </a:lnTo>
                    <a:lnTo>
                      <a:pt x="38" y="37"/>
                    </a:lnTo>
                    <a:lnTo>
                      <a:pt x="38" y="37"/>
                    </a:lnTo>
                    <a:lnTo>
                      <a:pt x="33" y="33"/>
                    </a:lnTo>
                    <a:lnTo>
                      <a:pt x="26" y="33"/>
                    </a:lnTo>
                    <a:lnTo>
                      <a:pt x="12" y="31"/>
                    </a:lnTo>
                    <a:lnTo>
                      <a:pt x="12" y="31"/>
                    </a:lnTo>
                    <a:lnTo>
                      <a:pt x="7" y="31"/>
                    </a:lnTo>
                    <a:lnTo>
                      <a:pt x="3" y="33"/>
                    </a:lnTo>
                    <a:lnTo>
                      <a:pt x="2" y="33"/>
                    </a:lnTo>
                    <a:lnTo>
                      <a:pt x="2" y="33"/>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3" name="Freeform 1949">
                <a:extLst>
                  <a:ext uri="{FF2B5EF4-FFF2-40B4-BE49-F238E27FC236}">
                    <a16:creationId xmlns:a16="http://schemas.microsoft.com/office/drawing/2014/main" id="{D14BAC5D-FB02-4BE7-9F7E-781D169770B4}"/>
                  </a:ext>
                </a:extLst>
              </p:cNvPr>
              <p:cNvSpPr>
                <a:spLocks/>
              </p:cNvSpPr>
              <p:nvPr/>
            </p:nvSpPr>
            <p:spPr bwMode="auto">
              <a:xfrm>
                <a:off x="7099627" y="4555116"/>
                <a:ext cx="44453" cy="30211"/>
              </a:xfrm>
              <a:custGeom>
                <a:avLst/>
                <a:gdLst/>
                <a:ahLst/>
                <a:cxnLst>
                  <a:cxn ang="0">
                    <a:pos x="0" y="10"/>
                  </a:cxn>
                  <a:cxn ang="0">
                    <a:pos x="0" y="10"/>
                  </a:cxn>
                  <a:cxn ang="0">
                    <a:pos x="0" y="5"/>
                  </a:cxn>
                  <a:cxn ang="0">
                    <a:pos x="4" y="3"/>
                  </a:cxn>
                  <a:cxn ang="0">
                    <a:pos x="7" y="2"/>
                  </a:cxn>
                  <a:cxn ang="0">
                    <a:pos x="11" y="0"/>
                  </a:cxn>
                  <a:cxn ang="0">
                    <a:pos x="19" y="0"/>
                  </a:cxn>
                  <a:cxn ang="0">
                    <a:pos x="25" y="2"/>
                  </a:cxn>
                  <a:cxn ang="0">
                    <a:pos x="25" y="2"/>
                  </a:cxn>
                  <a:cxn ang="0">
                    <a:pos x="28" y="2"/>
                  </a:cxn>
                  <a:cxn ang="0">
                    <a:pos x="32" y="0"/>
                  </a:cxn>
                  <a:cxn ang="0">
                    <a:pos x="35" y="0"/>
                  </a:cxn>
                  <a:cxn ang="0">
                    <a:pos x="40" y="3"/>
                  </a:cxn>
                  <a:cxn ang="0">
                    <a:pos x="40" y="3"/>
                  </a:cxn>
                  <a:cxn ang="0">
                    <a:pos x="44" y="7"/>
                  </a:cxn>
                  <a:cxn ang="0">
                    <a:pos x="46" y="10"/>
                  </a:cxn>
                  <a:cxn ang="0">
                    <a:pos x="47" y="12"/>
                  </a:cxn>
                  <a:cxn ang="0">
                    <a:pos x="49" y="12"/>
                  </a:cxn>
                  <a:cxn ang="0">
                    <a:pos x="49" y="12"/>
                  </a:cxn>
                  <a:cxn ang="0">
                    <a:pos x="54" y="16"/>
                  </a:cxn>
                  <a:cxn ang="0">
                    <a:pos x="59" y="21"/>
                  </a:cxn>
                  <a:cxn ang="0">
                    <a:pos x="63" y="28"/>
                  </a:cxn>
                  <a:cxn ang="0">
                    <a:pos x="63" y="31"/>
                  </a:cxn>
                  <a:cxn ang="0">
                    <a:pos x="63" y="33"/>
                  </a:cxn>
                  <a:cxn ang="0">
                    <a:pos x="63" y="33"/>
                  </a:cxn>
                  <a:cxn ang="0">
                    <a:pos x="59" y="37"/>
                  </a:cxn>
                  <a:cxn ang="0">
                    <a:pos x="58" y="37"/>
                  </a:cxn>
                  <a:cxn ang="0">
                    <a:pos x="56" y="38"/>
                  </a:cxn>
                  <a:cxn ang="0">
                    <a:pos x="54" y="40"/>
                  </a:cxn>
                  <a:cxn ang="0">
                    <a:pos x="54" y="40"/>
                  </a:cxn>
                  <a:cxn ang="0">
                    <a:pos x="52" y="42"/>
                  </a:cxn>
                  <a:cxn ang="0">
                    <a:pos x="49" y="40"/>
                  </a:cxn>
                  <a:cxn ang="0">
                    <a:pos x="47" y="40"/>
                  </a:cxn>
                  <a:cxn ang="0">
                    <a:pos x="44" y="38"/>
                  </a:cxn>
                  <a:cxn ang="0">
                    <a:pos x="44" y="38"/>
                  </a:cxn>
                  <a:cxn ang="0">
                    <a:pos x="42" y="38"/>
                  </a:cxn>
                  <a:cxn ang="0">
                    <a:pos x="39" y="35"/>
                  </a:cxn>
                  <a:cxn ang="0">
                    <a:pos x="35" y="30"/>
                  </a:cxn>
                  <a:cxn ang="0">
                    <a:pos x="28" y="24"/>
                  </a:cxn>
                  <a:cxn ang="0">
                    <a:pos x="28" y="24"/>
                  </a:cxn>
                  <a:cxn ang="0">
                    <a:pos x="19" y="21"/>
                  </a:cxn>
                  <a:cxn ang="0">
                    <a:pos x="11" y="17"/>
                  </a:cxn>
                  <a:cxn ang="0">
                    <a:pos x="4" y="16"/>
                  </a:cxn>
                  <a:cxn ang="0">
                    <a:pos x="0" y="12"/>
                  </a:cxn>
                  <a:cxn ang="0">
                    <a:pos x="0" y="10"/>
                  </a:cxn>
                  <a:cxn ang="0">
                    <a:pos x="0" y="10"/>
                  </a:cxn>
                </a:cxnLst>
                <a:rect l="0" t="0" r="r" b="b"/>
                <a:pathLst>
                  <a:path w="63" h="42">
                    <a:moveTo>
                      <a:pt x="0" y="10"/>
                    </a:moveTo>
                    <a:lnTo>
                      <a:pt x="0" y="10"/>
                    </a:lnTo>
                    <a:lnTo>
                      <a:pt x="0" y="5"/>
                    </a:lnTo>
                    <a:lnTo>
                      <a:pt x="4" y="3"/>
                    </a:lnTo>
                    <a:lnTo>
                      <a:pt x="7" y="2"/>
                    </a:lnTo>
                    <a:lnTo>
                      <a:pt x="11" y="0"/>
                    </a:lnTo>
                    <a:lnTo>
                      <a:pt x="19" y="0"/>
                    </a:lnTo>
                    <a:lnTo>
                      <a:pt x="25" y="2"/>
                    </a:lnTo>
                    <a:lnTo>
                      <a:pt x="25" y="2"/>
                    </a:lnTo>
                    <a:lnTo>
                      <a:pt x="28" y="2"/>
                    </a:lnTo>
                    <a:lnTo>
                      <a:pt x="32" y="0"/>
                    </a:lnTo>
                    <a:lnTo>
                      <a:pt x="35" y="0"/>
                    </a:lnTo>
                    <a:lnTo>
                      <a:pt x="40" y="3"/>
                    </a:lnTo>
                    <a:lnTo>
                      <a:pt x="40" y="3"/>
                    </a:lnTo>
                    <a:lnTo>
                      <a:pt x="44" y="7"/>
                    </a:lnTo>
                    <a:lnTo>
                      <a:pt x="46" y="10"/>
                    </a:lnTo>
                    <a:lnTo>
                      <a:pt x="47" y="12"/>
                    </a:lnTo>
                    <a:lnTo>
                      <a:pt x="49" y="12"/>
                    </a:lnTo>
                    <a:lnTo>
                      <a:pt x="49" y="12"/>
                    </a:lnTo>
                    <a:lnTo>
                      <a:pt x="54" y="16"/>
                    </a:lnTo>
                    <a:lnTo>
                      <a:pt x="59" y="21"/>
                    </a:lnTo>
                    <a:lnTo>
                      <a:pt x="63" y="28"/>
                    </a:lnTo>
                    <a:lnTo>
                      <a:pt x="63" y="31"/>
                    </a:lnTo>
                    <a:lnTo>
                      <a:pt x="63" y="33"/>
                    </a:lnTo>
                    <a:lnTo>
                      <a:pt x="63" y="33"/>
                    </a:lnTo>
                    <a:lnTo>
                      <a:pt x="59" y="37"/>
                    </a:lnTo>
                    <a:lnTo>
                      <a:pt x="58" y="37"/>
                    </a:lnTo>
                    <a:lnTo>
                      <a:pt x="56" y="38"/>
                    </a:lnTo>
                    <a:lnTo>
                      <a:pt x="54" y="40"/>
                    </a:lnTo>
                    <a:lnTo>
                      <a:pt x="54" y="40"/>
                    </a:lnTo>
                    <a:lnTo>
                      <a:pt x="52" y="42"/>
                    </a:lnTo>
                    <a:lnTo>
                      <a:pt x="49" y="40"/>
                    </a:lnTo>
                    <a:lnTo>
                      <a:pt x="47" y="40"/>
                    </a:lnTo>
                    <a:lnTo>
                      <a:pt x="44" y="38"/>
                    </a:lnTo>
                    <a:lnTo>
                      <a:pt x="44" y="38"/>
                    </a:lnTo>
                    <a:lnTo>
                      <a:pt x="42" y="38"/>
                    </a:lnTo>
                    <a:lnTo>
                      <a:pt x="39" y="35"/>
                    </a:lnTo>
                    <a:lnTo>
                      <a:pt x="35" y="30"/>
                    </a:lnTo>
                    <a:lnTo>
                      <a:pt x="28" y="24"/>
                    </a:lnTo>
                    <a:lnTo>
                      <a:pt x="28" y="24"/>
                    </a:lnTo>
                    <a:lnTo>
                      <a:pt x="19" y="21"/>
                    </a:lnTo>
                    <a:lnTo>
                      <a:pt x="11" y="17"/>
                    </a:lnTo>
                    <a:lnTo>
                      <a:pt x="4" y="16"/>
                    </a:lnTo>
                    <a:lnTo>
                      <a:pt x="0" y="12"/>
                    </a:lnTo>
                    <a:lnTo>
                      <a:pt x="0" y="10"/>
                    </a:lnTo>
                    <a:lnTo>
                      <a:pt x="0" y="1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4" name="Freeform 1950">
                <a:extLst>
                  <a:ext uri="{FF2B5EF4-FFF2-40B4-BE49-F238E27FC236}">
                    <a16:creationId xmlns:a16="http://schemas.microsoft.com/office/drawing/2014/main" id="{F10ED10D-ACE1-409D-BD95-E9AE1DE70B75}"/>
                  </a:ext>
                </a:extLst>
              </p:cNvPr>
              <p:cNvSpPr>
                <a:spLocks/>
              </p:cNvSpPr>
              <p:nvPr/>
            </p:nvSpPr>
            <p:spPr bwMode="auto">
              <a:xfrm>
                <a:off x="7212349" y="4523315"/>
                <a:ext cx="98433" cy="65193"/>
              </a:xfrm>
              <a:custGeom>
                <a:avLst/>
                <a:gdLst/>
                <a:ahLst/>
                <a:cxnLst>
                  <a:cxn ang="0">
                    <a:pos x="7" y="89"/>
                  </a:cxn>
                  <a:cxn ang="0">
                    <a:pos x="0" y="86"/>
                  </a:cxn>
                  <a:cxn ang="0">
                    <a:pos x="3" y="81"/>
                  </a:cxn>
                  <a:cxn ang="0">
                    <a:pos x="7" y="77"/>
                  </a:cxn>
                  <a:cxn ang="0">
                    <a:pos x="9" y="74"/>
                  </a:cxn>
                  <a:cxn ang="0">
                    <a:pos x="5" y="70"/>
                  </a:cxn>
                  <a:cxn ang="0">
                    <a:pos x="5" y="68"/>
                  </a:cxn>
                  <a:cxn ang="0">
                    <a:pos x="10" y="53"/>
                  </a:cxn>
                  <a:cxn ang="0">
                    <a:pos x="19" y="46"/>
                  </a:cxn>
                  <a:cxn ang="0">
                    <a:pos x="35" y="37"/>
                  </a:cxn>
                  <a:cxn ang="0">
                    <a:pos x="49" y="30"/>
                  </a:cxn>
                  <a:cxn ang="0">
                    <a:pos x="54" y="23"/>
                  </a:cxn>
                  <a:cxn ang="0">
                    <a:pos x="59" y="14"/>
                  </a:cxn>
                  <a:cxn ang="0">
                    <a:pos x="66" y="13"/>
                  </a:cxn>
                  <a:cxn ang="0">
                    <a:pos x="85" y="7"/>
                  </a:cxn>
                  <a:cxn ang="0">
                    <a:pos x="89" y="9"/>
                  </a:cxn>
                  <a:cxn ang="0">
                    <a:pos x="97" y="7"/>
                  </a:cxn>
                  <a:cxn ang="0">
                    <a:pos x="106" y="6"/>
                  </a:cxn>
                  <a:cxn ang="0">
                    <a:pos x="111" y="6"/>
                  </a:cxn>
                  <a:cxn ang="0">
                    <a:pos x="125" y="0"/>
                  </a:cxn>
                  <a:cxn ang="0">
                    <a:pos x="131" y="0"/>
                  </a:cxn>
                  <a:cxn ang="0">
                    <a:pos x="136" y="4"/>
                  </a:cxn>
                  <a:cxn ang="0">
                    <a:pos x="127" y="14"/>
                  </a:cxn>
                  <a:cxn ang="0">
                    <a:pos x="122" y="18"/>
                  </a:cxn>
                  <a:cxn ang="0">
                    <a:pos x="113" y="20"/>
                  </a:cxn>
                  <a:cxn ang="0">
                    <a:pos x="108" y="23"/>
                  </a:cxn>
                  <a:cxn ang="0">
                    <a:pos x="99" y="28"/>
                  </a:cxn>
                  <a:cxn ang="0">
                    <a:pos x="92" y="32"/>
                  </a:cxn>
                  <a:cxn ang="0">
                    <a:pos x="87" y="35"/>
                  </a:cxn>
                  <a:cxn ang="0">
                    <a:pos x="75" y="39"/>
                  </a:cxn>
                  <a:cxn ang="0">
                    <a:pos x="64" y="44"/>
                  </a:cxn>
                  <a:cxn ang="0">
                    <a:pos x="54" y="54"/>
                  </a:cxn>
                  <a:cxn ang="0">
                    <a:pos x="45" y="67"/>
                  </a:cxn>
                  <a:cxn ang="0">
                    <a:pos x="35" y="79"/>
                  </a:cxn>
                  <a:cxn ang="0">
                    <a:pos x="28" y="81"/>
                  </a:cxn>
                  <a:cxn ang="0">
                    <a:pos x="26" y="79"/>
                  </a:cxn>
                  <a:cxn ang="0">
                    <a:pos x="19" y="84"/>
                  </a:cxn>
                  <a:cxn ang="0">
                    <a:pos x="10" y="89"/>
                  </a:cxn>
                  <a:cxn ang="0">
                    <a:pos x="7" y="89"/>
                  </a:cxn>
                </a:cxnLst>
                <a:rect l="0" t="0" r="r" b="b"/>
                <a:pathLst>
                  <a:path w="136" h="89">
                    <a:moveTo>
                      <a:pt x="7" y="89"/>
                    </a:moveTo>
                    <a:lnTo>
                      <a:pt x="7" y="89"/>
                    </a:lnTo>
                    <a:lnTo>
                      <a:pt x="0" y="86"/>
                    </a:lnTo>
                    <a:lnTo>
                      <a:pt x="0" y="86"/>
                    </a:lnTo>
                    <a:lnTo>
                      <a:pt x="0" y="84"/>
                    </a:lnTo>
                    <a:lnTo>
                      <a:pt x="3" y="81"/>
                    </a:lnTo>
                    <a:lnTo>
                      <a:pt x="7" y="77"/>
                    </a:lnTo>
                    <a:lnTo>
                      <a:pt x="7" y="77"/>
                    </a:lnTo>
                    <a:lnTo>
                      <a:pt x="10" y="75"/>
                    </a:lnTo>
                    <a:lnTo>
                      <a:pt x="9" y="74"/>
                    </a:lnTo>
                    <a:lnTo>
                      <a:pt x="5" y="72"/>
                    </a:lnTo>
                    <a:lnTo>
                      <a:pt x="5" y="70"/>
                    </a:lnTo>
                    <a:lnTo>
                      <a:pt x="5" y="68"/>
                    </a:lnTo>
                    <a:lnTo>
                      <a:pt x="5" y="68"/>
                    </a:lnTo>
                    <a:lnTo>
                      <a:pt x="7" y="58"/>
                    </a:lnTo>
                    <a:lnTo>
                      <a:pt x="10" y="53"/>
                    </a:lnTo>
                    <a:lnTo>
                      <a:pt x="19" y="46"/>
                    </a:lnTo>
                    <a:lnTo>
                      <a:pt x="19" y="46"/>
                    </a:lnTo>
                    <a:lnTo>
                      <a:pt x="28" y="40"/>
                    </a:lnTo>
                    <a:lnTo>
                      <a:pt x="35" y="37"/>
                    </a:lnTo>
                    <a:lnTo>
                      <a:pt x="40" y="35"/>
                    </a:lnTo>
                    <a:lnTo>
                      <a:pt x="49" y="30"/>
                    </a:lnTo>
                    <a:lnTo>
                      <a:pt x="49" y="30"/>
                    </a:lnTo>
                    <a:lnTo>
                      <a:pt x="54" y="23"/>
                    </a:lnTo>
                    <a:lnTo>
                      <a:pt x="56" y="20"/>
                    </a:lnTo>
                    <a:lnTo>
                      <a:pt x="59" y="14"/>
                    </a:lnTo>
                    <a:lnTo>
                      <a:pt x="66" y="13"/>
                    </a:lnTo>
                    <a:lnTo>
                      <a:pt x="66" y="13"/>
                    </a:lnTo>
                    <a:lnTo>
                      <a:pt x="82" y="7"/>
                    </a:lnTo>
                    <a:lnTo>
                      <a:pt x="85" y="7"/>
                    </a:lnTo>
                    <a:lnTo>
                      <a:pt x="89" y="9"/>
                    </a:lnTo>
                    <a:lnTo>
                      <a:pt x="89" y="9"/>
                    </a:lnTo>
                    <a:lnTo>
                      <a:pt x="92" y="9"/>
                    </a:lnTo>
                    <a:lnTo>
                      <a:pt x="97" y="7"/>
                    </a:lnTo>
                    <a:lnTo>
                      <a:pt x="103" y="6"/>
                    </a:lnTo>
                    <a:lnTo>
                      <a:pt x="106" y="6"/>
                    </a:lnTo>
                    <a:lnTo>
                      <a:pt x="106" y="6"/>
                    </a:lnTo>
                    <a:lnTo>
                      <a:pt x="111" y="6"/>
                    </a:lnTo>
                    <a:lnTo>
                      <a:pt x="118" y="2"/>
                    </a:lnTo>
                    <a:lnTo>
                      <a:pt x="125" y="0"/>
                    </a:lnTo>
                    <a:lnTo>
                      <a:pt x="129" y="0"/>
                    </a:lnTo>
                    <a:lnTo>
                      <a:pt x="131" y="0"/>
                    </a:lnTo>
                    <a:lnTo>
                      <a:pt x="131" y="0"/>
                    </a:lnTo>
                    <a:lnTo>
                      <a:pt x="136" y="4"/>
                    </a:lnTo>
                    <a:lnTo>
                      <a:pt x="134" y="6"/>
                    </a:lnTo>
                    <a:lnTo>
                      <a:pt x="127" y="14"/>
                    </a:lnTo>
                    <a:lnTo>
                      <a:pt x="127" y="14"/>
                    </a:lnTo>
                    <a:lnTo>
                      <a:pt x="122" y="18"/>
                    </a:lnTo>
                    <a:lnTo>
                      <a:pt x="118" y="18"/>
                    </a:lnTo>
                    <a:lnTo>
                      <a:pt x="113" y="20"/>
                    </a:lnTo>
                    <a:lnTo>
                      <a:pt x="108" y="23"/>
                    </a:lnTo>
                    <a:lnTo>
                      <a:pt x="108" y="23"/>
                    </a:lnTo>
                    <a:lnTo>
                      <a:pt x="104" y="28"/>
                    </a:lnTo>
                    <a:lnTo>
                      <a:pt x="99" y="28"/>
                    </a:lnTo>
                    <a:lnTo>
                      <a:pt x="96" y="28"/>
                    </a:lnTo>
                    <a:lnTo>
                      <a:pt x="92" y="32"/>
                    </a:lnTo>
                    <a:lnTo>
                      <a:pt x="92" y="32"/>
                    </a:lnTo>
                    <a:lnTo>
                      <a:pt x="87" y="35"/>
                    </a:lnTo>
                    <a:lnTo>
                      <a:pt x="82" y="37"/>
                    </a:lnTo>
                    <a:lnTo>
                      <a:pt x="75" y="39"/>
                    </a:lnTo>
                    <a:lnTo>
                      <a:pt x="64" y="44"/>
                    </a:lnTo>
                    <a:lnTo>
                      <a:pt x="64" y="44"/>
                    </a:lnTo>
                    <a:lnTo>
                      <a:pt x="57" y="49"/>
                    </a:lnTo>
                    <a:lnTo>
                      <a:pt x="54" y="54"/>
                    </a:lnTo>
                    <a:lnTo>
                      <a:pt x="50" y="60"/>
                    </a:lnTo>
                    <a:lnTo>
                      <a:pt x="45" y="67"/>
                    </a:lnTo>
                    <a:lnTo>
                      <a:pt x="45" y="67"/>
                    </a:lnTo>
                    <a:lnTo>
                      <a:pt x="35" y="79"/>
                    </a:lnTo>
                    <a:lnTo>
                      <a:pt x="31" y="81"/>
                    </a:lnTo>
                    <a:lnTo>
                      <a:pt x="28" y="81"/>
                    </a:lnTo>
                    <a:lnTo>
                      <a:pt x="28" y="81"/>
                    </a:lnTo>
                    <a:lnTo>
                      <a:pt x="26" y="79"/>
                    </a:lnTo>
                    <a:lnTo>
                      <a:pt x="23" y="81"/>
                    </a:lnTo>
                    <a:lnTo>
                      <a:pt x="19" y="84"/>
                    </a:lnTo>
                    <a:lnTo>
                      <a:pt x="14" y="87"/>
                    </a:lnTo>
                    <a:lnTo>
                      <a:pt x="10" y="89"/>
                    </a:lnTo>
                    <a:lnTo>
                      <a:pt x="7" y="89"/>
                    </a:lnTo>
                    <a:lnTo>
                      <a:pt x="7" y="8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5" name="Freeform 1951">
                <a:extLst>
                  <a:ext uri="{FF2B5EF4-FFF2-40B4-BE49-F238E27FC236}">
                    <a16:creationId xmlns:a16="http://schemas.microsoft.com/office/drawing/2014/main" id="{0B432499-CE36-496B-86E9-32C2D417C9FE}"/>
                  </a:ext>
                </a:extLst>
              </p:cNvPr>
              <p:cNvSpPr>
                <a:spLocks/>
              </p:cNvSpPr>
              <p:nvPr/>
            </p:nvSpPr>
            <p:spPr bwMode="auto">
              <a:xfrm>
                <a:off x="7272679" y="4501053"/>
                <a:ext cx="25402" cy="11130"/>
              </a:xfrm>
              <a:custGeom>
                <a:avLst/>
                <a:gdLst/>
                <a:ahLst/>
                <a:cxnLst>
                  <a:cxn ang="0">
                    <a:pos x="1" y="9"/>
                  </a:cxn>
                  <a:cxn ang="0">
                    <a:pos x="1" y="9"/>
                  </a:cxn>
                  <a:cxn ang="0">
                    <a:pos x="5" y="5"/>
                  </a:cxn>
                  <a:cxn ang="0">
                    <a:pos x="10" y="3"/>
                  </a:cxn>
                  <a:cxn ang="0">
                    <a:pos x="20" y="0"/>
                  </a:cxn>
                  <a:cxn ang="0">
                    <a:pos x="31" y="0"/>
                  </a:cxn>
                  <a:cxn ang="0">
                    <a:pos x="34" y="2"/>
                  </a:cxn>
                  <a:cxn ang="0">
                    <a:pos x="34" y="3"/>
                  </a:cxn>
                  <a:cxn ang="0">
                    <a:pos x="34" y="3"/>
                  </a:cxn>
                  <a:cxn ang="0">
                    <a:pos x="33" y="5"/>
                  </a:cxn>
                  <a:cxn ang="0">
                    <a:pos x="27" y="7"/>
                  </a:cxn>
                  <a:cxn ang="0">
                    <a:pos x="13" y="12"/>
                  </a:cxn>
                  <a:cxn ang="0">
                    <a:pos x="1" y="12"/>
                  </a:cxn>
                  <a:cxn ang="0">
                    <a:pos x="0" y="12"/>
                  </a:cxn>
                  <a:cxn ang="0">
                    <a:pos x="1" y="9"/>
                  </a:cxn>
                  <a:cxn ang="0">
                    <a:pos x="1" y="9"/>
                  </a:cxn>
                </a:cxnLst>
                <a:rect l="0" t="0" r="r" b="b"/>
                <a:pathLst>
                  <a:path w="34" h="12">
                    <a:moveTo>
                      <a:pt x="1" y="9"/>
                    </a:moveTo>
                    <a:lnTo>
                      <a:pt x="1" y="9"/>
                    </a:lnTo>
                    <a:lnTo>
                      <a:pt x="5" y="5"/>
                    </a:lnTo>
                    <a:lnTo>
                      <a:pt x="10" y="3"/>
                    </a:lnTo>
                    <a:lnTo>
                      <a:pt x="20" y="0"/>
                    </a:lnTo>
                    <a:lnTo>
                      <a:pt x="31" y="0"/>
                    </a:lnTo>
                    <a:lnTo>
                      <a:pt x="34" y="2"/>
                    </a:lnTo>
                    <a:lnTo>
                      <a:pt x="34" y="3"/>
                    </a:lnTo>
                    <a:lnTo>
                      <a:pt x="34" y="3"/>
                    </a:lnTo>
                    <a:lnTo>
                      <a:pt x="33" y="5"/>
                    </a:lnTo>
                    <a:lnTo>
                      <a:pt x="27" y="7"/>
                    </a:lnTo>
                    <a:lnTo>
                      <a:pt x="13" y="12"/>
                    </a:lnTo>
                    <a:lnTo>
                      <a:pt x="1" y="12"/>
                    </a:lnTo>
                    <a:lnTo>
                      <a:pt x="0" y="12"/>
                    </a:lnTo>
                    <a:lnTo>
                      <a:pt x="1" y="9"/>
                    </a:lnTo>
                    <a:lnTo>
                      <a:pt x="1"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109" name="Freeform 1952">
              <a:extLst>
                <a:ext uri="{FF2B5EF4-FFF2-40B4-BE49-F238E27FC236}">
                  <a16:creationId xmlns:a16="http://schemas.microsoft.com/office/drawing/2014/main" id="{40C30E80-BB75-47E9-A56F-69F9C0F1DDA8}"/>
                </a:ext>
              </a:extLst>
            </p:cNvPr>
            <p:cNvSpPr>
              <a:spLocks/>
            </p:cNvSpPr>
            <p:nvPr/>
          </p:nvSpPr>
          <p:spPr bwMode="auto">
            <a:xfrm>
              <a:off x="8537989" y="4569929"/>
              <a:ext cx="38764" cy="12334"/>
            </a:xfrm>
            <a:custGeom>
              <a:avLst/>
              <a:gdLst/>
              <a:ahLst/>
              <a:cxnLst>
                <a:cxn ang="0">
                  <a:pos x="15" y="10"/>
                </a:cxn>
                <a:cxn ang="0">
                  <a:pos x="15" y="10"/>
                </a:cxn>
                <a:cxn ang="0">
                  <a:pos x="5" y="3"/>
                </a:cxn>
                <a:cxn ang="0">
                  <a:pos x="0" y="0"/>
                </a:cxn>
                <a:cxn ang="0">
                  <a:pos x="3" y="0"/>
                </a:cxn>
                <a:cxn ang="0">
                  <a:pos x="15" y="2"/>
                </a:cxn>
                <a:cxn ang="0">
                  <a:pos x="15" y="2"/>
                </a:cxn>
                <a:cxn ang="0">
                  <a:pos x="45" y="5"/>
                </a:cxn>
                <a:cxn ang="0">
                  <a:pos x="48" y="5"/>
                </a:cxn>
                <a:cxn ang="0">
                  <a:pos x="48" y="7"/>
                </a:cxn>
                <a:cxn ang="0">
                  <a:pos x="40" y="10"/>
                </a:cxn>
                <a:cxn ang="0">
                  <a:pos x="40" y="10"/>
                </a:cxn>
                <a:cxn ang="0">
                  <a:pos x="22" y="14"/>
                </a:cxn>
                <a:cxn ang="0">
                  <a:pos x="17" y="12"/>
                </a:cxn>
                <a:cxn ang="0">
                  <a:pos x="15" y="10"/>
                </a:cxn>
                <a:cxn ang="0">
                  <a:pos x="15" y="10"/>
                </a:cxn>
              </a:cxnLst>
              <a:rect l="0" t="0" r="r" b="b"/>
              <a:pathLst>
                <a:path w="48" h="14">
                  <a:moveTo>
                    <a:pt x="15" y="10"/>
                  </a:moveTo>
                  <a:lnTo>
                    <a:pt x="15" y="10"/>
                  </a:lnTo>
                  <a:lnTo>
                    <a:pt x="5" y="3"/>
                  </a:lnTo>
                  <a:lnTo>
                    <a:pt x="0" y="0"/>
                  </a:lnTo>
                  <a:lnTo>
                    <a:pt x="3" y="0"/>
                  </a:lnTo>
                  <a:lnTo>
                    <a:pt x="15" y="2"/>
                  </a:lnTo>
                  <a:lnTo>
                    <a:pt x="15" y="2"/>
                  </a:lnTo>
                  <a:lnTo>
                    <a:pt x="45" y="5"/>
                  </a:lnTo>
                  <a:lnTo>
                    <a:pt x="48" y="5"/>
                  </a:lnTo>
                  <a:lnTo>
                    <a:pt x="48" y="7"/>
                  </a:lnTo>
                  <a:lnTo>
                    <a:pt x="40" y="10"/>
                  </a:lnTo>
                  <a:lnTo>
                    <a:pt x="40" y="10"/>
                  </a:lnTo>
                  <a:lnTo>
                    <a:pt x="22" y="14"/>
                  </a:lnTo>
                  <a:lnTo>
                    <a:pt x="17" y="12"/>
                  </a:lnTo>
                  <a:lnTo>
                    <a:pt x="15" y="10"/>
                  </a:lnTo>
                  <a:lnTo>
                    <a:pt x="15" y="1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0" name="Freeform 1953">
              <a:extLst>
                <a:ext uri="{FF2B5EF4-FFF2-40B4-BE49-F238E27FC236}">
                  <a16:creationId xmlns:a16="http://schemas.microsoft.com/office/drawing/2014/main" id="{709B2963-B089-4E16-89C7-C9EC998A7ECA}"/>
                </a:ext>
              </a:extLst>
            </p:cNvPr>
            <p:cNvSpPr>
              <a:spLocks/>
            </p:cNvSpPr>
            <p:nvPr/>
          </p:nvSpPr>
          <p:spPr bwMode="auto">
            <a:xfrm>
              <a:off x="9122970" y="4740844"/>
              <a:ext cx="31716" cy="28192"/>
            </a:xfrm>
            <a:custGeom>
              <a:avLst/>
              <a:gdLst/>
              <a:ahLst/>
              <a:cxnLst>
                <a:cxn ang="0">
                  <a:pos x="5" y="1"/>
                </a:cxn>
                <a:cxn ang="0">
                  <a:pos x="5" y="1"/>
                </a:cxn>
                <a:cxn ang="0">
                  <a:pos x="21" y="12"/>
                </a:cxn>
                <a:cxn ang="0">
                  <a:pos x="25" y="15"/>
                </a:cxn>
                <a:cxn ang="0">
                  <a:pos x="28" y="22"/>
                </a:cxn>
                <a:cxn ang="0">
                  <a:pos x="28" y="22"/>
                </a:cxn>
                <a:cxn ang="0">
                  <a:pos x="30" y="26"/>
                </a:cxn>
                <a:cxn ang="0">
                  <a:pos x="31" y="29"/>
                </a:cxn>
                <a:cxn ang="0">
                  <a:pos x="38" y="33"/>
                </a:cxn>
                <a:cxn ang="0">
                  <a:pos x="42" y="34"/>
                </a:cxn>
                <a:cxn ang="0">
                  <a:pos x="42" y="34"/>
                </a:cxn>
                <a:cxn ang="0">
                  <a:pos x="38" y="36"/>
                </a:cxn>
                <a:cxn ang="0">
                  <a:pos x="38" y="36"/>
                </a:cxn>
                <a:cxn ang="0">
                  <a:pos x="35" y="36"/>
                </a:cxn>
                <a:cxn ang="0">
                  <a:pos x="31" y="34"/>
                </a:cxn>
                <a:cxn ang="0">
                  <a:pos x="23" y="31"/>
                </a:cxn>
                <a:cxn ang="0">
                  <a:pos x="18" y="24"/>
                </a:cxn>
                <a:cxn ang="0">
                  <a:pos x="12" y="19"/>
                </a:cxn>
                <a:cxn ang="0">
                  <a:pos x="12" y="19"/>
                </a:cxn>
                <a:cxn ang="0">
                  <a:pos x="11" y="15"/>
                </a:cxn>
                <a:cxn ang="0">
                  <a:pos x="7" y="13"/>
                </a:cxn>
                <a:cxn ang="0">
                  <a:pos x="4" y="10"/>
                </a:cxn>
                <a:cxn ang="0">
                  <a:pos x="2" y="7"/>
                </a:cxn>
                <a:cxn ang="0">
                  <a:pos x="2" y="7"/>
                </a:cxn>
                <a:cxn ang="0">
                  <a:pos x="0" y="1"/>
                </a:cxn>
                <a:cxn ang="0">
                  <a:pos x="2" y="0"/>
                </a:cxn>
                <a:cxn ang="0">
                  <a:pos x="5" y="1"/>
                </a:cxn>
                <a:cxn ang="0">
                  <a:pos x="5" y="1"/>
                </a:cxn>
              </a:cxnLst>
              <a:rect l="0" t="0" r="r" b="b"/>
              <a:pathLst>
                <a:path w="42" h="36">
                  <a:moveTo>
                    <a:pt x="5" y="1"/>
                  </a:moveTo>
                  <a:lnTo>
                    <a:pt x="5" y="1"/>
                  </a:lnTo>
                  <a:lnTo>
                    <a:pt x="21" y="12"/>
                  </a:lnTo>
                  <a:lnTo>
                    <a:pt x="25" y="15"/>
                  </a:lnTo>
                  <a:lnTo>
                    <a:pt x="28" y="22"/>
                  </a:lnTo>
                  <a:lnTo>
                    <a:pt x="28" y="22"/>
                  </a:lnTo>
                  <a:lnTo>
                    <a:pt x="30" y="26"/>
                  </a:lnTo>
                  <a:lnTo>
                    <a:pt x="31" y="29"/>
                  </a:lnTo>
                  <a:lnTo>
                    <a:pt x="38" y="33"/>
                  </a:lnTo>
                  <a:lnTo>
                    <a:pt x="42" y="34"/>
                  </a:lnTo>
                  <a:lnTo>
                    <a:pt x="42" y="34"/>
                  </a:lnTo>
                  <a:lnTo>
                    <a:pt x="38" y="36"/>
                  </a:lnTo>
                  <a:lnTo>
                    <a:pt x="38" y="36"/>
                  </a:lnTo>
                  <a:lnTo>
                    <a:pt x="35" y="36"/>
                  </a:lnTo>
                  <a:lnTo>
                    <a:pt x="31" y="34"/>
                  </a:lnTo>
                  <a:lnTo>
                    <a:pt x="23" y="31"/>
                  </a:lnTo>
                  <a:lnTo>
                    <a:pt x="18" y="24"/>
                  </a:lnTo>
                  <a:lnTo>
                    <a:pt x="12" y="19"/>
                  </a:lnTo>
                  <a:lnTo>
                    <a:pt x="12" y="19"/>
                  </a:lnTo>
                  <a:lnTo>
                    <a:pt x="11" y="15"/>
                  </a:lnTo>
                  <a:lnTo>
                    <a:pt x="7" y="13"/>
                  </a:lnTo>
                  <a:lnTo>
                    <a:pt x="4" y="10"/>
                  </a:lnTo>
                  <a:lnTo>
                    <a:pt x="2" y="7"/>
                  </a:lnTo>
                  <a:lnTo>
                    <a:pt x="2" y="7"/>
                  </a:lnTo>
                  <a:lnTo>
                    <a:pt x="0" y="1"/>
                  </a:lnTo>
                  <a:lnTo>
                    <a:pt x="2" y="0"/>
                  </a:lnTo>
                  <a:lnTo>
                    <a:pt x="5" y="1"/>
                  </a:lnTo>
                  <a:lnTo>
                    <a:pt x="5" y="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1" name="Freeform 1954">
              <a:extLst>
                <a:ext uri="{FF2B5EF4-FFF2-40B4-BE49-F238E27FC236}">
                  <a16:creationId xmlns:a16="http://schemas.microsoft.com/office/drawing/2014/main" id="{475912AB-CDA4-4FE8-9E43-30ACFEEA6F76}"/>
                </a:ext>
              </a:extLst>
            </p:cNvPr>
            <p:cNvSpPr>
              <a:spLocks/>
            </p:cNvSpPr>
            <p:nvPr/>
          </p:nvSpPr>
          <p:spPr bwMode="auto">
            <a:xfrm>
              <a:off x="9256881" y="4865944"/>
              <a:ext cx="31716" cy="21144"/>
            </a:xfrm>
            <a:custGeom>
              <a:avLst/>
              <a:gdLst/>
              <a:ahLst/>
              <a:cxnLst>
                <a:cxn ang="0">
                  <a:pos x="2" y="0"/>
                </a:cxn>
                <a:cxn ang="0">
                  <a:pos x="2" y="0"/>
                </a:cxn>
                <a:cxn ang="0">
                  <a:pos x="4" y="0"/>
                </a:cxn>
                <a:cxn ang="0">
                  <a:pos x="7" y="0"/>
                </a:cxn>
                <a:cxn ang="0">
                  <a:pos x="14" y="4"/>
                </a:cxn>
                <a:cxn ang="0">
                  <a:pos x="21" y="7"/>
                </a:cxn>
                <a:cxn ang="0">
                  <a:pos x="28" y="9"/>
                </a:cxn>
                <a:cxn ang="0">
                  <a:pos x="28" y="9"/>
                </a:cxn>
                <a:cxn ang="0">
                  <a:pos x="31" y="11"/>
                </a:cxn>
                <a:cxn ang="0">
                  <a:pos x="33" y="12"/>
                </a:cxn>
                <a:cxn ang="0">
                  <a:pos x="37" y="18"/>
                </a:cxn>
                <a:cxn ang="0">
                  <a:pos x="38" y="25"/>
                </a:cxn>
                <a:cxn ang="0">
                  <a:pos x="38" y="26"/>
                </a:cxn>
                <a:cxn ang="0">
                  <a:pos x="35" y="26"/>
                </a:cxn>
                <a:cxn ang="0">
                  <a:pos x="35" y="26"/>
                </a:cxn>
                <a:cxn ang="0">
                  <a:pos x="30" y="25"/>
                </a:cxn>
                <a:cxn ang="0">
                  <a:pos x="21" y="23"/>
                </a:cxn>
                <a:cxn ang="0">
                  <a:pos x="12" y="18"/>
                </a:cxn>
                <a:cxn ang="0">
                  <a:pos x="10" y="16"/>
                </a:cxn>
                <a:cxn ang="0">
                  <a:pos x="9" y="12"/>
                </a:cxn>
                <a:cxn ang="0">
                  <a:pos x="9" y="12"/>
                </a:cxn>
                <a:cxn ang="0">
                  <a:pos x="9" y="9"/>
                </a:cxn>
                <a:cxn ang="0">
                  <a:pos x="7" y="7"/>
                </a:cxn>
                <a:cxn ang="0">
                  <a:pos x="4" y="5"/>
                </a:cxn>
                <a:cxn ang="0">
                  <a:pos x="2" y="4"/>
                </a:cxn>
                <a:cxn ang="0">
                  <a:pos x="0" y="2"/>
                </a:cxn>
                <a:cxn ang="0">
                  <a:pos x="2" y="0"/>
                </a:cxn>
                <a:cxn ang="0">
                  <a:pos x="2" y="0"/>
                </a:cxn>
              </a:cxnLst>
              <a:rect l="0" t="0" r="r" b="b"/>
              <a:pathLst>
                <a:path w="38" h="26">
                  <a:moveTo>
                    <a:pt x="2" y="0"/>
                  </a:moveTo>
                  <a:lnTo>
                    <a:pt x="2" y="0"/>
                  </a:lnTo>
                  <a:lnTo>
                    <a:pt x="4" y="0"/>
                  </a:lnTo>
                  <a:lnTo>
                    <a:pt x="7" y="0"/>
                  </a:lnTo>
                  <a:lnTo>
                    <a:pt x="14" y="4"/>
                  </a:lnTo>
                  <a:lnTo>
                    <a:pt x="21" y="7"/>
                  </a:lnTo>
                  <a:lnTo>
                    <a:pt x="28" y="9"/>
                  </a:lnTo>
                  <a:lnTo>
                    <a:pt x="28" y="9"/>
                  </a:lnTo>
                  <a:lnTo>
                    <a:pt x="31" y="11"/>
                  </a:lnTo>
                  <a:lnTo>
                    <a:pt x="33" y="12"/>
                  </a:lnTo>
                  <a:lnTo>
                    <a:pt x="37" y="18"/>
                  </a:lnTo>
                  <a:lnTo>
                    <a:pt x="38" y="25"/>
                  </a:lnTo>
                  <a:lnTo>
                    <a:pt x="38" y="26"/>
                  </a:lnTo>
                  <a:lnTo>
                    <a:pt x="35" y="26"/>
                  </a:lnTo>
                  <a:lnTo>
                    <a:pt x="35" y="26"/>
                  </a:lnTo>
                  <a:lnTo>
                    <a:pt x="30" y="25"/>
                  </a:lnTo>
                  <a:lnTo>
                    <a:pt x="21" y="23"/>
                  </a:lnTo>
                  <a:lnTo>
                    <a:pt x="12" y="18"/>
                  </a:lnTo>
                  <a:lnTo>
                    <a:pt x="10" y="16"/>
                  </a:lnTo>
                  <a:lnTo>
                    <a:pt x="9" y="12"/>
                  </a:lnTo>
                  <a:lnTo>
                    <a:pt x="9" y="12"/>
                  </a:lnTo>
                  <a:lnTo>
                    <a:pt x="9" y="9"/>
                  </a:lnTo>
                  <a:lnTo>
                    <a:pt x="7" y="7"/>
                  </a:lnTo>
                  <a:lnTo>
                    <a:pt x="4" y="5"/>
                  </a:lnTo>
                  <a:lnTo>
                    <a:pt x="2" y="4"/>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2" name="Freeform 1955">
              <a:extLst>
                <a:ext uri="{FF2B5EF4-FFF2-40B4-BE49-F238E27FC236}">
                  <a16:creationId xmlns:a16="http://schemas.microsoft.com/office/drawing/2014/main" id="{D088584A-93B8-48D2-ADF7-77F9A1F9D10F}"/>
                </a:ext>
              </a:extLst>
            </p:cNvPr>
            <p:cNvSpPr>
              <a:spLocks/>
            </p:cNvSpPr>
            <p:nvPr/>
          </p:nvSpPr>
          <p:spPr bwMode="auto">
            <a:xfrm>
              <a:off x="5478104" y="1395998"/>
              <a:ext cx="4561817" cy="1673905"/>
            </a:xfrm>
            <a:custGeom>
              <a:avLst/>
              <a:gdLst/>
              <a:ahLst/>
              <a:cxnLst>
                <a:cxn ang="0">
                  <a:pos x="5126" y="514"/>
                </a:cxn>
                <a:cxn ang="0">
                  <a:pos x="4928" y="530"/>
                </a:cxn>
                <a:cxn ang="0">
                  <a:pos x="4350" y="436"/>
                </a:cxn>
                <a:cxn ang="0">
                  <a:pos x="3907" y="409"/>
                </a:cxn>
                <a:cxn ang="0">
                  <a:pos x="3498" y="369"/>
                </a:cxn>
                <a:cxn ang="0">
                  <a:pos x="2983" y="267"/>
                </a:cxn>
                <a:cxn ang="0">
                  <a:pos x="3007" y="99"/>
                </a:cxn>
                <a:cxn ang="0">
                  <a:pos x="2760" y="12"/>
                </a:cxn>
                <a:cxn ang="0">
                  <a:pos x="2305" y="115"/>
                </a:cxn>
                <a:cxn ang="0">
                  <a:pos x="1908" y="274"/>
                </a:cxn>
                <a:cxn ang="0">
                  <a:pos x="1964" y="444"/>
                </a:cxn>
                <a:cxn ang="0">
                  <a:pos x="1786" y="359"/>
                </a:cxn>
                <a:cxn ang="0">
                  <a:pos x="1666" y="326"/>
                </a:cxn>
                <a:cxn ang="0">
                  <a:pos x="1757" y="582"/>
                </a:cxn>
                <a:cxn ang="0">
                  <a:pos x="1605" y="714"/>
                </a:cxn>
                <a:cxn ang="0">
                  <a:pos x="1560" y="418"/>
                </a:cxn>
                <a:cxn ang="0">
                  <a:pos x="1389" y="505"/>
                </a:cxn>
                <a:cxn ang="0">
                  <a:pos x="1167" y="582"/>
                </a:cxn>
                <a:cxn ang="0">
                  <a:pos x="862" y="599"/>
                </a:cxn>
                <a:cxn ang="0">
                  <a:pos x="630" y="601"/>
                </a:cxn>
                <a:cxn ang="0">
                  <a:pos x="461" y="761"/>
                </a:cxn>
                <a:cxn ang="0">
                  <a:pos x="291" y="853"/>
                </a:cxn>
                <a:cxn ang="0">
                  <a:pos x="439" y="744"/>
                </a:cxn>
                <a:cxn ang="0">
                  <a:pos x="125" y="535"/>
                </a:cxn>
                <a:cxn ang="0">
                  <a:pos x="92" y="653"/>
                </a:cxn>
                <a:cxn ang="0">
                  <a:pos x="97" y="839"/>
                </a:cxn>
                <a:cxn ang="0">
                  <a:pos x="47" y="1068"/>
                </a:cxn>
                <a:cxn ang="0">
                  <a:pos x="37" y="1125"/>
                </a:cxn>
                <a:cxn ang="0">
                  <a:pos x="16" y="1264"/>
                </a:cxn>
                <a:cxn ang="0">
                  <a:pos x="124" y="1360"/>
                </a:cxn>
                <a:cxn ang="0">
                  <a:pos x="145" y="1478"/>
                </a:cxn>
                <a:cxn ang="0">
                  <a:pos x="249" y="1552"/>
                </a:cxn>
                <a:cxn ang="0">
                  <a:pos x="400" y="1651"/>
                </a:cxn>
                <a:cxn ang="0">
                  <a:pos x="399" y="1764"/>
                </a:cxn>
                <a:cxn ang="0">
                  <a:pos x="367" y="1854"/>
                </a:cxn>
                <a:cxn ang="0">
                  <a:pos x="460" y="1971"/>
                </a:cxn>
                <a:cxn ang="0">
                  <a:pos x="627" y="2013"/>
                </a:cxn>
                <a:cxn ang="0">
                  <a:pos x="712" y="2009"/>
                </a:cxn>
                <a:cxn ang="0">
                  <a:pos x="747" y="1788"/>
                </a:cxn>
                <a:cxn ang="0">
                  <a:pos x="750" y="1616"/>
                </a:cxn>
                <a:cxn ang="0">
                  <a:pos x="1107" y="1606"/>
                </a:cxn>
                <a:cxn ang="0">
                  <a:pos x="1212" y="1484"/>
                </a:cxn>
                <a:cxn ang="0">
                  <a:pos x="1621" y="1445"/>
                </a:cxn>
                <a:cxn ang="0">
                  <a:pos x="1933" y="1600"/>
                </a:cxn>
                <a:cxn ang="0">
                  <a:pos x="2300" y="1611"/>
                </a:cxn>
                <a:cxn ang="0">
                  <a:pos x="2661" y="1635"/>
                </a:cxn>
                <a:cxn ang="0">
                  <a:pos x="3120" y="1647"/>
                </a:cxn>
                <a:cxn ang="0">
                  <a:pos x="3441" y="1482"/>
                </a:cxn>
                <a:cxn ang="0">
                  <a:pos x="3700" y="1752"/>
                </a:cxn>
                <a:cxn ang="0">
                  <a:pos x="3643" y="1994"/>
                </a:cxn>
                <a:cxn ang="0">
                  <a:pos x="3716" y="2011"/>
                </a:cxn>
                <a:cxn ang="0">
                  <a:pos x="3982" y="1578"/>
                </a:cxn>
                <a:cxn ang="0">
                  <a:pos x="3865" y="1449"/>
                </a:cxn>
                <a:cxn ang="0">
                  <a:pos x="3900" y="1280"/>
                </a:cxn>
                <a:cxn ang="0">
                  <a:pos x="4346" y="1132"/>
                </a:cxn>
                <a:cxn ang="0">
                  <a:pos x="4581" y="1010"/>
                </a:cxn>
                <a:cxn ang="0">
                  <a:pos x="4790" y="1014"/>
                </a:cxn>
                <a:cxn ang="0">
                  <a:pos x="4545" y="1593"/>
                </a:cxn>
                <a:cxn ang="0">
                  <a:pos x="4736" y="1320"/>
                </a:cxn>
                <a:cxn ang="0">
                  <a:pos x="4816" y="1109"/>
                </a:cxn>
                <a:cxn ang="0">
                  <a:pos x="5231" y="968"/>
                </a:cxn>
                <a:cxn ang="0">
                  <a:pos x="5370" y="775"/>
                </a:cxn>
                <a:cxn ang="0">
                  <a:pos x="5610" y="799"/>
                </a:cxn>
              </a:cxnLst>
              <a:rect l="0" t="0" r="r" b="b"/>
              <a:pathLst>
                <a:path w="5689" h="2086">
                  <a:moveTo>
                    <a:pt x="5640" y="712"/>
                  </a:moveTo>
                  <a:lnTo>
                    <a:pt x="5640" y="712"/>
                  </a:lnTo>
                  <a:lnTo>
                    <a:pt x="5633" y="704"/>
                  </a:lnTo>
                  <a:lnTo>
                    <a:pt x="5624" y="697"/>
                  </a:lnTo>
                  <a:lnTo>
                    <a:pt x="5615" y="693"/>
                  </a:lnTo>
                  <a:lnTo>
                    <a:pt x="5605" y="690"/>
                  </a:lnTo>
                  <a:lnTo>
                    <a:pt x="5581" y="688"/>
                  </a:lnTo>
                  <a:lnTo>
                    <a:pt x="5553" y="686"/>
                  </a:lnTo>
                  <a:lnTo>
                    <a:pt x="5553" y="686"/>
                  </a:lnTo>
                  <a:lnTo>
                    <a:pt x="5546" y="686"/>
                  </a:lnTo>
                  <a:lnTo>
                    <a:pt x="5542" y="690"/>
                  </a:lnTo>
                  <a:lnTo>
                    <a:pt x="5541" y="691"/>
                  </a:lnTo>
                  <a:lnTo>
                    <a:pt x="5541" y="697"/>
                  </a:lnTo>
                  <a:lnTo>
                    <a:pt x="5544" y="707"/>
                  </a:lnTo>
                  <a:lnTo>
                    <a:pt x="5549" y="718"/>
                  </a:lnTo>
                  <a:lnTo>
                    <a:pt x="5554" y="726"/>
                  </a:lnTo>
                  <a:lnTo>
                    <a:pt x="5556" y="733"/>
                  </a:lnTo>
                  <a:lnTo>
                    <a:pt x="5556" y="735"/>
                  </a:lnTo>
                  <a:lnTo>
                    <a:pt x="5553" y="735"/>
                  </a:lnTo>
                  <a:lnTo>
                    <a:pt x="5539" y="728"/>
                  </a:lnTo>
                  <a:lnTo>
                    <a:pt x="5539" y="728"/>
                  </a:lnTo>
                  <a:lnTo>
                    <a:pt x="5532" y="723"/>
                  </a:lnTo>
                  <a:lnTo>
                    <a:pt x="5527" y="718"/>
                  </a:lnTo>
                  <a:lnTo>
                    <a:pt x="5523" y="714"/>
                  </a:lnTo>
                  <a:lnTo>
                    <a:pt x="5521" y="709"/>
                  </a:lnTo>
                  <a:lnTo>
                    <a:pt x="5521" y="698"/>
                  </a:lnTo>
                  <a:lnTo>
                    <a:pt x="5523" y="688"/>
                  </a:lnTo>
                  <a:lnTo>
                    <a:pt x="5523" y="678"/>
                  </a:lnTo>
                  <a:lnTo>
                    <a:pt x="5521" y="672"/>
                  </a:lnTo>
                  <a:lnTo>
                    <a:pt x="5520" y="667"/>
                  </a:lnTo>
                  <a:lnTo>
                    <a:pt x="5514" y="660"/>
                  </a:lnTo>
                  <a:lnTo>
                    <a:pt x="5506" y="655"/>
                  </a:lnTo>
                  <a:lnTo>
                    <a:pt x="5495" y="648"/>
                  </a:lnTo>
                  <a:lnTo>
                    <a:pt x="5481" y="641"/>
                  </a:lnTo>
                  <a:lnTo>
                    <a:pt x="5481" y="641"/>
                  </a:lnTo>
                  <a:lnTo>
                    <a:pt x="5450" y="625"/>
                  </a:lnTo>
                  <a:lnTo>
                    <a:pt x="5419" y="610"/>
                  </a:lnTo>
                  <a:lnTo>
                    <a:pt x="5359" y="580"/>
                  </a:lnTo>
                  <a:lnTo>
                    <a:pt x="5359" y="575"/>
                  </a:lnTo>
                  <a:lnTo>
                    <a:pt x="5359" y="575"/>
                  </a:lnTo>
                  <a:lnTo>
                    <a:pt x="5333" y="563"/>
                  </a:lnTo>
                  <a:lnTo>
                    <a:pt x="5307" y="550"/>
                  </a:lnTo>
                  <a:lnTo>
                    <a:pt x="5281" y="542"/>
                  </a:lnTo>
                  <a:lnTo>
                    <a:pt x="5253" y="535"/>
                  </a:lnTo>
                  <a:lnTo>
                    <a:pt x="5253" y="535"/>
                  </a:lnTo>
                  <a:lnTo>
                    <a:pt x="5215" y="524"/>
                  </a:lnTo>
                  <a:lnTo>
                    <a:pt x="5199" y="521"/>
                  </a:lnTo>
                  <a:lnTo>
                    <a:pt x="5178" y="517"/>
                  </a:lnTo>
                  <a:lnTo>
                    <a:pt x="5126" y="514"/>
                  </a:lnTo>
                  <a:lnTo>
                    <a:pt x="5126" y="514"/>
                  </a:lnTo>
                  <a:lnTo>
                    <a:pt x="5091" y="510"/>
                  </a:lnTo>
                  <a:lnTo>
                    <a:pt x="5069" y="505"/>
                  </a:lnTo>
                  <a:lnTo>
                    <a:pt x="5053" y="500"/>
                  </a:lnTo>
                  <a:lnTo>
                    <a:pt x="5044" y="496"/>
                  </a:lnTo>
                  <a:lnTo>
                    <a:pt x="5037" y="495"/>
                  </a:lnTo>
                  <a:lnTo>
                    <a:pt x="5034" y="496"/>
                  </a:lnTo>
                  <a:lnTo>
                    <a:pt x="5027" y="503"/>
                  </a:lnTo>
                  <a:lnTo>
                    <a:pt x="5018" y="517"/>
                  </a:lnTo>
                  <a:lnTo>
                    <a:pt x="5018" y="517"/>
                  </a:lnTo>
                  <a:lnTo>
                    <a:pt x="5013" y="524"/>
                  </a:lnTo>
                  <a:lnTo>
                    <a:pt x="5011" y="531"/>
                  </a:lnTo>
                  <a:lnTo>
                    <a:pt x="5011" y="535"/>
                  </a:lnTo>
                  <a:lnTo>
                    <a:pt x="5013" y="540"/>
                  </a:lnTo>
                  <a:lnTo>
                    <a:pt x="5016" y="542"/>
                  </a:lnTo>
                  <a:lnTo>
                    <a:pt x="5020" y="545"/>
                  </a:lnTo>
                  <a:lnTo>
                    <a:pt x="5030" y="549"/>
                  </a:lnTo>
                  <a:lnTo>
                    <a:pt x="5039" y="552"/>
                  </a:lnTo>
                  <a:lnTo>
                    <a:pt x="5043" y="554"/>
                  </a:lnTo>
                  <a:lnTo>
                    <a:pt x="5044" y="557"/>
                  </a:lnTo>
                  <a:lnTo>
                    <a:pt x="5044" y="561"/>
                  </a:lnTo>
                  <a:lnTo>
                    <a:pt x="5043" y="564"/>
                  </a:lnTo>
                  <a:lnTo>
                    <a:pt x="5039" y="571"/>
                  </a:lnTo>
                  <a:lnTo>
                    <a:pt x="5030" y="578"/>
                  </a:lnTo>
                  <a:lnTo>
                    <a:pt x="5030" y="578"/>
                  </a:lnTo>
                  <a:lnTo>
                    <a:pt x="5016" y="589"/>
                  </a:lnTo>
                  <a:lnTo>
                    <a:pt x="5011" y="592"/>
                  </a:lnTo>
                  <a:lnTo>
                    <a:pt x="5006" y="592"/>
                  </a:lnTo>
                  <a:lnTo>
                    <a:pt x="5002" y="592"/>
                  </a:lnTo>
                  <a:lnTo>
                    <a:pt x="4999" y="590"/>
                  </a:lnTo>
                  <a:lnTo>
                    <a:pt x="4994" y="585"/>
                  </a:lnTo>
                  <a:lnTo>
                    <a:pt x="4989" y="578"/>
                  </a:lnTo>
                  <a:lnTo>
                    <a:pt x="4983" y="570"/>
                  </a:lnTo>
                  <a:lnTo>
                    <a:pt x="4978" y="566"/>
                  </a:lnTo>
                  <a:lnTo>
                    <a:pt x="4973" y="564"/>
                  </a:lnTo>
                  <a:lnTo>
                    <a:pt x="4968" y="563"/>
                  </a:lnTo>
                  <a:lnTo>
                    <a:pt x="4961" y="563"/>
                  </a:lnTo>
                  <a:lnTo>
                    <a:pt x="4961" y="563"/>
                  </a:lnTo>
                  <a:lnTo>
                    <a:pt x="4954" y="563"/>
                  </a:lnTo>
                  <a:lnTo>
                    <a:pt x="4949" y="561"/>
                  </a:lnTo>
                  <a:lnTo>
                    <a:pt x="4947" y="559"/>
                  </a:lnTo>
                  <a:lnTo>
                    <a:pt x="4945" y="556"/>
                  </a:lnTo>
                  <a:lnTo>
                    <a:pt x="4943" y="549"/>
                  </a:lnTo>
                  <a:lnTo>
                    <a:pt x="4943" y="542"/>
                  </a:lnTo>
                  <a:lnTo>
                    <a:pt x="4943" y="535"/>
                  </a:lnTo>
                  <a:lnTo>
                    <a:pt x="4942" y="531"/>
                  </a:lnTo>
                  <a:lnTo>
                    <a:pt x="4938" y="531"/>
                  </a:lnTo>
                  <a:lnTo>
                    <a:pt x="4933" y="530"/>
                  </a:lnTo>
                  <a:lnTo>
                    <a:pt x="4928" y="530"/>
                  </a:lnTo>
                  <a:lnTo>
                    <a:pt x="4907" y="536"/>
                  </a:lnTo>
                  <a:lnTo>
                    <a:pt x="4907" y="536"/>
                  </a:lnTo>
                  <a:lnTo>
                    <a:pt x="4895" y="540"/>
                  </a:lnTo>
                  <a:lnTo>
                    <a:pt x="4884" y="542"/>
                  </a:lnTo>
                  <a:lnTo>
                    <a:pt x="4874" y="543"/>
                  </a:lnTo>
                  <a:lnTo>
                    <a:pt x="4863" y="542"/>
                  </a:lnTo>
                  <a:lnTo>
                    <a:pt x="4848" y="540"/>
                  </a:lnTo>
                  <a:lnTo>
                    <a:pt x="4830" y="535"/>
                  </a:lnTo>
                  <a:lnTo>
                    <a:pt x="4814" y="531"/>
                  </a:lnTo>
                  <a:lnTo>
                    <a:pt x="4794" y="528"/>
                  </a:lnTo>
                  <a:lnTo>
                    <a:pt x="4783" y="526"/>
                  </a:lnTo>
                  <a:lnTo>
                    <a:pt x="4769" y="528"/>
                  </a:lnTo>
                  <a:lnTo>
                    <a:pt x="4755" y="530"/>
                  </a:lnTo>
                  <a:lnTo>
                    <a:pt x="4740" y="531"/>
                  </a:lnTo>
                  <a:lnTo>
                    <a:pt x="4740" y="531"/>
                  </a:lnTo>
                  <a:lnTo>
                    <a:pt x="4710" y="536"/>
                  </a:lnTo>
                  <a:lnTo>
                    <a:pt x="4687" y="538"/>
                  </a:lnTo>
                  <a:lnTo>
                    <a:pt x="4670" y="536"/>
                  </a:lnTo>
                  <a:lnTo>
                    <a:pt x="4659" y="533"/>
                  </a:lnTo>
                  <a:lnTo>
                    <a:pt x="4656" y="530"/>
                  </a:lnTo>
                  <a:lnTo>
                    <a:pt x="4652" y="526"/>
                  </a:lnTo>
                  <a:lnTo>
                    <a:pt x="4651" y="519"/>
                  </a:lnTo>
                  <a:lnTo>
                    <a:pt x="4651" y="510"/>
                  </a:lnTo>
                  <a:lnTo>
                    <a:pt x="4654" y="500"/>
                  </a:lnTo>
                  <a:lnTo>
                    <a:pt x="4654" y="500"/>
                  </a:lnTo>
                  <a:lnTo>
                    <a:pt x="4656" y="496"/>
                  </a:lnTo>
                  <a:lnTo>
                    <a:pt x="4656" y="491"/>
                  </a:lnTo>
                  <a:lnTo>
                    <a:pt x="4654" y="484"/>
                  </a:lnTo>
                  <a:lnTo>
                    <a:pt x="4651" y="479"/>
                  </a:lnTo>
                  <a:lnTo>
                    <a:pt x="4644" y="474"/>
                  </a:lnTo>
                  <a:lnTo>
                    <a:pt x="4637" y="467"/>
                  </a:lnTo>
                  <a:lnTo>
                    <a:pt x="4626" y="462"/>
                  </a:lnTo>
                  <a:lnTo>
                    <a:pt x="4616" y="456"/>
                  </a:lnTo>
                  <a:lnTo>
                    <a:pt x="4602" y="451"/>
                  </a:lnTo>
                  <a:lnTo>
                    <a:pt x="4588" y="448"/>
                  </a:lnTo>
                  <a:lnTo>
                    <a:pt x="4571" y="444"/>
                  </a:lnTo>
                  <a:lnTo>
                    <a:pt x="4553" y="442"/>
                  </a:lnTo>
                  <a:lnTo>
                    <a:pt x="4532" y="442"/>
                  </a:lnTo>
                  <a:lnTo>
                    <a:pt x="4511" y="442"/>
                  </a:lnTo>
                  <a:lnTo>
                    <a:pt x="4487" y="444"/>
                  </a:lnTo>
                  <a:lnTo>
                    <a:pt x="4463" y="449"/>
                  </a:lnTo>
                  <a:lnTo>
                    <a:pt x="4463" y="449"/>
                  </a:lnTo>
                  <a:lnTo>
                    <a:pt x="4438" y="453"/>
                  </a:lnTo>
                  <a:lnTo>
                    <a:pt x="4417" y="453"/>
                  </a:lnTo>
                  <a:lnTo>
                    <a:pt x="4400" y="453"/>
                  </a:lnTo>
                  <a:lnTo>
                    <a:pt x="4384" y="451"/>
                  </a:lnTo>
                  <a:lnTo>
                    <a:pt x="4370" y="446"/>
                  </a:lnTo>
                  <a:lnTo>
                    <a:pt x="4360" y="441"/>
                  </a:lnTo>
                  <a:lnTo>
                    <a:pt x="4350" y="436"/>
                  </a:lnTo>
                  <a:lnTo>
                    <a:pt x="4341" y="427"/>
                  </a:lnTo>
                  <a:lnTo>
                    <a:pt x="4327" y="413"/>
                  </a:lnTo>
                  <a:lnTo>
                    <a:pt x="4316" y="397"/>
                  </a:lnTo>
                  <a:lnTo>
                    <a:pt x="4303" y="383"/>
                  </a:lnTo>
                  <a:lnTo>
                    <a:pt x="4296" y="378"/>
                  </a:lnTo>
                  <a:lnTo>
                    <a:pt x="4289" y="375"/>
                  </a:lnTo>
                  <a:lnTo>
                    <a:pt x="4289" y="375"/>
                  </a:lnTo>
                  <a:lnTo>
                    <a:pt x="4271" y="369"/>
                  </a:lnTo>
                  <a:lnTo>
                    <a:pt x="4259" y="366"/>
                  </a:lnTo>
                  <a:lnTo>
                    <a:pt x="4236" y="364"/>
                  </a:lnTo>
                  <a:lnTo>
                    <a:pt x="4207" y="362"/>
                  </a:lnTo>
                  <a:lnTo>
                    <a:pt x="4186" y="359"/>
                  </a:lnTo>
                  <a:lnTo>
                    <a:pt x="4160" y="354"/>
                  </a:lnTo>
                  <a:lnTo>
                    <a:pt x="4160" y="354"/>
                  </a:lnTo>
                  <a:lnTo>
                    <a:pt x="4134" y="348"/>
                  </a:lnTo>
                  <a:lnTo>
                    <a:pt x="4111" y="345"/>
                  </a:lnTo>
                  <a:lnTo>
                    <a:pt x="4074" y="341"/>
                  </a:lnTo>
                  <a:lnTo>
                    <a:pt x="4043" y="338"/>
                  </a:lnTo>
                  <a:lnTo>
                    <a:pt x="4024" y="336"/>
                  </a:lnTo>
                  <a:lnTo>
                    <a:pt x="4005" y="331"/>
                  </a:lnTo>
                  <a:lnTo>
                    <a:pt x="4005" y="331"/>
                  </a:lnTo>
                  <a:lnTo>
                    <a:pt x="3987" y="328"/>
                  </a:lnTo>
                  <a:lnTo>
                    <a:pt x="3980" y="328"/>
                  </a:lnTo>
                  <a:lnTo>
                    <a:pt x="3979" y="329"/>
                  </a:lnTo>
                  <a:lnTo>
                    <a:pt x="3977" y="331"/>
                  </a:lnTo>
                  <a:lnTo>
                    <a:pt x="3979" y="336"/>
                  </a:lnTo>
                  <a:lnTo>
                    <a:pt x="3979" y="341"/>
                  </a:lnTo>
                  <a:lnTo>
                    <a:pt x="3977" y="343"/>
                  </a:lnTo>
                  <a:lnTo>
                    <a:pt x="3975" y="347"/>
                  </a:lnTo>
                  <a:lnTo>
                    <a:pt x="3972" y="348"/>
                  </a:lnTo>
                  <a:lnTo>
                    <a:pt x="3965" y="350"/>
                  </a:lnTo>
                  <a:lnTo>
                    <a:pt x="3946" y="354"/>
                  </a:lnTo>
                  <a:lnTo>
                    <a:pt x="3946" y="354"/>
                  </a:lnTo>
                  <a:lnTo>
                    <a:pt x="3935" y="354"/>
                  </a:lnTo>
                  <a:lnTo>
                    <a:pt x="3928" y="357"/>
                  </a:lnTo>
                  <a:lnTo>
                    <a:pt x="3926" y="361"/>
                  </a:lnTo>
                  <a:lnTo>
                    <a:pt x="3925" y="366"/>
                  </a:lnTo>
                  <a:lnTo>
                    <a:pt x="3926" y="371"/>
                  </a:lnTo>
                  <a:lnTo>
                    <a:pt x="3930" y="378"/>
                  </a:lnTo>
                  <a:lnTo>
                    <a:pt x="3939" y="392"/>
                  </a:lnTo>
                  <a:lnTo>
                    <a:pt x="3947" y="402"/>
                  </a:lnTo>
                  <a:lnTo>
                    <a:pt x="3951" y="408"/>
                  </a:lnTo>
                  <a:lnTo>
                    <a:pt x="3953" y="413"/>
                  </a:lnTo>
                  <a:lnTo>
                    <a:pt x="3951" y="415"/>
                  </a:lnTo>
                  <a:lnTo>
                    <a:pt x="3947" y="416"/>
                  </a:lnTo>
                  <a:lnTo>
                    <a:pt x="3940" y="416"/>
                  </a:lnTo>
                  <a:lnTo>
                    <a:pt x="3930" y="415"/>
                  </a:lnTo>
                  <a:lnTo>
                    <a:pt x="3930" y="415"/>
                  </a:lnTo>
                  <a:lnTo>
                    <a:pt x="3907" y="409"/>
                  </a:lnTo>
                  <a:lnTo>
                    <a:pt x="3892" y="408"/>
                  </a:lnTo>
                  <a:lnTo>
                    <a:pt x="3881" y="409"/>
                  </a:lnTo>
                  <a:lnTo>
                    <a:pt x="3872" y="411"/>
                  </a:lnTo>
                  <a:lnTo>
                    <a:pt x="3865" y="413"/>
                  </a:lnTo>
                  <a:lnTo>
                    <a:pt x="3857" y="415"/>
                  </a:lnTo>
                  <a:lnTo>
                    <a:pt x="3843" y="415"/>
                  </a:lnTo>
                  <a:lnTo>
                    <a:pt x="3825" y="411"/>
                  </a:lnTo>
                  <a:lnTo>
                    <a:pt x="3825" y="411"/>
                  </a:lnTo>
                  <a:lnTo>
                    <a:pt x="3815" y="409"/>
                  </a:lnTo>
                  <a:lnTo>
                    <a:pt x="3806" y="409"/>
                  </a:lnTo>
                  <a:lnTo>
                    <a:pt x="3799" y="409"/>
                  </a:lnTo>
                  <a:lnTo>
                    <a:pt x="3792" y="411"/>
                  </a:lnTo>
                  <a:lnTo>
                    <a:pt x="3780" y="415"/>
                  </a:lnTo>
                  <a:lnTo>
                    <a:pt x="3768" y="420"/>
                  </a:lnTo>
                  <a:lnTo>
                    <a:pt x="3758" y="425"/>
                  </a:lnTo>
                  <a:lnTo>
                    <a:pt x="3752" y="425"/>
                  </a:lnTo>
                  <a:lnTo>
                    <a:pt x="3745" y="425"/>
                  </a:lnTo>
                  <a:lnTo>
                    <a:pt x="3738" y="423"/>
                  </a:lnTo>
                  <a:lnTo>
                    <a:pt x="3731" y="422"/>
                  </a:lnTo>
                  <a:lnTo>
                    <a:pt x="3723" y="416"/>
                  </a:lnTo>
                  <a:lnTo>
                    <a:pt x="3712" y="409"/>
                  </a:lnTo>
                  <a:lnTo>
                    <a:pt x="3712" y="409"/>
                  </a:lnTo>
                  <a:lnTo>
                    <a:pt x="3704" y="404"/>
                  </a:lnTo>
                  <a:lnTo>
                    <a:pt x="3695" y="402"/>
                  </a:lnTo>
                  <a:lnTo>
                    <a:pt x="3688" y="402"/>
                  </a:lnTo>
                  <a:lnTo>
                    <a:pt x="3683" y="406"/>
                  </a:lnTo>
                  <a:lnTo>
                    <a:pt x="3677" y="411"/>
                  </a:lnTo>
                  <a:lnTo>
                    <a:pt x="3672" y="418"/>
                  </a:lnTo>
                  <a:lnTo>
                    <a:pt x="3663" y="434"/>
                  </a:lnTo>
                  <a:lnTo>
                    <a:pt x="3655" y="449"/>
                  </a:lnTo>
                  <a:lnTo>
                    <a:pt x="3651" y="456"/>
                  </a:lnTo>
                  <a:lnTo>
                    <a:pt x="3644" y="460"/>
                  </a:lnTo>
                  <a:lnTo>
                    <a:pt x="3639" y="462"/>
                  </a:lnTo>
                  <a:lnTo>
                    <a:pt x="3630" y="462"/>
                  </a:lnTo>
                  <a:lnTo>
                    <a:pt x="3622" y="456"/>
                  </a:lnTo>
                  <a:lnTo>
                    <a:pt x="3611" y="448"/>
                  </a:lnTo>
                  <a:lnTo>
                    <a:pt x="3611" y="448"/>
                  </a:lnTo>
                  <a:lnTo>
                    <a:pt x="3575" y="413"/>
                  </a:lnTo>
                  <a:lnTo>
                    <a:pt x="3552" y="388"/>
                  </a:lnTo>
                  <a:lnTo>
                    <a:pt x="3542" y="380"/>
                  </a:lnTo>
                  <a:lnTo>
                    <a:pt x="3533" y="373"/>
                  </a:lnTo>
                  <a:lnTo>
                    <a:pt x="3522" y="366"/>
                  </a:lnTo>
                  <a:lnTo>
                    <a:pt x="3510" y="361"/>
                  </a:lnTo>
                  <a:lnTo>
                    <a:pt x="3510" y="361"/>
                  </a:lnTo>
                  <a:lnTo>
                    <a:pt x="3503" y="359"/>
                  </a:lnTo>
                  <a:lnTo>
                    <a:pt x="3500" y="359"/>
                  </a:lnTo>
                  <a:lnTo>
                    <a:pt x="3496" y="361"/>
                  </a:lnTo>
                  <a:lnTo>
                    <a:pt x="3496" y="362"/>
                  </a:lnTo>
                  <a:lnTo>
                    <a:pt x="3498" y="369"/>
                  </a:lnTo>
                  <a:lnTo>
                    <a:pt x="3502" y="378"/>
                  </a:lnTo>
                  <a:lnTo>
                    <a:pt x="3505" y="387"/>
                  </a:lnTo>
                  <a:lnTo>
                    <a:pt x="3507" y="390"/>
                  </a:lnTo>
                  <a:lnTo>
                    <a:pt x="3507" y="392"/>
                  </a:lnTo>
                  <a:lnTo>
                    <a:pt x="3503" y="390"/>
                  </a:lnTo>
                  <a:lnTo>
                    <a:pt x="3495" y="383"/>
                  </a:lnTo>
                  <a:lnTo>
                    <a:pt x="3495" y="383"/>
                  </a:lnTo>
                  <a:lnTo>
                    <a:pt x="3479" y="373"/>
                  </a:lnTo>
                  <a:lnTo>
                    <a:pt x="3460" y="362"/>
                  </a:lnTo>
                  <a:lnTo>
                    <a:pt x="3437" y="354"/>
                  </a:lnTo>
                  <a:lnTo>
                    <a:pt x="3413" y="345"/>
                  </a:lnTo>
                  <a:lnTo>
                    <a:pt x="3383" y="336"/>
                  </a:lnTo>
                  <a:lnTo>
                    <a:pt x="3350" y="329"/>
                  </a:lnTo>
                  <a:lnTo>
                    <a:pt x="3314" y="324"/>
                  </a:lnTo>
                  <a:lnTo>
                    <a:pt x="3273" y="321"/>
                  </a:lnTo>
                  <a:lnTo>
                    <a:pt x="3273" y="321"/>
                  </a:lnTo>
                  <a:lnTo>
                    <a:pt x="3228" y="315"/>
                  </a:lnTo>
                  <a:lnTo>
                    <a:pt x="3213" y="314"/>
                  </a:lnTo>
                  <a:lnTo>
                    <a:pt x="3204" y="310"/>
                  </a:lnTo>
                  <a:lnTo>
                    <a:pt x="3197" y="307"/>
                  </a:lnTo>
                  <a:lnTo>
                    <a:pt x="3195" y="305"/>
                  </a:lnTo>
                  <a:lnTo>
                    <a:pt x="3195" y="301"/>
                  </a:lnTo>
                  <a:lnTo>
                    <a:pt x="3197" y="298"/>
                  </a:lnTo>
                  <a:lnTo>
                    <a:pt x="3204" y="293"/>
                  </a:lnTo>
                  <a:lnTo>
                    <a:pt x="3209" y="288"/>
                  </a:lnTo>
                  <a:lnTo>
                    <a:pt x="3209" y="284"/>
                  </a:lnTo>
                  <a:lnTo>
                    <a:pt x="3209" y="282"/>
                  </a:lnTo>
                  <a:lnTo>
                    <a:pt x="3204" y="281"/>
                  </a:lnTo>
                  <a:lnTo>
                    <a:pt x="3195" y="281"/>
                  </a:lnTo>
                  <a:lnTo>
                    <a:pt x="3195" y="281"/>
                  </a:lnTo>
                  <a:lnTo>
                    <a:pt x="3155" y="277"/>
                  </a:lnTo>
                  <a:lnTo>
                    <a:pt x="3118" y="275"/>
                  </a:lnTo>
                  <a:lnTo>
                    <a:pt x="3084" y="275"/>
                  </a:lnTo>
                  <a:lnTo>
                    <a:pt x="3066" y="277"/>
                  </a:lnTo>
                  <a:lnTo>
                    <a:pt x="3047" y="279"/>
                  </a:lnTo>
                  <a:lnTo>
                    <a:pt x="3047" y="279"/>
                  </a:lnTo>
                  <a:lnTo>
                    <a:pt x="3040" y="281"/>
                  </a:lnTo>
                  <a:lnTo>
                    <a:pt x="3033" y="281"/>
                  </a:lnTo>
                  <a:lnTo>
                    <a:pt x="3028" y="281"/>
                  </a:lnTo>
                  <a:lnTo>
                    <a:pt x="3024" y="279"/>
                  </a:lnTo>
                  <a:lnTo>
                    <a:pt x="3019" y="274"/>
                  </a:lnTo>
                  <a:lnTo>
                    <a:pt x="3016" y="267"/>
                  </a:lnTo>
                  <a:lnTo>
                    <a:pt x="3014" y="261"/>
                  </a:lnTo>
                  <a:lnTo>
                    <a:pt x="3011" y="256"/>
                  </a:lnTo>
                  <a:lnTo>
                    <a:pt x="3009" y="256"/>
                  </a:lnTo>
                  <a:lnTo>
                    <a:pt x="3005" y="256"/>
                  </a:lnTo>
                  <a:lnTo>
                    <a:pt x="2995" y="261"/>
                  </a:lnTo>
                  <a:lnTo>
                    <a:pt x="2995" y="261"/>
                  </a:lnTo>
                  <a:lnTo>
                    <a:pt x="2983" y="267"/>
                  </a:lnTo>
                  <a:lnTo>
                    <a:pt x="2974" y="267"/>
                  </a:lnTo>
                  <a:lnTo>
                    <a:pt x="2967" y="265"/>
                  </a:lnTo>
                  <a:lnTo>
                    <a:pt x="2960" y="261"/>
                  </a:lnTo>
                  <a:lnTo>
                    <a:pt x="2953" y="256"/>
                  </a:lnTo>
                  <a:lnTo>
                    <a:pt x="2946" y="253"/>
                  </a:lnTo>
                  <a:lnTo>
                    <a:pt x="2934" y="253"/>
                  </a:lnTo>
                  <a:lnTo>
                    <a:pt x="2920" y="254"/>
                  </a:lnTo>
                  <a:lnTo>
                    <a:pt x="2920" y="254"/>
                  </a:lnTo>
                  <a:lnTo>
                    <a:pt x="2906" y="258"/>
                  </a:lnTo>
                  <a:lnTo>
                    <a:pt x="2901" y="263"/>
                  </a:lnTo>
                  <a:lnTo>
                    <a:pt x="2897" y="270"/>
                  </a:lnTo>
                  <a:lnTo>
                    <a:pt x="2896" y="275"/>
                  </a:lnTo>
                  <a:lnTo>
                    <a:pt x="2892" y="282"/>
                  </a:lnTo>
                  <a:lnTo>
                    <a:pt x="2883" y="289"/>
                  </a:lnTo>
                  <a:lnTo>
                    <a:pt x="2868" y="294"/>
                  </a:lnTo>
                  <a:lnTo>
                    <a:pt x="2842" y="300"/>
                  </a:lnTo>
                  <a:lnTo>
                    <a:pt x="2842" y="300"/>
                  </a:lnTo>
                  <a:lnTo>
                    <a:pt x="2814" y="303"/>
                  </a:lnTo>
                  <a:lnTo>
                    <a:pt x="2793" y="305"/>
                  </a:lnTo>
                  <a:lnTo>
                    <a:pt x="2781" y="303"/>
                  </a:lnTo>
                  <a:lnTo>
                    <a:pt x="2779" y="301"/>
                  </a:lnTo>
                  <a:lnTo>
                    <a:pt x="2777" y="300"/>
                  </a:lnTo>
                  <a:lnTo>
                    <a:pt x="2777" y="296"/>
                  </a:lnTo>
                  <a:lnTo>
                    <a:pt x="2781" y="294"/>
                  </a:lnTo>
                  <a:lnTo>
                    <a:pt x="2791" y="286"/>
                  </a:lnTo>
                  <a:lnTo>
                    <a:pt x="2810" y="277"/>
                  </a:lnTo>
                  <a:lnTo>
                    <a:pt x="2836" y="265"/>
                  </a:lnTo>
                  <a:lnTo>
                    <a:pt x="2836" y="265"/>
                  </a:lnTo>
                  <a:lnTo>
                    <a:pt x="2863" y="253"/>
                  </a:lnTo>
                  <a:lnTo>
                    <a:pt x="2882" y="244"/>
                  </a:lnTo>
                  <a:lnTo>
                    <a:pt x="2906" y="227"/>
                  </a:lnTo>
                  <a:lnTo>
                    <a:pt x="2918" y="220"/>
                  </a:lnTo>
                  <a:lnTo>
                    <a:pt x="2930" y="213"/>
                  </a:lnTo>
                  <a:lnTo>
                    <a:pt x="2948" y="206"/>
                  </a:lnTo>
                  <a:lnTo>
                    <a:pt x="2970" y="199"/>
                  </a:lnTo>
                  <a:lnTo>
                    <a:pt x="2970" y="199"/>
                  </a:lnTo>
                  <a:lnTo>
                    <a:pt x="2995" y="190"/>
                  </a:lnTo>
                  <a:lnTo>
                    <a:pt x="3012" y="180"/>
                  </a:lnTo>
                  <a:lnTo>
                    <a:pt x="3019" y="174"/>
                  </a:lnTo>
                  <a:lnTo>
                    <a:pt x="3024" y="167"/>
                  </a:lnTo>
                  <a:lnTo>
                    <a:pt x="3031" y="157"/>
                  </a:lnTo>
                  <a:lnTo>
                    <a:pt x="3033" y="145"/>
                  </a:lnTo>
                  <a:lnTo>
                    <a:pt x="3033" y="134"/>
                  </a:lnTo>
                  <a:lnTo>
                    <a:pt x="3031" y="122"/>
                  </a:lnTo>
                  <a:lnTo>
                    <a:pt x="3026" y="113"/>
                  </a:lnTo>
                  <a:lnTo>
                    <a:pt x="3026" y="113"/>
                  </a:lnTo>
                  <a:lnTo>
                    <a:pt x="3021" y="106"/>
                  </a:lnTo>
                  <a:lnTo>
                    <a:pt x="3014" y="101"/>
                  </a:lnTo>
                  <a:lnTo>
                    <a:pt x="3007" y="99"/>
                  </a:lnTo>
                  <a:lnTo>
                    <a:pt x="3000" y="96"/>
                  </a:lnTo>
                  <a:lnTo>
                    <a:pt x="2983" y="91"/>
                  </a:lnTo>
                  <a:lnTo>
                    <a:pt x="2974" y="87"/>
                  </a:lnTo>
                  <a:lnTo>
                    <a:pt x="2964" y="79"/>
                  </a:lnTo>
                  <a:lnTo>
                    <a:pt x="2964" y="79"/>
                  </a:lnTo>
                  <a:lnTo>
                    <a:pt x="2951" y="72"/>
                  </a:lnTo>
                  <a:lnTo>
                    <a:pt x="2941" y="66"/>
                  </a:lnTo>
                  <a:lnTo>
                    <a:pt x="2929" y="66"/>
                  </a:lnTo>
                  <a:lnTo>
                    <a:pt x="2918" y="66"/>
                  </a:lnTo>
                  <a:lnTo>
                    <a:pt x="2892" y="68"/>
                  </a:lnTo>
                  <a:lnTo>
                    <a:pt x="2878" y="68"/>
                  </a:lnTo>
                  <a:lnTo>
                    <a:pt x="2864" y="66"/>
                  </a:lnTo>
                  <a:lnTo>
                    <a:pt x="2864" y="66"/>
                  </a:lnTo>
                  <a:lnTo>
                    <a:pt x="2852" y="65"/>
                  </a:lnTo>
                  <a:lnTo>
                    <a:pt x="2845" y="65"/>
                  </a:lnTo>
                  <a:lnTo>
                    <a:pt x="2840" y="66"/>
                  </a:lnTo>
                  <a:lnTo>
                    <a:pt x="2835" y="70"/>
                  </a:lnTo>
                  <a:lnTo>
                    <a:pt x="2831" y="73"/>
                  </a:lnTo>
                  <a:lnTo>
                    <a:pt x="2824" y="77"/>
                  </a:lnTo>
                  <a:lnTo>
                    <a:pt x="2814" y="80"/>
                  </a:lnTo>
                  <a:lnTo>
                    <a:pt x="2800" y="82"/>
                  </a:lnTo>
                  <a:lnTo>
                    <a:pt x="2800" y="82"/>
                  </a:lnTo>
                  <a:lnTo>
                    <a:pt x="2781" y="84"/>
                  </a:lnTo>
                  <a:lnTo>
                    <a:pt x="2777" y="84"/>
                  </a:lnTo>
                  <a:lnTo>
                    <a:pt x="2777" y="82"/>
                  </a:lnTo>
                  <a:lnTo>
                    <a:pt x="2782" y="77"/>
                  </a:lnTo>
                  <a:lnTo>
                    <a:pt x="2791" y="70"/>
                  </a:lnTo>
                  <a:lnTo>
                    <a:pt x="2800" y="63"/>
                  </a:lnTo>
                  <a:lnTo>
                    <a:pt x="2803" y="59"/>
                  </a:lnTo>
                  <a:lnTo>
                    <a:pt x="2803" y="56"/>
                  </a:lnTo>
                  <a:lnTo>
                    <a:pt x="2802" y="52"/>
                  </a:lnTo>
                  <a:lnTo>
                    <a:pt x="2796" y="51"/>
                  </a:lnTo>
                  <a:lnTo>
                    <a:pt x="2788" y="49"/>
                  </a:lnTo>
                  <a:lnTo>
                    <a:pt x="2774" y="47"/>
                  </a:lnTo>
                  <a:lnTo>
                    <a:pt x="2774" y="47"/>
                  </a:lnTo>
                  <a:lnTo>
                    <a:pt x="2748" y="46"/>
                  </a:lnTo>
                  <a:lnTo>
                    <a:pt x="2732" y="44"/>
                  </a:lnTo>
                  <a:lnTo>
                    <a:pt x="2721" y="40"/>
                  </a:lnTo>
                  <a:lnTo>
                    <a:pt x="2720" y="39"/>
                  </a:lnTo>
                  <a:lnTo>
                    <a:pt x="2720" y="39"/>
                  </a:lnTo>
                  <a:lnTo>
                    <a:pt x="2723" y="35"/>
                  </a:lnTo>
                  <a:lnTo>
                    <a:pt x="2730" y="32"/>
                  </a:lnTo>
                  <a:lnTo>
                    <a:pt x="2755" y="26"/>
                  </a:lnTo>
                  <a:lnTo>
                    <a:pt x="2755" y="26"/>
                  </a:lnTo>
                  <a:lnTo>
                    <a:pt x="2760" y="25"/>
                  </a:lnTo>
                  <a:lnTo>
                    <a:pt x="2763" y="21"/>
                  </a:lnTo>
                  <a:lnTo>
                    <a:pt x="2763" y="19"/>
                  </a:lnTo>
                  <a:lnTo>
                    <a:pt x="2763" y="16"/>
                  </a:lnTo>
                  <a:lnTo>
                    <a:pt x="2760" y="12"/>
                  </a:lnTo>
                  <a:lnTo>
                    <a:pt x="2755" y="9"/>
                  </a:lnTo>
                  <a:lnTo>
                    <a:pt x="2741" y="4"/>
                  </a:lnTo>
                  <a:lnTo>
                    <a:pt x="2721" y="0"/>
                  </a:lnTo>
                  <a:lnTo>
                    <a:pt x="2699" y="0"/>
                  </a:lnTo>
                  <a:lnTo>
                    <a:pt x="2687" y="0"/>
                  </a:lnTo>
                  <a:lnTo>
                    <a:pt x="2673" y="2"/>
                  </a:lnTo>
                  <a:lnTo>
                    <a:pt x="2661" y="5"/>
                  </a:lnTo>
                  <a:lnTo>
                    <a:pt x="2647" y="11"/>
                  </a:lnTo>
                  <a:lnTo>
                    <a:pt x="2647" y="11"/>
                  </a:lnTo>
                  <a:lnTo>
                    <a:pt x="2629" y="19"/>
                  </a:lnTo>
                  <a:lnTo>
                    <a:pt x="2615" y="26"/>
                  </a:lnTo>
                  <a:lnTo>
                    <a:pt x="2605" y="33"/>
                  </a:lnTo>
                  <a:lnTo>
                    <a:pt x="2596" y="40"/>
                  </a:lnTo>
                  <a:lnTo>
                    <a:pt x="2589" y="47"/>
                  </a:lnTo>
                  <a:lnTo>
                    <a:pt x="2586" y="52"/>
                  </a:lnTo>
                  <a:lnTo>
                    <a:pt x="2580" y="61"/>
                  </a:lnTo>
                  <a:lnTo>
                    <a:pt x="2579" y="70"/>
                  </a:lnTo>
                  <a:lnTo>
                    <a:pt x="2575" y="75"/>
                  </a:lnTo>
                  <a:lnTo>
                    <a:pt x="2572" y="77"/>
                  </a:lnTo>
                  <a:lnTo>
                    <a:pt x="2568" y="79"/>
                  </a:lnTo>
                  <a:lnTo>
                    <a:pt x="2554" y="80"/>
                  </a:lnTo>
                  <a:lnTo>
                    <a:pt x="2554" y="80"/>
                  </a:lnTo>
                  <a:lnTo>
                    <a:pt x="2526" y="82"/>
                  </a:lnTo>
                  <a:lnTo>
                    <a:pt x="2514" y="84"/>
                  </a:lnTo>
                  <a:lnTo>
                    <a:pt x="2511" y="84"/>
                  </a:lnTo>
                  <a:lnTo>
                    <a:pt x="2511" y="86"/>
                  </a:lnTo>
                  <a:lnTo>
                    <a:pt x="2513" y="87"/>
                  </a:lnTo>
                  <a:lnTo>
                    <a:pt x="2514" y="91"/>
                  </a:lnTo>
                  <a:lnTo>
                    <a:pt x="2513" y="93"/>
                  </a:lnTo>
                  <a:lnTo>
                    <a:pt x="2511" y="96"/>
                  </a:lnTo>
                  <a:lnTo>
                    <a:pt x="2499" y="101"/>
                  </a:lnTo>
                  <a:lnTo>
                    <a:pt x="2473" y="108"/>
                  </a:lnTo>
                  <a:lnTo>
                    <a:pt x="2473" y="108"/>
                  </a:lnTo>
                  <a:lnTo>
                    <a:pt x="2446" y="112"/>
                  </a:lnTo>
                  <a:lnTo>
                    <a:pt x="2434" y="112"/>
                  </a:lnTo>
                  <a:lnTo>
                    <a:pt x="2431" y="112"/>
                  </a:lnTo>
                  <a:lnTo>
                    <a:pt x="2429" y="110"/>
                  </a:lnTo>
                  <a:lnTo>
                    <a:pt x="2429" y="106"/>
                  </a:lnTo>
                  <a:lnTo>
                    <a:pt x="2429" y="103"/>
                  </a:lnTo>
                  <a:lnTo>
                    <a:pt x="2427" y="101"/>
                  </a:lnTo>
                  <a:lnTo>
                    <a:pt x="2424" y="99"/>
                  </a:lnTo>
                  <a:lnTo>
                    <a:pt x="2419" y="98"/>
                  </a:lnTo>
                  <a:lnTo>
                    <a:pt x="2398" y="98"/>
                  </a:lnTo>
                  <a:lnTo>
                    <a:pt x="2361" y="101"/>
                  </a:lnTo>
                  <a:lnTo>
                    <a:pt x="2361" y="101"/>
                  </a:lnTo>
                  <a:lnTo>
                    <a:pt x="2326" y="106"/>
                  </a:lnTo>
                  <a:lnTo>
                    <a:pt x="2316" y="110"/>
                  </a:lnTo>
                  <a:lnTo>
                    <a:pt x="2309" y="113"/>
                  </a:lnTo>
                  <a:lnTo>
                    <a:pt x="2305" y="115"/>
                  </a:lnTo>
                  <a:lnTo>
                    <a:pt x="2304" y="119"/>
                  </a:lnTo>
                  <a:lnTo>
                    <a:pt x="2305" y="124"/>
                  </a:lnTo>
                  <a:lnTo>
                    <a:pt x="2305" y="126"/>
                  </a:lnTo>
                  <a:lnTo>
                    <a:pt x="2305" y="129"/>
                  </a:lnTo>
                  <a:lnTo>
                    <a:pt x="2304" y="131"/>
                  </a:lnTo>
                  <a:lnTo>
                    <a:pt x="2300" y="134"/>
                  </a:lnTo>
                  <a:lnTo>
                    <a:pt x="2293" y="136"/>
                  </a:lnTo>
                  <a:lnTo>
                    <a:pt x="2281" y="138"/>
                  </a:lnTo>
                  <a:lnTo>
                    <a:pt x="2243" y="141"/>
                  </a:lnTo>
                  <a:lnTo>
                    <a:pt x="2243" y="141"/>
                  </a:lnTo>
                  <a:lnTo>
                    <a:pt x="2201" y="146"/>
                  </a:lnTo>
                  <a:lnTo>
                    <a:pt x="2175" y="150"/>
                  </a:lnTo>
                  <a:lnTo>
                    <a:pt x="2157" y="155"/>
                  </a:lnTo>
                  <a:lnTo>
                    <a:pt x="2149" y="160"/>
                  </a:lnTo>
                  <a:lnTo>
                    <a:pt x="2143" y="166"/>
                  </a:lnTo>
                  <a:lnTo>
                    <a:pt x="2136" y="169"/>
                  </a:lnTo>
                  <a:lnTo>
                    <a:pt x="2126" y="173"/>
                  </a:lnTo>
                  <a:lnTo>
                    <a:pt x="2107" y="174"/>
                  </a:lnTo>
                  <a:lnTo>
                    <a:pt x="2107" y="174"/>
                  </a:lnTo>
                  <a:lnTo>
                    <a:pt x="2096" y="176"/>
                  </a:lnTo>
                  <a:lnTo>
                    <a:pt x="2086" y="178"/>
                  </a:lnTo>
                  <a:lnTo>
                    <a:pt x="2077" y="181"/>
                  </a:lnTo>
                  <a:lnTo>
                    <a:pt x="2070" y="185"/>
                  </a:lnTo>
                  <a:lnTo>
                    <a:pt x="2063" y="190"/>
                  </a:lnTo>
                  <a:lnTo>
                    <a:pt x="2058" y="195"/>
                  </a:lnTo>
                  <a:lnTo>
                    <a:pt x="2055" y="200"/>
                  </a:lnTo>
                  <a:lnTo>
                    <a:pt x="2053" y="206"/>
                  </a:lnTo>
                  <a:lnTo>
                    <a:pt x="2051" y="211"/>
                  </a:lnTo>
                  <a:lnTo>
                    <a:pt x="2051" y="216"/>
                  </a:lnTo>
                  <a:lnTo>
                    <a:pt x="2053" y="221"/>
                  </a:lnTo>
                  <a:lnTo>
                    <a:pt x="2055" y="225"/>
                  </a:lnTo>
                  <a:lnTo>
                    <a:pt x="2058" y="230"/>
                  </a:lnTo>
                  <a:lnTo>
                    <a:pt x="2063" y="232"/>
                  </a:lnTo>
                  <a:lnTo>
                    <a:pt x="2069" y="235"/>
                  </a:lnTo>
                  <a:lnTo>
                    <a:pt x="2074" y="235"/>
                  </a:lnTo>
                  <a:lnTo>
                    <a:pt x="2074" y="235"/>
                  </a:lnTo>
                  <a:lnTo>
                    <a:pt x="2084" y="239"/>
                  </a:lnTo>
                  <a:lnTo>
                    <a:pt x="2091" y="241"/>
                  </a:lnTo>
                  <a:lnTo>
                    <a:pt x="2093" y="244"/>
                  </a:lnTo>
                  <a:lnTo>
                    <a:pt x="2091" y="247"/>
                  </a:lnTo>
                  <a:lnTo>
                    <a:pt x="2084" y="253"/>
                  </a:lnTo>
                  <a:lnTo>
                    <a:pt x="2076" y="256"/>
                  </a:lnTo>
                  <a:lnTo>
                    <a:pt x="2062" y="261"/>
                  </a:lnTo>
                  <a:lnTo>
                    <a:pt x="2046" y="265"/>
                  </a:lnTo>
                  <a:lnTo>
                    <a:pt x="2046" y="265"/>
                  </a:lnTo>
                  <a:lnTo>
                    <a:pt x="2016" y="270"/>
                  </a:lnTo>
                  <a:lnTo>
                    <a:pt x="1987" y="272"/>
                  </a:lnTo>
                  <a:lnTo>
                    <a:pt x="1933" y="274"/>
                  </a:lnTo>
                  <a:lnTo>
                    <a:pt x="1908" y="274"/>
                  </a:lnTo>
                  <a:lnTo>
                    <a:pt x="1887" y="277"/>
                  </a:lnTo>
                  <a:lnTo>
                    <a:pt x="1879" y="279"/>
                  </a:lnTo>
                  <a:lnTo>
                    <a:pt x="1870" y="282"/>
                  </a:lnTo>
                  <a:lnTo>
                    <a:pt x="1865" y="286"/>
                  </a:lnTo>
                  <a:lnTo>
                    <a:pt x="1860" y="291"/>
                  </a:lnTo>
                  <a:lnTo>
                    <a:pt x="1860" y="291"/>
                  </a:lnTo>
                  <a:lnTo>
                    <a:pt x="1854" y="300"/>
                  </a:lnTo>
                  <a:lnTo>
                    <a:pt x="1853" y="301"/>
                  </a:lnTo>
                  <a:lnTo>
                    <a:pt x="1854" y="305"/>
                  </a:lnTo>
                  <a:lnTo>
                    <a:pt x="1858" y="307"/>
                  </a:lnTo>
                  <a:lnTo>
                    <a:pt x="1865" y="308"/>
                  </a:lnTo>
                  <a:lnTo>
                    <a:pt x="1870" y="312"/>
                  </a:lnTo>
                  <a:lnTo>
                    <a:pt x="1875" y="315"/>
                  </a:lnTo>
                  <a:lnTo>
                    <a:pt x="1877" y="319"/>
                  </a:lnTo>
                  <a:lnTo>
                    <a:pt x="1877" y="322"/>
                  </a:lnTo>
                  <a:lnTo>
                    <a:pt x="1875" y="328"/>
                  </a:lnTo>
                  <a:lnTo>
                    <a:pt x="1872" y="333"/>
                  </a:lnTo>
                  <a:lnTo>
                    <a:pt x="1872" y="333"/>
                  </a:lnTo>
                  <a:lnTo>
                    <a:pt x="1868" y="340"/>
                  </a:lnTo>
                  <a:lnTo>
                    <a:pt x="1868" y="345"/>
                  </a:lnTo>
                  <a:lnTo>
                    <a:pt x="1868" y="348"/>
                  </a:lnTo>
                  <a:lnTo>
                    <a:pt x="1872" y="352"/>
                  </a:lnTo>
                  <a:lnTo>
                    <a:pt x="1879" y="355"/>
                  </a:lnTo>
                  <a:lnTo>
                    <a:pt x="1891" y="357"/>
                  </a:lnTo>
                  <a:lnTo>
                    <a:pt x="1901" y="359"/>
                  </a:lnTo>
                  <a:lnTo>
                    <a:pt x="1914" y="362"/>
                  </a:lnTo>
                  <a:lnTo>
                    <a:pt x="1917" y="364"/>
                  </a:lnTo>
                  <a:lnTo>
                    <a:pt x="1921" y="366"/>
                  </a:lnTo>
                  <a:lnTo>
                    <a:pt x="1924" y="371"/>
                  </a:lnTo>
                  <a:lnTo>
                    <a:pt x="1926" y="375"/>
                  </a:lnTo>
                  <a:lnTo>
                    <a:pt x="1926" y="375"/>
                  </a:lnTo>
                  <a:lnTo>
                    <a:pt x="1926" y="380"/>
                  </a:lnTo>
                  <a:lnTo>
                    <a:pt x="1929" y="383"/>
                  </a:lnTo>
                  <a:lnTo>
                    <a:pt x="1931" y="387"/>
                  </a:lnTo>
                  <a:lnTo>
                    <a:pt x="1936" y="388"/>
                  </a:lnTo>
                  <a:lnTo>
                    <a:pt x="1947" y="390"/>
                  </a:lnTo>
                  <a:lnTo>
                    <a:pt x="1957" y="390"/>
                  </a:lnTo>
                  <a:lnTo>
                    <a:pt x="1966" y="392"/>
                  </a:lnTo>
                  <a:lnTo>
                    <a:pt x="1969" y="394"/>
                  </a:lnTo>
                  <a:lnTo>
                    <a:pt x="1971" y="395"/>
                  </a:lnTo>
                  <a:lnTo>
                    <a:pt x="1973" y="399"/>
                  </a:lnTo>
                  <a:lnTo>
                    <a:pt x="1973" y="404"/>
                  </a:lnTo>
                  <a:lnTo>
                    <a:pt x="1971" y="409"/>
                  </a:lnTo>
                  <a:lnTo>
                    <a:pt x="1968" y="418"/>
                  </a:lnTo>
                  <a:lnTo>
                    <a:pt x="1968" y="418"/>
                  </a:lnTo>
                  <a:lnTo>
                    <a:pt x="1964" y="425"/>
                  </a:lnTo>
                  <a:lnTo>
                    <a:pt x="1962" y="432"/>
                  </a:lnTo>
                  <a:lnTo>
                    <a:pt x="1962" y="439"/>
                  </a:lnTo>
                  <a:lnTo>
                    <a:pt x="1964" y="444"/>
                  </a:lnTo>
                  <a:lnTo>
                    <a:pt x="1968" y="451"/>
                  </a:lnTo>
                  <a:lnTo>
                    <a:pt x="1975" y="458"/>
                  </a:lnTo>
                  <a:lnTo>
                    <a:pt x="1980" y="465"/>
                  </a:lnTo>
                  <a:lnTo>
                    <a:pt x="1981" y="469"/>
                  </a:lnTo>
                  <a:lnTo>
                    <a:pt x="1981" y="472"/>
                  </a:lnTo>
                  <a:lnTo>
                    <a:pt x="1981" y="476"/>
                  </a:lnTo>
                  <a:lnTo>
                    <a:pt x="1980" y="481"/>
                  </a:lnTo>
                  <a:lnTo>
                    <a:pt x="1976" y="486"/>
                  </a:lnTo>
                  <a:lnTo>
                    <a:pt x="1969" y="491"/>
                  </a:lnTo>
                  <a:lnTo>
                    <a:pt x="1969" y="491"/>
                  </a:lnTo>
                  <a:lnTo>
                    <a:pt x="1957" y="500"/>
                  </a:lnTo>
                  <a:lnTo>
                    <a:pt x="1955" y="500"/>
                  </a:lnTo>
                  <a:lnTo>
                    <a:pt x="1954" y="500"/>
                  </a:lnTo>
                  <a:lnTo>
                    <a:pt x="1954" y="491"/>
                  </a:lnTo>
                  <a:lnTo>
                    <a:pt x="1957" y="479"/>
                  </a:lnTo>
                  <a:lnTo>
                    <a:pt x="1959" y="467"/>
                  </a:lnTo>
                  <a:lnTo>
                    <a:pt x="1959" y="460"/>
                  </a:lnTo>
                  <a:lnTo>
                    <a:pt x="1959" y="455"/>
                  </a:lnTo>
                  <a:lnTo>
                    <a:pt x="1957" y="451"/>
                  </a:lnTo>
                  <a:lnTo>
                    <a:pt x="1954" y="449"/>
                  </a:lnTo>
                  <a:lnTo>
                    <a:pt x="1948" y="448"/>
                  </a:lnTo>
                  <a:lnTo>
                    <a:pt x="1941" y="449"/>
                  </a:lnTo>
                  <a:lnTo>
                    <a:pt x="1941" y="449"/>
                  </a:lnTo>
                  <a:lnTo>
                    <a:pt x="1934" y="451"/>
                  </a:lnTo>
                  <a:lnTo>
                    <a:pt x="1929" y="453"/>
                  </a:lnTo>
                  <a:lnTo>
                    <a:pt x="1928" y="451"/>
                  </a:lnTo>
                  <a:lnTo>
                    <a:pt x="1928" y="449"/>
                  </a:lnTo>
                  <a:lnTo>
                    <a:pt x="1933" y="441"/>
                  </a:lnTo>
                  <a:lnTo>
                    <a:pt x="1941" y="430"/>
                  </a:lnTo>
                  <a:lnTo>
                    <a:pt x="1948" y="420"/>
                  </a:lnTo>
                  <a:lnTo>
                    <a:pt x="1950" y="415"/>
                  </a:lnTo>
                  <a:lnTo>
                    <a:pt x="1952" y="411"/>
                  </a:lnTo>
                  <a:lnTo>
                    <a:pt x="1950" y="408"/>
                  </a:lnTo>
                  <a:lnTo>
                    <a:pt x="1947" y="404"/>
                  </a:lnTo>
                  <a:lnTo>
                    <a:pt x="1941" y="402"/>
                  </a:lnTo>
                  <a:lnTo>
                    <a:pt x="1931" y="402"/>
                  </a:lnTo>
                  <a:lnTo>
                    <a:pt x="1931" y="402"/>
                  </a:lnTo>
                  <a:lnTo>
                    <a:pt x="1914" y="401"/>
                  </a:lnTo>
                  <a:lnTo>
                    <a:pt x="1900" y="397"/>
                  </a:lnTo>
                  <a:lnTo>
                    <a:pt x="1889" y="392"/>
                  </a:lnTo>
                  <a:lnTo>
                    <a:pt x="1882" y="385"/>
                  </a:lnTo>
                  <a:lnTo>
                    <a:pt x="1874" y="378"/>
                  </a:lnTo>
                  <a:lnTo>
                    <a:pt x="1861" y="371"/>
                  </a:lnTo>
                  <a:lnTo>
                    <a:pt x="1846" y="364"/>
                  </a:lnTo>
                  <a:lnTo>
                    <a:pt x="1823" y="361"/>
                  </a:lnTo>
                  <a:lnTo>
                    <a:pt x="1823" y="361"/>
                  </a:lnTo>
                  <a:lnTo>
                    <a:pt x="1809" y="359"/>
                  </a:lnTo>
                  <a:lnTo>
                    <a:pt x="1797" y="357"/>
                  </a:lnTo>
                  <a:lnTo>
                    <a:pt x="1786" y="359"/>
                  </a:lnTo>
                  <a:lnTo>
                    <a:pt x="1780" y="361"/>
                  </a:lnTo>
                  <a:lnTo>
                    <a:pt x="1773" y="362"/>
                  </a:lnTo>
                  <a:lnTo>
                    <a:pt x="1767" y="366"/>
                  </a:lnTo>
                  <a:lnTo>
                    <a:pt x="1762" y="371"/>
                  </a:lnTo>
                  <a:lnTo>
                    <a:pt x="1759" y="378"/>
                  </a:lnTo>
                  <a:lnTo>
                    <a:pt x="1757" y="385"/>
                  </a:lnTo>
                  <a:lnTo>
                    <a:pt x="1755" y="387"/>
                  </a:lnTo>
                  <a:lnTo>
                    <a:pt x="1752" y="387"/>
                  </a:lnTo>
                  <a:lnTo>
                    <a:pt x="1748" y="387"/>
                  </a:lnTo>
                  <a:lnTo>
                    <a:pt x="1748" y="387"/>
                  </a:lnTo>
                  <a:lnTo>
                    <a:pt x="1736" y="383"/>
                  </a:lnTo>
                  <a:lnTo>
                    <a:pt x="1724" y="383"/>
                  </a:lnTo>
                  <a:lnTo>
                    <a:pt x="1715" y="385"/>
                  </a:lnTo>
                  <a:lnTo>
                    <a:pt x="1708" y="390"/>
                  </a:lnTo>
                  <a:lnTo>
                    <a:pt x="1706" y="394"/>
                  </a:lnTo>
                  <a:lnTo>
                    <a:pt x="1706" y="397"/>
                  </a:lnTo>
                  <a:lnTo>
                    <a:pt x="1706" y="401"/>
                  </a:lnTo>
                  <a:lnTo>
                    <a:pt x="1708" y="404"/>
                  </a:lnTo>
                  <a:lnTo>
                    <a:pt x="1713" y="408"/>
                  </a:lnTo>
                  <a:lnTo>
                    <a:pt x="1719" y="411"/>
                  </a:lnTo>
                  <a:lnTo>
                    <a:pt x="1734" y="418"/>
                  </a:lnTo>
                  <a:lnTo>
                    <a:pt x="1734" y="418"/>
                  </a:lnTo>
                  <a:lnTo>
                    <a:pt x="1750" y="423"/>
                  </a:lnTo>
                  <a:lnTo>
                    <a:pt x="1759" y="429"/>
                  </a:lnTo>
                  <a:lnTo>
                    <a:pt x="1760" y="430"/>
                  </a:lnTo>
                  <a:lnTo>
                    <a:pt x="1760" y="432"/>
                  </a:lnTo>
                  <a:lnTo>
                    <a:pt x="1759" y="434"/>
                  </a:lnTo>
                  <a:lnTo>
                    <a:pt x="1750" y="436"/>
                  </a:lnTo>
                  <a:lnTo>
                    <a:pt x="1738" y="436"/>
                  </a:lnTo>
                  <a:lnTo>
                    <a:pt x="1705" y="432"/>
                  </a:lnTo>
                  <a:lnTo>
                    <a:pt x="1705" y="432"/>
                  </a:lnTo>
                  <a:lnTo>
                    <a:pt x="1698" y="430"/>
                  </a:lnTo>
                  <a:lnTo>
                    <a:pt x="1691" y="429"/>
                  </a:lnTo>
                  <a:lnTo>
                    <a:pt x="1687" y="425"/>
                  </a:lnTo>
                  <a:lnTo>
                    <a:pt x="1685" y="420"/>
                  </a:lnTo>
                  <a:lnTo>
                    <a:pt x="1684" y="415"/>
                  </a:lnTo>
                  <a:lnTo>
                    <a:pt x="1684" y="409"/>
                  </a:lnTo>
                  <a:lnTo>
                    <a:pt x="1687" y="397"/>
                  </a:lnTo>
                  <a:lnTo>
                    <a:pt x="1691" y="383"/>
                  </a:lnTo>
                  <a:lnTo>
                    <a:pt x="1694" y="369"/>
                  </a:lnTo>
                  <a:lnTo>
                    <a:pt x="1696" y="355"/>
                  </a:lnTo>
                  <a:lnTo>
                    <a:pt x="1694" y="350"/>
                  </a:lnTo>
                  <a:lnTo>
                    <a:pt x="1692" y="345"/>
                  </a:lnTo>
                  <a:lnTo>
                    <a:pt x="1692" y="345"/>
                  </a:lnTo>
                  <a:lnTo>
                    <a:pt x="1685" y="336"/>
                  </a:lnTo>
                  <a:lnTo>
                    <a:pt x="1680" y="329"/>
                  </a:lnTo>
                  <a:lnTo>
                    <a:pt x="1673" y="326"/>
                  </a:lnTo>
                  <a:lnTo>
                    <a:pt x="1670" y="324"/>
                  </a:lnTo>
                  <a:lnTo>
                    <a:pt x="1666" y="326"/>
                  </a:lnTo>
                  <a:lnTo>
                    <a:pt x="1665" y="331"/>
                  </a:lnTo>
                  <a:lnTo>
                    <a:pt x="1665" y="340"/>
                  </a:lnTo>
                  <a:lnTo>
                    <a:pt x="1668" y="352"/>
                  </a:lnTo>
                  <a:lnTo>
                    <a:pt x="1668" y="352"/>
                  </a:lnTo>
                  <a:lnTo>
                    <a:pt x="1670" y="361"/>
                  </a:lnTo>
                  <a:lnTo>
                    <a:pt x="1670" y="368"/>
                  </a:lnTo>
                  <a:lnTo>
                    <a:pt x="1666" y="375"/>
                  </a:lnTo>
                  <a:lnTo>
                    <a:pt x="1661" y="380"/>
                  </a:lnTo>
                  <a:lnTo>
                    <a:pt x="1656" y="383"/>
                  </a:lnTo>
                  <a:lnTo>
                    <a:pt x="1649" y="387"/>
                  </a:lnTo>
                  <a:lnTo>
                    <a:pt x="1633" y="392"/>
                  </a:lnTo>
                  <a:lnTo>
                    <a:pt x="1619" y="397"/>
                  </a:lnTo>
                  <a:lnTo>
                    <a:pt x="1614" y="401"/>
                  </a:lnTo>
                  <a:lnTo>
                    <a:pt x="1611" y="404"/>
                  </a:lnTo>
                  <a:lnTo>
                    <a:pt x="1607" y="409"/>
                  </a:lnTo>
                  <a:lnTo>
                    <a:pt x="1607" y="415"/>
                  </a:lnTo>
                  <a:lnTo>
                    <a:pt x="1611" y="422"/>
                  </a:lnTo>
                  <a:lnTo>
                    <a:pt x="1616" y="430"/>
                  </a:lnTo>
                  <a:lnTo>
                    <a:pt x="1616" y="430"/>
                  </a:lnTo>
                  <a:lnTo>
                    <a:pt x="1637" y="455"/>
                  </a:lnTo>
                  <a:lnTo>
                    <a:pt x="1642" y="462"/>
                  </a:lnTo>
                  <a:lnTo>
                    <a:pt x="1645" y="469"/>
                  </a:lnTo>
                  <a:lnTo>
                    <a:pt x="1645" y="476"/>
                  </a:lnTo>
                  <a:lnTo>
                    <a:pt x="1644" y="483"/>
                  </a:lnTo>
                  <a:lnTo>
                    <a:pt x="1638" y="491"/>
                  </a:lnTo>
                  <a:lnTo>
                    <a:pt x="1630" y="503"/>
                  </a:lnTo>
                  <a:lnTo>
                    <a:pt x="1630" y="503"/>
                  </a:lnTo>
                  <a:lnTo>
                    <a:pt x="1621" y="514"/>
                  </a:lnTo>
                  <a:lnTo>
                    <a:pt x="1618" y="523"/>
                  </a:lnTo>
                  <a:lnTo>
                    <a:pt x="1618" y="530"/>
                  </a:lnTo>
                  <a:lnTo>
                    <a:pt x="1619" y="535"/>
                  </a:lnTo>
                  <a:lnTo>
                    <a:pt x="1626" y="545"/>
                  </a:lnTo>
                  <a:lnTo>
                    <a:pt x="1628" y="550"/>
                  </a:lnTo>
                  <a:lnTo>
                    <a:pt x="1630" y="559"/>
                  </a:lnTo>
                  <a:lnTo>
                    <a:pt x="1630" y="559"/>
                  </a:lnTo>
                  <a:lnTo>
                    <a:pt x="1630" y="564"/>
                  </a:lnTo>
                  <a:lnTo>
                    <a:pt x="1631" y="568"/>
                  </a:lnTo>
                  <a:lnTo>
                    <a:pt x="1635" y="568"/>
                  </a:lnTo>
                  <a:lnTo>
                    <a:pt x="1638" y="570"/>
                  </a:lnTo>
                  <a:lnTo>
                    <a:pt x="1651" y="568"/>
                  </a:lnTo>
                  <a:lnTo>
                    <a:pt x="1665" y="564"/>
                  </a:lnTo>
                  <a:lnTo>
                    <a:pt x="1682" y="561"/>
                  </a:lnTo>
                  <a:lnTo>
                    <a:pt x="1701" y="559"/>
                  </a:lnTo>
                  <a:lnTo>
                    <a:pt x="1712" y="561"/>
                  </a:lnTo>
                  <a:lnTo>
                    <a:pt x="1722" y="563"/>
                  </a:lnTo>
                  <a:lnTo>
                    <a:pt x="1731" y="566"/>
                  </a:lnTo>
                  <a:lnTo>
                    <a:pt x="1741" y="571"/>
                  </a:lnTo>
                  <a:lnTo>
                    <a:pt x="1741" y="571"/>
                  </a:lnTo>
                  <a:lnTo>
                    <a:pt x="1757" y="582"/>
                  </a:lnTo>
                  <a:lnTo>
                    <a:pt x="1767" y="590"/>
                  </a:lnTo>
                  <a:lnTo>
                    <a:pt x="1773" y="599"/>
                  </a:lnTo>
                  <a:lnTo>
                    <a:pt x="1774" y="604"/>
                  </a:lnTo>
                  <a:lnTo>
                    <a:pt x="1774" y="610"/>
                  </a:lnTo>
                  <a:lnTo>
                    <a:pt x="1771" y="615"/>
                  </a:lnTo>
                  <a:lnTo>
                    <a:pt x="1766" y="624"/>
                  </a:lnTo>
                  <a:lnTo>
                    <a:pt x="1766" y="624"/>
                  </a:lnTo>
                  <a:lnTo>
                    <a:pt x="1760" y="636"/>
                  </a:lnTo>
                  <a:lnTo>
                    <a:pt x="1753" y="648"/>
                  </a:lnTo>
                  <a:lnTo>
                    <a:pt x="1750" y="651"/>
                  </a:lnTo>
                  <a:lnTo>
                    <a:pt x="1748" y="651"/>
                  </a:lnTo>
                  <a:lnTo>
                    <a:pt x="1748" y="648"/>
                  </a:lnTo>
                  <a:lnTo>
                    <a:pt x="1750" y="637"/>
                  </a:lnTo>
                  <a:lnTo>
                    <a:pt x="1750" y="637"/>
                  </a:lnTo>
                  <a:lnTo>
                    <a:pt x="1752" y="625"/>
                  </a:lnTo>
                  <a:lnTo>
                    <a:pt x="1752" y="613"/>
                  </a:lnTo>
                  <a:lnTo>
                    <a:pt x="1748" y="601"/>
                  </a:lnTo>
                  <a:lnTo>
                    <a:pt x="1743" y="590"/>
                  </a:lnTo>
                  <a:lnTo>
                    <a:pt x="1738" y="585"/>
                  </a:lnTo>
                  <a:lnTo>
                    <a:pt x="1732" y="582"/>
                  </a:lnTo>
                  <a:lnTo>
                    <a:pt x="1727" y="580"/>
                  </a:lnTo>
                  <a:lnTo>
                    <a:pt x="1720" y="577"/>
                  </a:lnTo>
                  <a:lnTo>
                    <a:pt x="1712" y="577"/>
                  </a:lnTo>
                  <a:lnTo>
                    <a:pt x="1703" y="577"/>
                  </a:lnTo>
                  <a:lnTo>
                    <a:pt x="1692" y="578"/>
                  </a:lnTo>
                  <a:lnTo>
                    <a:pt x="1682" y="582"/>
                  </a:lnTo>
                  <a:lnTo>
                    <a:pt x="1682" y="582"/>
                  </a:lnTo>
                  <a:lnTo>
                    <a:pt x="1672" y="585"/>
                  </a:lnTo>
                  <a:lnTo>
                    <a:pt x="1665" y="590"/>
                  </a:lnTo>
                  <a:lnTo>
                    <a:pt x="1659" y="594"/>
                  </a:lnTo>
                  <a:lnTo>
                    <a:pt x="1656" y="599"/>
                  </a:lnTo>
                  <a:lnTo>
                    <a:pt x="1654" y="604"/>
                  </a:lnTo>
                  <a:lnTo>
                    <a:pt x="1654" y="610"/>
                  </a:lnTo>
                  <a:lnTo>
                    <a:pt x="1658" y="622"/>
                  </a:lnTo>
                  <a:lnTo>
                    <a:pt x="1661" y="632"/>
                  </a:lnTo>
                  <a:lnTo>
                    <a:pt x="1665" y="643"/>
                  </a:lnTo>
                  <a:lnTo>
                    <a:pt x="1665" y="648"/>
                  </a:lnTo>
                  <a:lnTo>
                    <a:pt x="1663" y="651"/>
                  </a:lnTo>
                  <a:lnTo>
                    <a:pt x="1659" y="657"/>
                  </a:lnTo>
                  <a:lnTo>
                    <a:pt x="1654" y="660"/>
                  </a:lnTo>
                  <a:lnTo>
                    <a:pt x="1654" y="660"/>
                  </a:lnTo>
                  <a:lnTo>
                    <a:pt x="1644" y="665"/>
                  </a:lnTo>
                  <a:lnTo>
                    <a:pt x="1637" y="672"/>
                  </a:lnTo>
                  <a:lnTo>
                    <a:pt x="1633" y="679"/>
                  </a:lnTo>
                  <a:lnTo>
                    <a:pt x="1631" y="686"/>
                  </a:lnTo>
                  <a:lnTo>
                    <a:pt x="1630" y="693"/>
                  </a:lnTo>
                  <a:lnTo>
                    <a:pt x="1625" y="700"/>
                  </a:lnTo>
                  <a:lnTo>
                    <a:pt x="1618" y="707"/>
                  </a:lnTo>
                  <a:lnTo>
                    <a:pt x="1605" y="714"/>
                  </a:lnTo>
                  <a:lnTo>
                    <a:pt x="1605" y="714"/>
                  </a:lnTo>
                  <a:lnTo>
                    <a:pt x="1593" y="721"/>
                  </a:lnTo>
                  <a:lnTo>
                    <a:pt x="1586" y="726"/>
                  </a:lnTo>
                  <a:lnTo>
                    <a:pt x="1579" y="738"/>
                  </a:lnTo>
                  <a:lnTo>
                    <a:pt x="1574" y="742"/>
                  </a:lnTo>
                  <a:lnTo>
                    <a:pt x="1564" y="744"/>
                  </a:lnTo>
                  <a:lnTo>
                    <a:pt x="1548" y="742"/>
                  </a:lnTo>
                  <a:lnTo>
                    <a:pt x="1522" y="738"/>
                  </a:lnTo>
                  <a:lnTo>
                    <a:pt x="1522" y="738"/>
                  </a:lnTo>
                  <a:lnTo>
                    <a:pt x="1499" y="733"/>
                  </a:lnTo>
                  <a:lnTo>
                    <a:pt x="1492" y="730"/>
                  </a:lnTo>
                  <a:lnTo>
                    <a:pt x="1492" y="728"/>
                  </a:lnTo>
                  <a:lnTo>
                    <a:pt x="1496" y="728"/>
                  </a:lnTo>
                  <a:lnTo>
                    <a:pt x="1508" y="725"/>
                  </a:lnTo>
                  <a:lnTo>
                    <a:pt x="1524" y="721"/>
                  </a:lnTo>
                  <a:lnTo>
                    <a:pt x="1543" y="714"/>
                  </a:lnTo>
                  <a:lnTo>
                    <a:pt x="1551" y="709"/>
                  </a:lnTo>
                  <a:lnTo>
                    <a:pt x="1560" y="704"/>
                  </a:lnTo>
                  <a:lnTo>
                    <a:pt x="1567" y="697"/>
                  </a:lnTo>
                  <a:lnTo>
                    <a:pt x="1572" y="688"/>
                  </a:lnTo>
                  <a:lnTo>
                    <a:pt x="1572" y="688"/>
                  </a:lnTo>
                  <a:lnTo>
                    <a:pt x="1581" y="674"/>
                  </a:lnTo>
                  <a:lnTo>
                    <a:pt x="1588" y="665"/>
                  </a:lnTo>
                  <a:lnTo>
                    <a:pt x="1595" y="660"/>
                  </a:lnTo>
                  <a:lnTo>
                    <a:pt x="1600" y="657"/>
                  </a:lnTo>
                  <a:lnTo>
                    <a:pt x="1605" y="655"/>
                  </a:lnTo>
                  <a:lnTo>
                    <a:pt x="1609" y="650"/>
                  </a:lnTo>
                  <a:lnTo>
                    <a:pt x="1612" y="643"/>
                  </a:lnTo>
                  <a:lnTo>
                    <a:pt x="1616" y="631"/>
                  </a:lnTo>
                  <a:lnTo>
                    <a:pt x="1616" y="631"/>
                  </a:lnTo>
                  <a:lnTo>
                    <a:pt x="1616" y="617"/>
                  </a:lnTo>
                  <a:lnTo>
                    <a:pt x="1612" y="606"/>
                  </a:lnTo>
                  <a:lnTo>
                    <a:pt x="1607" y="597"/>
                  </a:lnTo>
                  <a:lnTo>
                    <a:pt x="1600" y="589"/>
                  </a:lnTo>
                  <a:lnTo>
                    <a:pt x="1593" y="580"/>
                  </a:lnTo>
                  <a:lnTo>
                    <a:pt x="1588" y="570"/>
                  </a:lnTo>
                  <a:lnTo>
                    <a:pt x="1584" y="557"/>
                  </a:lnTo>
                  <a:lnTo>
                    <a:pt x="1586" y="540"/>
                  </a:lnTo>
                  <a:lnTo>
                    <a:pt x="1586" y="540"/>
                  </a:lnTo>
                  <a:lnTo>
                    <a:pt x="1591" y="503"/>
                  </a:lnTo>
                  <a:lnTo>
                    <a:pt x="1593" y="489"/>
                  </a:lnTo>
                  <a:lnTo>
                    <a:pt x="1595" y="476"/>
                  </a:lnTo>
                  <a:lnTo>
                    <a:pt x="1593" y="463"/>
                  </a:lnTo>
                  <a:lnTo>
                    <a:pt x="1590" y="453"/>
                  </a:lnTo>
                  <a:lnTo>
                    <a:pt x="1583" y="442"/>
                  </a:lnTo>
                  <a:lnTo>
                    <a:pt x="1571" y="430"/>
                  </a:lnTo>
                  <a:lnTo>
                    <a:pt x="1571" y="430"/>
                  </a:lnTo>
                  <a:lnTo>
                    <a:pt x="1562" y="422"/>
                  </a:lnTo>
                  <a:lnTo>
                    <a:pt x="1560" y="418"/>
                  </a:lnTo>
                  <a:lnTo>
                    <a:pt x="1560" y="415"/>
                  </a:lnTo>
                  <a:lnTo>
                    <a:pt x="1560" y="411"/>
                  </a:lnTo>
                  <a:lnTo>
                    <a:pt x="1564" y="409"/>
                  </a:lnTo>
                  <a:lnTo>
                    <a:pt x="1571" y="404"/>
                  </a:lnTo>
                  <a:lnTo>
                    <a:pt x="1579" y="397"/>
                  </a:lnTo>
                  <a:lnTo>
                    <a:pt x="1588" y="388"/>
                  </a:lnTo>
                  <a:lnTo>
                    <a:pt x="1591" y="383"/>
                  </a:lnTo>
                  <a:lnTo>
                    <a:pt x="1595" y="378"/>
                  </a:lnTo>
                  <a:lnTo>
                    <a:pt x="1597" y="371"/>
                  </a:lnTo>
                  <a:lnTo>
                    <a:pt x="1597" y="362"/>
                  </a:lnTo>
                  <a:lnTo>
                    <a:pt x="1597" y="362"/>
                  </a:lnTo>
                  <a:lnTo>
                    <a:pt x="1597" y="354"/>
                  </a:lnTo>
                  <a:lnTo>
                    <a:pt x="1593" y="345"/>
                  </a:lnTo>
                  <a:lnTo>
                    <a:pt x="1590" y="338"/>
                  </a:lnTo>
                  <a:lnTo>
                    <a:pt x="1584" y="335"/>
                  </a:lnTo>
                  <a:lnTo>
                    <a:pt x="1578" y="331"/>
                  </a:lnTo>
                  <a:lnTo>
                    <a:pt x="1571" y="328"/>
                  </a:lnTo>
                  <a:lnTo>
                    <a:pt x="1553" y="326"/>
                  </a:lnTo>
                  <a:lnTo>
                    <a:pt x="1536" y="326"/>
                  </a:lnTo>
                  <a:lnTo>
                    <a:pt x="1517" y="328"/>
                  </a:lnTo>
                  <a:lnTo>
                    <a:pt x="1499" y="328"/>
                  </a:lnTo>
                  <a:lnTo>
                    <a:pt x="1485" y="326"/>
                  </a:lnTo>
                  <a:lnTo>
                    <a:pt x="1485" y="326"/>
                  </a:lnTo>
                  <a:lnTo>
                    <a:pt x="1478" y="324"/>
                  </a:lnTo>
                  <a:lnTo>
                    <a:pt x="1471" y="326"/>
                  </a:lnTo>
                  <a:lnTo>
                    <a:pt x="1468" y="329"/>
                  </a:lnTo>
                  <a:lnTo>
                    <a:pt x="1463" y="335"/>
                  </a:lnTo>
                  <a:lnTo>
                    <a:pt x="1456" y="347"/>
                  </a:lnTo>
                  <a:lnTo>
                    <a:pt x="1450" y="364"/>
                  </a:lnTo>
                  <a:lnTo>
                    <a:pt x="1443" y="382"/>
                  </a:lnTo>
                  <a:lnTo>
                    <a:pt x="1436" y="399"/>
                  </a:lnTo>
                  <a:lnTo>
                    <a:pt x="1430" y="408"/>
                  </a:lnTo>
                  <a:lnTo>
                    <a:pt x="1424" y="415"/>
                  </a:lnTo>
                  <a:lnTo>
                    <a:pt x="1417" y="422"/>
                  </a:lnTo>
                  <a:lnTo>
                    <a:pt x="1407" y="425"/>
                  </a:lnTo>
                  <a:lnTo>
                    <a:pt x="1407" y="425"/>
                  </a:lnTo>
                  <a:lnTo>
                    <a:pt x="1388" y="436"/>
                  </a:lnTo>
                  <a:lnTo>
                    <a:pt x="1383" y="439"/>
                  </a:lnTo>
                  <a:lnTo>
                    <a:pt x="1379" y="444"/>
                  </a:lnTo>
                  <a:lnTo>
                    <a:pt x="1377" y="448"/>
                  </a:lnTo>
                  <a:lnTo>
                    <a:pt x="1379" y="451"/>
                  </a:lnTo>
                  <a:lnTo>
                    <a:pt x="1384" y="458"/>
                  </a:lnTo>
                  <a:lnTo>
                    <a:pt x="1391" y="467"/>
                  </a:lnTo>
                  <a:lnTo>
                    <a:pt x="1395" y="470"/>
                  </a:lnTo>
                  <a:lnTo>
                    <a:pt x="1396" y="476"/>
                  </a:lnTo>
                  <a:lnTo>
                    <a:pt x="1398" y="483"/>
                  </a:lnTo>
                  <a:lnTo>
                    <a:pt x="1396" y="488"/>
                  </a:lnTo>
                  <a:lnTo>
                    <a:pt x="1395" y="496"/>
                  </a:lnTo>
                  <a:lnTo>
                    <a:pt x="1389" y="505"/>
                  </a:lnTo>
                  <a:lnTo>
                    <a:pt x="1389" y="505"/>
                  </a:lnTo>
                  <a:lnTo>
                    <a:pt x="1384" y="514"/>
                  </a:lnTo>
                  <a:lnTo>
                    <a:pt x="1383" y="521"/>
                  </a:lnTo>
                  <a:lnTo>
                    <a:pt x="1384" y="528"/>
                  </a:lnTo>
                  <a:lnTo>
                    <a:pt x="1388" y="535"/>
                  </a:lnTo>
                  <a:lnTo>
                    <a:pt x="1395" y="540"/>
                  </a:lnTo>
                  <a:lnTo>
                    <a:pt x="1402" y="545"/>
                  </a:lnTo>
                  <a:lnTo>
                    <a:pt x="1421" y="554"/>
                  </a:lnTo>
                  <a:lnTo>
                    <a:pt x="1438" y="564"/>
                  </a:lnTo>
                  <a:lnTo>
                    <a:pt x="1447" y="570"/>
                  </a:lnTo>
                  <a:lnTo>
                    <a:pt x="1452" y="575"/>
                  </a:lnTo>
                  <a:lnTo>
                    <a:pt x="1457" y="580"/>
                  </a:lnTo>
                  <a:lnTo>
                    <a:pt x="1459" y="587"/>
                  </a:lnTo>
                  <a:lnTo>
                    <a:pt x="1459" y="594"/>
                  </a:lnTo>
                  <a:lnTo>
                    <a:pt x="1454" y="601"/>
                  </a:lnTo>
                  <a:lnTo>
                    <a:pt x="1454" y="601"/>
                  </a:lnTo>
                  <a:lnTo>
                    <a:pt x="1445" y="615"/>
                  </a:lnTo>
                  <a:lnTo>
                    <a:pt x="1442" y="618"/>
                  </a:lnTo>
                  <a:lnTo>
                    <a:pt x="1438" y="620"/>
                  </a:lnTo>
                  <a:lnTo>
                    <a:pt x="1435" y="620"/>
                  </a:lnTo>
                  <a:lnTo>
                    <a:pt x="1431" y="618"/>
                  </a:lnTo>
                  <a:lnTo>
                    <a:pt x="1423" y="613"/>
                  </a:lnTo>
                  <a:lnTo>
                    <a:pt x="1410" y="603"/>
                  </a:lnTo>
                  <a:lnTo>
                    <a:pt x="1389" y="589"/>
                  </a:lnTo>
                  <a:lnTo>
                    <a:pt x="1360" y="571"/>
                  </a:lnTo>
                  <a:lnTo>
                    <a:pt x="1341" y="563"/>
                  </a:lnTo>
                  <a:lnTo>
                    <a:pt x="1320" y="554"/>
                  </a:lnTo>
                  <a:lnTo>
                    <a:pt x="1320" y="554"/>
                  </a:lnTo>
                  <a:lnTo>
                    <a:pt x="1295" y="545"/>
                  </a:lnTo>
                  <a:lnTo>
                    <a:pt x="1275" y="538"/>
                  </a:lnTo>
                  <a:lnTo>
                    <a:pt x="1255" y="533"/>
                  </a:lnTo>
                  <a:lnTo>
                    <a:pt x="1236" y="530"/>
                  </a:lnTo>
                  <a:lnTo>
                    <a:pt x="1221" y="526"/>
                  </a:lnTo>
                  <a:lnTo>
                    <a:pt x="1205" y="526"/>
                  </a:lnTo>
                  <a:lnTo>
                    <a:pt x="1193" y="526"/>
                  </a:lnTo>
                  <a:lnTo>
                    <a:pt x="1182" y="526"/>
                  </a:lnTo>
                  <a:lnTo>
                    <a:pt x="1172" y="530"/>
                  </a:lnTo>
                  <a:lnTo>
                    <a:pt x="1165" y="531"/>
                  </a:lnTo>
                  <a:lnTo>
                    <a:pt x="1160" y="535"/>
                  </a:lnTo>
                  <a:lnTo>
                    <a:pt x="1158" y="540"/>
                  </a:lnTo>
                  <a:lnTo>
                    <a:pt x="1156" y="545"/>
                  </a:lnTo>
                  <a:lnTo>
                    <a:pt x="1156" y="550"/>
                  </a:lnTo>
                  <a:lnTo>
                    <a:pt x="1160" y="556"/>
                  </a:lnTo>
                  <a:lnTo>
                    <a:pt x="1165" y="563"/>
                  </a:lnTo>
                  <a:lnTo>
                    <a:pt x="1165" y="563"/>
                  </a:lnTo>
                  <a:lnTo>
                    <a:pt x="1168" y="566"/>
                  </a:lnTo>
                  <a:lnTo>
                    <a:pt x="1168" y="571"/>
                  </a:lnTo>
                  <a:lnTo>
                    <a:pt x="1168" y="577"/>
                  </a:lnTo>
                  <a:lnTo>
                    <a:pt x="1167" y="582"/>
                  </a:lnTo>
                  <a:lnTo>
                    <a:pt x="1160" y="592"/>
                  </a:lnTo>
                  <a:lnTo>
                    <a:pt x="1149" y="601"/>
                  </a:lnTo>
                  <a:lnTo>
                    <a:pt x="1139" y="606"/>
                  </a:lnTo>
                  <a:lnTo>
                    <a:pt x="1134" y="608"/>
                  </a:lnTo>
                  <a:lnTo>
                    <a:pt x="1128" y="608"/>
                  </a:lnTo>
                  <a:lnTo>
                    <a:pt x="1123" y="606"/>
                  </a:lnTo>
                  <a:lnTo>
                    <a:pt x="1120" y="604"/>
                  </a:lnTo>
                  <a:lnTo>
                    <a:pt x="1118" y="599"/>
                  </a:lnTo>
                  <a:lnTo>
                    <a:pt x="1118" y="594"/>
                  </a:lnTo>
                  <a:lnTo>
                    <a:pt x="1118" y="594"/>
                  </a:lnTo>
                  <a:lnTo>
                    <a:pt x="1116" y="582"/>
                  </a:lnTo>
                  <a:lnTo>
                    <a:pt x="1114" y="575"/>
                  </a:lnTo>
                  <a:lnTo>
                    <a:pt x="1111" y="573"/>
                  </a:lnTo>
                  <a:lnTo>
                    <a:pt x="1104" y="573"/>
                  </a:lnTo>
                  <a:lnTo>
                    <a:pt x="1097" y="575"/>
                  </a:lnTo>
                  <a:lnTo>
                    <a:pt x="1086" y="582"/>
                  </a:lnTo>
                  <a:lnTo>
                    <a:pt x="1062" y="597"/>
                  </a:lnTo>
                  <a:lnTo>
                    <a:pt x="1062" y="597"/>
                  </a:lnTo>
                  <a:lnTo>
                    <a:pt x="1050" y="604"/>
                  </a:lnTo>
                  <a:lnTo>
                    <a:pt x="1045" y="604"/>
                  </a:lnTo>
                  <a:lnTo>
                    <a:pt x="1039" y="604"/>
                  </a:lnTo>
                  <a:lnTo>
                    <a:pt x="1031" y="603"/>
                  </a:lnTo>
                  <a:lnTo>
                    <a:pt x="1024" y="599"/>
                  </a:lnTo>
                  <a:lnTo>
                    <a:pt x="1017" y="596"/>
                  </a:lnTo>
                  <a:lnTo>
                    <a:pt x="1006" y="594"/>
                  </a:lnTo>
                  <a:lnTo>
                    <a:pt x="999" y="596"/>
                  </a:lnTo>
                  <a:lnTo>
                    <a:pt x="992" y="597"/>
                  </a:lnTo>
                  <a:lnTo>
                    <a:pt x="975" y="608"/>
                  </a:lnTo>
                  <a:lnTo>
                    <a:pt x="975" y="608"/>
                  </a:lnTo>
                  <a:lnTo>
                    <a:pt x="956" y="617"/>
                  </a:lnTo>
                  <a:lnTo>
                    <a:pt x="949" y="618"/>
                  </a:lnTo>
                  <a:lnTo>
                    <a:pt x="944" y="620"/>
                  </a:lnTo>
                  <a:lnTo>
                    <a:pt x="938" y="620"/>
                  </a:lnTo>
                  <a:lnTo>
                    <a:pt x="935" y="618"/>
                  </a:lnTo>
                  <a:lnTo>
                    <a:pt x="932" y="615"/>
                  </a:lnTo>
                  <a:lnTo>
                    <a:pt x="930" y="611"/>
                  </a:lnTo>
                  <a:lnTo>
                    <a:pt x="930" y="603"/>
                  </a:lnTo>
                  <a:lnTo>
                    <a:pt x="932" y="594"/>
                  </a:lnTo>
                  <a:lnTo>
                    <a:pt x="937" y="585"/>
                  </a:lnTo>
                  <a:lnTo>
                    <a:pt x="944" y="578"/>
                  </a:lnTo>
                  <a:lnTo>
                    <a:pt x="944" y="578"/>
                  </a:lnTo>
                  <a:lnTo>
                    <a:pt x="949" y="573"/>
                  </a:lnTo>
                  <a:lnTo>
                    <a:pt x="949" y="571"/>
                  </a:lnTo>
                  <a:lnTo>
                    <a:pt x="947" y="571"/>
                  </a:lnTo>
                  <a:lnTo>
                    <a:pt x="940" y="571"/>
                  </a:lnTo>
                  <a:lnTo>
                    <a:pt x="928" y="573"/>
                  </a:lnTo>
                  <a:lnTo>
                    <a:pt x="911" y="580"/>
                  </a:lnTo>
                  <a:lnTo>
                    <a:pt x="888" y="589"/>
                  </a:lnTo>
                  <a:lnTo>
                    <a:pt x="862" y="599"/>
                  </a:lnTo>
                  <a:lnTo>
                    <a:pt x="831" y="615"/>
                  </a:lnTo>
                  <a:lnTo>
                    <a:pt x="831" y="615"/>
                  </a:lnTo>
                  <a:lnTo>
                    <a:pt x="801" y="629"/>
                  </a:lnTo>
                  <a:lnTo>
                    <a:pt x="778" y="636"/>
                  </a:lnTo>
                  <a:lnTo>
                    <a:pt x="761" y="639"/>
                  </a:lnTo>
                  <a:lnTo>
                    <a:pt x="747" y="643"/>
                  </a:lnTo>
                  <a:lnTo>
                    <a:pt x="737" y="644"/>
                  </a:lnTo>
                  <a:lnTo>
                    <a:pt x="730" y="650"/>
                  </a:lnTo>
                  <a:lnTo>
                    <a:pt x="723" y="658"/>
                  </a:lnTo>
                  <a:lnTo>
                    <a:pt x="717" y="674"/>
                  </a:lnTo>
                  <a:lnTo>
                    <a:pt x="717" y="674"/>
                  </a:lnTo>
                  <a:lnTo>
                    <a:pt x="710" y="691"/>
                  </a:lnTo>
                  <a:lnTo>
                    <a:pt x="705" y="700"/>
                  </a:lnTo>
                  <a:lnTo>
                    <a:pt x="702" y="704"/>
                  </a:lnTo>
                  <a:lnTo>
                    <a:pt x="696" y="705"/>
                  </a:lnTo>
                  <a:lnTo>
                    <a:pt x="684" y="702"/>
                  </a:lnTo>
                  <a:lnTo>
                    <a:pt x="676" y="704"/>
                  </a:lnTo>
                  <a:lnTo>
                    <a:pt x="667" y="707"/>
                  </a:lnTo>
                  <a:lnTo>
                    <a:pt x="667" y="707"/>
                  </a:lnTo>
                  <a:lnTo>
                    <a:pt x="658" y="711"/>
                  </a:lnTo>
                  <a:lnTo>
                    <a:pt x="653" y="711"/>
                  </a:lnTo>
                  <a:lnTo>
                    <a:pt x="649" y="709"/>
                  </a:lnTo>
                  <a:lnTo>
                    <a:pt x="648" y="705"/>
                  </a:lnTo>
                  <a:lnTo>
                    <a:pt x="646" y="700"/>
                  </a:lnTo>
                  <a:lnTo>
                    <a:pt x="642" y="693"/>
                  </a:lnTo>
                  <a:lnTo>
                    <a:pt x="637" y="688"/>
                  </a:lnTo>
                  <a:lnTo>
                    <a:pt x="627" y="681"/>
                  </a:lnTo>
                  <a:lnTo>
                    <a:pt x="627" y="681"/>
                  </a:lnTo>
                  <a:lnTo>
                    <a:pt x="618" y="676"/>
                  </a:lnTo>
                  <a:lnTo>
                    <a:pt x="616" y="674"/>
                  </a:lnTo>
                  <a:lnTo>
                    <a:pt x="616" y="671"/>
                  </a:lnTo>
                  <a:lnTo>
                    <a:pt x="616" y="667"/>
                  </a:lnTo>
                  <a:lnTo>
                    <a:pt x="618" y="665"/>
                  </a:lnTo>
                  <a:lnTo>
                    <a:pt x="623" y="660"/>
                  </a:lnTo>
                  <a:lnTo>
                    <a:pt x="630" y="655"/>
                  </a:lnTo>
                  <a:lnTo>
                    <a:pt x="641" y="651"/>
                  </a:lnTo>
                  <a:lnTo>
                    <a:pt x="651" y="648"/>
                  </a:lnTo>
                  <a:lnTo>
                    <a:pt x="662" y="648"/>
                  </a:lnTo>
                  <a:lnTo>
                    <a:pt x="662" y="648"/>
                  </a:lnTo>
                  <a:lnTo>
                    <a:pt x="667" y="646"/>
                  </a:lnTo>
                  <a:lnTo>
                    <a:pt x="670" y="644"/>
                  </a:lnTo>
                  <a:lnTo>
                    <a:pt x="672" y="643"/>
                  </a:lnTo>
                  <a:lnTo>
                    <a:pt x="674" y="639"/>
                  </a:lnTo>
                  <a:lnTo>
                    <a:pt x="672" y="632"/>
                  </a:lnTo>
                  <a:lnTo>
                    <a:pt x="669" y="624"/>
                  </a:lnTo>
                  <a:lnTo>
                    <a:pt x="660" y="615"/>
                  </a:lnTo>
                  <a:lnTo>
                    <a:pt x="649" y="608"/>
                  </a:lnTo>
                  <a:lnTo>
                    <a:pt x="637" y="603"/>
                  </a:lnTo>
                  <a:lnTo>
                    <a:pt x="630" y="601"/>
                  </a:lnTo>
                  <a:lnTo>
                    <a:pt x="623" y="601"/>
                  </a:lnTo>
                  <a:lnTo>
                    <a:pt x="623" y="601"/>
                  </a:lnTo>
                  <a:lnTo>
                    <a:pt x="609" y="601"/>
                  </a:lnTo>
                  <a:lnTo>
                    <a:pt x="594" y="599"/>
                  </a:lnTo>
                  <a:lnTo>
                    <a:pt x="571" y="594"/>
                  </a:lnTo>
                  <a:lnTo>
                    <a:pt x="564" y="594"/>
                  </a:lnTo>
                  <a:lnTo>
                    <a:pt x="562" y="594"/>
                  </a:lnTo>
                  <a:lnTo>
                    <a:pt x="562" y="594"/>
                  </a:lnTo>
                  <a:lnTo>
                    <a:pt x="566" y="599"/>
                  </a:lnTo>
                  <a:lnTo>
                    <a:pt x="575" y="608"/>
                  </a:lnTo>
                  <a:lnTo>
                    <a:pt x="575" y="608"/>
                  </a:lnTo>
                  <a:lnTo>
                    <a:pt x="580" y="613"/>
                  </a:lnTo>
                  <a:lnTo>
                    <a:pt x="583" y="618"/>
                  </a:lnTo>
                  <a:lnTo>
                    <a:pt x="585" y="624"/>
                  </a:lnTo>
                  <a:lnTo>
                    <a:pt x="587" y="631"/>
                  </a:lnTo>
                  <a:lnTo>
                    <a:pt x="585" y="641"/>
                  </a:lnTo>
                  <a:lnTo>
                    <a:pt x="580" y="651"/>
                  </a:lnTo>
                  <a:lnTo>
                    <a:pt x="576" y="660"/>
                  </a:lnTo>
                  <a:lnTo>
                    <a:pt x="575" y="671"/>
                  </a:lnTo>
                  <a:lnTo>
                    <a:pt x="575" y="676"/>
                  </a:lnTo>
                  <a:lnTo>
                    <a:pt x="578" y="679"/>
                  </a:lnTo>
                  <a:lnTo>
                    <a:pt x="582" y="684"/>
                  </a:lnTo>
                  <a:lnTo>
                    <a:pt x="587" y="690"/>
                  </a:lnTo>
                  <a:lnTo>
                    <a:pt x="587" y="690"/>
                  </a:lnTo>
                  <a:lnTo>
                    <a:pt x="597" y="697"/>
                  </a:lnTo>
                  <a:lnTo>
                    <a:pt x="601" y="700"/>
                  </a:lnTo>
                  <a:lnTo>
                    <a:pt x="602" y="704"/>
                  </a:lnTo>
                  <a:lnTo>
                    <a:pt x="602" y="711"/>
                  </a:lnTo>
                  <a:lnTo>
                    <a:pt x="599" y="718"/>
                  </a:lnTo>
                  <a:lnTo>
                    <a:pt x="594" y="725"/>
                  </a:lnTo>
                  <a:lnTo>
                    <a:pt x="590" y="733"/>
                  </a:lnTo>
                  <a:lnTo>
                    <a:pt x="587" y="742"/>
                  </a:lnTo>
                  <a:lnTo>
                    <a:pt x="589" y="754"/>
                  </a:lnTo>
                  <a:lnTo>
                    <a:pt x="589" y="754"/>
                  </a:lnTo>
                  <a:lnTo>
                    <a:pt x="589" y="763"/>
                  </a:lnTo>
                  <a:lnTo>
                    <a:pt x="589" y="763"/>
                  </a:lnTo>
                  <a:lnTo>
                    <a:pt x="587" y="761"/>
                  </a:lnTo>
                  <a:lnTo>
                    <a:pt x="580" y="754"/>
                  </a:lnTo>
                  <a:lnTo>
                    <a:pt x="569" y="744"/>
                  </a:lnTo>
                  <a:lnTo>
                    <a:pt x="557" y="733"/>
                  </a:lnTo>
                  <a:lnTo>
                    <a:pt x="550" y="730"/>
                  </a:lnTo>
                  <a:lnTo>
                    <a:pt x="542" y="726"/>
                  </a:lnTo>
                  <a:lnTo>
                    <a:pt x="533" y="726"/>
                  </a:lnTo>
                  <a:lnTo>
                    <a:pt x="522" y="728"/>
                  </a:lnTo>
                  <a:lnTo>
                    <a:pt x="512" y="731"/>
                  </a:lnTo>
                  <a:lnTo>
                    <a:pt x="501" y="737"/>
                  </a:lnTo>
                  <a:lnTo>
                    <a:pt x="501" y="737"/>
                  </a:lnTo>
                  <a:lnTo>
                    <a:pt x="481" y="751"/>
                  </a:lnTo>
                  <a:lnTo>
                    <a:pt x="461" y="761"/>
                  </a:lnTo>
                  <a:lnTo>
                    <a:pt x="447" y="770"/>
                  </a:lnTo>
                  <a:lnTo>
                    <a:pt x="437" y="777"/>
                  </a:lnTo>
                  <a:lnTo>
                    <a:pt x="432" y="784"/>
                  </a:lnTo>
                  <a:lnTo>
                    <a:pt x="432" y="787"/>
                  </a:lnTo>
                  <a:lnTo>
                    <a:pt x="432" y="791"/>
                  </a:lnTo>
                  <a:lnTo>
                    <a:pt x="437" y="801"/>
                  </a:lnTo>
                  <a:lnTo>
                    <a:pt x="447" y="813"/>
                  </a:lnTo>
                  <a:lnTo>
                    <a:pt x="447" y="813"/>
                  </a:lnTo>
                  <a:lnTo>
                    <a:pt x="458" y="827"/>
                  </a:lnTo>
                  <a:lnTo>
                    <a:pt x="460" y="832"/>
                  </a:lnTo>
                  <a:lnTo>
                    <a:pt x="460" y="836"/>
                  </a:lnTo>
                  <a:lnTo>
                    <a:pt x="460" y="839"/>
                  </a:lnTo>
                  <a:lnTo>
                    <a:pt x="458" y="843"/>
                  </a:lnTo>
                  <a:lnTo>
                    <a:pt x="454" y="845"/>
                  </a:lnTo>
                  <a:lnTo>
                    <a:pt x="449" y="846"/>
                  </a:lnTo>
                  <a:lnTo>
                    <a:pt x="435" y="846"/>
                  </a:lnTo>
                  <a:lnTo>
                    <a:pt x="418" y="843"/>
                  </a:lnTo>
                  <a:lnTo>
                    <a:pt x="399" y="836"/>
                  </a:lnTo>
                  <a:lnTo>
                    <a:pt x="376" y="827"/>
                  </a:lnTo>
                  <a:lnTo>
                    <a:pt x="376" y="827"/>
                  </a:lnTo>
                  <a:lnTo>
                    <a:pt x="355" y="817"/>
                  </a:lnTo>
                  <a:lnTo>
                    <a:pt x="340" y="813"/>
                  </a:lnTo>
                  <a:lnTo>
                    <a:pt x="327" y="812"/>
                  </a:lnTo>
                  <a:lnTo>
                    <a:pt x="319" y="813"/>
                  </a:lnTo>
                  <a:lnTo>
                    <a:pt x="317" y="815"/>
                  </a:lnTo>
                  <a:lnTo>
                    <a:pt x="315" y="817"/>
                  </a:lnTo>
                  <a:lnTo>
                    <a:pt x="315" y="824"/>
                  </a:lnTo>
                  <a:lnTo>
                    <a:pt x="319" y="832"/>
                  </a:lnTo>
                  <a:lnTo>
                    <a:pt x="326" y="841"/>
                  </a:lnTo>
                  <a:lnTo>
                    <a:pt x="326" y="841"/>
                  </a:lnTo>
                  <a:lnTo>
                    <a:pt x="336" y="850"/>
                  </a:lnTo>
                  <a:lnTo>
                    <a:pt x="346" y="855"/>
                  </a:lnTo>
                  <a:lnTo>
                    <a:pt x="367" y="864"/>
                  </a:lnTo>
                  <a:lnTo>
                    <a:pt x="373" y="867"/>
                  </a:lnTo>
                  <a:lnTo>
                    <a:pt x="374" y="869"/>
                  </a:lnTo>
                  <a:lnTo>
                    <a:pt x="374" y="871"/>
                  </a:lnTo>
                  <a:lnTo>
                    <a:pt x="371" y="876"/>
                  </a:lnTo>
                  <a:lnTo>
                    <a:pt x="360" y="883"/>
                  </a:lnTo>
                  <a:lnTo>
                    <a:pt x="360" y="883"/>
                  </a:lnTo>
                  <a:lnTo>
                    <a:pt x="348" y="888"/>
                  </a:lnTo>
                  <a:lnTo>
                    <a:pt x="343" y="890"/>
                  </a:lnTo>
                  <a:lnTo>
                    <a:pt x="340" y="888"/>
                  </a:lnTo>
                  <a:lnTo>
                    <a:pt x="333" y="885"/>
                  </a:lnTo>
                  <a:lnTo>
                    <a:pt x="327" y="879"/>
                  </a:lnTo>
                  <a:lnTo>
                    <a:pt x="322" y="873"/>
                  </a:lnTo>
                  <a:lnTo>
                    <a:pt x="313" y="864"/>
                  </a:lnTo>
                  <a:lnTo>
                    <a:pt x="305" y="857"/>
                  </a:lnTo>
                  <a:lnTo>
                    <a:pt x="298" y="855"/>
                  </a:lnTo>
                  <a:lnTo>
                    <a:pt x="291" y="853"/>
                  </a:lnTo>
                  <a:lnTo>
                    <a:pt x="291" y="853"/>
                  </a:lnTo>
                  <a:lnTo>
                    <a:pt x="277" y="850"/>
                  </a:lnTo>
                  <a:lnTo>
                    <a:pt x="270" y="845"/>
                  </a:lnTo>
                  <a:lnTo>
                    <a:pt x="266" y="841"/>
                  </a:lnTo>
                  <a:lnTo>
                    <a:pt x="266" y="834"/>
                  </a:lnTo>
                  <a:lnTo>
                    <a:pt x="266" y="829"/>
                  </a:lnTo>
                  <a:lnTo>
                    <a:pt x="265" y="820"/>
                  </a:lnTo>
                  <a:lnTo>
                    <a:pt x="263" y="813"/>
                  </a:lnTo>
                  <a:lnTo>
                    <a:pt x="256" y="806"/>
                  </a:lnTo>
                  <a:lnTo>
                    <a:pt x="256" y="806"/>
                  </a:lnTo>
                  <a:lnTo>
                    <a:pt x="251" y="801"/>
                  </a:lnTo>
                  <a:lnTo>
                    <a:pt x="249" y="798"/>
                  </a:lnTo>
                  <a:lnTo>
                    <a:pt x="249" y="796"/>
                  </a:lnTo>
                  <a:lnTo>
                    <a:pt x="249" y="792"/>
                  </a:lnTo>
                  <a:lnTo>
                    <a:pt x="252" y="787"/>
                  </a:lnTo>
                  <a:lnTo>
                    <a:pt x="258" y="782"/>
                  </a:lnTo>
                  <a:lnTo>
                    <a:pt x="263" y="777"/>
                  </a:lnTo>
                  <a:lnTo>
                    <a:pt x="265" y="770"/>
                  </a:lnTo>
                  <a:lnTo>
                    <a:pt x="263" y="766"/>
                  </a:lnTo>
                  <a:lnTo>
                    <a:pt x="261" y="763"/>
                  </a:lnTo>
                  <a:lnTo>
                    <a:pt x="258" y="758"/>
                  </a:lnTo>
                  <a:lnTo>
                    <a:pt x="252" y="752"/>
                  </a:lnTo>
                  <a:lnTo>
                    <a:pt x="252" y="752"/>
                  </a:lnTo>
                  <a:lnTo>
                    <a:pt x="239" y="744"/>
                  </a:lnTo>
                  <a:lnTo>
                    <a:pt x="226" y="737"/>
                  </a:lnTo>
                  <a:lnTo>
                    <a:pt x="202" y="723"/>
                  </a:lnTo>
                  <a:lnTo>
                    <a:pt x="193" y="718"/>
                  </a:lnTo>
                  <a:lnTo>
                    <a:pt x="185" y="711"/>
                  </a:lnTo>
                  <a:lnTo>
                    <a:pt x="179" y="702"/>
                  </a:lnTo>
                  <a:lnTo>
                    <a:pt x="176" y="693"/>
                  </a:lnTo>
                  <a:lnTo>
                    <a:pt x="176" y="693"/>
                  </a:lnTo>
                  <a:lnTo>
                    <a:pt x="174" y="686"/>
                  </a:lnTo>
                  <a:lnTo>
                    <a:pt x="174" y="684"/>
                  </a:lnTo>
                  <a:lnTo>
                    <a:pt x="183" y="693"/>
                  </a:lnTo>
                  <a:lnTo>
                    <a:pt x="192" y="700"/>
                  </a:lnTo>
                  <a:lnTo>
                    <a:pt x="205" y="709"/>
                  </a:lnTo>
                  <a:lnTo>
                    <a:pt x="223" y="716"/>
                  </a:lnTo>
                  <a:lnTo>
                    <a:pt x="245" y="721"/>
                  </a:lnTo>
                  <a:lnTo>
                    <a:pt x="245" y="721"/>
                  </a:lnTo>
                  <a:lnTo>
                    <a:pt x="270" y="726"/>
                  </a:lnTo>
                  <a:lnTo>
                    <a:pt x="294" y="733"/>
                  </a:lnTo>
                  <a:lnTo>
                    <a:pt x="343" y="749"/>
                  </a:lnTo>
                  <a:lnTo>
                    <a:pt x="367" y="754"/>
                  </a:lnTo>
                  <a:lnTo>
                    <a:pt x="380" y="756"/>
                  </a:lnTo>
                  <a:lnTo>
                    <a:pt x="392" y="756"/>
                  </a:lnTo>
                  <a:lnTo>
                    <a:pt x="404" y="756"/>
                  </a:lnTo>
                  <a:lnTo>
                    <a:pt x="414" y="754"/>
                  </a:lnTo>
                  <a:lnTo>
                    <a:pt x="427" y="749"/>
                  </a:lnTo>
                  <a:lnTo>
                    <a:pt x="439" y="744"/>
                  </a:lnTo>
                  <a:lnTo>
                    <a:pt x="439" y="744"/>
                  </a:lnTo>
                  <a:lnTo>
                    <a:pt x="460" y="731"/>
                  </a:lnTo>
                  <a:lnTo>
                    <a:pt x="475" y="719"/>
                  </a:lnTo>
                  <a:lnTo>
                    <a:pt x="488" y="707"/>
                  </a:lnTo>
                  <a:lnTo>
                    <a:pt x="491" y="702"/>
                  </a:lnTo>
                  <a:lnTo>
                    <a:pt x="493" y="697"/>
                  </a:lnTo>
                  <a:lnTo>
                    <a:pt x="494" y="690"/>
                  </a:lnTo>
                  <a:lnTo>
                    <a:pt x="494" y="684"/>
                  </a:lnTo>
                  <a:lnTo>
                    <a:pt x="491" y="678"/>
                  </a:lnTo>
                  <a:lnTo>
                    <a:pt x="488" y="672"/>
                  </a:lnTo>
                  <a:lnTo>
                    <a:pt x="482" y="665"/>
                  </a:lnTo>
                  <a:lnTo>
                    <a:pt x="475" y="658"/>
                  </a:lnTo>
                  <a:lnTo>
                    <a:pt x="456" y="644"/>
                  </a:lnTo>
                  <a:lnTo>
                    <a:pt x="456" y="644"/>
                  </a:lnTo>
                  <a:lnTo>
                    <a:pt x="421" y="624"/>
                  </a:lnTo>
                  <a:lnTo>
                    <a:pt x="397" y="613"/>
                  </a:lnTo>
                  <a:lnTo>
                    <a:pt x="373" y="601"/>
                  </a:lnTo>
                  <a:lnTo>
                    <a:pt x="334" y="578"/>
                  </a:lnTo>
                  <a:lnTo>
                    <a:pt x="334" y="578"/>
                  </a:lnTo>
                  <a:lnTo>
                    <a:pt x="313" y="566"/>
                  </a:lnTo>
                  <a:lnTo>
                    <a:pt x="298" y="561"/>
                  </a:lnTo>
                  <a:lnTo>
                    <a:pt x="286" y="557"/>
                  </a:lnTo>
                  <a:lnTo>
                    <a:pt x="277" y="557"/>
                  </a:lnTo>
                  <a:lnTo>
                    <a:pt x="268" y="559"/>
                  </a:lnTo>
                  <a:lnTo>
                    <a:pt x="259" y="559"/>
                  </a:lnTo>
                  <a:lnTo>
                    <a:pt x="245" y="557"/>
                  </a:lnTo>
                  <a:lnTo>
                    <a:pt x="228" y="552"/>
                  </a:lnTo>
                  <a:lnTo>
                    <a:pt x="228" y="552"/>
                  </a:lnTo>
                  <a:lnTo>
                    <a:pt x="211" y="547"/>
                  </a:lnTo>
                  <a:lnTo>
                    <a:pt x="202" y="542"/>
                  </a:lnTo>
                  <a:lnTo>
                    <a:pt x="200" y="538"/>
                  </a:lnTo>
                  <a:lnTo>
                    <a:pt x="200" y="536"/>
                  </a:lnTo>
                  <a:lnTo>
                    <a:pt x="202" y="533"/>
                  </a:lnTo>
                  <a:lnTo>
                    <a:pt x="202" y="530"/>
                  </a:lnTo>
                  <a:lnTo>
                    <a:pt x="197" y="526"/>
                  </a:lnTo>
                  <a:lnTo>
                    <a:pt x="186" y="521"/>
                  </a:lnTo>
                  <a:lnTo>
                    <a:pt x="186" y="521"/>
                  </a:lnTo>
                  <a:lnTo>
                    <a:pt x="174" y="516"/>
                  </a:lnTo>
                  <a:lnTo>
                    <a:pt x="167" y="516"/>
                  </a:lnTo>
                  <a:lnTo>
                    <a:pt x="164" y="519"/>
                  </a:lnTo>
                  <a:lnTo>
                    <a:pt x="160" y="523"/>
                  </a:lnTo>
                  <a:lnTo>
                    <a:pt x="157" y="526"/>
                  </a:lnTo>
                  <a:lnTo>
                    <a:pt x="151" y="530"/>
                  </a:lnTo>
                  <a:lnTo>
                    <a:pt x="139" y="530"/>
                  </a:lnTo>
                  <a:lnTo>
                    <a:pt x="122" y="524"/>
                  </a:lnTo>
                  <a:lnTo>
                    <a:pt x="122" y="524"/>
                  </a:lnTo>
                  <a:lnTo>
                    <a:pt x="125" y="531"/>
                  </a:lnTo>
                  <a:lnTo>
                    <a:pt x="125" y="531"/>
                  </a:lnTo>
                  <a:lnTo>
                    <a:pt x="125" y="535"/>
                  </a:lnTo>
                  <a:lnTo>
                    <a:pt x="125" y="538"/>
                  </a:lnTo>
                  <a:lnTo>
                    <a:pt x="124" y="540"/>
                  </a:lnTo>
                  <a:lnTo>
                    <a:pt x="122" y="540"/>
                  </a:lnTo>
                  <a:lnTo>
                    <a:pt x="115" y="540"/>
                  </a:lnTo>
                  <a:lnTo>
                    <a:pt x="108" y="538"/>
                  </a:lnTo>
                  <a:lnTo>
                    <a:pt x="108" y="538"/>
                  </a:lnTo>
                  <a:lnTo>
                    <a:pt x="101" y="535"/>
                  </a:lnTo>
                  <a:lnTo>
                    <a:pt x="99" y="536"/>
                  </a:lnTo>
                  <a:lnTo>
                    <a:pt x="97" y="540"/>
                  </a:lnTo>
                  <a:lnTo>
                    <a:pt x="97" y="540"/>
                  </a:lnTo>
                  <a:lnTo>
                    <a:pt x="94" y="543"/>
                  </a:lnTo>
                  <a:lnTo>
                    <a:pt x="91" y="545"/>
                  </a:lnTo>
                  <a:lnTo>
                    <a:pt x="80" y="549"/>
                  </a:lnTo>
                  <a:lnTo>
                    <a:pt x="71" y="552"/>
                  </a:lnTo>
                  <a:lnTo>
                    <a:pt x="68" y="556"/>
                  </a:lnTo>
                  <a:lnTo>
                    <a:pt x="66" y="559"/>
                  </a:lnTo>
                  <a:lnTo>
                    <a:pt x="66" y="559"/>
                  </a:lnTo>
                  <a:lnTo>
                    <a:pt x="66" y="566"/>
                  </a:lnTo>
                  <a:lnTo>
                    <a:pt x="64" y="571"/>
                  </a:lnTo>
                  <a:lnTo>
                    <a:pt x="61" y="571"/>
                  </a:lnTo>
                  <a:lnTo>
                    <a:pt x="56" y="571"/>
                  </a:lnTo>
                  <a:lnTo>
                    <a:pt x="56" y="571"/>
                  </a:lnTo>
                  <a:lnTo>
                    <a:pt x="40" y="578"/>
                  </a:lnTo>
                  <a:lnTo>
                    <a:pt x="38" y="580"/>
                  </a:lnTo>
                  <a:lnTo>
                    <a:pt x="40" y="582"/>
                  </a:lnTo>
                  <a:lnTo>
                    <a:pt x="45" y="582"/>
                  </a:lnTo>
                  <a:lnTo>
                    <a:pt x="49" y="583"/>
                  </a:lnTo>
                  <a:lnTo>
                    <a:pt x="50" y="585"/>
                  </a:lnTo>
                  <a:lnTo>
                    <a:pt x="50" y="585"/>
                  </a:lnTo>
                  <a:lnTo>
                    <a:pt x="50" y="589"/>
                  </a:lnTo>
                  <a:lnTo>
                    <a:pt x="49" y="590"/>
                  </a:lnTo>
                  <a:lnTo>
                    <a:pt x="45" y="596"/>
                  </a:lnTo>
                  <a:lnTo>
                    <a:pt x="42" y="597"/>
                  </a:lnTo>
                  <a:lnTo>
                    <a:pt x="40" y="601"/>
                  </a:lnTo>
                  <a:lnTo>
                    <a:pt x="40" y="606"/>
                  </a:lnTo>
                  <a:lnTo>
                    <a:pt x="42" y="613"/>
                  </a:lnTo>
                  <a:lnTo>
                    <a:pt x="42" y="613"/>
                  </a:lnTo>
                  <a:lnTo>
                    <a:pt x="45" y="622"/>
                  </a:lnTo>
                  <a:lnTo>
                    <a:pt x="50" y="627"/>
                  </a:lnTo>
                  <a:lnTo>
                    <a:pt x="54" y="629"/>
                  </a:lnTo>
                  <a:lnTo>
                    <a:pt x="57" y="629"/>
                  </a:lnTo>
                  <a:lnTo>
                    <a:pt x="61" y="629"/>
                  </a:lnTo>
                  <a:lnTo>
                    <a:pt x="66" y="629"/>
                  </a:lnTo>
                  <a:lnTo>
                    <a:pt x="70" y="631"/>
                  </a:lnTo>
                  <a:lnTo>
                    <a:pt x="75" y="637"/>
                  </a:lnTo>
                  <a:lnTo>
                    <a:pt x="75" y="637"/>
                  </a:lnTo>
                  <a:lnTo>
                    <a:pt x="80" y="643"/>
                  </a:lnTo>
                  <a:lnTo>
                    <a:pt x="84" y="648"/>
                  </a:lnTo>
                  <a:lnTo>
                    <a:pt x="92" y="653"/>
                  </a:lnTo>
                  <a:lnTo>
                    <a:pt x="94" y="655"/>
                  </a:lnTo>
                  <a:lnTo>
                    <a:pt x="96" y="657"/>
                  </a:lnTo>
                  <a:lnTo>
                    <a:pt x="94" y="660"/>
                  </a:lnTo>
                  <a:lnTo>
                    <a:pt x="91" y="664"/>
                  </a:lnTo>
                  <a:lnTo>
                    <a:pt x="91" y="664"/>
                  </a:lnTo>
                  <a:lnTo>
                    <a:pt x="80" y="674"/>
                  </a:lnTo>
                  <a:lnTo>
                    <a:pt x="68" y="686"/>
                  </a:lnTo>
                  <a:lnTo>
                    <a:pt x="63" y="693"/>
                  </a:lnTo>
                  <a:lnTo>
                    <a:pt x="59" y="698"/>
                  </a:lnTo>
                  <a:lnTo>
                    <a:pt x="59" y="704"/>
                  </a:lnTo>
                  <a:lnTo>
                    <a:pt x="63" y="709"/>
                  </a:lnTo>
                  <a:lnTo>
                    <a:pt x="63" y="709"/>
                  </a:lnTo>
                  <a:lnTo>
                    <a:pt x="68" y="714"/>
                  </a:lnTo>
                  <a:lnTo>
                    <a:pt x="75" y="725"/>
                  </a:lnTo>
                  <a:lnTo>
                    <a:pt x="87" y="747"/>
                  </a:lnTo>
                  <a:lnTo>
                    <a:pt x="96" y="770"/>
                  </a:lnTo>
                  <a:lnTo>
                    <a:pt x="97" y="777"/>
                  </a:lnTo>
                  <a:lnTo>
                    <a:pt x="96" y="778"/>
                  </a:lnTo>
                  <a:lnTo>
                    <a:pt x="94" y="778"/>
                  </a:lnTo>
                  <a:lnTo>
                    <a:pt x="94" y="778"/>
                  </a:lnTo>
                  <a:lnTo>
                    <a:pt x="84" y="777"/>
                  </a:lnTo>
                  <a:lnTo>
                    <a:pt x="84" y="778"/>
                  </a:lnTo>
                  <a:lnTo>
                    <a:pt x="85" y="782"/>
                  </a:lnTo>
                  <a:lnTo>
                    <a:pt x="85" y="782"/>
                  </a:lnTo>
                  <a:lnTo>
                    <a:pt x="89" y="785"/>
                  </a:lnTo>
                  <a:lnTo>
                    <a:pt x="87" y="785"/>
                  </a:lnTo>
                  <a:lnTo>
                    <a:pt x="84" y="787"/>
                  </a:lnTo>
                  <a:lnTo>
                    <a:pt x="84" y="792"/>
                  </a:lnTo>
                  <a:lnTo>
                    <a:pt x="84" y="792"/>
                  </a:lnTo>
                  <a:lnTo>
                    <a:pt x="82" y="798"/>
                  </a:lnTo>
                  <a:lnTo>
                    <a:pt x="80" y="801"/>
                  </a:lnTo>
                  <a:lnTo>
                    <a:pt x="80" y="803"/>
                  </a:lnTo>
                  <a:lnTo>
                    <a:pt x="84" y="805"/>
                  </a:lnTo>
                  <a:lnTo>
                    <a:pt x="84" y="805"/>
                  </a:lnTo>
                  <a:lnTo>
                    <a:pt x="87" y="806"/>
                  </a:lnTo>
                  <a:lnTo>
                    <a:pt x="87" y="808"/>
                  </a:lnTo>
                  <a:lnTo>
                    <a:pt x="87" y="810"/>
                  </a:lnTo>
                  <a:lnTo>
                    <a:pt x="85" y="812"/>
                  </a:lnTo>
                  <a:lnTo>
                    <a:pt x="80" y="815"/>
                  </a:lnTo>
                  <a:lnTo>
                    <a:pt x="78" y="817"/>
                  </a:lnTo>
                  <a:lnTo>
                    <a:pt x="78" y="820"/>
                  </a:lnTo>
                  <a:lnTo>
                    <a:pt x="78" y="820"/>
                  </a:lnTo>
                  <a:lnTo>
                    <a:pt x="80" y="824"/>
                  </a:lnTo>
                  <a:lnTo>
                    <a:pt x="84" y="826"/>
                  </a:lnTo>
                  <a:lnTo>
                    <a:pt x="92" y="831"/>
                  </a:lnTo>
                  <a:lnTo>
                    <a:pt x="99" y="836"/>
                  </a:lnTo>
                  <a:lnTo>
                    <a:pt x="99" y="838"/>
                  </a:lnTo>
                  <a:lnTo>
                    <a:pt x="97" y="839"/>
                  </a:lnTo>
                  <a:lnTo>
                    <a:pt x="97" y="839"/>
                  </a:lnTo>
                  <a:lnTo>
                    <a:pt x="92" y="845"/>
                  </a:lnTo>
                  <a:lnTo>
                    <a:pt x="94" y="846"/>
                  </a:lnTo>
                  <a:lnTo>
                    <a:pt x="96" y="848"/>
                  </a:lnTo>
                  <a:lnTo>
                    <a:pt x="94" y="852"/>
                  </a:lnTo>
                  <a:lnTo>
                    <a:pt x="94" y="852"/>
                  </a:lnTo>
                  <a:lnTo>
                    <a:pt x="94" y="853"/>
                  </a:lnTo>
                  <a:lnTo>
                    <a:pt x="96" y="855"/>
                  </a:lnTo>
                  <a:lnTo>
                    <a:pt x="103" y="859"/>
                  </a:lnTo>
                  <a:lnTo>
                    <a:pt x="110" y="862"/>
                  </a:lnTo>
                  <a:lnTo>
                    <a:pt x="113" y="866"/>
                  </a:lnTo>
                  <a:lnTo>
                    <a:pt x="113" y="869"/>
                  </a:lnTo>
                  <a:lnTo>
                    <a:pt x="113" y="869"/>
                  </a:lnTo>
                  <a:lnTo>
                    <a:pt x="111" y="876"/>
                  </a:lnTo>
                  <a:lnTo>
                    <a:pt x="108" y="879"/>
                  </a:lnTo>
                  <a:lnTo>
                    <a:pt x="99" y="886"/>
                  </a:lnTo>
                  <a:lnTo>
                    <a:pt x="96" y="888"/>
                  </a:lnTo>
                  <a:lnTo>
                    <a:pt x="94" y="890"/>
                  </a:lnTo>
                  <a:lnTo>
                    <a:pt x="94" y="893"/>
                  </a:lnTo>
                  <a:lnTo>
                    <a:pt x="96" y="897"/>
                  </a:lnTo>
                  <a:lnTo>
                    <a:pt x="96" y="897"/>
                  </a:lnTo>
                  <a:lnTo>
                    <a:pt x="108" y="904"/>
                  </a:lnTo>
                  <a:lnTo>
                    <a:pt x="120" y="911"/>
                  </a:lnTo>
                  <a:lnTo>
                    <a:pt x="131" y="918"/>
                  </a:lnTo>
                  <a:lnTo>
                    <a:pt x="134" y="923"/>
                  </a:lnTo>
                  <a:lnTo>
                    <a:pt x="138" y="926"/>
                  </a:lnTo>
                  <a:lnTo>
                    <a:pt x="138" y="926"/>
                  </a:lnTo>
                  <a:lnTo>
                    <a:pt x="139" y="930"/>
                  </a:lnTo>
                  <a:lnTo>
                    <a:pt x="141" y="933"/>
                  </a:lnTo>
                  <a:lnTo>
                    <a:pt x="145" y="937"/>
                  </a:lnTo>
                  <a:lnTo>
                    <a:pt x="146" y="939"/>
                  </a:lnTo>
                  <a:lnTo>
                    <a:pt x="146" y="940"/>
                  </a:lnTo>
                  <a:lnTo>
                    <a:pt x="145" y="947"/>
                  </a:lnTo>
                  <a:lnTo>
                    <a:pt x="145" y="947"/>
                  </a:lnTo>
                  <a:lnTo>
                    <a:pt x="122" y="975"/>
                  </a:lnTo>
                  <a:lnTo>
                    <a:pt x="104" y="996"/>
                  </a:lnTo>
                  <a:lnTo>
                    <a:pt x="78" y="1021"/>
                  </a:lnTo>
                  <a:lnTo>
                    <a:pt x="78" y="1021"/>
                  </a:lnTo>
                  <a:lnTo>
                    <a:pt x="56" y="1043"/>
                  </a:lnTo>
                  <a:lnTo>
                    <a:pt x="38" y="1057"/>
                  </a:lnTo>
                  <a:lnTo>
                    <a:pt x="26" y="1066"/>
                  </a:lnTo>
                  <a:lnTo>
                    <a:pt x="17" y="1076"/>
                  </a:lnTo>
                  <a:lnTo>
                    <a:pt x="17" y="1076"/>
                  </a:lnTo>
                  <a:lnTo>
                    <a:pt x="21" y="1078"/>
                  </a:lnTo>
                  <a:lnTo>
                    <a:pt x="26" y="1078"/>
                  </a:lnTo>
                  <a:lnTo>
                    <a:pt x="35" y="1073"/>
                  </a:lnTo>
                  <a:lnTo>
                    <a:pt x="42" y="1068"/>
                  </a:lnTo>
                  <a:lnTo>
                    <a:pt x="45" y="1066"/>
                  </a:lnTo>
                  <a:lnTo>
                    <a:pt x="47" y="1068"/>
                  </a:lnTo>
                  <a:lnTo>
                    <a:pt x="47" y="1068"/>
                  </a:lnTo>
                  <a:lnTo>
                    <a:pt x="49" y="1068"/>
                  </a:lnTo>
                  <a:lnTo>
                    <a:pt x="45" y="1069"/>
                  </a:lnTo>
                  <a:lnTo>
                    <a:pt x="44" y="1071"/>
                  </a:lnTo>
                  <a:lnTo>
                    <a:pt x="45" y="1076"/>
                  </a:lnTo>
                  <a:lnTo>
                    <a:pt x="45" y="1076"/>
                  </a:lnTo>
                  <a:lnTo>
                    <a:pt x="47" y="1080"/>
                  </a:lnTo>
                  <a:lnTo>
                    <a:pt x="45" y="1080"/>
                  </a:lnTo>
                  <a:lnTo>
                    <a:pt x="42" y="1078"/>
                  </a:lnTo>
                  <a:lnTo>
                    <a:pt x="38" y="1078"/>
                  </a:lnTo>
                  <a:lnTo>
                    <a:pt x="40" y="1083"/>
                  </a:lnTo>
                  <a:lnTo>
                    <a:pt x="40" y="1083"/>
                  </a:lnTo>
                  <a:lnTo>
                    <a:pt x="45" y="1088"/>
                  </a:lnTo>
                  <a:lnTo>
                    <a:pt x="49" y="1088"/>
                  </a:lnTo>
                  <a:lnTo>
                    <a:pt x="50" y="1088"/>
                  </a:lnTo>
                  <a:lnTo>
                    <a:pt x="54" y="1094"/>
                  </a:lnTo>
                  <a:lnTo>
                    <a:pt x="54" y="1094"/>
                  </a:lnTo>
                  <a:lnTo>
                    <a:pt x="57" y="1095"/>
                  </a:lnTo>
                  <a:lnTo>
                    <a:pt x="63" y="1097"/>
                  </a:lnTo>
                  <a:lnTo>
                    <a:pt x="71" y="1097"/>
                  </a:lnTo>
                  <a:lnTo>
                    <a:pt x="80" y="1097"/>
                  </a:lnTo>
                  <a:lnTo>
                    <a:pt x="85" y="1099"/>
                  </a:lnTo>
                  <a:lnTo>
                    <a:pt x="87" y="1101"/>
                  </a:lnTo>
                  <a:lnTo>
                    <a:pt x="87" y="1101"/>
                  </a:lnTo>
                  <a:lnTo>
                    <a:pt x="89" y="1104"/>
                  </a:lnTo>
                  <a:lnTo>
                    <a:pt x="92" y="1106"/>
                  </a:lnTo>
                  <a:lnTo>
                    <a:pt x="97" y="1108"/>
                  </a:lnTo>
                  <a:lnTo>
                    <a:pt x="101" y="1108"/>
                  </a:lnTo>
                  <a:lnTo>
                    <a:pt x="101" y="1109"/>
                  </a:lnTo>
                  <a:lnTo>
                    <a:pt x="101" y="1111"/>
                  </a:lnTo>
                  <a:lnTo>
                    <a:pt x="101" y="1111"/>
                  </a:lnTo>
                  <a:lnTo>
                    <a:pt x="97" y="1115"/>
                  </a:lnTo>
                  <a:lnTo>
                    <a:pt x="94" y="1115"/>
                  </a:lnTo>
                  <a:lnTo>
                    <a:pt x="73" y="1108"/>
                  </a:lnTo>
                  <a:lnTo>
                    <a:pt x="73" y="1108"/>
                  </a:lnTo>
                  <a:lnTo>
                    <a:pt x="66" y="1108"/>
                  </a:lnTo>
                  <a:lnTo>
                    <a:pt x="61" y="1108"/>
                  </a:lnTo>
                  <a:lnTo>
                    <a:pt x="59" y="1111"/>
                  </a:lnTo>
                  <a:lnTo>
                    <a:pt x="57" y="1113"/>
                  </a:lnTo>
                  <a:lnTo>
                    <a:pt x="56" y="1116"/>
                  </a:lnTo>
                  <a:lnTo>
                    <a:pt x="54" y="1118"/>
                  </a:lnTo>
                  <a:lnTo>
                    <a:pt x="50" y="1120"/>
                  </a:lnTo>
                  <a:lnTo>
                    <a:pt x="47" y="1118"/>
                  </a:lnTo>
                  <a:lnTo>
                    <a:pt x="47" y="1118"/>
                  </a:lnTo>
                  <a:lnTo>
                    <a:pt x="42" y="1116"/>
                  </a:lnTo>
                  <a:lnTo>
                    <a:pt x="38" y="1116"/>
                  </a:lnTo>
                  <a:lnTo>
                    <a:pt x="38" y="1120"/>
                  </a:lnTo>
                  <a:lnTo>
                    <a:pt x="38" y="1121"/>
                  </a:lnTo>
                  <a:lnTo>
                    <a:pt x="37" y="1125"/>
                  </a:lnTo>
                  <a:lnTo>
                    <a:pt x="37" y="1125"/>
                  </a:lnTo>
                  <a:lnTo>
                    <a:pt x="35" y="1125"/>
                  </a:lnTo>
                  <a:lnTo>
                    <a:pt x="30" y="1123"/>
                  </a:lnTo>
                  <a:lnTo>
                    <a:pt x="30" y="1123"/>
                  </a:lnTo>
                  <a:lnTo>
                    <a:pt x="26" y="1120"/>
                  </a:lnTo>
                  <a:lnTo>
                    <a:pt x="23" y="1120"/>
                  </a:lnTo>
                  <a:lnTo>
                    <a:pt x="23" y="1121"/>
                  </a:lnTo>
                  <a:lnTo>
                    <a:pt x="23" y="1123"/>
                  </a:lnTo>
                  <a:lnTo>
                    <a:pt x="24" y="1130"/>
                  </a:lnTo>
                  <a:lnTo>
                    <a:pt x="24" y="1134"/>
                  </a:lnTo>
                  <a:lnTo>
                    <a:pt x="23" y="1137"/>
                  </a:lnTo>
                  <a:lnTo>
                    <a:pt x="23" y="1137"/>
                  </a:lnTo>
                  <a:lnTo>
                    <a:pt x="26" y="1141"/>
                  </a:lnTo>
                  <a:lnTo>
                    <a:pt x="26" y="1142"/>
                  </a:lnTo>
                  <a:lnTo>
                    <a:pt x="26" y="1144"/>
                  </a:lnTo>
                  <a:lnTo>
                    <a:pt x="24" y="1146"/>
                  </a:lnTo>
                  <a:lnTo>
                    <a:pt x="17" y="1148"/>
                  </a:lnTo>
                  <a:lnTo>
                    <a:pt x="16" y="1151"/>
                  </a:lnTo>
                  <a:lnTo>
                    <a:pt x="14" y="1156"/>
                  </a:lnTo>
                  <a:lnTo>
                    <a:pt x="14" y="1156"/>
                  </a:lnTo>
                  <a:lnTo>
                    <a:pt x="14" y="1162"/>
                  </a:lnTo>
                  <a:lnTo>
                    <a:pt x="10" y="1165"/>
                  </a:lnTo>
                  <a:lnTo>
                    <a:pt x="5" y="1170"/>
                  </a:lnTo>
                  <a:lnTo>
                    <a:pt x="3" y="1172"/>
                  </a:lnTo>
                  <a:lnTo>
                    <a:pt x="2" y="1175"/>
                  </a:lnTo>
                  <a:lnTo>
                    <a:pt x="2" y="1179"/>
                  </a:lnTo>
                  <a:lnTo>
                    <a:pt x="3" y="1186"/>
                  </a:lnTo>
                  <a:lnTo>
                    <a:pt x="3" y="1186"/>
                  </a:lnTo>
                  <a:lnTo>
                    <a:pt x="7" y="1193"/>
                  </a:lnTo>
                  <a:lnTo>
                    <a:pt x="7" y="1198"/>
                  </a:lnTo>
                  <a:lnTo>
                    <a:pt x="5" y="1200"/>
                  </a:lnTo>
                  <a:lnTo>
                    <a:pt x="5" y="1202"/>
                  </a:lnTo>
                  <a:lnTo>
                    <a:pt x="3" y="1203"/>
                  </a:lnTo>
                  <a:lnTo>
                    <a:pt x="3" y="1205"/>
                  </a:lnTo>
                  <a:lnTo>
                    <a:pt x="3" y="1209"/>
                  </a:lnTo>
                  <a:lnTo>
                    <a:pt x="9" y="1216"/>
                  </a:lnTo>
                  <a:lnTo>
                    <a:pt x="9" y="1216"/>
                  </a:lnTo>
                  <a:lnTo>
                    <a:pt x="14" y="1226"/>
                  </a:lnTo>
                  <a:lnTo>
                    <a:pt x="14" y="1228"/>
                  </a:lnTo>
                  <a:lnTo>
                    <a:pt x="12" y="1229"/>
                  </a:lnTo>
                  <a:lnTo>
                    <a:pt x="5" y="1233"/>
                  </a:lnTo>
                  <a:lnTo>
                    <a:pt x="3" y="1236"/>
                  </a:lnTo>
                  <a:lnTo>
                    <a:pt x="0" y="1243"/>
                  </a:lnTo>
                  <a:lnTo>
                    <a:pt x="0" y="1243"/>
                  </a:lnTo>
                  <a:lnTo>
                    <a:pt x="9" y="1250"/>
                  </a:lnTo>
                  <a:lnTo>
                    <a:pt x="16" y="1256"/>
                  </a:lnTo>
                  <a:lnTo>
                    <a:pt x="17" y="1257"/>
                  </a:lnTo>
                  <a:lnTo>
                    <a:pt x="19" y="1259"/>
                  </a:lnTo>
                  <a:lnTo>
                    <a:pt x="19" y="1263"/>
                  </a:lnTo>
                  <a:lnTo>
                    <a:pt x="16" y="1264"/>
                  </a:lnTo>
                  <a:lnTo>
                    <a:pt x="16" y="1264"/>
                  </a:lnTo>
                  <a:lnTo>
                    <a:pt x="14" y="1269"/>
                  </a:lnTo>
                  <a:lnTo>
                    <a:pt x="12" y="1275"/>
                  </a:lnTo>
                  <a:lnTo>
                    <a:pt x="12" y="1282"/>
                  </a:lnTo>
                  <a:lnTo>
                    <a:pt x="14" y="1282"/>
                  </a:lnTo>
                  <a:lnTo>
                    <a:pt x="16" y="1283"/>
                  </a:lnTo>
                  <a:lnTo>
                    <a:pt x="16" y="1283"/>
                  </a:lnTo>
                  <a:lnTo>
                    <a:pt x="19" y="1283"/>
                  </a:lnTo>
                  <a:lnTo>
                    <a:pt x="19" y="1285"/>
                  </a:lnTo>
                  <a:lnTo>
                    <a:pt x="19" y="1290"/>
                  </a:lnTo>
                  <a:lnTo>
                    <a:pt x="24" y="1297"/>
                  </a:lnTo>
                  <a:lnTo>
                    <a:pt x="24" y="1297"/>
                  </a:lnTo>
                  <a:lnTo>
                    <a:pt x="28" y="1301"/>
                  </a:lnTo>
                  <a:lnTo>
                    <a:pt x="30" y="1306"/>
                  </a:lnTo>
                  <a:lnTo>
                    <a:pt x="30" y="1313"/>
                  </a:lnTo>
                  <a:lnTo>
                    <a:pt x="28" y="1318"/>
                  </a:lnTo>
                  <a:lnTo>
                    <a:pt x="28" y="1322"/>
                  </a:lnTo>
                  <a:lnTo>
                    <a:pt x="28" y="1322"/>
                  </a:lnTo>
                  <a:lnTo>
                    <a:pt x="35" y="1322"/>
                  </a:lnTo>
                  <a:lnTo>
                    <a:pt x="40" y="1322"/>
                  </a:lnTo>
                  <a:lnTo>
                    <a:pt x="42" y="1325"/>
                  </a:lnTo>
                  <a:lnTo>
                    <a:pt x="45" y="1327"/>
                  </a:lnTo>
                  <a:lnTo>
                    <a:pt x="47" y="1329"/>
                  </a:lnTo>
                  <a:lnTo>
                    <a:pt x="49" y="1330"/>
                  </a:lnTo>
                  <a:lnTo>
                    <a:pt x="52" y="1330"/>
                  </a:lnTo>
                  <a:lnTo>
                    <a:pt x="59" y="1329"/>
                  </a:lnTo>
                  <a:lnTo>
                    <a:pt x="59" y="1329"/>
                  </a:lnTo>
                  <a:lnTo>
                    <a:pt x="66" y="1329"/>
                  </a:lnTo>
                  <a:lnTo>
                    <a:pt x="70" y="1330"/>
                  </a:lnTo>
                  <a:lnTo>
                    <a:pt x="71" y="1334"/>
                  </a:lnTo>
                  <a:lnTo>
                    <a:pt x="71" y="1337"/>
                  </a:lnTo>
                  <a:lnTo>
                    <a:pt x="71" y="1341"/>
                  </a:lnTo>
                  <a:lnTo>
                    <a:pt x="73" y="1344"/>
                  </a:lnTo>
                  <a:lnTo>
                    <a:pt x="75" y="1344"/>
                  </a:lnTo>
                  <a:lnTo>
                    <a:pt x="80" y="1343"/>
                  </a:lnTo>
                  <a:lnTo>
                    <a:pt x="80" y="1343"/>
                  </a:lnTo>
                  <a:lnTo>
                    <a:pt x="92" y="1337"/>
                  </a:lnTo>
                  <a:lnTo>
                    <a:pt x="101" y="1337"/>
                  </a:lnTo>
                  <a:lnTo>
                    <a:pt x="108" y="1339"/>
                  </a:lnTo>
                  <a:lnTo>
                    <a:pt x="113" y="1344"/>
                  </a:lnTo>
                  <a:lnTo>
                    <a:pt x="113" y="1344"/>
                  </a:lnTo>
                  <a:lnTo>
                    <a:pt x="115" y="1346"/>
                  </a:lnTo>
                  <a:lnTo>
                    <a:pt x="118" y="1348"/>
                  </a:lnTo>
                  <a:lnTo>
                    <a:pt x="124" y="1350"/>
                  </a:lnTo>
                  <a:lnTo>
                    <a:pt x="125" y="1350"/>
                  </a:lnTo>
                  <a:lnTo>
                    <a:pt x="125" y="1351"/>
                  </a:lnTo>
                  <a:lnTo>
                    <a:pt x="125" y="1355"/>
                  </a:lnTo>
                  <a:lnTo>
                    <a:pt x="124" y="1360"/>
                  </a:lnTo>
                  <a:lnTo>
                    <a:pt x="124" y="1360"/>
                  </a:lnTo>
                  <a:lnTo>
                    <a:pt x="124" y="1365"/>
                  </a:lnTo>
                  <a:lnTo>
                    <a:pt x="124" y="1369"/>
                  </a:lnTo>
                  <a:lnTo>
                    <a:pt x="127" y="1376"/>
                  </a:lnTo>
                  <a:lnTo>
                    <a:pt x="129" y="1377"/>
                  </a:lnTo>
                  <a:lnTo>
                    <a:pt x="129" y="1379"/>
                  </a:lnTo>
                  <a:lnTo>
                    <a:pt x="129" y="1383"/>
                  </a:lnTo>
                  <a:lnTo>
                    <a:pt x="125" y="1386"/>
                  </a:lnTo>
                  <a:lnTo>
                    <a:pt x="125" y="1386"/>
                  </a:lnTo>
                  <a:lnTo>
                    <a:pt x="122" y="1388"/>
                  </a:lnTo>
                  <a:lnTo>
                    <a:pt x="120" y="1391"/>
                  </a:lnTo>
                  <a:lnTo>
                    <a:pt x="120" y="1393"/>
                  </a:lnTo>
                  <a:lnTo>
                    <a:pt x="124" y="1395"/>
                  </a:lnTo>
                  <a:lnTo>
                    <a:pt x="129" y="1400"/>
                  </a:lnTo>
                  <a:lnTo>
                    <a:pt x="132" y="1404"/>
                  </a:lnTo>
                  <a:lnTo>
                    <a:pt x="134" y="1411"/>
                  </a:lnTo>
                  <a:lnTo>
                    <a:pt x="134" y="1411"/>
                  </a:lnTo>
                  <a:lnTo>
                    <a:pt x="136" y="1419"/>
                  </a:lnTo>
                  <a:lnTo>
                    <a:pt x="141" y="1424"/>
                  </a:lnTo>
                  <a:lnTo>
                    <a:pt x="145" y="1428"/>
                  </a:lnTo>
                  <a:lnTo>
                    <a:pt x="150" y="1431"/>
                  </a:lnTo>
                  <a:lnTo>
                    <a:pt x="157" y="1435"/>
                  </a:lnTo>
                  <a:lnTo>
                    <a:pt x="158" y="1437"/>
                  </a:lnTo>
                  <a:lnTo>
                    <a:pt x="157" y="1440"/>
                  </a:lnTo>
                  <a:lnTo>
                    <a:pt x="157" y="1440"/>
                  </a:lnTo>
                  <a:lnTo>
                    <a:pt x="153" y="1445"/>
                  </a:lnTo>
                  <a:lnTo>
                    <a:pt x="155" y="1447"/>
                  </a:lnTo>
                  <a:lnTo>
                    <a:pt x="158" y="1449"/>
                  </a:lnTo>
                  <a:lnTo>
                    <a:pt x="164" y="1449"/>
                  </a:lnTo>
                  <a:lnTo>
                    <a:pt x="172" y="1449"/>
                  </a:lnTo>
                  <a:lnTo>
                    <a:pt x="176" y="1451"/>
                  </a:lnTo>
                  <a:lnTo>
                    <a:pt x="178" y="1456"/>
                  </a:lnTo>
                  <a:lnTo>
                    <a:pt x="178" y="1456"/>
                  </a:lnTo>
                  <a:lnTo>
                    <a:pt x="179" y="1458"/>
                  </a:lnTo>
                  <a:lnTo>
                    <a:pt x="181" y="1461"/>
                  </a:lnTo>
                  <a:lnTo>
                    <a:pt x="186" y="1464"/>
                  </a:lnTo>
                  <a:lnTo>
                    <a:pt x="188" y="1464"/>
                  </a:lnTo>
                  <a:lnTo>
                    <a:pt x="188" y="1468"/>
                  </a:lnTo>
                  <a:lnTo>
                    <a:pt x="186" y="1470"/>
                  </a:lnTo>
                  <a:lnTo>
                    <a:pt x="183" y="1473"/>
                  </a:lnTo>
                  <a:lnTo>
                    <a:pt x="183" y="1473"/>
                  </a:lnTo>
                  <a:lnTo>
                    <a:pt x="176" y="1478"/>
                  </a:lnTo>
                  <a:lnTo>
                    <a:pt x="171" y="1484"/>
                  </a:lnTo>
                  <a:lnTo>
                    <a:pt x="167" y="1485"/>
                  </a:lnTo>
                  <a:lnTo>
                    <a:pt x="164" y="1485"/>
                  </a:lnTo>
                  <a:lnTo>
                    <a:pt x="158" y="1484"/>
                  </a:lnTo>
                  <a:lnTo>
                    <a:pt x="153" y="1480"/>
                  </a:lnTo>
                  <a:lnTo>
                    <a:pt x="153" y="1480"/>
                  </a:lnTo>
                  <a:lnTo>
                    <a:pt x="150" y="1478"/>
                  </a:lnTo>
                  <a:lnTo>
                    <a:pt x="145" y="1478"/>
                  </a:lnTo>
                  <a:lnTo>
                    <a:pt x="143" y="1480"/>
                  </a:lnTo>
                  <a:lnTo>
                    <a:pt x="139" y="1482"/>
                  </a:lnTo>
                  <a:lnTo>
                    <a:pt x="139" y="1485"/>
                  </a:lnTo>
                  <a:lnTo>
                    <a:pt x="139" y="1489"/>
                  </a:lnTo>
                  <a:lnTo>
                    <a:pt x="139" y="1492"/>
                  </a:lnTo>
                  <a:lnTo>
                    <a:pt x="143" y="1496"/>
                  </a:lnTo>
                  <a:lnTo>
                    <a:pt x="143" y="1496"/>
                  </a:lnTo>
                  <a:lnTo>
                    <a:pt x="146" y="1501"/>
                  </a:lnTo>
                  <a:lnTo>
                    <a:pt x="150" y="1506"/>
                  </a:lnTo>
                  <a:lnTo>
                    <a:pt x="150" y="1510"/>
                  </a:lnTo>
                  <a:lnTo>
                    <a:pt x="148" y="1513"/>
                  </a:lnTo>
                  <a:lnTo>
                    <a:pt x="148" y="1518"/>
                  </a:lnTo>
                  <a:lnTo>
                    <a:pt x="148" y="1522"/>
                  </a:lnTo>
                  <a:lnTo>
                    <a:pt x="150" y="1529"/>
                  </a:lnTo>
                  <a:lnTo>
                    <a:pt x="153" y="1536"/>
                  </a:lnTo>
                  <a:lnTo>
                    <a:pt x="153" y="1536"/>
                  </a:lnTo>
                  <a:lnTo>
                    <a:pt x="165" y="1539"/>
                  </a:lnTo>
                  <a:lnTo>
                    <a:pt x="169" y="1539"/>
                  </a:lnTo>
                  <a:lnTo>
                    <a:pt x="171" y="1539"/>
                  </a:lnTo>
                  <a:lnTo>
                    <a:pt x="172" y="1536"/>
                  </a:lnTo>
                  <a:lnTo>
                    <a:pt x="174" y="1532"/>
                  </a:lnTo>
                  <a:lnTo>
                    <a:pt x="174" y="1532"/>
                  </a:lnTo>
                  <a:lnTo>
                    <a:pt x="176" y="1527"/>
                  </a:lnTo>
                  <a:lnTo>
                    <a:pt x="178" y="1525"/>
                  </a:lnTo>
                  <a:lnTo>
                    <a:pt x="181" y="1525"/>
                  </a:lnTo>
                  <a:lnTo>
                    <a:pt x="185" y="1527"/>
                  </a:lnTo>
                  <a:lnTo>
                    <a:pt x="193" y="1529"/>
                  </a:lnTo>
                  <a:lnTo>
                    <a:pt x="198" y="1527"/>
                  </a:lnTo>
                  <a:lnTo>
                    <a:pt x="202" y="1525"/>
                  </a:lnTo>
                  <a:lnTo>
                    <a:pt x="202" y="1525"/>
                  </a:lnTo>
                  <a:lnTo>
                    <a:pt x="207" y="1522"/>
                  </a:lnTo>
                  <a:lnTo>
                    <a:pt x="209" y="1522"/>
                  </a:lnTo>
                  <a:lnTo>
                    <a:pt x="212" y="1522"/>
                  </a:lnTo>
                  <a:lnTo>
                    <a:pt x="214" y="1524"/>
                  </a:lnTo>
                  <a:lnTo>
                    <a:pt x="218" y="1527"/>
                  </a:lnTo>
                  <a:lnTo>
                    <a:pt x="219" y="1527"/>
                  </a:lnTo>
                  <a:lnTo>
                    <a:pt x="223" y="1525"/>
                  </a:lnTo>
                  <a:lnTo>
                    <a:pt x="223" y="1525"/>
                  </a:lnTo>
                  <a:lnTo>
                    <a:pt x="228" y="1524"/>
                  </a:lnTo>
                  <a:lnTo>
                    <a:pt x="232" y="1524"/>
                  </a:lnTo>
                  <a:lnTo>
                    <a:pt x="232" y="1525"/>
                  </a:lnTo>
                  <a:lnTo>
                    <a:pt x="233" y="1529"/>
                  </a:lnTo>
                  <a:lnTo>
                    <a:pt x="233" y="1534"/>
                  </a:lnTo>
                  <a:lnTo>
                    <a:pt x="235" y="1538"/>
                  </a:lnTo>
                  <a:lnTo>
                    <a:pt x="239" y="1543"/>
                  </a:lnTo>
                  <a:lnTo>
                    <a:pt x="245" y="1548"/>
                  </a:lnTo>
                  <a:lnTo>
                    <a:pt x="245" y="1548"/>
                  </a:lnTo>
                  <a:lnTo>
                    <a:pt x="249" y="1550"/>
                  </a:lnTo>
                  <a:lnTo>
                    <a:pt x="249" y="1552"/>
                  </a:lnTo>
                  <a:lnTo>
                    <a:pt x="244" y="1557"/>
                  </a:lnTo>
                  <a:lnTo>
                    <a:pt x="239" y="1562"/>
                  </a:lnTo>
                  <a:lnTo>
                    <a:pt x="239" y="1564"/>
                  </a:lnTo>
                  <a:lnTo>
                    <a:pt x="240" y="1569"/>
                  </a:lnTo>
                  <a:lnTo>
                    <a:pt x="240" y="1569"/>
                  </a:lnTo>
                  <a:lnTo>
                    <a:pt x="244" y="1574"/>
                  </a:lnTo>
                  <a:lnTo>
                    <a:pt x="244" y="1578"/>
                  </a:lnTo>
                  <a:lnTo>
                    <a:pt x="244" y="1579"/>
                  </a:lnTo>
                  <a:lnTo>
                    <a:pt x="251" y="1583"/>
                  </a:lnTo>
                  <a:lnTo>
                    <a:pt x="251" y="1583"/>
                  </a:lnTo>
                  <a:lnTo>
                    <a:pt x="256" y="1585"/>
                  </a:lnTo>
                  <a:lnTo>
                    <a:pt x="259" y="1585"/>
                  </a:lnTo>
                  <a:lnTo>
                    <a:pt x="265" y="1583"/>
                  </a:lnTo>
                  <a:lnTo>
                    <a:pt x="266" y="1583"/>
                  </a:lnTo>
                  <a:lnTo>
                    <a:pt x="270" y="1585"/>
                  </a:lnTo>
                  <a:lnTo>
                    <a:pt x="277" y="1592"/>
                  </a:lnTo>
                  <a:lnTo>
                    <a:pt x="277" y="1592"/>
                  </a:lnTo>
                  <a:lnTo>
                    <a:pt x="280" y="1599"/>
                  </a:lnTo>
                  <a:lnTo>
                    <a:pt x="282" y="1606"/>
                  </a:lnTo>
                  <a:lnTo>
                    <a:pt x="284" y="1618"/>
                  </a:lnTo>
                  <a:lnTo>
                    <a:pt x="284" y="1623"/>
                  </a:lnTo>
                  <a:lnTo>
                    <a:pt x="286" y="1626"/>
                  </a:lnTo>
                  <a:lnTo>
                    <a:pt x="289" y="1626"/>
                  </a:lnTo>
                  <a:lnTo>
                    <a:pt x="294" y="1625"/>
                  </a:lnTo>
                  <a:lnTo>
                    <a:pt x="294" y="1625"/>
                  </a:lnTo>
                  <a:lnTo>
                    <a:pt x="301" y="1625"/>
                  </a:lnTo>
                  <a:lnTo>
                    <a:pt x="305" y="1625"/>
                  </a:lnTo>
                  <a:lnTo>
                    <a:pt x="313" y="1630"/>
                  </a:lnTo>
                  <a:lnTo>
                    <a:pt x="317" y="1632"/>
                  </a:lnTo>
                  <a:lnTo>
                    <a:pt x="322" y="1633"/>
                  </a:lnTo>
                  <a:lnTo>
                    <a:pt x="329" y="1632"/>
                  </a:lnTo>
                  <a:lnTo>
                    <a:pt x="336" y="1628"/>
                  </a:lnTo>
                  <a:lnTo>
                    <a:pt x="336" y="1628"/>
                  </a:lnTo>
                  <a:lnTo>
                    <a:pt x="345" y="1625"/>
                  </a:lnTo>
                  <a:lnTo>
                    <a:pt x="350" y="1625"/>
                  </a:lnTo>
                  <a:lnTo>
                    <a:pt x="353" y="1625"/>
                  </a:lnTo>
                  <a:lnTo>
                    <a:pt x="355" y="1626"/>
                  </a:lnTo>
                  <a:lnTo>
                    <a:pt x="360" y="1635"/>
                  </a:lnTo>
                  <a:lnTo>
                    <a:pt x="362" y="1639"/>
                  </a:lnTo>
                  <a:lnTo>
                    <a:pt x="366" y="1644"/>
                  </a:lnTo>
                  <a:lnTo>
                    <a:pt x="366" y="1644"/>
                  </a:lnTo>
                  <a:lnTo>
                    <a:pt x="371" y="1647"/>
                  </a:lnTo>
                  <a:lnTo>
                    <a:pt x="374" y="1647"/>
                  </a:lnTo>
                  <a:lnTo>
                    <a:pt x="383" y="1646"/>
                  </a:lnTo>
                  <a:lnTo>
                    <a:pt x="387" y="1644"/>
                  </a:lnTo>
                  <a:lnTo>
                    <a:pt x="390" y="1644"/>
                  </a:lnTo>
                  <a:lnTo>
                    <a:pt x="395" y="1646"/>
                  </a:lnTo>
                  <a:lnTo>
                    <a:pt x="400" y="1651"/>
                  </a:lnTo>
                  <a:lnTo>
                    <a:pt x="400" y="1651"/>
                  </a:lnTo>
                  <a:lnTo>
                    <a:pt x="404" y="1653"/>
                  </a:lnTo>
                  <a:lnTo>
                    <a:pt x="407" y="1654"/>
                  </a:lnTo>
                  <a:lnTo>
                    <a:pt x="416" y="1656"/>
                  </a:lnTo>
                  <a:lnTo>
                    <a:pt x="423" y="1658"/>
                  </a:lnTo>
                  <a:lnTo>
                    <a:pt x="427" y="1659"/>
                  </a:lnTo>
                  <a:lnTo>
                    <a:pt x="430" y="1663"/>
                  </a:lnTo>
                  <a:lnTo>
                    <a:pt x="430" y="1663"/>
                  </a:lnTo>
                  <a:lnTo>
                    <a:pt x="432" y="1666"/>
                  </a:lnTo>
                  <a:lnTo>
                    <a:pt x="435" y="1668"/>
                  </a:lnTo>
                  <a:lnTo>
                    <a:pt x="441" y="1668"/>
                  </a:lnTo>
                  <a:lnTo>
                    <a:pt x="446" y="1666"/>
                  </a:lnTo>
                  <a:lnTo>
                    <a:pt x="446" y="1666"/>
                  </a:lnTo>
                  <a:lnTo>
                    <a:pt x="446" y="1670"/>
                  </a:lnTo>
                  <a:lnTo>
                    <a:pt x="446" y="1670"/>
                  </a:lnTo>
                  <a:lnTo>
                    <a:pt x="447" y="1677"/>
                  </a:lnTo>
                  <a:lnTo>
                    <a:pt x="449" y="1680"/>
                  </a:lnTo>
                  <a:lnTo>
                    <a:pt x="449" y="1682"/>
                  </a:lnTo>
                  <a:lnTo>
                    <a:pt x="446" y="1687"/>
                  </a:lnTo>
                  <a:lnTo>
                    <a:pt x="446" y="1687"/>
                  </a:lnTo>
                  <a:lnTo>
                    <a:pt x="439" y="1693"/>
                  </a:lnTo>
                  <a:lnTo>
                    <a:pt x="435" y="1696"/>
                  </a:lnTo>
                  <a:lnTo>
                    <a:pt x="434" y="1700"/>
                  </a:lnTo>
                  <a:lnTo>
                    <a:pt x="439" y="1700"/>
                  </a:lnTo>
                  <a:lnTo>
                    <a:pt x="439" y="1700"/>
                  </a:lnTo>
                  <a:lnTo>
                    <a:pt x="444" y="1701"/>
                  </a:lnTo>
                  <a:lnTo>
                    <a:pt x="446" y="1703"/>
                  </a:lnTo>
                  <a:lnTo>
                    <a:pt x="446" y="1706"/>
                  </a:lnTo>
                  <a:lnTo>
                    <a:pt x="442" y="1708"/>
                  </a:lnTo>
                  <a:lnTo>
                    <a:pt x="442" y="1708"/>
                  </a:lnTo>
                  <a:lnTo>
                    <a:pt x="437" y="1710"/>
                  </a:lnTo>
                  <a:lnTo>
                    <a:pt x="432" y="1713"/>
                  </a:lnTo>
                  <a:lnTo>
                    <a:pt x="430" y="1715"/>
                  </a:lnTo>
                  <a:lnTo>
                    <a:pt x="430" y="1717"/>
                  </a:lnTo>
                  <a:lnTo>
                    <a:pt x="432" y="1719"/>
                  </a:lnTo>
                  <a:lnTo>
                    <a:pt x="434" y="1720"/>
                  </a:lnTo>
                  <a:lnTo>
                    <a:pt x="434" y="1720"/>
                  </a:lnTo>
                  <a:lnTo>
                    <a:pt x="439" y="1726"/>
                  </a:lnTo>
                  <a:lnTo>
                    <a:pt x="442" y="1733"/>
                  </a:lnTo>
                  <a:lnTo>
                    <a:pt x="442" y="1741"/>
                  </a:lnTo>
                  <a:lnTo>
                    <a:pt x="439" y="1752"/>
                  </a:lnTo>
                  <a:lnTo>
                    <a:pt x="439" y="1752"/>
                  </a:lnTo>
                  <a:lnTo>
                    <a:pt x="435" y="1755"/>
                  </a:lnTo>
                  <a:lnTo>
                    <a:pt x="430" y="1757"/>
                  </a:lnTo>
                  <a:lnTo>
                    <a:pt x="418" y="1755"/>
                  </a:lnTo>
                  <a:lnTo>
                    <a:pt x="407" y="1755"/>
                  </a:lnTo>
                  <a:lnTo>
                    <a:pt x="402" y="1757"/>
                  </a:lnTo>
                  <a:lnTo>
                    <a:pt x="400" y="1760"/>
                  </a:lnTo>
                  <a:lnTo>
                    <a:pt x="400" y="1760"/>
                  </a:lnTo>
                  <a:lnTo>
                    <a:pt x="399" y="1764"/>
                  </a:lnTo>
                  <a:lnTo>
                    <a:pt x="395" y="1766"/>
                  </a:lnTo>
                  <a:lnTo>
                    <a:pt x="387" y="1769"/>
                  </a:lnTo>
                  <a:lnTo>
                    <a:pt x="383" y="1771"/>
                  </a:lnTo>
                  <a:lnTo>
                    <a:pt x="381" y="1776"/>
                  </a:lnTo>
                  <a:lnTo>
                    <a:pt x="380" y="1783"/>
                  </a:lnTo>
                  <a:lnTo>
                    <a:pt x="381" y="1795"/>
                  </a:lnTo>
                  <a:lnTo>
                    <a:pt x="381" y="1795"/>
                  </a:lnTo>
                  <a:lnTo>
                    <a:pt x="390" y="1792"/>
                  </a:lnTo>
                  <a:lnTo>
                    <a:pt x="392" y="1792"/>
                  </a:lnTo>
                  <a:lnTo>
                    <a:pt x="392" y="1792"/>
                  </a:lnTo>
                  <a:lnTo>
                    <a:pt x="397" y="1794"/>
                  </a:lnTo>
                  <a:lnTo>
                    <a:pt x="400" y="1792"/>
                  </a:lnTo>
                  <a:lnTo>
                    <a:pt x="406" y="1790"/>
                  </a:lnTo>
                  <a:lnTo>
                    <a:pt x="406" y="1790"/>
                  </a:lnTo>
                  <a:lnTo>
                    <a:pt x="411" y="1788"/>
                  </a:lnTo>
                  <a:lnTo>
                    <a:pt x="414" y="1788"/>
                  </a:lnTo>
                  <a:lnTo>
                    <a:pt x="416" y="1788"/>
                  </a:lnTo>
                  <a:lnTo>
                    <a:pt x="418" y="1790"/>
                  </a:lnTo>
                  <a:lnTo>
                    <a:pt x="416" y="1794"/>
                  </a:lnTo>
                  <a:lnTo>
                    <a:pt x="414" y="1797"/>
                  </a:lnTo>
                  <a:lnTo>
                    <a:pt x="409" y="1799"/>
                  </a:lnTo>
                  <a:lnTo>
                    <a:pt x="404" y="1802"/>
                  </a:lnTo>
                  <a:lnTo>
                    <a:pt x="404" y="1802"/>
                  </a:lnTo>
                  <a:lnTo>
                    <a:pt x="395" y="1804"/>
                  </a:lnTo>
                  <a:lnTo>
                    <a:pt x="390" y="1807"/>
                  </a:lnTo>
                  <a:lnTo>
                    <a:pt x="385" y="1811"/>
                  </a:lnTo>
                  <a:lnTo>
                    <a:pt x="380" y="1814"/>
                  </a:lnTo>
                  <a:lnTo>
                    <a:pt x="367" y="1816"/>
                  </a:lnTo>
                  <a:lnTo>
                    <a:pt x="367" y="1816"/>
                  </a:lnTo>
                  <a:lnTo>
                    <a:pt x="366" y="1818"/>
                  </a:lnTo>
                  <a:lnTo>
                    <a:pt x="364" y="1820"/>
                  </a:lnTo>
                  <a:lnTo>
                    <a:pt x="364" y="1821"/>
                  </a:lnTo>
                  <a:lnTo>
                    <a:pt x="366" y="1825"/>
                  </a:lnTo>
                  <a:lnTo>
                    <a:pt x="371" y="1830"/>
                  </a:lnTo>
                  <a:lnTo>
                    <a:pt x="374" y="1832"/>
                  </a:lnTo>
                  <a:lnTo>
                    <a:pt x="378" y="1832"/>
                  </a:lnTo>
                  <a:lnTo>
                    <a:pt x="378" y="1832"/>
                  </a:lnTo>
                  <a:lnTo>
                    <a:pt x="381" y="1832"/>
                  </a:lnTo>
                  <a:lnTo>
                    <a:pt x="385" y="1834"/>
                  </a:lnTo>
                  <a:lnTo>
                    <a:pt x="392" y="1841"/>
                  </a:lnTo>
                  <a:lnTo>
                    <a:pt x="393" y="1848"/>
                  </a:lnTo>
                  <a:lnTo>
                    <a:pt x="393" y="1848"/>
                  </a:lnTo>
                  <a:lnTo>
                    <a:pt x="390" y="1848"/>
                  </a:lnTo>
                  <a:lnTo>
                    <a:pt x="390" y="1848"/>
                  </a:lnTo>
                  <a:lnTo>
                    <a:pt x="381" y="1846"/>
                  </a:lnTo>
                  <a:lnTo>
                    <a:pt x="376" y="1846"/>
                  </a:lnTo>
                  <a:lnTo>
                    <a:pt x="371" y="1849"/>
                  </a:lnTo>
                  <a:lnTo>
                    <a:pt x="367" y="1854"/>
                  </a:lnTo>
                  <a:lnTo>
                    <a:pt x="367" y="1854"/>
                  </a:lnTo>
                  <a:lnTo>
                    <a:pt x="362" y="1868"/>
                  </a:lnTo>
                  <a:lnTo>
                    <a:pt x="360" y="1872"/>
                  </a:lnTo>
                  <a:lnTo>
                    <a:pt x="362" y="1877"/>
                  </a:lnTo>
                  <a:lnTo>
                    <a:pt x="362" y="1877"/>
                  </a:lnTo>
                  <a:lnTo>
                    <a:pt x="364" y="1884"/>
                  </a:lnTo>
                  <a:lnTo>
                    <a:pt x="364" y="1886"/>
                  </a:lnTo>
                  <a:lnTo>
                    <a:pt x="360" y="1886"/>
                  </a:lnTo>
                  <a:lnTo>
                    <a:pt x="355" y="1882"/>
                  </a:lnTo>
                  <a:lnTo>
                    <a:pt x="352" y="1882"/>
                  </a:lnTo>
                  <a:lnTo>
                    <a:pt x="348" y="1882"/>
                  </a:lnTo>
                  <a:lnTo>
                    <a:pt x="348" y="1882"/>
                  </a:lnTo>
                  <a:lnTo>
                    <a:pt x="345" y="1884"/>
                  </a:lnTo>
                  <a:lnTo>
                    <a:pt x="341" y="1882"/>
                  </a:lnTo>
                  <a:lnTo>
                    <a:pt x="334" y="1881"/>
                  </a:lnTo>
                  <a:lnTo>
                    <a:pt x="331" y="1879"/>
                  </a:lnTo>
                  <a:lnTo>
                    <a:pt x="329" y="1879"/>
                  </a:lnTo>
                  <a:lnTo>
                    <a:pt x="329" y="1882"/>
                  </a:lnTo>
                  <a:lnTo>
                    <a:pt x="329" y="1882"/>
                  </a:lnTo>
                  <a:lnTo>
                    <a:pt x="329" y="1884"/>
                  </a:lnTo>
                  <a:lnTo>
                    <a:pt x="329" y="1888"/>
                  </a:lnTo>
                  <a:lnTo>
                    <a:pt x="326" y="1891"/>
                  </a:lnTo>
                  <a:lnTo>
                    <a:pt x="326" y="1891"/>
                  </a:lnTo>
                  <a:lnTo>
                    <a:pt x="327" y="1893"/>
                  </a:lnTo>
                  <a:lnTo>
                    <a:pt x="336" y="1898"/>
                  </a:lnTo>
                  <a:lnTo>
                    <a:pt x="336" y="1898"/>
                  </a:lnTo>
                  <a:lnTo>
                    <a:pt x="343" y="1902"/>
                  </a:lnTo>
                  <a:lnTo>
                    <a:pt x="346" y="1905"/>
                  </a:lnTo>
                  <a:lnTo>
                    <a:pt x="350" y="1910"/>
                  </a:lnTo>
                  <a:lnTo>
                    <a:pt x="355" y="1915"/>
                  </a:lnTo>
                  <a:lnTo>
                    <a:pt x="359" y="1917"/>
                  </a:lnTo>
                  <a:lnTo>
                    <a:pt x="366" y="1917"/>
                  </a:lnTo>
                  <a:lnTo>
                    <a:pt x="366" y="1917"/>
                  </a:lnTo>
                  <a:lnTo>
                    <a:pt x="371" y="1919"/>
                  </a:lnTo>
                  <a:lnTo>
                    <a:pt x="373" y="1921"/>
                  </a:lnTo>
                  <a:lnTo>
                    <a:pt x="374" y="1924"/>
                  </a:lnTo>
                  <a:lnTo>
                    <a:pt x="376" y="1926"/>
                  </a:lnTo>
                  <a:lnTo>
                    <a:pt x="378" y="1928"/>
                  </a:lnTo>
                  <a:lnTo>
                    <a:pt x="383" y="1931"/>
                  </a:lnTo>
                  <a:lnTo>
                    <a:pt x="392" y="1933"/>
                  </a:lnTo>
                  <a:lnTo>
                    <a:pt x="392" y="1933"/>
                  </a:lnTo>
                  <a:lnTo>
                    <a:pt x="404" y="1938"/>
                  </a:lnTo>
                  <a:lnTo>
                    <a:pt x="407" y="1940"/>
                  </a:lnTo>
                  <a:lnTo>
                    <a:pt x="409" y="1942"/>
                  </a:lnTo>
                  <a:lnTo>
                    <a:pt x="418" y="1954"/>
                  </a:lnTo>
                  <a:lnTo>
                    <a:pt x="442" y="1978"/>
                  </a:lnTo>
                  <a:lnTo>
                    <a:pt x="442" y="1978"/>
                  </a:lnTo>
                  <a:lnTo>
                    <a:pt x="447" y="1975"/>
                  </a:lnTo>
                  <a:lnTo>
                    <a:pt x="453" y="1973"/>
                  </a:lnTo>
                  <a:lnTo>
                    <a:pt x="460" y="1971"/>
                  </a:lnTo>
                  <a:lnTo>
                    <a:pt x="465" y="1971"/>
                  </a:lnTo>
                  <a:lnTo>
                    <a:pt x="465" y="1971"/>
                  </a:lnTo>
                  <a:lnTo>
                    <a:pt x="468" y="1971"/>
                  </a:lnTo>
                  <a:lnTo>
                    <a:pt x="470" y="1971"/>
                  </a:lnTo>
                  <a:lnTo>
                    <a:pt x="475" y="1975"/>
                  </a:lnTo>
                  <a:lnTo>
                    <a:pt x="481" y="1978"/>
                  </a:lnTo>
                  <a:lnTo>
                    <a:pt x="482" y="1980"/>
                  </a:lnTo>
                  <a:lnTo>
                    <a:pt x="488" y="1982"/>
                  </a:lnTo>
                  <a:lnTo>
                    <a:pt x="488" y="1982"/>
                  </a:lnTo>
                  <a:lnTo>
                    <a:pt x="491" y="1982"/>
                  </a:lnTo>
                  <a:lnTo>
                    <a:pt x="493" y="1983"/>
                  </a:lnTo>
                  <a:lnTo>
                    <a:pt x="498" y="1987"/>
                  </a:lnTo>
                  <a:lnTo>
                    <a:pt x="500" y="1989"/>
                  </a:lnTo>
                  <a:lnTo>
                    <a:pt x="503" y="1989"/>
                  </a:lnTo>
                  <a:lnTo>
                    <a:pt x="508" y="1989"/>
                  </a:lnTo>
                  <a:lnTo>
                    <a:pt x="514" y="1987"/>
                  </a:lnTo>
                  <a:lnTo>
                    <a:pt x="514" y="1987"/>
                  </a:lnTo>
                  <a:lnTo>
                    <a:pt x="519" y="1985"/>
                  </a:lnTo>
                  <a:lnTo>
                    <a:pt x="524" y="1985"/>
                  </a:lnTo>
                  <a:lnTo>
                    <a:pt x="529" y="1987"/>
                  </a:lnTo>
                  <a:lnTo>
                    <a:pt x="535" y="1990"/>
                  </a:lnTo>
                  <a:lnTo>
                    <a:pt x="538" y="1990"/>
                  </a:lnTo>
                  <a:lnTo>
                    <a:pt x="540" y="1990"/>
                  </a:lnTo>
                  <a:lnTo>
                    <a:pt x="540" y="1990"/>
                  </a:lnTo>
                  <a:lnTo>
                    <a:pt x="545" y="1990"/>
                  </a:lnTo>
                  <a:lnTo>
                    <a:pt x="548" y="1994"/>
                  </a:lnTo>
                  <a:lnTo>
                    <a:pt x="557" y="1999"/>
                  </a:lnTo>
                  <a:lnTo>
                    <a:pt x="568" y="2006"/>
                  </a:lnTo>
                  <a:lnTo>
                    <a:pt x="568" y="2006"/>
                  </a:lnTo>
                  <a:lnTo>
                    <a:pt x="576" y="2009"/>
                  </a:lnTo>
                  <a:lnTo>
                    <a:pt x="576" y="2011"/>
                  </a:lnTo>
                  <a:lnTo>
                    <a:pt x="576" y="2013"/>
                  </a:lnTo>
                  <a:lnTo>
                    <a:pt x="575" y="2015"/>
                  </a:lnTo>
                  <a:lnTo>
                    <a:pt x="575" y="2016"/>
                  </a:lnTo>
                  <a:lnTo>
                    <a:pt x="578" y="2020"/>
                  </a:lnTo>
                  <a:lnTo>
                    <a:pt x="578" y="2020"/>
                  </a:lnTo>
                  <a:lnTo>
                    <a:pt x="582" y="2020"/>
                  </a:lnTo>
                  <a:lnTo>
                    <a:pt x="585" y="2020"/>
                  </a:lnTo>
                  <a:lnTo>
                    <a:pt x="590" y="2015"/>
                  </a:lnTo>
                  <a:lnTo>
                    <a:pt x="595" y="2009"/>
                  </a:lnTo>
                  <a:lnTo>
                    <a:pt x="599" y="2009"/>
                  </a:lnTo>
                  <a:lnTo>
                    <a:pt x="602" y="2009"/>
                  </a:lnTo>
                  <a:lnTo>
                    <a:pt x="602" y="2009"/>
                  </a:lnTo>
                  <a:lnTo>
                    <a:pt x="611" y="2013"/>
                  </a:lnTo>
                  <a:lnTo>
                    <a:pt x="615" y="2011"/>
                  </a:lnTo>
                  <a:lnTo>
                    <a:pt x="618" y="2009"/>
                  </a:lnTo>
                  <a:lnTo>
                    <a:pt x="623" y="2011"/>
                  </a:lnTo>
                  <a:lnTo>
                    <a:pt x="623" y="2011"/>
                  </a:lnTo>
                  <a:lnTo>
                    <a:pt x="627" y="2013"/>
                  </a:lnTo>
                  <a:lnTo>
                    <a:pt x="629" y="2016"/>
                  </a:lnTo>
                  <a:lnTo>
                    <a:pt x="632" y="2020"/>
                  </a:lnTo>
                  <a:lnTo>
                    <a:pt x="639" y="2020"/>
                  </a:lnTo>
                  <a:lnTo>
                    <a:pt x="639" y="2020"/>
                  </a:lnTo>
                  <a:lnTo>
                    <a:pt x="644" y="2020"/>
                  </a:lnTo>
                  <a:lnTo>
                    <a:pt x="646" y="2022"/>
                  </a:lnTo>
                  <a:lnTo>
                    <a:pt x="646" y="2025"/>
                  </a:lnTo>
                  <a:lnTo>
                    <a:pt x="644" y="2027"/>
                  </a:lnTo>
                  <a:lnTo>
                    <a:pt x="642" y="2034"/>
                  </a:lnTo>
                  <a:lnTo>
                    <a:pt x="642" y="2036"/>
                  </a:lnTo>
                  <a:lnTo>
                    <a:pt x="644" y="2039"/>
                  </a:lnTo>
                  <a:lnTo>
                    <a:pt x="644" y="2039"/>
                  </a:lnTo>
                  <a:lnTo>
                    <a:pt x="651" y="2044"/>
                  </a:lnTo>
                  <a:lnTo>
                    <a:pt x="658" y="2046"/>
                  </a:lnTo>
                  <a:lnTo>
                    <a:pt x="669" y="2049"/>
                  </a:lnTo>
                  <a:lnTo>
                    <a:pt x="669" y="2049"/>
                  </a:lnTo>
                  <a:lnTo>
                    <a:pt x="672" y="2053"/>
                  </a:lnTo>
                  <a:lnTo>
                    <a:pt x="674" y="2055"/>
                  </a:lnTo>
                  <a:lnTo>
                    <a:pt x="676" y="2055"/>
                  </a:lnTo>
                  <a:lnTo>
                    <a:pt x="677" y="2055"/>
                  </a:lnTo>
                  <a:lnTo>
                    <a:pt x="681" y="2053"/>
                  </a:lnTo>
                  <a:lnTo>
                    <a:pt x="683" y="2055"/>
                  </a:lnTo>
                  <a:lnTo>
                    <a:pt x="683" y="2058"/>
                  </a:lnTo>
                  <a:lnTo>
                    <a:pt x="683" y="2058"/>
                  </a:lnTo>
                  <a:lnTo>
                    <a:pt x="684" y="2062"/>
                  </a:lnTo>
                  <a:lnTo>
                    <a:pt x="686" y="2063"/>
                  </a:lnTo>
                  <a:lnTo>
                    <a:pt x="691" y="2065"/>
                  </a:lnTo>
                  <a:lnTo>
                    <a:pt x="695" y="2069"/>
                  </a:lnTo>
                  <a:lnTo>
                    <a:pt x="696" y="2070"/>
                  </a:lnTo>
                  <a:lnTo>
                    <a:pt x="698" y="2076"/>
                  </a:lnTo>
                  <a:lnTo>
                    <a:pt x="698" y="2076"/>
                  </a:lnTo>
                  <a:lnTo>
                    <a:pt x="700" y="2079"/>
                  </a:lnTo>
                  <a:lnTo>
                    <a:pt x="703" y="2083"/>
                  </a:lnTo>
                  <a:lnTo>
                    <a:pt x="707" y="2084"/>
                  </a:lnTo>
                  <a:lnTo>
                    <a:pt x="712" y="2086"/>
                  </a:lnTo>
                  <a:lnTo>
                    <a:pt x="716" y="2086"/>
                  </a:lnTo>
                  <a:lnTo>
                    <a:pt x="719" y="2084"/>
                  </a:lnTo>
                  <a:lnTo>
                    <a:pt x="723" y="2083"/>
                  </a:lnTo>
                  <a:lnTo>
                    <a:pt x="724" y="2079"/>
                  </a:lnTo>
                  <a:lnTo>
                    <a:pt x="724" y="2079"/>
                  </a:lnTo>
                  <a:lnTo>
                    <a:pt x="728" y="2072"/>
                  </a:lnTo>
                  <a:lnTo>
                    <a:pt x="733" y="2069"/>
                  </a:lnTo>
                  <a:lnTo>
                    <a:pt x="740" y="2063"/>
                  </a:lnTo>
                  <a:lnTo>
                    <a:pt x="745" y="2055"/>
                  </a:lnTo>
                  <a:lnTo>
                    <a:pt x="745" y="2055"/>
                  </a:lnTo>
                  <a:lnTo>
                    <a:pt x="737" y="2041"/>
                  </a:lnTo>
                  <a:lnTo>
                    <a:pt x="728" y="2032"/>
                  </a:lnTo>
                  <a:lnTo>
                    <a:pt x="716" y="2016"/>
                  </a:lnTo>
                  <a:lnTo>
                    <a:pt x="712" y="2009"/>
                  </a:lnTo>
                  <a:lnTo>
                    <a:pt x="709" y="2001"/>
                  </a:lnTo>
                  <a:lnTo>
                    <a:pt x="709" y="1989"/>
                  </a:lnTo>
                  <a:lnTo>
                    <a:pt x="710" y="1975"/>
                  </a:lnTo>
                  <a:lnTo>
                    <a:pt x="710" y="1975"/>
                  </a:lnTo>
                  <a:lnTo>
                    <a:pt x="712" y="1955"/>
                  </a:lnTo>
                  <a:lnTo>
                    <a:pt x="712" y="1954"/>
                  </a:lnTo>
                  <a:lnTo>
                    <a:pt x="710" y="1955"/>
                  </a:lnTo>
                  <a:lnTo>
                    <a:pt x="709" y="1959"/>
                  </a:lnTo>
                  <a:lnTo>
                    <a:pt x="705" y="1961"/>
                  </a:lnTo>
                  <a:lnTo>
                    <a:pt x="703" y="1959"/>
                  </a:lnTo>
                  <a:lnTo>
                    <a:pt x="702" y="1952"/>
                  </a:lnTo>
                  <a:lnTo>
                    <a:pt x="702" y="1952"/>
                  </a:lnTo>
                  <a:lnTo>
                    <a:pt x="700" y="1943"/>
                  </a:lnTo>
                  <a:lnTo>
                    <a:pt x="695" y="1936"/>
                  </a:lnTo>
                  <a:lnTo>
                    <a:pt x="690" y="1931"/>
                  </a:lnTo>
                  <a:lnTo>
                    <a:pt x="684" y="1928"/>
                  </a:lnTo>
                  <a:lnTo>
                    <a:pt x="679" y="1926"/>
                  </a:lnTo>
                  <a:lnTo>
                    <a:pt x="676" y="1924"/>
                  </a:lnTo>
                  <a:lnTo>
                    <a:pt x="677" y="1921"/>
                  </a:lnTo>
                  <a:lnTo>
                    <a:pt x="681" y="1915"/>
                  </a:lnTo>
                  <a:lnTo>
                    <a:pt x="681" y="1915"/>
                  </a:lnTo>
                  <a:lnTo>
                    <a:pt x="686" y="1910"/>
                  </a:lnTo>
                  <a:lnTo>
                    <a:pt x="691" y="1905"/>
                  </a:lnTo>
                  <a:lnTo>
                    <a:pt x="700" y="1893"/>
                  </a:lnTo>
                  <a:lnTo>
                    <a:pt x="709" y="1879"/>
                  </a:lnTo>
                  <a:lnTo>
                    <a:pt x="721" y="1865"/>
                  </a:lnTo>
                  <a:lnTo>
                    <a:pt x="721" y="1865"/>
                  </a:lnTo>
                  <a:lnTo>
                    <a:pt x="730" y="1860"/>
                  </a:lnTo>
                  <a:lnTo>
                    <a:pt x="735" y="1856"/>
                  </a:lnTo>
                  <a:lnTo>
                    <a:pt x="740" y="1856"/>
                  </a:lnTo>
                  <a:lnTo>
                    <a:pt x="743" y="1856"/>
                  </a:lnTo>
                  <a:lnTo>
                    <a:pt x="749" y="1856"/>
                  </a:lnTo>
                  <a:lnTo>
                    <a:pt x="749" y="1854"/>
                  </a:lnTo>
                  <a:lnTo>
                    <a:pt x="749" y="1853"/>
                  </a:lnTo>
                  <a:lnTo>
                    <a:pt x="749" y="1853"/>
                  </a:lnTo>
                  <a:lnTo>
                    <a:pt x="749" y="1846"/>
                  </a:lnTo>
                  <a:lnTo>
                    <a:pt x="750" y="1842"/>
                  </a:lnTo>
                  <a:lnTo>
                    <a:pt x="754" y="1839"/>
                  </a:lnTo>
                  <a:lnTo>
                    <a:pt x="757" y="1828"/>
                  </a:lnTo>
                  <a:lnTo>
                    <a:pt x="757" y="1828"/>
                  </a:lnTo>
                  <a:lnTo>
                    <a:pt x="747" y="1823"/>
                  </a:lnTo>
                  <a:lnTo>
                    <a:pt x="743" y="1820"/>
                  </a:lnTo>
                  <a:lnTo>
                    <a:pt x="745" y="1818"/>
                  </a:lnTo>
                  <a:lnTo>
                    <a:pt x="749" y="1814"/>
                  </a:lnTo>
                  <a:lnTo>
                    <a:pt x="752" y="1813"/>
                  </a:lnTo>
                  <a:lnTo>
                    <a:pt x="756" y="1807"/>
                  </a:lnTo>
                  <a:lnTo>
                    <a:pt x="756" y="1804"/>
                  </a:lnTo>
                  <a:lnTo>
                    <a:pt x="754" y="1801"/>
                  </a:lnTo>
                  <a:lnTo>
                    <a:pt x="747" y="1788"/>
                  </a:lnTo>
                  <a:lnTo>
                    <a:pt x="747" y="1788"/>
                  </a:lnTo>
                  <a:lnTo>
                    <a:pt x="730" y="1769"/>
                  </a:lnTo>
                  <a:lnTo>
                    <a:pt x="719" y="1760"/>
                  </a:lnTo>
                  <a:lnTo>
                    <a:pt x="716" y="1759"/>
                  </a:lnTo>
                  <a:lnTo>
                    <a:pt x="712" y="1759"/>
                  </a:lnTo>
                  <a:lnTo>
                    <a:pt x="705" y="1760"/>
                  </a:lnTo>
                  <a:lnTo>
                    <a:pt x="705" y="1760"/>
                  </a:lnTo>
                  <a:lnTo>
                    <a:pt x="700" y="1760"/>
                  </a:lnTo>
                  <a:lnTo>
                    <a:pt x="698" y="1759"/>
                  </a:lnTo>
                  <a:lnTo>
                    <a:pt x="696" y="1750"/>
                  </a:lnTo>
                  <a:lnTo>
                    <a:pt x="696" y="1745"/>
                  </a:lnTo>
                  <a:lnTo>
                    <a:pt x="693" y="1740"/>
                  </a:lnTo>
                  <a:lnTo>
                    <a:pt x="690" y="1734"/>
                  </a:lnTo>
                  <a:lnTo>
                    <a:pt x="683" y="1731"/>
                  </a:lnTo>
                  <a:lnTo>
                    <a:pt x="683" y="1731"/>
                  </a:lnTo>
                  <a:lnTo>
                    <a:pt x="679" y="1729"/>
                  </a:lnTo>
                  <a:lnTo>
                    <a:pt x="676" y="1727"/>
                  </a:lnTo>
                  <a:lnTo>
                    <a:pt x="674" y="1724"/>
                  </a:lnTo>
                  <a:lnTo>
                    <a:pt x="674" y="1722"/>
                  </a:lnTo>
                  <a:lnTo>
                    <a:pt x="676" y="1715"/>
                  </a:lnTo>
                  <a:lnTo>
                    <a:pt x="679" y="1706"/>
                  </a:lnTo>
                  <a:lnTo>
                    <a:pt x="684" y="1698"/>
                  </a:lnTo>
                  <a:lnTo>
                    <a:pt x="686" y="1691"/>
                  </a:lnTo>
                  <a:lnTo>
                    <a:pt x="688" y="1684"/>
                  </a:lnTo>
                  <a:lnTo>
                    <a:pt x="686" y="1680"/>
                  </a:lnTo>
                  <a:lnTo>
                    <a:pt x="684" y="1677"/>
                  </a:lnTo>
                  <a:lnTo>
                    <a:pt x="684" y="1677"/>
                  </a:lnTo>
                  <a:lnTo>
                    <a:pt x="683" y="1673"/>
                  </a:lnTo>
                  <a:lnTo>
                    <a:pt x="683" y="1670"/>
                  </a:lnTo>
                  <a:lnTo>
                    <a:pt x="683" y="1661"/>
                  </a:lnTo>
                  <a:lnTo>
                    <a:pt x="686" y="1651"/>
                  </a:lnTo>
                  <a:lnTo>
                    <a:pt x="691" y="1642"/>
                  </a:lnTo>
                  <a:lnTo>
                    <a:pt x="698" y="1633"/>
                  </a:lnTo>
                  <a:lnTo>
                    <a:pt x="705" y="1628"/>
                  </a:lnTo>
                  <a:lnTo>
                    <a:pt x="710" y="1625"/>
                  </a:lnTo>
                  <a:lnTo>
                    <a:pt x="714" y="1626"/>
                  </a:lnTo>
                  <a:lnTo>
                    <a:pt x="716" y="1628"/>
                  </a:lnTo>
                  <a:lnTo>
                    <a:pt x="716" y="1628"/>
                  </a:lnTo>
                  <a:lnTo>
                    <a:pt x="724" y="1640"/>
                  </a:lnTo>
                  <a:lnTo>
                    <a:pt x="733" y="1649"/>
                  </a:lnTo>
                  <a:lnTo>
                    <a:pt x="738" y="1653"/>
                  </a:lnTo>
                  <a:lnTo>
                    <a:pt x="743" y="1654"/>
                  </a:lnTo>
                  <a:lnTo>
                    <a:pt x="747" y="1651"/>
                  </a:lnTo>
                  <a:lnTo>
                    <a:pt x="749" y="1646"/>
                  </a:lnTo>
                  <a:lnTo>
                    <a:pt x="750" y="1637"/>
                  </a:lnTo>
                  <a:lnTo>
                    <a:pt x="750" y="1626"/>
                  </a:lnTo>
                  <a:lnTo>
                    <a:pt x="750" y="1626"/>
                  </a:lnTo>
                  <a:lnTo>
                    <a:pt x="750" y="1621"/>
                  </a:lnTo>
                  <a:lnTo>
                    <a:pt x="750" y="1616"/>
                  </a:lnTo>
                  <a:lnTo>
                    <a:pt x="756" y="1607"/>
                  </a:lnTo>
                  <a:lnTo>
                    <a:pt x="764" y="1600"/>
                  </a:lnTo>
                  <a:lnTo>
                    <a:pt x="775" y="1593"/>
                  </a:lnTo>
                  <a:lnTo>
                    <a:pt x="796" y="1581"/>
                  </a:lnTo>
                  <a:lnTo>
                    <a:pt x="806" y="1572"/>
                  </a:lnTo>
                  <a:lnTo>
                    <a:pt x="815" y="1564"/>
                  </a:lnTo>
                  <a:lnTo>
                    <a:pt x="815" y="1564"/>
                  </a:lnTo>
                  <a:lnTo>
                    <a:pt x="820" y="1559"/>
                  </a:lnTo>
                  <a:lnTo>
                    <a:pt x="825" y="1557"/>
                  </a:lnTo>
                  <a:lnTo>
                    <a:pt x="831" y="1559"/>
                  </a:lnTo>
                  <a:lnTo>
                    <a:pt x="834" y="1562"/>
                  </a:lnTo>
                  <a:lnTo>
                    <a:pt x="839" y="1565"/>
                  </a:lnTo>
                  <a:lnTo>
                    <a:pt x="844" y="1567"/>
                  </a:lnTo>
                  <a:lnTo>
                    <a:pt x="851" y="1567"/>
                  </a:lnTo>
                  <a:lnTo>
                    <a:pt x="858" y="1562"/>
                  </a:lnTo>
                  <a:lnTo>
                    <a:pt x="858" y="1562"/>
                  </a:lnTo>
                  <a:lnTo>
                    <a:pt x="867" y="1557"/>
                  </a:lnTo>
                  <a:lnTo>
                    <a:pt x="872" y="1555"/>
                  </a:lnTo>
                  <a:lnTo>
                    <a:pt x="876" y="1555"/>
                  </a:lnTo>
                  <a:lnTo>
                    <a:pt x="879" y="1557"/>
                  </a:lnTo>
                  <a:lnTo>
                    <a:pt x="891" y="1564"/>
                  </a:lnTo>
                  <a:lnTo>
                    <a:pt x="900" y="1567"/>
                  </a:lnTo>
                  <a:lnTo>
                    <a:pt x="911" y="1569"/>
                  </a:lnTo>
                  <a:lnTo>
                    <a:pt x="911" y="1569"/>
                  </a:lnTo>
                  <a:lnTo>
                    <a:pt x="918" y="1571"/>
                  </a:lnTo>
                  <a:lnTo>
                    <a:pt x="925" y="1574"/>
                  </a:lnTo>
                  <a:lnTo>
                    <a:pt x="937" y="1581"/>
                  </a:lnTo>
                  <a:lnTo>
                    <a:pt x="963" y="1600"/>
                  </a:lnTo>
                  <a:lnTo>
                    <a:pt x="973" y="1609"/>
                  </a:lnTo>
                  <a:lnTo>
                    <a:pt x="984" y="1616"/>
                  </a:lnTo>
                  <a:lnTo>
                    <a:pt x="989" y="1616"/>
                  </a:lnTo>
                  <a:lnTo>
                    <a:pt x="994" y="1616"/>
                  </a:lnTo>
                  <a:lnTo>
                    <a:pt x="999" y="1614"/>
                  </a:lnTo>
                  <a:lnTo>
                    <a:pt x="1003" y="1612"/>
                  </a:lnTo>
                  <a:lnTo>
                    <a:pt x="1003" y="1612"/>
                  </a:lnTo>
                  <a:lnTo>
                    <a:pt x="1013" y="1600"/>
                  </a:lnTo>
                  <a:lnTo>
                    <a:pt x="1024" y="1593"/>
                  </a:lnTo>
                  <a:lnTo>
                    <a:pt x="1029" y="1592"/>
                  </a:lnTo>
                  <a:lnTo>
                    <a:pt x="1036" y="1590"/>
                  </a:lnTo>
                  <a:lnTo>
                    <a:pt x="1041" y="1592"/>
                  </a:lnTo>
                  <a:lnTo>
                    <a:pt x="1048" y="1595"/>
                  </a:lnTo>
                  <a:lnTo>
                    <a:pt x="1048" y="1595"/>
                  </a:lnTo>
                  <a:lnTo>
                    <a:pt x="1055" y="1597"/>
                  </a:lnTo>
                  <a:lnTo>
                    <a:pt x="1060" y="1597"/>
                  </a:lnTo>
                  <a:lnTo>
                    <a:pt x="1069" y="1593"/>
                  </a:lnTo>
                  <a:lnTo>
                    <a:pt x="1074" y="1592"/>
                  </a:lnTo>
                  <a:lnTo>
                    <a:pt x="1083" y="1592"/>
                  </a:lnTo>
                  <a:lnTo>
                    <a:pt x="1093" y="1595"/>
                  </a:lnTo>
                  <a:lnTo>
                    <a:pt x="1107" y="1606"/>
                  </a:lnTo>
                  <a:lnTo>
                    <a:pt x="1107" y="1606"/>
                  </a:lnTo>
                  <a:lnTo>
                    <a:pt x="1121" y="1612"/>
                  </a:lnTo>
                  <a:lnTo>
                    <a:pt x="1130" y="1616"/>
                  </a:lnTo>
                  <a:lnTo>
                    <a:pt x="1135" y="1614"/>
                  </a:lnTo>
                  <a:lnTo>
                    <a:pt x="1139" y="1611"/>
                  </a:lnTo>
                  <a:lnTo>
                    <a:pt x="1140" y="1606"/>
                  </a:lnTo>
                  <a:lnTo>
                    <a:pt x="1144" y="1602"/>
                  </a:lnTo>
                  <a:lnTo>
                    <a:pt x="1146" y="1602"/>
                  </a:lnTo>
                  <a:lnTo>
                    <a:pt x="1149" y="1602"/>
                  </a:lnTo>
                  <a:lnTo>
                    <a:pt x="1158" y="1606"/>
                  </a:lnTo>
                  <a:lnTo>
                    <a:pt x="1158" y="1606"/>
                  </a:lnTo>
                  <a:lnTo>
                    <a:pt x="1163" y="1609"/>
                  </a:lnTo>
                  <a:lnTo>
                    <a:pt x="1168" y="1611"/>
                  </a:lnTo>
                  <a:lnTo>
                    <a:pt x="1174" y="1611"/>
                  </a:lnTo>
                  <a:lnTo>
                    <a:pt x="1179" y="1611"/>
                  </a:lnTo>
                  <a:lnTo>
                    <a:pt x="1189" y="1606"/>
                  </a:lnTo>
                  <a:lnTo>
                    <a:pt x="1196" y="1599"/>
                  </a:lnTo>
                  <a:lnTo>
                    <a:pt x="1200" y="1592"/>
                  </a:lnTo>
                  <a:lnTo>
                    <a:pt x="1201" y="1586"/>
                  </a:lnTo>
                  <a:lnTo>
                    <a:pt x="1200" y="1581"/>
                  </a:lnTo>
                  <a:lnTo>
                    <a:pt x="1198" y="1578"/>
                  </a:lnTo>
                  <a:lnTo>
                    <a:pt x="1194" y="1572"/>
                  </a:lnTo>
                  <a:lnTo>
                    <a:pt x="1189" y="1569"/>
                  </a:lnTo>
                  <a:lnTo>
                    <a:pt x="1182" y="1565"/>
                  </a:lnTo>
                  <a:lnTo>
                    <a:pt x="1182" y="1565"/>
                  </a:lnTo>
                  <a:lnTo>
                    <a:pt x="1161" y="1557"/>
                  </a:lnTo>
                  <a:lnTo>
                    <a:pt x="1156" y="1552"/>
                  </a:lnTo>
                  <a:lnTo>
                    <a:pt x="1154" y="1548"/>
                  </a:lnTo>
                  <a:lnTo>
                    <a:pt x="1153" y="1546"/>
                  </a:lnTo>
                  <a:lnTo>
                    <a:pt x="1154" y="1543"/>
                  </a:lnTo>
                  <a:lnTo>
                    <a:pt x="1161" y="1538"/>
                  </a:lnTo>
                  <a:lnTo>
                    <a:pt x="1170" y="1534"/>
                  </a:lnTo>
                  <a:lnTo>
                    <a:pt x="1177" y="1529"/>
                  </a:lnTo>
                  <a:lnTo>
                    <a:pt x="1179" y="1525"/>
                  </a:lnTo>
                  <a:lnTo>
                    <a:pt x="1179" y="1522"/>
                  </a:lnTo>
                  <a:lnTo>
                    <a:pt x="1177" y="1517"/>
                  </a:lnTo>
                  <a:lnTo>
                    <a:pt x="1172" y="1511"/>
                  </a:lnTo>
                  <a:lnTo>
                    <a:pt x="1172" y="1511"/>
                  </a:lnTo>
                  <a:lnTo>
                    <a:pt x="1168" y="1508"/>
                  </a:lnTo>
                  <a:lnTo>
                    <a:pt x="1168" y="1505"/>
                  </a:lnTo>
                  <a:lnTo>
                    <a:pt x="1170" y="1503"/>
                  </a:lnTo>
                  <a:lnTo>
                    <a:pt x="1172" y="1499"/>
                  </a:lnTo>
                  <a:lnTo>
                    <a:pt x="1181" y="1496"/>
                  </a:lnTo>
                  <a:lnTo>
                    <a:pt x="1193" y="1494"/>
                  </a:lnTo>
                  <a:lnTo>
                    <a:pt x="1203" y="1491"/>
                  </a:lnTo>
                  <a:lnTo>
                    <a:pt x="1212" y="1489"/>
                  </a:lnTo>
                  <a:lnTo>
                    <a:pt x="1214" y="1487"/>
                  </a:lnTo>
                  <a:lnTo>
                    <a:pt x="1214" y="1485"/>
                  </a:lnTo>
                  <a:lnTo>
                    <a:pt x="1212" y="1484"/>
                  </a:lnTo>
                  <a:lnTo>
                    <a:pt x="1207" y="1480"/>
                  </a:lnTo>
                  <a:lnTo>
                    <a:pt x="1207" y="1480"/>
                  </a:lnTo>
                  <a:lnTo>
                    <a:pt x="1196" y="1475"/>
                  </a:lnTo>
                  <a:lnTo>
                    <a:pt x="1187" y="1468"/>
                  </a:lnTo>
                  <a:lnTo>
                    <a:pt x="1182" y="1459"/>
                  </a:lnTo>
                  <a:lnTo>
                    <a:pt x="1179" y="1451"/>
                  </a:lnTo>
                  <a:lnTo>
                    <a:pt x="1179" y="1444"/>
                  </a:lnTo>
                  <a:lnTo>
                    <a:pt x="1181" y="1440"/>
                  </a:lnTo>
                  <a:lnTo>
                    <a:pt x="1182" y="1437"/>
                  </a:lnTo>
                  <a:lnTo>
                    <a:pt x="1186" y="1435"/>
                  </a:lnTo>
                  <a:lnTo>
                    <a:pt x="1191" y="1433"/>
                  </a:lnTo>
                  <a:lnTo>
                    <a:pt x="1203" y="1431"/>
                  </a:lnTo>
                  <a:lnTo>
                    <a:pt x="1203" y="1431"/>
                  </a:lnTo>
                  <a:lnTo>
                    <a:pt x="1222" y="1431"/>
                  </a:lnTo>
                  <a:lnTo>
                    <a:pt x="1247" y="1428"/>
                  </a:lnTo>
                  <a:lnTo>
                    <a:pt x="1308" y="1416"/>
                  </a:lnTo>
                  <a:lnTo>
                    <a:pt x="1370" y="1400"/>
                  </a:lnTo>
                  <a:lnTo>
                    <a:pt x="1412" y="1388"/>
                  </a:lnTo>
                  <a:lnTo>
                    <a:pt x="1412" y="1388"/>
                  </a:lnTo>
                  <a:lnTo>
                    <a:pt x="1426" y="1381"/>
                  </a:lnTo>
                  <a:lnTo>
                    <a:pt x="1436" y="1376"/>
                  </a:lnTo>
                  <a:lnTo>
                    <a:pt x="1452" y="1364"/>
                  </a:lnTo>
                  <a:lnTo>
                    <a:pt x="1459" y="1360"/>
                  </a:lnTo>
                  <a:lnTo>
                    <a:pt x="1466" y="1357"/>
                  </a:lnTo>
                  <a:lnTo>
                    <a:pt x="1473" y="1358"/>
                  </a:lnTo>
                  <a:lnTo>
                    <a:pt x="1482" y="1362"/>
                  </a:lnTo>
                  <a:lnTo>
                    <a:pt x="1482" y="1362"/>
                  </a:lnTo>
                  <a:lnTo>
                    <a:pt x="1489" y="1367"/>
                  </a:lnTo>
                  <a:lnTo>
                    <a:pt x="1497" y="1367"/>
                  </a:lnTo>
                  <a:lnTo>
                    <a:pt x="1511" y="1365"/>
                  </a:lnTo>
                  <a:lnTo>
                    <a:pt x="1517" y="1365"/>
                  </a:lnTo>
                  <a:lnTo>
                    <a:pt x="1522" y="1369"/>
                  </a:lnTo>
                  <a:lnTo>
                    <a:pt x="1527" y="1376"/>
                  </a:lnTo>
                  <a:lnTo>
                    <a:pt x="1531" y="1388"/>
                  </a:lnTo>
                  <a:lnTo>
                    <a:pt x="1531" y="1388"/>
                  </a:lnTo>
                  <a:lnTo>
                    <a:pt x="1536" y="1405"/>
                  </a:lnTo>
                  <a:lnTo>
                    <a:pt x="1541" y="1416"/>
                  </a:lnTo>
                  <a:lnTo>
                    <a:pt x="1548" y="1421"/>
                  </a:lnTo>
                  <a:lnTo>
                    <a:pt x="1555" y="1423"/>
                  </a:lnTo>
                  <a:lnTo>
                    <a:pt x="1572" y="1421"/>
                  </a:lnTo>
                  <a:lnTo>
                    <a:pt x="1581" y="1423"/>
                  </a:lnTo>
                  <a:lnTo>
                    <a:pt x="1591" y="1426"/>
                  </a:lnTo>
                  <a:lnTo>
                    <a:pt x="1591" y="1426"/>
                  </a:lnTo>
                  <a:lnTo>
                    <a:pt x="1602" y="1430"/>
                  </a:lnTo>
                  <a:lnTo>
                    <a:pt x="1611" y="1433"/>
                  </a:lnTo>
                  <a:lnTo>
                    <a:pt x="1625" y="1433"/>
                  </a:lnTo>
                  <a:lnTo>
                    <a:pt x="1628" y="1435"/>
                  </a:lnTo>
                  <a:lnTo>
                    <a:pt x="1628" y="1437"/>
                  </a:lnTo>
                  <a:lnTo>
                    <a:pt x="1621" y="1445"/>
                  </a:lnTo>
                  <a:lnTo>
                    <a:pt x="1621" y="1445"/>
                  </a:lnTo>
                  <a:lnTo>
                    <a:pt x="1616" y="1451"/>
                  </a:lnTo>
                  <a:lnTo>
                    <a:pt x="1616" y="1454"/>
                  </a:lnTo>
                  <a:lnTo>
                    <a:pt x="1616" y="1456"/>
                  </a:lnTo>
                  <a:lnTo>
                    <a:pt x="1619" y="1458"/>
                  </a:lnTo>
                  <a:lnTo>
                    <a:pt x="1628" y="1458"/>
                  </a:lnTo>
                  <a:lnTo>
                    <a:pt x="1640" y="1456"/>
                  </a:lnTo>
                  <a:lnTo>
                    <a:pt x="1654" y="1449"/>
                  </a:lnTo>
                  <a:lnTo>
                    <a:pt x="1672" y="1442"/>
                  </a:lnTo>
                  <a:lnTo>
                    <a:pt x="1692" y="1430"/>
                  </a:lnTo>
                  <a:lnTo>
                    <a:pt x="1692" y="1430"/>
                  </a:lnTo>
                  <a:lnTo>
                    <a:pt x="1712" y="1419"/>
                  </a:lnTo>
                  <a:lnTo>
                    <a:pt x="1724" y="1414"/>
                  </a:lnTo>
                  <a:lnTo>
                    <a:pt x="1732" y="1412"/>
                  </a:lnTo>
                  <a:lnTo>
                    <a:pt x="1738" y="1414"/>
                  </a:lnTo>
                  <a:lnTo>
                    <a:pt x="1738" y="1417"/>
                  </a:lnTo>
                  <a:lnTo>
                    <a:pt x="1738" y="1423"/>
                  </a:lnTo>
                  <a:lnTo>
                    <a:pt x="1732" y="1428"/>
                  </a:lnTo>
                  <a:lnTo>
                    <a:pt x="1727" y="1433"/>
                  </a:lnTo>
                  <a:lnTo>
                    <a:pt x="1727" y="1433"/>
                  </a:lnTo>
                  <a:lnTo>
                    <a:pt x="1726" y="1435"/>
                  </a:lnTo>
                  <a:lnTo>
                    <a:pt x="1726" y="1437"/>
                  </a:lnTo>
                  <a:lnTo>
                    <a:pt x="1729" y="1442"/>
                  </a:lnTo>
                  <a:lnTo>
                    <a:pt x="1748" y="1458"/>
                  </a:lnTo>
                  <a:lnTo>
                    <a:pt x="1762" y="1470"/>
                  </a:lnTo>
                  <a:lnTo>
                    <a:pt x="1780" y="1489"/>
                  </a:lnTo>
                  <a:lnTo>
                    <a:pt x="1797" y="1511"/>
                  </a:lnTo>
                  <a:lnTo>
                    <a:pt x="1806" y="1525"/>
                  </a:lnTo>
                  <a:lnTo>
                    <a:pt x="1813" y="1543"/>
                  </a:lnTo>
                  <a:lnTo>
                    <a:pt x="1813" y="1543"/>
                  </a:lnTo>
                  <a:lnTo>
                    <a:pt x="1832" y="1578"/>
                  </a:lnTo>
                  <a:lnTo>
                    <a:pt x="1839" y="1590"/>
                  </a:lnTo>
                  <a:lnTo>
                    <a:pt x="1844" y="1597"/>
                  </a:lnTo>
                  <a:lnTo>
                    <a:pt x="1849" y="1600"/>
                  </a:lnTo>
                  <a:lnTo>
                    <a:pt x="1853" y="1600"/>
                  </a:lnTo>
                  <a:lnTo>
                    <a:pt x="1856" y="1600"/>
                  </a:lnTo>
                  <a:lnTo>
                    <a:pt x="1858" y="1597"/>
                  </a:lnTo>
                  <a:lnTo>
                    <a:pt x="1863" y="1590"/>
                  </a:lnTo>
                  <a:lnTo>
                    <a:pt x="1868" y="1583"/>
                  </a:lnTo>
                  <a:lnTo>
                    <a:pt x="1872" y="1581"/>
                  </a:lnTo>
                  <a:lnTo>
                    <a:pt x="1877" y="1581"/>
                  </a:lnTo>
                  <a:lnTo>
                    <a:pt x="1884" y="1583"/>
                  </a:lnTo>
                  <a:lnTo>
                    <a:pt x="1891" y="1588"/>
                  </a:lnTo>
                  <a:lnTo>
                    <a:pt x="1891" y="1588"/>
                  </a:lnTo>
                  <a:lnTo>
                    <a:pt x="1898" y="1593"/>
                  </a:lnTo>
                  <a:lnTo>
                    <a:pt x="1907" y="1599"/>
                  </a:lnTo>
                  <a:lnTo>
                    <a:pt x="1914" y="1600"/>
                  </a:lnTo>
                  <a:lnTo>
                    <a:pt x="1921" y="1602"/>
                  </a:lnTo>
                  <a:lnTo>
                    <a:pt x="1933" y="1600"/>
                  </a:lnTo>
                  <a:lnTo>
                    <a:pt x="1945" y="1599"/>
                  </a:lnTo>
                  <a:lnTo>
                    <a:pt x="1955" y="1597"/>
                  </a:lnTo>
                  <a:lnTo>
                    <a:pt x="1968" y="1597"/>
                  </a:lnTo>
                  <a:lnTo>
                    <a:pt x="1975" y="1599"/>
                  </a:lnTo>
                  <a:lnTo>
                    <a:pt x="1980" y="1602"/>
                  </a:lnTo>
                  <a:lnTo>
                    <a:pt x="1987" y="1607"/>
                  </a:lnTo>
                  <a:lnTo>
                    <a:pt x="1994" y="1614"/>
                  </a:lnTo>
                  <a:lnTo>
                    <a:pt x="1994" y="1614"/>
                  </a:lnTo>
                  <a:lnTo>
                    <a:pt x="2018" y="1644"/>
                  </a:lnTo>
                  <a:lnTo>
                    <a:pt x="2027" y="1654"/>
                  </a:lnTo>
                  <a:lnTo>
                    <a:pt x="2037" y="1663"/>
                  </a:lnTo>
                  <a:lnTo>
                    <a:pt x="2046" y="1668"/>
                  </a:lnTo>
                  <a:lnTo>
                    <a:pt x="2055" y="1672"/>
                  </a:lnTo>
                  <a:lnTo>
                    <a:pt x="2063" y="1668"/>
                  </a:lnTo>
                  <a:lnTo>
                    <a:pt x="2074" y="1663"/>
                  </a:lnTo>
                  <a:lnTo>
                    <a:pt x="2074" y="1663"/>
                  </a:lnTo>
                  <a:lnTo>
                    <a:pt x="2086" y="1653"/>
                  </a:lnTo>
                  <a:lnTo>
                    <a:pt x="2088" y="1654"/>
                  </a:lnTo>
                  <a:lnTo>
                    <a:pt x="2088" y="1658"/>
                  </a:lnTo>
                  <a:lnTo>
                    <a:pt x="2088" y="1665"/>
                  </a:lnTo>
                  <a:lnTo>
                    <a:pt x="2089" y="1673"/>
                  </a:lnTo>
                  <a:lnTo>
                    <a:pt x="2095" y="1684"/>
                  </a:lnTo>
                  <a:lnTo>
                    <a:pt x="2105" y="1694"/>
                  </a:lnTo>
                  <a:lnTo>
                    <a:pt x="2123" y="1689"/>
                  </a:lnTo>
                  <a:lnTo>
                    <a:pt x="2123" y="1689"/>
                  </a:lnTo>
                  <a:lnTo>
                    <a:pt x="2131" y="1680"/>
                  </a:lnTo>
                  <a:lnTo>
                    <a:pt x="2136" y="1675"/>
                  </a:lnTo>
                  <a:lnTo>
                    <a:pt x="2140" y="1672"/>
                  </a:lnTo>
                  <a:lnTo>
                    <a:pt x="2145" y="1672"/>
                  </a:lnTo>
                  <a:lnTo>
                    <a:pt x="2154" y="1673"/>
                  </a:lnTo>
                  <a:lnTo>
                    <a:pt x="2159" y="1672"/>
                  </a:lnTo>
                  <a:lnTo>
                    <a:pt x="2168" y="1670"/>
                  </a:lnTo>
                  <a:lnTo>
                    <a:pt x="2168" y="1670"/>
                  </a:lnTo>
                  <a:lnTo>
                    <a:pt x="2176" y="1666"/>
                  </a:lnTo>
                  <a:lnTo>
                    <a:pt x="2182" y="1663"/>
                  </a:lnTo>
                  <a:lnTo>
                    <a:pt x="2183" y="1658"/>
                  </a:lnTo>
                  <a:lnTo>
                    <a:pt x="2185" y="1654"/>
                  </a:lnTo>
                  <a:lnTo>
                    <a:pt x="2187" y="1651"/>
                  </a:lnTo>
                  <a:lnTo>
                    <a:pt x="2192" y="1646"/>
                  </a:lnTo>
                  <a:lnTo>
                    <a:pt x="2199" y="1640"/>
                  </a:lnTo>
                  <a:lnTo>
                    <a:pt x="2211" y="1633"/>
                  </a:lnTo>
                  <a:lnTo>
                    <a:pt x="2211" y="1633"/>
                  </a:lnTo>
                  <a:lnTo>
                    <a:pt x="2241" y="1621"/>
                  </a:lnTo>
                  <a:lnTo>
                    <a:pt x="2265" y="1611"/>
                  </a:lnTo>
                  <a:lnTo>
                    <a:pt x="2274" y="1607"/>
                  </a:lnTo>
                  <a:lnTo>
                    <a:pt x="2284" y="1607"/>
                  </a:lnTo>
                  <a:lnTo>
                    <a:pt x="2291" y="1607"/>
                  </a:lnTo>
                  <a:lnTo>
                    <a:pt x="2300" y="1611"/>
                  </a:lnTo>
                  <a:lnTo>
                    <a:pt x="2300" y="1611"/>
                  </a:lnTo>
                  <a:lnTo>
                    <a:pt x="2307" y="1614"/>
                  </a:lnTo>
                  <a:lnTo>
                    <a:pt x="2314" y="1616"/>
                  </a:lnTo>
                  <a:lnTo>
                    <a:pt x="2330" y="1614"/>
                  </a:lnTo>
                  <a:lnTo>
                    <a:pt x="2337" y="1614"/>
                  </a:lnTo>
                  <a:lnTo>
                    <a:pt x="2344" y="1616"/>
                  </a:lnTo>
                  <a:lnTo>
                    <a:pt x="2349" y="1621"/>
                  </a:lnTo>
                  <a:lnTo>
                    <a:pt x="2352" y="1630"/>
                  </a:lnTo>
                  <a:lnTo>
                    <a:pt x="2352" y="1630"/>
                  </a:lnTo>
                  <a:lnTo>
                    <a:pt x="2356" y="1633"/>
                  </a:lnTo>
                  <a:lnTo>
                    <a:pt x="2359" y="1637"/>
                  </a:lnTo>
                  <a:lnTo>
                    <a:pt x="2375" y="1642"/>
                  </a:lnTo>
                  <a:lnTo>
                    <a:pt x="2396" y="1647"/>
                  </a:lnTo>
                  <a:lnTo>
                    <a:pt x="2419" y="1651"/>
                  </a:lnTo>
                  <a:lnTo>
                    <a:pt x="2441" y="1651"/>
                  </a:lnTo>
                  <a:lnTo>
                    <a:pt x="2462" y="1649"/>
                  </a:lnTo>
                  <a:lnTo>
                    <a:pt x="2471" y="1647"/>
                  </a:lnTo>
                  <a:lnTo>
                    <a:pt x="2479" y="1646"/>
                  </a:lnTo>
                  <a:lnTo>
                    <a:pt x="2485" y="1642"/>
                  </a:lnTo>
                  <a:lnTo>
                    <a:pt x="2486" y="1637"/>
                  </a:lnTo>
                  <a:lnTo>
                    <a:pt x="2486" y="1637"/>
                  </a:lnTo>
                  <a:lnTo>
                    <a:pt x="2488" y="1628"/>
                  </a:lnTo>
                  <a:lnTo>
                    <a:pt x="2486" y="1619"/>
                  </a:lnTo>
                  <a:lnTo>
                    <a:pt x="2481" y="1614"/>
                  </a:lnTo>
                  <a:lnTo>
                    <a:pt x="2478" y="1607"/>
                  </a:lnTo>
                  <a:lnTo>
                    <a:pt x="2474" y="1600"/>
                  </a:lnTo>
                  <a:lnTo>
                    <a:pt x="2473" y="1593"/>
                  </a:lnTo>
                  <a:lnTo>
                    <a:pt x="2474" y="1583"/>
                  </a:lnTo>
                  <a:lnTo>
                    <a:pt x="2483" y="1571"/>
                  </a:lnTo>
                  <a:lnTo>
                    <a:pt x="2483" y="1571"/>
                  </a:lnTo>
                  <a:lnTo>
                    <a:pt x="2497" y="1550"/>
                  </a:lnTo>
                  <a:lnTo>
                    <a:pt x="2502" y="1543"/>
                  </a:lnTo>
                  <a:lnTo>
                    <a:pt x="2507" y="1539"/>
                  </a:lnTo>
                  <a:lnTo>
                    <a:pt x="2514" y="1539"/>
                  </a:lnTo>
                  <a:lnTo>
                    <a:pt x="2523" y="1541"/>
                  </a:lnTo>
                  <a:lnTo>
                    <a:pt x="2553" y="1555"/>
                  </a:lnTo>
                  <a:lnTo>
                    <a:pt x="2553" y="1555"/>
                  </a:lnTo>
                  <a:lnTo>
                    <a:pt x="2572" y="1562"/>
                  </a:lnTo>
                  <a:lnTo>
                    <a:pt x="2587" y="1565"/>
                  </a:lnTo>
                  <a:lnTo>
                    <a:pt x="2612" y="1567"/>
                  </a:lnTo>
                  <a:lnTo>
                    <a:pt x="2619" y="1569"/>
                  </a:lnTo>
                  <a:lnTo>
                    <a:pt x="2624" y="1572"/>
                  </a:lnTo>
                  <a:lnTo>
                    <a:pt x="2627" y="1578"/>
                  </a:lnTo>
                  <a:lnTo>
                    <a:pt x="2627" y="1588"/>
                  </a:lnTo>
                  <a:lnTo>
                    <a:pt x="2627" y="1588"/>
                  </a:lnTo>
                  <a:lnTo>
                    <a:pt x="2629" y="1600"/>
                  </a:lnTo>
                  <a:lnTo>
                    <a:pt x="2634" y="1611"/>
                  </a:lnTo>
                  <a:lnTo>
                    <a:pt x="2640" y="1621"/>
                  </a:lnTo>
                  <a:lnTo>
                    <a:pt x="2648" y="1628"/>
                  </a:lnTo>
                  <a:lnTo>
                    <a:pt x="2661" y="1635"/>
                  </a:lnTo>
                  <a:lnTo>
                    <a:pt x="2673" y="1637"/>
                  </a:lnTo>
                  <a:lnTo>
                    <a:pt x="2685" y="1639"/>
                  </a:lnTo>
                  <a:lnTo>
                    <a:pt x="2701" y="1635"/>
                  </a:lnTo>
                  <a:lnTo>
                    <a:pt x="2701" y="1635"/>
                  </a:lnTo>
                  <a:lnTo>
                    <a:pt x="2725" y="1628"/>
                  </a:lnTo>
                  <a:lnTo>
                    <a:pt x="2734" y="1626"/>
                  </a:lnTo>
                  <a:lnTo>
                    <a:pt x="2744" y="1625"/>
                  </a:lnTo>
                  <a:lnTo>
                    <a:pt x="2755" y="1626"/>
                  </a:lnTo>
                  <a:lnTo>
                    <a:pt x="2765" y="1628"/>
                  </a:lnTo>
                  <a:lnTo>
                    <a:pt x="2793" y="1639"/>
                  </a:lnTo>
                  <a:lnTo>
                    <a:pt x="2793" y="1639"/>
                  </a:lnTo>
                  <a:lnTo>
                    <a:pt x="2807" y="1646"/>
                  </a:lnTo>
                  <a:lnTo>
                    <a:pt x="2817" y="1651"/>
                  </a:lnTo>
                  <a:lnTo>
                    <a:pt x="2822" y="1656"/>
                  </a:lnTo>
                  <a:lnTo>
                    <a:pt x="2828" y="1663"/>
                  </a:lnTo>
                  <a:lnTo>
                    <a:pt x="2833" y="1668"/>
                  </a:lnTo>
                  <a:lnTo>
                    <a:pt x="2840" y="1673"/>
                  </a:lnTo>
                  <a:lnTo>
                    <a:pt x="2852" y="1677"/>
                  </a:lnTo>
                  <a:lnTo>
                    <a:pt x="2869" y="1682"/>
                  </a:lnTo>
                  <a:lnTo>
                    <a:pt x="2869" y="1682"/>
                  </a:lnTo>
                  <a:lnTo>
                    <a:pt x="2897" y="1687"/>
                  </a:lnTo>
                  <a:lnTo>
                    <a:pt x="2917" y="1687"/>
                  </a:lnTo>
                  <a:lnTo>
                    <a:pt x="2929" y="1686"/>
                  </a:lnTo>
                  <a:lnTo>
                    <a:pt x="2937" y="1682"/>
                  </a:lnTo>
                  <a:lnTo>
                    <a:pt x="2944" y="1679"/>
                  </a:lnTo>
                  <a:lnTo>
                    <a:pt x="2953" y="1675"/>
                  </a:lnTo>
                  <a:lnTo>
                    <a:pt x="2964" y="1672"/>
                  </a:lnTo>
                  <a:lnTo>
                    <a:pt x="2981" y="1672"/>
                  </a:lnTo>
                  <a:lnTo>
                    <a:pt x="2981" y="1672"/>
                  </a:lnTo>
                  <a:lnTo>
                    <a:pt x="2991" y="1672"/>
                  </a:lnTo>
                  <a:lnTo>
                    <a:pt x="2998" y="1670"/>
                  </a:lnTo>
                  <a:lnTo>
                    <a:pt x="3005" y="1666"/>
                  </a:lnTo>
                  <a:lnTo>
                    <a:pt x="3011" y="1663"/>
                  </a:lnTo>
                  <a:lnTo>
                    <a:pt x="3019" y="1654"/>
                  </a:lnTo>
                  <a:lnTo>
                    <a:pt x="3026" y="1646"/>
                  </a:lnTo>
                  <a:lnTo>
                    <a:pt x="3033" y="1637"/>
                  </a:lnTo>
                  <a:lnTo>
                    <a:pt x="3037" y="1633"/>
                  </a:lnTo>
                  <a:lnTo>
                    <a:pt x="3040" y="1630"/>
                  </a:lnTo>
                  <a:lnTo>
                    <a:pt x="3045" y="1630"/>
                  </a:lnTo>
                  <a:lnTo>
                    <a:pt x="3051" y="1630"/>
                  </a:lnTo>
                  <a:lnTo>
                    <a:pt x="3058" y="1632"/>
                  </a:lnTo>
                  <a:lnTo>
                    <a:pt x="3065" y="1635"/>
                  </a:lnTo>
                  <a:lnTo>
                    <a:pt x="3065" y="1635"/>
                  </a:lnTo>
                  <a:lnTo>
                    <a:pt x="3080" y="1642"/>
                  </a:lnTo>
                  <a:lnTo>
                    <a:pt x="3091" y="1646"/>
                  </a:lnTo>
                  <a:lnTo>
                    <a:pt x="3101" y="1647"/>
                  </a:lnTo>
                  <a:lnTo>
                    <a:pt x="3108" y="1647"/>
                  </a:lnTo>
                  <a:lnTo>
                    <a:pt x="3115" y="1646"/>
                  </a:lnTo>
                  <a:lnTo>
                    <a:pt x="3120" y="1647"/>
                  </a:lnTo>
                  <a:lnTo>
                    <a:pt x="3127" y="1649"/>
                  </a:lnTo>
                  <a:lnTo>
                    <a:pt x="3136" y="1654"/>
                  </a:lnTo>
                  <a:lnTo>
                    <a:pt x="3136" y="1654"/>
                  </a:lnTo>
                  <a:lnTo>
                    <a:pt x="3148" y="1661"/>
                  </a:lnTo>
                  <a:lnTo>
                    <a:pt x="3159" y="1666"/>
                  </a:lnTo>
                  <a:lnTo>
                    <a:pt x="3167" y="1668"/>
                  </a:lnTo>
                  <a:lnTo>
                    <a:pt x="3176" y="1668"/>
                  </a:lnTo>
                  <a:lnTo>
                    <a:pt x="3185" y="1666"/>
                  </a:lnTo>
                  <a:lnTo>
                    <a:pt x="3193" y="1663"/>
                  </a:lnTo>
                  <a:lnTo>
                    <a:pt x="3200" y="1656"/>
                  </a:lnTo>
                  <a:lnTo>
                    <a:pt x="3209" y="1647"/>
                  </a:lnTo>
                  <a:lnTo>
                    <a:pt x="3209" y="1647"/>
                  </a:lnTo>
                  <a:lnTo>
                    <a:pt x="3218" y="1639"/>
                  </a:lnTo>
                  <a:lnTo>
                    <a:pt x="3225" y="1630"/>
                  </a:lnTo>
                  <a:lnTo>
                    <a:pt x="3233" y="1611"/>
                  </a:lnTo>
                  <a:lnTo>
                    <a:pt x="3244" y="1588"/>
                  </a:lnTo>
                  <a:lnTo>
                    <a:pt x="3251" y="1576"/>
                  </a:lnTo>
                  <a:lnTo>
                    <a:pt x="3260" y="1564"/>
                  </a:lnTo>
                  <a:lnTo>
                    <a:pt x="3260" y="1564"/>
                  </a:lnTo>
                  <a:lnTo>
                    <a:pt x="3270" y="1550"/>
                  </a:lnTo>
                  <a:lnTo>
                    <a:pt x="3275" y="1539"/>
                  </a:lnTo>
                  <a:lnTo>
                    <a:pt x="3277" y="1531"/>
                  </a:lnTo>
                  <a:lnTo>
                    <a:pt x="3277" y="1524"/>
                  </a:lnTo>
                  <a:lnTo>
                    <a:pt x="3273" y="1518"/>
                  </a:lnTo>
                  <a:lnTo>
                    <a:pt x="3268" y="1515"/>
                  </a:lnTo>
                  <a:lnTo>
                    <a:pt x="3263" y="1513"/>
                  </a:lnTo>
                  <a:lnTo>
                    <a:pt x="3256" y="1513"/>
                  </a:lnTo>
                  <a:lnTo>
                    <a:pt x="3256" y="1513"/>
                  </a:lnTo>
                  <a:lnTo>
                    <a:pt x="3253" y="1513"/>
                  </a:lnTo>
                  <a:lnTo>
                    <a:pt x="3251" y="1511"/>
                  </a:lnTo>
                  <a:lnTo>
                    <a:pt x="3251" y="1510"/>
                  </a:lnTo>
                  <a:lnTo>
                    <a:pt x="3251" y="1506"/>
                  </a:lnTo>
                  <a:lnTo>
                    <a:pt x="3253" y="1501"/>
                  </a:lnTo>
                  <a:lnTo>
                    <a:pt x="3260" y="1492"/>
                  </a:lnTo>
                  <a:lnTo>
                    <a:pt x="3272" y="1484"/>
                  </a:lnTo>
                  <a:lnTo>
                    <a:pt x="3286" y="1477"/>
                  </a:lnTo>
                  <a:lnTo>
                    <a:pt x="3305" y="1470"/>
                  </a:lnTo>
                  <a:lnTo>
                    <a:pt x="3327" y="1464"/>
                  </a:lnTo>
                  <a:lnTo>
                    <a:pt x="3327" y="1464"/>
                  </a:lnTo>
                  <a:lnTo>
                    <a:pt x="3350" y="1463"/>
                  </a:lnTo>
                  <a:lnTo>
                    <a:pt x="3367" y="1463"/>
                  </a:lnTo>
                  <a:lnTo>
                    <a:pt x="3383" y="1464"/>
                  </a:lnTo>
                  <a:lnTo>
                    <a:pt x="3395" y="1468"/>
                  </a:lnTo>
                  <a:lnTo>
                    <a:pt x="3416" y="1477"/>
                  </a:lnTo>
                  <a:lnTo>
                    <a:pt x="3423" y="1478"/>
                  </a:lnTo>
                  <a:lnTo>
                    <a:pt x="3432" y="1480"/>
                  </a:lnTo>
                  <a:lnTo>
                    <a:pt x="3432" y="1480"/>
                  </a:lnTo>
                  <a:lnTo>
                    <a:pt x="3435" y="1480"/>
                  </a:lnTo>
                  <a:lnTo>
                    <a:pt x="3441" y="1482"/>
                  </a:lnTo>
                  <a:lnTo>
                    <a:pt x="3449" y="1489"/>
                  </a:lnTo>
                  <a:lnTo>
                    <a:pt x="3460" y="1501"/>
                  </a:lnTo>
                  <a:lnTo>
                    <a:pt x="3470" y="1515"/>
                  </a:lnTo>
                  <a:lnTo>
                    <a:pt x="3481" y="1534"/>
                  </a:lnTo>
                  <a:lnTo>
                    <a:pt x="3489" y="1555"/>
                  </a:lnTo>
                  <a:lnTo>
                    <a:pt x="3496" y="1578"/>
                  </a:lnTo>
                  <a:lnTo>
                    <a:pt x="3503" y="1602"/>
                  </a:lnTo>
                  <a:lnTo>
                    <a:pt x="3503" y="1602"/>
                  </a:lnTo>
                  <a:lnTo>
                    <a:pt x="3507" y="1625"/>
                  </a:lnTo>
                  <a:lnTo>
                    <a:pt x="3512" y="1642"/>
                  </a:lnTo>
                  <a:lnTo>
                    <a:pt x="3517" y="1654"/>
                  </a:lnTo>
                  <a:lnTo>
                    <a:pt x="3524" y="1663"/>
                  </a:lnTo>
                  <a:lnTo>
                    <a:pt x="3533" y="1668"/>
                  </a:lnTo>
                  <a:lnTo>
                    <a:pt x="3542" y="1670"/>
                  </a:lnTo>
                  <a:lnTo>
                    <a:pt x="3568" y="1675"/>
                  </a:lnTo>
                  <a:lnTo>
                    <a:pt x="3568" y="1675"/>
                  </a:lnTo>
                  <a:lnTo>
                    <a:pt x="3580" y="1677"/>
                  </a:lnTo>
                  <a:lnTo>
                    <a:pt x="3589" y="1680"/>
                  </a:lnTo>
                  <a:lnTo>
                    <a:pt x="3596" y="1686"/>
                  </a:lnTo>
                  <a:lnTo>
                    <a:pt x="3599" y="1691"/>
                  </a:lnTo>
                  <a:lnTo>
                    <a:pt x="3606" y="1700"/>
                  </a:lnTo>
                  <a:lnTo>
                    <a:pt x="3610" y="1703"/>
                  </a:lnTo>
                  <a:lnTo>
                    <a:pt x="3616" y="1705"/>
                  </a:lnTo>
                  <a:lnTo>
                    <a:pt x="3616" y="1705"/>
                  </a:lnTo>
                  <a:lnTo>
                    <a:pt x="3622" y="1705"/>
                  </a:lnTo>
                  <a:lnTo>
                    <a:pt x="3623" y="1706"/>
                  </a:lnTo>
                  <a:lnTo>
                    <a:pt x="3623" y="1710"/>
                  </a:lnTo>
                  <a:lnTo>
                    <a:pt x="3623" y="1713"/>
                  </a:lnTo>
                  <a:lnTo>
                    <a:pt x="3622" y="1720"/>
                  </a:lnTo>
                  <a:lnTo>
                    <a:pt x="3623" y="1724"/>
                  </a:lnTo>
                  <a:lnTo>
                    <a:pt x="3627" y="1727"/>
                  </a:lnTo>
                  <a:lnTo>
                    <a:pt x="3627" y="1727"/>
                  </a:lnTo>
                  <a:lnTo>
                    <a:pt x="3630" y="1731"/>
                  </a:lnTo>
                  <a:lnTo>
                    <a:pt x="3630" y="1734"/>
                  </a:lnTo>
                  <a:lnTo>
                    <a:pt x="3627" y="1740"/>
                  </a:lnTo>
                  <a:lnTo>
                    <a:pt x="3625" y="1743"/>
                  </a:lnTo>
                  <a:lnTo>
                    <a:pt x="3625" y="1747"/>
                  </a:lnTo>
                  <a:lnTo>
                    <a:pt x="3627" y="1750"/>
                  </a:lnTo>
                  <a:lnTo>
                    <a:pt x="3634" y="1755"/>
                  </a:lnTo>
                  <a:lnTo>
                    <a:pt x="3634" y="1755"/>
                  </a:lnTo>
                  <a:lnTo>
                    <a:pt x="3641" y="1760"/>
                  </a:lnTo>
                  <a:lnTo>
                    <a:pt x="3650" y="1764"/>
                  </a:lnTo>
                  <a:lnTo>
                    <a:pt x="3658" y="1767"/>
                  </a:lnTo>
                  <a:lnTo>
                    <a:pt x="3667" y="1767"/>
                  </a:lnTo>
                  <a:lnTo>
                    <a:pt x="3676" y="1766"/>
                  </a:lnTo>
                  <a:lnTo>
                    <a:pt x="3683" y="1762"/>
                  </a:lnTo>
                  <a:lnTo>
                    <a:pt x="3691" y="1759"/>
                  </a:lnTo>
                  <a:lnTo>
                    <a:pt x="3700" y="1752"/>
                  </a:lnTo>
                  <a:lnTo>
                    <a:pt x="3700" y="1752"/>
                  </a:lnTo>
                  <a:lnTo>
                    <a:pt x="3707" y="1747"/>
                  </a:lnTo>
                  <a:lnTo>
                    <a:pt x="3712" y="1743"/>
                  </a:lnTo>
                  <a:lnTo>
                    <a:pt x="3716" y="1743"/>
                  </a:lnTo>
                  <a:lnTo>
                    <a:pt x="3721" y="1743"/>
                  </a:lnTo>
                  <a:lnTo>
                    <a:pt x="3724" y="1743"/>
                  </a:lnTo>
                  <a:lnTo>
                    <a:pt x="3728" y="1743"/>
                  </a:lnTo>
                  <a:lnTo>
                    <a:pt x="3733" y="1740"/>
                  </a:lnTo>
                  <a:lnTo>
                    <a:pt x="3740" y="1734"/>
                  </a:lnTo>
                  <a:lnTo>
                    <a:pt x="3740" y="1734"/>
                  </a:lnTo>
                  <a:lnTo>
                    <a:pt x="3749" y="1729"/>
                  </a:lnTo>
                  <a:lnTo>
                    <a:pt x="3756" y="1727"/>
                  </a:lnTo>
                  <a:lnTo>
                    <a:pt x="3763" y="1731"/>
                  </a:lnTo>
                  <a:lnTo>
                    <a:pt x="3766" y="1736"/>
                  </a:lnTo>
                  <a:lnTo>
                    <a:pt x="3770" y="1745"/>
                  </a:lnTo>
                  <a:lnTo>
                    <a:pt x="3770" y="1754"/>
                  </a:lnTo>
                  <a:lnTo>
                    <a:pt x="3766" y="1764"/>
                  </a:lnTo>
                  <a:lnTo>
                    <a:pt x="3761" y="1776"/>
                  </a:lnTo>
                  <a:lnTo>
                    <a:pt x="3761" y="1776"/>
                  </a:lnTo>
                  <a:lnTo>
                    <a:pt x="3752" y="1790"/>
                  </a:lnTo>
                  <a:lnTo>
                    <a:pt x="3745" y="1809"/>
                  </a:lnTo>
                  <a:lnTo>
                    <a:pt x="3731" y="1851"/>
                  </a:lnTo>
                  <a:lnTo>
                    <a:pt x="3724" y="1872"/>
                  </a:lnTo>
                  <a:lnTo>
                    <a:pt x="3716" y="1886"/>
                  </a:lnTo>
                  <a:lnTo>
                    <a:pt x="3712" y="1893"/>
                  </a:lnTo>
                  <a:lnTo>
                    <a:pt x="3709" y="1896"/>
                  </a:lnTo>
                  <a:lnTo>
                    <a:pt x="3704" y="1898"/>
                  </a:lnTo>
                  <a:lnTo>
                    <a:pt x="3700" y="1896"/>
                  </a:lnTo>
                  <a:lnTo>
                    <a:pt x="3700" y="1896"/>
                  </a:lnTo>
                  <a:lnTo>
                    <a:pt x="3684" y="1889"/>
                  </a:lnTo>
                  <a:lnTo>
                    <a:pt x="3672" y="1884"/>
                  </a:lnTo>
                  <a:lnTo>
                    <a:pt x="3669" y="1884"/>
                  </a:lnTo>
                  <a:lnTo>
                    <a:pt x="3665" y="1884"/>
                  </a:lnTo>
                  <a:lnTo>
                    <a:pt x="3662" y="1888"/>
                  </a:lnTo>
                  <a:lnTo>
                    <a:pt x="3660" y="1893"/>
                  </a:lnTo>
                  <a:lnTo>
                    <a:pt x="3660" y="1893"/>
                  </a:lnTo>
                  <a:lnTo>
                    <a:pt x="3657" y="1898"/>
                  </a:lnTo>
                  <a:lnTo>
                    <a:pt x="3651" y="1900"/>
                  </a:lnTo>
                  <a:lnTo>
                    <a:pt x="3643" y="1902"/>
                  </a:lnTo>
                  <a:lnTo>
                    <a:pt x="3637" y="1903"/>
                  </a:lnTo>
                  <a:lnTo>
                    <a:pt x="3636" y="1905"/>
                  </a:lnTo>
                  <a:lnTo>
                    <a:pt x="3636" y="1910"/>
                  </a:lnTo>
                  <a:lnTo>
                    <a:pt x="3637" y="1917"/>
                  </a:lnTo>
                  <a:lnTo>
                    <a:pt x="3637" y="1917"/>
                  </a:lnTo>
                  <a:lnTo>
                    <a:pt x="3643" y="1936"/>
                  </a:lnTo>
                  <a:lnTo>
                    <a:pt x="3646" y="1957"/>
                  </a:lnTo>
                  <a:lnTo>
                    <a:pt x="3648" y="1966"/>
                  </a:lnTo>
                  <a:lnTo>
                    <a:pt x="3648" y="1976"/>
                  </a:lnTo>
                  <a:lnTo>
                    <a:pt x="3646" y="1985"/>
                  </a:lnTo>
                  <a:lnTo>
                    <a:pt x="3643" y="1994"/>
                  </a:lnTo>
                  <a:lnTo>
                    <a:pt x="3643" y="1994"/>
                  </a:lnTo>
                  <a:lnTo>
                    <a:pt x="3639" y="1999"/>
                  </a:lnTo>
                  <a:lnTo>
                    <a:pt x="3636" y="2002"/>
                  </a:lnTo>
                  <a:lnTo>
                    <a:pt x="3632" y="2004"/>
                  </a:lnTo>
                  <a:lnTo>
                    <a:pt x="3629" y="2004"/>
                  </a:lnTo>
                  <a:lnTo>
                    <a:pt x="3625" y="2004"/>
                  </a:lnTo>
                  <a:lnTo>
                    <a:pt x="3623" y="2006"/>
                  </a:lnTo>
                  <a:lnTo>
                    <a:pt x="3622" y="2009"/>
                  </a:lnTo>
                  <a:lnTo>
                    <a:pt x="3618" y="2018"/>
                  </a:lnTo>
                  <a:lnTo>
                    <a:pt x="3627" y="2032"/>
                  </a:lnTo>
                  <a:lnTo>
                    <a:pt x="3627" y="2032"/>
                  </a:lnTo>
                  <a:lnTo>
                    <a:pt x="3630" y="2029"/>
                  </a:lnTo>
                  <a:lnTo>
                    <a:pt x="3632" y="2023"/>
                  </a:lnTo>
                  <a:lnTo>
                    <a:pt x="3630" y="2018"/>
                  </a:lnTo>
                  <a:lnTo>
                    <a:pt x="3630" y="2015"/>
                  </a:lnTo>
                  <a:lnTo>
                    <a:pt x="3636" y="2016"/>
                  </a:lnTo>
                  <a:lnTo>
                    <a:pt x="3636" y="2016"/>
                  </a:lnTo>
                  <a:lnTo>
                    <a:pt x="3644" y="2018"/>
                  </a:lnTo>
                  <a:lnTo>
                    <a:pt x="3646" y="2015"/>
                  </a:lnTo>
                  <a:lnTo>
                    <a:pt x="3650" y="2011"/>
                  </a:lnTo>
                  <a:lnTo>
                    <a:pt x="3655" y="2002"/>
                  </a:lnTo>
                  <a:lnTo>
                    <a:pt x="3655" y="2002"/>
                  </a:lnTo>
                  <a:lnTo>
                    <a:pt x="3658" y="1996"/>
                  </a:lnTo>
                  <a:lnTo>
                    <a:pt x="3660" y="1989"/>
                  </a:lnTo>
                  <a:lnTo>
                    <a:pt x="3660" y="1985"/>
                  </a:lnTo>
                  <a:lnTo>
                    <a:pt x="3662" y="1983"/>
                  </a:lnTo>
                  <a:lnTo>
                    <a:pt x="3665" y="1983"/>
                  </a:lnTo>
                  <a:lnTo>
                    <a:pt x="3665" y="1983"/>
                  </a:lnTo>
                  <a:lnTo>
                    <a:pt x="3669" y="1983"/>
                  </a:lnTo>
                  <a:lnTo>
                    <a:pt x="3669" y="1985"/>
                  </a:lnTo>
                  <a:lnTo>
                    <a:pt x="3669" y="1990"/>
                  </a:lnTo>
                  <a:lnTo>
                    <a:pt x="3667" y="1992"/>
                  </a:lnTo>
                  <a:lnTo>
                    <a:pt x="3669" y="1994"/>
                  </a:lnTo>
                  <a:lnTo>
                    <a:pt x="3670" y="1994"/>
                  </a:lnTo>
                  <a:lnTo>
                    <a:pt x="3674" y="1992"/>
                  </a:lnTo>
                  <a:lnTo>
                    <a:pt x="3674" y="1992"/>
                  </a:lnTo>
                  <a:lnTo>
                    <a:pt x="3679" y="1989"/>
                  </a:lnTo>
                  <a:lnTo>
                    <a:pt x="3681" y="1989"/>
                  </a:lnTo>
                  <a:lnTo>
                    <a:pt x="3683" y="1990"/>
                  </a:lnTo>
                  <a:lnTo>
                    <a:pt x="3683" y="1992"/>
                  </a:lnTo>
                  <a:lnTo>
                    <a:pt x="3683" y="1999"/>
                  </a:lnTo>
                  <a:lnTo>
                    <a:pt x="3684" y="2002"/>
                  </a:lnTo>
                  <a:lnTo>
                    <a:pt x="3686" y="2004"/>
                  </a:lnTo>
                  <a:lnTo>
                    <a:pt x="3686" y="2004"/>
                  </a:lnTo>
                  <a:lnTo>
                    <a:pt x="3698" y="2008"/>
                  </a:lnTo>
                  <a:lnTo>
                    <a:pt x="3707" y="2013"/>
                  </a:lnTo>
                  <a:lnTo>
                    <a:pt x="3707" y="2013"/>
                  </a:lnTo>
                  <a:lnTo>
                    <a:pt x="3712" y="2013"/>
                  </a:lnTo>
                  <a:lnTo>
                    <a:pt x="3716" y="2011"/>
                  </a:lnTo>
                  <a:lnTo>
                    <a:pt x="3723" y="2008"/>
                  </a:lnTo>
                  <a:lnTo>
                    <a:pt x="3731" y="2006"/>
                  </a:lnTo>
                  <a:lnTo>
                    <a:pt x="3731" y="2006"/>
                  </a:lnTo>
                  <a:lnTo>
                    <a:pt x="3740" y="2002"/>
                  </a:lnTo>
                  <a:lnTo>
                    <a:pt x="3745" y="1999"/>
                  </a:lnTo>
                  <a:lnTo>
                    <a:pt x="3752" y="1992"/>
                  </a:lnTo>
                  <a:lnTo>
                    <a:pt x="3766" y="1985"/>
                  </a:lnTo>
                  <a:lnTo>
                    <a:pt x="3766" y="1985"/>
                  </a:lnTo>
                  <a:lnTo>
                    <a:pt x="3775" y="1978"/>
                  </a:lnTo>
                  <a:lnTo>
                    <a:pt x="3782" y="1969"/>
                  </a:lnTo>
                  <a:lnTo>
                    <a:pt x="3799" y="1947"/>
                  </a:lnTo>
                  <a:lnTo>
                    <a:pt x="3822" y="1915"/>
                  </a:lnTo>
                  <a:lnTo>
                    <a:pt x="3836" y="1898"/>
                  </a:lnTo>
                  <a:lnTo>
                    <a:pt x="3855" y="1881"/>
                  </a:lnTo>
                  <a:lnTo>
                    <a:pt x="3855" y="1881"/>
                  </a:lnTo>
                  <a:lnTo>
                    <a:pt x="3871" y="1861"/>
                  </a:lnTo>
                  <a:lnTo>
                    <a:pt x="3881" y="1846"/>
                  </a:lnTo>
                  <a:lnTo>
                    <a:pt x="3890" y="1832"/>
                  </a:lnTo>
                  <a:lnTo>
                    <a:pt x="3895" y="1820"/>
                  </a:lnTo>
                  <a:lnTo>
                    <a:pt x="3902" y="1801"/>
                  </a:lnTo>
                  <a:lnTo>
                    <a:pt x="3906" y="1794"/>
                  </a:lnTo>
                  <a:lnTo>
                    <a:pt x="3912" y="1787"/>
                  </a:lnTo>
                  <a:lnTo>
                    <a:pt x="3912" y="1787"/>
                  </a:lnTo>
                  <a:lnTo>
                    <a:pt x="3919" y="1780"/>
                  </a:lnTo>
                  <a:lnTo>
                    <a:pt x="3923" y="1774"/>
                  </a:lnTo>
                  <a:lnTo>
                    <a:pt x="3926" y="1766"/>
                  </a:lnTo>
                  <a:lnTo>
                    <a:pt x="3928" y="1762"/>
                  </a:lnTo>
                  <a:lnTo>
                    <a:pt x="3932" y="1755"/>
                  </a:lnTo>
                  <a:lnTo>
                    <a:pt x="3937" y="1748"/>
                  </a:lnTo>
                  <a:lnTo>
                    <a:pt x="3946" y="1740"/>
                  </a:lnTo>
                  <a:lnTo>
                    <a:pt x="3946" y="1740"/>
                  </a:lnTo>
                  <a:lnTo>
                    <a:pt x="3951" y="1734"/>
                  </a:lnTo>
                  <a:lnTo>
                    <a:pt x="3956" y="1727"/>
                  </a:lnTo>
                  <a:lnTo>
                    <a:pt x="3963" y="1713"/>
                  </a:lnTo>
                  <a:lnTo>
                    <a:pt x="3968" y="1696"/>
                  </a:lnTo>
                  <a:lnTo>
                    <a:pt x="3972" y="1679"/>
                  </a:lnTo>
                  <a:lnTo>
                    <a:pt x="3972" y="1661"/>
                  </a:lnTo>
                  <a:lnTo>
                    <a:pt x="3972" y="1646"/>
                  </a:lnTo>
                  <a:lnTo>
                    <a:pt x="3970" y="1632"/>
                  </a:lnTo>
                  <a:lnTo>
                    <a:pt x="3968" y="1623"/>
                  </a:lnTo>
                  <a:lnTo>
                    <a:pt x="3968" y="1623"/>
                  </a:lnTo>
                  <a:lnTo>
                    <a:pt x="3968" y="1616"/>
                  </a:lnTo>
                  <a:lnTo>
                    <a:pt x="3968" y="1611"/>
                  </a:lnTo>
                  <a:lnTo>
                    <a:pt x="3968" y="1606"/>
                  </a:lnTo>
                  <a:lnTo>
                    <a:pt x="3970" y="1602"/>
                  </a:lnTo>
                  <a:lnTo>
                    <a:pt x="3977" y="1592"/>
                  </a:lnTo>
                  <a:lnTo>
                    <a:pt x="3979" y="1586"/>
                  </a:lnTo>
                  <a:lnTo>
                    <a:pt x="3982" y="1578"/>
                  </a:lnTo>
                  <a:lnTo>
                    <a:pt x="3982" y="1578"/>
                  </a:lnTo>
                  <a:lnTo>
                    <a:pt x="3986" y="1569"/>
                  </a:lnTo>
                  <a:lnTo>
                    <a:pt x="3989" y="1562"/>
                  </a:lnTo>
                  <a:lnTo>
                    <a:pt x="4000" y="1550"/>
                  </a:lnTo>
                  <a:lnTo>
                    <a:pt x="4003" y="1545"/>
                  </a:lnTo>
                  <a:lnTo>
                    <a:pt x="4005" y="1539"/>
                  </a:lnTo>
                  <a:lnTo>
                    <a:pt x="4005" y="1534"/>
                  </a:lnTo>
                  <a:lnTo>
                    <a:pt x="4000" y="1529"/>
                  </a:lnTo>
                  <a:lnTo>
                    <a:pt x="4000" y="1529"/>
                  </a:lnTo>
                  <a:lnTo>
                    <a:pt x="3996" y="1524"/>
                  </a:lnTo>
                  <a:lnTo>
                    <a:pt x="3994" y="1518"/>
                  </a:lnTo>
                  <a:lnTo>
                    <a:pt x="3993" y="1515"/>
                  </a:lnTo>
                  <a:lnTo>
                    <a:pt x="3994" y="1511"/>
                  </a:lnTo>
                  <a:lnTo>
                    <a:pt x="3994" y="1505"/>
                  </a:lnTo>
                  <a:lnTo>
                    <a:pt x="3994" y="1501"/>
                  </a:lnTo>
                  <a:lnTo>
                    <a:pt x="3991" y="1496"/>
                  </a:lnTo>
                  <a:lnTo>
                    <a:pt x="3991" y="1496"/>
                  </a:lnTo>
                  <a:lnTo>
                    <a:pt x="3989" y="1492"/>
                  </a:lnTo>
                  <a:lnTo>
                    <a:pt x="3991" y="1489"/>
                  </a:lnTo>
                  <a:lnTo>
                    <a:pt x="4000" y="1484"/>
                  </a:lnTo>
                  <a:lnTo>
                    <a:pt x="4001" y="1482"/>
                  </a:lnTo>
                  <a:lnTo>
                    <a:pt x="4003" y="1478"/>
                  </a:lnTo>
                  <a:lnTo>
                    <a:pt x="4001" y="1473"/>
                  </a:lnTo>
                  <a:lnTo>
                    <a:pt x="3994" y="1468"/>
                  </a:lnTo>
                  <a:lnTo>
                    <a:pt x="3994" y="1468"/>
                  </a:lnTo>
                  <a:lnTo>
                    <a:pt x="3979" y="1456"/>
                  </a:lnTo>
                  <a:lnTo>
                    <a:pt x="3968" y="1445"/>
                  </a:lnTo>
                  <a:lnTo>
                    <a:pt x="3954" y="1428"/>
                  </a:lnTo>
                  <a:lnTo>
                    <a:pt x="3954" y="1428"/>
                  </a:lnTo>
                  <a:lnTo>
                    <a:pt x="3949" y="1426"/>
                  </a:lnTo>
                  <a:lnTo>
                    <a:pt x="3946" y="1424"/>
                  </a:lnTo>
                  <a:lnTo>
                    <a:pt x="3937" y="1424"/>
                  </a:lnTo>
                  <a:lnTo>
                    <a:pt x="3926" y="1426"/>
                  </a:lnTo>
                  <a:lnTo>
                    <a:pt x="3921" y="1426"/>
                  </a:lnTo>
                  <a:lnTo>
                    <a:pt x="3916" y="1423"/>
                  </a:lnTo>
                  <a:lnTo>
                    <a:pt x="3916" y="1423"/>
                  </a:lnTo>
                  <a:lnTo>
                    <a:pt x="3911" y="1423"/>
                  </a:lnTo>
                  <a:lnTo>
                    <a:pt x="3909" y="1424"/>
                  </a:lnTo>
                  <a:lnTo>
                    <a:pt x="3906" y="1435"/>
                  </a:lnTo>
                  <a:lnTo>
                    <a:pt x="3902" y="1442"/>
                  </a:lnTo>
                  <a:lnTo>
                    <a:pt x="3899" y="1447"/>
                  </a:lnTo>
                  <a:lnTo>
                    <a:pt x="3892" y="1454"/>
                  </a:lnTo>
                  <a:lnTo>
                    <a:pt x="3883" y="1458"/>
                  </a:lnTo>
                  <a:lnTo>
                    <a:pt x="3883" y="1458"/>
                  </a:lnTo>
                  <a:lnTo>
                    <a:pt x="3874" y="1459"/>
                  </a:lnTo>
                  <a:lnTo>
                    <a:pt x="3871" y="1459"/>
                  </a:lnTo>
                  <a:lnTo>
                    <a:pt x="3867" y="1459"/>
                  </a:lnTo>
                  <a:lnTo>
                    <a:pt x="3865" y="1456"/>
                  </a:lnTo>
                  <a:lnTo>
                    <a:pt x="3865" y="1452"/>
                  </a:lnTo>
                  <a:lnTo>
                    <a:pt x="3865" y="1449"/>
                  </a:lnTo>
                  <a:lnTo>
                    <a:pt x="3869" y="1440"/>
                  </a:lnTo>
                  <a:lnTo>
                    <a:pt x="3872" y="1431"/>
                  </a:lnTo>
                  <a:lnTo>
                    <a:pt x="3874" y="1424"/>
                  </a:lnTo>
                  <a:lnTo>
                    <a:pt x="3874" y="1423"/>
                  </a:lnTo>
                  <a:lnTo>
                    <a:pt x="3872" y="1421"/>
                  </a:lnTo>
                  <a:lnTo>
                    <a:pt x="3869" y="1421"/>
                  </a:lnTo>
                  <a:lnTo>
                    <a:pt x="3864" y="1423"/>
                  </a:lnTo>
                  <a:lnTo>
                    <a:pt x="3864" y="1423"/>
                  </a:lnTo>
                  <a:lnTo>
                    <a:pt x="3855" y="1426"/>
                  </a:lnTo>
                  <a:lnTo>
                    <a:pt x="3852" y="1430"/>
                  </a:lnTo>
                  <a:lnTo>
                    <a:pt x="3852" y="1433"/>
                  </a:lnTo>
                  <a:lnTo>
                    <a:pt x="3853" y="1437"/>
                  </a:lnTo>
                  <a:lnTo>
                    <a:pt x="3855" y="1440"/>
                  </a:lnTo>
                  <a:lnTo>
                    <a:pt x="3855" y="1442"/>
                  </a:lnTo>
                  <a:lnTo>
                    <a:pt x="3852" y="1444"/>
                  </a:lnTo>
                  <a:lnTo>
                    <a:pt x="3845" y="1445"/>
                  </a:lnTo>
                  <a:lnTo>
                    <a:pt x="3845" y="1445"/>
                  </a:lnTo>
                  <a:lnTo>
                    <a:pt x="3841" y="1445"/>
                  </a:lnTo>
                  <a:lnTo>
                    <a:pt x="3838" y="1445"/>
                  </a:lnTo>
                  <a:lnTo>
                    <a:pt x="3836" y="1442"/>
                  </a:lnTo>
                  <a:lnTo>
                    <a:pt x="3836" y="1440"/>
                  </a:lnTo>
                  <a:lnTo>
                    <a:pt x="3838" y="1433"/>
                  </a:lnTo>
                  <a:lnTo>
                    <a:pt x="3841" y="1426"/>
                  </a:lnTo>
                  <a:lnTo>
                    <a:pt x="3843" y="1417"/>
                  </a:lnTo>
                  <a:lnTo>
                    <a:pt x="3843" y="1414"/>
                  </a:lnTo>
                  <a:lnTo>
                    <a:pt x="3841" y="1411"/>
                  </a:lnTo>
                  <a:lnTo>
                    <a:pt x="3839" y="1407"/>
                  </a:lnTo>
                  <a:lnTo>
                    <a:pt x="3836" y="1405"/>
                  </a:lnTo>
                  <a:lnTo>
                    <a:pt x="3831" y="1404"/>
                  </a:lnTo>
                  <a:lnTo>
                    <a:pt x="3824" y="1404"/>
                  </a:lnTo>
                  <a:lnTo>
                    <a:pt x="3824" y="1404"/>
                  </a:lnTo>
                  <a:lnTo>
                    <a:pt x="3808" y="1404"/>
                  </a:lnTo>
                  <a:lnTo>
                    <a:pt x="3796" y="1404"/>
                  </a:lnTo>
                  <a:lnTo>
                    <a:pt x="3787" y="1402"/>
                  </a:lnTo>
                  <a:lnTo>
                    <a:pt x="3784" y="1398"/>
                  </a:lnTo>
                  <a:lnTo>
                    <a:pt x="3782" y="1395"/>
                  </a:lnTo>
                  <a:lnTo>
                    <a:pt x="3784" y="1393"/>
                  </a:lnTo>
                  <a:lnTo>
                    <a:pt x="3789" y="1384"/>
                  </a:lnTo>
                  <a:lnTo>
                    <a:pt x="3799" y="1374"/>
                  </a:lnTo>
                  <a:lnTo>
                    <a:pt x="3817" y="1362"/>
                  </a:lnTo>
                  <a:lnTo>
                    <a:pt x="3817" y="1362"/>
                  </a:lnTo>
                  <a:lnTo>
                    <a:pt x="3852" y="1339"/>
                  </a:lnTo>
                  <a:lnTo>
                    <a:pt x="3872" y="1323"/>
                  </a:lnTo>
                  <a:lnTo>
                    <a:pt x="3879" y="1316"/>
                  </a:lnTo>
                  <a:lnTo>
                    <a:pt x="3885" y="1310"/>
                  </a:lnTo>
                  <a:lnTo>
                    <a:pt x="3888" y="1301"/>
                  </a:lnTo>
                  <a:lnTo>
                    <a:pt x="3893" y="1290"/>
                  </a:lnTo>
                  <a:lnTo>
                    <a:pt x="3893" y="1290"/>
                  </a:lnTo>
                  <a:lnTo>
                    <a:pt x="3900" y="1280"/>
                  </a:lnTo>
                  <a:lnTo>
                    <a:pt x="3909" y="1271"/>
                  </a:lnTo>
                  <a:lnTo>
                    <a:pt x="3921" y="1263"/>
                  </a:lnTo>
                  <a:lnTo>
                    <a:pt x="3933" y="1256"/>
                  </a:lnTo>
                  <a:lnTo>
                    <a:pt x="3946" y="1249"/>
                  </a:lnTo>
                  <a:lnTo>
                    <a:pt x="3956" y="1240"/>
                  </a:lnTo>
                  <a:lnTo>
                    <a:pt x="3966" y="1229"/>
                  </a:lnTo>
                  <a:lnTo>
                    <a:pt x="3970" y="1222"/>
                  </a:lnTo>
                  <a:lnTo>
                    <a:pt x="3973" y="1216"/>
                  </a:lnTo>
                  <a:lnTo>
                    <a:pt x="3973" y="1216"/>
                  </a:lnTo>
                  <a:lnTo>
                    <a:pt x="3980" y="1202"/>
                  </a:lnTo>
                  <a:lnTo>
                    <a:pt x="3993" y="1188"/>
                  </a:lnTo>
                  <a:lnTo>
                    <a:pt x="4008" y="1174"/>
                  </a:lnTo>
                  <a:lnTo>
                    <a:pt x="4026" y="1162"/>
                  </a:lnTo>
                  <a:lnTo>
                    <a:pt x="4043" y="1151"/>
                  </a:lnTo>
                  <a:lnTo>
                    <a:pt x="4060" y="1146"/>
                  </a:lnTo>
                  <a:lnTo>
                    <a:pt x="4078" y="1142"/>
                  </a:lnTo>
                  <a:lnTo>
                    <a:pt x="4085" y="1142"/>
                  </a:lnTo>
                  <a:lnTo>
                    <a:pt x="4092" y="1144"/>
                  </a:lnTo>
                  <a:lnTo>
                    <a:pt x="4092" y="1144"/>
                  </a:lnTo>
                  <a:lnTo>
                    <a:pt x="4106" y="1146"/>
                  </a:lnTo>
                  <a:lnTo>
                    <a:pt x="4114" y="1148"/>
                  </a:lnTo>
                  <a:lnTo>
                    <a:pt x="4132" y="1146"/>
                  </a:lnTo>
                  <a:lnTo>
                    <a:pt x="4144" y="1146"/>
                  </a:lnTo>
                  <a:lnTo>
                    <a:pt x="4151" y="1148"/>
                  </a:lnTo>
                  <a:lnTo>
                    <a:pt x="4158" y="1151"/>
                  </a:lnTo>
                  <a:lnTo>
                    <a:pt x="4158" y="1151"/>
                  </a:lnTo>
                  <a:lnTo>
                    <a:pt x="4165" y="1153"/>
                  </a:lnTo>
                  <a:lnTo>
                    <a:pt x="4167" y="1153"/>
                  </a:lnTo>
                  <a:lnTo>
                    <a:pt x="4168" y="1151"/>
                  </a:lnTo>
                  <a:lnTo>
                    <a:pt x="4172" y="1148"/>
                  </a:lnTo>
                  <a:lnTo>
                    <a:pt x="4175" y="1144"/>
                  </a:lnTo>
                  <a:lnTo>
                    <a:pt x="4181" y="1141"/>
                  </a:lnTo>
                  <a:lnTo>
                    <a:pt x="4191" y="1141"/>
                  </a:lnTo>
                  <a:lnTo>
                    <a:pt x="4207" y="1142"/>
                  </a:lnTo>
                  <a:lnTo>
                    <a:pt x="4207" y="1142"/>
                  </a:lnTo>
                  <a:lnTo>
                    <a:pt x="4236" y="1149"/>
                  </a:lnTo>
                  <a:lnTo>
                    <a:pt x="4247" y="1151"/>
                  </a:lnTo>
                  <a:lnTo>
                    <a:pt x="4254" y="1151"/>
                  </a:lnTo>
                  <a:lnTo>
                    <a:pt x="4261" y="1151"/>
                  </a:lnTo>
                  <a:lnTo>
                    <a:pt x="4264" y="1148"/>
                  </a:lnTo>
                  <a:lnTo>
                    <a:pt x="4268" y="1141"/>
                  </a:lnTo>
                  <a:lnTo>
                    <a:pt x="4271" y="1132"/>
                  </a:lnTo>
                  <a:lnTo>
                    <a:pt x="4271" y="1132"/>
                  </a:lnTo>
                  <a:lnTo>
                    <a:pt x="4273" y="1130"/>
                  </a:lnTo>
                  <a:lnTo>
                    <a:pt x="4278" y="1128"/>
                  </a:lnTo>
                  <a:lnTo>
                    <a:pt x="4292" y="1127"/>
                  </a:lnTo>
                  <a:lnTo>
                    <a:pt x="4309" y="1127"/>
                  </a:lnTo>
                  <a:lnTo>
                    <a:pt x="4329" y="1128"/>
                  </a:lnTo>
                  <a:lnTo>
                    <a:pt x="4346" y="1132"/>
                  </a:lnTo>
                  <a:lnTo>
                    <a:pt x="4353" y="1135"/>
                  </a:lnTo>
                  <a:lnTo>
                    <a:pt x="4358" y="1137"/>
                  </a:lnTo>
                  <a:lnTo>
                    <a:pt x="4360" y="1142"/>
                  </a:lnTo>
                  <a:lnTo>
                    <a:pt x="4362" y="1146"/>
                  </a:lnTo>
                  <a:lnTo>
                    <a:pt x="4358" y="1151"/>
                  </a:lnTo>
                  <a:lnTo>
                    <a:pt x="4351" y="1156"/>
                  </a:lnTo>
                  <a:lnTo>
                    <a:pt x="4351" y="1156"/>
                  </a:lnTo>
                  <a:lnTo>
                    <a:pt x="4346" y="1162"/>
                  </a:lnTo>
                  <a:lnTo>
                    <a:pt x="4344" y="1163"/>
                  </a:lnTo>
                  <a:lnTo>
                    <a:pt x="4344" y="1167"/>
                  </a:lnTo>
                  <a:lnTo>
                    <a:pt x="4346" y="1169"/>
                  </a:lnTo>
                  <a:lnTo>
                    <a:pt x="4356" y="1169"/>
                  </a:lnTo>
                  <a:lnTo>
                    <a:pt x="4369" y="1169"/>
                  </a:lnTo>
                  <a:lnTo>
                    <a:pt x="4384" y="1167"/>
                  </a:lnTo>
                  <a:lnTo>
                    <a:pt x="4398" y="1163"/>
                  </a:lnTo>
                  <a:lnTo>
                    <a:pt x="4410" y="1160"/>
                  </a:lnTo>
                  <a:lnTo>
                    <a:pt x="4416" y="1156"/>
                  </a:lnTo>
                  <a:lnTo>
                    <a:pt x="4416" y="1156"/>
                  </a:lnTo>
                  <a:lnTo>
                    <a:pt x="4419" y="1151"/>
                  </a:lnTo>
                  <a:lnTo>
                    <a:pt x="4424" y="1151"/>
                  </a:lnTo>
                  <a:lnTo>
                    <a:pt x="4430" y="1153"/>
                  </a:lnTo>
                  <a:lnTo>
                    <a:pt x="4437" y="1158"/>
                  </a:lnTo>
                  <a:lnTo>
                    <a:pt x="4445" y="1162"/>
                  </a:lnTo>
                  <a:lnTo>
                    <a:pt x="4454" y="1163"/>
                  </a:lnTo>
                  <a:lnTo>
                    <a:pt x="4463" y="1162"/>
                  </a:lnTo>
                  <a:lnTo>
                    <a:pt x="4470" y="1160"/>
                  </a:lnTo>
                  <a:lnTo>
                    <a:pt x="4475" y="1156"/>
                  </a:lnTo>
                  <a:lnTo>
                    <a:pt x="4475" y="1156"/>
                  </a:lnTo>
                  <a:lnTo>
                    <a:pt x="4478" y="1151"/>
                  </a:lnTo>
                  <a:lnTo>
                    <a:pt x="4480" y="1148"/>
                  </a:lnTo>
                  <a:lnTo>
                    <a:pt x="4480" y="1144"/>
                  </a:lnTo>
                  <a:lnTo>
                    <a:pt x="4478" y="1142"/>
                  </a:lnTo>
                  <a:lnTo>
                    <a:pt x="4471" y="1135"/>
                  </a:lnTo>
                  <a:lnTo>
                    <a:pt x="4463" y="1128"/>
                  </a:lnTo>
                  <a:lnTo>
                    <a:pt x="4459" y="1125"/>
                  </a:lnTo>
                  <a:lnTo>
                    <a:pt x="4456" y="1121"/>
                  </a:lnTo>
                  <a:lnTo>
                    <a:pt x="4454" y="1116"/>
                  </a:lnTo>
                  <a:lnTo>
                    <a:pt x="4454" y="1113"/>
                  </a:lnTo>
                  <a:lnTo>
                    <a:pt x="4456" y="1106"/>
                  </a:lnTo>
                  <a:lnTo>
                    <a:pt x="4461" y="1099"/>
                  </a:lnTo>
                  <a:lnTo>
                    <a:pt x="4470" y="1092"/>
                  </a:lnTo>
                  <a:lnTo>
                    <a:pt x="4482" y="1083"/>
                  </a:lnTo>
                  <a:lnTo>
                    <a:pt x="4482" y="1083"/>
                  </a:lnTo>
                  <a:lnTo>
                    <a:pt x="4504" y="1066"/>
                  </a:lnTo>
                  <a:lnTo>
                    <a:pt x="4520" y="1052"/>
                  </a:lnTo>
                  <a:lnTo>
                    <a:pt x="4539" y="1029"/>
                  </a:lnTo>
                  <a:lnTo>
                    <a:pt x="4548" y="1021"/>
                  </a:lnTo>
                  <a:lnTo>
                    <a:pt x="4562" y="1015"/>
                  </a:lnTo>
                  <a:lnTo>
                    <a:pt x="4581" y="1010"/>
                  </a:lnTo>
                  <a:lnTo>
                    <a:pt x="4609" y="1005"/>
                  </a:lnTo>
                  <a:lnTo>
                    <a:pt x="4609" y="1005"/>
                  </a:lnTo>
                  <a:lnTo>
                    <a:pt x="4623" y="1005"/>
                  </a:lnTo>
                  <a:lnTo>
                    <a:pt x="4632" y="1005"/>
                  </a:lnTo>
                  <a:lnTo>
                    <a:pt x="4640" y="1008"/>
                  </a:lnTo>
                  <a:lnTo>
                    <a:pt x="4646" y="1014"/>
                  </a:lnTo>
                  <a:lnTo>
                    <a:pt x="4649" y="1021"/>
                  </a:lnTo>
                  <a:lnTo>
                    <a:pt x="4651" y="1027"/>
                  </a:lnTo>
                  <a:lnTo>
                    <a:pt x="4652" y="1043"/>
                  </a:lnTo>
                  <a:lnTo>
                    <a:pt x="4652" y="1057"/>
                  </a:lnTo>
                  <a:lnTo>
                    <a:pt x="4652" y="1062"/>
                  </a:lnTo>
                  <a:lnTo>
                    <a:pt x="4654" y="1068"/>
                  </a:lnTo>
                  <a:lnTo>
                    <a:pt x="4658" y="1071"/>
                  </a:lnTo>
                  <a:lnTo>
                    <a:pt x="4661" y="1071"/>
                  </a:lnTo>
                  <a:lnTo>
                    <a:pt x="4668" y="1071"/>
                  </a:lnTo>
                  <a:lnTo>
                    <a:pt x="4677" y="1068"/>
                  </a:lnTo>
                  <a:lnTo>
                    <a:pt x="4677" y="1068"/>
                  </a:lnTo>
                  <a:lnTo>
                    <a:pt x="4696" y="1057"/>
                  </a:lnTo>
                  <a:lnTo>
                    <a:pt x="4708" y="1047"/>
                  </a:lnTo>
                  <a:lnTo>
                    <a:pt x="4715" y="1038"/>
                  </a:lnTo>
                  <a:lnTo>
                    <a:pt x="4722" y="1029"/>
                  </a:lnTo>
                  <a:lnTo>
                    <a:pt x="4727" y="1024"/>
                  </a:lnTo>
                  <a:lnTo>
                    <a:pt x="4733" y="1021"/>
                  </a:lnTo>
                  <a:lnTo>
                    <a:pt x="4740" y="1019"/>
                  </a:lnTo>
                  <a:lnTo>
                    <a:pt x="4750" y="1021"/>
                  </a:lnTo>
                  <a:lnTo>
                    <a:pt x="4750" y="1021"/>
                  </a:lnTo>
                  <a:lnTo>
                    <a:pt x="4755" y="1021"/>
                  </a:lnTo>
                  <a:lnTo>
                    <a:pt x="4759" y="1021"/>
                  </a:lnTo>
                  <a:lnTo>
                    <a:pt x="4760" y="1019"/>
                  </a:lnTo>
                  <a:lnTo>
                    <a:pt x="4762" y="1014"/>
                  </a:lnTo>
                  <a:lnTo>
                    <a:pt x="4762" y="1003"/>
                  </a:lnTo>
                  <a:lnTo>
                    <a:pt x="4760" y="991"/>
                  </a:lnTo>
                  <a:lnTo>
                    <a:pt x="4759" y="977"/>
                  </a:lnTo>
                  <a:lnTo>
                    <a:pt x="4760" y="972"/>
                  </a:lnTo>
                  <a:lnTo>
                    <a:pt x="4762" y="967"/>
                  </a:lnTo>
                  <a:lnTo>
                    <a:pt x="4766" y="961"/>
                  </a:lnTo>
                  <a:lnTo>
                    <a:pt x="4773" y="958"/>
                  </a:lnTo>
                  <a:lnTo>
                    <a:pt x="4780" y="956"/>
                  </a:lnTo>
                  <a:lnTo>
                    <a:pt x="4790" y="954"/>
                  </a:lnTo>
                  <a:lnTo>
                    <a:pt x="4790" y="954"/>
                  </a:lnTo>
                  <a:lnTo>
                    <a:pt x="4816" y="956"/>
                  </a:lnTo>
                  <a:lnTo>
                    <a:pt x="4820" y="956"/>
                  </a:lnTo>
                  <a:lnTo>
                    <a:pt x="4820" y="958"/>
                  </a:lnTo>
                  <a:lnTo>
                    <a:pt x="4816" y="961"/>
                  </a:lnTo>
                  <a:lnTo>
                    <a:pt x="4811" y="968"/>
                  </a:lnTo>
                  <a:lnTo>
                    <a:pt x="4804" y="979"/>
                  </a:lnTo>
                  <a:lnTo>
                    <a:pt x="4795" y="993"/>
                  </a:lnTo>
                  <a:lnTo>
                    <a:pt x="4794" y="1003"/>
                  </a:lnTo>
                  <a:lnTo>
                    <a:pt x="4790" y="1014"/>
                  </a:lnTo>
                  <a:lnTo>
                    <a:pt x="4790" y="1014"/>
                  </a:lnTo>
                  <a:lnTo>
                    <a:pt x="4788" y="1024"/>
                  </a:lnTo>
                  <a:lnTo>
                    <a:pt x="4785" y="1034"/>
                  </a:lnTo>
                  <a:lnTo>
                    <a:pt x="4781" y="1041"/>
                  </a:lnTo>
                  <a:lnTo>
                    <a:pt x="4778" y="1048"/>
                  </a:lnTo>
                  <a:lnTo>
                    <a:pt x="4767" y="1057"/>
                  </a:lnTo>
                  <a:lnTo>
                    <a:pt x="4755" y="1066"/>
                  </a:lnTo>
                  <a:lnTo>
                    <a:pt x="4740" y="1074"/>
                  </a:lnTo>
                  <a:lnTo>
                    <a:pt x="4724" y="1085"/>
                  </a:lnTo>
                  <a:lnTo>
                    <a:pt x="4706" y="1099"/>
                  </a:lnTo>
                  <a:lnTo>
                    <a:pt x="4696" y="1109"/>
                  </a:lnTo>
                  <a:lnTo>
                    <a:pt x="4687" y="1121"/>
                  </a:lnTo>
                  <a:lnTo>
                    <a:pt x="4687" y="1121"/>
                  </a:lnTo>
                  <a:lnTo>
                    <a:pt x="4651" y="1165"/>
                  </a:lnTo>
                  <a:lnTo>
                    <a:pt x="4635" y="1181"/>
                  </a:lnTo>
                  <a:lnTo>
                    <a:pt x="4621" y="1195"/>
                  </a:lnTo>
                  <a:lnTo>
                    <a:pt x="4607" y="1207"/>
                  </a:lnTo>
                  <a:lnTo>
                    <a:pt x="4595" y="1216"/>
                  </a:lnTo>
                  <a:lnTo>
                    <a:pt x="4581" y="1221"/>
                  </a:lnTo>
                  <a:lnTo>
                    <a:pt x="4567" y="1226"/>
                  </a:lnTo>
                  <a:lnTo>
                    <a:pt x="4567" y="1226"/>
                  </a:lnTo>
                  <a:lnTo>
                    <a:pt x="4555" y="1229"/>
                  </a:lnTo>
                  <a:lnTo>
                    <a:pt x="4550" y="1233"/>
                  </a:lnTo>
                  <a:lnTo>
                    <a:pt x="4546" y="1238"/>
                  </a:lnTo>
                  <a:lnTo>
                    <a:pt x="4546" y="1243"/>
                  </a:lnTo>
                  <a:lnTo>
                    <a:pt x="4545" y="1249"/>
                  </a:lnTo>
                  <a:lnTo>
                    <a:pt x="4543" y="1257"/>
                  </a:lnTo>
                  <a:lnTo>
                    <a:pt x="4538" y="1264"/>
                  </a:lnTo>
                  <a:lnTo>
                    <a:pt x="4525" y="1275"/>
                  </a:lnTo>
                  <a:lnTo>
                    <a:pt x="4525" y="1275"/>
                  </a:lnTo>
                  <a:lnTo>
                    <a:pt x="4520" y="1282"/>
                  </a:lnTo>
                  <a:lnTo>
                    <a:pt x="4515" y="1289"/>
                  </a:lnTo>
                  <a:lnTo>
                    <a:pt x="4510" y="1299"/>
                  </a:lnTo>
                  <a:lnTo>
                    <a:pt x="4506" y="1311"/>
                  </a:lnTo>
                  <a:lnTo>
                    <a:pt x="4504" y="1323"/>
                  </a:lnTo>
                  <a:lnTo>
                    <a:pt x="4503" y="1337"/>
                  </a:lnTo>
                  <a:lnTo>
                    <a:pt x="4503" y="1370"/>
                  </a:lnTo>
                  <a:lnTo>
                    <a:pt x="4504" y="1405"/>
                  </a:lnTo>
                  <a:lnTo>
                    <a:pt x="4510" y="1442"/>
                  </a:lnTo>
                  <a:lnTo>
                    <a:pt x="4517" y="1480"/>
                  </a:lnTo>
                  <a:lnTo>
                    <a:pt x="4524" y="1518"/>
                  </a:lnTo>
                  <a:lnTo>
                    <a:pt x="4524" y="1518"/>
                  </a:lnTo>
                  <a:lnTo>
                    <a:pt x="4525" y="1534"/>
                  </a:lnTo>
                  <a:lnTo>
                    <a:pt x="4529" y="1552"/>
                  </a:lnTo>
                  <a:lnTo>
                    <a:pt x="4531" y="1569"/>
                  </a:lnTo>
                  <a:lnTo>
                    <a:pt x="4534" y="1583"/>
                  </a:lnTo>
                  <a:lnTo>
                    <a:pt x="4538" y="1588"/>
                  </a:lnTo>
                  <a:lnTo>
                    <a:pt x="4541" y="1592"/>
                  </a:lnTo>
                  <a:lnTo>
                    <a:pt x="4545" y="1593"/>
                  </a:lnTo>
                  <a:lnTo>
                    <a:pt x="4550" y="1592"/>
                  </a:lnTo>
                  <a:lnTo>
                    <a:pt x="4557" y="1588"/>
                  </a:lnTo>
                  <a:lnTo>
                    <a:pt x="4564" y="1581"/>
                  </a:lnTo>
                  <a:lnTo>
                    <a:pt x="4574" y="1571"/>
                  </a:lnTo>
                  <a:lnTo>
                    <a:pt x="4585" y="1557"/>
                  </a:lnTo>
                  <a:lnTo>
                    <a:pt x="4585" y="1557"/>
                  </a:lnTo>
                  <a:lnTo>
                    <a:pt x="4592" y="1546"/>
                  </a:lnTo>
                  <a:lnTo>
                    <a:pt x="4597" y="1536"/>
                  </a:lnTo>
                  <a:lnTo>
                    <a:pt x="4602" y="1520"/>
                  </a:lnTo>
                  <a:lnTo>
                    <a:pt x="4604" y="1508"/>
                  </a:lnTo>
                  <a:lnTo>
                    <a:pt x="4605" y="1498"/>
                  </a:lnTo>
                  <a:lnTo>
                    <a:pt x="4607" y="1489"/>
                  </a:lnTo>
                  <a:lnTo>
                    <a:pt x="4607" y="1487"/>
                  </a:lnTo>
                  <a:lnTo>
                    <a:pt x="4611" y="1485"/>
                  </a:lnTo>
                  <a:lnTo>
                    <a:pt x="4619" y="1482"/>
                  </a:lnTo>
                  <a:lnTo>
                    <a:pt x="4633" y="1480"/>
                  </a:lnTo>
                  <a:lnTo>
                    <a:pt x="4633" y="1480"/>
                  </a:lnTo>
                  <a:lnTo>
                    <a:pt x="4642" y="1480"/>
                  </a:lnTo>
                  <a:lnTo>
                    <a:pt x="4647" y="1478"/>
                  </a:lnTo>
                  <a:lnTo>
                    <a:pt x="4651" y="1475"/>
                  </a:lnTo>
                  <a:lnTo>
                    <a:pt x="4654" y="1470"/>
                  </a:lnTo>
                  <a:lnTo>
                    <a:pt x="4656" y="1459"/>
                  </a:lnTo>
                  <a:lnTo>
                    <a:pt x="4656" y="1447"/>
                  </a:lnTo>
                  <a:lnTo>
                    <a:pt x="4658" y="1433"/>
                  </a:lnTo>
                  <a:lnTo>
                    <a:pt x="4658" y="1428"/>
                  </a:lnTo>
                  <a:lnTo>
                    <a:pt x="4661" y="1423"/>
                  </a:lnTo>
                  <a:lnTo>
                    <a:pt x="4665" y="1417"/>
                  </a:lnTo>
                  <a:lnTo>
                    <a:pt x="4670" y="1414"/>
                  </a:lnTo>
                  <a:lnTo>
                    <a:pt x="4677" y="1411"/>
                  </a:lnTo>
                  <a:lnTo>
                    <a:pt x="4687" y="1409"/>
                  </a:lnTo>
                  <a:lnTo>
                    <a:pt x="4687" y="1409"/>
                  </a:lnTo>
                  <a:lnTo>
                    <a:pt x="4710" y="1405"/>
                  </a:lnTo>
                  <a:lnTo>
                    <a:pt x="4717" y="1404"/>
                  </a:lnTo>
                  <a:lnTo>
                    <a:pt x="4722" y="1400"/>
                  </a:lnTo>
                  <a:lnTo>
                    <a:pt x="4724" y="1397"/>
                  </a:lnTo>
                  <a:lnTo>
                    <a:pt x="4726" y="1393"/>
                  </a:lnTo>
                  <a:lnTo>
                    <a:pt x="4726" y="1388"/>
                  </a:lnTo>
                  <a:lnTo>
                    <a:pt x="4724" y="1384"/>
                  </a:lnTo>
                  <a:lnTo>
                    <a:pt x="4720" y="1372"/>
                  </a:lnTo>
                  <a:lnTo>
                    <a:pt x="4717" y="1360"/>
                  </a:lnTo>
                  <a:lnTo>
                    <a:pt x="4717" y="1355"/>
                  </a:lnTo>
                  <a:lnTo>
                    <a:pt x="4717" y="1348"/>
                  </a:lnTo>
                  <a:lnTo>
                    <a:pt x="4717" y="1341"/>
                  </a:lnTo>
                  <a:lnTo>
                    <a:pt x="4720" y="1334"/>
                  </a:lnTo>
                  <a:lnTo>
                    <a:pt x="4720" y="1334"/>
                  </a:lnTo>
                  <a:lnTo>
                    <a:pt x="4724" y="1329"/>
                  </a:lnTo>
                  <a:lnTo>
                    <a:pt x="4727" y="1323"/>
                  </a:lnTo>
                  <a:lnTo>
                    <a:pt x="4731" y="1322"/>
                  </a:lnTo>
                  <a:lnTo>
                    <a:pt x="4736" y="1320"/>
                  </a:lnTo>
                  <a:lnTo>
                    <a:pt x="4743" y="1322"/>
                  </a:lnTo>
                  <a:lnTo>
                    <a:pt x="4750" y="1323"/>
                  </a:lnTo>
                  <a:lnTo>
                    <a:pt x="4757" y="1327"/>
                  </a:lnTo>
                  <a:lnTo>
                    <a:pt x="4762" y="1329"/>
                  </a:lnTo>
                  <a:lnTo>
                    <a:pt x="4764" y="1329"/>
                  </a:lnTo>
                  <a:lnTo>
                    <a:pt x="4766" y="1325"/>
                  </a:lnTo>
                  <a:lnTo>
                    <a:pt x="4769" y="1316"/>
                  </a:lnTo>
                  <a:lnTo>
                    <a:pt x="4769" y="1316"/>
                  </a:lnTo>
                  <a:lnTo>
                    <a:pt x="4771" y="1310"/>
                  </a:lnTo>
                  <a:lnTo>
                    <a:pt x="4769" y="1304"/>
                  </a:lnTo>
                  <a:lnTo>
                    <a:pt x="4767" y="1299"/>
                  </a:lnTo>
                  <a:lnTo>
                    <a:pt x="4766" y="1294"/>
                  </a:lnTo>
                  <a:lnTo>
                    <a:pt x="4760" y="1289"/>
                  </a:lnTo>
                  <a:lnTo>
                    <a:pt x="4753" y="1283"/>
                  </a:lnTo>
                  <a:lnTo>
                    <a:pt x="4748" y="1278"/>
                  </a:lnTo>
                  <a:lnTo>
                    <a:pt x="4747" y="1276"/>
                  </a:lnTo>
                  <a:lnTo>
                    <a:pt x="4745" y="1273"/>
                  </a:lnTo>
                  <a:lnTo>
                    <a:pt x="4745" y="1269"/>
                  </a:lnTo>
                  <a:lnTo>
                    <a:pt x="4747" y="1266"/>
                  </a:lnTo>
                  <a:lnTo>
                    <a:pt x="4755" y="1254"/>
                  </a:lnTo>
                  <a:lnTo>
                    <a:pt x="4755" y="1254"/>
                  </a:lnTo>
                  <a:lnTo>
                    <a:pt x="4760" y="1247"/>
                  </a:lnTo>
                  <a:lnTo>
                    <a:pt x="4764" y="1240"/>
                  </a:lnTo>
                  <a:lnTo>
                    <a:pt x="4766" y="1233"/>
                  </a:lnTo>
                  <a:lnTo>
                    <a:pt x="4764" y="1229"/>
                  </a:lnTo>
                  <a:lnTo>
                    <a:pt x="4759" y="1226"/>
                  </a:lnTo>
                  <a:lnTo>
                    <a:pt x="4753" y="1222"/>
                  </a:lnTo>
                  <a:lnTo>
                    <a:pt x="4741" y="1219"/>
                  </a:lnTo>
                  <a:lnTo>
                    <a:pt x="4731" y="1214"/>
                  </a:lnTo>
                  <a:lnTo>
                    <a:pt x="4726" y="1212"/>
                  </a:lnTo>
                  <a:lnTo>
                    <a:pt x="4722" y="1209"/>
                  </a:lnTo>
                  <a:lnTo>
                    <a:pt x="4722" y="1205"/>
                  </a:lnTo>
                  <a:lnTo>
                    <a:pt x="4724" y="1200"/>
                  </a:lnTo>
                  <a:lnTo>
                    <a:pt x="4729" y="1195"/>
                  </a:lnTo>
                  <a:lnTo>
                    <a:pt x="4736" y="1188"/>
                  </a:lnTo>
                  <a:lnTo>
                    <a:pt x="4736" y="1188"/>
                  </a:lnTo>
                  <a:lnTo>
                    <a:pt x="4753" y="1172"/>
                  </a:lnTo>
                  <a:lnTo>
                    <a:pt x="4764" y="1158"/>
                  </a:lnTo>
                  <a:lnTo>
                    <a:pt x="4771" y="1146"/>
                  </a:lnTo>
                  <a:lnTo>
                    <a:pt x="4773" y="1135"/>
                  </a:lnTo>
                  <a:lnTo>
                    <a:pt x="4774" y="1127"/>
                  </a:lnTo>
                  <a:lnTo>
                    <a:pt x="4778" y="1120"/>
                  </a:lnTo>
                  <a:lnTo>
                    <a:pt x="4783" y="1113"/>
                  </a:lnTo>
                  <a:lnTo>
                    <a:pt x="4794" y="1108"/>
                  </a:lnTo>
                  <a:lnTo>
                    <a:pt x="4794" y="1108"/>
                  </a:lnTo>
                  <a:lnTo>
                    <a:pt x="4804" y="1106"/>
                  </a:lnTo>
                  <a:lnTo>
                    <a:pt x="4811" y="1106"/>
                  </a:lnTo>
                  <a:lnTo>
                    <a:pt x="4814" y="1108"/>
                  </a:lnTo>
                  <a:lnTo>
                    <a:pt x="4816" y="1109"/>
                  </a:lnTo>
                  <a:lnTo>
                    <a:pt x="4818" y="1111"/>
                  </a:lnTo>
                  <a:lnTo>
                    <a:pt x="4823" y="1109"/>
                  </a:lnTo>
                  <a:lnTo>
                    <a:pt x="4832" y="1104"/>
                  </a:lnTo>
                  <a:lnTo>
                    <a:pt x="4846" y="1094"/>
                  </a:lnTo>
                  <a:lnTo>
                    <a:pt x="4846" y="1094"/>
                  </a:lnTo>
                  <a:lnTo>
                    <a:pt x="4856" y="1087"/>
                  </a:lnTo>
                  <a:lnTo>
                    <a:pt x="4863" y="1083"/>
                  </a:lnTo>
                  <a:lnTo>
                    <a:pt x="4868" y="1081"/>
                  </a:lnTo>
                  <a:lnTo>
                    <a:pt x="4870" y="1083"/>
                  </a:lnTo>
                  <a:lnTo>
                    <a:pt x="4872" y="1087"/>
                  </a:lnTo>
                  <a:lnTo>
                    <a:pt x="4872" y="1090"/>
                  </a:lnTo>
                  <a:lnTo>
                    <a:pt x="4868" y="1101"/>
                  </a:lnTo>
                  <a:lnTo>
                    <a:pt x="4865" y="1111"/>
                  </a:lnTo>
                  <a:lnTo>
                    <a:pt x="4865" y="1115"/>
                  </a:lnTo>
                  <a:lnTo>
                    <a:pt x="4865" y="1118"/>
                  </a:lnTo>
                  <a:lnTo>
                    <a:pt x="4867" y="1118"/>
                  </a:lnTo>
                  <a:lnTo>
                    <a:pt x="4872" y="1116"/>
                  </a:lnTo>
                  <a:lnTo>
                    <a:pt x="4888" y="1106"/>
                  </a:lnTo>
                  <a:lnTo>
                    <a:pt x="4888" y="1106"/>
                  </a:lnTo>
                  <a:lnTo>
                    <a:pt x="4907" y="1090"/>
                  </a:lnTo>
                  <a:lnTo>
                    <a:pt x="4926" y="1080"/>
                  </a:lnTo>
                  <a:lnTo>
                    <a:pt x="4935" y="1078"/>
                  </a:lnTo>
                  <a:lnTo>
                    <a:pt x="4943" y="1076"/>
                  </a:lnTo>
                  <a:lnTo>
                    <a:pt x="4959" y="1076"/>
                  </a:lnTo>
                  <a:lnTo>
                    <a:pt x="4973" y="1080"/>
                  </a:lnTo>
                  <a:lnTo>
                    <a:pt x="4985" y="1085"/>
                  </a:lnTo>
                  <a:lnTo>
                    <a:pt x="4996" y="1095"/>
                  </a:lnTo>
                  <a:lnTo>
                    <a:pt x="5006" y="1106"/>
                  </a:lnTo>
                  <a:lnTo>
                    <a:pt x="5006" y="1106"/>
                  </a:lnTo>
                  <a:lnTo>
                    <a:pt x="5013" y="1113"/>
                  </a:lnTo>
                  <a:lnTo>
                    <a:pt x="5016" y="1116"/>
                  </a:lnTo>
                  <a:lnTo>
                    <a:pt x="5016" y="1115"/>
                  </a:lnTo>
                  <a:lnTo>
                    <a:pt x="5020" y="1108"/>
                  </a:lnTo>
                  <a:lnTo>
                    <a:pt x="5025" y="1097"/>
                  </a:lnTo>
                  <a:lnTo>
                    <a:pt x="5037" y="1083"/>
                  </a:lnTo>
                  <a:lnTo>
                    <a:pt x="5046" y="1074"/>
                  </a:lnTo>
                  <a:lnTo>
                    <a:pt x="5058" y="1066"/>
                  </a:lnTo>
                  <a:lnTo>
                    <a:pt x="5072" y="1057"/>
                  </a:lnTo>
                  <a:lnTo>
                    <a:pt x="5090" y="1048"/>
                  </a:lnTo>
                  <a:lnTo>
                    <a:pt x="5090" y="1048"/>
                  </a:lnTo>
                  <a:lnTo>
                    <a:pt x="5105" y="1040"/>
                  </a:lnTo>
                  <a:lnTo>
                    <a:pt x="5119" y="1029"/>
                  </a:lnTo>
                  <a:lnTo>
                    <a:pt x="5149" y="1008"/>
                  </a:lnTo>
                  <a:lnTo>
                    <a:pt x="5164" y="998"/>
                  </a:lnTo>
                  <a:lnTo>
                    <a:pt x="5180" y="989"/>
                  </a:lnTo>
                  <a:lnTo>
                    <a:pt x="5196" y="980"/>
                  </a:lnTo>
                  <a:lnTo>
                    <a:pt x="5215" y="974"/>
                  </a:lnTo>
                  <a:lnTo>
                    <a:pt x="5215" y="974"/>
                  </a:lnTo>
                  <a:lnTo>
                    <a:pt x="5231" y="968"/>
                  </a:lnTo>
                  <a:lnTo>
                    <a:pt x="5246" y="965"/>
                  </a:lnTo>
                  <a:lnTo>
                    <a:pt x="5258" y="963"/>
                  </a:lnTo>
                  <a:lnTo>
                    <a:pt x="5271" y="963"/>
                  </a:lnTo>
                  <a:lnTo>
                    <a:pt x="5288" y="963"/>
                  </a:lnTo>
                  <a:lnTo>
                    <a:pt x="5300" y="967"/>
                  </a:lnTo>
                  <a:lnTo>
                    <a:pt x="5311" y="970"/>
                  </a:lnTo>
                  <a:lnTo>
                    <a:pt x="5318" y="974"/>
                  </a:lnTo>
                  <a:lnTo>
                    <a:pt x="5321" y="974"/>
                  </a:lnTo>
                  <a:lnTo>
                    <a:pt x="5325" y="972"/>
                  </a:lnTo>
                  <a:lnTo>
                    <a:pt x="5333" y="967"/>
                  </a:lnTo>
                  <a:lnTo>
                    <a:pt x="5333" y="967"/>
                  </a:lnTo>
                  <a:lnTo>
                    <a:pt x="5340" y="958"/>
                  </a:lnTo>
                  <a:lnTo>
                    <a:pt x="5342" y="951"/>
                  </a:lnTo>
                  <a:lnTo>
                    <a:pt x="5340" y="942"/>
                  </a:lnTo>
                  <a:lnTo>
                    <a:pt x="5337" y="935"/>
                  </a:lnTo>
                  <a:lnTo>
                    <a:pt x="5323" y="916"/>
                  </a:lnTo>
                  <a:lnTo>
                    <a:pt x="5316" y="904"/>
                  </a:lnTo>
                  <a:lnTo>
                    <a:pt x="5309" y="888"/>
                  </a:lnTo>
                  <a:lnTo>
                    <a:pt x="5309" y="888"/>
                  </a:lnTo>
                  <a:lnTo>
                    <a:pt x="5302" y="871"/>
                  </a:lnTo>
                  <a:lnTo>
                    <a:pt x="5295" y="862"/>
                  </a:lnTo>
                  <a:lnTo>
                    <a:pt x="5292" y="860"/>
                  </a:lnTo>
                  <a:lnTo>
                    <a:pt x="5288" y="860"/>
                  </a:lnTo>
                  <a:lnTo>
                    <a:pt x="5283" y="860"/>
                  </a:lnTo>
                  <a:lnTo>
                    <a:pt x="5278" y="862"/>
                  </a:lnTo>
                  <a:lnTo>
                    <a:pt x="5274" y="862"/>
                  </a:lnTo>
                  <a:lnTo>
                    <a:pt x="5271" y="860"/>
                  </a:lnTo>
                  <a:lnTo>
                    <a:pt x="5269" y="859"/>
                  </a:lnTo>
                  <a:lnTo>
                    <a:pt x="5265" y="846"/>
                  </a:lnTo>
                  <a:lnTo>
                    <a:pt x="5265" y="846"/>
                  </a:lnTo>
                  <a:lnTo>
                    <a:pt x="5264" y="843"/>
                  </a:lnTo>
                  <a:lnTo>
                    <a:pt x="5265" y="839"/>
                  </a:lnTo>
                  <a:lnTo>
                    <a:pt x="5267" y="838"/>
                  </a:lnTo>
                  <a:lnTo>
                    <a:pt x="5271" y="836"/>
                  </a:lnTo>
                  <a:lnTo>
                    <a:pt x="5279" y="836"/>
                  </a:lnTo>
                  <a:lnTo>
                    <a:pt x="5292" y="838"/>
                  </a:lnTo>
                  <a:lnTo>
                    <a:pt x="5304" y="839"/>
                  </a:lnTo>
                  <a:lnTo>
                    <a:pt x="5319" y="838"/>
                  </a:lnTo>
                  <a:lnTo>
                    <a:pt x="5326" y="836"/>
                  </a:lnTo>
                  <a:lnTo>
                    <a:pt x="5333" y="832"/>
                  </a:lnTo>
                  <a:lnTo>
                    <a:pt x="5340" y="827"/>
                  </a:lnTo>
                  <a:lnTo>
                    <a:pt x="5345" y="820"/>
                  </a:lnTo>
                  <a:lnTo>
                    <a:pt x="5345" y="820"/>
                  </a:lnTo>
                  <a:lnTo>
                    <a:pt x="5359" y="805"/>
                  </a:lnTo>
                  <a:lnTo>
                    <a:pt x="5359" y="792"/>
                  </a:lnTo>
                  <a:lnTo>
                    <a:pt x="5359" y="792"/>
                  </a:lnTo>
                  <a:lnTo>
                    <a:pt x="5368" y="782"/>
                  </a:lnTo>
                  <a:lnTo>
                    <a:pt x="5370" y="778"/>
                  </a:lnTo>
                  <a:lnTo>
                    <a:pt x="5370" y="775"/>
                  </a:lnTo>
                  <a:lnTo>
                    <a:pt x="5370" y="773"/>
                  </a:lnTo>
                  <a:lnTo>
                    <a:pt x="5368" y="770"/>
                  </a:lnTo>
                  <a:lnTo>
                    <a:pt x="5361" y="759"/>
                  </a:lnTo>
                  <a:lnTo>
                    <a:pt x="5361" y="759"/>
                  </a:lnTo>
                  <a:lnTo>
                    <a:pt x="5359" y="754"/>
                  </a:lnTo>
                  <a:lnTo>
                    <a:pt x="5359" y="744"/>
                  </a:lnTo>
                  <a:lnTo>
                    <a:pt x="5359" y="744"/>
                  </a:lnTo>
                  <a:lnTo>
                    <a:pt x="5361" y="742"/>
                  </a:lnTo>
                  <a:lnTo>
                    <a:pt x="5366" y="740"/>
                  </a:lnTo>
                  <a:lnTo>
                    <a:pt x="5370" y="740"/>
                  </a:lnTo>
                  <a:lnTo>
                    <a:pt x="5375" y="742"/>
                  </a:lnTo>
                  <a:lnTo>
                    <a:pt x="5382" y="745"/>
                  </a:lnTo>
                  <a:lnTo>
                    <a:pt x="5387" y="751"/>
                  </a:lnTo>
                  <a:lnTo>
                    <a:pt x="5393" y="759"/>
                  </a:lnTo>
                  <a:lnTo>
                    <a:pt x="5398" y="768"/>
                  </a:lnTo>
                  <a:lnTo>
                    <a:pt x="5398" y="768"/>
                  </a:lnTo>
                  <a:lnTo>
                    <a:pt x="5401" y="773"/>
                  </a:lnTo>
                  <a:lnTo>
                    <a:pt x="5405" y="778"/>
                  </a:lnTo>
                  <a:lnTo>
                    <a:pt x="5410" y="780"/>
                  </a:lnTo>
                  <a:lnTo>
                    <a:pt x="5415" y="782"/>
                  </a:lnTo>
                  <a:lnTo>
                    <a:pt x="5429" y="780"/>
                  </a:lnTo>
                  <a:lnTo>
                    <a:pt x="5441" y="777"/>
                  </a:lnTo>
                  <a:lnTo>
                    <a:pt x="5455" y="775"/>
                  </a:lnTo>
                  <a:lnTo>
                    <a:pt x="5462" y="775"/>
                  </a:lnTo>
                  <a:lnTo>
                    <a:pt x="5469" y="775"/>
                  </a:lnTo>
                  <a:lnTo>
                    <a:pt x="5476" y="777"/>
                  </a:lnTo>
                  <a:lnTo>
                    <a:pt x="5481" y="782"/>
                  </a:lnTo>
                  <a:lnTo>
                    <a:pt x="5487" y="787"/>
                  </a:lnTo>
                  <a:lnTo>
                    <a:pt x="5490" y="794"/>
                  </a:lnTo>
                  <a:lnTo>
                    <a:pt x="5490" y="794"/>
                  </a:lnTo>
                  <a:lnTo>
                    <a:pt x="5499" y="810"/>
                  </a:lnTo>
                  <a:lnTo>
                    <a:pt x="5507" y="819"/>
                  </a:lnTo>
                  <a:lnTo>
                    <a:pt x="5514" y="824"/>
                  </a:lnTo>
                  <a:lnTo>
                    <a:pt x="5523" y="826"/>
                  </a:lnTo>
                  <a:lnTo>
                    <a:pt x="5530" y="826"/>
                  </a:lnTo>
                  <a:lnTo>
                    <a:pt x="5537" y="827"/>
                  </a:lnTo>
                  <a:lnTo>
                    <a:pt x="5544" y="831"/>
                  </a:lnTo>
                  <a:lnTo>
                    <a:pt x="5551" y="838"/>
                  </a:lnTo>
                  <a:lnTo>
                    <a:pt x="5551" y="838"/>
                  </a:lnTo>
                  <a:lnTo>
                    <a:pt x="5553" y="841"/>
                  </a:lnTo>
                  <a:lnTo>
                    <a:pt x="5558" y="845"/>
                  </a:lnTo>
                  <a:lnTo>
                    <a:pt x="5561" y="846"/>
                  </a:lnTo>
                  <a:lnTo>
                    <a:pt x="5567" y="848"/>
                  </a:lnTo>
                  <a:lnTo>
                    <a:pt x="5575" y="848"/>
                  </a:lnTo>
                  <a:lnTo>
                    <a:pt x="5586" y="843"/>
                  </a:lnTo>
                  <a:lnTo>
                    <a:pt x="5594" y="836"/>
                  </a:lnTo>
                  <a:lnTo>
                    <a:pt x="5603" y="827"/>
                  </a:lnTo>
                  <a:lnTo>
                    <a:pt x="5608" y="815"/>
                  </a:lnTo>
                  <a:lnTo>
                    <a:pt x="5610" y="799"/>
                  </a:lnTo>
                  <a:lnTo>
                    <a:pt x="5610" y="799"/>
                  </a:lnTo>
                  <a:lnTo>
                    <a:pt x="5612" y="787"/>
                  </a:lnTo>
                  <a:lnTo>
                    <a:pt x="5614" y="784"/>
                  </a:lnTo>
                  <a:lnTo>
                    <a:pt x="5617" y="780"/>
                  </a:lnTo>
                  <a:lnTo>
                    <a:pt x="5624" y="777"/>
                  </a:lnTo>
                  <a:lnTo>
                    <a:pt x="5633" y="775"/>
                  </a:lnTo>
                  <a:lnTo>
                    <a:pt x="5642" y="773"/>
                  </a:lnTo>
                  <a:lnTo>
                    <a:pt x="5654" y="772"/>
                  </a:lnTo>
                  <a:lnTo>
                    <a:pt x="5666" y="765"/>
                  </a:lnTo>
                  <a:lnTo>
                    <a:pt x="5671" y="761"/>
                  </a:lnTo>
                  <a:lnTo>
                    <a:pt x="5678" y="754"/>
                  </a:lnTo>
                  <a:lnTo>
                    <a:pt x="5678" y="754"/>
                  </a:lnTo>
                  <a:lnTo>
                    <a:pt x="5687" y="745"/>
                  </a:lnTo>
                  <a:lnTo>
                    <a:pt x="5689" y="738"/>
                  </a:lnTo>
                  <a:lnTo>
                    <a:pt x="5689" y="738"/>
                  </a:lnTo>
                  <a:lnTo>
                    <a:pt x="5687" y="737"/>
                  </a:lnTo>
                  <a:lnTo>
                    <a:pt x="5680" y="735"/>
                  </a:lnTo>
                  <a:lnTo>
                    <a:pt x="5671" y="735"/>
                  </a:lnTo>
                  <a:lnTo>
                    <a:pt x="5661" y="731"/>
                  </a:lnTo>
                  <a:lnTo>
                    <a:pt x="5655" y="728"/>
                  </a:lnTo>
                  <a:lnTo>
                    <a:pt x="5648" y="725"/>
                  </a:lnTo>
                  <a:lnTo>
                    <a:pt x="5643" y="719"/>
                  </a:lnTo>
                  <a:lnTo>
                    <a:pt x="5640" y="712"/>
                  </a:lnTo>
                  <a:lnTo>
                    <a:pt x="5640" y="71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17F68"/>
                </a:solidFill>
                <a:effectLst/>
                <a:uLnTx/>
                <a:uFillTx/>
                <a:latin typeface="Arial" pitchFamily="34" charset="0"/>
                <a:ea typeface="ＭＳ Ｐゴシック" charset="-128"/>
                <a:cs typeface="+mn-cs"/>
              </a:endParaRPr>
            </a:p>
          </p:txBody>
        </p:sp>
        <p:sp>
          <p:nvSpPr>
            <p:cNvPr id="113" name="Freeform 1956">
              <a:extLst>
                <a:ext uri="{FF2B5EF4-FFF2-40B4-BE49-F238E27FC236}">
                  <a16:creationId xmlns:a16="http://schemas.microsoft.com/office/drawing/2014/main" id="{47272A2B-5474-4177-9DD3-D6AC75A027D0}"/>
                </a:ext>
              </a:extLst>
            </p:cNvPr>
            <p:cNvSpPr>
              <a:spLocks/>
            </p:cNvSpPr>
            <p:nvPr/>
          </p:nvSpPr>
          <p:spPr bwMode="auto">
            <a:xfrm>
              <a:off x="6032421" y="1199209"/>
              <a:ext cx="146246" cy="45812"/>
            </a:xfrm>
            <a:custGeom>
              <a:avLst/>
              <a:gdLst/>
              <a:ahLst/>
              <a:cxnLst>
                <a:cxn ang="0">
                  <a:pos x="12" y="51"/>
                </a:cxn>
                <a:cxn ang="0">
                  <a:pos x="2" y="44"/>
                </a:cxn>
                <a:cxn ang="0">
                  <a:pos x="3" y="40"/>
                </a:cxn>
                <a:cxn ang="0">
                  <a:pos x="24" y="40"/>
                </a:cxn>
                <a:cxn ang="0">
                  <a:pos x="42" y="42"/>
                </a:cxn>
                <a:cxn ang="0">
                  <a:pos x="45" y="40"/>
                </a:cxn>
                <a:cxn ang="0">
                  <a:pos x="38" y="35"/>
                </a:cxn>
                <a:cxn ang="0">
                  <a:pos x="31" y="30"/>
                </a:cxn>
                <a:cxn ang="0">
                  <a:pos x="35" y="28"/>
                </a:cxn>
                <a:cxn ang="0">
                  <a:pos x="73" y="26"/>
                </a:cxn>
                <a:cxn ang="0">
                  <a:pos x="92" y="25"/>
                </a:cxn>
                <a:cxn ang="0">
                  <a:pos x="99" y="21"/>
                </a:cxn>
                <a:cxn ang="0">
                  <a:pos x="99" y="18"/>
                </a:cxn>
                <a:cxn ang="0">
                  <a:pos x="92" y="12"/>
                </a:cxn>
                <a:cxn ang="0">
                  <a:pos x="90" y="7"/>
                </a:cxn>
                <a:cxn ang="0">
                  <a:pos x="99" y="4"/>
                </a:cxn>
                <a:cxn ang="0">
                  <a:pos x="134" y="2"/>
                </a:cxn>
                <a:cxn ang="0">
                  <a:pos x="143" y="2"/>
                </a:cxn>
                <a:cxn ang="0">
                  <a:pos x="144" y="7"/>
                </a:cxn>
                <a:cxn ang="0">
                  <a:pos x="141" y="9"/>
                </a:cxn>
                <a:cxn ang="0">
                  <a:pos x="151" y="9"/>
                </a:cxn>
                <a:cxn ang="0">
                  <a:pos x="162" y="9"/>
                </a:cxn>
                <a:cxn ang="0">
                  <a:pos x="177" y="11"/>
                </a:cxn>
                <a:cxn ang="0">
                  <a:pos x="183" y="16"/>
                </a:cxn>
                <a:cxn ang="0">
                  <a:pos x="176" y="21"/>
                </a:cxn>
                <a:cxn ang="0">
                  <a:pos x="165" y="25"/>
                </a:cxn>
                <a:cxn ang="0">
                  <a:pos x="130" y="28"/>
                </a:cxn>
                <a:cxn ang="0">
                  <a:pos x="116" y="30"/>
                </a:cxn>
                <a:cxn ang="0">
                  <a:pos x="113" y="31"/>
                </a:cxn>
                <a:cxn ang="0">
                  <a:pos x="104" y="37"/>
                </a:cxn>
                <a:cxn ang="0">
                  <a:pos x="87" y="38"/>
                </a:cxn>
                <a:cxn ang="0">
                  <a:pos x="78" y="40"/>
                </a:cxn>
                <a:cxn ang="0">
                  <a:pos x="76" y="45"/>
                </a:cxn>
                <a:cxn ang="0">
                  <a:pos x="90" y="49"/>
                </a:cxn>
                <a:cxn ang="0">
                  <a:pos x="89" y="52"/>
                </a:cxn>
                <a:cxn ang="0">
                  <a:pos x="85" y="56"/>
                </a:cxn>
                <a:cxn ang="0">
                  <a:pos x="78" y="54"/>
                </a:cxn>
                <a:cxn ang="0">
                  <a:pos x="64" y="52"/>
                </a:cxn>
                <a:cxn ang="0">
                  <a:pos x="56" y="56"/>
                </a:cxn>
                <a:cxn ang="0">
                  <a:pos x="43" y="58"/>
                </a:cxn>
                <a:cxn ang="0">
                  <a:pos x="43" y="52"/>
                </a:cxn>
                <a:cxn ang="0">
                  <a:pos x="43" y="45"/>
                </a:cxn>
                <a:cxn ang="0">
                  <a:pos x="38" y="47"/>
                </a:cxn>
                <a:cxn ang="0">
                  <a:pos x="22" y="52"/>
                </a:cxn>
                <a:cxn ang="0">
                  <a:pos x="12" y="51"/>
                </a:cxn>
              </a:cxnLst>
              <a:rect l="0" t="0" r="r" b="b"/>
              <a:pathLst>
                <a:path w="183" h="58">
                  <a:moveTo>
                    <a:pt x="12" y="51"/>
                  </a:moveTo>
                  <a:lnTo>
                    <a:pt x="12" y="51"/>
                  </a:lnTo>
                  <a:lnTo>
                    <a:pt x="3" y="45"/>
                  </a:lnTo>
                  <a:lnTo>
                    <a:pt x="2" y="44"/>
                  </a:lnTo>
                  <a:lnTo>
                    <a:pt x="0" y="40"/>
                  </a:lnTo>
                  <a:lnTo>
                    <a:pt x="3" y="40"/>
                  </a:lnTo>
                  <a:lnTo>
                    <a:pt x="14" y="38"/>
                  </a:lnTo>
                  <a:lnTo>
                    <a:pt x="24" y="40"/>
                  </a:lnTo>
                  <a:lnTo>
                    <a:pt x="24" y="40"/>
                  </a:lnTo>
                  <a:lnTo>
                    <a:pt x="42" y="42"/>
                  </a:lnTo>
                  <a:lnTo>
                    <a:pt x="43" y="40"/>
                  </a:lnTo>
                  <a:lnTo>
                    <a:pt x="45" y="40"/>
                  </a:lnTo>
                  <a:lnTo>
                    <a:pt x="38" y="35"/>
                  </a:lnTo>
                  <a:lnTo>
                    <a:pt x="38" y="35"/>
                  </a:lnTo>
                  <a:lnTo>
                    <a:pt x="33" y="31"/>
                  </a:lnTo>
                  <a:lnTo>
                    <a:pt x="31" y="30"/>
                  </a:lnTo>
                  <a:lnTo>
                    <a:pt x="31" y="28"/>
                  </a:lnTo>
                  <a:lnTo>
                    <a:pt x="35" y="28"/>
                  </a:lnTo>
                  <a:lnTo>
                    <a:pt x="49" y="26"/>
                  </a:lnTo>
                  <a:lnTo>
                    <a:pt x="73" y="26"/>
                  </a:lnTo>
                  <a:lnTo>
                    <a:pt x="73" y="26"/>
                  </a:lnTo>
                  <a:lnTo>
                    <a:pt x="92" y="25"/>
                  </a:lnTo>
                  <a:lnTo>
                    <a:pt x="97" y="25"/>
                  </a:lnTo>
                  <a:lnTo>
                    <a:pt x="99" y="21"/>
                  </a:lnTo>
                  <a:lnTo>
                    <a:pt x="101" y="19"/>
                  </a:lnTo>
                  <a:lnTo>
                    <a:pt x="99" y="18"/>
                  </a:lnTo>
                  <a:lnTo>
                    <a:pt x="92" y="12"/>
                  </a:lnTo>
                  <a:lnTo>
                    <a:pt x="92" y="12"/>
                  </a:lnTo>
                  <a:lnTo>
                    <a:pt x="89" y="11"/>
                  </a:lnTo>
                  <a:lnTo>
                    <a:pt x="90" y="7"/>
                  </a:lnTo>
                  <a:lnTo>
                    <a:pt x="94" y="5"/>
                  </a:lnTo>
                  <a:lnTo>
                    <a:pt x="99" y="4"/>
                  </a:lnTo>
                  <a:lnTo>
                    <a:pt x="115" y="0"/>
                  </a:lnTo>
                  <a:lnTo>
                    <a:pt x="134" y="2"/>
                  </a:lnTo>
                  <a:lnTo>
                    <a:pt x="134" y="2"/>
                  </a:lnTo>
                  <a:lnTo>
                    <a:pt x="143" y="2"/>
                  </a:lnTo>
                  <a:lnTo>
                    <a:pt x="144" y="4"/>
                  </a:lnTo>
                  <a:lnTo>
                    <a:pt x="144" y="7"/>
                  </a:lnTo>
                  <a:lnTo>
                    <a:pt x="143" y="9"/>
                  </a:lnTo>
                  <a:lnTo>
                    <a:pt x="141" y="9"/>
                  </a:lnTo>
                  <a:lnTo>
                    <a:pt x="141" y="11"/>
                  </a:lnTo>
                  <a:lnTo>
                    <a:pt x="151" y="9"/>
                  </a:lnTo>
                  <a:lnTo>
                    <a:pt x="151" y="9"/>
                  </a:lnTo>
                  <a:lnTo>
                    <a:pt x="162" y="9"/>
                  </a:lnTo>
                  <a:lnTo>
                    <a:pt x="170" y="9"/>
                  </a:lnTo>
                  <a:lnTo>
                    <a:pt x="177" y="11"/>
                  </a:lnTo>
                  <a:lnTo>
                    <a:pt x="181" y="12"/>
                  </a:lnTo>
                  <a:lnTo>
                    <a:pt x="183" y="16"/>
                  </a:lnTo>
                  <a:lnTo>
                    <a:pt x="181" y="19"/>
                  </a:lnTo>
                  <a:lnTo>
                    <a:pt x="176" y="21"/>
                  </a:lnTo>
                  <a:lnTo>
                    <a:pt x="165" y="25"/>
                  </a:lnTo>
                  <a:lnTo>
                    <a:pt x="165" y="25"/>
                  </a:lnTo>
                  <a:lnTo>
                    <a:pt x="144" y="28"/>
                  </a:lnTo>
                  <a:lnTo>
                    <a:pt x="130" y="28"/>
                  </a:lnTo>
                  <a:lnTo>
                    <a:pt x="122" y="28"/>
                  </a:lnTo>
                  <a:lnTo>
                    <a:pt x="116" y="30"/>
                  </a:lnTo>
                  <a:lnTo>
                    <a:pt x="113" y="31"/>
                  </a:lnTo>
                  <a:lnTo>
                    <a:pt x="113" y="31"/>
                  </a:lnTo>
                  <a:lnTo>
                    <a:pt x="108" y="35"/>
                  </a:lnTo>
                  <a:lnTo>
                    <a:pt x="104" y="37"/>
                  </a:lnTo>
                  <a:lnTo>
                    <a:pt x="96" y="37"/>
                  </a:lnTo>
                  <a:lnTo>
                    <a:pt x="87" y="38"/>
                  </a:lnTo>
                  <a:lnTo>
                    <a:pt x="78" y="40"/>
                  </a:lnTo>
                  <a:lnTo>
                    <a:pt x="78" y="40"/>
                  </a:lnTo>
                  <a:lnTo>
                    <a:pt x="76" y="44"/>
                  </a:lnTo>
                  <a:lnTo>
                    <a:pt x="76" y="45"/>
                  </a:lnTo>
                  <a:lnTo>
                    <a:pt x="83" y="47"/>
                  </a:lnTo>
                  <a:lnTo>
                    <a:pt x="90" y="49"/>
                  </a:lnTo>
                  <a:lnTo>
                    <a:pt x="90" y="51"/>
                  </a:lnTo>
                  <a:lnTo>
                    <a:pt x="89" y="52"/>
                  </a:lnTo>
                  <a:lnTo>
                    <a:pt x="89" y="52"/>
                  </a:lnTo>
                  <a:lnTo>
                    <a:pt x="85" y="56"/>
                  </a:lnTo>
                  <a:lnTo>
                    <a:pt x="82" y="56"/>
                  </a:lnTo>
                  <a:lnTo>
                    <a:pt x="78" y="54"/>
                  </a:lnTo>
                  <a:lnTo>
                    <a:pt x="69" y="52"/>
                  </a:lnTo>
                  <a:lnTo>
                    <a:pt x="64" y="52"/>
                  </a:lnTo>
                  <a:lnTo>
                    <a:pt x="56" y="56"/>
                  </a:lnTo>
                  <a:lnTo>
                    <a:pt x="56" y="56"/>
                  </a:lnTo>
                  <a:lnTo>
                    <a:pt x="47" y="58"/>
                  </a:lnTo>
                  <a:lnTo>
                    <a:pt x="43" y="58"/>
                  </a:lnTo>
                  <a:lnTo>
                    <a:pt x="43" y="56"/>
                  </a:lnTo>
                  <a:lnTo>
                    <a:pt x="43" y="52"/>
                  </a:lnTo>
                  <a:lnTo>
                    <a:pt x="45" y="47"/>
                  </a:lnTo>
                  <a:lnTo>
                    <a:pt x="43" y="45"/>
                  </a:lnTo>
                  <a:lnTo>
                    <a:pt x="38" y="47"/>
                  </a:lnTo>
                  <a:lnTo>
                    <a:pt x="38" y="47"/>
                  </a:lnTo>
                  <a:lnTo>
                    <a:pt x="28" y="51"/>
                  </a:lnTo>
                  <a:lnTo>
                    <a:pt x="22" y="52"/>
                  </a:lnTo>
                  <a:lnTo>
                    <a:pt x="19" y="54"/>
                  </a:lnTo>
                  <a:lnTo>
                    <a:pt x="12" y="51"/>
                  </a:lnTo>
                  <a:lnTo>
                    <a:pt x="12" y="5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4" name="Freeform 1957">
              <a:extLst>
                <a:ext uri="{FF2B5EF4-FFF2-40B4-BE49-F238E27FC236}">
                  <a16:creationId xmlns:a16="http://schemas.microsoft.com/office/drawing/2014/main" id="{E4F77A2A-4629-411F-A284-7F3DFD886178}"/>
                </a:ext>
              </a:extLst>
            </p:cNvPr>
            <p:cNvSpPr>
              <a:spLocks/>
            </p:cNvSpPr>
            <p:nvPr/>
          </p:nvSpPr>
          <p:spPr bwMode="auto">
            <a:xfrm>
              <a:off x="6134619" y="1179831"/>
              <a:ext cx="24669" cy="14097"/>
            </a:xfrm>
            <a:custGeom>
              <a:avLst/>
              <a:gdLst/>
              <a:ahLst/>
              <a:cxnLst>
                <a:cxn ang="0">
                  <a:pos x="7" y="7"/>
                </a:cxn>
                <a:cxn ang="0">
                  <a:pos x="7" y="7"/>
                </a:cxn>
                <a:cxn ang="0">
                  <a:pos x="12" y="3"/>
                </a:cxn>
                <a:cxn ang="0">
                  <a:pos x="17" y="2"/>
                </a:cxn>
                <a:cxn ang="0">
                  <a:pos x="21" y="0"/>
                </a:cxn>
                <a:cxn ang="0">
                  <a:pos x="26" y="2"/>
                </a:cxn>
                <a:cxn ang="0">
                  <a:pos x="28" y="2"/>
                </a:cxn>
                <a:cxn ang="0">
                  <a:pos x="29" y="5"/>
                </a:cxn>
                <a:cxn ang="0">
                  <a:pos x="28" y="7"/>
                </a:cxn>
                <a:cxn ang="0">
                  <a:pos x="24" y="8"/>
                </a:cxn>
                <a:cxn ang="0">
                  <a:pos x="24" y="8"/>
                </a:cxn>
                <a:cxn ang="0">
                  <a:pos x="12" y="14"/>
                </a:cxn>
                <a:cxn ang="0">
                  <a:pos x="3" y="17"/>
                </a:cxn>
                <a:cxn ang="0">
                  <a:pos x="0" y="15"/>
                </a:cxn>
                <a:cxn ang="0">
                  <a:pos x="0" y="15"/>
                </a:cxn>
                <a:cxn ang="0">
                  <a:pos x="1" y="12"/>
                </a:cxn>
                <a:cxn ang="0">
                  <a:pos x="7" y="7"/>
                </a:cxn>
                <a:cxn ang="0">
                  <a:pos x="7" y="7"/>
                </a:cxn>
              </a:cxnLst>
              <a:rect l="0" t="0" r="r" b="b"/>
              <a:pathLst>
                <a:path w="29" h="17">
                  <a:moveTo>
                    <a:pt x="7" y="7"/>
                  </a:moveTo>
                  <a:lnTo>
                    <a:pt x="7" y="7"/>
                  </a:lnTo>
                  <a:lnTo>
                    <a:pt x="12" y="3"/>
                  </a:lnTo>
                  <a:lnTo>
                    <a:pt x="17" y="2"/>
                  </a:lnTo>
                  <a:lnTo>
                    <a:pt x="21" y="0"/>
                  </a:lnTo>
                  <a:lnTo>
                    <a:pt x="26" y="2"/>
                  </a:lnTo>
                  <a:lnTo>
                    <a:pt x="28" y="2"/>
                  </a:lnTo>
                  <a:lnTo>
                    <a:pt x="29" y="5"/>
                  </a:lnTo>
                  <a:lnTo>
                    <a:pt x="28" y="7"/>
                  </a:lnTo>
                  <a:lnTo>
                    <a:pt x="24" y="8"/>
                  </a:lnTo>
                  <a:lnTo>
                    <a:pt x="24" y="8"/>
                  </a:lnTo>
                  <a:lnTo>
                    <a:pt x="12" y="14"/>
                  </a:lnTo>
                  <a:lnTo>
                    <a:pt x="3" y="17"/>
                  </a:lnTo>
                  <a:lnTo>
                    <a:pt x="0" y="15"/>
                  </a:lnTo>
                  <a:lnTo>
                    <a:pt x="0" y="15"/>
                  </a:lnTo>
                  <a:lnTo>
                    <a:pt x="1" y="12"/>
                  </a:lnTo>
                  <a:lnTo>
                    <a:pt x="7" y="7"/>
                  </a:lnTo>
                  <a:lnTo>
                    <a:pt x="7" y="7"/>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5" name="Freeform 1958">
              <a:extLst>
                <a:ext uri="{FF2B5EF4-FFF2-40B4-BE49-F238E27FC236}">
                  <a16:creationId xmlns:a16="http://schemas.microsoft.com/office/drawing/2014/main" id="{FBB0EF04-6029-40D3-B947-45EFA7592BF5}"/>
                </a:ext>
              </a:extLst>
            </p:cNvPr>
            <p:cNvSpPr>
              <a:spLocks/>
            </p:cNvSpPr>
            <p:nvPr/>
          </p:nvSpPr>
          <p:spPr bwMode="auto">
            <a:xfrm>
              <a:off x="6388347" y="1197451"/>
              <a:ext cx="86338" cy="28192"/>
            </a:xfrm>
            <a:custGeom>
              <a:avLst/>
              <a:gdLst/>
              <a:ahLst/>
              <a:cxnLst>
                <a:cxn ang="0">
                  <a:pos x="2" y="18"/>
                </a:cxn>
                <a:cxn ang="0">
                  <a:pos x="2" y="18"/>
                </a:cxn>
                <a:cxn ang="0">
                  <a:pos x="7" y="9"/>
                </a:cxn>
                <a:cxn ang="0">
                  <a:pos x="12" y="6"/>
                </a:cxn>
                <a:cxn ang="0">
                  <a:pos x="17" y="4"/>
                </a:cxn>
                <a:cxn ang="0">
                  <a:pos x="24" y="6"/>
                </a:cxn>
                <a:cxn ang="0">
                  <a:pos x="33" y="7"/>
                </a:cxn>
                <a:cxn ang="0">
                  <a:pos x="43" y="9"/>
                </a:cxn>
                <a:cxn ang="0">
                  <a:pos x="56" y="9"/>
                </a:cxn>
                <a:cxn ang="0">
                  <a:pos x="71" y="4"/>
                </a:cxn>
                <a:cxn ang="0">
                  <a:pos x="71" y="4"/>
                </a:cxn>
                <a:cxn ang="0">
                  <a:pos x="85" y="0"/>
                </a:cxn>
                <a:cxn ang="0">
                  <a:pos x="96" y="0"/>
                </a:cxn>
                <a:cxn ang="0">
                  <a:pos x="103" y="4"/>
                </a:cxn>
                <a:cxn ang="0">
                  <a:pos x="108" y="7"/>
                </a:cxn>
                <a:cxn ang="0">
                  <a:pos x="108" y="14"/>
                </a:cxn>
                <a:cxn ang="0">
                  <a:pos x="108" y="20"/>
                </a:cxn>
                <a:cxn ang="0">
                  <a:pos x="104" y="23"/>
                </a:cxn>
                <a:cxn ang="0">
                  <a:pos x="97" y="25"/>
                </a:cxn>
                <a:cxn ang="0">
                  <a:pos x="97" y="25"/>
                </a:cxn>
                <a:cxn ang="0">
                  <a:pos x="92" y="25"/>
                </a:cxn>
                <a:cxn ang="0">
                  <a:pos x="87" y="27"/>
                </a:cxn>
                <a:cxn ang="0">
                  <a:pos x="80" y="32"/>
                </a:cxn>
                <a:cxn ang="0">
                  <a:pos x="76" y="33"/>
                </a:cxn>
                <a:cxn ang="0">
                  <a:pos x="73" y="35"/>
                </a:cxn>
                <a:cxn ang="0">
                  <a:pos x="66" y="35"/>
                </a:cxn>
                <a:cxn ang="0">
                  <a:pos x="57" y="33"/>
                </a:cxn>
                <a:cxn ang="0">
                  <a:pos x="57" y="33"/>
                </a:cxn>
                <a:cxn ang="0">
                  <a:pos x="47" y="32"/>
                </a:cxn>
                <a:cxn ang="0">
                  <a:pos x="35" y="32"/>
                </a:cxn>
                <a:cxn ang="0">
                  <a:pos x="16" y="35"/>
                </a:cxn>
                <a:cxn ang="0">
                  <a:pos x="7" y="35"/>
                </a:cxn>
                <a:cxn ang="0">
                  <a:pos x="2" y="32"/>
                </a:cxn>
                <a:cxn ang="0">
                  <a:pos x="0" y="30"/>
                </a:cxn>
                <a:cxn ang="0">
                  <a:pos x="0" y="27"/>
                </a:cxn>
                <a:cxn ang="0">
                  <a:pos x="2" y="18"/>
                </a:cxn>
                <a:cxn ang="0">
                  <a:pos x="2" y="18"/>
                </a:cxn>
              </a:cxnLst>
              <a:rect l="0" t="0" r="r" b="b"/>
              <a:pathLst>
                <a:path w="108" h="35">
                  <a:moveTo>
                    <a:pt x="2" y="18"/>
                  </a:moveTo>
                  <a:lnTo>
                    <a:pt x="2" y="18"/>
                  </a:lnTo>
                  <a:lnTo>
                    <a:pt x="7" y="9"/>
                  </a:lnTo>
                  <a:lnTo>
                    <a:pt x="12" y="6"/>
                  </a:lnTo>
                  <a:lnTo>
                    <a:pt x="17" y="4"/>
                  </a:lnTo>
                  <a:lnTo>
                    <a:pt x="24" y="6"/>
                  </a:lnTo>
                  <a:lnTo>
                    <a:pt x="33" y="7"/>
                  </a:lnTo>
                  <a:lnTo>
                    <a:pt x="43" y="9"/>
                  </a:lnTo>
                  <a:lnTo>
                    <a:pt x="56" y="9"/>
                  </a:lnTo>
                  <a:lnTo>
                    <a:pt x="71" y="4"/>
                  </a:lnTo>
                  <a:lnTo>
                    <a:pt x="71" y="4"/>
                  </a:lnTo>
                  <a:lnTo>
                    <a:pt x="85" y="0"/>
                  </a:lnTo>
                  <a:lnTo>
                    <a:pt x="96" y="0"/>
                  </a:lnTo>
                  <a:lnTo>
                    <a:pt x="103" y="4"/>
                  </a:lnTo>
                  <a:lnTo>
                    <a:pt x="108" y="7"/>
                  </a:lnTo>
                  <a:lnTo>
                    <a:pt x="108" y="14"/>
                  </a:lnTo>
                  <a:lnTo>
                    <a:pt x="108" y="20"/>
                  </a:lnTo>
                  <a:lnTo>
                    <a:pt x="104" y="23"/>
                  </a:lnTo>
                  <a:lnTo>
                    <a:pt x="97" y="25"/>
                  </a:lnTo>
                  <a:lnTo>
                    <a:pt x="97" y="25"/>
                  </a:lnTo>
                  <a:lnTo>
                    <a:pt x="92" y="25"/>
                  </a:lnTo>
                  <a:lnTo>
                    <a:pt x="87" y="27"/>
                  </a:lnTo>
                  <a:lnTo>
                    <a:pt x="80" y="32"/>
                  </a:lnTo>
                  <a:lnTo>
                    <a:pt x="76" y="33"/>
                  </a:lnTo>
                  <a:lnTo>
                    <a:pt x="73" y="35"/>
                  </a:lnTo>
                  <a:lnTo>
                    <a:pt x="66" y="35"/>
                  </a:lnTo>
                  <a:lnTo>
                    <a:pt x="57" y="33"/>
                  </a:lnTo>
                  <a:lnTo>
                    <a:pt x="57" y="33"/>
                  </a:lnTo>
                  <a:lnTo>
                    <a:pt x="47" y="32"/>
                  </a:lnTo>
                  <a:lnTo>
                    <a:pt x="35" y="32"/>
                  </a:lnTo>
                  <a:lnTo>
                    <a:pt x="16" y="35"/>
                  </a:lnTo>
                  <a:lnTo>
                    <a:pt x="7" y="35"/>
                  </a:lnTo>
                  <a:lnTo>
                    <a:pt x="2" y="32"/>
                  </a:lnTo>
                  <a:lnTo>
                    <a:pt x="0" y="30"/>
                  </a:lnTo>
                  <a:lnTo>
                    <a:pt x="0" y="27"/>
                  </a:lnTo>
                  <a:lnTo>
                    <a:pt x="2" y="18"/>
                  </a:lnTo>
                  <a:lnTo>
                    <a:pt x="2" y="18"/>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6" name="Freeform 1959">
              <a:extLst>
                <a:ext uri="{FF2B5EF4-FFF2-40B4-BE49-F238E27FC236}">
                  <a16:creationId xmlns:a16="http://schemas.microsoft.com/office/drawing/2014/main" id="{DAE3182B-4B2C-406A-9826-5F6B261BC511}"/>
                </a:ext>
              </a:extLst>
            </p:cNvPr>
            <p:cNvSpPr>
              <a:spLocks/>
            </p:cNvSpPr>
            <p:nvPr/>
          </p:nvSpPr>
          <p:spPr bwMode="auto">
            <a:xfrm>
              <a:off x="6284389" y="1206260"/>
              <a:ext cx="40526" cy="8811"/>
            </a:xfrm>
            <a:custGeom>
              <a:avLst/>
              <a:gdLst/>
              <a:ahLst/>
              <a:cxnLst>
                <a:cxn ang="0">
                  <a:pos x="3" y="7"/>
                </a:cxn>
                <a:cxn ang="0">
                  <a:pos x="3" y="7"/>
                </a:cxn>
                <a:cxn ang="0">
                  <a:pos x="0" y="3"/>
                </a:cxn>
                <a:cxn ang="0">
                  <a:pos x="3" y="1"/>
                </a:cxn>
                <a:cxn ang="0">
                  <a:pos x="21" y="0"/>
                </a:cxn>
                <a:cxn ang="0">
                  <a:pos x="21" y="0"/>
                </a:cxn>
                <a:cxn ang="0">
                  <a:pos x="33" y="0"/>
                </a:cxn>
                <a:cxn ang="0">
                  <a:pos x="45" y="1"/>
                </a:cxn>
                <a:cxn ang="0">
                  <a:pos x="50" y="5"/>
                </a:cxn>
                <a:cxn ang="0">
                  <a:pos x="49" y="5"/>
                </a:cxn>
                <a:cxn ang="0">
                  <a:pos x="45" y="7"/>
                </a:cxn>
                <a:cxn ang="0">
                  <a:pos x="45" y="7"/>
                </a:cxn>
                <a:cxn ang="0">
                  <a:pos x="23" y="8"/>
                </a:cxn>
                <a:cxn ang="0">
                  <a:pos x="10" y="8"/>
                </a:cxn>
                <a:cxn ang="0">
                  <a:pos x="3" y="7"/>
                </a:cxn>
              </a:cxnLst>
              <a:rect l="0" t="0" r="r" b="b"/>
              <a:pathLst>
                <a:path w="50" h="8">
                  <a:moveTo>
                    <a:pt x="3" y="7"/>
                  </a:moveTo>
                  <a:lnTo>
                    <a:pt x="3" y="7"/>
                  </a:lnTo>
                  <a:lnTo>
                    <a:pt x="0" y="3"/>
                  </a:lnTo>
                  <a:lnTo>
                    <a:pt x="3" y="1"/>
                  </a:lnTo>
                  <a:lnTo>
                    <a:pt x="21" y="0"/>
                  </a:lnTo>
                  <a:lnTo>
                    <a:pt x="21" y="0"/>
                  </a:lnTo>
                  <a:lnTo>
                    <a:pt x="33" y="0"/>
                  </a:lnTo>
                  <a:lnTo>
                    <a:pt x="45" y="1"/>
                  </a:lnTo>
                  <a:lnTo>
                    <a:pt x="50" y="5"/>
                  </a:lnTo>
                  <a:lnTo>
                    <a:pt x="49" y="5"/>
                  </a:lnTo>
                  <a:lnTo>
                    <a:pt x="45" y="7"/>
                  </a:lnTo>
                  <a:lnTo>
                    <a:pt x="45" y="7"/>
                  </a:lnTo>
                  <a:lnTo>
                    <a:pt x="23" y="8"/>
                  </a:lnTo>
                  <a:lnTo>
                    <a:pt x="10" y="8"/>
                  </a:lnTo>
                  <a:lnTo>
                    <a:pt x="3" y="7"/>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7" name="Freeform 1960">
              <a:extLst>
                <a:ext uri="{FF2B5EF4-FFF2-40B4-BE49-F238E27FC236}">
                  <a16:creationId xmlns:a16="http://schemas.microsoft.com/office/drawing/2014/main" id="{A571762A-6795-4C4D-90CB-659241BB214B}"/>
                </a:ext>
              </a:extLst>
            </p:cNvPr>
            <p:cNvSpPr>
              <a:spLocks/>
            </p:cNvSpPr>
            <p:nvPr/>
          </p:nvSpPr>
          <p:spPr bwMode="auto">
            <a:xfrm>
              <a:off x="8789952" y="5960151"/>
              <a:ext cx="107483" cy="114531"/>
            </a:xfrm>
            <a:custGeom>
              <a:avLst/>
              <a:gdLst/>
              <a:ahLst/>
              <a:cxnLst>
                <a:cxn ang="0">
                  <a:pos x="1" y="12"/>
                </a:cxn>
                <a:cxn ang="0">
                  <a:pos x="7" y="0"/>
                </a:cxn>
                <a:cxn ang="0">
                  <a:pos x="15" y="5"/>
                </a:cxn>
                <a:cxn ang="0">
                  <a:pos x="28" y="8"/>
                </a:cxn>
                <a:cxn ang="0">
                  <a:pos x="35" y="10"/>
                </a:cxn>
                <a:cxn ang="0">
                  <a:pos x="48" y="20"/>
                </a:cxn>
                <a:cxn ang="0">
                  <a:pos x="59" y="24"/>
                </a:cxn>
                <a:cxn ang="0">
                  <a:pos x="76" y="20"/>
                </a:cxn>
                <a:cxn ang="0">
                  <a:pos x="92" y="15"/>
                </a:cxn>
                <a:cxn ang="0">
                  <a:pos x="101" y="15"/>
                </a:cxn>
                <a:cxn ang="0">
                  <a:pos x="104" y="13"/>
                </a:cxn>
                <a:cxn ang="0">
                  <a:pos x="108" y="10"/>
                </a:cxn>
                <a:cxn ang="0">
                  <a:pos x="116" y="12"/>
                </a:cxn>
                <a:cxn ang="0">
                  <a:pos x="120" y="8"/>
                </a:cxn>
                <a:cxn ang="0">
                  <a:pos x="122" y="6"/>
                </a:cxn>
                <a:cxn ang="0">
                  <a:pos x="125" y="10"/>
                </a:cxn>
                <a:cxn ang="0">
                  <a:pos x="130" y="20"/>
                </a:cxn>
                <a:cxn ang="0">
                  <a:pos x="132" y="36"/>
                </a:cxn>
                <a:cxn ang="0">
                  <a:pos x="130" y="45"/>
                </a:cxn>
                <a:cxn ang="0">
                  <a:pos x="129" y="57"/>
                </a:cxn>
                <a:cxn ang="0">
                  <a:pos x="132" y="71"/>
                </a:cxn>
                <a:cxn ang="0">
                  <a:pos x="132" y="76"/>
                </a:cxn>
                <a:cxn ang="0">
                  <a:pos x="130" y="78"/>
                </a:cxn>
                <a:cxn ang="0">
                  <a:pos x="129" y="74"/>
                </a:cxn>
                <a:cxn ang="0">
                  <a:pos x="125" y="69"/>
                </a:cxn>
                <a:cxn ang="0">
                  <a:pos x="123" y="71"/>
                </a:cxn>
                <a:cxn ang="0">
                  <a:pos x="120" y="76"/>
                </a:cxn>
                <a:cxn ang="0">
                  <a:pos x="122" y="87"/>
                </a:cxn>
                <a:cxn ang="0">
                  <a:pos x="120" y="92"/>
                </a:cxn>
                <a:cxn ang="0">
                  <a:pos x="118" y="95"/>
                </a:cxn>
                <a:cxn ang="0">
                  <a:pos x="120" y="111"/>
                </a:cxn>
                <a:cxn ang="0">
                  <a:pos x="120" y="125"/>
                </a:cxn>
                <a:cxn ang="0">
                  <a:pos x="116" y="125"/>
                </a:cxn>
                <a:cxn ang="0">
                  <a:pos x="108" y="120"/>
                </a:cxn>
                <a:cxn ang="0">
                  <a:pos x="111" y="114"/>
                </a:cxn>
                <a:cxn ang="0">
                  <a:pos x="113" y="114"/>
                </a:cxn>
                <a:cxn ang="0">
                  <a:pos x="111" y="109"/>
                </a:cxn>
                <a:cxn ang="0">
                  <a:pos x="109" y="107"/>
                </a:cxn>
                <a:cxn ang="0">
                  <a:pos x="106" y="107"/>
                </a:cxn>
                <a:cxn ang="0">
                  <a:pos x="102" y="116"/>
                </a:cxn>
                <a:cxn ang="0">
                  <a:pos x="101" y="113"/>
                </a:cxn>
                <a:cxn ang="0">
                  <a:pos x="99" y="111"/>
                </a:cxn>
                <a:cxn ang="0">
                  <a:pos x="97" y="116"/>
                </a:cxn>
                <a:cxn ang="0">
                  <a:pos x="92" y="127"/>
                </a:cxn>
                <a:cxn ang="0">
                  <a:pos x="90" y="130"/>
                </a:cxn>
                <a:cxn ang="0">
                  <a:pos x="83" y="139"/>
                </a:cxn>
                <a:cxn ang="0">
                  <a:pos x="80" y="144"/>
                </a:cxn>
                <a:cxn ang="0">
                  <a:pos x="76" y="144"/>
                </a:cxn>
                <a:cxn ang="0">
                  <a:pos x="61" y="139"/>
                </a:cxn>
                <a:cxn ang="0">
                  <a:pos x="55" y="141"/>
                </a:cxn>
                <a:cxn ang="0">
                  <a:pos x="50" y="139"/>
                </a:cxn>
                <a:cxn ang="0">
                  <a:pos x="43" y="123"/>
                </a:cxn>
                <a:cxn ang="0">
                  <a:pos x="36" y="114"/>
                </a:cxn>
                <a:cxn ang="0">
                  <a:pos x="31" y="111"/>
                </a:cxn>
                <a:cxn ang="0">
                  <a:pos x="24" y="94"/>
                </a:cxn>
                <a:cxn ang="0">
                  <a:pos x="21" y="69"/>
                </a:cxn>
                <a:cxn ang="0">
                  <a:pos x="21" y="62"/>
                </a:cxn>
                <a:cxn ang="0">
                  <a:pos x="14" y="55"/>
                </a:cxn>
                <a:cxn ang="0">
                  <a:pos x="10" y="47"/>
                </a:cxn>
                <a:cxn ang="0">
                  <a:pos x="0" y="19"/>
                </a:cxn>
                <a:cxn ang="0">
                  <a:pos x="1" y="12"/>
                </a:cxn>
              </a:cxnLst>
              <a:rect l="0" t="0" r="r" b="b"/>
              <a:pathLst>
                <a:path w="132" h="144">
                  <a:moveTo>
                    <a:pt x="1" y="12"/>
                  </a:moveTo>
                  <a:lnTo>
                    <a:pt x="1" y="12"/>
                  </a:lnTo>
                  <a:lnTo>
                    <a:pt x="5" y="0"/>
                  </a:lnTo>
                  <a:lnTo>
                    <a:pt x="7" y="0"/>
                  </a:lnTo>
                  <a:lnTo>
                    <a:pt x="8" y="0"/>
                  </a:lnTo>
                  <a:lnTo>
                    <a:pt x="15" y="5"/>
                  </a:lnTo>
                  <a:lnTo>
                    <a:pt x="21" y="8"/>
                  </a:lnTo>
                  <a:lnTo>
                    <a:pt x="28" y="8"/>
                  </a:lnTo>
                  <a:lnTo>
                    <a:pt x="28" y="8"/>
                  </a:lnTo>
                  <a:lnTo>
                    <a:pt x="35" y="10"/>
                  </a:lnTo>
                  <a:lnTo>
                    <a:pt x="40" y="13"/>
                  </a:lnTo>
                  <a:lnTo>
                    <a:pt x="48" y="20"/>
                  </a:lnTo>
                  <a:lnTo>
                    <a:pt x="54" y="22"/>
                  </a:lnTo>
                  <a:lnTo>
                    <a:pt x="59" y="24"/>
                  </a:lnTo>
                  <a:lnTo>
                    <a:pt x="66" y="24"/>
                  </a:lnTo>
                  <a:lnTo>
                    <a:pt x="76" y="20"/>
                  </a:lnTo>
                  <a:lnTo>
                    <a:pt x="76" y="20"/>
                  </a:lnTo>
                  <a:lnTo>
                    <a:pt x="92" y="15"/>
                  </a:lnTo>
                  <a:lnTo>
                    <a:pt x="99" y="15"/>
                  </a:lnTo>
                  <a:lnTo>
                    <a:pt x="101" y="15"/>
                  </a:lnTo>
                  <a:lnTo>
                    <a:pt x="104" y="13"/>
                  </a:lnTo>
                  <a:lnTo>
                    <a:pt x="104" y="13"/>
                  </a:lnTo>
                  <a:lnTo>
                    <a:pt x="106" y="10"/>
                  </a:lnTo>
                  <a:lnTo>
                    <a:pt x="108" y="10"/>
                  </a:lnTo>
                  <a:lnTo>
                    <a:pt x="111" y="10"/>
                  </a:lnTo>
                  <a:lnTo>
                    <a:pt x="116" y="12"/>
                  </a:lnTo>
                  <a:lnTo>
                    <a:pt x="118" y="10"/>
                  </a:lnTo>
                  <a:lnTo>
                    <a:pt x="120" y="8"/>
                  </a:lnTo>
                  <a:lnTo>
                    <a:pt x="120" y="8"/>
                  </a:lnTo>
                  <a:lnTo>
                    <a:pt x="122" y="6"/>
                  </a:lnTo>
                  <a:lnTo>
                    <a:pt x="123" y="6"/>
                  </a:lnTo>
                  <a:lnTo>
                    <a:pt x="125" y="10"/>
                  </a:lnTo>
                  <a:lnTo>
                    <a:pt x="129" y="13"/>
                  </a:lnTo>
                  <a:lnTo>
                    <a:pt x="130" y="20"/>
                  </a:lnTo>
                  <a:lnTo>
                    <a:pt x="132" y="27"/>
                  </a:lnTo>
                  <a:lnTo>
                    <a:pt x="132" y="36"/>
                  </a:lnTo>
                  <a:lnTo>
                    <a:pt x="130" y="45"/>
                  </a:lnTo>
                  <a:lnTo>
                    <a:pt x="130" y="45"/>
                  </a:lnTo>
                  <a:lnTo>
                    <a:pt x="129" y="52"/>
                  </a:lnTo>
                  <a:lnTo>
                    <a:pt x="129" y="57"/>
                  </a:lnTo>
                  <a:lnTo>
                    <a:pt x="130" y="66"/>
                  </a:lnTo>
                  <a:lnTo>
                    <a:pt x="132" y="71"/>
                  </a:lnTo>
                  <a:lnTo>
                    <a:pt x="132" y="73"/>
                  </a:lnTo>
                  <a:lnTo>
                    <a:pt x="132" y="76"/>
                  </a:lnTo>
                  <a:lnTo>
                    <a:pt x="132" y="76"/>
                  </a:lnTo>
                  <a:lnTo>
                    <a:pt x="130" y="78"/>
                  </a:lnTo>
                  <a:lnTo>
                    <a:pt x="129" y="78"/>
                  </a:lnTo>
                  <a:lnTo>
                    <a:pt x="129" y="74"/>
                  </a:lnTo>
                  <a:lnTo>
                    <a:pt x="127" y="69"/>
                  </a:lnTo>
                  <a:lnTo>
                    <a:pt x="125" y="69"/>
                  </a:lnTo>
                  <a:lnTo>
                    <a:pt x="123" y="71"/>
                  </a:lnTo>
                  <a:lnTo>
                    <a:pt x="123" y="71"/>
                  </a:lnTo>
                  <a:lnTo>
                    <a:pt x="120" y="73"/>
                  </a:lnTo>
                  <a:lnTo>
                    <a:pt x="120" y="76"/>
                  </a:lnTo>
                  <a:lnTo>
                    <a:pt x="122" y="81"/>
                  </a:lnTo>
                  <a:lnTo>
                    <a:pt x="122" y="87"/>
                  </a:lnTo>
                  <a:lnTo>
                    <a:pt x="122" y="90"/>
                  </a:lnTo>
                  <a:lnTo>
                    <a:pt x="120" y="92"/>
                  </a:lnTo>
                  <a:lnTo>
                    <a:pt x="120" y="92"/>
                  </a:lnTo>
                  <a:lnTo>
                    <a:pt x="118" y="95"/>
                  </a:lnTo>
                  <a:lnTo>
                    <a:pt x="118" y="99"/>
                  </a:lnTo>
                  <a:lnTo>
                    <a:pt x="120" y="111"/>
                  </a:lnTo>
                  <a:lnTo>
                    <a:pt x="122" y="121"/>
                  </a:lnTo>
                  <a:lnTo>
                    <a:pt x="120" y="125"/>
                  </a:lnTo>
                  <a:lnTo>
                    <a:pt x="116" y="125"/>
                  </a:lnTo>
                  <a:lnTo>
                    <a:pt x="116" y="125"/>
                  </a:lnTo>
                  <a:lnTo>
                    <a:pt x="109" y="123"/>
                  </a:lnTo>
                  <a:lnTo>
                    <a:pt x="108" y="120"/>
                  </a:lnTo>
                  <a:lnTo>
                    <a:pt x="108" y="116"/>
                  </a:lnTo>
                  <a:lnTo>
                    <a:pt x="111" y="114"/>
                  </a:lnTo>
                  <a:lnTo>
                    <a:pt x="111" y="114"/>
                  </a:lnTo>
                  <a:lnTo>
                    <a:pt x="113" y="114"/>
                  </a:lnTo>
                  <a:lnTo>
                    <a:pt x="113" y="113"/>
                  </a:lnTo>
                  <a:lnTo>
                    <a:pt x="111" y="109"/>
                  </a:lnTo>
                  <a:lnTo>
                    <a:pt x="109" y="107"/>
                  </a:lnTo>
                  <a:lnTo>
                    <a:pt x="109" y="107"/>
                  </a:lnTo>
                  <a:lnTo>
                    <a:pt x="106" y="107"/>
                  </a:lnTo>
                  <a:lnTo>
                    <a:pt x="106" y="107"/>
                  </a:lnTo>
                  <a:lnTo>
                    <a:pt x="104" y="113"/>
                  </a:lnTo>
                  <a:lnTo>
                    <a:pt x="102" y="116"/>
                  </a:lnTo>
                  <a:lnTo>
                    <a:pt x="101" y="116"/>
                  </a:lnTo>
                  <a:lnTo>
                    <a:pt x="101" y="113"/>
                  </a:lnTo>
                  <a:lnTo>
                    <a:pt x="101" y="113"/>
                  </a:lnTo>
                  <a:lnTo>
                    <a:pt x="99" y="111"/>
                  </a:lnTo>
                  <a:lnTo>
                    <a:pt x="97" y="113"/>
                  </a:lnTo>
                  <a:lnTo>
                    <a:pt x="97" y="116"/>
                  </a:lnTo>
                  <a:lnTo>
                    <a:pt x="94" y="123"/>
                  </a:lnTo>
                  <a:lnTo>
                    <a:pt x="92" y="127"/>
                  </a:lnTo>
                  <a:lnTo>
                    <a:pt x="90" y="130"/>
                  </a:lnTo>
                  <a:lnTo>
                    <a:pt x="90" y="130"/>
                  </a:lnTo>
                  <a:lnTo>
                    <a:pt x="85" y="134"/>
                  </a:lnTo>
                  <a:lnTo>
                    <a:pt x="83" y="139"/>
                  </a:lnTo>
                  <a:lnTo>
                    <a:pt x="82" y="144"/>
                  </a:lnTo>
                  <a:lnTo>
                    <a:pt x="80" y="144"/>
                  </a:lnTo>
                  <a:lnTo>
                    <a:pt x="76" y="144"/>
                  </a:lnTo>
                  <a:lnTo>
                    <a:pt x="76" y="144"/>
                  </a:lnTo>
                  <a:lnTo>
                    <a:pt x="64" y="141"/>
                  </a:lnTo>
                  <a:lnTo>
                    <a:pt x="61" y="139"/>
                  </a:lnTo>
                  <a:lnTo>
                    <a:pt x="55" y="141"/>
                  </a:lnTo>
                  <a:lnTo>
                    <a:pt x="55" y="141"/>
                  </a:lnTo>
                  <a:lnTo>
                    <a:pt x="52" y="141"/>
                  </a:lnTo>
                  <a:lnTo>
                    <a:pt x="50" y="139"/>
                  </a:lnTo>
                  <a:lnTo>
                    <a:pt x="47" y="132"/>
                  </a:lnTo>
                  <a:lnTo>
                    <a:pt x="43" y="123"/>
                  </a:lnTo>
                  <a:lnTo>
                    <a:pt x="40" y="120"/>
                  </a:lnTo>
                  <a:lnTo>
                    <a:pt x="36" y="114"/>
                  </a:lnTo>
                  <a:lnTo>
                    <a:pt x="36" y="114"/>
                  </a:lnTo>
                  <a:lnTo>
                    <a:pt x="31" y="111"/>
                  </a:lnTo>
                  <a:lnTo>
                    <a:pt x="28" y="106"/>
                  </a:lnTo>
                  <a:lnTo>
                    <a:pt x="24" y="94"/>
                  </a:lnTo>
                  <a:lnTo>
                    <a:pt x="22" y="81"/>
                  </a:lnTo>
                  <a:lnTo>
                    <a:pt x="21" y="69"/>
                  </a:lnTo>
                  <a:lnTo>
                    <a:pt x="21" y="69"/>
                  </a:lnTo>
                  <a:lnTo>
                    <a:pt x="21" y="62"/>
                  </a:lnTo>
                  <a:lnTo>
                    <a:pt x="17" y="59"/>
                  </a:lnTo>
                  <a:lnTo>
                    <a:pt x="14" y="55"/>
                  </a:lnTo>
                  <a:lnTo>
                    <a:pt x="10" y="47"/>
                  </a:lnTo>
                  <a:lnTo>
                    <a:pt x="10" y="47"/>
                  </a:lnTo>
                  <a:lnTo>
                    <a:pt x="3" y="26"/>
                  </a:lnTo>
                  <a:lnTo>
                    <a:pt x="0" y="19"/>
                  </a:lnTo>
                  <a:lnTo>
                    <a:pt x="1" y="12"/>
                  </a:lnTo>
                  <a:lnTo>
                    <a:pt x="1" y="1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8" name="Freeform 1961">
              <a:extLst>
                <a:ext uri="{FF2B5EF4-FFF2-40B4-BE49-F238E27FC236}">
                  <a16:creationId xmlns:a16="http://schemas.microsoft.com/office/drawing/2014/main" id="{C120EA51-B89E-405F-B143-4C3C17021A33}"/>
                </a:ext>
              </a:extLst>
            </p:cNvPr>
            <p:cNvSpPr>
              <a:spLocks/>
            </p:cNvSpPr>
            <p:nvPr/>
          </p:nvSpPr>
          <p:spPr bwMode="auto">
            <a:xfrm>
              <a:off x="7907190" y="4881804"/>
              <a:ext cx="1138252" cy="1025487"/>
            </a:xfrm>
            <a:custGeom>
              <a:avLst/>
              <a:gdLst/>
              <a:ahLst/>
              <a:cxnLst>
                <a:cxn ang="0">
                  <a:pos x="345" y="253"/>
                </a:cxn>
                <a:cxn ang="0">
                  <a:pos x="383" y="242"/>
                </a:cxn>
                <a:cxn ang="0">
                  <a:pos x="434" y="155"/>
                </a:cxn>
                <a:cxn ang="0">
                  <a:pos x="474" y="134"/>
                </a:cxn>
                <a:cxn ang="0">
                  <a:pos x="557" y="180"/>
                </a:cxn>
                <a:cxn ang="0">
                  <a:pos x="587" y="114"/>
                </a:cxn>
                <a:cxn ang="0">
                  <a:pos x="664" y="65"/>
                </a:cxn>
                <a:cxn ang="0">
                  <a:pos x="653" y="25"/>
                </a:cxn>
                <a:cxn ang="0">
                  <a:pos x="699" y="35"/>
                </a:cxn>
                <a:cxn ang="0">
                  <a:pos x="758" y="56"/>
                </a:cxn>
                <a:cxn ang="0">
                  <a:pos x="799" y="61"/>
                </a:cxn>
                <a:cxn ang="0">
                  <a:pos x="820" y="51"/>
                </a:cxn>
                <a:cxn ang="0">
                  <a:pos x="817" y="110"/>
                </a:cxn>
                <a:cxn ang="0">
                  <a:pos x="798" y="143"/>
                </a:cxn>
                <a:cxn ang="0">
                  <a:pos x="845" y="228"/>
                </a:cxn>
                <a:cxn ang="0">
                  <a:pos x="930" y="296"/>
                </a:cxn>
                <a:cxn ang="0">
                  <a:pos x="991" y="216"/>
                </a:cxn>
                <a:cxn ang="0">
                  <a:pos x="1003" y="86"/>
                </a:cxn>
                <a:cxn ang="0">
                  <a:pos x="1024" y="0"/>
                </a:cxn>
                <a:cxn ang="0">
                  <a:pos x="1050" y="67"/>
                </a:cxn>
                <a:cxn ang="0">
                  <a:pos x="1083" y="159"/>
                </a:cxn>
                <a:cxn ang="0">
                  <a:pos x="1129" y="213"/>
                </a:cxn>
                <a:cxn ang="0">
                  <a:pos x="1160" y="338"/>
                </a:cxn>
                <a:cxn ang="0">
                  <a:pos x="1228" y="399"/>
                </a:cxn>
                <a:cxn ang="0">
                  <a:pos x="1270" y="458"/>
                </a:cxn>
                <a:cxn ang="0">
                  <a:pos x="1289" y="498"/>
                </a:cxn>
                <a:cxn ang="0">
                  <a:pos x="1318" y="528"/>
                </a:cxn>
                <a:cxn ang="0">
                  <a:pos x="1378" y="613"/>
                </a:cxn>
                <a:cxn ang="0">
                  <a:pos x="1404" y="700"/>
                </a:cxn>
                <a:cxn ang="0">
                  <a:pos x="1409" y="815"/>
                </a:cxn>
                <a:cxn ang="0">
                  <a:pos x="1385" y="942"/>
                </a:cxn>
                <a:cxn ang="0">
                  <a:pos x="1315" y="1085"/>
                </a:cxn>
                <a:cxn ang="0">
                  <a:pos x="1292" y="1188"/>
                </a:cxn>
                <a:cxn ang="0">
                  <a:pos x="1172" y="1254"/>
                </a:cxn>
                <a:cxn ang="0">
                  <a:pos x="1129" y="1238"/>
                </a:cxn>
                <a:cxn ang="0">
                  <a:pos x="1116" y="1217"/>
                </a:cxn>
                <a:cxn ang="0">
                  <a:pos x="1054" y="1256"/>
                </a:cxn>
                <a:cxn ang="0">
                  <a:pos x="970" y="1221"/>
                </a:cxn>
                <a:cxn ang="0">
                  <a:pos x="920" y="1120"/>
                </a:cxn>
                <a:cxn ang="0">
                  <a:pos x="887" y="1075"/>
                </a:cxn>
                <a:cxn ang="0">
                  <a:pos x="840" y="1089"/>
                </a:cxn>
                <a:cxn ang="0">
                  <a:pos x="852" y="1043"/>
                </a:cxn>
                <a:cxn ang="0">
                  <a:pos x="847" y="998"/>
                </a:cxn>
                <a:cxn ang="0">
                  <a:pos x="798" y="1076"/>
                </a:cxn>
                <a:cxn ang="0">
                  <a:pos x="740" y="989"/>
                </a:cxn>
                <a:cxn ang="0">
                  <a:pos x="655" y="928"/>
                </a:cxn>
                <a:cxn ang="0">
                  <a:pos x="521" y="942"/>
                </a:cxn>
                <a:cxn ang="0">
                  <a:pos x="389" y="982"/>
                </a:cxn>
                <a:cxn ang="0">
                  <a:pos x="319" y="1029"/>
                </a:cxn>
                <a:cxn ang="0">
                  <a:pos x="227" y="1035"/>
                </a:cxn>
                <a:cxn ang="0">
                  <a:pos x="120" y="1078"/>
                </a:cxn>
                <a:cxn ang="0">
                  <a:pos x="65" y="1012"/>
                </a:cxn>
                <a:cxn ang="0">
                  <a:pos x="87" y="939"/>
                </a:cxn>
                <a:cxn ang="0">
                  <a:pos x="32" y="744"/>
                </a:cxn>
                <a:cxn ang="0">
                  <a:pos x="18" y="693"/>
                </a:cxn>
                <a:cxn ang="0">
                  <a:pos x="28" y="678"/>
                </a:cxn>
                <a:cxn ang="0">
                  <a:pos x="11" y="566"/>
                </a:cxn>
                <a:cxn ang="0">
                  <a:pos x="35" y="498"/>
                </a:cxn>
                <a:cxn ang="0">
                  <a:pos x="98" y="448"/>
                </a:cxn>
                <a:cxn ang="0">
                  <a:pos x="206" y="401"/>
                </a:cxn>
                <a:cxn ang="0">
                  <a:pos x="305" y="333"/>
                </a:cxn>
              </a:cxnLst>
              <a:rect l="0" t="0" r="r" b="b"/>
              <a:pathLst>
                <a:path w="1419" h="1278">
                  <a:moveTo>
                    <a:pt x="305" y="333"/>
                  </a:moveTo>
                  <a:lnTo>
                    <a:pt x="305" y="333"/>
                  </a:lnTo>
                  <a:lnTo>
                    <a:pt x="314" y="326"/>
                  </a:lnTo>
                  <a:lnTo>
                    <a:pt x="315" y="319"/>
                  </a:lnTo>
                  <a:lnTo>
                    <a:pt x="317" y="312"/>
                  </a:lnTo>
                  <a:lnTo>
                    <a:pt x="315" y="307"/>
                  </a:lnTo>
                  <a:lnTo>
                    <a:pt x="314" y="298"/>
                  </a:lnTo>
                  <a:lnTo>
                    <a:pt x="315" y="289"/>
                  </a:lnTo>
                  <a:lnTo>
                    <a:pt x="319" y="279"/>
                  </a:lnTo>
                  <a:lnTo>
                    <a:pt x="328" y="263"/>
                  </a:lnTo>
                  <a:lnTo>
                    <a:pt x="328" y="263"/>
                  </a:lnTo>
                  <a:lnTo>
                    <a:pt x="333" y="256"/>
                  </a:lnTo>
                  <a:lnTo>
                    <a:pt x="338" y="253"/>
                  </a:lnTo>
                  <a:lnTo>
                    <a:pt x="342" y="251"/>
                  </a:lnTo>
                  <a:lnTo>
                    <a:pt x="345" y="253"/>
                  </a:lnTo>
                  <a:lnTo>
                    <a:pt x="349" y="255"/>
                  </a:lnTo>
                  <a:lnTo>
                    <a:pt x="352" y="258"/>
                  </a:lnTo>
                  <a:lnTo>
                    <a:pt x="355" y="267"/>
                  </a:lnTo>
                  <a:lnTo>
                    <a:pt x="361" y="281"/>
                  </a:lnTo>
                  <a:lnTo>
                    <a:pt x="361" y="281"/>
                  </a:lnTo>
                  <a:lnTo>
                    <a:pt x="361" y="277"/>
                  </a:lnTo>
                  <a:lnTo>
                    <a:pt x="362" y="265"/>
                  </a:lnTo>
                  <a:lnTo>
                    <a:pt x="362" y="265"/>
                  </a:lnTo>
                  <a:lnTo>
                    <a:pt x="364" y="248"/>
                  </a:lnTo>
                  <a:lnTo>
                    <a:pt x="366" y="242"/>
                  </a:lnTo>
                  <a:lnTo>
                    <a:pt x="369" y="239"/>
                  </a:lnTo>
                  <a:lnTo>
                    <a:pt x="371" y="237"/>
                  </a:lnTo>
                  <a:lnTo>
                    <a:pt x="373" y="237"/>
                  </a:lnTo>
                  <a:lnTo>
                    <a:pt x="378" y="239"/>
                  </a:lnTo>
                  <a:lnTo>
                    <a:pt x="383" y="242"/>
                  </a:lnTo>
                  <a:lnTo>
                    <a:pt x="387" y="242"/>
                  </a:lnTo>
                  <a:lnTo>
                    <a:pt x="389" y="242"/>
                  </a:lnTo>
                  <a:lnTo>
                    <a:pt x="390" y="239"/>
                  </a:lnTo>
                  <a:lnTo>
                    <a:pt x="392" y="227"/>
                  </a:lnTo>
                  <a:lnTo>
                    <a:pt x="392" y="227"/>
                  </a:lnTo>
                  <a:lnTo>
                    <a:pt x="392" y="216"/>
                  </a:lnTo>
                  <a:lnTo>
                    <a:pt x="394" y="209"/>
                  </a:lnTo>
                  <a:lnTo>
                    <a:pt x="396" y="206"/>
                  </a:lnTo>
                  <a:lnTo>
                    <a:pt x="399" y="202"/>
                  </a:lnTo>
                  <a:lnTo>
                    <a:pt x="408" y="192"/>
                  </a:lnTo>
                  <a:lnTo>
                    <a:pt x="415" y="185"/>
                  </a:lnTo>
                  <a:lnTo>
                    <a:pt x="422" y="171"/>
                  </a:lnTo>
                  <a:lnTo>
                    <a:pt x="422" y="171"/>
                  </a:lnTo>
                  <a:lnTo>
                    <a:pt x="429" y="161"/>
                  </a:lnTo>
                  <a:lnTo>
                    <a:pt x="434" y="155"/>
                  </a:lnTo>
                  <a:lnTo>
                    <a:pt x="439" y="154"/>
                  </a:lnTo>
                  <a:lnTo>
                    <a:pt x="443" y="155"/>
                  </a:lnTo>
                  <a:lnTo>
                    <a:pt x="444" y="157"/>
                  </a:lnTo>
                  <a:lnTo>
                    <a:pt x="448" y="157"/>
                  </a:lnTo>
                  <a:lnTo>
                    <a:pt x="450" y="155"/>
                  </a:lnTo>
                  <a:lnTo>
                    <a:pt x="450" y="148"/>
                  </a:lnTo>
                  <a:lnTo>
                    <a:pt x="450" y="148"/>
                  </a:lnTo>
                  <a:lnTo>
                    <a:pt x="451" y="140"/>
                  </a:lnTo>
                  <a:lnTo>
                    <a:pt x="455" y="138"/>
                  </a:lnTo>
                  <a:lnTo>
                    <a:pt x="458" y="138"/>
                  </a:lnTo>
                  <a:lnTo>
                    <a:pt x="463" y="140"/>
                  </a:lnTo>
                  <a:lnTo>
                    <a:pt x="467" y="143"/>
                  </a:lnTo>
                  <a:lnTo>
                    <a:pt x="470" y="143"/>
                  </a:lnTo>
                  <a:lnTo>
                    <a:pt x="474" y="141"/>
                  </a:lnTo>
                  <a:lnTo>
                    <a:pt x="474" y="134"/>
                  </a:lnTo>
                  <a:lnTo>
                    <a:pt x="474" y="134"/>
                  </a:lnTo>
                  <a:lnTo>
                    <a:pt x="476" y="131"/>
                  </a:lnTo>
                  <a:lnTo>
                    <a:pt x="477" y="129"/>
                  </a:lnTo>
                  <a:lnTo>
                    <a:pt x="479" y="129"/>
                  </a:lnTo>
                  <a:lnTo>
                    <a:pt x="483" y="129"/>
                  </a:lnTo>
                  <a:lnTo>
                    <a:pt x="490" y="136"/>
                  </a:lnTo>
                  <a:lnTo>
                    <a:pt x="500" y="147"/>
                  </a:lnTo>
                  <a:lnTo>
                    <a:pt x="521" y="166"/>
                  </a:lnTo>
                  <a:lnTo>
                    <a:pt x="530" y="173"/>
                  </a:lnTo>
                  <a:lnTo>
                    <a:pt x="535" y="175"/>
                  </a:lnTo>
                  <a:lnTo>
                    <a:pt x="538" y="175"/>
                  </a:lnTo>
                  <a:lnTo>
                    <a:pt x="538" y="175"/>
                  </a:lnTo>
                  <a:lnTo>
                    <a:pt x="545" y="175"/>
                  </a:lnTo>
                  <a:lnTo>
                    <a:pt x="551" y="176"/>
                  </a:lnTo>
                  <a:lnTo>
                    <a:pt x="557" y="180"/>
                  </a:lnTo>
                  <a:lnTo>
                    <a:pt x="561" y="181"/>
                  </a:lnTo>
                  <a:lnTo>
                    <a:pt x="564" y="183"/>
                  </a:lnTo>
                  <a:lnTo>
                    <a:pt x="568" y="181"/>
                  </a:lnTo>
                  <a:lnTo>
                    <a:pt x="573" y="178"/>
                  </a:lnTo>
                  <a:lnTo>
                    <a:pt x="573" y="178"/>
                  </a:lnTo>
                  <a:lnTo>
                    <a:pt x="577" y="175"/>
                  </a:lnTo>
                  <a:lnTo>
                    <a:pt x="577" y="171"/>
                  </a:lnTo>
                  <a:lnTo>
                    <a:pt x="570" y="166"/>
                  </a:lnTo>
                  <a:lnTo>
                    <a:pt x="568" y="161"/>
                  </a:lnTo>
                  <a:lnTo>
                    <a:pt x="566" y="155"/>
                  </a:lnTo>
                  <a:lnTo>
                    <a:pt x="570" y="147"/>
                  </a:lnTo>
                  <a:lnTo>
                    <a:pt x="577" y="134"/>
                  </a:lnTo>
                  <a:lnTo>
                    <a:pt x="577" y="134"/>
                  </a:lnTo>
                  <a:lnTo>
                    <a:pt x="584" y="122"/>
                  </a:lnTo>
                  <a:lnTo>
                    <a:pt x="587" y="114"/>
                  </a:lnTo>
                  <a:lnTo>
                    <a:pt x="589" y="108"/>
                  </a:lnTo>
                  <a:lnTo>
                    <a:pt x="589" y="103"/>
                  </a:lnTo>
                  <a:lnTo>
                    <a:pt x="591" y="98"/>
                  </a:lnTo>
                  <a:lnTo>
                    <a:pt x="592" y="93"/>
                  </a:lnTo>
                  <a:lnTo>
                    <a:pt x="599" y="86"/>
                  </a:lnTo>
                  <a:lnTo>
                    <a:pt x="610" y="77"/>
                  </a:lnTo>
                  <a:lnTo>
                    <a:pt x="610" y="77"/>
                  </a:lnTo>
                  <a:lnTo>
                    <a:pt x="627" y="65"/>
                  </a:lnTo>
                  <a:lnTo>
                    <a:pt x="632" y="63"/>
                  </a:lnTo>
                  <a:lnTo>
                    <a:pt x="636" y="63"/>
                  </a:lnTo>
                  <a:lnTo>
                    <a:pt x="641" y="67"/>
                  </a:lnTo>
                  <a:lnTo>
                    <a:pt x="646" y="67"/>
                  </a:lnTo>
                  <a:lnTo>
                    <a:pt x="655" y="65"/>
                  </a:lnTo>
                  <a:lnTo>
                    <a:pt x="655" y="65"/>
                  </a:lnTo>
                  <a:lnTo>
                    <a:pt x="664" y="65"/>
                  </a:lnTo>
                  <a:lnTo>
                    <a:pt x="669" y="65"/>
                  </a:lnTo>
                  <a:lnTo>
                    <a:pt x="676" y="67"/>
                  </a:lnTo>
                  <a:lnTo>
                    <a:pt x="678" y="67"/>
                  </a:lnTo>
                  <a:lnTo>
                    <a:pt x="678" y="65"/>
                  </a:lnTo>
                  <a:lnTo>
                    <a:pt x="681" y="51"/>
                  </a:lnTo>
                  <a:lnTo>
                    <a:pt x="681" y="51"/>
                  </a:lnTo>
                  <a:lnTo>
                    <a:pt x="683" y="42"/>
                  </a:lnTo>
                  <a:lnTo>
                    <a:pt x="681" y="39"/>
                  </a:lnTo>
                  <a:lnTo>
                    <a:pt x="678" y="35"/>
                  </a:lnTo>
                  <a:lnTo>
                    <a:pt x="674" y="35"/>
                  </a:lnTo>
                  <a:lnTo>
                    <a:pt x="664" y="35"/>
                  </a:lnTo>
                  <a:lnTo>
                    <a:pt x="660" y="33"/>
                  </a:lnTo>
                  <a:lnTo>
                    <a:pt x="657" y="32"/>
                  </a:lnTo>
                  <a:lnTo>
                    <a:pt x="657" y="32"/>
                  </a:lnTo>
                  <a:lnTo>
                    <a:pt x="653" y="25"/>
                  </a:lnTo>
                  <a:lnTo>
                    <a:pt x="653" y="23"/>
                  </a:lnTo>
                  <a:lnTo>
                    <a:pt x="655" y="21"/>
                  </a:lnTo>
                  <a:lnTo>
                    <a:pt x="660" y="20"/>
                  </a:lnTo>
                  <a:lnTo>
                    <a:pt x="669" y="20"/>
                  </a:lnTo>
                  <a:lnTo>
                    <a:pt x="669" y="20"/>
                  </a:lnTo>
                  <a:lnTo>
                    <a:pt x="674" y="21"/>
                  </a:lnTo>
                  <a:lnTo>
                    <a:pt x="678" y="23"/>
                  </a:lnTo>
                  <a:lnTo>
                    <a:pt x="681" y="27"/>
                  </a:lnTo>
                  <a:lnTo>
                    <a:pt x="683" y="30"/>
                  </a:lnTo>
                  <a:lnTo>
                    <a:pt x="686" y="30"/>
                  </a:lnTo>
                  <a:lnTo>
                    <a:pt x="690" y="30"/>
                  </a:lnTo>
                  <a:lnTo>
                    <a:pt x="690" y="30"/>
                  </a:lnTo>
                  <a:lnTo>
                    <a:pt x="693" y="28"/>
                  </a:lnTo>
                  <a:lnTo>
                    <a:pt x="695" y="30"/>
                  </a:lnTo>
                  <a:lnTo>
                    <a:pt x="699" y="35"/>
                  </a:lnTo>
                  <a:lnTo>
                    <a:pt x="700" y="39"/>
                  </a:lnTo>
                  <a:lnTo>
                    <a:pt x="704" y="40"/>
                  </a:lnTo>
                  <a:lnTo>
                    <a:pt x="709" y="42"/>
                  </a:lnTo>
                  <a:lnTo>
                    <a:pt x="716" y="42"/>
                  </a:lnTo>
                  <a:lnTo>
                    <a:pt x="716" y="42"/>
                  </a:lnTo>
                  <a:lnTo>
                    <a:pt x="723" y="44"/>
                  </a:lnTo>
                  <a:lnTo>
                    <a:pt x="728" y="46"/>
                  </a:lnTo>
                  <a:lnTo>
                    <a:pt x="733" y="51"/>
                  </a:lnTo>
                  <a:lnTo>
                    <a:pt x="735" y="54"/>
                  </a:lnTo>
                  <a:lnTo>
                    <a:pt x="739" y="58"/>
                  </a:lnTo>
                  <a:lnTo>
                    <a:pt x="744" y="58"/>
                  </a:lnTo>
                  <a:lnTo>
                    <a:pt x="749" y="56"/>
                  </a:lnTo>
                  <a:lnTo>
                    <a:pt x="749" y="56"/>
                  </a:lnTo>
                  <a:lnTo>
                    <a:pt x="754" y="54"/>
                  </a:lnTo>
                  <a:lnTo>
                    <a:pt x="758" y="56"/>
                  </a:lnTo>
                  <a:lnTo>
                    <a:pt x="761" y="61"/>
                  </a:lnTo>
                  <a:lnTo>
                    <a:pt x="765" y="63"/>
                  </a:lnTo>
                  <a:lnTo>
                    <a:pt x="768" y="65"/>
                  </a:lnTo>
                  <a:lnTo>
                    <a:pt x="773" y="61"/>
                  </a:lnTo>
                  <a:lnTo>
                    <a:pt x="782" y="56"/>
                  </a:lnTo>
                  <a:lnTo>
                    <a:pt x="782" y="56"/>
                  </a:lnTo>
                  <a:lnTo>
                    <a:pt x="789" y="49"/>
                  </a:lnTo>
                  <a:lnTo>
                    <a:pt x="794" y="47"/>
                  </a:lnTo>
                  <a:lnTo>
                    <a:pt x="796" y="47"/>
                  </a:lnTo>
                  <a:lnTo>
                    <a:pt x="796" y="49"/>
                  </a:lnTo>
                  <a:lnTo>
                    <a:pt x="796" y="56"/>
                  </a:lnTo>
                  <a:lnTo>
                    <a:pt x="796" y="60"/>
                  </a:lnTo>
                  <a:lnTo>
                    <a:pt x="798" y="60"/>
                  </a:lnTo>
                  <a:lnTo>
                    <a:pt x="798" y="60"/>
                  </a:lnTo>
                  <a:lnTo>
                    <a:pt x="799" y="61"/>
                  </a:lnTo>
                  <a:lnTo>
                    <a:pt x="799" y="63"/>
                  </a:lnTo>
                  <a:lnTo>
                    <a:pt x="799" y="68"/>
                  </a:lnTo>
                  <a:lnTo>
                    <a:pt x="801" y="72"/>
                  </a:lnTo>
                  <a:lnTo>
                    <a:pt x="803" y="74"/>
                  </a:lnTo>
                  <a:lnTo>
                    <a:pt x="806" y="72"/>
                  </a:lnTo>
                  <a:lnTo>
                    <a:pt x="806" y="72"/>
                  </a:lnTo>
                  <a:lnTo>
                    <a:pt x="808" y="70"/>
                  </a:lnTo>
                  <a:lnTo>
                    <a:pt x="810" y="68"/>
                  </a:lnTo>
                  <a:lnTo>
                    <a:pt x="808" y="63"/>
                  </a:lnTo>
                  <a:lnTo>
                    <a:pt x="808" y="60"/>
                  </a:lnTo>
                  <a:lnTo>
                    <a:pt x="810" y="56"/>
                  </a:lnTo>
                  <a:lnTo>
                    <a:pt x="813" y="53"/>
                  </a:lnTo>
                  <a:lnTo>
                    <a:pt x="813" y="53"/>
                  </a:lnTo>
                  <a:lnTo>
                    <a:pt x="819" y="49"/>
                  </a:lnTo>
                  <a:lnTo>
                    <a:pt x="820" y="51"/>
                  </a:lnTo>
                  <a:lnTo>
                    <a:pt x="822" y="53"/>
                  </a:lnTo>
                  <a:lnTo>
                    <a:pt x="824" y="58"/>
                  </a:lnTo>
                  <a:lnTo>
                    <a:pt x="827" y="61"/>
                  </a:lnTo>
                  <a:lnTo>
                    <a:pt x="833" y="65"/>
                  </a:lnTo>
                  <a:lnTo>
                    <a:pt x="833" y="65"/>
                  </a:lnTo>
                  <a:lnTo>
                    <a:pt x="836" y="68"/>
                  </a:lnTo>
                  <a:lnTo>
                    <a:pt x="836" y="70"/>
                  </a:lnTo>
                  <a:lnTo>
                    <a:pt x="836" y="74"/>
                  </a:lnTo>
                  <a:lnTo>
                    <a:pt x="833" y="75"/>
                  </a:lnTo>
                  <a:lnTo>
                    <a:pt x="827" y="79"/>
                  </a:lnTo>
                  <a:lnTo>
                    <a:pt x="824" y="84"/>
                  </a:lnTo>
                  <a:lnTo>
                    <a:pt x="820" y="93"/>
                  </a:lnTo>
                  <a:lnTo>
                    <a:pt x="819" y="101"/>
                  </a:lnTo>
                  <a:lnTo>
                    <a:pt x="819" y="101"/>
                  </a:lnTo>
                  <a:lnTo>
                    <a:pt x="817" y="110"/>
                  </a:lnTo>
                  <a:lnTo>
                    <a:pt x="817" y="114"/>
                  </a:lnTo>
                  <a:lnTo>
                    <a:pt x="815" y="112"/>
                  </a:lnTo>
                  <a:lnTo>
                    <a:pt x="813" y="108"/>
                  </a:lnTo>
                  <a:lnTo>
                    <a:pt x="812" y="107"/>
                  </a:lnTo>
                  <a:lnTo>
                    <a:pt x="808" y="105"/>
                  </a:lnTo>
                  <a:lnTo>
                    <a:pt x="805" y="107"/>
                  </a:lnTo>
                  <a:lnTo>
                    <a:pt x="799" y="115"/>
                  </a:lnTo>
                  <a:lnTo>
                    <a:pt x="799" y="115"/>
                  </a:lnTo>
                  <a:lnTo>
                    <a:pt x="796" y="124"/>
                  </a:lnTo>
                  <a:lnTo>
                    <a:pt x="796" y="127"/>
                  </a:lnTo>
                  <a:lnTo>
                    <a:pt x="798" y="129"/>
                  </a:lnTo>
                  <a:lnTo>
                    <a:pt x="799" y="129"/>
                  </a:lnTo>
                  <a:lnTo>
                    <a:pt x="801" y="131"/>
                  </a:lnTo>
                  <a:lnTo>
                    <a:pt x="801" y="134"/>
                  </a:lnTo>
                  <a:lnTo>
                    <a:pt x="798" y="143"/>
                  </a:lnTo>
                  <a:lnTo>
                    <a:pt x="791" y="155"/>
                  </a:lnTo>
                  <a:lnTo>
                    <a:pt x="791" y="155"/>
                  </a:lnTo>
                  <a:lnTo>
                    <a:pt x="784" y="168"/>
                  </a:lnTo>
                  <a:lnTo>
                    <a:pt x="782" y="175"/>
                  </a:lnTo>
                  <a:lnTo>
                    <a:pt x="780" y="180"/>
                  </a:lnTo>
                  <a:lnTo>
                    <a:pt x="784" y="185"/>
                  </a:lnTo>
                  <a:lnTo>
                    <a:pt x="794" y="195"/>
                  </a:lnTo>
                  <a:lnTo>
                    <a:pt x="803" y="202"/>
                  </a:lnTo>
                  <a:lnTo>
                    <a:pt x="813" y="213"/>
                  </a:lnTo>
                  <a:lnTo>
                    <a:pt x="813" y="213"/>
                  </a:lnTo>
                  <a:lnTo>
                    <a:pt x="820" y="220"/>
                  </a:lnTo>
                  <a:lnTo>
                    <a:pt x="826" y="222"/>
                  </a:lnTo>
                  <a:lnTo>
                    <a:pt x="833" y="225"/>
                  </a:lnTo>
                  <a:lnTo>
                    <a:pt x="838" y="225"/>
                  </a:lnTo>
                  <a:lnTo>
                    <a:pt x="845" y="228"/>
                  </a:lnTo>
                  <a:lnTo>
                    <a:pt x="852" y="234"/>
                  </a:lnTo>
                  <a:lnTo>
                    <a:pt x="864" y="244"/>
                  </a:lnTo>
                  <a:lnTo>
                    <a:pt x="864" y="244"/>
                  </a:lnTo>
                  <a:lnTo>
                    <a:pt x="874" y="253"/>
                  </a:lnTo>
                  <a:lnTo>
                    <a:pt x="883" y="260"/>
                  </a:lnTo>
                  <a:lnTo>
                    <a:pt x="890" y="263"/>
                  </a:lnTo>
                  <a:lnTo>
                    <a:pt x="895" y="265"/>
                  </a:lnTo>
                  <a:lnTo>
                    <a:pt x="904" y="267"/>
                  </a:lnTo>
                  <a:lnTo>
                    <a:pt x="906" y="270"/>
                  </a:lnTo>
                  <a:lnTo>
                    <a:pt x="909" y="275"/>
                  </a:lnTo>
                  <a:lnTo>
                    <a:pt x="909" y="275"/>
                  </a:lnTo>
                  <a:lnTo>
                    <a:pt x="911" y="281"/>
                  </a:lnTo>
                  <a:lnTo>
                    <a:pt x="916" y="286"/>
                  </a:lnTo>
                  <a:lnTo>
                    <a:pt x="923" y="291"/>
                  </a:lnTo>
                  <a:lnTo>
                    <a:pt x="930" y="296"/>
                  </a:lnTo>
                  <a:lnTo>
                    <a:pt x="939" y="300"/>
                  </a:lnTo>
                  <a:lnTo>
                    <a:pt x="947" y="302"/>
                  </a:lnTo>
                  <a:lnTo>
                    <a:pt x="954" y="302"/>
                  </a:lnTo>
                  <a:lnTo>
                    <a:pt x="961" y="298"/>
                  </a:lnTo>
                  <a:lnTo>
                    <a:pt x="961" y="298"/>
                  </a:lnTo>
                  <a:lnTo>
                    <a:pt x="967" y="293"/>
                  </a:lnTo>
                  <a:lnTo>
                    <a:pt x="970" y="288"/>
                  </a:lnTo>
                  <a:lnTo>
                    <a:pt x="974" y="277"/>
                  </a:lnTo>
                  <a:lnTo>
                    <a:pt x="975" y="265"/>
                  </a:lnTo>
                  <a:lnTo>
                    <a:pt x="979" y="258"/>
                  </a:lnTo>
                  <a:lnTo>
                    <a:pt x="984" y="248"/>
                  </a:lnTo>
                  <a:lnTo>
                    <a:pt x="984" y="248"/>
                  </a:lnTo>
                  <a:lnTo>
                    <a:pt x="989" y="235"/>
                  </a:lnTo>
                  <a:lnTo>
                    <a:pt x="989" y="227"/>
                  </a:lnTo>
                  <a:lnTo>
                    <a:pt x="991" y="216"/>
                  </a:lnTo>
                  <a:lnTo>
                    <a:pt x="995" y="199"/>
                  </a:lnTo>
                  <a:lnTo>
                    <a:pt x="995" y="199"/>
                  </a:lnTo>
                  <a:lnTo>
                    <a:pt x="996" y="188"/>
                  </a:lnTo>
                  <a:lnTo>
                    <a:pt x="996" y="176"/>
                  </a:lnTo>
                  <a:lnTo>
                    <a:pt x="993" y="155"/>
                  </a:lnTo>
                  <a:lnTo>
                    <a:pt x="991" y="136"/>
                  </a:lnTo>
                  <a:lnTo>
                    <a:pt x="991" y="127"/>
                  </a:lnTo>
                  <a:lnTo>
                    <a:pt x="993" y="121"/>
                  </a:lnTo>
                  <a:lnTo>
                    <a:pt x="993" y="121"/>
                  </a:lnTo>
                  <a:lnTo>
                    <a:pt x="996" y="108"/>
                  </a:lnTo>
                  <a:lnTo>
                    <a:pt x="996" y="101"/>
                  </a:lnTo>
                  <a:lnTo>
                    <a:pt x="996" y="94"/>
                  </a:lnTo>
                  <a:lnTo>
                    <a:pt x="1001" y="87"/>
                  </a:lnTo>
                  <a:lnTo>
                    <a:pt x="1001" y="87"/>
                  </a:lnTo>
                  <a:lnTo>
                    <a:pt x="1003" y="86"/>
                  </a:lnTo>
                  <a:lnTo>
                    <a:pt x="1003" y="84"/>
                  </a:lnTo>
                  <a:lnTo>
                    <a:pt x="1001" y="80"/>
                  </a:lnTo>
                  <a:lnTo>
                    <a:pt x="1000" y="79"/>
                  </a:lnTo>
                  <a:lnTo>
                    <a:pt x="998" y="77"/>
                  </a:lnTo>
                  <a:lnTo>
                    <a:pt x="998" y="72"/>
                  </a:lnTo>
                  <a:lnTo>
                    <a:pt x="1001" y="65"/>
                  </a:lnTo>
                  <a:lnTo>
                    <a:pt x="1001" y="65"/>
                  </a:lnTo>
                  <a:lnTo>
                    <a:pt x="1012" y="37"/>
                  </a:lnTo>
                  <a:lnTo>
                    <a:pt x="1014" y="28"/>
                  </a:lnTo>
                  <a:lnTo>
                    <a:pt x="1015" y="16"/>
                  </a:lnTo>
                  <a:lnTo>
                    <a:pt x="1015" y="16"/>
                  </a:lnTo>
                  <a:lnTo>
                    <a:pt x="1017" y="9"/>
                  </a:lnTo>
                  <a:lnTo>
                    <a:pt x="1019" y="6"/>
                  </a:lnTo>
                  <a:lnTo>
                    <a:pt x="1021" y="2"/>
                  </a:lnTo>
                  <a:lnTo>
                    <a:pt x="1024" y="0"/>
                  </a:lnTo>
                  <a:lnTo>
                    <a:pt x="1028" y="0"/>
                  </a:lnTo>
                  <a:lnTo>
                    <a:pt x="1031" y="2"/>
                  </a:lnTo>
                  <a:lnTo>
                    <a:pt x="1035" y="6"/>
                  </a:lnTo>
                  <a:lnTo>
                    <a:pt x="1036" y="13"/>
                  </a:lnTo>
                  <a:lnTo>
                    <a:pt x="1036" y="13"/>
                  </a:lnTo>
                  <a:lnTo>
                    <a:pt x="1038" y="25"/>
                  </a:lnTo>
                  <a:lnTo>
                    <a:pt x="1040" y="37"/>
                  </a:lnTo>
                  <a:lnTo>
                    <a:pt x="1042" y="46"/>
                  </a:lnTo>
                  <a:lnTo>
                    <a:pt x="1045" y="49"/>
                  </a:lnTo>
                  <a:lnTo>
                    <a:pt x="1048" y="51"/>
                  </a:lnTo>
                  <a:lnTo>
                    <a:pt x="1048" y="51"/>
                  </a:lnTo>
                  <a:lnTo>
                    <a:pt x="1052" y="53"/>
                  </a:lnTo>
                  <a:lnTo>
                    <a:pt x="1052" y="54"/>
                  </a:lnTo>
                  <a:lnTo>
                    <a:pt x="1052" y="60"/>
                  </a:lnTo>
                  <a:lnTo>
                    <a:pt x="1050" y="67"/>
                  </a:lnTo>
                  <a:lnTo>
                    <a:pt x="1052" y="70"/>
                  </a:lnTo>
                  <a:lnTo>
                    <a:pt x="1055" y="75"/>
                  </a:lnTo>
                  <a:lnTo>
                    <a:pt x="1055" y="75"/>
                  </a:lnTo>
                  <a:lnTo>
                    <a:pt x="1059" y="80"/>
                  </a:lnTo>
                  <a:lnTo>
                    <a:pt x="1062" y="87"/>
                  </a:lnTo>
                  <a:lnTo>
                    <a:pt x="1066" y="100"/>
                  </a:lnTo>
                  <a:lnTo>
                    <a:pt x="1066" y="114"/>
                  </a:lnTo>
                  <a:lnTo>
                    <a:pt x="1066" y="126"/>
                  </a:lnTo>
                  <a:lnTo>
                    <a:pt x="1066" y="126"/>
                  </a:lnTo>
                  <a:lnTo>
                    <a:pt x="1068" y="140"/>
                  </a:lnTo>
                  <a:lnTo>
                    <a:pt x="1069" y="147"/>
                  </a:lnTo>
                  <a:lnTo>
                    <a:pt x="1073" y="154"/>
                  </a:lnTo>
                  <a:lnTo>
                    <a:pt x="1076" y="157"/>
                  </a:lnTo>
                  <a:lnTo>
                    <a:pt x="1080" y="161"/>
                  </a:lnTo>
                  <a:lnTo>
                    <a:pt x="1083" y="159"/>
                  </a:lnTo>
                  <a:lnTo>
                    <a:pt x="1089" y="154"/>
                  </a:lnTo>
                  <a:lnTo>
                    <a:pt x="1089" y="154"/>
                  </a:lnTo>
                  <a:lnTo>
                    <a:pt x="1092" y="148"/>
                  </a:lnTo>
                  <a:lnTo>
                    <a:pt x="1095" y="147"/>
                  </a:lnTo>
                  <a:lnTo>
                    <a:pt x="1097" y="147"/>
                  </a:lnTo>
                  <a:lnTo>
                    <a:pt x="1099" y="150"/>
                  </a:lnTo>
                  <a:lnTo>
                    <a:pt x="1104" y="161"/>
                  </a:lnTo>
                  <a:lnTo>
                    <a:pt x="1109" y="166"/>
                  </a:lnTo>
                  <a:lnTo>
                    <a:pt x="1116" y="173"/>
                  </a:lnTo>
                  <a:lnTo>
                    <a:pt x="1116" y="173"/>
                  </a:lnTo>
                  <a:lnTo>
                    <a:pt x="1120" y="175"/>
                  </a:lnTo>
                  <a:lnTo>
                    <a:pt x="1123" y="180"/>
                  </a:lnTo>
                  <a:lnTo>
                    <a:pt x="1127" y="188"/>
                  </a:lnTo>
                  <a:lnTo>
                    <a:pt x="1129" y="201"/>
                  </a:lnTo>
                  <a:lnTo>
                    <a:pt x="1129" y="213"/>
                  </a:lnTo>
                  <a:lnTo>
                    <a:pt x="1130" y="225"/>
                  </a:lnTo>
                  <a:lnTo>
                    <a:pt x="1130" y="239"/>
                  </a:lnTo>
                  <a:lnTo>
                    <a:pt x="1134" y="249"/>
                  </a:lnTo>
                  <a:lnTo>
                    <a:pt x="1136" y="255"/>
                  </a:lnTo>
                  <a:lnTo>
                    <a:pt x="1139" y="258"/>
                  </a:lnTo>
                  <a:lnTo>
                    <a:pt x="1139" y="258"/>
                  </a:lnTo>
                  <a:lnTo>
                    <a:pt x="1146" y="269"/>
                  </a:lnTo>
                  <a:lnTo>
                    <a:pt x="1149" y="279"/>
                  </a:lnTo>
                  <a:lnTo>
                    <a:pt x="1151" y="289"/>
                  </a:lnTo>
                  <a:lnTo>
                    <a:pt x="1153" y="300"/>
                  </a:lnTo>
                  <a:lnTo>
                    <a:pt x="1153" y="319"/>
                  </a:lnTo>
                  <a:lnTo>
                    <a:pt x="1153" y="326"/>
                  </a:lnTo>
                  <a:lnTo>
                    <a:pt x="1156" y="333"/>
                  </a:lnTo>
                  <a:lnTo>
                    <a:pt x="1156" y="333"/>
                  </a:lnTo>
                  <a:lnTo>
                    <a:pt x="1160" y="338"/>
                  </a:lnTo>
                  <a:lnTo>
                    <a:pt x="1162" y="343"/>
                  </a:lnTo>
                  <a:lnTo>
                    <a:pt x="1165" y="356"/>
                  </a:lnTo>
                  <a:lnTo>
                    <a:pt x="1169" y="359"/>
                  </a:lnTo>
                  <a:lnTo>
                    <a:pt x="1172" y="364"/>
                  </a:lnTo>
                  <a:lnTo>
                    <a:pt x="1179" y="368"/>
                  </a:lnTo>
                  <a:lnTo>
                    <a:pt x="1188" y="371"/>
                  </a:lnTo>
                  <a:lnTo>
                    <a:pt x="1188" y="371"/>
                  </a:lnTo>
                  <a:lnTo>
                    <a:pt x="1196" y="373"/>
                  </a:lnTo>
                  <a:lnTo>
                    <a:pt x="1202" y="376"/>
                  </a:lnTo>
                  <a:lnTo>
                    <a:pt x="1205" y="380"/>
                  </a:lnTo>
                  <a:lnTo>
                    <a:pt x="1207" y="383"/>
                  </a:lnTo>
                  <a:lnTo>
                    <a:pt x="1209" y="387"/>
                  </a:lnTo>
                  <a:lnTo>
                    <a:pt x="1212" y="390"/>
                  </a:lnTo>
                  <a:lnTo>
                    <a:pt x="1219" y="394"/>
                  </a:lnTo>
                  <a:lnTo>
                    <a:pt x="1228" y="399"/>
                  </a:lnTo>
                  <a:lnTo>
                    <a:pt x="1228" y="399"/>
                  </a:lnTo>
                  <a:lnTo>
                    <a:pt x="1238" y="403"/>
                  </a:lnTo>
                  <a:lnTo>
                    <a:pt x="1245" y="408"/>
                  </a:lnTo>
                  <a:lnTo>
                    <a:pt x="1250" y="413"/>
                  </a:lnTo>
                  <a:lnTo>
                    <a:pt x="1254" y="417"/>
                  </a:lnTo>
                  <a:lnTo>
                    <a:pt x="1254" y="420"/>
                  </a:lnTo>
                  <a:lnTo>
                    <a:pt x="1252" y="423"/>
                  </a:lnTo>
                  <a:lnTo>
                    <a:pt x="1250" y="423"/>
                  </a:lnTo>
                  <a:lnTo>
                    <a:pt x="1247" y="423"/>
                  </a:lnTo>
                  <a:lnTo>
                    <a:pt x="1247" y="423"/>
                  </a:lnTo>
                  <a:lnTo>
                    <a:pt x="1245" y="425"/>
                  </a:lnTo>
                  <a:lnTo>
                    <a:pt x="1245" y="427"/>
                  </a:lnTo>
                  <a:lnTo>
                    <a:pt x="1254" y="437"/>
                  </a:lnTo>
                  <a:lnTo>
                    <a:pt x="1264" y="451"/>
                  </a:lnTo>
                  <a:lnTo>
                    <a:pt x="1270" y="458"/>
                  </a:lnTo>
                  <a:lnTo>
                    <a:pt x="1273" y="464"/>
                  </a:lnTo>
                  <a:lnTo>
                    <a:pt x="1273" y="464"/>
                  </a:lnTo>
                  <a:lnTo>
                    <a:pt x="1275" y="470"/>
                  </a:lnTo>
                  <a:lnTo>
                    <a:pt x="1275" y="474"/>
                  </a:lnTo>
                  <a:lnTo>
                    <a:pt x="1273" y="484"/>
                  </a:lnTo>
                  <a:lnTo>
                    <a:pt x="1273" y="488"/>
                  </a:lnTo>
                  <a:lnTo>
                    <a:pt x="1273" y="493"/>
                  </a:lnTo>
                  <a:lnTo>
                    <a:pt x="1275" y="498"/>
                  </a:lnTo>
                  <a:lnTo>
                    <a:pt x="1280" y="505"/>
                  </a:lnTo>
                  <a:lnTo>
                    <a:pt x="1280" y="505"/>
                  </a:lnTo>
                  <a:lnTo>
                    <a:pt x="1285" y="509"/>
                  </a:lnTo>
                  <a:lnTo>
                    <a:pt x="1287" y="509"/>
                  </a:lnTo>
                  <a:lnTo>
                    <a:pt x="1289" y="507"/>
                  </a:lnTo>
                  <a:lnTo>
                    <a:pt x="1289" y="502"/>
                  </a:lnTo>
                  <a:lnTo>
                    <a:pt x="1289" y="498"/>
                  </a:lnTo>
                  <a:lnTo>
                    <a:pt x="1291" y="497"/>
                  </a:lnTo>
                  <a:lnTo>
                    <a:pt x="1292" y="497"/>
                  </a:lnTo>
                  <a:lnTo>
                    <a:pt x="1297" y="500"/>
                  </a:lnTo>
                  <a:lnTo>
                    <a:pt x="1297" y="500"/>
                  </a:lnTo>
                  <a:lnTo>
                    <a:pt x="1303" y="507"/>
                  </a:lnTo>
                  <a:lnTo>
                    <a:pt x="1306" y="509"/>
                  </a:lnTo>
                  <a:lnTo>
                    <a:pt x="1308" y="507"/>
                  </a:lnTo>
                  <a:lnTo>
                    <a:pt x="1308" y="505"/>
                  </a:lnTo>
                  <a:lnTo>
                    <a:pt x="1311" y="502"/>
                  </a:lnTo>
                  <a:lnTo>
                    <a:pt x="1313" y="502"/>
                  </a:lnTo>
                  <a:lnTo>
                    <a:pt x="1317" y="504"/>
                  </a:lnTo>
                  <a:lnTo>
                    <a:pt x="1317" y="504"/>
                  </a:lnTo>
                  <a:lnTo>
                    <a:pt x="1318" y="509"/>
                  </a:lnTo>
                  <a:lnTo>
                    <a:pt x="1318" y="514"/>
                  </a:lnTo>
                  <a:lnTo>
                    <a:pt x="1318" y="528"/>
                  </a:lnTo>
                  <a:lnTo>
                    <a:pt x="1318" y="535"/>
                  </a:lnTo>
                  <a:lnTo>
                    <a:pt x="1320" y="544"/>
                  </a:lnTo>
                  <a:lnTo>
                    <a:pt x="1322" y="554"/>
                  </a:lnTo>
                  <a:lnTo>
                    <a:pt x="1329" y="563"/>
                  </a:lnTo>
                  <a:lnTo>
                    <a:pt x="1329" y="563"/>
                  </a:lnTo>
                  <a:lnTo>
                    <a:pt x="1336" y="570"/>
                  </a:lnTo>
                  <a:lnTo>
                    <a:pt x="1341" y="575"/>
                  </a:lnTo>
                  <a:lnTo>
                    <a:pt x="1344" y="577"/>
                  </a:lnTo>
                  <a:lnTo>
                    <a:pt x="1346" y="577"/>
                  </a:lnTo>
                  <a:lnTo>
                    <a:pt x="1348" y="577"/>
                  </a:lnTo>
                  <a:lnTo>
                    <a:pt x="1351" y="578"/>
                  </a:lnTo>
                  <a:lnTo>
                    <a:pt x="1358" y="589"/>
                  </a:lnTo>
                  <a:lnTo>
                    <a:pt x="1358" y="589"/>
                  </a:lnTo>
                  <a:lnTo>
                    <a:pt x="1369" y="605"/>
                  </a:lnTo>
                  <a:lnTo>
                    <a:pt x="1378" y="613"/>
                  </a:lnTo>
                  <a:lnTo>
                    <a:pt x="1385" y="624"/>
                  </a:lnTo>
                  <a:lnTo>
                    <a:pt x="1388" y="632"/>
                  </a:lnTo>
                  <a:lnTo>
                    <a:pt x="1390" y="641"/>
                  </a:lnTo>
                  <a:lnTo>
                    <a:pt x="1390" y="641"/>
                  </a:lnTo>
                  <a:lnTo>
                    <a:pt x="1392" y="648"/>
                  </a:lnTo>
                  <a:lnTo>
                    <a:pt x="1395" y="653"/>
                  </a:lnTo>
                  <a:lnTo>
                    <a:pt x="1397" y="655"/>
                  </a:lnTo>
                  <a:lnTo>
                    <a:pt x="1398" y="657"/>
                  </a:lnTo>
                  <a:lnTo>
                    <a:pt x="1400" y="659"/>
                  </a:lnTo>
                  <a:lnTo>
                    <a:pt x="1402" y="660"/>
                  </a:lnTo>
                  <a:lnTo>
                    <a:pt x="1402" y="674"/>
                  </a:lnTo>
                  <a:lnTo>
                    <a:pt x="1402" y="674"/>
                  </a:lnTo>
                  <a:lnTo>
                    <a:pt x="1402" y="683"/>
                  </a:lnTo>
                  <a:lnTo>
                    <a:pt x="1402" y="690"/>
                  </a:lnTo>
                  <a:lnTo>
                    <a:pt x="1404" y="700"/>
                  </a:lnTo>
                  <a:lnTo>
                    <a:pt x="1405" y="707"/>
                  </a:lnTo>
                  <a:lnTo>
                    <a:pt x="1405" y="713"/>
                  </a:lnTo>
                  <a:lnTo>
                    <a:pt x="1402" y="716"/>
                  </a:lnTo>
                  <a:lnTo>
                    <a:pt x="1402" y="716"/>
                  </a:lnTo>
                  <a:lnTo>
                    <a:pt x="1402" y="721"/>
                  </a:lnTo>
                  <a:lnTo>
                    <a:pt x="1404" y="730"/>
                  </a:lnTo>
                  <a:lnTo>
                    <a:pt x="1412" y="753"/>
                  </a:lnTo>
                  <a:lnTo>
                    <a:pt x="1416" y="765"/>
                  </a:lnTo>
                  <a:lnTo>
                    <a:pt x="1419" y="777"/>
                  </a:lnTo>
                  <a:lnTo>
                    <a:pt x="1419" y="789"/>
                  </a:lnTo>
                  <a:lnTo>
                    <a:pt x="1418" y="794"/>
                  </a:lnTo>
                  <a:lnTo>
                    <a:pt x="1416" y="798"/>
                  </a:lnTo>
                  <a:lnTo>
                    <a:pt x="1416" y="798"/>
                  </a:lnTo>
                  <a:lnTo>
                    <a:pt x="1412" y="808"/>
                  </a:lnTo>
                  <a:lnTo>
                    <a:pt x="1409" y="815"/>
                  </a:lnTo>
                  <a:lnTo>
                    <a:pt x="1407" y="831"/>
                  </a:lnTo>
                  <a:lnTo>
                    <a:pt x="1405" y="848"/>
                  </a:lnTo>
                  <a:lnTo>
                    <a:pt x="1404" y="857"/>
                  </a:lnTo>
                  <a:lnTo>
                    <a:pt x="1398" y="866"/>
                  </a:lnTo>
                  <a:lnTo>
                    <a:pt x="1398" y="866"/>
                  </a:lnTo>
                  <a:lnTo>
                    <a:pt x="1397" y="873"/>
                  </a:lnTo>
                  <a:lnTo>
                    <a:pt x="1395" y="880"/>
                  </a:lnTo>
                  <a:lnTo>
                    <a:pt x="1395" y="894"/>
                  </a:lnTo>
                  <a:lnTo>
                    <a:pt x="1397" y="902"/>
                  </a:lnTo>
                  <a:lnTo>
                    <a:pt x="1395" y="909"/>
                  </a:lnTo>
                  <a:lnTo>
                    <a:pt x="1393" y="920"/>
                  </a:lnTo>
                  <a:lnTo>
                    <a:pt x="1388" y="930"/>
                  </a:lnTo>
                  <a:lnTo>
                    <a:pt x="1388" y="930"/>
                  </a:lnTo>
                  <a:lnTo>
                    <a:pt x="1385" y="937"/>
                  </a:lnTo>
                  <a:lnTo>
                    <a:pt x="1385" y="942"/>
                  </a:lnTo>
                  <a:lnTo>
                    <a:pt x="1383" y="951"/>
                  </a:lnTo>
                  <a:lnTo>
                    <a:pt x="1381" y="956"/>
                  </a:lnTo>
                  <a:lnTo>
                    <a:pt x="1378" y="961"/>
                  </a:lnTo>
                  <a:lnTo>
                    <a:pt x="1371" y="970"/>
                  </a:lnTo>
                  <a:lnTo>
                    <a:pt x="1360" y="981"/>
                  </a:lnTo>
                  <a:lnTo>
                    <a:pt x="1360" y="981"/>
                  </a:lnTo>
                  <a:lnTo>
                    <a:pt x="1353" y="988"/>
                  </a:lnTo>
                  <a:lnTo>
                    <a:pt x="1348" y="995"/>
                  </a:lnTo>
                  <a:lnTo>
                    <a:pt x="1339" y="1010"/>
                  </a:lnTo>
                  <a:lnTo>
                    <a:pt x="1332" y="1028"/>
                  </a:lnTo>
                  <a:lnTo>
                    <a:pt x="1329" y="1043"/>
                  </a:lnTo>
                  <a:lnTo>
                    <a:pt x="1322" y="1071"/>
                  </a:lnTo>
                  <a:lnTo>
                    <a:pt x="1320" y="1080"/>
                  </a:lnTo>
                  <a:lnTo>
                    <a:pt x="1315" y="1085"/>
                  </a:lnTo>
                  <a:lnTo>
                    <a:pt x="1315" y="1085"/>
                  </a:lnTo>
                  <a:lnTo>
                    <a:pt x="1311" y="1089"/>
                  </a:lnTo>
                  <a:lnTo>
                    <a:pt x="1308" y="1094"/>
                  </a:lnTo>
                  <a:lnTo>
                    <a:pt x="1301" y="1108"/>
                  </a:lnTo>
                  <a:lnTo>
                    <a:pt x="1297" y="1125"/>
                  </a:lnTo>
                  <a:lnTo>
                    <a:pt x="1296" y="1139"/>
                  </a:lnTo>
                  <a:lnTo>
                    <a:pt x="1296" y="1139"/>
                  </a:lnTo>
                  <a:lnTo>
                    <a:pt x="1296" y="1146"/>
                  </a:lnTo>
                  <a:lnTo>
                    <a:pt x="1294" y="1151"/>
                  </a:lnTo>
                  <a:lnTo>
                    <a:pt x="1289" y="1162"/>
                  </a:lnTo>
                  <a:lnTo>
                    <a:pt x="1285" y="1172"/>
                  </a:lnTo>
                  <a:lnTo>
                    <a:pt x="1285" y="1176"/>
                  </a:lnTo>
                  <a:lnTo>
                    <a:pt x="1287" y="1179"/>
                  </a:lnTo>
                  <a:lnTo>
                    <a:pt x="1287" y="1179"/>
                  </a:lnTo>
                  <a:lnTo>
                    <a:pt x="1291" y="1183"/>
                  </a:lnTo>
                  <a:lnTo>
                    <a:pt x="1292" y="1188"/>
                  </a:lnTo>
                  <a:lnTo>
                    <a:pt x="1291" y="1193"/>
                  </a:lnTo>
                  <a:lnTo>
                    <a:pt x="1289" y="1198"/>
                  </a:lnTo>
                  <a:lnTo>
                    <a:pt x="1284" y="1203"/>
                  </a:lnTo>
                  <a:lnTo>
                    <a:pt x="1277" y="1207"/>
                  </a:lnTo>
                  <a:lnTo>
                    <a:pt x="1268" y="1209"/>
                  </a:lnTo>
                  <a:lnTo>
                    <a:pt x="1256" y="1209"/>
                  </a:lnTo>
                  <a:lnTo>
                    <a:pt x="1256" y="1209"/>
                  </a:lnTo>
                  <a:lnTo>
                    <a:pt x="1249" y="1209"/>
                  </a:lnTo>
                  <a:lnTo>
                    <a:pt x="1244" y="1209"/>
                  </a:lnTo>
                  <a:lnTo>
                    <a:pt x="1231" y="1212"/>
                  </a:lnTo>
                  <a:lnTo>
                    <a:pt x="1219" y="1219"/>
                  </a:lnTo>
                  <a:lnTo>
                    <a:pt x="1207" y="1228"/>
                  </a:lnTo>
                  <a:lnTo>
                    <a:pt x="1188" y="1244"/>
                  </a:lnTo>
                  <a:lnTo>
                    <a:pt x="1179" y="1251"/>
                  </a:lnTo>
                  <a:lnTo>
                    <a:pt x="1172" y="1254"/>
                  </a:lnTo>
                  <a:lnTo>
                    <a:pt x="1172" y="1254"/>
                  </a:lnTo>
                  <a:lnTo>
                    <a:pt x="1169" y="1256"/>
                  </a:lnTo>
                  <a:lnTo>
                    <a:pt x="1167" y="1261"/>
                  </a:lnTo>
                  <a:lnTo>
                    <a:pt x="1167" y="1266"/>
                  </a:lnTo>
                  <a:lnTo>
                    <a:pt x="1167" y="1271"/>
                  </a:lnTo>
                  <a:lnTo>
                    <a:pt x="1167" y="1278"/>
                  </a:lnTo>
                  <a:lnTo>
                    <a:pt x="1165" y="1277"/>
                  </a:lnTo>
                  <a:lnTo>
                    <a:pt x="1162" y="1271"/>
                  </a:lnTo>
                  <a:lnTo>
                    <a:pt x="1162" y="1271"/>
                  </a:lnTo>
                  <a:lnTo>
                    <a:pt x="1153" y="1263"/>
                  </a:lnTo>
                  <a:lnTo>
                    <a:pt x="1148" y="1257"/>
                  </a:lnTo>
                  <a:lnTo>
                    <a:pt x="1137" y="1251"/>
                  </a:lnTo>
                  <a:lnTo>
                    <a:pt x="1132" y="1245"/>
                  </a:lnTo>
                  <a:lnTo>
                    <a:pt x="1130" y="1244"/>
                  </a:lnTo>
                  <a:lnTo>
                    <a:pt x="1129" y="1238"/>
                  </a:lnTo>
                  <a:lnTo>
                    <a:pt x="1129" y="1238"/>
                  </a:lnTo>
                  <a:lnTo>
                    <a:pt x="1129" y="1233"/>
                  </a:lnTo>
                  <a:lnTo>
                    <a:pt x="1127" y="1237"/>
                  </a:lnTo>
                  <a:lnTo>
                    <a:pt x="1123" y="1240"/>
                  </a:lnTo>
                  <a:lnTo>
                    <a:pt x="1122" y="1242"/>
                  </a:lnTo>
                  <a:lnTo>
                    <a:pt x="1118" y="1244"/>
                  </a:lnTo>
                  <a:lnTo>
                    <a:pt x="1113" y="1242"/>
                  </a:lnTo>
                  <a:lnTo>
                    <a:pt x="1113" y="1242"/>
                  </a:lnTo>
                  <a:lnTo>
                    <a:pt x="1109" y="1238"/>
                  </a:lnTo>
                  <a:lnTo>
                    <a:pt x="1109" y="1237"/>
                  </a:lnTo>
                  <a:lnTo>
                    <a:pt x="1116" y="1231"/>
                  </a:lnTo>
                  <a:lnTo>
                    <a:pt x="1120" y="1228"/>
                  </a:lnTo>
                  <a:lnTo>
                    <a:pt x="1122" y="1224"/>
                  </a:lnTo>
                  <a:lnTo>
                    <a:pt x="1122" y="1221"/>
                  </a:lnTo>
                  <a:lnTo>
                    <a:pt x="1116" y="1217"/>
                  </a:lnTo>
                  <a:lnTo>
                    <a:pt x="1116" y="1217"/>
                  </a:lnTo>
                  <a:lnTo>
                    <a:pt x="1111" y="1216"/>
                  </a:lnTo>
                  <a:lnTo>
                    <a:pt x="1109" y="1214"/>
                  </a:lnTo>
                  <a:lnTo>
                    <a:pt x="1108" y="1216"/>
                  </a:lnTo>
                  <a:lnTo>
                    <a:pt x="1106" y="1219"/>
                  </a:lnTo>
                  <a:lnTo>
                    <a:pt x="1102" y="1228"/>
                  </a:lnTo>
                  <a:lnTo>
                    <a:pt x="1097" y="1233"/>
                  </a:lnTo>
                  <a:lnTo>
                    <a:pt x="1090" y="1237"/>
                  </a:lnTo>
                  <a:lnTo>
                    <a:pt x="1090" y="1237"/>
                  </a:lnTo>
                  <a:lnTo>
                    <a:pt x="1083" y="1242"/>
                  </a:lnTo>
                  <a:lnTo>
                    <a:pt x="1078" y="1245"/>
                  </a:lnTo>
                  <a:lnTo>
                    <a:pt x="1071" y="1254"/>
                  </a:lnTo>
                  <a:lnTo>
                    <a:pt x="1068" y="1257"/>
                  </a:lnTo>
                  <a:lnTo>
                    <a:pt x="1062" y="1257"/>
                  </a:lnTo>
                  <a:lnTo>
                    <a:pt x="1054" y="1256"/>
                  </a:lnTo>
                  <a:lnTo>
                    <a:pt x="1043" y="1249"/>
                  </a:lnTo>
                  <a:lnTo>
                    <a:pt x="1043" y="1249"/>
                  </a:lnTo>
                  <a:lnTo>
                    <a:pt x="1024" y="1238"/>
                  </a:lnTo>
                  <a:lnTo>
                    <a:pt x="1012" y="1233"/>
                  </a:lnTo>
                  <a:lnTo>
                    <a:pt x="1007" y="1233"/>
                  </a:lnTo>
                  <a:lnTo>
                    <a:pt x="1003" y="1233"/>
                  </a:lnTo>
                  <a:lnTo>
                    <a:pt x="998" y="1237"/>
                  </a:lnTo>
                  <a:lnTo>
                    <a:pt x="998" y="1237"/>
                  </a:lnTo>
                  <a:lnTo>
                    <a:pt x="995" y="1240"/>
                  </a:lnTo>
                  <a:lnTo>
                    <a:pt x="993" y="1240"/>
                  </a:lnTo>
                  <a:lnTo>
                    <a:pt x="988" y="1235"/>
                  </a:lnTo>
                  <a:lnTo>
                    <a:pt x="981" y="1228"/>
                  </a:lnTo>
                  <a:lnTo>
                    <a:pt x="977" y="1224"/>
                  </a:lnTo>
                  <a:lnTo>
                    <a:pt x="970" y="1221"/>
                  </a:lnTo>
                  <a:lnTo>
                    <a:pt x="970" y="1221"/>
                  </a:lnTo>
                  <a:lnTo>
                    <a:pt x="963" y="1217"/>
                  </a:lnTo>
                  <a:lnTo>
                    <a:pt x="956" y="1212"/>
                  </a:lnTo>
                  <a:lnTo>
                    <a:pt x="947" y="1205"/>
                  </a:lnTo>
                  <a:lnTo>
                    <a:pt x="941" y="1197"/>
                  </a:lnTo>
                  <a:lnTo>
                    <a:pt x="935" y="1188"/>
                  </a:lnTo>
                  <a:lnTo>
                    <a:pt x="932" y="1179"/>
                  </a:lnTo>
                  <a:lnTo>
                    <a:pt x="930" y="1172"/>
                  </a:lnTo>
                  <a:lnTo>
                    <a:pt x="932" y="1165"/>
                  </a:lnTo>
                  <a:lnTo>
                    <a:pt x="932" y="1165"/>
                  </a:lnTo>
                  <a:lnTo>
                    <a:pt x="934" y="1158"/>
                  </a:lnTo>
                  <a:lnTo>
                    <a:pt x="934" y="1151"/>
                  </a:lnTo>
                  <a:lnTo>
                    <a:pt x="932" y="1143"/>
                  </a:lnTo>
                  <a:lnTo>
                    <a:pt x="928" y="1134"/>
                  </a:lnTo>
                  <a:lnTo>
                    <a:pt x="925" y="1127"/>
                  </a:lnTo>
                  <a:lnTo>
                    <a:pt x="920" y="1120"/>
                  </a:lnTo>
                  <a:lnTo>
                    <a:pt x="913" y="1115"/>
                  </a:lnTo>
                  <a:lnTo>
                    <a:pt x="907" y="1109"/>
                  </a:lnTo>
                  <a:lnTo>
                    <a:pt x="907" y="1109"/>
                  </a:lnTo>
                  <a:lnTo>
                    <a:pt x="902" y="1108"/>
                  </a:lnTo>
                  <a:lnTo>
                    <a:pt x="897" y="1106"/>
                  </a:lnTo>
                  <a:lnTo>
                    <a:pt x="888" y="1108"/>
                  </a:lnTo>
                  <a:lnTo>
                    <a:pt x="881" y="1109"/>
                  </a:lnTo>
                  <a:lnTo>
                    <a:pt x="878" y="1109"/>
                  </a:lnTo>
                  <a:lnTo>
                    <a:pt x="876" y="1108"/>
                  </a:lnTo>
                  <a:lnTo>
                    <a:pt x="876" y="1108"/>
                  </a:lnTo>
                  <a:lnTo>
                    <a:pt x="874" y="1104"/>
                  </a:lnTo>
                  <a:lnTo>
                    <a:pt x="876" y="1099"/>
                  </a:lnTo>
                  <a:lnTo>
                    <a:pt x="883" y="1089"/>
                  </a:lnTo>
                  <a:lnTo>
                    <a:pt x="887" y="1082"/>
                  </a:lnTo>
                  <a:lnTo>
                    <a:pt x="887" y="1075"/>
                  </a:lnTo>
                  <a:lnTo>
                    <a:pt x="887" y="1066"/>
                  </a:lnTo>
                  <a:lnTo>
                    <a:pt x="881" y="1055"/>
                  </a:lnTo>
                  <a:lnTo>
                    <a:pt x="881" y="1055"/>
                  </a:lnTo>
                  <a:lnTo>
                    <a:pt x="876" y="1050"/>
                  </a:lnTo>
                  <a:lnTo>
                    <a:pt x="874" y="1049"/>
                  </a:lnTo>
                  <a:lnTo>
                    <a:pt x="873" y="1050"/>
                  </a:lnTo>
                  <a:lnTo>
                    <a:pt x="871" y="1054"/>
                  </a:lnTo>
                  <a:lnTo>
                    <a:pt x="869" y="1061"/>
                  </a:lnTo>
                  <a:lnTo>
                    <a:pt x="866" y="1069"/>
                  </a:lnTo>
                  <a:lnTo>
                    <a:pt x="862" y="1078"/>
                  </a:lnTo>
                  <a:lnTo>
                    <a:pt x="855" y="1085"/>
                  </a:lnTo>
                  <a:lnTo>
                    <a:pt x="852" y="1087"/>
                  </a:lnTo>
                  <a:lnTo>
                    <a:pt x="847" y="1089"/>
                  </a:lnTo>
                  <a:lnTo>
                    <a:pt x="847" y="1089"/>
                  </a:lnTo>
                  <a:lnTo>
                    <a:pt x="840" y="1089"/>
                  </a:lnTo>
                  <a:lnTo>
                    <a:pt x="834" y="1087"/>
                  </a:lnTo>
                  <a:lnTo>
                    <a:pt x="831" y="1085"/>
                  </a:lnTo>
                  <a:lnTo>
                    <a:pt x="831" y="1082"/>
                  </a:lnTo>
                  <a:lnTo>
                    <a:pt x="833" y="1078"/>
                  </a:lnTo>
                  <a:lnTo>
                    <a:pt x="836" y="1075"/>
                  </a:lnTo>
                  <a:lnTo>
                    <a:pt x="840" y="1073"/>
                  </a:lnTo>
                  <a:lnTo>
                    <a:pt x="843" y="1073"/>
                  </a:lnTo>
                  <a:lnTo>
                    <a:pt x="843" y="1073"/>
                  </a:lnTo>
                  <a:lnTo>
                    <a:pt x="847" y="1073"/>
                  </a:lnTo>
                  <a:lnTo>
                    <a:pt x="850" y="1071"/>
                  </a:lnTo>
                  <a:lnTo>
                    <a:pt x="853" y="1066"/>
                  </a:lnTo>
                  <a:lnTo>
                    <a:pt x="855" y="1059"/>
                  </a:lnTo>
                  <a:lnTo>
                    <a:pt x="852" y="1050"/>
                  </a:lnTo>
                  <a:lnTo>
                    <a:pt x="852" y="1050"/>
                  </a:lnTo>
                  <a:lnTo>
                    <a:pt x="852" y="1043"/>
                  </a:lnTo>
                  <a:lnTo>
                    <a:pt x="853" y="1035"/>
                  </a:lnTo>
                  <a:lnTo>
                    <a:pt x="860" y="1015"/>
                  </a:lnTo>
                  <a:lnTo>
                    <a:pt x="867" y="995"/>
                  </a:lnTo>
                  <a:lnTo>
                    <a:pt x="869" y="988"/>
                  </a:lnTo>
                  <a:lnTo>
                    <a:pt x="869" y="981"/>
                  </a:lnTo>
                  <a:lnTo>
                    <a:pt x="869" y="981"/>
                  </a:lnTo>
                  <a:lnTo>
                    <a:pt x="862" y="967"/>
                  </a:lnTo>
                  <a:lnTo>
                    <a:pt x="862" y="967"/>
                  </a:lnTo>
                  <a:lnTo>
                    <a:pt x="862" y="967"/>
                  </a:lnTo>
                  <a:lnTo>
                    <a:pt x="862" y="975"/>
                  </a:lnTo>
                  <a:lnTo>
                    <a:pt x="862" y="975"/>
                  </a:lnTo>
                  <a:lnTo>
                    <a:pt x="860" y="981"/>
                  </a:lnTo>
                  <a:lnTo>
                    <a:pt x="859" y="984"/>
                  </a:lnTo>
                  <a:lnTo>
                    <a:pt x="853" y="991"/>
                  </a:lnTo>
                  <a:lnTo>
                    <a:pt x="847" y="998"/>
                  </a:lnTo>
                  <a:lnTo>
                    <a:pt x="845" y="1003"/>
                  </a:lnTo>
                  <a:lnTo>
                    <a:pt x="841" y="1010"/>
                  </a:lnTo>
                  <a:lnTo>
                    <a:pt x="841" y="1010"/>
                  </a:lnTo>
                  <a:lnTo>
                    <a:pt x="840" y="1019"/>
                  </a:lnTo>
                  <a:lnTo>
                    <a:pt x="838" y="1019"/>
                  </a:lnTo>
                  <a:lnTo>
                    <a:pt x="834" y="1019"/>
                  </a:lnTo>
                  <a:lnTo>
                    <a:pt x="829" y="1022"/>
                  </a:lnTo>
                  <a:lnTo>
                    <a:pt x="822" y="1028"/>
                  </a:lnTo>
                  <a:lnTo>
                    <a:pt x="812" y="1040"/>
                  </a:lnTo>
                  <a:lnTo>
                    <a:pt x="812" y="1040"/>
                  </a:lnTo>
                  <a:lnTo>
                    <a:pt x="803" y="1054"/>
                  </a:lnTo>
                  <a:lnTo>
                    <a:pt x="798" y="1064"/>
                  </a:lnTo>
                  <a:lnTo>
                    <a:pt x="796" y="1071"/>
                  </a:lnTo>
                  <a:lnTo>
                    <a:pt x="796" y="1075"/>
                  </a:lnTo>
                  <a:lnTo>
                    <a:pt x="798" y="1076"/>
                  </a:lnTo>
                  <a:lnTo>
                    <a:pt x="796" y="1076"/>
                  </a:lnTo>
                  <a:lnTo>
                    <a:pt x="784" y="1069"/>
                  </a:lnTo>
                  <a:lnTo>
                    <a:pt x="784" y="1069"/>
                  </a:lnTo>
                  <a:lnTo>
                    <a:pt x="780" y="1068"/>
                  </a:lnTo>
                  <a:lnTo>
                    <a:pt x="777" y="1064"/>
                  </a:lnTo>
                  <a:lnTo>
                    <a:pt x="773" y="1055"/>
                  </a:lnTo>
                  <a:lnTo>
                    <a:pt x="770" y="1045"/>
                  </a:lnTo>
                  <a:lnTo>
                    <a:pt x="768" y="1035"/>
                  </a:lnTo>
                  <a:lnTo>
                    <a:pt x="766" y="1022"/>
                  </a:lnTo>
                  <a:lnTo>
                    <a:pt x="763" y="1012"/>
                  </a:lnTo>
                  <a:lnTo>
                    <a:pt x="758" y="1002"/>
                  </a:lnTo>
                  <a:lnTo>
                    <a:pt x="754" y="998"/>
                  </a:lnTo>
                  <a:lnTo>
                    <a:pt x="749" y="995"/>
                  </a:lnTo>
                  <a:lnTo>
                    <a:pt x="749" y="995"/>
                  </a:lnTo>
                  <a:lnTo>
                    <a:pt x="740" y="989"/>
                  </a:lnTo>
                  <a:lnTo>
                    <a:pt x="735" y="984"/>
                  </a:lnTo>
                  <a:lnTo>
                    <a:pt x="735" y="979"/>
                  </a:lnTo>
                  <a:lnTo>
                    <a:pt x="737" y="975"/>
                  </a:lnTo>
                  <a:lnTo>
                    <a:pt x="739" y="972"/>
                  </a:lnTo>
                  <a:lnTo>
                    <a:pt x="739" y="968"/>
                  </a:lnTo>
                  <a:lnTo>
                    <a:pt x="737" y="963"/>
                  </a:lnTo>
                  <a:lnTo>
                    <a:pt x="730" y="956"/>
                  </a:lnTo>
                  <a:lnTo>
                    <a:pt x="730" y="956"/>
                  </a:lnTo>
                  <a:lnTo>
                    <a:pt x="723" y="951"/>
                  </a:lnTo>
                  <a:lnTo>
                    <a:pt x="716" y="948"/>
                  </a:lnTo>
                  <a:lnTo>
                    <a:pt x="702" y="946"/>
                  </a:lnTo>
                  <a:lnTo>
                    <a:pt x="695" y="944"/>
                  </a:lnTo>
                  <a:lnTo>
                    <a:pt x="685" y="942"/>
                  </a:lnTo>
                  <a:lnTo>
                    <a:pt x="672" y="937"/>
                  </a:lnTo>
                  <a:lnTo>
                    <a:pt x="655" y="928"/>
                  </a:lnTo>
                  <a:lnTo>
                    <a:pt x="655" y="928"/>
                  </a:lnTo>
                  <a:lnTo>
                    <a:pt x="631" y="916"/>
                  </a:lnTo>
                  <a:lnTo>
                    <a:pt x="627" y="914"/>
                  </a:lnTo>
                  <a:lnTo>
                    <a:pt x="624" y="916"/>
                  </a:lnTo>
                  <a:lnTo>
                    <a:pt x="622" y="918"/>
                  </a:lnTo>
                  <a:lnTo>
                    <a:pt x="617" y="920"/>
                  </a:lnTo>
                  <a:lnTo>
                    <a:pt x="606" y="920"/>
                  </a:lnTo>
                  <a:lnTo>
                    <a:pt x="589" y="918"/>
                  </a:lnTo>
                  <a:lnTo>
                    <a:pt x="589" y="918"/>
                  </a:lnTo>
                  <a:lnTo>
                    <a:pt x="582" y="918"/>
                  </a:lnTo>
                  <a:lnTo>
                    <a:pt x="575" y="918"/>
                  </a:lnTo>
                  <a:lnTo>
                    <a:pt x="563" y="921"/>
                  </a:lnTo>
                  <a:lnTo>
                    <a:pt x="549" y="928"/>
                  </a:lnTo>
                  <a:lnTo>
                    <a:pt x="535" y="935"/>
                  </a:lnTo>
                  <a:lnTo>
                    <a:pt x="521" y="942"/>
                  </a:lnTo>
                  <a:lnTo>
                    <a:pt x="503" y="949"/>
                  </a:lnTo>
                  <a:lnTo>
                    <a:pt x="484" y="953"/>
                  </a:lnTo>
                  <a:lnTo>
                    <a:pt x="474" y="953"/>
                  </a:lnTo>
                  <a:lnTo>
                    <a:pt x="462" y="953"/>
                  </a:lnTo>
                  <a:lnTo>
                    <a:pt x="462" y="953"/>
                  </a:lnTo>
                  <a:lnTo>
                    <a:pt x="448" y="953"/>
                  </a:lnTo>
                  <a:lnTo>
                    <a:pt x="437" y="955"/>
                  </a:lnTo>
                  <a:lnTo>
                    <a:pt x="429" y="958"/>
                  </a:lnTo>
                  <a:lnTo>
                    <a:pt x="423" y="965"/>
                  </a:lnTo>
                  <a:lnTo>
                    <a:pt x="411" y="975"/>
                  </a:lnTo>
                  <a:lnTo>
                    <a:pt x="406" y="979"/>
                  </a:lnTo>
                  <a:lnTo>
                    <a:pt x="397" y="981"/>
                  </a:lnTo>
                  <a:lnTo>
                    <a:pt x="397" y="981"/>
                  </a:lnTo>
                  <a:lnTo>
                    <a:pt x="392" y="981"/>
                  </a:lnTo>
                  <a:lnTo>
                    <a:pt x="389" y="982"/>
                  </a:lnTo>
                  <a:lnTo>
                    <a:pt x="383" y="989"/>
                  </a:lnTo>
                  <a:lnTo>
                    <a:pt x="378" y="998"/>
                  </a:lnTo>
                  <a:lnTo>
                    <a:pt x="375" y="1008"/>
                  </a:lnTo>
                  <a:lnTo>
                    <a:pt x="371" y="1019"/>
                  </a:lnTo>
                  <a:lnTo>
                    <a:pt x="366" y="1026"/>
                  </a:lnTo>
                  <a:lnTo>
                    <a:pt x="362" y="1028"/>
                  </a:lnTo>
                  <a:lnTo>
                    <a:pt x="359" y="1029"/>
                  </a:lnTo>
                  <a:lnTo>
                    <a:pt x="354" y="1029"/>
                  </a:lnTo>
                  <a:lnTo>
                    <a:pt x="347" y="1028"/>
                  </a:lnTo>
                  <a:lnTo>
                    <a:pt x="347" y="1028"/>
                  </a:lnTo>
                  <a:lnTo>
                    <a:pt x="336" y="1026"/>
                  </a:lnTo>
                  <a:lnTo>
                    <a:pt x="329" y="1024"/>
                  </a:lnTo>
                  <a:lnTo>
                    <a:pt x="324" y="1026"/>
                  </a:lnTo>
                  <a:lnTo>
                    <a:pt x="321" y="1028"/>
                  </a:lnTo>
                  <a:lnTo>
                    <a:pt x="319" y="1029"/>
                  </a:lnTo>
                  <a:lnTo>
                    <a:pt x="314" y="1031"/>
                  </a:lnTo>
                  <a:lnTo>
                    <a:pt x="308" y="1029"/>
                  </a:lnTo>
                  <a:lnTo>
                    <a:pt x="300" y="1026"/>
                  </a:lnTo>
                  <a:lnTo>
                    <a:pt x="300" y="1026"/>
                  </a:lnTo>
                  <a:lnTo>
                    <a:pt x="293" y="1022"/>
                  </a:lnTo>
                  <a:lnTo>
                    <a:pt x="288" y="1022"/>
                  </a:lnTo>
                  <a:lnTo>
                    <a:pt x="281" y="1022"/>
                  </a:lnTo>
                  <a:lnTo>
                    <a:pt x="275" y="1024"/>
                  </a:lnTo>
                  <a:lnTo>
                    <a:pt x="263" y="1026"/>
                  </a:lnTo>
                  <a:lnTo>
                    <a:pt x="253" y="1028"/>
                  </a:lnTo>
                  <a:lnTo>
                    <a:pt x="242" y="1028"/>
                  </a:lnTo>
                  <a:lnTo>
                    <a:pt x="242" y="1028"/>
                  </a:lnTo>
                  <a:lnTo>
                    <a:pt x="235" y="1028"/>
                  </a:lnTo>
                  <a:lnTo>
                    <a:pt x="230" y="1031"/>
                  </a:lnTo>
                  <a:lnTo>
                    <a:pt x="227" y="1035"/>
                  </a:lnTo>
                  <a:lnTo>
                    <a:pt x="225" y="1040"/>
                  </a:lnTo>
                  <a:lnTo>
                    <a:pt x="223" y="1045"/>
                  </a:lnTo>
                  <a:lnTo>
                    <a:pt x="220" y="1049"/>
                  </a:lnTo>
                  <a:lnTo>
                    <a:pt x="214" y="1052"/>
                  </a:lnTo>
                  <a:lnTo>
                    <a:pt x="207" y="1054"/>
                  </a:lnTo>
                  <a:lnTo>
                    <a:pt x="207" y="1054"/>
                  </a:lnTo>
                  <a:lnTo>
                    <a:pt x="201" y="1055"/>
                  </a:lnTo>
                  <a:lnTo>
                    <a:pt x="195" y="1059"/>
                  </a:lnTo>
                  <a:lnTo>
                    <a:pt x="181" y="1069"/>
                  </a:lnTo>
                  <a:lnTo>
                    <a:pt x="174" y="1076"/>
                  </a:lnTo>
                  <a:lnTo>
                    <a:pt x="164" y="1080"/>
                  </a:lnTo>
                  <a:lnTo>
                    <a:pt x="152" y="1082"/>
                  </a:lnTo>
                  <a:lnTo>
                    <a:pt x="136" y="1082"/>
                  </a:lnTo>
                  <a:lnTo>
                    <a:pt x="136" y="1082"/>
                  </a:lnTo>
                  <a:lnTo>
                    <a:pt x="120" y="1078"/>
                  </a:lnTo>
                  <a:lnTo>
                    <a:pt x="108" y="1073"/>
                  </a:lnTo>
                  <a:lnTo>
                    <a:pt x="100" y="1068"/>
                  </a:lnTo>
                  <a:lnTo>
                    <a:pt x="93" y="1061"/>
                  </a:lnTo>
                  <a:lnTo>
                    <a:pt x="82" y="1050"/>
                  </a:lnTo>
                  <a:lnTo>
                    <a:pt x="77" y="1047"/>
                  </a:lnTo>
                  <a:lnTo>
                    <a:pt x="72" y="1047"/>
                  </a:lnTo>
                  <a:lnTo>
                    <a:pt x="72" y="1047"/>
                  </a:lnTo>
                  <a:lnTo>
                    <a:pt x="66" y="1045"/>
                  </a:lnTo>
                  <a:lnTo>
                    <a:pt x="63" y="1042"/>
                  </a:lnTo>
                  <a:lnTo>
                    <a:pt x="59" y="1036"/>
                  </a:lnTo>
                  <a:lnTo>
                    <a:pt x="58" y="1029"/>
                  </a:lnTo>
                  <a:lnTo>
                    <a:pt x="58" y="1022"/>
                  </a:lnTo>
                  <a:lnTo>
                    <a:pt x="59" y="1015"/>
                  </a:lnTo>
                  <a:lnTo>
                    <a:pt x="61" y="1012"/>
                  </a:lnTo>
                  <a:lnTo>
                    <a:pt x="65" y="1012"/>
                  </a:lnTo>
                  <a:lnTo>
                    <a:pt x="65" y="1012"/>
                  </a:lnTo>
                  <a:lnTo>
                    <a:pt x="70" y="1014"/>
                  </a:lnTo>
                  <a:lnTo>
                    <a:pt x="73" y="1014"/>
                  </a:lnTo>
                  <a:lnTo>
                    <a:pt x="77" y="1010"/>
                  </a:lnTo>
                  <a:lnTo>
                    <a:pt x="80" y="1007"/>
                  </a:lnTo>
                  <a:lnTo>
                    <a:pt x="82" y="1003"/>
                  </a:lnTo>
                  <a:lnTo>
                    <a:pt x="84" y="996"/>
                  </a:lnTo>
                  <a:lnTo>
                    <a:pt x="84" y="989"/>
                  </a:lnTo>
                  <a:lnTo>
                    <a:pt x="84" y="981"/>
                  </a:lnTo>
                  <a:lnTo>
                    <a:pt x="84" y="981"/>
                  </a:lnTo>
                  <a:lnTo>
                    <a:pt x="82" y="972"/>
                  </a:lnTo>
                  <a:lnTo>
                    <a:pt x="84" y="967"/>
                  </a:lnTo>
                  <a:lnTo>
                    <a:pt x="89" y="956"/>
                  </a:lnTo>
                  <a:lnTo>
                    <a:pt x="89" y="949"/>
                  </a:lnTo>
                  <a:lnTo>
                    <a:pt x="87" y="939"/>
                  </a:lnTo>
                  <a:lnTo>
                    <a:pt x="84" y="923"/>
                  </a:lnTo>
                  <a:lnTo>
                    <a:pt x="75" y="901"/>
                  </a:lnTo>
                  <a:lnTo>
                    <a:pt x="75" y="901"/>
                  </a:lnTo>
                  <a:lnTo>
                    <a:pt x="66" y="880"/>
                  </a:lnTo>
                  <a:lnTo>
                    <a:pt x="63" y="862"/>
                  </a:lnTo>
                  <a:lnTo>
                    <a:pt x="61" y="848"/>
                  </a:lnTo>
                  <a:lnTo>
                    <a:pt x="61" y="838"/>
                  </a:lnTo>
                  <a:lnTo>
                    <a:pt x="59" y="820"/>
                  </a:lnTo>
                  <a:lnTo>
                    <a:pt x="58" y="810"/>
                  </a:lnTo>
                  <a:lnTo>
                    <a:pt x="54" y="800"/>
                  </a:lnTo>
                  <a:lnTo>
                    <a:pt x="54" y="800"/>
                  </a:lnTo>
                  <a:lnTo>
                    <a:pt x="42" y="779"/>
                  </a:lnTo>
                  <a:lnTo>
                    <a:pt x="35" y="766"/>
                  </a:lnTo>
                  <a:lnTo>
                    <a:pt x="32" y="758"/>
                  </a:lnTo>
                  <a:lnTo>
                    <a:pt x="32" y="744"/>
                  </a:lnTo>
                  <a:lnTo>
                    <a:pt x="32" y="744"/>
                  </a:lnTo>
                  <a:lnTo>
                    <a:pt x="30" y="735"/>
                  </a:lnTo>
                  <a:lnTo>
                    <a:pt x="26" y="726"/>
                  </a:lnTo>
                  <a:lnTo>
                    <a:pt x="16" y="709"/>
                  </a:lnTo>
                  <a:lnTo>
                    <a:pt x="6" y="693"/>
                  </a:lnTo>
                  <a:lnTo>
                    <a:pt x="2" y="685"/>
                  </a:lnTo>
                  <a:lnTo>
                    <a:pt x="0" y="676"/>
                  </a:lnTo>
                  <a:lnTo>
                    <a:pt x="0" y="676"/>
                  </a:lnTo>
                  <a:lnTo>
                    <a:pt x="2" y="669"/>
                  </a:lnTo>
                  <a:lnTo>
                    <a:pt x="2" y="669"/>
                  </a:lnTo>
                  <a:lnTo>
                    <a:pt x="4" y="669"/>
                  </a:lnTo>
                  <a:lnTo>
                    <a:pt x="6" y="672"/>
                  </a:lnTo>
                  <a:lnTo>
                    <a:pt x="9" y="678"/>
                  </a:lnTo>
                  <a:lnTo>
                    <a:pt x="14" y="690"/>
                  </a:lnTo>
                  <a:lnTo>
                    <a:pt x="18" y="693"/>
                  </a:lnTo>
                  <a:lnTo>
                    <a:pt x="19" y="693"/>
                  </a:lnTo>
                  <a:lnTo>
                    <a:pt x="19" y="692"/>
                  </a:lnTo>
                  <a:lnTo>
                    <a:pt x="19" y="692"/>
                  </a:lnTo>
                  <a:lnTo>
                    <a:pt x="19" y="688"/>
                  </a:lnTo>
                  <a:lnTo>
                    <a:pt x="19" y="683"/>
                  </a:lnTo>
                  <a:lnTo>
                    <a:pt x="12" y="671"/>
                  </a:lnTo>
                  <a:lnTo>
                    <a:pt x="7" y="659"/>
                  </a:lnTo>
                  <a:lnTo>
                    <a:pt x="6" y="653"/>
                  </a:lnTo>
                  <a:lnTo>
                    <a:pt x="7" y="648"/>
                  </a:lnTo>
                  <a:lnTo>
                    <a:pt x="7" y="648"/>
                  </a:lnTo>
                  <a:lnTo>
                    <a:pt x="9" y="646"/>
                  </a:lnTo>
                  <a:lnTo>
                    <a:pt x="9" y="648"/>
                  </a:lnTo>
                  <a:lnTo>
                    <a:pt x="14" y="652"/>
                  </a:lnTo>
                  <a:lnTo>
                    <a:pt x="23" y="669"/>
                  </a:lnTo>
                  <a:lnTo>
                    <a:pt x="28" y="678"/>
                  </a:lnTo>
                  <a:lnTo>
                    <a:pt x="32" y="681"/>
                  </a:lnTo>
                  <a:lnTo>
                    <a:pt x="33" y="683"/>
                  </a:lnTo>
                  <a:lnTo>
                    <a:pt x="35" y="681"/>
                  </a:lnTo>
                  <a:lnTo>
                    <a:pt x="37" y="674"/>
                  </a:lnTo>
                  <a:lnTo>
                    <a:pt x="37" y="674"/>
                  </a:lnTo>
                  <a:lnTo>
                    <a:pt x="37" y="667"/>
                  </a:lnTo>
                  <a:lnTo>
                    <a:pt x="35" y="662"/>
                  </a:lnTo>
                  <a:lnTo>
                    <a:pt x="30" y="650"/>
                  </a:lnTo>
                  <a:lnTo>
                    <a:pt x="14" y="624"/>
                  </a:lnTo>
                  <a:lnTo>
                    <a:pt x="9" y="610"/>
                  </a:lnTo>
                  <a:lnTo>
                    <a:pt x="4" y="596"/>
                  </a:lnTo>
                  <a:lnTo>
                    <a:pt x="4" y="589"/>
                  </a:lnTo>
                  <a:lnTo>
                    <a:pt x="6" y="582"/>
                  </a:lnTo>
                  <a:lnTo>
                    <a:pt x="7" y="573"/>
                  </a:lnTo>
                  <a:lnTo>
                    <a:pt x="11" y="566"/>
                  </a:lnTo>
                  <a:lnTo>
                    <a:pt x="11" y="566"/>
                  </a:lnTo>
                  <a:lnTo>
                    <a:pt x="18" y="552"/>
                  </a:lnTo>
                  <a:lnTo>
                    <a:pt x="19" y="542"/>
                  </a:lnTo>
                  <a:lnTo>
                    <a:pt x="19" y="535"/>
                  </a:lnTo>
                  <a:lnTo>
                    <a:pt x="18" y="528"/>
                  </a:lnTo>
                  <a:lnTo>
                    <a:pt x="16" y="521"/>
                  </a:lnTo>
                  <a:lnTo>
                    <a:pt x="14" y="514"/>
                  </a:lnTo>
                  <a:lnTo>
                    <a:pt x="16" y="505"/>
                  </a:lnTo>
                  <a:lnTo>
                    <a:pt x="21" y="495"/>
                  </a:lnTo>
                  <a:lnTo>
                    <a:pt x="21" y="495"/>
                  </a:lnTo>
                  <a:lnTo>
                    <a:pt x="28" y="486"/>
                  </a:lnTo>
                  <a:lnTo>
                    <a:pt x="30" y="486"/>
                  </a:lnTo>
                  <a:lnTo>
                    <a:pt x="32" y="486"/>
                  </a:lnTo>
                  <a:lnTo>
                    <a:pt x="33" y="491"/>
                  </a:lnTo>
                  <a:lnTo>
                    <a:pt x="35" y="498"/>
                  </a:lnTo>
                  <a:lnTo>
                    <a:pt x="35" y="505"/>
                  </a:lnTo>
                  <a:lnTo>
                    <a:pt x="37" y="509"/>
                  </a:lnTo>
                  <a:lnTo>
                    <a:pt x="37" y="509"/>
                  </a:lnTo>
                  <a:lnTo>
                    <a:pt x="39" y="509"/>
                  </a:lnTo>
                  <a:lnTo>
                    <a:pt x="44" y="500"/>
                  </a:lnTo>
                  <a:lnTo>
                    <a:pt x="44" y="500"/>
                  </a:lnTo>
                  <a:lnTo>
                    <a:pt x="49" y="488"/>
                  </a:lnTo>
                  <a:lnTo>
                    <a:pt x="53" y="481"/>
                  </a:lnTo>
                  <a:lnTo>
                    <a:pt x="58" y="477"/>
                  </a:lnTo>
                  <a:lnTo>
                    <a:pt x="63" y="476"/>
                  </a:lnTo>
                  <a:lnTo>
                    <a:pt x="68" y="472"/>
                  </a:lnTo>
                  <a:lnTo>
                    <a:pt x="77" y="467"/>
                  </a:lnTo>
                  <a:lnTo>
                    <a:pt x="86" y="460"/>
                  </a:lnTo>
                  <a:lnTo>
                    <a:pt x="98" y="448"/>
                  </a:lnTo>
                  <a:lnTo>
                    <a:pt x="98" y="448"/>
                  </a:lnTo>
                  <a:lnTo>
                    <a:pt x="108" y="436"/>
                  </a:lnTo>
                  <a:lnTo>
                    <a:pt x="117" y="429"/>
                  </a:lnTo>
                  <a:lnTo>
                    <a:pt x="124" y="427"/>
                  </a:lnTo>
                  <a:lnTo>
                    <a:pt x="131" y="429"/>
                  </a:lnTo>
                  <a:lnTo>
                    <a:pt x="141" y="432"/>
                  </a:lnTo>
                  <a:lnTo>
                    <a:pt x="148" y="432"/>
                  </a:lnTo>
                  <a:lnTo>
                    <a:pt x="157" y="429"/>
                  </a:lnTo>
                  <a:lnTo>
                    <a:pt x="157" y="429"/>
                  </a:lnTo>
                  <a:lnTo>
                    <a:pt x="173" y="420"/>
                  </a:lnTo>
                  <a:lnTo>
                    <a:pt x="187" y="417"/>
                  </a:lnTo>
                  <a:lnTo>
                    <a:pt x="195" y="411"/>
                  </a:lnTo>
                  <a:lnTo>
                    <a:pt x="199" y="410"/>
                  </a:lnTo>
                  <a:lnTo>
                    <a:pt x="202" y="404"/>
                  </a:lnTo>
                  <a:lnTo>
                    <a:pt x="202" y="404"/>
                  </a:lnTo>
                  <a:lnTo>
                    <a:pt x="206" y="401"/>
                  </a:lnTo>
                  <a:lnTo>
                    <a:pt x="209" y="401"/>
                  </a:lnTo>
                  <a:lnTo>
                    <a:pt x="223" y="401"/>
                  </a:lnTo>
                  <a:lnTo>
                    <a:pt x="232" y="401"/>
                  </a:lnTo>
                  <a:lnTo>
                    <a:pt x="242" y="401"/>
                  </a:lnTo>
                  <a:lnTo>
                    <a:pt x="253" y="397"/>
                  </a:lnTo>
                  <a:lnTo>
                    <a:pt x="265" y="390"/>
                  </a:lnTo>
                  <a:lnTo>
                    <a:pt x="265" y="390"/>
                  </a:lnTo>
                  <a:lnTo>
                    <a:pt x="275" y="382"/>
                  </a:lnTo>
                  <a:lnTo>
                    <a:pt x="282" y="373"/>
                  </a:lnTo>
                  <a:lnTo>
                    <a:pt x="288" y="364"/>
                  </a:lnTo>
                  <a:lnTo>
                    <a:pt x="291" y="357"/>
                  </a:lnTo>
                  <a:lnTo>
                    <a:pt x="296" y="343"/>
                  </a:lnTo>
                  <a:lnTo>
                    <a:pt x="300" y="338"/>
                  </a:lnTo>
                  <a:lnTo>
                    <a:pt x="305" y="333"/>
                  </a:lnTo>
                  <a:lnTo>
                    <a:pt x="305" y="3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9" name="Freeform 1962">
              <a:extLst>
                <a:ext uri="{FF2B5EF4-FFF2-40B4-BE49-F238E27FC236}">
                  <a16:creationId xmlns:a16="http://schemas.microsoft.com/office/drawing/2014/main" id="{93CC8970-0275-455C-B7AB-E6B1D1DDFF28}"/>
                </a:ext>
              </a:extLst>
            </p:cNvPr>
            <p:cNvSpPr>
              <a:spLocks/>
            </p:cNvSpPr>
            <p:nvPr/>
          </p:nvSpPr>
          <p:spPr bwMode="auto">
            <a:xfrm>
              <a:off x="6791847" y="2554194"/>
              <a:ext cx="1723236" cy="1268644"/>
            </a:xfrm>
            <a:custGeom>
              <a:avLst/>
              <a:gdLst/>
              <a:ahLst/>
              <a:cxnLst>
                <a:cxn ang="0">
                  <a:pos x="2000" y="247"/>
                </a:cxn>
                <a:cxn ang="0">
                  <a:pos x="1793" y="14"/>
                </a:cxn>
                <a:cxn ang="0">
                  <a:pos x="1586" y="184"/>
                </a:cxn>
                <a:cxn ang="0">
                  <a:pos x="1529" y="297"/>
                </a:cxn>
                <a:cxn ang="0">
                  <a:pos x="1579" y="353"/>
                </a:cxn>
                <a:cxn ang="0">
                  <a:pos x="1412" y="444"/>
                </a:cxn>
                <a:cxn ang="0">
                  <a:pos x="1266" y="559"/>
                </a:cxn>
                <a:cxn ang="0">
                  <a:pos x="1086" y="599"/>
                </a:cxn>
                <a:cxn ang="0">
                  <a:pos x="797" y="543"/>
                </a:cxn>
                <a:cxn ang="0">
                  <a:pos x="602" y="398"/>
                </a:cxn>
                <a:cxn ang="0">
                  <a:pos x="505" y="249"/>
                </a:cxn>
                <a:cxn ang="0">
                  <a:pos x="388" y="339"/>
                </a:cxn>
                <a:cxn ang="0">
                  <a:pos x="287" y="423"/>
                </a:cxn>
                <a:cxn ang="0">
                  <a:pos x="238" y="543"/>
                </a:cxn>
                <a:cxn ang="0">
                  <a:pos x="109" y="639"/>
                </a:cxn>
                <a:cxn ang="0">
                  <a:pos x="10" y="693"/>
                </a:cxn>
                <a:cxn ang="0">
                  <a:pos x="43" y="771"/>
                </a:cxn>
                <a:cxn ang="0">
                  <a:pos x="75" y="835"/>
                </a:cxn>
                <a:cxn ang="0">
                  <a:pos x="191" y="872"/>
                </a:cxn>
                <a:cxn ang="0">
                  <a:pos x="209" y="950"/>
                </a:cxn>
                <a:cxn ang="0">
                  <a:pos x="191" y="1037"/>
                </a:cxn>
                <a:cxn ang="0">
                  <a:pos x="221" y="1104"/>
                </a:cxn>
                <a:cxn ang="0">
                  <a:pos x="334" y="1163"/>
                </a:cxn>
                <a:cxn ang="0">
                  <a:pos x="425" y="1225"/>
                </a:cxn>
                <a:cxn ang="0">
                  <a:pos x="510" y="1243"/>
                </a:cxn>
                <a:cxn ang="0">
                  <a:pos x="595" y="1234"/>
                </a:cxn>
                <a:cxn ang="0">
                  <a:pos x="715" y="1196"/>
                </a:cxn>
                <a:cxn ang="0">
                  <a:pos x="806" y="1196"/>
                </a:cxn>
                <a:cxn ang="0">
                  <a:pos x="881" y="1255"/>
                </a:cxn>
                <a:cxn ang="0">
                  <a:pos x="851" y="1360"/>
                </a:cxn>
                <a:cxn ang="0">
                  <a:pos x="881" y="1422"/>
                </a:cxn>
                <a:cxn ang="0">
                  <a:pos x="924" y="1513"/>
                </a:cxn>
                <a:cxn ang="0">
                  <a:pos x="989" y="1539"/>
                </a:cxn>
                <a:cxn ang="0">
                  <a:pos x="1043" y="1469"/>
                </a:cxn>
                <a:cxn ang="0">
                  <a:pos x="1111" y="1443"/>
                </a:cxn>
                <a:cxn ang="0">
                  <a:pos x="1182" y="1516"/>
                </a:cxn>
                <a:cxn ang="0">
                  <a:pos x="1243" y="1521"/>
                </a:cxn>
                <a:cxn ang="0">
                  <a:pos x="1271" y="1568"/>
                </a:cxn>
                <a:cxn ang="0">
                  <a:pos x="1349" y="1511"/>
                </a:cxn>
                <a:cxn ang="0">
                  <a:pos x="1400" y="1476"/>
                </a:cxn>
                <a:cxn ang="0">
                  <a:pos x="1471" y="1474"/>
                </a:cxn>
                <a:cxn ang="0">
                  <a:pos x="1530" y="1431"/>
                </a:cxn>
                <a:cxn ang="0">
                  <a:pos x="1595" y="1375"/>
                </a:cxn>
                <a:cxn ang="0">
                  <a:pos x="1616" y="1332"/>
                </a:cxn>
                <a:cxn ang="0">
                  <a:pos x="1631" y="1288"/>
                </a:cxn>
                <a:cxn ang="0">
                  <a:pos x="1684" y="1205"/>
                </a:cxn>
                <a:cxn ang="0">
                  <a:pos x="1673" y="1131"/>
                </a:cxn>
                <a:cxn ang="0">
                  <a:pos x="1666" y="1071"/>
                </a:cxn>
                <a:cxn ang="0">
                  <a:pos x="1652" y="1051"/>
                </a:cxn>
                <a:cxn ang="0">
                  <a:pos x="1643" y="966"/>
                </a:cxn>
                <a:cxn ang="0">
                  <a:pos x="1633" y="860"/>
                </a:cxn>
                <a:cxn ang="0">
                  <a:pos x="1703" y="825"/>
                </a:cxn>
                <a:cxn ang="0">
                  <a:pos x="1673" y="795"/>
                </a:cxn>
                <a:cxn ang="0">
                  <a:pos x="1595" y="785"/>
                </a:cxn>
                <a:cxn ang="0">
                  <a:pos x="1583" y="721"/>
                </a:cxn>
                <a:cxn ang="0">
                  <a:pos x="1694" y="640"/>
                </a:cxn>
                <a:cxn ang="0">
                  <a:pos x="1675" y="726"/>
                </a:cxn>
                <a:cxn ang="0">
                  <a:pos x="1732" y="698"/>
                </a:cxn>
                <a:cxn ang="0">
                  <a:pos x="1825" y="644"/>
                </a:cxn>
                <a:cxn ang="0">
                  <a:pos x="1906" y="611"/>
                </a:cxn>
                <a:cxn ang="0">
                  <a:pos x="1969" y="559"/>
                </a:cxn>
                <a:cxn ang="0">
                  <a:pos x="2013" y="442"/>
                </a:cxn>
                <a:cxn ang="0">
                  <a:pos x="2117" y="271"/>
                </a:cxn>
              </a:cxnLst>
              <a:rect l="0" t="0" r="r" b="b"/>
              <a:pathLst>
                <a:path w="2147" h="1581">
                  <a:moveTo>
                    <a:pt x="2117" y="271"/>
                  </a:moveTo>
                  <a:lnTo>
                    <a:pt x="2117" y="271"/>
                  </a:lnTo>
                  <a:lnTo>
                    <a:pt x="2110" y="277"/>
                  </a:lnTo>
                  <a:lnTo>
                    <a:pt x="2105" y="280"/>
                  </a:lnTo>
                  <a:lnTo>
                    <a:pt x="2101" y="280"/>
                  </a:lnTo>
                  <a:lnTo>
                    <a:pt x="2098" y="280"/>
                  </a:lnTo>
                  <a:lnTo>
                    <a:pt x="2093" y="280"/>
                  </a:lnTo>
                  <a:lnTo>
                    <a:pt x="2089" y="280"/>
                  </a:lnTo>
                  <a:lnTo>
                    <a:pt x="2084" y="284"/>
                  </a:lnTo>
                  <a:lnTo>
                    <a:pt x="2077" y="289"/>
                  </a:lnTo>
                  <a:lnTo>
                    <a:pt x="2077" y="289"/>
                  </a:lnTo>
                  <a:lnTo>
                    <a:pt x="2068" y="296"/>
                  </a:lnTo>
                  <a:lnTo>
                    <a:pt x="2060" y="299"/>
                  </a:lnTo>
                  <a:lnTo>
                    <a:pt x="2053" y="303"/>
                  </a:lnTo>
                  <a:lnTo>
                    <a:pt x="2044" y="304"/>
                  </a:lnTo>
                  <a:lnTo>
                    <a:pt x="2035" y="304"/>
                  </a:lnTo>
                  <a:lnTo>
                    <a:pt x="2027" y="301"/>
                  </a:lnTo>
                  <a:lnTo>
                    <a:pt x="2018" y="297"/>
                  </a:lnTo>
                  <a:lnTo>
                    <a:pt x="2011" y="292"/>
                  </a:lnTo>
                  <a:lnTo>
                    <a:pt x="2011" y="292"/>
                  </a:lnTo>
                  <a:lnTo>
                    <a:pt x="2004" y="287"/>
                  </a:lnTo>
                  <a:lnTo>
                    <a:pt x="2002" y="284"/>
                  </a:lnTo>
                  <a:lnTo>
                    <a:pt x="2002" y="280"/>
                  </a:lnTo>
                  <a:lnTo>
                    <a:pt x="2004" y="277"/>
                  </a:lnTo>
                  <a:lnTo>
                    <a:pt x="2007" y="271"/>
                  </a:lnTo>
                  <a:lnTo>
                    <a:pt x="2007" y="268"/>
                  </a:lnTo>
                  <a:lnTo>
                    <a:pt x="2004" y="264"/>
                  </a:lnTo>
                  <a:lnTo>
                    <a:pt x="2004" y="264"/>
                  </a:lnTo>
                  <a:lnTo>
                    <a:pt x="2000" y="261"/>
                  </a:lnTo>
                  <a:lnTo>
                    <a:pt x="1999" y="257"/>
                  </a:lnTo>
                  <a:lnTo>
                    <a:pt x="2000" y="250"/>
                  </a:lnTo>
                  <a:lnTo>
                    <a:pt x="2000" y="247"/>
                  </a:lnTo>
                  <a:lnTo>
                    <a:pt x="2000" y="243"/>
                  </a:lnTo>
                  <a:lnTo>
                    <a:pt x="1999" y="242"/>
                  </a:lnTo>
                  <a:lnTo>
                    <a:pt x="1993" y="242"/>
                  </a:lnTo>
                  <a:lnTo>
                    <a:pt x="1993" y="242"/>
                  </a:lnTo>
                  <a:lnTo>
                    <a:pt x="1987" y="240"/>
                  </a:lnTo>
                  <a:lnTo>
                    <a:pt x="1983" y="237"/>
                  </a:lnTo>
                  <a:lnTo>
                    <a:pt x="1976" y="228"/>
                  </a:lnTo>
                  <a:lnTo>
                    <a:pt x="1973" y="223"/>
                  </a:lnTo>
                  <a:lnTo>
                    <a:pt x="1966" y="217"/>
                  </a:lnTo>
                  <a:lnTo>
                    <a:pt x="1957" y="214"/>
                  </a:lnTo>
                  <a:lnTo>
                    <a:pt x="1945" y="212"/>
                  </a:lnTo>
                  <a:lnTo>
                    <a:pt x="1945" y="212"/>
                  </a:lnTo>
                  <a:lnTo>
                    <a:pt x="1919" y="207"/>
                  </a:lnTo>
                  <a:lnTo>
                    <a:pt x="1910" y="205"/>
                  </a:lnTo>
                  <a:lnTo>
                    <a:pt x="1901" y="200"/>
                  </a:lnTo>
                  <a:lnTo>
                    <a:pt x="1894" y="191"/>
                  </a:lnTo>
                  <a:lnTo>
                    <a:pt x="1889" y="179"/>
                  </a:lnTo>
                  <a:lnTo>
                    <a:pt x="1884" y="162"/>
                  </a:lnTo>
                  <a:lnTo>
                    <a:pt x="1880" y="139"/>
                  </a:lnTo>
                  <a:lnTo>
                    <a:pt x="1880" y="139"/>
                  </a:lnTo>
                  <a:lnTo>
                    <a:pt x="1873" y="115"/>
                  </a:lnTo>
                  <a:lnTo>
                    <a:pt x="1866" y="92"/>
                  </a:lnTo>
                  <a:lnTo>
                    <a:pt x="1858" y="71"/>
                  </a:lnTo>
                  <a:lnTo>
                    <a:pt x="1847" y="52"/>
                  </a:lnTo>
                  <a:lnTo>
                    <a:pt x="1837" y="38"/>
                  </a:lnTo>
                  <a:lnTo>
                    <a:pt x="1826" y="26"/>
                  </a:lnTo>
                  <a:lnTo>
                    <a:pt x="1818" y="19"/>
                  </a:lnTo>
                  <a:lnTo>
                    <a:pt x="1812" y="17"/>
                  </a:lnTo>
                  <a:lnTo>
                    <a:pt x="1809" y="17"/>
                  </a:lnTo>
                  <a:lnTo>
                    <a:pt x="1809" y="17"/>
                  </a:lnTo>
                  <a:lnTo>
                    <a:pt x="1800" y="15"/>
                  </a:lnTo>
                  <a:lnTo>
                    <a:pt x="1793" y="14"/>
                  </a:lnTo>
                  <a:lnTo>
                    <a:pt x="1772" y="5"/>
                  </a:lnTo>
                  <a:lnTo>
                    <a:pt x="1760" y="1"/>
                  </a:lnTo>
                  <a:lnTo>
                    <a:pt x="1744" y="0"/>
                  </a:lnTo>
                  <a:lnTo>
                    <a:pt x="1727" y="0"/>
                  </a:lnTo>
                  <a:lnTo>
                    <a:pt x="1704" y="1"/>
                  </a:lnTo>
                  <a:lnTo>
                    <a:pt x="1704" y="1"/>
                  </a:lnTo>
                  <a:lnTo>
                    <a:pt x="1682" y="7"/>
                  </a:lnTo>
                  <a:lnTo>
                    <a:pt x="1663" y="14"/>
                  </a:lnTo>
                  <a:lnTo>
                    <a:pt x="1649" y="21"/>
                  </a:lnTo>
                  <a:lnTo>
                    <a:pt x="1637" y="29"/>
                  </a:lnTo>
                  <a:lnTo>
                    <a:pt x="1630" y="38"/>
                  </a:lnTo>
                  <a:lnTo>
                    <a:pt x="1628" y="43"/>
                  </a:lnTo>
                  <a:lnTo>
                    <a:pt x="1628" y="47"/>
                  </a:lnTo>
                  <a:lnTo>
                    <a:pt x="1628" y="48"/>
                  </a:lnTo>
                  <a:lnTo>
                    <a:pt x="1630" y="50"/>
                  </a:lnTo>
                  <a:lnTo>
                    <a:pt x="1633" y="50"/>
                  </a:lnTo>
                  <a:lnTo>
                    <a:pt x="1633" y="50"/>
                  </a:lnTo>
                  <a:lnTo>
                    <a:pt x="1640" y="50"/>
                  </a:lnTo>
                  <a:lnTo>
                    <a:pt x="1645" y="52"/>
                  </a:lnTo>
                  <a:lnTo>
                    <a:pt x="1650" y="55"/>
                  </a:lnTo>
                  <a:lnTo>
                    <a:pt x="1654" y="61"/>
                  </a:lnTo>
                  <a:lnTo>
                    <a:pt x="1654" y="68"/>
                  </a:lnTo>
                  <a:lnTo>
                    <a:pt x="1652" y="76"/>
                  </a:lnTo>
                  <a:lnTo>
                    <a:pt x="1647" y="87"/>
                  </a:lnTo>
                  <a:lnTo>
                    <a:pt x="1637" y="101"/>
                  </a:lnTo>
                  <a:lnTo>
                    <a:pt x="1637" y="101"/>
                  </a:lnTo>
                  <a:lnTo>
                    <a:pt x="1628" y="113"/>
                  </a:lnTo>
                  <a:lnTo>
                    <a:pt x="1621" y="125"/>
                  </a:lnTo>
                  <a:lnTo>
                    <a:pt x="1610" y="148"/>
                  </a:lnTo>
                  <a:lnTo>
                    <a:pt x="1602" y="167"/>
                  </a:lnTo>
                  <a:lnTo>
                    <a:pt x="1595" y="176"/>
                  </a:lnTo>
                  <a:lnTo>
                    <a:pt x="1586" y="184"/>
                  </a:lnTo>
                  <a:lnTo>
                    <a:pt x="1586" y="184"/>
                  </a:lnTo>
                  <a:lnTo>
                    <a:pt x="1577" y="193"/>
                  </a:lnTo>
                  <a:lnTo>
                    <a:pt x="1570" y="200"/>
                  </a:lnTo>
                  <a:lnTo>
                    <a:pt x="1562" y="203"/>
                  </a:lnTo>
                  <a:lnTo>
                    <a:pt x="1553" y="205"/>
                  </a:lnTo>
                  <a:lnTo>
                    <a:pt x="1544" y="205"/>
                  </a:lnTo>
                  <a:lnTo>
                    <a:pt x="1536" y="203"/>
                  </a:lnTo>
                  <a:lnTo>
                    <a:pt x="1525" y="198"/>
                  </a:lnTo>
                  <a:lnTo>
                    <a:pt x="1513" y="191"/>
                  </a:lnTo>
                  <a:lnTo>
                    <a:pt x="1513" y="191"/>
                  </a:lnTo>
                  <a:lnTo>
                    <a:pt x="1499" y="221"/>
                  </a:lnTo>
                  <a:lnTo>
                    <a:pt x="1489" y="242"/>
                  </a:lnTo>
                  <a:lnTo>
                    <a:pt x="1485" y="256"/>
                  </a:lnTo>
                  <a:lnTo>
                    <a:pt x="1482" y="264"/>
                  </a:lnTo>
                  <a:lnTo>
                    <a:pt x="1482" y="271"/>
                  </a:lnTo>
                  <a:lnTo>
                    <a:pt x="1475" y="278"/>
                  </a:lnTo>
                  <a:lnTo>
                    <a:pt x="1475" y="278"/>
                  </a:lnTo>
                  <a:lnTo>
                    <a:pt x="1473" y="282"/>
                  </a:lnTo>
                  <a:lnTo>
                    <a:pt x="1471" y="285"/>
                  </a:lnTo>
                  <a:lnTo>
                    <a:pt x="1473" y="291"/>
                  </a:lnTo>
                  <a:lnTo>
                    <a:pt x="1475" y="294"/>
                  </a:lnTo>
                  <a:lnTo>
                    <a:pt x="1478" y="297"/>
                  </a:lnTo>
                  <a:lnTo>
                    <a:pt x="1482" y="299"/>
                  </a:lnTo>
                  <a:lnTo>
                    <a:pt x="1487" y="299"/>
                  </a:lnTo>
                  <a:lnTo>
                    <a:pt x="1489" y="297"/>
                  </a:lnTo>
                  <a:lnTo>
                    <a:pt x="1489" y="297"/>
                  </a:lnTo>
                  <a:lnTo>
                    <a:pt x="1497" y="294"/>
                  </a:lnTo>
                  <a:lnTo>
                    <a:pt x="1508" y="292"/>
                  </a:lnTo>
                  <a:lnTo>
                    <a:pt x="1520" y="292"/>
                  </a:lnTo>
                  <a:lnTo>
                    <a:pt x="1525" y="294"/>
                  </a:lnTo>
                  <a:lnTo>
                    <a:pt x="1529" y="297"/>
                  </a:lnTo>
                  <a:lnTo>
                    <a:pt x="1529" y="297"/>
                  </a:lnTo>
                  <a:lnTo>
                    <a:pt x="1534" y="301"/>
                  </a:lnTo>
                  <a:lnTo>
                    <a:pt x="1537" y="301"/>
                  </a:lnTo>
                  <a:lnTo>
                    <a:pt x="1539" y="299"/>
                  </a:lnTo>
                  <a:lnTo>
                    <a:pt x="1541" y="296"/>
                  </a:lnTo>
                  <a:lnTo>
                    <a:pt x="1543" y="292"/>
                  </a:lnTo>
                  <a:lnTo>
                    <a:pt x="1548" y="289"/>
                  </a:lnTo>
                  <a:lnTo>
                    <a:pt x="1553" y="287"/>
                  </a:lnTo>
                  <a:lnTo>
                    <a:pt x="1562" y="285"/>
                  </a:lnTo>
                  <a:lnTo>
                    <a:pt x="1562" y="285"/>
                  </a:lnTo>
                  <a:lnTo>
                    <a:pt x="1570" y="285"/>
                  </a:lnTo>
                  <a:lnTo>
                    <a:pt x="1577" y="289"/>
                  </a:lnTo>
                  <a:lnTo>
                    <a:pt x="1584" y="291"/>
                  </a:lnTo>
                  <a:lnTo>
                    <a:pt x="1588" y="296"/>
                  </a:lnTo>
                  <a:lnTo>
                    <a:pt x="1596" y="304"/>
                  </a:lnTo>
                  <a:lnTo>
                    <a:pt x="1605" y="315"/>
                  </a:lnTo>
                  <a:lnTo>
                    <a:pt x="1605" y="315"/>
                  </a:lnTo>
                  <a:lnTo>
                    <a:pt x="1614" y="325"/>
                  </a:lnTo>
                  <a:lnTo>
                    <a:pt x="1623" y="334"/>
                  </a:lnTo>
                  <a:lnTo>
                    <a:pt x="1624" y="339"/>
                  </a:lnTo>
                  <a:lnTo>
                    <a:pt x="1626" y="344"/>
                  </a:lnTo>
                  <a:lnTo>
                    <a:pt x="1626" y="348"/>
                  </a:lnTo>
                  <a:lnTo>
                    <a:pt x="1623" y="351"/>
                  </a:lnTo>
                  <a:lnTo>
                    <a:pt x="1623" y="351"/>
                  </a:lnTo>
                  <a:lnTo>
                    <a:pt x="1619" y="355"/>
                  </a:lnTo>
                  <a:lnTo>
                    <a:pt x="1614" y="355"/>
                  </a:lnTo>
                  <a:lnTo>
                    <a:pt x="1602" y="353"/>
                  </a:lnTo>
                  <a:lnTo>
                    <a:pt x="1591" y="350"/>
                  </a:lnTo>
                  <a:lnTo>
                    <a:pt x="1586" y="350"/>
                  </a:lnTo>
                  <a:lnTo>
                    <a:pt x="1584" y="351"/>
                  </a:lnTo>
                  <a:lnTo>
                    <a:pt x="1584" y="351"/>
                  </a:lnTo>
                  <a:lnTo>
                    <a:pt x="1581" y="353"/>
                  </a:lnTo>
                  <a:lnTo>
                    <a:pt x="1579" y="353"/>
                  </a:lnTo>
                  <a:lnTo>
                    <a:pt x="1572" y="351"/>
                  </a:lnTo>
                  <a:lnTo>
                    <a:pt x="1565" y="351"/>
                  </a:lnTo>
                  <a:lnTo>
                    <a:pt x="1560" y="353"/>
                  </a:lnTo>
                  <a:lnTo>
                    <a:pt x="1555" y="357"/>
                  </a:lnTo>
                  <a:lnTo>
                    <a:pt x="1555" y="357"/>
                  </a:lnTo>
                  <a:lnTo>
                    <a:pt x="1549" y="360"/>
                  </a:lnTo>
                  <a:lnTo>
                    <a:pt x="1543" y="362"/>
                  </a:lnTo>
                  <a:lnTo>
                    <a:pt x="1530" y="364"/>
                  </a:lnTo>
                  <a:lnTo>
                    <a:pt x="1516" y="367"/>
                  </a:lnTo>
                  <a:lnTo>
                    <a:pt x="1511" y="371"/>
                  </a:lnTo>
                  <a:lnTo>
                    <a:pt x="1504" y="376"/>
                  </a:lnTo>
                  <a:lnTo>
                    <a:pt x="1504" y="376"/>
                  </a:lnTo>
                  <a:lnTo>
                    <a:pt x="1499" y="381"/>
                  </a:lnTo>
                  <a:lnTo>
                    <a:pt x="1497" y="385"/>
                  </a:lnTo>
                  <a:lnTo>
                    <a:pt x="1497" y="390"/>
                  </a:lnTo>
                  <a:lnTo>
                    <a:pt x="1495" y="395"/>
                  </a:lnTo>
                  <a:lnTo>
                    <a:pt x="1494" y="398"/>
                  </a:lnTo>
                  <a:lnTo>
                    <a:pt x="1490" y="402"/>
                  </a:lnTo>
                  <a:lnTo>
                    <a:pt x="1490" y="402"/>
                  </a:lnTo>
                  <a:lnTo>
                    <a:pt x="1480" y="411"/>
                  </a:lnTo>
                  <a:lnTo>
                    <a:pt x="1471" y="416"/>
                  </a:lnTo>
                  <a:lnTo>
                    <a:pt x="1461" y="418"/>
                  </a:lnTo>
                  <a:lnTo>
                    <a:pt x="1448" y="416"/>
                  </a:lnTo>
                  <a:lnTo>
                    <a:pt x="1448" y="416"/>
                  </a:lnTo>
                  <a:lnTo>
                    <a:pt x="1442" y="416"/>
                  </a:lnTo>
                  <a:lnTo>
                    <a:pt x="1438" y="418"/>
                  </a:lnTo>
                  <a:lnTo>
                    <a:pt x="1436" y="421"/>
                  </a:lnTo>
                  <a:lnTo>
                    <a:pt x="1433" y="425"/>
                  </a:lnTo>
                  <a:lnTo>
                    <a:pt x="1431" y="430"/>
                  </a:lnTo>
                  <a:lnTo>
                    <a:pt x="1426" y="435"/>
                  </a:lnTo>
                  <a:lnTo>
                    <a:pt x="1421" y="440"/>
                  </a:lnTo>
                  <a:lnTo>
                    <a:pt x="1412" y="444"/>
                  </a:lnTo>
                  <a:lnTo>
                    <a:pt x="1412" y="444"/>
                  </a:lnTo>
                  <a:lnTo>
                    <a:pt x="1400" y="447"/>
                  </a:lnTo>
                  <a:lnTo>
                    <a:pt x="1391" y="447"/>
                  </a:lnTo>
                  <a:lnTo>
                    <a:pt x="1382" y="445"/>
                  </a:lnTo>
                  <a:lnTo>
                    <a:pt x="1374" y="442"/>
                  </a:lnTo>
                  <a:lnTo>
                    <a:pt x="1360" y="433"/>
                  </a:lnTo>
                  <a:lnTo>
                    <a:pt x="1353" y="432"/>
                  </a:lnTo>
                  <a:lnTo>
                    <a:pt x="1346" y="432"/>
                  </a:lnTo>
                  <a:lnTo>
                    <a:pt x="1346" y="432"/>
                  </a:lnTo>
                  <a:lnTo>
                    <a:pt x="1341" y="435"/>
                  </a:lnTo>
                  <a:lnTo>
                    <a:pt x="1337" y="437"/>
                  </a:lnTo>
                  <a:lnTo>
                    <a:pt x="1334" y="444"/>
                  </a:lnTo>
                  <a:lnTo>
                    <a:pt x="1332" y="454"/>
                  </a:lnTo>
                  <a:lnTo>
                    <a:pt x="1330" y="466"/>
                  </a:lnTo>
                  <a:lnTo>
                    <a:pt x="1330" y="466"/>
                  </a:lnTo>
                  <a:lnTo>
                    <a:pt x="1330" y="472"/>
                  </a:lnTo>
                  <a:lnTo>
                    <a:pt x="1332" y="477"/>
                  </a:lnTo>
                  <a:lnTo>
                    <a:pt x="1341" y="487"/>
                  </a:lnTo>
                  <a:lnTo>
                    <a:pt x="1344" y="491"/>
                  </a:lnTo>
                  <a:lnTo>
                    <a:pt x="1346" y="496"/>
                  </a:lnTo>
                  <a:lnTo>
                    <a:pt x="1346" y="499"/>
                  </a:lnTo>
                  <a:lnTo>
                    <a:pt x="1341" y="505"/>
                  </a:lnTo>
                  <a:lnTo>
                    <a:pt x="1341" y="505"/>
                  </a:lnTo>
                  <a:lnTo>
                    <a:pt x="1328" y="510"/>
                  </a:lnTo>
                  <a:lnTo>
                    <a:pt x="1320" y="515"/>
                  </a:lnTo>
                  <a:lnTo>
                    <a:pt x="1309" y="522"/>
                  </a:lnTo>
                  <a:lnTo>
                    <a:pt x="1299" y="534"/>
                  </a:lnTo>
                  <a:lnTo>
                    <a:pt x="1299" y="534"/>
                  </a:lnTo>
                  <a:lnTo>
                    <a:pt x="1287" y="546"/>
                  </a:lnTo>
                  <a:lnTo>
                    <a:pt x="1278" y="552"/>
                  </a:lnTo>
                  <a:lnTo>
                    <a:pt x="1271" y="553"/>
                  </a:lnTo>
                  <a:lnTo>
                    <a:pt x="1266" y="559"/>
                  </a:lnTo>
                  <a:lnTo>
                    <a:pt x="1266" y="559"/>
                  </a:lnTo>
                  <a:lnTo>
                    <a:pt x="1262" y="560"/>
                  </a:lnTo>
                  <a:lnTo>
                    <a:pt x="1260" y="562"/>
                  </a:lnTo>
                  <a:lnTo>
                    <a:pt x="1253" y="562"/>
                  </a:lnTo>
                  <a:lnTo>
                    <a:pt x="1246" y="560"/>
                  </a:lnTo>
                  <a:lnTo>
                    <a:pt x="1240" y="562"/>
                  </a:lnTo>
                  <a:lnTo>
                    <a:pt x="1240" y="562"/>
                  </a:lnTo>
                  <a:lnTo>
                    <a:pt x="1233" y="564"/>
                  </a:lnTo>
                  <a:lnTo>
                    <a:pt x="1227" y="564"/>
                  </a:lnTo>
                  <a:lnTo>
                    <a:pt x="1219" y="562"/>
                  </a:lnTo>
                  <a:lnTo>
                    <a:pt x="1205" y="562"/>
                  </a:lnTo>
                  <a:lnTo>
                    <a:pt x="1205" y="562"/>
                  </a:lnTo>
                  <a:lnTo>
                    <a:pt x="1193" y="562"/>
                  </a:lnTo>
                  <a:lnTo>
                    <a:pt x="1187" y="560"/>
                  </a:lnTo>
                  <a:lnTo>
                    <a:pt x="1184" y="562"/>
                  </a:lnTo>
                  <a:lnTo>
                    <a:pt x="1175" y="567"/>
                  </a:lnTo>
                  <a:lnTo>
                    <a:pt x="1175" y="567"/>
                  </a:lnTo>
                  <a:lnTo>
                    <a:pt x="1170" y="571"/>
                  </a:lnTo>
                  <a:lnTo>
                    <a:pt x="1165" y="573"/>
                  </a:lnTo>
                  <a:lnTo>
                    <a:pt x="1154" y="574"/>
                  </a:lnTo>
                  <a:lnTo>
                    <a:pt x="1146" y="578"/>
                  </a:lnTo>
                  <a:lnTo>
                    <a:pt x="1137" y="583"/>
                  </a:lnTo>
                  <a:lnTo>
                    <a:pt x="1123" y="590"/>
                  </a:lnTo>
                  <a:lnTo>
                    <a:pt x="1104" y="602"/>
                  </a:lnTo>
                  <a:lnTo>
                    <a:pt x="1104" y="602"/>
                  </a:lnTo>
                  <a:lnTo>
                    <a:pt x="1100" y="604"/>
                  </a:lnTo>
                  <a:lnTo>
                    <a:pt x="1098" y="602"/>
                  </a:lnTo>
                  <a:lnTo>
                    <a:pt x="1095" y="599"/>
                  </a:lnTo>
                  <a:lnTo>
                    <a:pt x="1090" y="600"/>
                  </a:lnTo>
                  <a:lnTo>
                    <a:pt x="1090" y="600"/>
                  </a:lnTo>
                  <a:lnTo>
                    <a:pt x="1086" y="600"/>
                  </a:lnTo>
                  <a:lnTo>
                    <a:pt x="1086" y="599"/>
                  </a:lnTo>
                  <a:lnTo>
                    <a:pt x="1085" y="593"/>
                  </a:lnTo>
                  <a:lnTo>
                    <a:pt x="1085" y="592"/>
                  </a:lnTo>
                  <a:lnTo>
                    <a:pt x="1083" y="590"/>
                  </a:lnTo>
                  <a:lnTo>
                    <a:pt x="1078" y="590"/>
                  </a:lnTo>
                  <a:lnTo>
                    <a:pt x="1072" y="592"/>
                  </a:lnTo>
                  <a:lnTo>
                    <a:pt x="1072" y="592"/>
                  </a:lnTo>
                  <a:lnTo>
                    <a:pt x="1064" y="593"/>
                  </a:lnTo>
                  <a:lnTo>
                    <a:pt x="1057" y="592"/>
                  </a:lnTo>
                  <a:lnTo>
                    <a:pt x="1048" y="588"/>
                  </a:lnTo>
                  <a:lnTo>
                    <a:pt x="1041" y="585"/>
                  </a:lnTo>
                  <a:lnTo>
                    <a:pt x="1027" y="578"/>
                  </a:lnTo>
                  <a:lnTo>
                    <a:pt x="1020" y="576"/>
                  </a:lnTo>
                  <a:lnTo>
                    <a:pt x="1013" y="576"/>
                  </a:lnTo>
                  <a:lnTo>
                    <a:pt x="1013" y="576"/>
                  </a:lnTo>
                  <a:lnTo>
                    <a:pt x="1008" y="574"/>
                  </a:lnTo>
                  <a:lnTo>
                    <a:pt x="1003" y="571"/>
                  </a:lnTo>
                  <a:lnTo>
                    <a:pt x="991" y="562"/>
                  </a:lnTo>
                  <a:lnTo>
                    <a:pt x="982" y="557"/>
                  </a:lnTo>
                  <a:lnTo>
                    <a:pt x="970" y="552"/>
                  </a:lnTo>
                  <a:lnTo>
                    <a:pt x="957" y="550"/>
                  </a:lnTo>
                  <a:lnTo>
                    <a:pt x="942" y="550"/>
                  </a:lnTo>
                  <a:lnTo>
                    <a:pt x="942" y="550"/>
                  </a:lnTo>
                  <a:lnTo>
                    <a:pt x="912" y="553"/>
                  </a:lnTo>
                  <a:lnTo>
                    <a:pt x="890" y="555"/>
                  </a:lnTo>
                  <a:lnTo>
                    <a:pt x="863" y="552"/>
                  </a:lnTo>
                  <a:lnTo>
                    <a:pt x="829" y="546"/>
                  </a:lnTo>
                  <a:lnTo>
                    <a:pt x="829" y="546"/>
                  </a:lnTo>
                  <a:lnTo>
                    <a:pt x="816" y="545"/>
                  </a:lnTo>
                  <a:lnTo>
                    <a:pt x="808" y="546"/>
                  </a:lnTo>
                  <a:lnTo>
                    <a:pt x="804" y="546"/>
                  </a:lnTo>
                  <a:lnTo>
                    <a:pt x="801" y="545"/>
                  </a:lnTo>
                  <a:lnTo>
                    <a:pt x="797" y="543"/>
                  </a:lnTo>
                  <a:lnTo>
                    <a:pt x="794" y="538"/>
                  </a:lnTo>
                  <a:lnTo>
                    <a:pt x="794" y="538"/>
                  </a:lnTo>
                  <a:lnTo>
                    <a:pt x="790" y="531"/>
                  </a:lnTo>
                  <a:lnTo>
                    <a:pt x="785" y="527"/>
                  </a:lnTo>
                  <a:lnTo>
                    <a:pt x="780" y="520"/>
                  </a:lnTo>
                  <a:lnTo>
                    <a:pt x="775" y="503"/>
                  </a:lnTo>
                  <a:lnTo>
                    <a:pt x="775" y="503"/>
                  </a:lnTo>
                  <a:lnTo>
                    <a:pt x="771" y="489"/>
                  </a:lnTo>
                  <a:lnTo>
                    <a:pt x="771" y="487"/>
                  </a:lnTo>
                  <a:lnTo>
                    <a:pt x="769" y="486"/>
                  </a:lnTo>
                  <a:lnTo>
                    <a:pt x="759" y="480"/>
                  </a:lnTo>
                  <a:lnTo>
                    <a:pt x="752" y="475"/>
                  </a:lnTo>
                  <a:lnTo>
                    <a:pt x="740" y="466"/>
                  </a:lnTo>
                  <a:lnTo>
                    <a:pt x="740" y="466"/>
                  </a:lnTo>
                  <a:lnTo>
                    <a:pt x="726" y="456"/>
                  </a:lnTo>
                  <a:lnTo>
                    <a:pt x="714" y="449"/>
                  </a:lnTo>
                  <a:lnTo>
                    <a:pt x="703" y="442"/>
                  </a:lnTo>
                  <a:lnTo>
                    <a:pt x="695" y="439"/>
                  </a:lnTo>
                  <a:lnTo>
                    <a:pt x="686" y="437"/>
                  </a:lnTo>
                  <a:lnTo>
                    <a:pt x="677" y="437"/>
                  </a:lnTo>
                  <a:lnTo>
                    <a:pt x="661" y="435"/>
                  </a:lnTo>
                  <a:lnTo>
                    <a:pt x="661" y="435"/>
                  </a:lnTo>
                  <a:lnTo>
                    <a:pt x="648" y="435"/>
                  </a:lnTo>
                  <a:lnTo>
                    <a:pt x="637" y="432"/>
                  </a:lnTo>
                  <a:lnTo>
                    <a:pt x="614" y="426"/>
                  </a:lnTo>
                  <a:lnTo>
                    <a:pt x="614" y="426"/>
                  </a:lnTo>
                  <a:lnTo>
                    <a:pt x="609" y="425"/>
                  </a:lnTo>
                  <a:lnTo>
                    <a:pt x="604" y="423"/>
                  </a:lnTo>
                  <a:lnTo>
                    <a:pt x="602" y="419"/>
                  </a:lnTo>
                  <a:lnTo>
                    <a:pt x="601" y="416"/>
                  </a:lnTo>
                  <a:lnTo>
                    <a:pt x="599" y="407"/>
                  </a:lnTo>
                  <a:lnTo>
                    <a:pt x="602" y="398"/>
                  </a:lnTo>
                  <a:lnTo>
                    <a:pt x="602" y="398"/>
                  </a:lnTo>
                  <a:lnTo>
                    <a:pt x="607" y="386"/>
                  </a:lnTo>
                  <a:lnTo>
                    <a:pt x="607" y="379"/>
                  </a:lnTo>
                  <a:lnTo>
                    <a:pt x="606" y="372"/>
                  </a:lnTo>
                  <a:lnTo>
                    <a:pt x="607" y="358"/>
                  </a:lnTo>
                  <a:lnTo>
                    <a:pt x="607" y="358"/>
                  </a:lnTo>
                  <a:lnTo>
                    <a:pt x="607" y="350"/>
                  </a:lnTo>
                  <a:lnTo>
                    <a:pt x="606" y="339"/>
                  </a:lnTo>
                  <a:lnTo>
                    <a:pt x="601" y="331"/>
                  </a:lnTo>
                  <a:lnTo>
                    <a:pt x="595" y="322"/>
                  </a:lnTo>
                  <a:lnTo>
                    <a:pt x="585" y="304"/>
                  </a:lnTo>
                  <a:lnTo>
                    <a:pt x="580" y="299"/>
                  </a:lnTo>
                  <a:lnTo>
                    <a:pt x="578" y="294"/>
                  </a:lnTo>
                  <a:lnTo>
                    <a:pt x="578" y="294"/>
                  </a:lnTo>
                  <a:lnTo>
                    <a:pt x="576" y="291"/>
                  </a:lnTo>
                  <a:lnTo>
                    <a:pt x="574" y="291"/>
                  </a:lnTo>
                  <a:lnTo>
                    <a:pt x="571" y="292"/>
                  </a:lnTo>
                  <a:lnTo>
                    <a:pt x="567" y="292"/>
                  </a:lnTo>
                  <a:lnTo>
                    <a:pt x="566" y="294"/>
                  </a:lnTo>
                  <a:lnTo>
                    <a:pt x="562" y="292"/>
                  </a:lnTo>
                  <a:lnTo>
                    <a:pt x="560" y="289"/>
                  </a:lnTo>
                  <a:lnTo>
                    <a:pt x="560" y="289"/>
                  </a:lnTo>
                  <a:lnTo>
                    <a:pt x="559" y="284"/>
                  </a:lnTo>
                  <a:lnTo>
                    <a:pt x="557" y="284"/>
                  </a:lnTo>
                  <a:lnTo>
                    <a:pt x="552" y="284"/>
                  </a:lnTo>
                  <a:lnTo>
                    <a:pt x="545" y="285"/>
                  </a:lnTo>
                  <a:lnTo>
                    <a:pt x="540" y="284"/>
                  </a:lnTo>
                  <a:lnTo>
                    <a:pt x="534" y="282"/>
                  </a:lnTo>
                  <a:lnTo>
                    <a:pt x="534" y="282"/>
                  </a:lnTo>
                  <a:lnTo>
                    <a:pt x="522" y="270"/>
                  </a:lnTo>
                  <a:lnTo>
                    <a:pt x="508" y="257"/>
                  </a:lnTo>
                  <a:lnTo>
                    <a:pt x="505" y="249"/>
                  </a:lnTo>
                  <a:lnTo>
                    <a:pt x="501" y="242"/>
                  </a:lnTo>
                  <a:lnTo>
                    <a:pt x="500" y="233"/>
                  </a:lnTo>
                  <a:lnTo>
                    <a:pt x="500" y="226"/>
                  </a:lnTo>
                  <a:lnTo>
                    <a:pt x="482" y="231"/>
                  </a:lnTo>
                  <a:lnTo>
                    <a:pt x="482" y="231"/>
                  </a:lnTo>
                  <a:lnTo>
                    <a:pt x="470" y="231"/>
                  </a:lnTo>
                  <a:lnTo>
                    <a:pt x="465" y="233"/>
                  </a:lnTo>
                  <a:lnTo>
                    <a:pt x="461" y="237"/>
                  </a:lnTo>
                  <a:lnTo>
                    <a:pt x="461" y="242"/>
                  </a:lnTo>
                  <a:lnTo>
                    <a:pt x="461" y="247"/>
                  </a:lnTo>
                  <a:lnTo>
                    <a:pt x="459" y="252"/>
                  </a:lnTo>
                  <a:lnTo>
                    <a:pt x="454" y="257"/>
                  </a:lnTo>
                  <a:lnTo>
                    <a:pt x="444" y="261"/>
                  </a:lnTo>
                  <a:lnTo>
                    <a:pt x="444" y="261"/>
                  </a:lnTo>
                  <a:lnTo>
                    <a:pt x="433" y="266"/>
                  </a:lnTo>
                  <a:lnTo>
                    <a:pt x="425" y="271"/>
                  </a:lnTo>
                  <a:lnTo>
                    <a:pt x="421" y="277"/>
                  </a:lnTo>
                  <a:lnTo>
                    <a:pt x="418" y="285"/>
                  </a:lnTo>
                  <a:lnTo>
                    <a:pt x="418" y="292"/>
                  </a:lnTo>
                  <a:lnTo>
                    <a:pt x="418" y="299"/>
                  </a:lnTo>
                  <a:lnTo>
                    <a:pt x="421" y="313"/>
                  </a:lnTo>
                  <a:lnTo>
                    <a:pt x="421" y="313"/>
                  </a:lnTo>
                  <a:lnTo>
                    <a:pt x="423" y="322"/>
                  </a:lnTo>
                  <a:lnTo>
                    <a:pt x="423" y="327"/>
                  </a:lnTo>
                  <a:lnTo>
                    <a:pt x="419" y="331"/>
                  </a:lnTo>
                  <a:lnTo>
                    <a:pt x="412" y="336"/>
                  </a:lnTo>
                  <a:lnTo>
                    <a:pt x="402" y="341"/>
                  </a:lnTo>
                  <a:lnTo>
                    <a:pt x="402" y="341"/>
                  </a:lnTo>
                  <a:lnTo>
                    <a:pt x="397" y="343"/>
                  </a:lnTo>
                  <a:lnTo>
                    <a:pt x="393" y="343"/>
                  </a:lnTo>
                  <a:lnTo>
                    <a:pt x="390" y="341"/>
                  </a:lnTo>
                  <a:lnTo>
                    <a:pt x="388" y="339"/>
                  </a:lnTo>
                  <a:lnTo>
                    <a:pt x="386" y="338"/>
                  </a:lnTo>
                  <a:lnTo>
                    <a:pt x="383" y="336"/>
                  </a:lnTo>
                  <a:lnTo>
                    <a:pt x="379" y="336"/>
                  </a:lnTo>
                  <a:lnTo>
                    <a:pt x="374" y="336"/>
                  </a:lnTo>
                  <a:lnTo>
                    <a:pt x="374" y="336"/>
                  </a:lnTo>
                  <a:lnTo>
                    <a:pt x="365" y="338"/>
                  </a:lnTo>
                  <a:lnTo>
                    <a:pt x="358" y="336"/>
                  </a:lnTo>
                  <a:lnTo>
                    <a:pt x="345" y="329"/>
                  </a:lnTo>
                  <a:lnTo>
                    <a:pt x="339" y="327"/>
                  </a:lnTo>
                  <a:lnTo>
                    <a:pt x="334" y="325"/>
                  </a:lnTo>
                  <a:lnTo>
                    <a:pt x="331" y="327"/>
                  </a:lnTo>
                  <a:lnTo>
                    <a:pt x="329" y="331"/>
                  </a:lnTo>
                  <a:lnTo>
                    <a:pt x="329" y="331"/>
                  </a:lnTo>
                  <a:lnTo>
                    <a:pt x="325" y="348"/>
                  </a:lnTo>
                  <a:lnTo>
                    <a:pt x="320" y="365"/>
                  </a:lnTo>
                  <a:lnTo>
                    <a:pt x="315" y="385"/>
                  </a:lnTo>
                  <a:lnTo>
                    <a:pt x="308" y="398"/>
                  </a:lnTo>
                  <a:lnTo>
                    <a:pt x="308" y="398"/>
                  </a:lnTo>
                  <a:lnTo>
                    <a:pt x="306" y="404"/>
                  </a:lnTo>
                  <a:lnTo>
                    <a:pt x="306" y="407"/>
                  </a:lnTo>
                  <a:lnTo>
                    <a:pt x="308" y="409"/>
                  </a:lnTo>
                  <a:lnTo>
                    <a:pt x="311" y="411"/>
                  </a:lnTo>
                  <a:lnTo>
                    <a:pt x="315" y="414"/>
                  </a:lnTo>
                  <a:lnTo>
                    <a:pt x="317" y="418"/>
                  </a:lnTo>
                  <a:lnTo>
                    <a:pt x="317" y="421"/>
                  </a:lnTo>
                  <a:lnTo>
                    <a:pt x="317" y="421"/>
                  </a:lnTo>
                  <a:lnTo>
                    <a:pt x="315" y="426"/>
                  </a:lnTo>
                  <a:lnTo>
                    <a:pt x="311" y="428"/>
                  </a:lnTo>
                  <a:lnTo>
                    <a:pt x="308" y="430"/>
                  </a:lnTo>
                  <a:lnTo>
                    <a:pt x="305" y="430"/>
                  </a:lnTo>
                  <a:lnTo>
                    <a:pt x="296" y="426"/>
                  </a:lnTo>
                  <a:lnTo>
                    <a:pt x="287" y="423"/>
                  </a:lnTo>
                  <a:lnTo>
                    <a:pt x="287" y="423"/>
                  </a:lnTo>
                  <a:lnTo>
                    <a:pt x="282" y="421"/>
                  </a:lnTo>
                  <a:lnTo>
                    <a:pt x="277" y="421"/>
                  </a:lnTo>
                  <a:lnTo>
                    <a:pt x="263" y="425"/>
                  </a:lnTo>
                  <a:lnTo>
                    <a:pt x="231" y="435"/>
                  </a:lnTo>
                  <a:lnTo>
                    <a:pt x="231" y="435"/>
                  </a:lnTo>
                  <a:lnTo>
                    <a:pt x="223" y="437"/>
                  </a:lnTo>
                  <a:lnTo>
                    <a:pt x="219" y="440"/>
                  </a:lnTo>
                  <a:lnTo>
                    <a:pt x="223" y="442"/>
                  </a:lnTo>
                  <a:lnTo>
                    <a:pt x="226" y="444"/>
                  </a:lnTo>
                  <a:lnTo>
                    <a:pt x="237" y="449"/>
                  </a:lnTo>
                  <a:lnTo>
                    <a:pt x="240" y="452"/>
                  </a:lnTo>
                  <a:lnTo>
                    <a:pt x="240" y="454"/>
                  </a:lnTo>
                  <a:lnTo>
                    <a:pt x="238" y="456"/>
                  </a:lnTo>
                  <a:lnTo>
                    <a:pt x="238" y="456"/>
                  </a:lnTo>
                  <a:lnTo>
                    <a:pt x="237" y="459"/>
                  </a:lnTo>
                  <a:lnTo>
                    <a:pt x="237" y="463"/>
                  </a:lnTo>
                  <a:lnTo>
                    <a:pt x="238" y="472"/>
                  </a:lnTo>
                  <a:lnTo>
                    <a:pt x="245" y="494"/>
                  </a:lnTo>
                  <a:lnTo>
                    <a:pt x="249" y="505"/>
                  </a:lnTo>
                  <a:lnTo>
                    <a:pt x="251" y="513"/>
                  </a:lnTo>
                  <a:lnTo>
                    <a:pt x="251" y="522"/>
                  </a:lnTo>
                  <a:lnTo>
                    <a:pt x="249" y="524"/>
                  </a:lnTo>
                  <a:lnTo>
                    <a:pt x="247" y="526"/>
                  </a:lnTo>
                  <a:lnTo>
                    <a:pt x="247" y="526"/>
                  </a:lnTo>
                  <a:lnTo>
                    <a:pt x="244" y="529"/>
                  </a:lnTo>
                  <a:lnTo>
                    <a:pt x="242" y="531"/>
                  </a:lnTo>
                  <a:lnTo>
                    <a:pt x="242" y="534"/>
                  </a:lnTo>
                  <a:lnTo>
                    <a:pt x="242" y="536"/>
                  </a:lnTo>
                  <a:lnTo>
                    <a:pt x="244" y="539"/>
                  </a:lnTo>
                  <a:lnTo>
                    <a:pt x="242" y="541"/>
                  </a:lnTo>
                  <a:lnTo>
                    <a:pt x="238" y="543"/>
                  </a:lnTo>
                  <a:lnTo>
                    <a:pt x="238" y="543"/>
                  </a:lnTo>
                  <a:lnTo>
                    <a:pt x="235" y="545"/>
                  </a:lnTo>
                  <a:lnTo>
                    <a:pt x="233" y="548"/>
                  </a:lnTo>
                  <a:lnTo>
                    <a:pt x="235" y="559"/>
                  </a:lnTo>
                  <a:lnTo>
                    <a:pt x="237" y="567"/>
                  </a:lnTo>
                  <a:lnTo>
                    <a:pt x="237" y="573"/>
                  </a:lnTo>
                  <a:lnTo>
                    <a:pt x="235" y="576"/>
                  </a:lnTo>
                  <a:lnTo>
                    <a:pt x="235" y="576"/>
                  </a:lnTo>
                  <a:lnTo>
                    <a:pt x="230" y="581"/>
                  </a:lnTo>
                  <a:lnTo>
                    <a:pt x="226" y="583"/>
                  </a:lnTo>
                  <a:lnTo>
                    <a:pt x="223" y="585"/>
                  </a:lnTo>
                  <a:lnTo>
                    <a:pt x="216" y="588"/>
                  </a:lnTo>
                  <a:lnTo>
                    <a:pt x="216" y="588"/>
                  </a:lnTo>
                  <a:lnTo>
                    <a:pt x="212" y="592"/>
                  </a:lnTo>
                  <a:lnTo>
                    <a:pt x="205" y="593"/>
                  </a:lnTo>
                  <a:lnTo>
                    <a:pt x="190" y="600"/>
                  </a:lnTo>
                  <a:lnTo>
                    <a:pt x="183" y="602"/>
                  </a:lnTo>
                  <a:lnTo>
                    <a:pt x="176" y="607"/>
                  </a:lnTo>
                  <a:lnTo>
                    <a:pt x="170" y="613"/>
                  </a:lnTo>
                  <a:lnTo>
                    <a:pt x="167" y="618"/>
                  </a:lnTo>
                  <a:lnTo>
                    <a:pt x="167" y="618"/>
                  </a:lnTo>
                  <a:lnTo>
                    <a:pt x="165" y="623"/>
                  </a:lnTo>
                  <a:lnTo>
                    <a:pt x="162" y="627"/>
                  </a:lnTo>
                  <a:lnTo>
                    <a:pt x="155" y="630"/>
                  </a:lnTo>
                  <a:lnTo>
                    <a:pt x="148" y="632"/>
                  </a:lnTo>
                  <a:lnTo>
                    <a:pt x="139" y="632"/>
                  </a:lnTo>
                  <a:lnTo>
                    <a:pt x="130" y="630"/>
                  </a:lnTo>
                  <a:lnTo>
                    <a:pt x="122" y="630"/>
                  </a:lnTo>
                  <a:lnTo>
                    <a:pt x="115" y="634"/>
                  </a:lnTo>
                  <a:lnTo>
                    <a:pt x="111" y="635"/>
                  </a:lnTo>
                  <a:lnTo>
                    <a:pt x="109" y="639"/>
                  </a:lnTo>
                  <a:lnTo>
                    <a:pt x="109" y="639"/>
                  </a:lnTo>
                  <a:lnTo>
                    <a:pt x="101" y="658"/>
                  </a:lnTo>
                  <a:lnTo>
                    <a:pt x="99" y="663"/>
                  </a:lnTo>
                  <a:lnTo>
                    <a:pt x="96" y="663"/>
                  </a:lnTo>
                  <a:lnTo>
                    <a:pt x="94" y="663"/>
                  </a:lnTo>
                  <a:lnTo>
                    <a:pt x="94" y="663"/>
                  </a:lnTo>
                  <a:lnTo>
                    <a:pt x="90" y="661"/>
                  </a:lnTo>
                  <a:lnTo>
                    <a:pt x="89" y="663"/>
                  </a:lnTo>
                  <a:lnTo>
                    <a:pt x="82" y="665"/>
                  </a:lnTo>
                  <a:lnTo>
                    <a:pt x="80" y="667"/>
                  </a:lnTo>
                  <a:lnTo>
                    <a:pt x="76" y="667"/>
                  </a:lnTo>
                  <a:lnTo>
                    <a:pt x="75" y="663"/>
                  </a:lnTo>
                  <a:lnTo>
                    <a:pt x="73" y="658"/>
                  </a:lnTo>
                  <a:lnTo>
                    <a:pt x="73" y="658"/>
                  </a:lnTo>
                  <a:lnTo>
                    <a:pt x="69" y="651"/>
                  </a:lnTo>
                  <a:lnTo>
                    <a:pt x="68" y="651"/>
                  </a:lnTo>
                  <a:lnTo>
                    <a:pt x="66" y="653"/>
                  </a:lnTo>
                  <a:lnTo>
                    <a:pt x="61" y="656"/>
                  </a:lnTo>
                  <a:lnTo>
                    <a:pt x="57" y="658"/>
                  </a:lnTo>
                  <a:lnTo>
                    <a:pt x="52" y="658"/>
                  </a:lnTo>
                  <a:lnTo>
                    <a:pt x="52" y="658"/>
                  </a:lnTo>
                  <a:lnTo>
                    <a:pt x="47" y="656"/>
                  </a:lnTo>
                  <a:lnTo>
                    <a:pt x="45" y="658"/>
                  </a:lnTo>
                  <a:lnTo>
                    <a:pt x="43" y="661"/>
                  </a:lnTo>
                  <a:lnTo>
                    <a:pt x="42" y="665"/>
                  </a:lnTo>
                  <a:lnTo>
                    <a:pt x="38" y="668"/>
                  </a:lnTo>
                  <a:lnTo>
                    <a:pt x="33" y="672"/>
                  </a:lnTo>
                  <a:lnTo>
                    <a:pt x="26" y="675"/>
                  </a:lnTo>
                  <a:lnTo>
                    <a:pt x="26" y="675"/>
                  </a:lnTo>
                  <a:lnTo>
                    <a:pt x="15" y="679"/>
                  </a:lnTo>
                  <a:lnTo>
                    <a:pt x="10" y="684"/>
                  </a:lnTo>
                  <a:lnTo>
                    <a:pt x="10" y="687"/>
                  </a:lnTo>
                  <a:lnTo>
                    <a:pt x="10" y="693"/>
                  </a:lnTo>
                  <a:lnTo>
                    <a:pt x="12" y="696"/>
                  </a:lnTo>
                  <a:lnTo>
                    <a:pt x="12" y="700"/>
                  </a:lnTo>
                  <a:lnTo>
                    <a:pt x="8" y="703"/>
                  </a:lnTo>
                  <a:lnTo>
                    <a:pt x="2" y="707"/>
                  </a:lnTo>
                  <a:lnTo>
                    <a:pt x="2" y="707"/>
                  </a:lnTo>
                  <a:lnTo>
                    <a:pt x="0" y="712"/>
                  </a:lnTo>
                  <a:lnTo>
                    <a:pt x="2" y="717"/>
                  </a:lnTo>
                  <a:lnTo>
                    <a:pt x="3" y="722"/>
                  </a:lnTo>
                  <a:lnTo>
                    <a:pt x="7" y="728"/>
                  </a:lnTo>
                  <a:lnTo>
                    <a:pt x="7" y="729"/>
                  </a:lnTo>
                  <a:lnTo>
                    <a:pt x="7" y="733"/>
                  </a:lnTo>
                  <a:lnTo>
                    <a:pt x="7" y="733"/>
                  </a:lnTo>
                  <a:lnTo>
                    <a:pt x="5" y="736"/>
                  </a:lnTo>
                  <a:lnTo>
                    <a:pt x="5" y="740"/>
                  </a:lnTo>
                  <a:lnTo>
                    <a:pt x="8" y="747"/>
                  </a:lnTo>
                  <a:lnTo>
                    <a:pt x="10" y="748"/>
                  </a:lnTo>
                  <a:lnTo>
                    <a:pt x="12" y="750"/>
                  </a:lnTo>
                  <a:lnTo>
                    <a:pt x="15" y="750"/>
                  </a:lnTo>
                  <a:lnTo>
                    <a:pt x="15" y="747"/>
                  </a:lnTo>
                  <a:lnTo>
                    <a:pt x="15" y="747"/>
                  </a:lnTo>
                  <a:lnTo>
                    <a:pt x="17" y="743"/>
                  </a:lnTo>
                  <a:lnTo>
                    <a:pt x="21" y="743"/>
                  </a:lnTo>
                  <a:lnTo>
                    <a:pt x="28" y="743"/>
                  </a:lnTo>
                  <a:lnTo>
                    <a:pt x="35" y="747"/>
                  </a:lnTo>
                  <a:lnTo>
                    <a:pt x="40" y="750"/>
                  </a:lnTo>
                  <a:lnTo>
                    <a:pt x="40" y="750"/>
                  </a:lnTo>
                  <a:lnTo>
                    <a:pt x="42" y="754"/>
                  </a:lnTo>
                  <a:lnTo>
                    <a:pt x="42" y="755"/>
                  </a:lnTo>
                  <a:lnTo>
                    <a:pt x="42" y="761"/>
                  </a:lnTo>
                  <a:lnTo>
                    <a:pt x="42" y="768"/>
                  </a:lnTo>
                  <a:lnTo>
                    <a:pt x="42" y="769"/>
                  </a:lnTo>
                  <a:lnTo>
                    <a:pt x="43" y="771"/>
                  </a:lnTo>
                  <a:lnTo>
                    <a:pt x="43" y="771"/>
                  </a:lnTo>
                  <a:lnTo>
                    <a:pt x="45" y="775"/>
                  </a:lnTo>
                  <a:lnTo>
                    <a:pt x="47" y="778"/>
                  </a:lnTo>
                  <a:lnTo>
                    <a:pt x="45" y="785"/>
                  </a:lnTo>
                  <a:lnTo>
                    <a:pt x="45" y="792"/>
                  </a:lnTo>
                  <a:lnTo>
                    <a:pt x="45" y="795"/>
                  </a:lnTo>
                  <a:lnTo>
                    <a:pt x="49" y="799"/>
                  </a:lnTo>
                  <a:lnTo>
                    <a:pt x="49" y="799"/>
                  </a:lnTo>
                  <a:lnTo>
                    <a:pt x="52" y="804"/>
                  </a:lnTo>
                  <a:lnTo>
                    <a:pt x="52" y="806"/>
                  </a:lnTo>
                  <a:lnTo>
                    <a:pt x="52" y="809"/>
                  </a:lnTo>
                  <a:lnTo>
                    <a:pt x="47" y="811"/>
                  </a:lnTo>
                  <a:lnTo>
                    <a:pt x="40" y="811"/>
                  </a:lnTo>
                  <a:lnTo>
                    <a:pt x="40" y="811"/>
                  </a:lnTo>
                  <a:lnTo>
                    <a:pt x="31" y="811"/>
                  </a:lnTo>
                  <a:lnTo>
                    <a:pt x="29" y="811"/>
                  </a:lnTo>
                  <a:lnTo>
                    <a:pt x="28" y="813"/>
                  </a:lnTo>
                  <a:lnTo>
                    <a:pt x="29" y="816"/>
                  </a:lnTo>
                  <a:lnTo>
                    <a:pt x="31" y="820"/>
                  </a:lnTo>
                  <a:lnTo>
                    <a:pt x="31" y="820"/>
                  </a:lnTo>
                  <a:lnTo>
                    <a:pt x="36" y="822"/>
                  </a:lnTo>
                  <a:lnTo>
                    <a:pt x="42" y="823"/>
                  </a:lnTo>
                  <a:lnTo>
                    <a:pt x="50" y="823"/>
                  </a:lnTo>
                  <a:lnTo>
                    <a:pt x="57" y="823"/>
                  </a:lnTo>
                  <a:lnTo>
                    <a:pt x="61" y="827"/>
                  </a:lnTo>
                  <a:lnTo>
                    <a:pt x="62" y="830"/>
                  </a:lnTo>
                  <a:lnTo>
                    <a:pt x="62" y="830"/>
                  </a:lnTo>
                  <a:lnTo>
                    <a:pt x="64" y="832"/>
                  </a:lnTo>
                  <a:lnTo>
                    <a:pt x="66" y="834"/>
                  </a:lnTo>
                  <a:lnTo>
                    <a:pt x="69" y="834"/>
                  </a:lnTo>
                  <a:lnTo>
                    <a:pt x="71" y="834"/>
                  </a:lnTo>
                  <a:lnTo>
                    <a:pt x="75" y="835"/>
                  </a:lnTo>
                  <a:lnTo>
                    <a:pt x="76" y="839"/>
                  </a:lnTo>
                  <a:lnTo>
                    <a:pt x="82" y="844"/>
                  </a:lnTo>
                  <a:lnTo>
                    <a:pt x="82" y="844"/>
                  </a:lnTo>
                  <a:lnTo>
                    <a:pt x="83" y="849"/>
                  </a:lnTo>
                  <a:lnTo>
                    <a:pt x="85" y="855"/>
                  </a:lnTo>
                  <a:lnTo>
                    <a:pt x="85" y="856"/>
                  </a:lnTo>
                  <a:lnTo>
                    <a:pt x="83" y="858"/>
                  </a:lnTo>
                  <a:lnTo>
                    <a:pt x="82" y="862"/>
                  </a:lnTo>
                  <a:lnTo>
                    <a:pt x="82" y="865"/>
                  </a:lnTo>
                  <a:lnTo>
                    <a:pt x="83" y="869"/>
                  </a:lnTo>
                  <a:lnTo>
                    <a:pt x="83" y="869"/>
                  </a:lnTo>
                  <a:lnTo>
                    <a:pt x="87" y="874"/>
                  </a:lnTo>
                  <a:lnTo>
                    <a:pt x="90" y="877"/>
                  </a:lnTo>
                  <a:lnTo>
                    <a:pt x="94" y="877"/>
                  </a:lnTo>
                  <a:lnTo>
                    <a:pt x="97" y="877"/>
                  </a:lnTo>
                  <a:lnTo>
                    <a:pt x="101" y="876"/>
                  </a:lnTo>
                  <a:lnTo>
                    <a:pt x="103" y="876"/>
                  </a:lnTo>
                  <a:lnTo>
                    <a:pt x="104" y="877"/>
                  </a:lnTo>
                  <a:lnTo>
                    <a:pt x="104" y="877"/>
                  </a:lnTo>
                  <a:lnTo>
                    <a:pt x="108" y="881"/>
                  </a:lnTo>
                  <a:lnTo>
                    <a:pt x="111" y="884"/>
                  </a:lnTo>
                  <a:lnTo>
                    <a:pt x="120" y="888"/>
                  </a:lnTo>
                  <a:lnTo>
                    <a:pt x="144" y="895"/>
                  </a:lnTo>
                  <a:lnTo>
                    <a:pt x="150" y="893"/>
                  </a:lnTo>
                  <a:lnTo>
                    <a:pt x="150" y="893"/>
                  </a:lnTo>
                  <a:lnTo>
                    <a:pt x="157" y="889"/>
                  </a:lnTo>
                  <a:lnTo>
                    <a:pt x="162" y="888"/>
                  </a:lnTo>
                  <a:lnTo>
                    <a:pt x="169" y="882"/>
                  </a:lnTo>
                  <a:lnTo>
                    <a:pt x="176" y="877"/>
                  </a:lnTo>
                  <a:lnTo>
                    <a:pt x="183" y="876"/>
                  </a:lnTo>
                  <a:lnTo>
                    <a:pt x="191" y="872"/>
                  </a:lnTo>
                  <a:lnTo>
                    <a:pt x="191" y="872"/>
                  </a:lnTo>
                  <a:lnTo>
                    <a:pt x="200" y="872"/>
                  </a:lnTo>
                  <a:lnTo>
                    <a:pt x="205" y="874"/>
                  </a:lnTo>
                  <a:lnTo>
                    <a:pt x="209" y="877"/>
                  </a:lnTo>
                  <a:lnTo>
                    <a:pt x="212" y="881"/>
                  </a:lnTo>
                  <a:lnTo>
                    <a:pt x="216" y="888"/>
                  </a:lnTo>
                  <a:lnTo>
                    <a:pt x="217" y="889"/>
                  </a:lnTo>
                  <a:lnTo>
                    <a:pt x="221" y="888"/>
                  </a:lnTo>
                  <a:lnTo>
                    <a:pt x="221" y="888"/>
                  </a:lnTo>
                  <a:lnTo>
                    <a:pt x="223" y="889"/>
                  </a:lnTo>
                  <a:lnTo>
                    <a:pt x="224" y="893"/>
                  </a:lnTo>
                  <a:lnTo>
                    <a:pt x="226" y="896"/>
                  </a:lnTo>
                  <a:lnTo>
                    <a:pt x="228" y="896"/>
                  </a:lnTo>
                  <a:lnTo>
                    <a:pt x="230" y="895"/>
                  </a:lnTo>
                  <a:lnTo>
                    <a:pt x="230" y="895"/>
                  </a:lnTo>
                  <a:lnTo>
                    <a:pt x="233" y="891"/>
                  </a:lnTo>
                  <a:lnTo>
                    <a:pt x="237" y="891"/>
                  </a:lnTo>
                  <a:lnTo>
                    <a:pt x="237" y="893"/>
                  </a:lnTo>
                  <a:lnTo>
                    <a:pt x="238" y="896"/>
                  </a:lnTo>
                  <a:lnTo>
                    <a:pt x="237" y="900"/>
                  </a:lnTo>
                  <a:lnTo>
                    <a:pt x="235" y="905"/>
                  </a:lnTo>
                  <a:lnTo>
                    <a:pt x="235" y="905"/>
                  </a:lnTo>
                  <a:lnTo>
                    <a:pt x="233" y="910"/>
                  </a:lnTo>
                  <a:lnTo>
                    <a:pt x="231" y="914"/>
                  </a:lnTo>
                  <a:lnTo>
                    <a:pt x="233" y="919"/>
                  </a:lnTo>
                  <a:lnTo>
                    <a:pt x="231" y="923"/>
                  </a:lnTo>
                  <a:lnTo>
                    <a:pt x="231" y="926"/>
                  </a:lnTo>
                  <a:lnTo>
                    <a:pt x="228" y="929"/>
                  </a:lnTo>
                  <a:lnTo>
                    <a:pt x="223" y="933"/>
                  </a:lnTo>
                  <a:lnTo>
                    <a:pt x="223" y="933"/>
                  </a:lnTo>
                  <a:lnTo>
                    <a:pt x="216" y="940"/>
                  </a:lnTo>
                  <a:lnTo>
                    <a:pt x="210" y="945"/>
                  </a:lnTo>
                  <a:lnTo>
                    <a:pt x="209" y="950"/>
                  </a:lnTo>
                  <a:lnTo>
                    <a:pt x="209" y="954"/>
                  </a:lnTo>
                  <a:lnTo>
                    <a:pt x="209" y="957"/>
                  </a:lnTo>
                  <a:lnTo>
                    <a:pt x="207" y="959"/>
                  </a:lnTo>
                  <a:lnTo>
                    <a:pt x="204" y="961"/>
                  </a:lnTo>
                  <a:lnTo>
                    <a:pt x="197" y="963"/>
                  </a:lnTo>
                  <a:lnTo>
                    <a:pt x="197" y="963"/>
                  </a:lnTo>
                  <a:lnTo>
                    <a:pt x="190" y="963"/>
                  </a:lnTo>
                  <a:lnTo>
                    <a:pt x="186" y="964"/>
                  </a:lnTo>
                  <a:lnTo>
                    <a:pt x="184" y="966"/>
                  </a:lnTo>
                  <a:lnTo>
                    <a:pt x="186" y="968"/>
                  </a:lnTo>
                  <a:lnTo>
                    <a:pt x="188" y="975"/>
                  </a:lnTo>
                  <a:lnTo>
                    <a:pt x="190" y="978"/>
                  </a:lnTo>
                  <a:lnTo>
                    <a:pt x="188" y="982"/>
                  </a:lnTo>
                  <a:lnTo>
                    <a:pt x="188" y="982"/>
                  </a:lnTo>
                  <a:lnTo>
                    <a:pt x="186" y="989"/>
                  </a:lnTo>
                  <a:lnTo>
                    <a:pt x="186" y="992"/>
                  </a:lnTo>
                  <a:lnTo>
                    <a:pt x="188" y="996"/>
                  </a:lnTo>
                  <a:lnTo>
                    <a:pt x="191" y="997"/>
                  </a:lnTo>
                  <a:lnTo>
                    <a:pt x="198" y="1001"/>
                  </a:lnTo>
                  <a:lnTo>
                    <a:pt x="202" y="1003"/>
                  </a:lnTo>
                  <a:lnTo>
                    <a:pt x="202" y="1004"/>
                  </a:lnTo>
                  <a:lnTo>
                    <a:pt x="202" y="1004"/>
                  </a:lnTo>
                  <a:lnTo>
                    <a:pt x="202" y="1008"/>
                  </a:lnTo>
                  <a:lnTo>
                    <a:pt x="204" y="1011"/>
                  </a:lnTo>
                  <a:lnTo>
                    <a:pt x="207" y="1018"/>
                  </a:lnTo>
                  <a:lnTo>
                    <a:pt x="207" y="1022"/>
                  </a:lnTo>
                  <a:lnTo>
                    <a:pt x="207" y="1025"/>
                  </a:lnTo>
                  <a:lnTo>
                    <a:pt x="205" y="1029"/>
                  </a:lnTo>
                  <a:lnTo>
                    <a:pt x="200" y="1032"/>
                  </a:lnTo>
                  <a:lnTo>
                    <a:pt x="200" y="1032"/>
                  </a:lnTo>
                  <a:lnTo>
                    <a:pt x="195" y="1036"/>
                  </a:lnTo>
                  <a:lnTo>
                    <a:pt x="191" y="1037"/>
                  </a:lnTo>
                  <a:lnTo>
                    <a:pt x="190" y="1039"/>
                  </a:lnTo>
                  <a:lnTo>
                    <a:pt x="188" y="1039"/>
                  </a:lnTo>
                  <a:lnTo>
                    <a:pt x="183" y="1032"/>
                  </a:lnTo>
                  <a:lnTo>
                    <a:pt x="183" y="1032"/>
                  </a:lnTo>
                  <a:lnTo>
                    <a:pt x="181" y="1030"/>
                  </a:lnTo>
                  <a:lnTo>
                    <a:pt x="177" y="1029"/>
                  </a:lnTo>
                  <a:lnTo>
                    <a:pt x="172" y="1029"/>
                  </a:lnTo>
                  <a:lnTo>
                    <a:pt x="170" y="1029"/>
                  </a:lnTo>
                  <a:lnTo>
                    <a:pt x="169" y="1030"/>
                  </a:lnTo>
                  <a:lnTo>
                    <a:pt x="169" y="1034"/>
                  </a:lnTo>
                  <a:lnTo>
                    <a:pt x="170" y="1037"/>
                  </a:lnTo>
                  <a:lnTo>
                    <a:pt x="170" y="1037"/>
                  </a:lnTo>
                  <a:lnTo>
                    <a:pt x="176" y="1046"/>
                  </a:lnTo>
                  <a:lnTo>
                    <a:pt x="179" y="1057"/>
                  </a:lnTo>
                  <a:lnTo>
                    <a:pt x="181" y="1067"/>
                  </a:lnTo>
                  <a:lnTo>
                    <a:pt x="181" y="1079"/>
                  </a:lnTo>
                  <a:lnTo>
                    <a:pt x="181" y="1079"/>
                  </a:lnTo>
                  <a:lnTo>
                    <a:pt x="181" y="1084"/>
                  </a:lnTo>
                  <a:lnTo>
                    <a:pt x="181" y="1086"/>
                  </a:lnTo>
                  <a:lnTo>
                    <a:pt x="183" y="1086"/>
                  </a:lnTo>
                  <a:lnTo>
                    <a:pt x="186" y="1084"/>
                  </a:lnTo>
                  <a:lnTo>
                    <a:pt x="188" y="1084"/>
                  </a:lnTo>
                  <a:lnTo>
                    <a:pt x="191" y="1083"/>
                  </a:lnTo>
                  <a:lnTo>
                    <a:pt x="195" y="1084"/>
                  </a:lnTo>
                  <a:lnTo>
                    <a:pt x="198" y="1090"/>
                  </a:lnTo>
                  <a:lnTo>
                    <a:pt x="198" y="1090"/>
                  </a:lnTo>
                  <a:lnTo>
                    <a:pt x="204" y="1097"/>
                  </a:lnTo>
                  <a:lnTo>
                    <a:pt x="207" y="1102"/>
                  </a:lnTo>
                  <a:lnTo>
                    <a:pt x="210" y="1104"/>
                  </a:lnTo>
                  <a:lnTo>
                    <a:pt x="214" y="1104"/>
                  </a:lnTo>
                  <a:lnTo>
                    <a:pt x="217" y="1102"/>
                  </a:lnTo>
                  <a:lnTo>
                    <a:pt x="221" y="1104"/>
                  </a:lnTo>
                  <a:lnTo>
                    <a:pt x="226" y="1107"/>
                  </a:lnTo>
                  <a:lnTo>
                    <a:pt x="226" y="1107"/>
                  </a:lnTo>
                  <a:lnTo>
                    <a:pt x="237" y="1118"/>
                  </a:lnTo>
                  <a:lnTo>
                    <a:pt x="247" y="1124"/>
                  </a:lnTo>
                  <a:lnTo>
                    <a:pt x="256" y="1131"/>
                  </a:lnTo>
                  <a:lnTo>
                    <a:pt x="259" y="1137"/>
                  </a:lnTo>
                  <a:lnTo>
                    <a:pt x="259" y="1137"/>
                  </a:lnTo>
                  <a:lnTo>
                    <a:pt x="263" y="1144"/>
                  </a:lnTo>
                  <a:lnTo>
                    <a:pt x="266" y="1145"/>
                  </a:lnTo>
                  <a:lnTo>
                    <a:pt x="268" y="1144"/>
                  </a:lnTo>
                  <a:lnTo>
                    <a:pt x="270" y="1140"/>
                  </a:lnTo>
                  <a:lnTo>
                    <a:pt x="271" y="1135"/>
                  </a:lnTo>
                  <a:lnTo>
                    <a:pt x="275" y="1131"/>
                  </a:lnTo>
                  <a:lnTo>
                    <a:pt x="280" y="1128"/>
                  </a:lnTo>
                  <a:lnTo>
                    <a:pt x="289" y="1128"/>
                  </a:lnTo>
                  <a:lnTo>
                    <a:pt x="289" y="1128"/>
                  </a:lnTo>
                  <a:lnTo>
                    <a:pt x="294" y="1130"/>
                  </a:lnTo>
                  <a:lnTo>
                    <a:pt x="298" y="1131"/>
                  </a:lnTo>
                  <a:lnTo>
                    <a:pt x="299" y="1135"/>
                  </a:lnTo>
                  <a:lnTo>
                    <a:pt x="299" y="1137"/>
                  </a:lnTo>
                  <a:lnTo>
                    <a:pt x="299" y="1142"/>
                  </a:lnTo>
                  <a:lnTo>
                    <a:pt x="301" y="1144"/>
                  </a:lnTo>
                  <a:lnTo>
                    <a:pt x="306" y="1145"/>
                  </a:lnTo>
                  <a:lnTo>
                    <a:pt x="306" y="1145"/>
                  </a:lnTo>
                  <a:lnTo>
                    <a:pt x="310" y="1147"/>
                  </a:lnTo>
                  <a:lnTo>
                    <a:pt x="313" y="1151"/>
                  </a:lnTo>
                  <a:lnTo>
                    <a:pt x="318" y="1156"/>
                  </a:lnTo>
                  <a:lnTo>
                    <a:pt x="322" y="1159"/>
                  </a:lnTo>
                  <a:lnTo>
                    <a:pt x="325" y="1161"/>
                  </a:lnTo>
                  <a:lnTo>
                    <a:pt x="331" y="1163"/>
                  </a:lnTo>
                  <a:lnTo>
                    <a:pt x="331" y="1163"/>
                  </a:lnTo>
                  <a:lnTo>
                    <a:pt x="334" y="1163"/>
                  </a:lnTo>
                  <a:lnTo>
                    <a:pt x="338" y="1166"/>
                  </a:lnTo>
                  <a:lnTo>
                    <a:pt x="345" y="1173"/>
                  </a:lnTo>
                  <a:lnTo>
                    <a:pt x="350" y="1180"/>
                  </a:lnTo>
                  <a:lnTo>
                    <a:pt x="352" y="1182"/>
                  </a:lnTo>
                  <a:lnTo>
                    <a:pt x="355" y="1182"/>
                  </a:lnTo>
                  <a:lnTo>
                    <a:pt x="355" y="1182"/>
                  </a:lnTo>
                  <a:lnTo>
                    <a:pt x="362" y="1180"/>
                  </a:lnTo>
                  <a:lnTo>
                    <a:pt x="367" y="1178"/>
                  </a:lnTo>
                  <a:lnTo>
                    <a:pt x="369" y="1180"/>
                  </a:lnTo>
                  <a:lnTo>
                    <a:pt x="371" y="1182"/>
                  </a:lnTo>
                  <a:lnTo>
                    <a:pt x="372" y="1187"/>
                  </a:lnTo>
                  <a:lnTo>
                    <a:pt x="372" y="1187"/>
                  </a:lnTo>
                  <a:lnTo>
                    <a:pt x="372" y="1192"/>
                  </a:lnTo>
                  <a:lnTo>
                    <a:pt x="376" y="1198"/>
                  </a:lnTo>
                  <a:lnTo>
                    <a:pt x="385" y="1206"/>
                  </a:lnTo>
                  <a:lnTo>
                    <a:pt x="393" y="1212"/>
                  </a:lnTo>
                  <a:lnTo>
                    <a:pt x="397" y="1212"/>
                  </a:lnTo>
                  <a:lnTo>
                    <a:pt x="400" y="1212"/>
                  </a:lnTo>
                  <a:lnTo>
                    <a:pt x="400" y="1212"/>
                  </a:lnTo>
                  <a:lnTo>
                    <a:pt x="404" y="1208"/>
                  </a:lnTo>
                  <a:lnTo>
                    <a:pt x="405" y="1208"/>
                  </a:lnTo>
                  <a:lnTo>
                    <a:pt x="405" y="1210"/>
                  </a:lnTo>
                  <a:lnTo>
                    <a:pt x="404" y="1217"/>
                  </a:lnTo>
                  <a:lnTo>
                    <a:pt x="404" y="1217"/>
                  </a:lnTo>
                  <a:lnTo>
                    <a:pt x="402" y="1222"/>
                  </a:lnTo>
                  <a:lnTo>
                    <a:pt x="404" y="1224"/>
                  </a:lnTo>
                  <a:lnTo>
                    <a:pt x="405" y="1224"/>
                  </a:lnTo>
                  <a:lnTo>
                    <a:pt x="411" y="1224"/>
                  </a:lnTo>
                  <a:lnTo>
                    <a:pt x="418" y="1222"/>
                  </a:lnTo>
                  <a:lnTo>
                    <a:pt x="418" y="1222"/>
                  </a:lnTo>
                  <a:lnTo>
                    <a:pt x="421" y="1224"/>
                  </a:lnTo>
                  <a:lnTo>
                    <a:pt x="425" y="1225"/>
                  </a:lnTo>
                  <a:lnTo>
                    <a:pt x="428" y="1232"/>
                  </a:lnTo>
                  <a:lnTo>
                    <a:pt x="432" y="1239"/>
                  </a:lnTo>
                  <a:lnTo>
                    <a:pt x="433" y="1241"/>
                  </a:lnTo>
                  <a:lnTo>
                    <a:pt x="435" y="1241"/>
                  </a:lnTo>
                  <a:lnTo>
                    <a:pt x="435" y="1241"/>
                  </a:lnTo>
                  <a:lnTo>
                    <a:pt x="437" y="1241"/>
                  </a:lnTo>
                  <a:lnTo>
                    <a:pt x="439" y="1239"/>
                  </a:lnTo>
                  <a:lnTo>
                    <a:pt x="439" y="1232"/>
                  </a:lnTo>
                  <a:lnTo>
                    <a:pt x="439" y="1229"/>
                  </a:lnTo>
                  <a:lnTo>
                    <a:pt x="439" y="1229"/>
                  </a:lnTo>
                  <a:lnTo>
                    <a:pt x="442" y="1232"/>
                  </a:lnTo>
                  <a:lnTo>
                    <a:pt x="442" y="1232"/>
                  </a:lnTo>
                  <a:lnTo>
                    <a:pt x="446" y="1239"/>
                  </a:lnTo>
                  <a:lnTo>
                    <a:pt x="449" y="1241"/>
                  </a:lnTo>
                  <a:lnTo>
                    <a:pt x="453" y="1239"/>
                  </a:lnTo>
                  <a:lnTo>
                    <a:pt x="454" y="1234"/>
                  </a:lnTo>
                  <a:lnTo>
                    <a:pt x="454" y="1234"/>
                  </a:lnTo>
                  <a:lnTo>
                    <a:pt x="456" y="1232"/>
                  </a:lnTo>
                  <a:lnTo>
                    <a:pt x="459" y="1232"/>
                  </a:lnTo>
                  <a:lnTo>
                    <a:pt x="466" y="1238"/>
                  </a:lnTo>
                  <a:lnTo>
                    <a:pt x="475" y="1243"/>
                  </a:lnTo>
                  <a:lnTo>
                    <a:pt x="479" y="1245"/>
                  </a:lnTo>
                  <a:lnTo>
                    <a:pt x="482" y="1245"/>
                  </a:lnTo>
                  <a:lnTo>
                    <a:pt x="482" y="1245"/>
                  </a:lnTo>
                  <a:lnTo>
                    <a:pt x="489" y="1243"/>
                  </a:lnTo>
                  <a:lnTo>
                    <a:pt x="493" y="1245"/>
                  </a:lnTo>
                  <a:lnTo>
                    <a:pt x="494" y="1246"/>
                  </a:lnTo>
                  <a:lnTo>
                    <a:pt x="498" y="1245"/>
                  </a:lnTo>
                  <a:lnTo>
                    <a:pt x="498" y="1245"/>
                  </a:lnTo>
                  <a:lnTo>
                    <a:pt x="501" y="1241"/>
                  </a:lnTo>
                  <a:lnTo>
                    <a:pt x="505" y="1241"/>
                  </a:lnTo>
                  <a:lnTo>
                    <a:pt x="510" y="1243"/>
                  </a:lnTo>
                  <a:lnTo>
                    <a:pt x="510" y="1243"/>
                  </a:lnTo>
                  <a:lnTo>
                    <a:pt x="522" y="1236"/>
                  </a:lnTo>
                  <a:lnTo>
                    <a:pt x="531" y="1234"/>
                  </a:lnTo>
                  <a:lnTo>
                    <a:pt x="533" y="1234"/>
                  </a:lnTo>
                  <a:lnTo>
                    <a:pt x="534" y="1236"/>
                  </a:lnTo>
                  <a:lnTo>
                    <a:pt x="536" y="1239"/>
                  </a:lnTo>
                  <a:lnTo>
                    <a:pt x="534" y="1253"/>
                  </a:lnTo>
                  <a:lnTo>
                    <a:pt x="534" y="1260"/>
                  </a:lnTo>
                  <a:lnTo>
                    <a:pt x="536" y="1267"/>
                  </a:lnTo>
                  <a:lnTo>
                    <a:pt x="536" y="1267"/>
                  </a:lnTo>
                  <a:lnTo>
                    <a:pt x="540" y="1260"/>
                  </a:lnTo>
                  <a:lnTo>
                    <a:pt x="541" y="1259"/>
                  </a:lnTo>
                  <a:lnTo>
                    <a:pt x="545" y="1257"/>
                  </a:lnTo>
                  <a:lnTo>
                    <a:pt x="547" y="1250"/>
                  </a:lnTo>
                  <a:lnTo>
                    <a:pt x="547" y="1250"/>
                  </a:lnTo>
                  <a:lnTo>
                    <a:pt x="548" y="1245"/>
                  </a:lnTo>
                  <a:lnTo>
                    <a:pt x="552" y="1241"/>
                  </a:lnTo>
                  <a:lnTo>
                    <a:pt x="555" y="1239"/>
                  </a:lnTo>
                  <a:lnTo>
                    <a:pt x="560" y="1232"/>
                  </a:lnTo>
                  <a:lnTo>
                    <a:pt x="560" y="1232"/>
                  </a:lnTo>
                  <a:lnTo>
                    <a:pt x="564" y="1227"/>
                  </a:lnTo>
                  <a:lnTo>
                    <a:pt x="569" y="1224"/>
                  </a:lnTo>
                  <a:lnTo>
                    <a:pt x="574" y="1224"/>
                  </a:lnTo>
                  <a:lnTo>
                    <a:pt x="580" y="1222"/>
                  </a:lnTo>
                  <a:lnTo>
                    <a:pt x="585" y="1224"/>
                  </a:lnTo>
                  <a:lnTo>
                    <a:pt x="588" y="1225"/>
                  </a:lnTo>
                  <a:lnTo>
                    <a:pt x="590" y="1227"/>
                  </a:lnTo>
                  <a:lnTo>
                    <a:pt x="590" y="1231"/>
                  </a:lnTo>
                  <a:lnTo>
                    <a:pt x="590" y="1231"/>
                  </a:lnTo>
                  <a:lnTo>
                    <a:pt x="588" y="1232"/>
                  </a:lnTo>
                  <a:lnTo>
                    <a:pt x="590" y="1234"/>
                  </a:lnTo>
                  <a:lnTo>
                    <a:pt x="595" y="1234"/>
                  </a:lnTo>
                  <a:lnTo>
                    <a:pt x="604" y="1234"/>
                  </a:lnTo>
                  <a:lnTo>
                    <a:pt x="609" y="1236"/>
                  </a:lnTo>
                  <a:lnTo>
                    <a:pt x="609" y="1236"/>
                  </a:lnTo>
                  <a:lnTo>
                    <a:pt x="613" y="1236"/>
                  </a:lnTo>
                  <a:lnTo>
                    <a:pt x="616" y="1234"/>
                  </a:lnTo>
                  <a:lnTo>
                    <a:pt x="618" y="1232"/>
                  </a:lnTo>
                  <a:lnTo>
                    <a:pt x="621" y="1232"/>
                  </a:lnTo>
                  <a:lnTo>
                    <a:pt x="621" y="1232"/>
                  </a:lnTo>
                  <a:lnTo>
                    <a:pt x="630" y="1238"/>
                  </a:lnTo>
                  <a:lnTo>
                    <a:pt x="634" y="1241"/>
                  </a:lnTo>
                  <a:lnTo>
                    <a:pt x="632" y="1246"/>
                  </a:lnTo>
                  <a:lnTo>
                    <a:pt x="632" y="1246"/>
                  </a:lnTo>
                  <a:lnTo>
                    <a:pt x="648" y="1248"/>
                  </a:lnTo>
                  <a:lnTo>
                    <a:pt x="660" y="1245"/>
                  </a:lnTo>
                  <a:lnTo>
                    <a:pt x="665" y="1243"/>
                  </a:lnTo>
                  <a:lnTo>
                    <a:pt x="668" y="1241"/>
                  </a:lnTo>
                  <a:lnTo>
                    <a:pt x="670" y="1238"/>
                  </a:lnTo>
                  <a:lnTo>
                    <a:pt x="670" y="1234"/>
                  </a:lnTo>
                  <a:lnTo>
                    <a:pt x="670" y="1234"/>
                  </a:lnTo>
                  <a:lnTo>
                    <a:pt x="670" y="1231"/>
                  </a:lnTo>
                  <a:lnTo>
                    <a:pt x="672" y="1229"/>
                  </a:lnTo>
                  <a:lnTo>
                    <a:pt x="677" y="1225"/>
                  </a:lnTo>
                  <a:lnTo>
                    <a:pt x="682" y="1222"/>
                  </a:lnTo>
                  <a:lnTo>
                    <a:pt x="684" y="1219"/>
                  </a:lnTo>
                  <a:lnTo>
                    <a:pt x="686" y="1215"/>
                  </a:lnTo>
                  <a:lnTo>
                    <a:pt x="686" y="1215"/>
                  </a:lnTo>
                  <a:lnTo>
                    <a:pt x="688" y="1210"/>
                  </a:lnTo>
                  <a:lnTo>
                    <a:pt x="691" y="1208"/>
                  </a:lnTo>
                  <a:lnTo>
                    <a:pt x="698" y="1206"/>
                  </a:lnTo>
                  <a:lnTo>
                    <a:pt x="707" y="1203"/>
                  </a:lnTo>
                  <a:lnTo>
                    <a:pt x="712" y="1201"/>
                  </a:lnTo>
                  <a:lnTo>
                    <a:pt x="715" y="1196"/>
                  </a:lnTo>
                  <a:lnTo>
                    <a:pt x="715" y="1196"/>
                  </a:lnTo>
                  <a:lnTo>
                    <a:pt x="724" y="1187"/>
                  </a:lnTo>
                  <a:lnTo>
                    <a:pt x="731" y="1180"/>
                  </a:lnTo>
                  <a:lnTo>
                    <a:pt x="735" y="1180"/>
                  </a:lnTo>
                  <a:lnTo>
                    <a:pt x="738" y="1178"/>
                  </a:lnTo>
                  <a:lnTo>
                    <a:pt x="742" y="1180"/>
                  </a:lnTo>
                  <a:lnTo>
                    <a:pt x="745" y="1182"/>
                  </a:lnTo>
                  <a:lnTo>
                    <a:pt x="745" y="1182"/>
                  </a:lnTo>
                  <a:lnTo>
                    <a:pt x="754" y="1187"/>
                  </a:lnTo>
                  <a:lnTo>
                    <a:pt x="761" y="1189"/>
                  </a:lnTo>
                  <a:lnTo>
                    <a:pt x="766" y="1187"/>
                  </a:lnTo>
                  <a:lnTo>
                    <a:pt x="769" y="1184"/>
                  </a:lnTo>
                  <a:lnTo>
                    <a:pt x="769" y="1184"/>
                  </a:lnTo>
                  <a:lnTo>
                    <a:pt x="775" y="1177"/>
                  </a:lnTo>
                  <a:lnTo>
                    <a:pt x="780" y="1173"/>
                  </a:lnTo>
                  <a:lnTo>
                    <a:pt x="787" y="1171"/>
                  </a:lnTo>
                  <a:lnTo>
                    <a:pt x="790" y="1173"/>
                  </a:lnTo>
                  <a:lnTo>
                    <a:pt x="792" y="1175"/>
                  </a:lnTo>
                  <a:lnTo>
                    <a:pt x="792" y="1175"/>
                  </a:lnTo>
                  <a:lnTo>
                    <a:pt x="794" y="1178"/>
                  </a:lnTo>
                  <a:lnTo>
                    <a:pt x="796" y="1178"/>
                  </a:lnTo>
                  <a:lnTo>
                    <a:pt x="797" y="1178"/>
                  </a:lnTo>
                  <a:lnTo>
                    <a:pt x="799" y="1178"/>
                  </a:lnTo>
                  <a:lnTo>
                    <a:pt x="799" y="1180"/>
                  </a:lnTo>
                  <a:lnTo>
                    <a:pt x="796" y="1185"/>
                  </a:lnTo>
                  <a:lnTo>
                    <a:pt x="796" y="1185"/>
                  </a:lnTo>
                  <a:lnTo>
                    <a:pt x="792" y="1192"/>
                  </a:lnTo>
                  <a:lnTo>
                    <a:pt x="792" y="1192"/>
                  </a:lnTo>
                  <a:lnTo>
                    <a:pt x="794" y="1192"/>
                  </a:lnTo>
                  <a:lnTo>
                    <a:pt x="801" y="1192"/>
                  </a:lnTo>
                  <a:lnTo>
                    <a:pt x="804" y="1192"/>
                  </a:lnTo>
                  <a:lnTo>
                    <a:pt x="806" y="1196"/>
                  </a:lnTo>
                  <a:lnTo>
                    <a:pt x="806" y="1196"/>
                  </a:lnTo>
                  <a:lnTo>
                    <a:pt x="806" y="1203"/>
                  </a:lnTo>
                  <a:lnTo>
                    <a:pt x="804" y="1208"/>
                  </a:lnTo>
                  <a:lnTo>
                    <a:pt x="797" y="1215"/>
                  </a:lnTo>
                  <a:lnTo>
                    <a:pt x="794" y="1217"/>
                  </a:lnTo>
                  <a:lnTo>
                    <a:pt x="794" y="1219"/>
                  </a:lnTo>
                  <a:lnTo>
                    <a:pt x="802" y="1219"/>
                  </a:lnTo>
                  <a:lnTo>
                    <a:pt x="802" y="1219"/>
                  </a:lnTo>
                  <a:lnTo>
                    <a:pt x="816" y="1219"/>
                  </a:lnTo>
                  <a:lnTo>
                    <a:pt x="823" y="1220"/>
                  </a:lnTo>
                  <a:lnTo>
                    <a:pt x="829" y="1224"/>
                  </a:lnTo>
                  <a:lnTo>
                    <a:pt x="832" y="1227"/>
                  </a:lnTo>
                  <a:lnTo>
                    <a:pt x="832" y="1227"/>
                  </a:lnTo>
                  <a:lnTo>
                    <a:pt x="836" y="1220"/>
                  </a:lnTo>
                  <a:lnTo>
                    <a:pt x="837" y="1215"/>
                  </a:lnTo>
                  <a:lnTo>
                    <a:pt x="839" y="1213"/>
                  </a:lnTo>
                  <a:lnTo>
                    <a:pt x="843" y="1213"/>
                  </a:lnTo>
                  <a:lnTo>
                    <a:pt x="846" y="1215"/>
                  </a:lnTo>
                  <a:lnTo>
                    <a:pt x="851" y="1219"/>
                  </a:lnTo>
                  <a:lnTo>
                    <a:pt x="851" y="1219"/>
                  </a:lnTo>
                  <a:lnTo>
                    <a:pt x="856" y="1225"/>
                  </a:lnTo>
                  <a:lnTo>
                    <a:pt x="860" y="1232"/>
                  </a:lnTo>
                  <a:lnTo>
                    <a:pt x="862" y="1238"/>
                  </a:lnTo>
                  <a:lnTo>
                    <a:pt x="863" y="1245"/>
                  </a:lnTo>
                  <a:lnTo>
                    <a:pt x="865" y="1253"/>
                  </a:lnTo>
                  <a:lnTo>
                    <a:pt x="867" y="1253"/>
                  </a:lnTo>
                  <a:lnTo>
                    <a:pt x="869" y="1253"/>
                  </a:lnTo>
                  <a:lnTo>
                    <a:pt x="869" y="1253"/>
                  </a:lnTo>
                  <a:lnTo>
                    <a:pt x="872" y="1252"/>
                  </a:lnTo>
                  <a:lnTo>
                    <a:pt x="876" y="1252"/>
                  </a:lnTo>
                  <a:lnTo>
                    <a:pt x="877" y="1253"/>
                  </a:lnTo>
                  <a:lnTo>
                    <a:pt x="881" y="1255"/>
                  </a:lnTo>
                  <a:lnTo>
                    <a:pt x="883" y="1264"/>
                  </a:lnTo>
                  <a:lnTo>
                    <a:pt x="881" y="1267"/>
                  </a:lnTo>
                  <a:lnTo>
                    <a:pt x="879" y="1271"/>
                  </a:lnTo>
                  <a:lnTo>
                    <a:pt x="879" y="1271"/>
                  </a:lnTo>
                  <a:lnTo>
                    <a:pt x="879" y="1274"/>
                  </a:lnTo>
                  <a:lnTo>
                    <a:pt x="879" y="1276"/>
                  </a:lnTo>
                  <a:lnTo>
                    <a:pt x="881" y="1281"/>
                  </a:lnTo>
                  <a:lnTo>
                    <a:pt x="883" y="1290"/>
                  </a:lnTo>
                  <a:lnTo>
                    <a:pt x="883" y="1297"/>
                  </a:lnTo>
                  <a:lnTo>
                    <a:pt x="881" y="1304"/>
                  </a:lnTo>
                  <a:lnTo>
                    <a:pt x="881" y="1304"/>
                  </a:lnTo>
                  <a:lnTo>
                    <a:pt x="879" y="1311"/>
                  </a:lnTo>
                  <a:lnTo>
                    <a:pt x="879" y="1318"/>
                  </a:lnTo>
                  <a:lnTo>
                    <a:pt x="881" y="1326"/>
                  </a:lnTo>
                  <a:lnTo>
                    <a:pt x="881" y="1332"/>
                  </a:lnTo>
                  <a:lnTo>
                    <a:pt x="881" y="1333"/>
                  </a:lnTo>
                  <a:lnTo>
                    <a:pt x="877" y="1335"/>
                  </a:lnTo>
                  <a:lnTo>
                    <a:pt x="877" y="1335"/>
                  </a:lnTo>
                  <a:lnTo>
                    <a:pt x="874" y="1335"/>
                  </a:lnTo>
                  <a:lnTo>
                    <a:pt x="872" y="1337"/>
                  </a:lnTo>
                  <a:lnTo>
                    <a:pt x="872" y="1342"/>
                  </a:lnTo>
                  <a:lnTo>
                    <a:pt x="870" y="1346"/>
                  </a:lnTo>
                  <a:lnTo>
                    <a:pt x="869" y="1346"/>
                  </a:lnTo>
                  <a:lnTo>
                    <a:pt x="865" y="1346"/>
                  </a:lnTo>
                  <a:lnTo>
                    <a:pt x="865" y="1346"/>
                  </a:lnTo>
                  <a:lnTo>
                    <a:pt x="863" y="1346"/>
                  </a:lnTo>
                  <a:lnTo>
                    <a:pt x="862" y="1346"/>
                  </a:lnTo>
                  <a:lnTo>
                    <a:pt x="860" y="1351"/>
                  </a:lnTo>
                  <a:lnTo>
                    <a:pt x="856" y="1356"/>
                  </a:lnTo>
                  <a:lnTo>
                    <a:pt x="855" y="1358"/>
                  </a:lnTo>
                  <a:lnTo>
                    <a:pt x="851" y="1360"/>
                  </a:lnTo>
                  <a:lnTo>
                    <a:pt x="851" y="1360"/>
                  </a:lnTo>
                  <a:lnTo>
                    <a:pt x="848" y="1361"/>
                  </a:lnTo>
                  <a:lnTo>
                    <a:pt x="846" y="1363"/>
                  </a:lnTo>
                  <a:lnTo>
                    <a:pt x="846" y="1370"/>
                  </a:lnTo>
                  <a:lnTo>
                    <a:pt x="848" y="1375"/>
                  </a:lnTo>
                  <a:lnTo>
                    <a:pt x="846" y="1379"/>
                  </a:lnTo>
                  <a:lnTo>
                    <a:pt x="844" y="1380"/>
                  </a:lnTo>
                  <a:lnTo>
                    <a:pt x="844" y="1380"/>
                  </a:lnTo>
                  <a:lnTo>
                    <a:pt x="839" y="1382"/>
                  </a:lnTo>
                  <a:lnTo>
                    <a:pt x="837" y="1386"/>
                  </a:lnTo>
                  <a:lnTo>
                    <a:pt x="839" y="1389"/>
                  </a:lnTo>
                  <a:lnTo>
                    <a:pt x="841" y="1394"/>
                  </a:lnTo>
                  <a:lnTo>
                    <a:pt x="846" y="1401"/>
                  </a:lnTo>
                  <a:lnTo>
                    <a:pt x="846" y="1405"/>
                  </a:lnTo>
                  <a:lnTo>
                    <a:pt x="846" y="1408"/>
                  </a:lnTo>
                  <a:lnTo>
                    <a:pt x="846" y="1408"/>
                  </a:lnTo>
                  <a:lnTo>
                    <a:pt x="841" y="1415"/>
                  </a:lnTo>
                  <a:lnTo>
                    <a:pt x="841" y="1419"/>
                  </a:lnTo>
                  <a:lnTo>
                    <a:pt x="843" y="1420"/>
                  </a:lnTo>
                  <a:lnTo>
                    <a:pt x="844" y="1420"/>
                  </a:lnTo>
                  <a:lnTo>
                    <a:pt x="851" y="1415"/>
                  </a:lnTo>
                  <a:lnTo>
                    <a:pt x="851" y="1415"/>
                  </a:lnTo>
                  <a:lnTo>
                    <a:pt x="856" y="1412"/>
                  </a:lnTo>
                  <a:lnTo>
                    <a:pt x="860" y="1410"/>
                  </a:lnTo>
                  <a:lnTo>
                    <a:pt x="867" y="1410"/>
                  </a:lnTo>
                  <a:lnTo>
                    <a:pt x="874" y="1412"/>
                  </a:lnTo>
                  <a:lnTo>
                    <a:pt x="877" y="1412"/>
                  </a:lnTo>
                  <a:lnTo>
                    <a:pt x="881" y="1410"/>
                  </a:lnTo>
                  <a:lnTo>
                    <a:pt x="881" y="1410"/>
                  </a:lnTo>
                  <a:lnTo>
                    <a:pt x="884" y="1408"/>
                  </a:lnTo>
                  <a:lnTo>
                    <a:pt x="884" y="1410"/>
                  </a:lnTo>
                  <a:lnTo>
                    <a:pt x="883" y="1414"/>
                  </a:lnTo>
                  <a:lnTo>
                    <a:pt x="881" y="1422"/>
                  </a:lnTo>
                  <a:lnTo>
                    <a:pt x="881" y="1426"/>
                  </a:lnTo>
                  <a:lnTo>
                    <a:pt x="881" y="1431"/>
                  </a:lnTo>
                  <a:lnTo>
                    <a:pt x="881" y="1431"/>
                  </a:lnTo>
                  <a:lnTo>
                    <a:pt x="884" y="1440"/>
                  </a:lnTo>
                  <a:lnTo>
                    <a:pt x="886" y="1447"/>
                  </a:lnTo>
                  <a:lnTo>
                    <a:pt x="886" y="1450"/>
                  </a:lnTo>
                  <a:lnTo>
                    <a:pt x="890" y="1452"/>
                  </a:lnTo>
                  <a:lnTo>
                    <a:pt x="893" y="1454"/>
                  </a:lnTo>
                  <a:lnTo>
                    <a:pt x="898" y="1454"/>
                  </a:lnTo>
                  <a:lnTo>
                    <a:pt x="898" y="1454"/>
                  </a:lnTo>
                  <a:lnTo>
                    <a:pt x="909" y="1455"/>
                  </a:lnTo>
                  <a:lnTo>
                    <a:pt x="910" y="1455"/>
                  </a:lnTo>
                  <a:lnTo>
                    <a:pt x="910" y="1457"/>
                  </a:lnTo>
                  <a:lnTo>
                    <a:pt x="905" y="1462"/>
                  </a:lnTo>
                  <a:lnTo>
                    <a:pt x="903" y="1464"/>
                  </a:lnTo>
                  <a:lnTo>
                    <a:pt x="902" y="1467"/>
                  </a:lnTo>
                  <a:lnTo>
                    <a:pt x="902" y="1467"/>
                  </a:lnTo>
                  <a:lnTo>
                    <a:pt x="902" y="1473"/>
                  </a:lnTo>
                  <a:lnTo>
                    <a:pt x="903" y="1476"/>
                  </a:lnTo>
                  <a:lnTo>
                    <a:pt x="903" y="1480"/>
                  </a:lnTo>
                  <a:lnTo>
                    <a:pt x="898" y="1488"/>
                  </a:lnTo>
                  <a:lnTo>
                    <a:pt x="898" y="1488"/>
                  </a:lnTo>
                  <a:lnTo>
                    <a:pt x="897" y="1492"/>
                  </a:lnTo>
                  <a:lnTo>
                    <a:pt x="897" y="1495"/>
                  </a:lnTo>
                  <a:lnTo>
                    <a:pt x="898" y="1497"/>
                  </a:lnTo>
                  <a:lnTo>
                    <a:pt x="902" y="1497"/>
                  </a:lnTo>
                  <a:lnTo>
                    <a:pt x="910" y="1499"/>
                  </a:lnTo>
                  <a:lnTo>
                    <a:pt x="919" y="1501"/>
                  </a:lnTo>
                  <a:lnTo>
                    <a:pt x="919" y="1501"/>
                  </a:lnTo>
                  <a:lnTo>
                    <a:pt x="924" y="1504"/>
                  </a:lnTo>
                  <a:lnTo>
                    <a:pt x="924" y="1509"/>
                  </a:lnTo>
                  <a:lnTo>
                    <a:pt x="924" y="1513"/>
                  </a:lnTo>
                  <a:lnTo>
                    <a:pt x="926" y="1516"/>
                  </a:lnTo>
                  <a:lnTo>
                    <a:pt x="926" y="1516"/>
                  </a:lnTo>
                  <a:lnTo>
                    <a:pt x="930" y="1520"/>
                  </a:lnTo>
                  <a:lnTo>
                    <a:pt x="930" y="1525"/>
                  </a:lnTo>
                  <a:lnTo>
                    <a:pt x="931" y="1528"/>
                  </a:lnTo>
                  <a:lnTo>
                    <a:pt x="933" y="1528"/>
                  </a:lnTo>
                  <a:lnTo>
                    <a:pt x="935" y="1527"/>
                  </a:lnTo>
                  <a:lnTo>
                    <a:pt x="935" y="1527"/>
                  </a:lnTo>
                  <a:lnTo>
                    <a:pt x="937" y="1527"/>
                  </a:lnTo>
                  <a:lnTo>
                    <a:pt x="938" y="1527"/>
                  </a:lnTo>
                  <a:lnTo>
                    <a:pt x="942" y="1528"/>
                  </a:lnTo>
                  <a:lnTo>
                    <a:pt x="944" y="1528"/>
                  </a:lnTo>
                  <a:lnTo>
                    <a:pt x="945" y="1527"/>
                  </a:lnTo>
                  <a:lnTo>
                    <a:pt x="949" y="1525"/>
                  </a:lnTo>
                  <a:lnTo>
                    <a:pt x="952" y="1521"/>
                  </a:lnTo>
                  <a:lnTo>
                    <a:pt x="952" y="1521"/>
                  </a:lnTo>
                  <a:lnTo>
                    <a:pt x="959" y="1514"/>
                  </a:lnTo>
                  <a:lnTo>
                    <a:pt x="963" y="1513"/>
                  </a:lnTo>
                  <a:lnTo>
                    <a:pt x="964" y="1514"/>
                  </a:lnTo>
                  <a:lnTo>
                    <a:pt x="966" y="1518"/>
                  </a:lnTo>
                  <a:lnTo>
                    <a:pt x="966" y="1525"/>
                  </a:lnTo>
                  <a:lnTo>
                    <a:pt x="966" y="1525"/>
                  </a:lnTo>
                  <a:lnTo>
                    <a:pt x="968" y="1532"/>
                  </a:lnTo>
                  <a:lnTo>
                    <a:pt x="970" y="1537"/>
                  </a:lnTo>
                  <a:lnTo>
                    <a:pt x="971" y="1539"/>
                  </a:lnTo>
                  <a:lnTo>
                    <a:pt x="973" y="1539"/>
                  </a:lnTo>
                  <a:lnTo>
                    <a:pt x="978" y="1537"/>
                  </a:lnTo>
                  <a:lnTo>
                    <a:pt x="980" y="1535"/>
                  </a:lnTo>
                  <a:lnTo>
                    <a:pt x="984" y="1537"/>
                  </a:lnTo>
                  <a:lnTo>
                    <a:pt x="984" y="1537"/>
                  </a:lnTo>
                  <a:lnTo>
                    <a:pt x="987" y="1541"/>
                  </a:lnTo>
                  <a:lnTo>
                    <a:pt x="989" y="1539"/>
                  </a:lnTo>
                  <a:lnTo>
                    <a:pt x="991" y="1537"/>
                  </a:lnTo>
                  <a:lnTo>
                    <a:pt x="987" y="1530"/>
                  </a:lnTo>
                  <a:lnTo>
                    <a:pt x="987" y="1530"/>
                  </a:lnTo>
                  <a:lnTo>
                    <a:pt x="987" y="1527"/>
                  </a:lnTo>
                  <a:lnTo>
                    <a:pt x="989" y="1523"/>
                  </a:lnTo>
                  <a:lnTo>
                    <a:pt x="989" y="1516"/>
                  </a:lnTo>
                  <a:lnTo>
                    <a:pt x="984" y="1502"/>
                  </a:lnTo>
                  <a:lnTo>
                    <a:pt x="984" y="1502"/>
                  </a:lnTo>
                  <a:lnTo>
                    <a:pt x="982" y="1495"/>
                  </a:lnTo>
                  <a:lnTo>
                    <a:pt x="982" y="1492"/>
                  </a:lnTo>
                  <a:lnTo>
                    <a:pt x="982" y="1488"/>
                  </a:lnTo>
                  <a:lnTo>
                    <a:pt x="985" y="1485"/>
                  </a:lnTo>
                  <a:lnTo>
                    <a:pt x="989" y="1485"/>
                  </a:lnTo>
                  <a:lnTo>
                    <a:pt x="992" y="1483"/>
                  </a:lnTo>
                  <a:lnTo>
                    <a:pt x="1001" y="1487"/>
                  </a:lnTo>
                  <a:lnTo>
                    <a:pt x="1001" y="1487"/>
                  </a:lnTo>
                  <a:lnTo>
                    <a:pt x="1004" y="1485"/>
                  </a:lnTo>
                  <a:lnTo>
                    <a:pt x="1006" y="1483"/>
                  </a:lnTo>
                  <a:lnTo>
                    <a:pt x="1010" y="1476"/>
                  </a:lnTo>
                  <a:lnTo>
                    <a:pt x="1013" y="1473"/>
                  </a:lnTo>
                  <a:lnTo>
                    <a:pt x="1017" y="1471"/>
                  </a:lnTo>
                  <a:lnTo>
                    <a:pt x="1020" y="1473"/>
                  </a:lnTo>
                  <a:lnTo>
                    <a:pt x="1020" y="1473"/>
                  </a:lnTo>
                  <a:lnTo>
                    <a:pt x="1025" y="1476"/>
                  </a:lnTo>
                  <a:lnTo>
                    <a:pt x="1027" y="1480"/>
                  </a:lnTo>
                  <a:lnTo>
                    <a:pt x="1029" y="1483"/>
                  </a:lnTo>
                  <a:lnTo>
                    <a:pt x="1031" y="1485"/>
                  </a:lnTo>
                  <a:lnTo>
                    <a:pt x="1031" y="1485"/>
                  </a:lnTo>
                  <a:lnTo>
                    <a:pt x="1034" y="1483"/>
                  </a:lnTo>
                  <a:lnTo>
                    <a:pt x="1036" y="1481"/>
                  </a:lnTo>
                  <a:lnTo>
                    <a:pt x="1039" y="1474"/>
                  </a:lnTo>
                  <a:lnTo>
                    <a:pt x="1043" y="1469"/>
                  </a:lnTo>
                  <a:lnTo>
                    <a:pt x="1045" y="1469"/>
                  </a:lnTo>
                  <a:lnTo>
                    <a:pt x="1046" y="1471"/>
                  </a:lnTo>
                  <a:lnTo>
                    <a:pt x="1046" y="1471"/>
                  </a:lnTo>
                  <a:lnTo>
                    <a:pt x="1050" y="1474"/>
                  </a:lnTo>
                  <a:lnTo>
                    <a:pt x="1051" y="1474"/>
                  </a:lnTo>
                  <a:lnTo>
                    <a:pt x="1053" y="1471"/>
                  </a:lnTo>
                  <a:lnTo>
                    <a:pt x="1055" y="1471"/>
                  </a:lnTo>
                  <a:lnTo>
                    <a:pt x="1055" y="1471"/>
                  </a:lnTo>
                  <a:lnTo>
                    <a:pt x="1055" y="1471"/>
                  </a:lnTo>
                  <a:lnTo>
                    <a:pt x="1060" y="1476"/>
                  </a:lnTo>
                  <a:lnTo>
                    <a:pt x="1064" y="1480"/>
                  </a:lnTo>
                  <a:lnTo>
                    <a:pt x="1064" y="1481"/>
                  </a:lnTo>
                  <a:lnTo>
                    <a:pt x="1065" y="1481"/>
                  </a:lnTo>
                  <a:lnTo>
                    <a:pt x="1067" y="1474"/>
                  </a:lnTo>
                  <a:lnTo>
                    <a:pt x="1067" y="1474"/>
                  </a:lnTo>
                  <a:lnTo>
                    <a:pt x="1069" y="1467"/>
                  </a:lnTo>
                  <a:lnTo>
                    <a:pt x="1071" y="1466"/>
                  </a:lnTo>
                  <a:lnTo>
                    <a:pt x="1074" y="1467"/>
                  </a:lnTo>
                  <a:lnTo>
                    <a:pt x="1076" y="1471"/>
                  </a:lnTo>
                  <a:lnTo>
                    <a:pt x="1076" y="1471"/>
                  </a:lnTo>
                  <a:lnTo>
                    <a:pt x="1079" y="1473"/>
                  </a:lnTo>
                  <a:lnTo>
                    <a:pt x="1081" y="1473"/>
                  </a:lnTo>
                  <a:lnTo>
                    <a:pt x="1088" y="1469"/>
                  </a:lnTo>
                  <a:lnTo>
                    <a:pt x="1093" y="1464"/>
                  </a:lnTo>
                  <a:lnTo>
                    <a:pt x="1095" y="1462"/>
                  </a:lnTo>
                  <a:lnTo>
                    <a:pt x="1095" y="1459"/>
                  </a:lnTo>
                  <a:lnTo>
                    <a:pt x="1095" y="1459"/>
                  </a:lnTo>
                  <a:lnTo>
                    <a:pt x="1093" y="1455"/>
                  </a:lnTo>
                  <a:lnTo>
                    <a:pt x="1097" y="1454"/>
                  </a:lnTo>
                  <a:lnTo>
                    <a:pt x="1102" y="1450"/>
                  </a:lnTo>
                  <a:lnTo>
                    <a:pt x="1111" y="1443"/>
                  </a:lnTo>
                  <a:lnTo>
                    <a:pt x="1111" y="1443"/>
                  </a:lnTo>
                  <a:lnTo>
                    <a:pt x="1112" y="1443"/>
                  </a:lnTo>
                  <a:lnTo>
                    <a:pt x="1114" y="1445"/>
                  </a:lnTo>
                  <a:lnTo>
                    <a:pt x="1119" y="1452"/>
                  </a:lnTo>
                  <a:lnTo>
                    <a:pt x="1126" y="1461"/>
                  </a:lnTo>
                  <a:lnTo>
                    <a:pt x="1132" y="1462"/>
                  </a:lnTo>
                  <a:lnTo>
                    <a:pt x="1137" y="1462"/>
                  </a:lnTo>
                  <a:lnTo>
                    <a:pt x="1137" y="1462"/>
                  </a:lnTo>
                  <a:lnTo>
                    <a:pt x="1142" y="1461"/>
                  </a:lnTo>
                  <a:lnTo>
                    <a:pt x="1146" y="1462"/>
                  </a:lnTo>
                  <a:lnTo>
                    <a:pt x="1147" y="1466"/>
                  </a:lnTo>
                  <a:lnTo>
                    <a:pt x="1152" y="1466"/>
                  </a:lnTo>
                  <a:lnTo>
                    <a:pt x="1152" y="1466"/>
                  </a:lnTo>
                  <a:lnTo>
                    <a:pt x="1159" y="1464"/>
                  </a:lnTo>
                  <a:lnTo>
                    <a:pt x="1163" y="1466"/>
                  </a:lnTo>
                  <a:lnTo>
                    <a:pt x="1165" y="1467"/>
                  </a:lnTo>
                  <a:lnTo>
                    <a:pt x="1165" y="1469"/>
                  </a:lnTo>
                  <a:lnTo>
                    <a:pt x="1161" y="1476"/>
                  </a:lnTo>
                  <a:lnTo>
                    <a:pt x="1161" y="1476"/>
                  </a:lnTo>
                  <a:lnTo>
                    <a:pt x="1156" y="1483"/>
                  </a:lnTo>
                  <a:lnTo>
                    <a:pt x="1156" y="1488"/>
                  </a:lnTo>
                  <a:lnTo>
                    <a:pt x="1159" y="1492"/>
                  </a:lnTo>
                  <a:lnTo>
                    <a:pt x="1159" y="1497"/>
                  </a:lnTo>
                  <a:lnTo>
                    <a:pt x="1159" y="1497"/>
                  </a:lnTo>
                  <a:lnTo>
                    <a:pt x="1161" y="1501"/>
                  </a:lnTo>
                  <a:lnTo>
                    <a:pt x="1161" y="1502"/>
                  </a:lnTo>
                  <a:lnTo>
                    <a:pt x="1165" y="1504"/>
                  </a:lnTo>
                  <a:lnTo>
                    <a:pt x="1170" y="1506"/>
                  </a:lnTo>
                  <a:lnTo>
                    <a:pt x="1173" y="1509"/>
                  </a:lnTo>
                  <a:lnTo>
                    <a:pt x="1173" y="1509"/>
                  </a:lnTo>
                  <a:lnTo>
                    <a:pt x="1175" y="1514"/>
                  </a:lnTo>
                  <a:lnTo>
                    <a:pt x="1179" y="1516"/>
                  </a:lnTo>
                  <a:lnTo>
                    <a:pt x="1182" y="1516"/>
                  </a:lnTo>
                  <a:lnTo>
                    <a:pt x="1186" y="1518"/>
                  </a:lnTo>
                  <a:lnTo>
                    <a:pt x="1186" y="1518"/>
                  </a:lnTo>
                  <a:lnTo>
                    <a:pt x="1187" y="1520"/>
                  </a:lnTo>
                  <a:lnTo>
                    <a:pt x="1189" y="1521"/>
                  </a:lnTo>
                  <a:lnTo>
                    <a:pt x="1194" y="1520"/>
                  </a:lnTo>
                  <a:lnTo>
                    <a:pt x="1199" y="1520"/>
                  </a:lnTo>
                  <a:lnTo>
                    <a:pt x="1203" y="1521"/>
                  </a:lnTo>
                  <a:lnTo>
                    <a:pt x="1208" y="1523"/>
                  </a:lnTo>
                  <a:lnTo>
                    <a:pt x="1208" y="1523"/>
                  </a:lnTo>
                  <a:lnTo>
                    <a:pt x="1210" y="1525"/>
                  </a:lnTo>
                  <a:lnTo>
                    <a:pt x="1213" y="1525"/>
                  </a:lnTo>
                  <a:lnTo>
                    <a:pt x="1215" y="1525"/>
                  </a:lnTo>
                  <a:lnTo>
                    <a:pt x="1217" y="1521"/>
                  </a:lnTo>
                  <a:lnTo>
                    <a:pt x="1217" y="1521"/>
                  </a:lnTo>
                  <a:lnTo>
                    <a:pt x="1219" y="1520"/>
                  </a:lnTo>
                  <a:lnTo>
                    <a:pt x="1220" y="1520"/>
                  </a:lnTo>
                  <a:lnTo>
                    <a:pt x="1222" y="1523"/>
                  </a:lnTo>
                  <a:lnTo>
                    <a:pt x="1224" y="1521"/>
                  </a:lnTo>
                  <a:lnTo>
                    <a:pt x="1224" y="1521"/>
                  </a:lnTo>
                  <a:lnTo>
                    <a:pt x="1226" y="1520"/>
                  </a:lnTo>
                  <a:lnTo>
                    <a:pt x="1226" y="1516"/>
                  </a:lnTo>
                  <a:lnTo>
                    <a:pt x="1224" y="1514"/>
                  </a:lnTo>
                  <a:lnTo>
                    <a:pt x="1224" y="1509"/>
                  </a:lnTo>
                  <a:lnTo>
                    <a:pt x="1224" y="1509"/>
                  </a:lnTo>
                  <a:lnTo>
                    <a:pt x="1224" y="1508"/>
                  </a:lnTo>
                  <a:lnTo>
                    <a:pt x="1226" y="1508"/>
                  </a:lnTo>
                  <a:lnTo>
                    <a:pt x="1227" y="1513"/>
                  </a:lnTo>
                  <a:lnTo>
                    <a:pt x="1233" y="1518"/>
                  </a:lnTo>
                  <a:lnTo>
                    <a:pt x="1236" y="1520"/>
                  </a:lnTo>
                  <a:lnTo>
                    <a:pt x="1240" y="1521"/>
                  </a:lnTo>
                  <a:lnTo>
                    <a:pt x="1240" y="1521"/>
                  </a:lnTo>
                  <a:lnTo>
                    <a:pt x="1243" y="1521"/>
                  </a:lnTo>
                  <a:lnTo>
                    <a:pt x="1245" y="1521"/>
                  </a:lnTo>
                  <a:lnTo>
                    <a:pt x="1243" y="1525"/>
                  </a:lnTo>
                  <a:lnTo>
                    <a:pt x="1243" y="1528"/>
                  </a:lnTo>
                  <a:lnTo>
                    <a:pt x="1245" y="1530"/>
                  </a:lnTo>
                  <a:lnTo>
                    <a:pt x="1248" y="1528"/>
                  </a:lnTo>
                  <a:lnTo>
                    <a:pt x="1248" y="1528"/>
                  </a:lnTo>
                  <a:lnTo>
                    <a:pt x="1257" y="1528"/>
                  </a:lnTo>
                  <a:lnTo>
                    <a:pt x="1260" y="1527"/>
                  </a:lnTo>
                  <a:lnTo>
                    <a:pt x="1260" y="1523"/>
                  </a:lnTo>
                  <a:lnTo>
                    <a:pt x="1260" y="1523"/>
                  </a:lnTo>
                  <a:lnTo>
                    <a:pt x="1259" y="1516"/>
                  </a:lnTo>
                  <a:lnTo>
                    <a:pt x="1260" y="1518"/>
                  </a:lnTo>
                  <a:lnTo>
                    <a:pt x="1264" y="1521"/>
                  </a:lnTo>
                  <a:lnTo>
                    <a:pt x="1264" y="1521"/>
                  </a:lnTo>
                  <a:lnTo>
                    <a:pt x="1266" y="1527"/>
                  </a:lnTo>
                  <a:lnTo>
                    <a:pt x="1267" y="1527"/>
                  </a:lnTo>
                  <a:lnTo>
                    <a:pt x="1271" y="1527"/>
                  </a:lnTo>
                  <a:lnTo>
                    <a:pt x="1273" y="1527"/>
                  </a:lnTo>
                  <a:lnTo>
                    <a:pt x="1273" y="1527"/>
                  </a:lnTo>
                  <a:lnTo>
                    <a:pt x="1274" y="1530"/>
                  </a:lnTo>
                  <a:lnTo>
                    <a:pt x="1271" y="1532"/>
                  </a:lnTo>
                  <a:lnTo>
                    <a:pt x="1267" y="1537"/>
                  </a:lnTo>
                  <a:lnTo>
                    <a:pt x="1266" y="1544"/>
                  </a:lnTo>
                  <a:lnTo>
                    <a:pt x="1266" y="1544"/>
                  </a:lnTo>
                  <a:lnTo>
                    <a:pt x="1266" y="1551"/>
                  </a:lnTo>
                  <a:lnTo>
                    <a:pt x="1266" y="1555"/>
                  </a:lnTo>
                  <a:lnTo>
                    <a:pt x="1267" y="1558"/>
                  </a:lnTo>
                  <a:lnTo>
                    <a:pt x="1267" y="1560"/>
                  </a:lnTo>
                  <a:lnTo>
                    <a:pt x="1267" y="1560"/>
                  </a:lnTo>
                  <a:lnTo>
                    <a:pt x="1267" y="1563"/>
                  </a:lnTo>
                  <a:lnTo>
                    <a:pt x="1269" y="1567"/>
                  </a:lnTo>
                  <a:lnTo>
                    <a:pt x="1271" y="1568"/>
                  </a:lnTo>
                  <a:lnTo>
                    <a:pt x="1273" y="1572"/>
                  </a:lnTo>
                  <a:lnTo>
                    <a:pt x="1273" y="1572"/>
                  </a:lnTo>
                  <a:lnTo>
                    <a:pt x="1273" y="1575"/>
                  </a:lnTo>
                  <a:lnTo>
                    <a:pt x="1273" y="1579"/>
                  </a:lnTo>
                  <a:lnTo>
                    <a:pt x="1276" y="1581"/>
                  </a:lnTo>
                  <a:lnTo>
                    <a:pt x="1287" y="1579"/>
                  </a:lnTo>
                  <a:lnTo>
                    <a:pt x="1287" y="1579"/>
                  </a:lnTo>
                  <a:lnTo>
                    <a:pt x="1294" y="1575"/>
                  </a:lnTo>
                  <a:lnTo>
                    <a:pt x="1295" y="1574"/>
                  </a:lnTo>
                  <a:lnTo>
                    <a:pt x="1295" y="1572"/>
                  </a:lnTo>
                  <a:lnTo>
                    <a:pt x="1294" y="1565"/>
                  </a:lnTo>
                  <a:lnTo>
                    <a:pt x="1290" y="1558"/>
                  </a:lnTo>
                  <a:lnTo>
                    <a:pt x="1290" y="1558"/>
                  </a:lnTo>
                  <a:lnTo>
                    <a:pt x="1288" y="1553"/>
                  </a:lnTo>
                  <a:lnTo>
                    <a:pt x="1285" y="1553"/>
                  </a:lnTo>
                  <a:lnTo>
                    <a:pt x="1283" y="1553"/>
                  </a:lnTo>
                  <a:lnTo>
                    <a:pt x="1281" y="1551"/>
                  </a:lnTo>
                  <a:lnTo>
                    <a:pt x="1281" y="1551"/>
                  </a:lnTo>
                  <a:lnTo>
                    <a:pt x="1283" y="1546"/>
                  </a:lnTo>
                  <a:lnTo>
                    <a:pt x="1288" y="1542"/>
                  </a:lnTo>
                  <a:lnTo>
                    <a:pt x="1304" y="1532"/>
                  </a:lnTo>
                  <a:lnTo>
                    <a:pt x="1304" y="1532"/>
                  </a:lnTo>
                  <a:lnTo>
                    <a:pt x="1311" y="1527"/>
                  </a:lnTo>
                  <a:lnTo>
                    <a:pt x="1316" y="1527"/>
                  </a:lnTo>
                  <a:lnTo>
                    <a:pt x="1321" y="1527"/>
                  </a:lnTo>
                  <a:lnTo>
                    <a:pt x="1332" y="1525"/>
                  </a:lnTo>
                  <a:lnTo>
                    <a:pt x="1332" y="1525"/>
                  </a:lnTo>
                  <a:lnTo>
                    <a:pt x="1337" y="1521"/>
                  </a:lnTo>
                  <a:lnTo>
                    <a:pt x="1341" y="1520"/>
                  </a:lnTo>
                  <a:lnTo>
                    <a:pt x="1344" y="1514"/>
                  </a:lnTo>
                  <a:lnTo>
                    <a:pt x="1346" y="1511"/>
                  </a:lnTo>
                  <a:lnTo>
                    <a:pt x="1349" y="1511"/>
                  </a:lnTo>
                  <a:lnTo>
                    <a:pt x="1349" y="1511"/>
                  </a:lnTo>
                  <a:lnTo>
                    <a:pt x="1354" y="1514"/>
                  </a:lnTo>
                  <a:lnTo>
                    <a:pt x="1354" y="1518"/>
                  </a:lnTo>
                  <a:lnTo>
                    <a:pt x="1356" y="1518"/>
                  </a:lnTo>
                  <a:lnTo>
                    <a:pt x="1358" y="1513"/>
                  </a:lnTo>
                  <a:lnTo>
                    <a:pt x="1358" y="1513"/>
                  </a:lnTo>
                  <a:lnTo>
                    <a:pt x="1361" y="1511"/>
                  </a:lnTo>
                  <a:lnTo>
                    <a:pt x="1363" y="1513"/>
                  </a:lnTo>
                  <a:lnTo>
                    <a:pt x="1365" y="1513"/>
                  </a:lnTo>
                  <a:lnTo>
                    <a:pt x="1368" y="1509"/>
                  </a:lnTo>
                  <a:lnTo>
                    <a:pt x="1368" y="1509"/>
                  </a:lnTo>
                  <a:lnTo>
                    <a:pt x="1372" y="1508"/>
                  </a:lnTo>
                  <a:lnTo>
                    <a:pt x="1374" y="1506"/>
                  </a:lnTo>
                  <a:lnTo>
                    <a:pt x="1379" y="1508"/>
                  </a:lnTo>
                  <a:lnTo>
                    <a:pt x="1381" y="1509"/>
                  </a:lnTo>
                  <a:lnTo>
                    <a:pt x="1382" y="1508"/>
                  </a:lnTo>
                  <a:lnTo>
                    <a:pt x="1382" y="1504"/>
                  </a:lnTo>
                  <a:lnTo>
                    <a:pt x="1382" y="1504"/>
                  </a:lnTo>
                  <a:lnTo>
                    <a:pt x="1384" y="1499"/>
                  </a:lnTo>
                  <a:lnTo>
                    <a:pt x="1386" y="1499"/>
                  </a:lnTo>
                  <a:lnTo>
                    <a:pt x="1389" y="1502"/>
                  </a:lnTo>
                  <a:lnTo>
                    <a:pt x="1389" y="1502"/>
                  </a:lnTo>
                  <a:lnTo>
                    <a:pt x="1391" y="1499"/>
                  </a:lnTo>
                  <a:lnTo>
                    <a:pt x="1391" y="1499"/>
                  </a:lnTo>
                  <a:lnTo>
                    <a:pt x="1395" y="1497"/>
                  </a:lnTo>
                  <a:lnTo>
                    <a:pt x="1396" y="1497"/>
                  </a:lnTo>
                  <a:lnTo>
                    <a:pt x="1400" y="1497"/>
                  </a:lnTo>
                  <a:lnTo>
                    <a:pt x="1401" y="1494"/>
                  </a:lnTo>
                  <a:lnTo>
                    <a:pt x="1401" y="1494"/>
                  </a:lnTo>
                  <a:lnTo>
                    <a:pt x="1403" y="1490"/>
                  </a:lnTo>
                  <a:lnTo>
                    <a:pt x="1403" y="1485"/>
                  </a:lnTo>
                  <a:lnTo>
                    <a:pt x="1400" y="1476"/>
                  </a:lnTo>
                  <a:lnTo>
                    <a:pt x="1398" y="1467"/>
                  </a:lnTo>
                  <a:lnTo>
                    <a:pt x="1398" y="1464"/>
                  </a:lnTo>
                  <a:lnTo>
                    <a:pt x="1398" y="1462"/>
                  </a:lnTo>
                  <a:lnTo>
                    <a:pt x="1398" y="1462"/>
                  </a:lnTo>
                  <a:lnTo>
                    <a:pt x="1400" y="1461"/>
                  </a:lnTo>
                  <a:lnTo>
                    <a:pt x="1403" y="1462"/>
                  </a:lnTo>
                  <a:lnTo>
                    <a:pt x="1408" y="1471"/>
                  </a:lnTo>
                  <a:lnTo>
                    <a:pt x="1408" y="1471"/>
                  </a:lnTo>
                  <a:lnTo>
                    <a:pt x="1415" y="1467"/>
                  </a:lnTo>
                  <a:lnTo>
                    <a:pt x="1421" y="1467"/>
                  </a:lnTo>
                  <a:lnTo>
                    <a:pt x="1421" y="1467"/>
                  </a:lnTo>
                  <a:lnTo>
                    <a:pt x="1428" y="1467"/>
                  </a:lnTo>
                  <a:lnTo>
                    <a:pt x="1431" y="1467"/>
                  </a:lnTo>
                  <a:lnTo>
                    <a:pt x="1438" y="1476"/>
                  </a:lnTo>
                  <a:lnTo>
                    <a:pt x="1438" y="1476"/>
                  </a:lnTo>
                  <a:lnTo>
                    <a:pt x="1438" y="1473"/>
                  </a:lnTo>
                  <a:lnTo>
                    <a:pt x="1438" y="1471"/>
                  </a:lnTo>
                  <a:lnTo>
                    <a:pt x="1440" y="1469"/>
                  </a:lnTo>
                  <a:lnTo>
                    <a:pt x="1440" y="1469"/>
                  </a:lnTo>
                  <a:lnTo>
                    <a:pt x="1442" y="1469"/>
                  </a:lnTo>
                  <a:lnTo>
                    <a:pt x="1443" y="1471"/>
                  </a:lnTo>
                  <a:lnTo>
                    <a:pt x="1445" y="1476"/>
                  </a:lnTo>
                  <a:lnTo>
                    <a:pt x="1447" y="1478"/>
                  </a:lnTo>
                  <a:lnTo>
                    <a:pt x="1447" y="1480"/>
                  </a:lnTo>
                  <a:lnTo>
                    <a:pt x="1448" y="1478"/>
                  </a:lnTo>
                  <a:lnTo>
                    <a:pt x="1452" y="1476"/>
                  </a:lnTo>
                  <a:lnTo>
                    <a:pt x="1452" y="1476"/>
                  </a:lnTo>
                  <a:lnTo>
                    <a:pt x="1457" y="1469"/>
                  </a:lnTo>
                  <a:lnTo>
                    <a:pt x="1461" y="1469"/>
                  </a:lnTo>
                  <a:lnTo>
                    <a:pt x="1469" y="1474"/>
                  </a:lnTo>
                  <a:lnTo>
                    <a:pt x="1469" y="1474"/>
                  </a:lnTo>
                  <a:lnTo>
                    <a:pt x="1471" y="1474"/>
                  </a:lnTo>
                  <a:lnTo>
                    <a:pt x="1473" y="1474"/>
                  </a:lnTo>
                  <a:lnTo>
                    <a:pt x="1473" y="1471"/>
                  </a:lnTo>
                  <a:lnTo>
                    <a:pt x="1473" y="1467"/>
                  </a:lnTo>
                  <a:lnTo>
                    <a:pt x="1473" y="1466"/>
                  </a:lnTo>
                  <a:lnTo>
                    <a:pt x="1475" y="1466"/>
                  </a:lnTo>
                  <a:lnTo>
                    <a:pt x="1475" y="1466"/>
                  </a:lnTo>
                  <a:lnTo>
                    <a:pt x="1476" y="1466"/>
                  </a:lnTo>
                  <a:lnTo>
                    <a:pt x="1476" y="1466"/>
                  </a:lnTo>
                  <a:lnTo>
                    <a:pt x="1478" y="1469"/>
                  </a:lnTo>
                  <a:lnTo>
                    <a:pt x="1480" y="1471"/>
                  </a:lnTo>
                  <a:lnTo>
                    <a:pt x="1487" y="1469"/>
                  </a:lnTo>
                  <a:lnTo>
                    <a:pt x="1487" y="1469"/>
                  </a:lnTo>
                  <a:lnTo>
                    <a:pt x="1495" y="1464"/>
                  </a:lnTo>
                  <a:lnTo>
                    <a:pt x="1501" y="1462"/>
                  </a:lnTo>
                  <a:lnTo>
                    <a:pt x="1506" y="1461"/>
                  </a:lnTo>
                  <a:lnTo>
                    <a:pt x="1508" y="1455"/>
                  </a:lnTo>
                  <a:lnTo>
                    <a:pt x="1508" y="1455"/>
                  </a:lnTo>
                  <a:lnTo>
                    <a:pt x="1508" y="1454"/>
                  </a:lnTo>
                  <a:lnTo>
                    <a:pt x="1509" y="1452"/>
                  </a:lnTo>
                  <a:lnTo>
                    <a:pt x="1513" y="1450"/>
                  </a:lnTo>
                  <a:lnTo>
                    <a:pt x="1515" y="1448"/>
                  </a:lnTo>
                  <a:lnTo>
                    <a:pt x="1513" y="1447"/>
                  </a:lnTo>
                  <a:lnTo>
                    <a:pt x="1513" y="1447"/>
                  </a:lnTo>
                  <a:lnTo>
                    <a:pt x="1511" y="1445"/>
                  </a:lnTo>
                  <a:lnTo>
                    <a:pt x="1513" y="1443"/>
                  </a:lnTo>
                  <a:lnTo>
                    <a:pt x="1515" y="1441"/>
                  </a:lnTo>
                  <a:lnTo>
                    <a:pt x="1518" y="1436"/>
                  </a:lnTo>
                  <a:lnTo>
                    <a:pt x="1518" y="1436"/>
                  </a:lnTo>
                  <a:lnTo>
                    <a:pt x="1522" y="1433"/>
                  </a:lnTo>
                  <a:lnTo>
                    <a:pt x="1523" y="1433"/>
                  </a:lnTo>
                  <a:lnTo>
                    <a:pt x="1529" y="1433"/>
                  </a:lnTo>
                  <a:lnTo>
                    <a:pt x="1530" y="1431"/>
                  </a:lnTo>
                  <a:lnTo>
                    <a:pt x="1534" y="1427"/>
                  </a:lnTo>
                  <a:lnTo>
                    <a:pt x="1534" y="1427"/>
                  </a:lnTo>
                  <a:lnTo>
                    <a:pt x="1539" y="1422"/>
                  </a:lnTo>
                  <a:lnTo>
                    <a:pt x="1541" y="1422"/>
                  </a:lnTo>
                  <a:lnTo>
                    <a:pt x="1543" y="1424"/>
                  </a:lnTo>
                  <a:lnTo>
                    <a:pt x="1543" y="1426"/>
                  </a:lnTo>
                  <a:lnTo>
                    <a:pt x="1546" y="1422"/>
                  </a:lnTo>
                  <a:lnTo>
                    <a:pt x="1546" y="1422"/>
                  </a:lnTo>
                  <a:lnTo>
                    <a:pt x="1556" y="1410"/>
                  </a:lnTo>
                  <a:lnTo>
                    <a:pt x="1562" y="1403"/>
                  </a:lnTo>
                  <a:lnTo>
                    <a:pt x="1562" y="1401"/>
                  </a:lnTo>
                  <a:lnTo>
                    <a:pt x="1562" y="1400"/>
                  </a:lnTo>
                  <a:lnTo>
                    <a:pt x="1562" y="1400"/>
                  </a:lnTo>
                  <a:lnTo>
                    <a:pt x="1558" y="1396"/>
                  </a:lnTo>
                  <a:lnTo>
                    <a:pt x="1560" y="1391"/>
                  </a:lnTo>
                  <a:lnTo>
                    <a:pt x="1562" y="1387"/>
                  </a:lnTo>
                  <a:lnTo>
                    <a:pt x="1563" y="1387"/>
                  </a:lnTo>
                  <a:lnTo>
                    <a:pt x="1565" y="1389"/>
                  </a:lnTo>
                  <a:lnTo>
                    <a:pt x="1565" y="1389"/>
                  </a:lnTo>
                  <a:lnTo>
                    <a:pt x="1567" y="1393"/>
                  </a:lnTo>
                  <a:lnTo>
                    <a:pt x="1569" y="1391"/>
                  </a:lnTo>
                  <a:lnTo>
                    <a:pt x="1570" y="1389"/>
                  </a:lnTo>
                  <a:lnTo>
                    <a:pt x="1576" y="1393"/>
                  </a:lnTo>
                  <a:lnTo>
                    <a:pt x="1576" y="1393"/>
                  </a:lnTo>
                  <a:lnTo>
                    <a:pt x="1577" y="1393"/>
                  </a:lnTo>
                  <a:lnTo>
                    <a:pt x="1579" y="1393"/>
                  </a:lnTo>
                  <a:lnTo>
                    <a:pt x="1581" y="1389"/>
                  </a:lnTo>
                  <a:lnTo>
                    <a:pt x="1583" y="1382"/>
                  </a:lnTo>
                  <a:lnTo>
                    <a:pt x="1586" y="1379"/>
                  </a:lnTo>
                  <a:lnTo>
                    <a:pt x="1590" y="1377"/>
                  </a:lnTo>
                  <a:lnTo>
                    <a:pt x="1590" y="1377"/>
                  </a:lnTo>
                  <a:lnTo>
                    <a:pt x="1595" y="1375"/>
                  </a:lnTo>
                  <a:lnTo>
                    <a:pt x="1593" y="1372"/>
                  </a:lnTo>
                  <a:lnTo>
                    <a:pt x="1590" y="1368"/>
                  </a:lnTo>
                  <a:lnTo>
                    <a:pt x="1590" y="1367"/>
                  </a:lnTo>
                  <a:lnTo>
                    <a:pt x="1590" y="1363"/>
                  </a:lnTo>
                  <a:lnTo>
                    <a:pt x="1590" y="1363"/>
                  </a:lnTo>
                  <a:lnTo>
                    <a:pt x="1591" y="1360"/>
                  </a:lnTo>
                  <a:lnTo>
                    <a:pt x="1593" y="1363"/>
                  </a:lnTo>
                  <a:lnTo>
                    <a:pt x="1595" y="1365"/>
                  </a:lnTo>
                  <a:lnTo>
                    <a:pt x="1598" y="1365"/>
                  </a:lnTo>
                  <a:lnTo>
                    <a:pt x="1602" y="1363"/>
                  </a:lnTo>
                  <a:lnTo>
                    <a:pt x="1602" y="1363"/>
                  </a:lnTo>
                  <a:lnTo>
                    <a:pt x="1605" y="1360"/>
                  </a:lnTo>
                  <a:lnTo>
                    <a:pt x="1605" y="1358"/>
                  </a:lnTo>
                  <a:lnTo>
                    <a:pt x="1603" y="1358"/>
                  </a:lnTo>
                  <a:lnTo>
                    <a:pt x="1600" y="1356"/>
                  </a:lnTo>
                  <a:lnTo>
                    <a:pt x="1596" y="1354"/>
                  </a:lnTo>
                  <a:lnTo>
                    <a:pt x="1596" y="1354"/>
                  </a:lnTo>
                  <a:lnTo>
                    <a:pt x="1596" y="1351"/>
                  </a:lnTo>
                  <a:lnTo>
                    <a:pt x="1598" y="1347"/>
                  </a:lnTo>
                  <a:lnTo>
                    <a:pt x="1600" y="1347"/>
                  </a:lnTo>
                  <a:lnTo>
                    <a:pt x="1603" y="1347"/>
                  </a:lnTo>
                  <a:lnTo>
                    <a:pt x="1605" y="1347"/>
                  </a:lnTo>
                  <a:lnTo>
                    <a:pt x="1607" y="1351"/>
                  </a:lnTo>
                  <a:lnTo>
                    <a:pt x="1607" y="1351"/>
                  </a:lnTo>
                  <a:lnTo>
                    <a:pt x="1612" y="1356"/>
                  </a:lnTo>
                  <a:lnTo>
                    <a:pt x="1614" y="1356"/>
                  </a:lnTo>
                  <a:lnTo>
                    <a:pt x="1616" y="1353"/>
                  </a:lnTo>
                  <a:lnTo>
                    <a:pt x="1612" y="1347"/>
                  </a:lnTo>
                  <a:lnTo>
                    <a:pt x="1612" y="1347"/>
                  </a:lnTo>
                  <a:lnTo>
                    <a:pt x="1612" y="1344"/>
                  </a:lnTo>
                  <a:lnTo>
                    <a:pt x="1612" y="1339"/>
                  </a:lnTo>
                  <a:lnTo>
                    <a:pt x="1616" y="1332"/>
                  </a:lnTo>
                  <a:lnTo>
                    <a:pt x="1617" y="1326"/>
                  </a:lnTo>
                  <a:lnTo>
                    <a:pt x="1617" y="1325"/>
                  </a:lnTo>
                  <a:lnTo>
                    <a:pt x="1614" y="1325"/>
                  </a:lnTo>
                  <a:lnTo>
                    <a:pt x="1614" y="1325"/>
                  </a:lnTo>
                  <a:lnTo>
                    <a:pt x="1612" y="1325"/>
                  </a:lnTo>
                  <a:lnTo>
                    <a:pt x="1610" y="1325"/>
                  </a:lnTo>
                  <a:lnTo>
                    <a:pt x="1612" y="1321"/>
                  </a:lnTo>
                  <a:lnTo>
                    <a:pt x="1616" y="1316"/>
                  </a:lnTo>
                  <a:lnTo>
                    <a:pt x="1621" y="1313"/>
                  </a:lnTo>
                  <a:lnTo>
                    <a:pt x="1621" y="1313"/>
                  </a:lnTo>
                  <a:lnTo>
                    <a:pt x="1626" y="1309"/>
                  </a:lnTo>
                  <a:lnTo>
                    <a:pt x="1626" y="1309"/>
                  </a:lnTo>
                  <a:lnTo>
                    <a:pt x="1623" y="1307"/>
                  </a:lnTo>
                  <a:lnTo>
                    <a:pt x="1619" y="1304"/>
                  </a:lnTo>
                  <a:lnTo>
                    <a:pt x="1619" y="1304"/>
                  </a:lnTo>
                  <a:lnTo>
                    <a:pt x="1617" y="1299"/>
                  </a:lnTo>
                  <a:lnTo>
                    <a:pt x="1614" y="1297"/>
                  </a:lnTo>
                  <a:lnTo>
                    <a:pt x="1612" y="1295"/>
                  </a:lnTo>
                  <a:lnTo>
                    <a:pt x="1616" y="1293"/>
                  </a:lnTo>
                  <a:lnTo>
                    <a:pt x="1616" y="1293"/>
                  </a:lnTo>
                  <a:lnTo>
                    <a:pt x="1619" y="1293"/>
                  </a:lnTo>
                  <a:lnTo>
                    <a:pt x="1621" y="1293"/>
                  </a:lnTo>
                  <a:lnTo>
                    <a:pt x="1623" y="1297"/>
                  </a:lnTo>
                  <a:lnTo>
                    <a:pt x="1624" y="1300"/>
                  </a:lnTo>
                  <a:lnTo>
                    <a:pt x="1626" y="1300"/>
                  </a:lnTo>
                  <a:lnTo>
                    <a:pt x="1630" y="1300"/>
                  </a:lnTo>
                  <a:lnTo>
                    <a:pt x="1630" y="1300"/>
                  </a:lnTo>
                  <a:lnTo>
                    <a:pt x="1631" y="1299"/>
                  </a:lnTo>
                  <a:lnTo>
                    <a:pt x="1633" y="1295"/>
                  </a:lnTo>
                  <a:lnTo>
                    <a:pt x="1633" y="1292"/>
                  </a:lnTo>
                  <a:lnTo>
                    <a:pt x="1631" y="1288"/>
                  </a:lnTo>
                  <a:lnTo>
                    <a:pt x="1631" y="1288"/>
                  </a:lnTo>
                  <a:lnTo>
                    <a:pt x="1633" y="1286"/>
                  </a:lnTo>
                  <a:lnTo>
                    <a:pt x="1633" y="1286"/>
                  </a:lnTo>
                  <a:lnTo>
                    <a:pt x="1638" y="1281"/>
                  </a:lnTo>
                  <a:lnTo>
                    <a:pt x="1645" y="1274"/>
                  </a:lnTo>
                  <a:lnTo>
                    <a:pt x="1649" y="1266"/>
                  </a:lnTo>
                  <a:lnTo>
                    <a:pt x="1650" y="1260"/>
                  </a:lnTo>
                  <a:lnTo>
                    <a:pt x="1649" y="1259"/>
                  </a:lnTo>
                  <a:lnTo>
                    <a:pt x="1649" y="1259"/>
                  </a:lnTo>
                  <a:lnTo>
                    <a:pt x="1649" y="1255"/>
                  </a:lnTo>
                  <a:lnTo>
                    <a:pt x="1649" y="1253"/>
                  </a:lnTo>
                  <a:lnTo>
                    <a:pt x="1652" y="1248"/>
                  </a:lnTo>
                  <a:lnTo>
                    <a:pt x="1659" y="1241"/>
                  </a:lnTo>
                  <a:lnTo>
                    <a:pt x="1664" y="1229"/>
                  </a:lnTo>
                  <a:lnTo>
                    <a:pt x="1664" y="1229"/>
                  </a:lnTo>
                  <a:lnTo>
                    <a:pt x="1666" y="1224"/>
                  </a:lnTo>
                  <a:lnTo>
                    <a:pt x="1668" y="1222"/>
                  </a:lnTo>
                  <a:lnTo>
                    <a:pt x="1670" y="1222"/>
                  </a:lnTo>
                  <a:lnTo>
                    <a:pt x="1671" y="1224"/>
                  </a:lnTo>
                  <a:lnTo>
                    <a:pt x="1673" y="1229"/>
                  </a:lnTo>
                  <a:lnTo>
                    <a:pt x="1675" y="1229"/>
                  </a:lnTo>
                  <a:lnTo>
                    <a:pt x="1677" y="1227"/>
                  </a:lnTo>
                  <a:lnTo>
                    <a:pt x="1677" y="1227"/>
                  </a:lnTo>
                  <a:lnTo>
                    <a:pt x="1680" y="1224"/>
                  </a:lnTo>
                  <a:lnTo>
                    <a:pt x="1684" y="1224"/>
                  </a:lnTo>
                  <a:lnTo>
                    <a:pt x="1685" y="1222"/>
                  </a:lnTo>
                  <a:lnTo>
                    <a:pt x="1685" y="1222"/>
                  </a:lnTo>
                  <a:lnTo>
                    <a:pt x="1682" y="1215"/>
                  </a:lnTo>
                  <a:lnTo>
                    <a:pt x="1682" y="1215"/>
                  </a:lnTo>
                  <a:lnTo>
                    <a:pt x="1680" y="1210"/>
                  </a:lnTo>
                  <a:lnTo>
                    <a:pt x="1680" y="1208"/>
                  </a:lnTo>
                  <a:lnTo>
                    <a:pt x="1682" y="1206"/>
                  </a:lnTo>
                  <a:lnTo>
                    <a:pt x="1684" y="1205"/>
                  </a:lnTo>
                  <a:lnTo>
                    <a:pt x="1685" y="1205"/>
                  </a:lnTo>
                  <a:lnTo>
                    <a:pt x="1687" y="1203"/>
                  </a:lnTo>
                  <a:lnTo>
                    <a:pt x="1685" y="1199"/>
                  </a:lnTo>
                  <a:lnTo>
                    <a:pt x="1685" y="1199"/>
                  </a:lnTo>
                  <a:lnTo>
                    <a:pt x="1685" y="1196"/>
                  </a:lnTo>
                  <a:lnTo>
                    <a:pt x="1687" y="1194"/>
                  </a:lnTo>
                  <a:lnTo>
                    <a:pt x="1687" y="1191"/>
                  </a:lnTo>
                  <a:lnTo>
                    <a:pt x="1684" y="1187"/>
                  </a:lnTo>
                  <a:lnTo>
                    <a:pt x="1684" y="1187"/>
                  </a:lnTo>
                  <a:lnTo>
                    <a:pt x="1682" y="1185"/>
                  </a:lnTo>
                  <a:lnTo>
                    <a:pt x="1682" y="1185"/>
                  </a:lnTo>
                  <a:lnTo>
                    <a:pt x="1687" y="1185"/>
                  </a:lnTo>
                  <a:lnTo>
                    <a:pt x="1691" y="1185"/>
                  </a:lnTo>
                  <a:lnTo>
                    <a:pt x="1694" y="1184"/>
                  </a:lnTo>
                  <a:lnTo>
                    <a:pt x="1696" y="1178"/>
                  </a:lnTo>
                  <a:lnTo>
                    <a:pt x="1697" y="1173"/>
                  </a:lnTo>
                  <a:lnTo>
                    <a:pt x="1697" y="1173"/>
                  </a:lnTo>
                  <a:lnTo>
                    <a:pt x="1696" y="1166"/>
                  </a:lnTo>
                  <a:lnTo>
                    <a:pt x="1694" y="1165"/>
                  </a:lnTo>
                  <a:lnTo>
                    <a:pt x="1691" y="1161"/>
                  </a:lnTo>
                  <a:lnTo>
                    <a:pt x="1691" y="1161"/>
                  </a:lnTo>
                  <a:lnTo>
                    <a:pt x="1691" y="1159"/>
                  </a:lnTo>
                  <a:lnTo>
                    <a:pt x="1699" y="1154"/>
                  </a:lnTo>
                  <a:lnTo>
                    <a:pt x="1699" y="1154"/>
                  </a:lnTo>
                  <a:lnTo>
                    <a:pt x="1701" y="1151"/>
                  </a:lnTo>
                  <a:lnTo>
                    <a:pt x="1697" y="1151"/>
                  </a:lnTo>
                  <a:lnTo>
                    <a:pt x="1691" y="1147"/>
                  </a:lnTo>
                  <a:lnTo>
                    <a:pt x="1685" y="1145"/>
                  </a:lnTo>
                  <a:lnTo>
                    <a:pt x="1682" y="1140"/>
                  </a:lnTo>
                  <a:lnTo>
                    <a:pt x="1682" y="1140"/>
                  </a:lnTo>
                  <a:lnTo>
                    <a:pt x="1678" y="1135"/>
                  </a:lnTo>
                  <a:lnTo>
                    <a:pt x="1673" y="1131"/>
                  </a:lnTo>
                  <a:lnTo>
                    <a:pt x="1668" y="1133"/>
                  </a:lnTo>
                  <a:lnTo>
                    <a:pt x="1663" y="1135"/>
                  </a:lnTo>
                  <a:lnTo>
                    <a:pt x="1656" y="1140"/>
                  </a:lnTo>
                  <a:lnTo>
                    <a:pt x="1650" y="1140"/>
                  </a:lnTo>
                  <a:lnTo>
                    <a:pt x="1647" y="1137"/>
                  </a:lnTo>
                  <a:lnTo>
                    <a:pt x="1647" y="1137"/>
                  </a:lnTo>
                  <a:lnTo>
                    <a:pt x="1645" y="1135"/>
                  </a:lnTo>
                  <a:lnTo>
                    <a:pt x="1643" y="1133"/>
                  </a:lnTo>
                  <a:lnTo>
                    <a:pt x="1642" y="1133"/>
                  </a:lnTo>
                  <a:lnTo>
                    <a:pt x="1640" y="1135"/>
                  </a:lnTo>
                  <a:lnTo>
                    <a:pt x="1640" y="1131"/>
                  </a:lnTo>
                  <a:lnTo>
                    <a:pt x="1640" y="1131"/>
                  </a:lnTo>
                  <a:lnTo>
                    <a:pt x="1642" y="1130"/>
                  </a:lnTo>
                  <a:lnTo>
                    <a:pt x="1645" y="1128"/>
                  </a:lnTo>
                  <a:lnTo>
                    <a:pt x="1650" y="1128"/>
                  </a:lnTo>
                  <a:lnTo>
                    <a:pt x="1656" y="1130"/>
                  </a:lnTo>
                  <a:lnTo>
                    <a:pt x="1657" y="1130"/>
                  </a:lnTo>
                  <a:lnTo>
                    <a:pt x="1659" y="1126"/>
                  </a:lnTo>
                  <a:lnTo>
                    <a:pt x="1659" y="1126"/>
                  </a:lnTo>
                  <a:lnTo>
                    <a:pt x="1664" y="1121"/>
                  </a:lnTo>
                  <a:lnTo>
                    <a:pt x="1671" y="1116"/>
                  </a:lnTo>
                  <a:lnTo>
                    <a:pt x="1680" y="1111"/>
                  </a:lnTo>
                  <a:lnTo>
                    <a:pt x="1687" y="1109"/>
                  </a:lnTo>
                  <a:lnTo>
                    <a:pt x="1687" y="1109"/>
                  </a:lnTo>
                  <a:lnTo>
                    <a:pt x="1692" y="1107"/>
                  </a:lnTo>
                  <a:lnTo>
                    <a:pt x="1694" y="1105"/>
                  </a:lnTo>
                  <a:lnTo>
                    <a:pt x="1694" y="1102"/>
                  </a:lnTo>
                  <a:lnTo>
                    <a:pt x="1692" y="1098"/>
                  </a:lnTo>
                  <a:lnTo>
                    <a:pt x="1685" y="1088"/>
                  </a:lnTo>
                  <a:lnTo>
                    <a:pt x="1675" y="1077"/>
                  </a:lnTo>
                  <a:lnTo>
                    <a:pt x="1675" y="1077"/>
                  </a:lnTo>
                  <a:lnTo>
                    <a:pt x="1666" y="1071"/>
                  </a:lnTo>
                  <a:lnTo>
                    <a:pt x="1659" y="1067"/>
                  </a:lnTo>
                  <a:lnTo>
                    <a:pt x="1654" y="1064"/>
                  </a:lnTo>
                  <a:lnTo>
                    <a:pt x="1654" y="1064"/>
                  </a:lnTo>
                  <a:lnTo>
                    <a:pt x="1654" y="1062"/>
                  </a:lnTo>
                  <a:lnTo>
                    <a:pt x="1654" y="1062"/>
                  </a:lnTo>
                  <a:lnTo>
                    <a:pt x="1656" y="1060"/>
                  </a:lnTo>
                  <a:lnTo>
                    <a:pt x="1654" y="1058"/>
                  </a:lnTo>
                  <a:lnTo>
                    <a:pt x="1650" y="1057"/>
                  </a:lnTo>
                  <a:lnTo>
                    <a:pt x="1647" y="1055"/>
                  </a:lnTo>
                  <a:lnTo>
                    <a:pt x="1643" y="1057"/>
                  </a:lnTo>
                  <a:lnTo>
                    <a:pt x="1643" y="1057"/>
                  </a:lnTo>
                  <a:lnTo>
                    <a:pt x="1638" y="1058"/>
                  </a:lnTo>
                  <a:lnTo>
                    <a:pt x="1633" y="1060"/>
                  </a:lnTo>
                  <a:lnTo>
                    <a:pt x="1628" y="1058"/>
                  </a:lnTo>
                  <a:lnTo>
                    <a:pt x="1624" y="1055"/>
                  </a:lnTo>
                  <a:lnTo>
                    <a:pt x="1621" y="1051"/>
                  </a:lnTo>
                  <a:lnTo>
                    <a:pt x="1617" y="1048"/>
                  </a:lnTo>
                  <a:lnTo>
                    <a:pt x="1616" y="1044"/>
                  </a:lnTo>
                  <a:lnTo>
                    <a:pt x="1617" y="1041"/>
                  </a:lnTo>
                  <a:lnTo>
                    <a:pt x="1617" y="1041"/>
                  </a:lnTo>
                  <a:lnTo>
                    <a:pt x="1619" y="1041"/>
                  </a:lnTo>
                  <a:lnTo>
                    <a:pt x="1621" y="1041"/>
                  </a:lnTo>
                  <a:lnTo>
                    <a:pt x="1624" y="1046"/>
                  </a:lnTo>
                  <a:lnTo>
                    <a:pt x="1628" y="1053"/>
                  </a:lnTo>
                  <a:lnTo>
                    <a:pt x="1631" y="1057"/>
                  </a:lnTo>
                  <a:lnTo>
                    <a:pt x="1631" y="1057"/>
                  </a:lnTo>
                  <a:lnTo>
                    <a:pt x="1635" y="1057"/>
                  </a:lnTo>
                  <a:lnTo>
                    <a:pt x="1637" y="1057"/>
                  </a:lnTo>
                  <a:lnTo>
                    <a:pt x="1642" y="1053"/>
                  </a:lnTo>
                  <a:lnTo>
                    <a:pt x="1647" y="1051"/>
                  </a:lnTo>
                  <a:lnTo>
                    <a:pt x="1649" y="1051"/>
                  </a:lnTo>
                  <a:lnTo>
                    <a:pt x="1652" y="1051"/>
                  </a:lnTo>
                  <a:lnTo>
                    <a:pt x="1652" y="1051"/>
                  </a:lnTo>
                  <a:lnTo>
                    <a:pt x="1656" y="1053"/>
                  </a:lnTo>
                  <a:lnTo>
                    <a:pt x="1657" y="1057"/>
                  </a:lnTo>
                  <a:lnTo>
                    <a:pt x="1659" y="1058"/>
                  </a:lnTo>
                  <a:lnTo>
                    <a:pt x="1663" y="1062"/>
                  </a:lnTo>
                  <a:lnTo>
                    <a:pt x="1663" y="1062"/>
                  </a:lnTo>
                  <a:lnTo>
                    <a:pt x="1666" y="1062"/>
                  </a:lnTo>
                  <a:lnTo>
                    <a:pt x="1670" y="1062"/>
                  </a:lnTo>
                  <a:lnTo>
                    <a:pt x="1675" y="1064"/>
                  </a:lnTo>
                  <a:lnTo>
                    <a:pt x="1685" y="1067"/>
                  </a:lnTo>
                  <a:lnTo>
                    <a:pt x="1685" y="1067"/>
                  </a:lnTo>
                  <a:lnTo>
                    <a:pt x="1691" y="1071"/>
                  </a:lnTo>
                  <a:lnTo>
                    <a:pt x="1694" y="1071"/>
                  </a:lnTo>
                  <a:lnTo>
                    <a:pt x="1694" y="1069"/>
                  </a:lnTo>
                  <a:lnTo>
                    <a:pt x="1694" y="1065"/>
                  </a:lnTo>
                  <a:lnTo>
                    <a:pt x="1691" y="1058"/>
                  </a:lnTo>
                  <a:lnTo>
                    <a:pt x="1684" y="1051"/>
                  </a:lnTo>
                  <a:lnTo>
                    <a:pt x="1684" y="1051"/>
                  </a:lnTo>
                  <a:lnTo>
                    <a:pt x="1678" y="1046"/>
                  </a:lnTo>
                  <a:lnTo>
                    <a:pt x="1677" y="1041"/>
                  </a:lnTo>
                  <a:lnTo>
                    <a:pt x="1673" y="1037"/>
                  </a:lnTo>
                  <a:lnTo>
                    <a:pt x="1666" y="1030"/>
                  </a:lnTo>
                  <a:lnTo>
                    <a:pt x="1666" y="1030"/>
                  </a:lnTo>
                  <a:lnTo>
                    <a:pt x="1659" y="1025"/>
                  </a:lnTo>
                  <a:lnTo>
                    <a:pt x="1659" y="1020"/>
                  </a:lnTo>
                  <a:lnTo>
                    <a:pt x="1657" y="1011"/>
                  </a:lnTo>
                  <a:lnTo>
                    <a:pt x="1657" y="1006"/>
                  </a:lnTo>
                  <a:lnTo>
                    <a:pt x="1654" y="999"/>
                  </a:lnTo>
                  <a:lnTo>
                    <a:pt x="1654" y="999"/>
                  </a:lnTo>
                  <a:lnTo>
                    <a:pt x="1650" y="990"/>
                  </a:lnTo>
                  <a:lnTo>
                    <a:pt x="1647" y="982"/>
                  </a:lnTo>
                  <a:lnTo>
                    <a:pt x="1643" y="966"/>
                  </a:lnTo>
                  <a:lnTo>
                    <a:pt x="1640" y="957"/>
                  </a:lnTo>
                  <a:lnTo>
                    <a:pt x="1637" y="950"/>
                  </a:lnTo>
                  <a:lnTo>
                    <a:pt x="1631" y="945"/>
                  </a:lnTo>
                  <a:lnTo>
                    <a:pt x="1624" y="942"/>
                  </a:lnTo>
                  <a:lnTo>
                    <a:pt x="1624" y="942"/>
                  </a:lnTo>
                  <a:lnTo>
                    <a:pt x="1617" y="940"/>
                  </a:lnTo>
                  <a:lnTo>
                    <a:pt x="1614" y="936"/>
                  </a:lnTo>
                  <a:lnTo>
                    <a:pt x="1610" y="931"/>
                  </a:lnTo>
                  <a:lnTo>
                    <a:pt x="1609" y="928"/>
                  </a:lnTo>
                  <a:lnTo>
                    <a:pt x="1607" y="928"/>
                  </a:lnTo>
                  <a:lnTo>
                    <a:pt x="1602" y="928"/>
                  </a:lnTo>
                  <a:lnTo>
                    <a:pt x="1602" y="928"/>
                  </a:lnTo>
                  <a:lnTo>
                    <a:pt x="1598" y="928"/>
                  </a:lnTo>
                  <a:lnTo>
                    <a:pt x="1598" y="924"/>
                  </a:lnTo>
                  <a:lnTo>
                    <a:pt x="1600" y="919"/>
                  </a:lnTo>
                  <a:lnTo>
                    <a:pt x="1603" y="912"/>
                  </a:lnTo>
                  <a:lnTo>
                    <a:pt x="1612" y="896"/>
                  </a:lnTo>
                  <a:lnTo>
                    <a:pt x="1617" y="891"/>
                  </a:lnTo>
                  <a:lnTo>
                    <a:pt x="1621" y="888"/>
                  </a:lnTo>
                  <a:lnTo>
                    <a:pt x="1621" y="888"/>
                  </a:lnTo>
                  <a:lnTo>
                    <a:pt x="1626" y="884"/>
                  </a:lnTo>
                  <a:lnTo>
                    <a:pt x="1628" y="882"/>
                  </a:lnTo>
                  <a:lnTo>
                    <a:pt x="1630" y="879"/>
                  </a:lnTo>
                  <a:lnTo>
                    <a:pt x="1633" y="876"/>
                  </a:lnTo>
                  <a:lnTo>
                    <a:pt x="1633" y="876"/>
                  </a:lnTo>
                  <a:lnTo>
                    <a:pt x="1635" y="872"/>
                  </a:lnTo>
                  <a:lnTo>
                    <a:pt x="1635" y="870"/>
                  </a:lnTo>
                  <a:lnTo>
                    <a:pt x="1633" y="867"/>
                  </a:lnTo>
                  <a:lnTo>
                    <a:pt x="1631" y="863"/>
                  </a:lnTo>
                  <a:lnTo>
                    <a:pt x="1631" y="862"/>
                  </a:lnTo>
                  <a:lnTo>
                    <a:pt x="1633" y="860"/>
                  </a:lnTo>
                  <a:lnTo>
                    <a:pt x="1633" y="860"/>
                  </a:lnTo>
                  <a:lnTo>
                    <a:pt x="1635" y="860"/>
                  </a:lnTo>
                  <a:lnTo>
                    <a:pt x="1637" y="860"/>
                  </a:lnTo>
                  <a:lnTo>
                    <a:pt x="1638" y="863"/>
                  </a:lnTo>
                  <a:lnTo>
                    <a:pt x="1638" y="865"/>
                  </a:lnTo>
                  <a:lnTo>
                    <a:pt x="1640" y="867"/>
                  </a:lnTo>
                  <a:lnTo>
                    <a:pt x="1642" y="867"/>
                  </a:lnTo>
                  <a:lnTo>
                    <a:pt x="1647" y="865"/>
                  </a:lnTo>
                  <a:lnTo>
                    <a:pt x="1647" y="865"/>
                  </a:lnTo>
                  <a:lnTo>
                    <a:pt x="1649" y="863"/>
                  </a:lnTo>
                  <a:lnTo>
                    <a:pt x="1650" y="862"/>
                  </a:lnTo>
                  <a:lnTo>
                    <a:pt x="1652" y="856"/>
                  </a:lnTo>
                  <a:lnTo>
                    <a:pt x="1654" y="853"/>
                  </a:lnTo>
                  <a:lnTo>
                    <a:pt x="1656" y="851"/>
                  </a:lnTo>
                  <a:lnTo>
                    <a:pt x="1657" y="851"/>
                  </a:lnTo>
                  <a:lnTo>
                    <a:pt x="1657" y="851"/>
                  </a:lnTo>
                  <a:lnTo>
                    <a:pt x="1659" y="851"/>
                  </a:lnTo>
                  <a:lnTo>
                    <a:pt x="1661" y="851"/>
                  </a:lnTo>
                  <a:lnTo>
                    <a:pt x="1663" y="848"/>
                  </a:lnTo>
                  <a:lnTo>
                    <a:pt x="1666" y="842"/>
                  </a:lnTo>
                  <a:lnTo>
                    <a:pt x="1671" y="837"/>
                  </a:lnTo>
                  <a:lnTo>
                    <a:pt x="1671" y="837"/>
                  </a:lnTo>
                  <a:lnTo>
                    <a:pt x="1678" y="834"/>
                  </a:lnTo>
                  <a:lnTo>
                    <a:pt x="1682" y="834"/>
                  </a:lnTo>
                  <a:lnTo>
                    <a:pt x="1685" y="834"/>
                  </a:lnTo>
                  <a:lnTo>
                    <a:pt x="1691" y="829"/>
                  </a:lnTo>
                  <a:lnTo>
                    <a:pt x="1691" y="829"/>
                  </a:lnTo>
                  <a:lnTo>
                    <a:pt x="1696" y="825"/>
                  </a:lnTo>
                  <a:lnTo>
                    <a:pt x="1697" y="825"/>
                  </a:lnTo>
                  <a:lnTo>
                    <a:pt x="1699" y="827"/>
                  </a:lnTo>
                  <a:lnTo>
                    <a:pt x="1701" y="827"/>
                  </a:lnTo>
                  <a:lnTo>
                    <a:pt x="1701" y="827"/>
                  </a:lnTo>
                  <a:lnTo>
                    <a:pt x="1703" y="825"/>
                  </a:lnTo>
                  <a:lnTo>
                    <a:pt x="1704" y="825"/>
                  </a:lnTo>
                  <a:lnTo>
                    <a:pt x="1704" y="829"/>
                  </a:lnTo>
                  <a:lnTo>
                    <a:pt x="1704" y="830"/>
                  </a:lnTo>
                  <a:lnTo>
                    <a:pt x="1706" y="830"/>
                  </a:lnTo>
                  <a:lnTo>
                    <a:pt x="1708" y="830"/>
                  </a:lnTo>
                  <a:lnTo>
                    <a:pt x="1711" y="830"/>
                  </a:lnTo>
                  <a:lnTo>
                    <a:pt x="1711" y="830"/>
                  </a:lnTo>
                  <a:lnTo>
                    <a:pt x="1717" y="829"/>
                  </a:lnTo>
                  <a:lnTo>
                    <a:pt x="1717" y="827"/>
                  </a:lnTo>
                  <a:lnTo>
                    <a:pt x="1717" y="823"/>
                  </a:lnTo>
                  <a:lnTo>
                    <a:pt x="1715" y="822"/>
                  </a:lnTo>
                  <a:lnTo>
                    <a:pt x="1715" y="818"/>
                  </a:lnTo>
                  <a:lnTo>
                    <a:pt x="1717" y="815"/>
                  </a:lnTo>
                  <a:lnTo>
                    <a:pt x="1720" y="811"/>
                  </a:lnTo>
                  <a:lnTo>
                    <a:pt x="1720" y="811"/>
                  </a:lnTo>
                  <a:lnTo>
                    <a:pt x="1722" y="808"/>
                  </a:lnTo>
                  <a:lnTo>
                    <a:pt x="1722" y="806"/>
                  </a:lnTo>
                  <a:lnTo>
                    <a:pt x="1717" y="804"/>
                  </a:lnTo>
                  <a:lnTo>
                    <a:pt x="1710" y="801"/>
                  </a:lnTo>
                  <a:lnTo>
                    <a:pt x="1704" y="799"/>
                  </a:lnTo>
                  <a:lnTo>
                    <a:pt x="1704" y="799"/>
                  </a:lnTo>
                  <a:lnTo>
                    <a:pt x="1701" y="795"/>
                  </a:lnTo>
                  <a:lnTo>
                    <a:pt x="1699" y="797"/>
                  </a:lnTo>
                  <a:lnTo>
                    <a:pt x="1697" y="799"/>
                  </a:lnTo>
                  <a:lnTo>
                    <a:pt x="1694" y="801"/>
                  </a:lnTo>
                  <a:lnTo>
                    <a:pt x="1689" y="801"/>
                  </a:lnTo>
                  <a:lnTo>
                    <a:pt x="1689" y="801"/>
                  </a:lnTo>
                  <a:lnTo>
                    <a:pt x="1682" y="799"/>
                  </a:lnTo>
                  <a:lnTo>
                    <a:pt x="1678" y="797"/>
                  </a:lnTo>
                  <a:lnTo>
                    <a:pt x="1677" y="795"/>
                  </a:lnTo>
                  <a:lnTo>
                    <a:pt x="1673" y="795"/>
                  </a:lnTo>
                  <a:lnTo>
                    <a:pt x="1673" y="795"/>
                  </a:lnTo>
                  <a:lnTo>
                    <a:pt x="1670" y="795"/>
                  </a:lnTo>
                  <a:lnTo>
                    <a:pt x="1668" y="794"/>
                  </a:lnTo>
                  <a:lnTo>
                    <a:pt x="1666" y="792"/>
                  </a:lnTo>
                  <a:lnTo>
                    <a:pt x="1663" y="787"/>
                  </a:lnTo>
                  <a:lnTo>
                    <a:pt x="1663" y="787"/>
                  </a:lnTo>
                  <a:lnTo>
                    <a:pt x="1661" y="785"/>
                  </a:lnTo>
                  <a:lnTo>
                    <a:pt x="1657" y="785"/>
                  </a:lnTo>
                  <a:lnTo>
                    <a:pt x="1649" y="785"/>
                  </a:lnTo>
                  <a:lnTo>
                    <a:pt x="1642" y="788"/>
                  </a:lnTo>
                  <a:lnTo>
                    <a:pt x="1638" y="794"/>
                  </a:lnTo>
                  <a:lnTo>
                    <a:pt x="1638" y="794"/>
                  </a:lnTo>
                  <a:lnTo>
                    <a:pt x="1633" y="799"/>
                  </a:lnTo>
                  <a:lnTo>
                    <a:pt x="1628" y="802"/>
                  </a:lnTo>
                  <a:lnTo>
                    <a:pt x="1624" y="804"/>
                  </a:lnTo>
                  <a:lnTo>
                    <a:pt x="1623" y="806"/>
                  </a:lnTo>
                  <a:lnTo>
                    <a:pt x="1623" y="808"/>
                  </a:lnTo>
                  <a:lnTo>
                    <a:pt x="1623" y="808"/>
                  </a:lnTo>
                  <a:lnTo>
                    <a:pt x="1624" y="813"/>
                  </a:lnTo>
                  <a:lnTo>
                    <a:pt x="1623" y="815"/>
                  </a:lnTo>
                  <a:lnTo>
                    <a:pt x="1617" y="816"/>
                  </a:lnTo>
                  <a:lnTo>
                    <a:pt x="1607" y="818"/>
                  </a:lnTo>
                  <a:lnTo>
                    <a:pt x="1607" y="818"/>
                  </a:lnTo>
                  <a:lnTo>
                    <a:pt x="1602" y="816"/>
                  </a:lnTo>
                  <a:lnTo>
                    <a:pt x="1598" y="815"/>
                  </a:lnTo>
                  <a:lnTo>
                    <a:pt x="1595" y="811"/>
                  </a:lnTo>
                  <a:lnTo>
                    <a:pt x="1593" y="808"/>
                  </a:lnTo>
                  <a:lnTo>
                    <a:pt x="1591" y="797"/>
                  </a:lnTo>
                  <a:lnTo>
                    <a:pt x="1591" y="794"/>
                  </a:lnTo>
                  <a:lnTo>
                    <a:pt x="1595" y="792"/>
                  </a:lnTo>
                  <a:lnTo>
                    <a:pt x="1595" y="792"/>
                  </a:lnTo>
                  <a:lnTo>
                    <a:pt x="1595" y="788"/>
                  </a:lnTo>
                  <a:lnTo>
                    <a:pt x="1595" y="785"/>
                  </a:lnTo>
                  <a:lnTo>
                    <a:pt x="1593" y="776"/>
                  </a:lnTo>
                  <a:lnTo>
                    <a:pt x="1586" y="769"/>
                  </a:lnTo>
                  <a:lnTo>
                    <a:pt x="1584" y="769"/>
                  </a:lnTo>
                  <a:lnTo>
                    <a:pt x="1581" y="769"/>
                  </a:lnTo>
                  <a:lnTo>
                    <a:pt x="1581" y="769"/>
                  </a:lnTo>
                  <a:lnTo>
                    <a:pt x="1576" y="771"/>
                  </a:lnTo>
                  <a:lnTo>
                    <a:pt x="1569" y="771"/>
                  </a:lnTo>
                  <a:lnTo>
                    <a:pt x="1562" y="769"/>
                  </a:lnTo>
                  <a:lnTo>
                    <a:pt x="1558" y="769"/>
                  </a:lnTo>
                  <a:lnTo>
                    <a:pt x="1558" y="766"/>
                  </a:lnTo>
                  <a:lnTo>
                    <a:pt x="1558" y="766"/>
                  </a:lnTo>
                  <a:lnTo>
                    <a:pt x="1555" y="764"/>
                  </a:lnTo>
                  <a:lnTo>
                    <a:pt x="1549" y="761"/>
                  </a:lnTo>
                  <a:lnTo>
                    <a:pt x="1546" y="757"/>
                  </a:lnTo>
                  <a:lnTo>
                    <a:pt x="1543" y="750"/>
                  </a:lnTo>
                  <a:lnTo>
                    <a:pt x="1543" y="750"/>
                  </a:lnTo>
                  <a:lnTo>
                    <a:pt x="1543" y="741"/>
                  </a:lnTo>
                  <a:lnTo>
                    <a:pt x="1544" y="734"/>
                  </a:lnTo>
                  <a:lnTo>
                    <a:pt x="1546" y="729"/>
                  </a:lnTo>
                  <a:lnTo>
                    <a:pt x="1548" y="726"/>
                  </a:lnTo>
                  <a:lnTo>
                    <a:pt x="1548" y="726"/>
                  </a:lnTo>
                  <a:lnTo>
                    <a:pt x="1549" y="721"/>
                  </a:lnTo>
                  <a:lnTo>
                    <a:pt x="1553" y="719"/>
                  </a:lnTo>
                  <a:lnTo>
                    <a:pt x="1558" y="719"/>
                  </a:lnTo>
                  <a:lnTo>
                    <a:pt x="1565" y="724"/>
                  </a:lnTo>
                  <a:lnTo>
                    <a:pt x="1565" y="724"/>
                  </a:lnTo>
                  <a:lnTo>
                    <a:pt x="1567" y="728"/>
                  </a:lnTo>
                  <a:lnTo>
                    <a:pt x="1569" y="728"/>
                  </a:lnTo>
                  <a:lnTo>
                    <a:pt x="1572" y="724"/>
                  </a:lnTo>
                  <a:lnTo>
                    <a:pt x="1577" y="721"/>
                  </a:lnTo>
                  <a:lnTo>
                    <a:pt x="1579" y="721"/>
                  </a:lnTo>
                  <a:lnTo>
                    <a:pt x="1583" y="721"/>
                  </a:lnTo>
                  <a:lnTo>
                    <a:pt x="1583" y="721"/>
                  </a:lnTo>
                  <a:lnTo>
                    <a:pt x="1590" y="721"/>
                  </a:lnTo>
                  <a:lnTo>
                    <a:pt x="1595" y="717"/>
                  </a:lnTo>
                  <a:lnTo>
                    <a:pt x="1600" y="712"/>
                  </a:lnTo>
                  <a:lnTo>
                    <a:pt x="1602" y="703"/>
                  </a:lnTo>
                  <a:lnTo>
                    <a:pt x="1602" y="703"/>
                  </a:lnTo>
                  <a:lnTo>
                    <a:pt x="1603" y="698"/>
                  </a:lnTo>
                  <a:lnTo>
                    <a:pt x="1607" y="693"/>
                  </a:lnTo>
                  <a:lnTo>
                    <a:pt x="1617" y="684"/>
                  </a:lnTo>
                  <a:lnTo>
                    <a:pt x="1631" y="677"/>
                  </a:lnTo>
                  <a:lnTo>
                    <a:pt x="1640" y="672"/>
                  </a:lnTo>
                  <a:lnTo>
                    <a:pt x="1640" y="672"/>
                  </a:lnTo>
                  <a:lnTo>
                    <a:pt x="1645" y="670"/>
                  </a:lnTo>
                  <a:lnTo>
                    <a:pt x="1647" y="665"/>
                  </a:lnTo>
                  <a:lnTo>
                    <a:pt x="1650" y="660"/>
                  </a:lnTo>
                  <a:lnTo>
                    <a:pt x="1656" y="653"/>
                  </a:lnTo>
                  <a:lnTo>
                    <a:pt x="1656" y="653"/>
                  </a:lnTo>
                  <a:lnTo>
                    <a:pt x="1661" y="646"/>
                  </a:lnTo>
                  <a:lnTo>
                    <a:pt x="1663" y="642"/>
                  </a:lnTo>
                  <a:lnTo>
                    <a:pt x="1663" y="640"/>
                  </a:lnTo>
                  <a:lnTo>
                    <a:pt x="1666" y="637"/>
                  </a:lnTo>
                  <a:lnTo>
                    <a:pt x="1666" y="637"/>
                  </a:lnTo>
                  <a:lnTo>
                    <a:pt x="1670" y="637"/>
                  </a:lnTo>
                  <a:lnTo>
                    <a:pt x="1673" y="635"/>
                  </a:lnTo>
                  <a:lnTo>
                    <a:pt x="1678" y="637"/>
                  </a:lnTo>
                  <a:lnTo>
                    <a:pt x="1684" y="639"/>
                  </a:lnTo>
                  <a:lnTo>
                    <a:pt x="1685" y="639"/>
                  </a:lnTo>
                  <a:lnTo>
                    <a:pt x="1687" y="637"/>
                  </a:lnTo>
                  <a:lnTo>
                    <a:pt x="1687" y="637"/>
                  </a:lnTo>
                  <a:lnTo>
                    <a:pt x="1691" y="635"/>
                  </a:lnTo>
                  <a:lnTo>
                    <a:pt x="1692" y="637"/>
                  </a:lnTo>
                  <a:lnTo>
                    <a:pt x="1694" y="640"/>
                  </a:lnTo>
                  <a:lnTo>
                    <a:pt x="1699" y="646"/>
                  </a:lnTo>
                  <a:lnTo>
                    <a:pt x="1699" y="646"/>
                  </a:lnTo>
                  <a:lnTo>
                    <a:pt x="1704" y="651"/>
                  </a:lnTo>
                  <a:lnTo>
                    <a:pt x="1706" y="656"/>
                  </a:lnTo>
                  <a:lnTo>
                    <a:pt x="1704" y="663"/>
                  </a:lnTo>
                  <a:lnTo>
                    <a:pt x="1699" y="672"/>
                  </a:lnTo>
                  <a:lnTo>
                    <a:pt x="1699" y="672"/>
                  </a:lnTo>
                  <a:lnTo>
                    <a:pt x="1696" y="677"/>
                  </a:lnTo>
                  <a:lnTo>
                    <a:pt x="1691" y="681"/>
                  </a:lnTo>
                  <a:lnTo>
                    <a:pt x="1684" y="686"/>
                  </a:lnTo>
                  <a:lnTo>
                    <a:pt x="1678" y="689"/>
                  </a:lnTo>
                  <a:lnTo>
                    <a:pt x="1678" y="691"/>
                  </a:lnTo>
                  <a:lnTo>
                    <a:pt x="1680" y="693"/>
                  </a:lnTo>
                  <a:lnTo>
                    <a:pt x="1680" y="693"/>
                  </a:lnTo>
                  <a:lnTo>
                    <a:pt x="1680" y="694"/>
                  </a:lnTo>
                  <a:lnTo>
                    <a:pt x="1678" y="696"/>
                  </a:lnTo>
                  <a:lnTo>
                    <a:pt x="1675" y="700"/>
                  </a:lnTo>
                  <a:lnTo>
                    <a:pt x="1671" y="701"/>
                  </a:lnTo>
                  <a:lnTo>
                    <a:pt x="1670" y="703"/>
                  </a:lnTo>
                  <a:lnTo>
                    <a:pt x="1671" y="703"/>
                  </a:lnTo>
                  <a:lnTo>
                    <a:pt x="1671" y="703"/>
                  </a:lnTo>
                  <a:lnTo>
                    <a:pt x="1677" y="705"/>
                  </a:lnTo>
                  <a:lnTo>
                    <a:pt x="1680" y="710"/>
                  </a:lnTo>
                  <a:lnTo>
                    <a:pt x="1685" y="715"/>
                  </a:lnTo>
                  <a:lnTo>
                    <a:pt x="1685" y="719"/>
                  </a:lnTo>
                  <a:lnTo>
                    <a:pt x="1685" y="722"/>
                  </a:lnTo>
                  <a:lnTo>
                    <a:pt x="1685" y="722"/>
                  </a:lnTo>
                  <a:lnTo>
                    <a:pt x="1684" y="726"/>
                  </a:lnTo>
                  <a:lnTo>
                    <a:pt x="1684" y="726"/>
                  </a:lnTo>
                  <a:lnTo>
                    <a:pt x="1680" y="726"/>
                  </a:lnTo>
                  <a:lnTo>
                    <a:pt x="1677" y="724"/>
                  </a:lnTo>
                  <a:lnTo>
                    <a:pt x="1675" y="726"/>
                  </a:lnTo>
                  <a:lnTo>
                    <a:pt x="1673" y="728"/>
                  </a:lnTo>
                  <a:lnTo>
                    <a:pt x="1673" y="728"/>
                  </a:lnTo>
                  <a:lnTo>
                    <a:pt x="1671" y="731"/>
                  </a:lnTo>
                  <a:lnTo>
                    <a:pt x="1670" y="731"/>
                  </a:lnTo>
                  <a:lnTo>
                    <a:pt x="1668" y="731"/>
                  </a:lnTo>
                  <a:lnTo>
                    <a:pt x="1666" y="736"/>
                  </a:lnTo>
                  <a:lnTo>
                    <a:pt x="1666" y="736"/>
                  </a:lnTo>
                  <a:lnTo>
                    <a:pt x="1666" y="740"/>
                  </a:lnTo>
                  <a:lnTo>
                    <a:pt x="1668" y="741"/>
                  </a:lnTo>
                  <a:lnTo>
                    <a:pt x="1670" y="743"/>
                  </a:lnTo>
                  <a:lnTo>
                    <a:pt x="1671" y="741"/>
                  </a:lnTo>
                  <a:lnTo>
                    <a:pt x="1677" y="738"/>
                  </a:lnTo>
                  <a:lnTo>
                    <a:pt x="1684" y="736"/>
                  </a:lnTo>
                  <a:lnTo>
                    <a:pt x="1684" y="736"/>
                  </a:lnTo>
                  <a:lnTo>
                    <a:pt x="1689" y="736"/>
                  </a:lnTo>
                  <a:lnTo>
                    <a:pt x="1689" y="733"/>
                  </a:lnTo>
                  <a:lnTo>
                    <a:pt x="1687" y="731"/>
                  </a:lnTo>
                  <a:lnTo>
                    <a:pt x="1687" y="729"/>
                  </a:lnTo>
                  <a:lnTo>
                    <a:pt x="1687" y="729"/>
                  </a:lnTo>
                  <a:lnTo>
                    <a:pt x="1691" y="729"/>
                  </a:lnTo>
                  <a:lnTo>
                    <a:pt x="1694" y="729"/>
                  </a:lnTo>
                  <a:lnTo>
                    <a:pt x="1699" y="728"/>
                  </a:lnTo>
                  <a:lnTo>
                    <a:pt x="1703" y="721"/>
                  </a:lnTo>
                  <a:lnTo>
                    <a:pt x="1703" y="721"/>
                  </a:lnTo>
                  <a:lnTo>
                    <a:pt x="1708" y="714"/>
                  </a:lnTo>
                  <a:lnTo>
                    <a:pt x="1711" y="710"/>
                  </a:lnTo>
                  <a:lnTo>
                    <a:pt x="1715" y="707"/>
                  </a:lnTo>
                  <a:lnTo>
                    <a:pt x="1720" y="703"/>
                  </a:lnTo>
                  <a:lnTo>
                    <a:pt x="1720" y="703"/>
                  </a:lnTo>
                  <a:lnTo>
                    <a:pt x="1724" y="700"/>
                  </a:lnTo>
                  <a:lnTo>
                    <a:pt x="1725" y="700"/>
                  </a:lnTo>
                  <a:lnTo>
                    <a:pt x="1732" y="698"/>
                  </a:lnTo>
                  <a:lnTo>
                    <a:pt x="1739" y="696"/>
                  </a:lnTo>
                  <a:lnTo>
                    <a:pt x="1741" y="696"/>
                  </a:lnTo>
                  <a:lnTo>
                    <a:pt x="1743" y="693"/>
                  </a:lnTo>
                  <a:lnTo>
                    <a:pt x="1743" y="693"/>
                  </a:lnTo>
                  <a:lnTo>
                    <a:pt x="1744" y="689"/>
                  </a:lnTo>
                  <a:lnTo>
                    <a:pt x="1748" y="691"/>
                  </a:lnTo>
                  <a:lnTo>
                    <a:pt x="1751" y="691"/>
                  </a:lnTo>
                  <a:lnTo>
                    <a:pt x="1751" y="691"/>
                  </a:lnTo>
                  <a:lnTo>
                    <a:pt x="1753" y="689"/>
                  </a:lnTo>
                  <a:lnTo>
                    <a:pt x="1753" y="689"/>
                  </a:lnTo>
                  <a:lnTo>
                    <a:pt x="1755" y="689"/>
                  </a:lnTo>
                  <a:lnTo>
                    <a:pt x="1758" y="687"/>
                  </a:lnTo>
                  <a:lnTo>
                    <a:pt x="1764" y="687"/>
                  </a:lnTo>
                  <a:lnTo>
                    <a:pt x="1772" y="687"/>
                  </a:lnTo>
                  <a:lnTo>
                    <a:pt x="1776" y="686"/>
                  </a:lnTo>
                  <a:lnTo>
                    <a:pt x="1781" y="681"/>
                  </a:lnTo>
                  <a:lnTo>
                    <a:pt x="1781" y="679"/>
                  </a:lnTo>
                  <a:lnTo>
                    <a:pt x="1781" y="679"/>
                  </a:lnTo>
                  <a:lnTo>
                    <a:pt x="1786" y="670"/>
                  </a:lnTo>
                  <a:lnTo>
                    <a:pt x="1791" y="663"/>
                  </a:lnTo>
                  <a:lnTo>
                    <a:pt x="1797" y="660"/>
                  </a:lnTo>
                  <a:lnTo>
                    <a:pt x="1802" y="658"/>
                  </a:lnTo>
                  <a:lnTo>
                    <a:pt x="1802" y="658"/>
                  </a:lnTo>
                  <a:lnTo>
                    <a:pt x="1804" y="656"/>
                  </a:lnTo>
                  <a:lnTo>
                    <a:pt x="1805" y="654"/>
                  </a:lnTo>
                  <a:lnTo>
                    <a:pt x="1807" y="653"/>
                  </a:lnTo>
                  <a:lnTo>
                    <a:pt x="1812" y="651"/>
                  </a:lnTo>
                  <a:lnTo>
                    <a:pt x="1812" y="651"/>
                  </a:lnTo>
                  <a:lnTo>
                    <a:pt x="1818" y="649"/>
                  </a:lnTo>
                  <a:lnTo>
                    <a:pt x="1819" y="647"/>
                  </a:lnTo>
                  <a:lnTo>
                    <a:pt x="1821" y="646"/>
                  </a:lnTo>
                  <a:lnTo>
                    <a:pt x="1825" y="644"/>
                  </a:lnTo>
                  <a:lnTo>
                    <a:pt x="1825" y="644"/>
                  </a:lnTo>
                  <a:lnTo>
                    <a:pt x="1826" y="642"/>
                  </a:lnTo>
                  <a:lnTo>
                    <a:pt x="1826" y="640"/>
                  </a:lnTo>
                  <a:lnTo>
                    <a:pt x="1828" y="639"/>
                  </a:lnTo>
                  <a:lnTo>
                    <a:pt x="1833" y="637"/>
                  </a:lnTo>
                  <a:lnTo>
                    <a:pt x="1833" y="637"/>
                  </a:lnTo>
                  <a:lnTo>
                    <a:pt x="1837" y="637"/>
                  </a:lnTo>
                  <a:lnTo>
                    <a:pt x="1840" y="635"/>
                  </a:lnTo>
                  <a:lnTo>
                    <a:pt x="1845" y="630"/>
                  </a:lnTo>
                  <a:lnTo>
                    <a:pt x="1854" y="616"/>
                  </a:lnTo>
                  <a:lnTo>
                    <a:pt x="1854" y="616"/>
                  </a:lnTo>
                  <a:lnTo>
                    <a:pt x="1858" y="613"/>
                  </a:lnTo>
                  <a:lnTo>
                    <a:pt x="1858" y="609"/>
                  </a:lnTo>
                  <a:lnTo>
                    <a:pt x="1858" y="606"/>
                  </a:lnTo>
                  <a:lnTo>
                    <a:pt x="1861" y="600"/>
                  </a:lnTo>
                  <a:lnTo>
                    <a:pt x="1861" y="600"/>
                  </a:lnTo>
                  <a:lnTo>
                    <a:pt x="1863" y="597"/>
                  </a:lnTo>
                  <a:lnTo>
                    <a:pt x="1865" y="599"/>
                  </a:lnTo>
                  <a:lnTo>
                    <a:pt x="1866" y="599"/>
                  </a:lnTo>
                  <a:lnTo>
                    <a:pt x="1868" y="595"/>
                  </a:lnTo>
                  <a:lnTo>
                    <a:pt x="1868" y="595"/>
                  </a:lnTo>
                  <a:lnTo>
                    <a:pt x="1870" y="595"/>
                  </a:lnTo>
                  <a:lnTo>
                    <a:pt x="1872" y="595"/>
                  </a:lnTo>
                  <a:lnTo>
                    <a:pt x="1875" y="600"/>
                  </a:lnTo>
                  <a:lnTo>
                    <a:pt x="1879" y="606"/>
                  </a:lnTo>
                  <a:lnTo>
                    <a:pt x="1884" y="609"/>
                  </a:lnTo>
                  <a:lnTo>
                    <a:pt x="1884" y="609"/>
                  </a:lnTo>
                  <a:lnTo>
                    <a:pt x="1892" y="613"/>
                  </a:lnTo>
                  <a:lnTo>
                    <a:pt x="1898" y="613"/>
                  </a:lnTo>
                  <a:lnTo>
                    <a:pt x="1901" y="611"/>
                  </a:lnTo>
                  <a:lnTo>
                    <a:pt x="1901" y="611"/>
                  </a:lnTo>
                  <a:lnTo>
                    <a:pt x="1906" y="611"/>
                  </a:lnTo>
                  <a:lnTo>
                    <a:pt x="1910" y="613"/>
                  </a:lnTo>
                  <a:lnTo>
                    <a:pt x="1913" y="613"/>
                  </a:lnTo>
                  <a:lnTo>
                    <a:pt x="1915" y="613"/>
                  </a:lnTo>
                  <a:lnTo>
                    <a:pt x="1917" y="611"/>
                  </a:lnTo>
                  <a:lnTo>
                    <a:pt x="1917" y="611"/>
                  </a:lnTo>
                  <a:lnTo>
                    <a:pt x="1919" y="607"/>
                  </a:lnTo>
                  <a:lnTo>
                    <a:pt x="1919" y="606"/>
                  </a:lnTo>
                  <a:lnTo>
                    <a:pt x="1917" y="600"/>
                  </a:lnTo>
                  <a:lnTo>
                    <a:pt x="1913" y="595"/>
                  </a:lnTo>
                  <a:lnTo>
                    <a:pt x="1910" y="590"/>
                  </a:lnTo>
                  <a:lnTo>
                    <a:pt x="1910" y="590"/>
                  </a:lnTo>
                  <a:lnTo>
                    <a:pt x="1912" y="585"/>
                  </a:lnTo>
                  <a:lnTo>
                    <a:pt x="1912" y="583"/>
                  </a:lnTo>
                  <a:lnTo>
                    <a:pt x="1915" y="583"/>
                  </a:lnTo>
                  <a:lnTo>
                    <a:pt x="1917" y="583"/>
                  </a:lnTo>
                  <a:lnTo>
                    <a:pt x="1924" y="583"/>
                  </a:lnTo>
                  <a:lnTo>
                    <a:pt x="1931" y="583"/>
                  </a:lnTo>
                  <a:lnTo>
                    <a:pt x="1931" y="583"/>
                  </a:lnTo>
                  <a:lnTo>
                    <a:pt x="1936" y="583"/>
                  </a:lnTo>
                  <a:lnTo>
                    <a:pt x="1940" y="583"/>
                  </a:lnTo>
                  <a:lnTo>
                    <a:pt x="1941" y="583"/>
                  </a:lnTo>
                  <a:lnTo>
                    <a:pt x="1946" y="580"/>
                  </a:lnTo>
                  <a:lnTo>
                    <a:pt x="1946" y="580"/>
                  </a:lnTo>
                  <a:lnTo>
                    <a:pt x="1950" y="574"/>
                  </a:lnTo>
                  <a:lnTo>
                    <a:pt x="1953" y="567"/>
                  </a:lnTo>
                  <a:lnTo>
                    <a:pt x="1955" y="564"/>
                  </a:lnTo>
                  <a:lnTo>
                    <a:pt x="1957" y="562"/>
                  </a:lnTo>
                  <a:lnTo>
                    <a:pt x="1960" y="564"/>
                  </a:lnTo>
                  <a:lnTo>
                    <a:pt x="1960" y="564"/>
                  </a:lnTo>
                  <a:lnTo>
                    <a:pt x="1966" y="564"/>
                  </a:lnTo>
                  <a:lnTo>
                    <a:pt x="1967" y="562"/>
                  </a:lnTo>
                  <a:lnTo>
                    <a:pt x="1969" y="559"/>
                  </a:lnTo>
                  <a:lnTo>
                    <a:pt x="1969" y="552"/>
                  </a:lnTo>
                  <a:lnTo>
                    <a:pt x="1971" y="541"/>
                  </a:lnTo>
                  <a:lnTo>
                    <a:pt x="1974" y="538"/>
                  </a:lnTo>
                  <a:lnTo>
                    <a:pt x="1978" y="536"/>
                  </a:lnTo>
                  <a:lnTo>
                    <a:pt x="1978" y="536"/>
                  </a:lnTo>
                  <a:lnTo>
                    <a:pt x="1981" y="538"/>
                  </a:lnTo>
                  <a:lnTo>
                    <a:pt x="1985" y="539"/>
                  </a:lnTo>
                  <a:lnTo>
                    <a:pt x="1987" y="543"/>
                  </a:lnTo>
                  <a:lnTo>
                    <a:pt x="1988" y="548"/>
                  </a:lnTo>
                  <a:lnTo>
                    <a:pt x="1990" y="553"/>
                  </a:lnTo>
                  <a:lnTo>
                    <a:pt x="1990" y="553"/>
                  </a:lnTo>
                  <a:lnTo>
                    <a:pt x="1993" y="555"/>
                  </a:lnTo>
                  <a:lnTo>
                    <a:pt x="1995" y="555"/>
                  </a:lnTo>
                  <a:lnTo>
                    <a:pt x="1995" y="555"/>
                  </a:lnTo>
                  <a:lnTo>
                    <a:pt x="1999" y="546"/>
                  </a:lnTo>
                  <a:lnTo>
                    <a:pt x="2000" y="543"/>
                  </a:lnTo>
                  <a:lnTo>
                    <a:pt x="2002" y="541"/>
                  </a:lnTo>
                  <a:lnTo>
                    <a:pt x="2006" y="541"/>
                  </a:lnTo>
                  <a:lnTo>
                    <a:pt x="2009" y="541"/>
                  </a:lnTo>
                  <a:lnTo>
                    <a:pt x="2013" y="539"/>
                  </a:lnTo>
                  <a:lnTo>
                    <a:pt x="2016" y="536"/>
                  </a:lnTo>
                  <a:lnTo>
                    <a:pt x="2020" y="531"/>
                  </a:lnTo>
                  <a:lnTo>
                    <a:pt x="2020" y="531"/>
                  </a:lnTo>
                  <a:lnTo>
                    <a:pt x="2023" y="522"/>
                  </a:lnTo>
                  <a:lnTo>
                    <a:pt x="2025" y="513"/>
                  </a:lnTo>
                  <a:lnTo>
                    <a:pt x="2025" y="503"/>
                  </a:lnTo>
                  <a:lnTo>
                    <a:pt x="2023" y="494"/>
                  </a:lnTo>
                  <a:lnTo>
                    <a:pt x="2020" y="473"/>
                  </a:lnTo>
                  <a:lnTo>
                    <a:pt x="2014" y="454"/>
                  </a:lnTo>
                  <a:lnTo>
                    <a:pt x="2014" y="454"/>
                  </a:lnTo>
                  <a:lnTo>
                    <a:pt x="2013" y="447"/>
                  </a:lnTo>
                  <a:lnTo>
                    <a:pt x="2013" y="442"/>
                  </a:lnTo>
                  <a:lnTo>
                    <a:pt x="2014" y="440"/>
                  </a:lnTo>
                  <a:lnTo>
                    <a:pt x="2020" y="439"/>
                  </a:lnTo>
                  <a:lnTo>
                    <a:pt x="2028" y="437"/>
                  </a:lnTo>
                  <a:lnTo>
                    <a:pt x="2034" y="435"/>
                  </a:lnTo>
                  <a:lnTo>
                    <a:pt x="2037" y="430"/>
                  </a:lnTo>
                  <a:lnTo>
                    <a:pt x="2037" y="430"/>
                  </a:lnTo>
                  <a:lnTo>
                    <a:pt x="2039" y="425"/>
                  </a:lnTo>
                  <a:lnTo>
                    <a:pt x="2042" y="421"/>
                  </a:lnTo>
                  <a:lnTo>
                    <a:pt x="2046" y="421"/>
                  </a:lnTo>
                  <a:lnTo>
                    <a:pt x="2049" y="421"/>
                  </a:lnTo>
                  <a:lnTo>
                    <a:pt x="2061" y="426"/>
                  </a:lnTo>
                  <a:lnTo>
                    <a:pt x="2077" y="433"/>
                  </a:lnTo>
                  <a:lnTo>
                    <a:pt x="2077" y="433"/>
                  </a:lnTo>
                  <a:lnTo>
                    <a:pt x="2081" y="435"/>
                  </a:lnTo>
                  <a:lnTo>
                    <a:pt x="2086" y="433"/>
                  </a:lnTo>
                  <a:lnTo>
                    <a:pt x="2089" y="430"/>
                  </a:lnTo>
                  <a:lnTo>
                    <a:pt x="2093" y="423"/>
                  </a:lnTo>
                  <a:lnTo>
                    <a:pt x="2101" y="409"/>
                  </a:lnTo>
                  <a:lnTo>
                    <a:pt x="2108" y="388"/>
                  </a:lnTo>
                  <a:lnTo>
                    <a:pt x="2122" y="346"/>
                  </a:lnTo>
                  <a:lnTo>
                    <a:pt x="2129" y="327"/>
                  </a:lnTo>
                  <a:lnTo>
                    <a:pt x="2138" y="313"/>
                  </a:lnTo>
                  <a:lnTo>
                    <a:pt x="2138" y="313"/>
                  </a:lnTo>
                  <a:lnTo>
                    <a:pt x="2143" y="301"/>
                  </a:lnTo>
                  <a:lnTo>
                    <a:pt x="2147" y="291"/>
                  </a:lnTo>
                  <a:lnTo>
                    <a:pt x="2147" y="282"/>
                  </a:lnTo>
                  <a:lnTo>
                    <a:pt x="2143" y="273"/>
                  </a:lnTo>
                  <a:lnTo>
                    <a:pt x="2140" y="268"/>
                  </a:lnTo>
                  <a:lnTo>
                    <a:pt x="2133" y="264"/>
                  </a:lnTo>
                  <a:lnTo>
                    <a:pt x="2126" y="266"/>
                  </a:lnTo>
                  <a:lnTo>
                    <a:pt x="2117" y="271"/>
                  </a:lnTo>
                  <a:lnTo>
                    <a:pt x="2117" y="271"/>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0" name="Line 2732">
              <a:extLst>
                <a:ext uri="{FF2B5EF4-FFF2-40B4-BE49-F238E27FC236}">
                  <a16:creationId xmlns:a16="http://schemas.microsoft.com/office/drawing/2014/main" id="{EB1CA23B-1774-4AC8-84A7-6A6F0DDCA05B}"/>
                </a:ext>
              </a:extLst>
            </p:cNvPr>
            <p:cNvSpPr>
              <a:spLocks noChangeShapeType="1"/>
            </p:cNvSpPr>
            <p:nvPr/>
          </p:nvSpPr>
          <p:spPr bwMode="auto">
            <a:xfrm>
              <a:off x="5570777" y="4582260"/>
              <a:ext cx="361211" cy="0"/>
            </a:xfrm>
            <a:prstGeom prst="line">
              <a:avLst/>
            </a:pr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1" name="Line 2734">
              <a:extLst>
                <a:ext uri="{FF2B5EF4-FFF2-40B4-BE49-F238E27FC236}">
                  <a16:creationId xmlns:a16="http://schemas.microsoft.com/office/drawing/2014/main" id="{2296AAF0-A7B5-4F88-BFA0-5E777CAD829A}"/>
                </a:ext>
              </a:extLst>
            </p:cNvPr>
            <p:cNvSpPr>
              <a:spLocks noChangeShapeType="1"/>
            </p:cNvSpPr>
            <p:nvPr/>
          </p:nvSpPr>
          <p:spPr bwMode="auto">
            <a:xfrm>
              <a:off x="5561970" y="4640411"/>
              <a:ext cx="377068" cy="1762"/>
            </a:xfrm>
            <a:prstGeom prst="line">
              <a:avLst/>
            </a:pr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2" name="Freeform 1965">
              <a:extLst>
                <a:ext uri="{FF2B5EF4-FFF2-40B4-BE49-F238E27FC236}">
                  <a16:creationId xmlns:a16="http://schemas.microsoft.com/office/drawing/2014/main" id="{14B1E3CD-4E44-4A2E-B8CF-0825D852FC46}"/>
                </a:ext>
              </a:extLst>
            </p:cNvPr>
            <p:cNvSpPr>
              <a:spLocks/>
            </p:cNvSpPr>
            <p:nvPr/>
          </p:nvSpPr>
          <p:spPr bwMode="auto">
            <a:xfrm>
              <a:off x="4494198" y="1926918"/>
              <a:ext cx="310112" cy="153294"/>
            </a:xfrm>
            <a:custGeom>
              <a:avLst/>
              <a:gdLst/>
              <a:ahLst/>
              <a:cxnLst>
                <a:cxn ang="0">
                  <a:pos x="360" y="52"/>
                </a:cxn>
                <a:cxn ang="0">
                  <a:pos x="381" y="61"/>
                </a:cxn>
                <a:cxn ang="0">
                  <a:pos x="387" y="89"/>
                </a:cxn>
                <a:cxn ang="0">
                  <a:pos x="364" y="115"/>
                </a:cxn>
                <a:cxn ang="0">
                  <a:pos x="343" y="136"/>
                </a:cxn>
                <a:cxn ang="0">
                  <a:pos x="310" y="145"/>
                </a:cxn>
                <a:cxn ang="0">
                  <a:pos x="254" y="169"/>
                </a:cxn>
                <a:cxn ang="0">
                  <a:pos x="232" y="185"/>
                </a:cxn>
                <a:cxn ang="0">
                  <a:pos x="202" y="194"/>
                </a:cxn>
                <a:cxn ang="0">
                  <a:pos x="171" y="183"/>
                </a:cxn>
                <a:cxn ang="0">
                  <a:pos x="136" y="169"/>
                </a:cxn>
                <a:cxn ang="0">
                  <a:pos x="87" y="166"/>
                </a:cxn>
                <a:cxn ang="0">
                  <a:pos x="64" y="157"/>
                </a:cxn>
                <a:cxn ang="0">
                  <a:pos x="82" y="153"/>
                </a:cxn>
                <a:cxn ang="0">
                  <a:pos x="92" y="136"/>
                </a:cxn>
                <a:cxn ang="0">
                  <a:pos x="78" y="122"/>
                </a:cxn>
                <a:cxn ang="0">
                  <a:pos x="68" y="110"/>
                </a:cxn>
                <a:cxn ang="0">
                  <a:pos x="24" y="110"/>
                </a:cxn>
                <a:cxn ang="0">
                  <a:pos x="23" y="101"/>
                </a:cxn>
                <a:cxn ang="0">
                  <a:pos x="52" y="94"/>
                </a:cxn>
                <a:cxn ang="0">
                  <a:pos x="82" y="96"/>
                </a:cxn>
                <a:cxn ang="0">
                  <a:pos x="89" y="89"/>
                </a:cxn>
                <a:cxn ang="0">
                  <a:pos x="75" y="82"/>
                </a:cxn>
                <a:cxn ang="0">
                  <a:pos x="91" y="68"/>
                </a:cxn>
                <a:cxn ang="0">
                  <a:pos x="33" y="70"/>
                </a:cxn>
                <a:cxn ang="0">
                  <a:pos x="4" y="66"/>
                </a:cxn>
                <a:cxn ang="0">
                  <a:pos x="5" y="59"/>
                </a:cxn>
                <a:cxn ang="0">
                  <a:pos x="17" y="56"/>
                </a:cxn>
                <a:cxn ang="0">
                  <a:pos x="28" y="46"/>
                </a:cxn>
                <a:cxn ang="0">
                  <a:pos x="38" y="23"/>
                </a:cxn>
                <a:cxn ang="0">
                  <a:pos x="61" y="33"/>
                </a:cxn>
                <a:cxn ang="0">
                  <a:pos x="80" y="39"/>
                </a:cxn>
                <a:cxn ang="0">
                  <a:pos x="51" y="19"/>
                </a:cxn>
                <a:cxn ang="0">
                  <a:pos x="57" y="7"/>
                </a:cxn>
                <a:cxn ang="0">
                  <a:pos x="87" y="14"/>
                </a:cxn>
                <a:cxn ang="0">
                  <a:pos x="111" y="35"/>
                </a:cxn>
                <a:cxn ang="0">
                  <a:pos x="113" y="58"/>
                </a:cxn>
                <a:cxn ang="0">
                  <a:pos x="122" y="70"/>
                </a:cxn>
                <a:cxn ang="0">
                  <a:pos x="136" y="52"/>
                </a:cxn>
                <a:cxn ang="0">
                  <a:pos x="150" y="63"/>
                </a:cxn>
                <a:cxn ang="0">
                  <a:pos x="150" y="46"/>
                </a:cxn>
                <a:cxn ang="0">
                  <a:pos x="153" y="26"/>
                </a:cxn>
                <a:cxn ang="0">
                  <a:pos x="172" y="47"/>
                </a:cxn>
                <a:cxn ang="0">
                  <a:pos x="183" y="44"/>
                </a:cxn>
                <a:cxn ang="0">
                  <a:pos x="200" y="23"/>
                </a:cxn>
                <a:cxn ang="0">
                  <a:pos x="214" y="37"/>
                </a:cxn>
                <a:cxn ang="0">
                  <a:pos x="223" y="35"/>
                </a:cxn>
                <a:cxn ang="0">
                  <a:pos x="230" y="23"/>
                </a:cxn>
                <a:cxn ang="0">
                  <a:pos x="251" y="37"/>
                </a:cxn>
                <a:cxn ang="0">
                  <a:pos x="272" y="25"/>
                </a:cxn>
                <a:cxn ang="0">
                  <a:pos x="286" y="23"/>
                </a:cxn>
                <a:cxn ang="0">
                  <a:pos x="282" y="5"/>
                </a:cxn>
                <a:cxn ang="0">
                  <a:pos x="306" y="4"/>
                </a:cxn>
                <a:cxn ang="0">
                  <a:pos x="320" y="23"/>
                </a:cxn>
                <a:cxn ang="0">
                  <a:pos x="347" y="11"/>
                </a:cxn>
                <a:cxn ang="0">
                  <a:pos x="343" y="23"/>
                </a:cxn>
                <a:cxn ang="0">
                  <a:pos x="348" y="32"/>
                </a:cxn>
                <a:cxn ang="0">
                  <a:pos x="347" y="47"/>
                </a:cxn>
              </a:cxnLst>
              <a:rect l="0" t="0" r="r" b="b"/>
              <a:pathLst>
                <a:path w="388" h="194">
                  <a:moveTo>
                    <a:pt x="348" y="49"/>
                  </a:moveTo>
                  <a:lnTo>
                    <a:pt x="348" y="49"/>
                  </a:lnTo>
                  <a:lnTo>
                    <a:pt x="353" y="49"/>
                  </a:lnTo>
                  <a:lnTo>
                    <a:pt x="357" y="49"/>
                  </a:lnTo>
                  <a:lnTo>
                    <a:pt x="360" y="52"/>
                  </a:lnTo>
                  <a:lnTo>
                    <a:pt x="364" y="58"/>
                  </a:lnTo>
                  <a:lnTo>
                    <a:pt x="369" y="59"/>
                  </a:lnTo>
                  <a:lnTo>
                    <a:pt x="374" y="59"/>
                  </a:lnTo>
                  <a:lnTo>
                    <a:pt x="374" y="59"/>
                  </a:lnTo>
                  <a:lnTo>
                    <a:pt x="381" y="61"/>
                  </a:lnTo>
                  <a:lnTo>
                    <a:pt x="385" y="65"/>
                  </a:lnTo>
                  <a:lnTo>
                    <a:pt x="388" y="70"/>
                  </a:lnTo>
                  <a:lnTo>
                    <a:pt x="388" y="77"/>
                  </a:lnTo>
                  <a:lnTo>
                    <a:pt x="388" y="82"/>
                  </a:lnTo>
                  <a:lnTo>
                    <a:pt x="387" y="89"/>
                  </a:lnTo>
                  <a:lnTo>
                    <a:pt x="381" y="101"/>
                  </a:lnTo>
                  <a:lnTo>
                    <a:pt x="381" y="101"/>
                  </a:lnTo>
                  <a:lnTo>
                    <a:pt x="376" y="106"/>
                  </a:lnTo>
                  <a:lnTo>
                    <a:pt x="371" y="110"/>
                  </a:lnTo>
                  <a:lnTo>
                    <a:pt x="364" y="115"/>
                  </a:lnTo>
                  <a:lnTo>
                    <a:pt x="355" y="124"/>
                  </a:lnTo>
                  <a:lnTo>
                    <a:pt x="355" y="124"/>
                  </a:lnTo>
                  <a:lnTo>
                    <a:pt x="352" y="131"/>
                  </a:lnTo>
                  <a:lnTo>
                    <a:pt x="347" y="134"/>
                  </a:lnTo>
                  <a:lnTo>
                    <a:pt x="343" y="136"/>
                  </a:lnTo>
                  <a:lnTo>
                    <a:pt x="338" y="136"/>
                  </a:lnTo>
                  <a:lnTo>
                    <a:pt x="326" y="138"/>
                  </a:lnTo>
                  <a:lnTo>
                    <a:pt x="319" y="141"/>
                  </a:lnTo>
                  <a:lnTo>
                    <a:pt x="310" y="145"/>
                  </a:lnTo>
                  <a:lnTo>
                    <a:pt x="310" y="145"/>
                  </a:lnTo>
                  <a:lnTo>
                    <a:pt x="282" y="162"/>
                  </a:lnTo>
                  <a:lnTo>
                    <a:pt x="268" y="167"/>
                  </a:lnTo>
                  <a:lnTo>
                    <a:pt x="261" y="169"/>
                  </a:lnTo>
                  <a:lnTo>
                    <a:pt x="254" y="169"/>
                  </a:lnTo>
                  <a:lnTo>
                    <a:pt x="254" y="169"/>
                  </a:lnTo>
                  <a:lnTo>
                    <a:pt x="247" y="169"/>
                  </a:lnTo>
                  <a:lnTo>
                    <a:pt x="242" y="171"/>
                  </a:lnTo>
                  <a:lnTo>
                    <a:pt x="240" y="174"/>
                  </a:lnTo>
                  <a:lnTo>
                    <a:pt x="237" y="176"/>
                  </a:lnTo>
                  <a:lnTo>
                    <a:pt x="232" y="185"/>
                  </a:lnTo>
                  <a:lnTo>
                    <a:pt x="226" y="188"/>
                  </a:lnTo>
                  <a:lnTo>
                    <a:pt x="218" y="190"/>
                  </a:lnTo>
                  <a:lnTo>
                    <a:pt x="218" y="190"/>
                  </a:lnTo>
                  <a:lnTo>
                    <a:pt x="209" y="194"/>
                  </a:lnTo>
                  <a:lnTo>
                    <a:pt x="202" y="194"/>
                  </a:lnTo>
                  <a:lnTo>
                    <a:pt x="199" y="192"/>
                  </a:lnTo>
                  <a:lnTo>
                    <a:pt x="193" y="190"/>
                  </a:lnTo>
                  <a:lnTo>
                    <a:pt x="185" y="185"/>
                  </a:lnTo>
                  <a:lnTo>
                    <a:pt x="179" y="183"/>
                  </a:lnTo>
                  <a:lnTo>
                    <a:pt x="171" y="183"/>
                  </a:lnTo>
                  <a:lnTo>
                    <a:pt x="171" y="183"/>
                  </a:lnTo>
                  <a:lnTo>
                    <a:pt x="162" y="181"/>
                  </a:lnTo>
                  <a:lnTo>
                    <a:pt x="155" y="180"/>
                  </a:lnTo>
                  <a:lnTo>
                    <a:pt x="143" y="173"/>
                  </a:lnTo>
                  <a:lnTo>
                    <a:pt x="136" y="169"/>
                  </a:lnTo>
                  <a:lnTo>
                    <a:pt x="129" y="167"/>
                  </a:lnTo>
                  <a:lnTo>
                    <a:pt x="118" y="166"/>
                  </a:lnTo>
                  <a:lnTo>
                    <a:pt x="108" y="164"/>
                  </a:lnTo>
                  <a:lnTo>
                    <a:pt x="108" y="164"/>
                  </a:lnTo>
                  <a:lnTo>
                    <a:pt x="87" y="166"/>
                  </a:lnTo>
                  <a:lnTo>
                    <a:pt x="75" y="167"/>
                  </a:lnTo>
                  <a:lnTo>
                    <a:pt x="71" y="166"/>
                  </a:lnTo>
                  <a:lnTo>
                    <a:pt x="68" y="164"/>
                  </a:lnTo>
                  <a:lnTo>
                    <a:pt x="66" y="160"/>
                  </a:lnTo>
                  <a:lnTo>
                    <a:pt x="64" y="157"/>
                  </a:lnTo>
                  <a:lnTo>
                    <a:pt x="64" y="157"/>
                  </a:lnTo>
                  <a:lnTo>
                    <a:pt x="66" y="152"/>
                  </a:lnTo>
                  <a:lnTo>
                    <a:pt x="68" y="150"/>
                  </a:lnTo>
                  <a:lnTo>
                    <a:pt x="75" y="152"/>
                  </a:lnTo>
                  <a:lnTo>
                    <a:pt x="82" y="153"/>
                  </a:lnTo>
                  <a:lnTo>
                    <a:pt x="87" y="153"/>
                  </a:lnTo>
                  <a:lnTo>
                    <a:pt x="91" y="150"/>
                  </a:lnTo>
                  <a:lnTo>
                    <a:pt x="91" y="150"/>
                  </a:lnTo>
                  <a:lnTo>
                    <a:pt x="94" y="143"/>
                  </a:lnTo>
                  <a:lnTo>
                    <a:pt x="92" y="136"/>
                  </a:lnTo>
                  <a:lnTo>
                    <a:pt x="89" y="129"/>
                  </a:lnTo>
                  <a:lnTo>
                    <a:pt x="82" y="126"/>
                  </a:lnTo>
                  <a:lnTo>
                    <a:pt x="82" y="126"/>
                  </a:lnTo>
                  <a:lnTo>
                    <a:pt x="80" y="126"/>
                  </a:lnTo>
                  <a:lnTo>
                    <a:pt x="78" y="122"/>
                  </a:lnTo>
                  <a:lnTo>
                    <a:pt x="78" y="117"/>
                  </a:lnTo>
                  <a:lnTo>
                    <a:pt x="78" y="115"/>
                  </a:lnTo>
                  <a:lnTo>
                    <a:pt x="77" y="112"/>
                  </a:lnTo>
                  <a:lnTo>
                    <a:pt x="73" y="110"/>
                  </a:lnTo>
                  <a:lnTo>
                    <a:pt x="68" y="110"/>
                  </a:lnTo>
                  <a:lnTo>
                    <a:pt x="68" y="110"/>
                  </a:lnTo>
                  <a:lnTo>
                    <a:pt x="57" y="108"/>
                  </a:lnTo>
                  <a:lnTo>
                    <a:pt x="49" y="108"/>
                  </a:lnTo>
                  <a:lnTo>
                    <a:pt x="35" y="110"/>
                  </a:lnTo>
                  <a:lnTo>
                    <a:pt x="24" y="110"/>
                  </a:lnTo>
                  <a:lnTo>
                    <a:pt x="23" y="110"/>
                  </a:lnTo>
                  <a:lnTo>
                    <a:pt x="21" y="106"/>
                  </a:lnTo>
                  <a:lnTo>
                    <a:pt x="21" y="106"/>
                  </a:lnTo>
                  <a:lnTo>
                    <a:pt x="21" y="103"/>
                  </a:lnTo>
                  <a:lnTo>
                    <a:pt x="23" y="101"/>
                  </a:lnTo>
                  <a:lnTo>
                    <a:pt x="31" y="99"/>
                  </a:lnTo>
                  <a:lnTo>
                    <a:pt x="42" y="98"/>
                  </a:lnTo>
                  <a:lnTo>
                    <a:pt x="49" y="98"/>
                  </a:lnTo>
                  <a:lnTo>
                    <a:pt x="52" y="94"/>
                  </a:lnTo>
                  <a:lnTo>
                    <a:pt x="52" y="94"/>
                  </a:lnTo>
                  <a:lnTo>
                    <a:pt x="57" y="93"/>
                  </a:lnTo>
                  <a:lnTo>
                    <a:pt x="61" y="93"/>
                  </a:lnTo>
                  <a:lnTo>
                    <a:pt x="68" y="94"/>
                  </a:lnTo>
                  <a:lnTo>
                    <a:pt x="77" y="96"/>
                  </a:lnTo>
                  <a:lnTo>
                    <a:pt x="82" y="96"/>
                  </a:lnTo>
                  <a:lnTo>
                    <a:pt x="89" y="94"/>
                  </a:lnTo>
                  <a:lnTo>
                    <a:pt x="89" y="94"/>
                  </a:lnTo>
                  <a:lnTo>
                    <a:pt x="94" y="91"/>
                  </a:lnTo>
                  <a:lnTo>
                    <a:pt x="94" y="89"/>
                  </a:lnTo>
                  <a:lnTo>
                    <a:pt x="89" y="89"/>
                  </a:lnTo>
                  <a:lnTo>
                    <a:pt x="78" y="89"/>
                  </a:lnTo>
                  <a:lnTo>
                    <a:pt x="75" y="87"/>
                  </a:lnTo>
                  <a:lnTo>
                    <a:pt x="73" y="84"/>
                  </a:lnTo>
                  <a:lnTo>
                    <a:pt x="73" y="84"/>
                  </a:lnTo>
                  <a:lnTo>
                    <a:pt x="75" y="82"/>
                  </a:lnTo>
                  <a:lnTo>
                    <a:pt x="78" y="79"/>
                  </a:lnTo>
                  <a:lnTo>
                    <a:pt x="89" y="73"/>
                  </a:lnTo>
                  <a:lnTo>
                    <a:pt x="92" y="72"/>
                  </a:lnTo>
                  <a:lnTo>
                    <a:pt x="94" y="70"/>
                  </a:lnTo>
                  <a:lnTo>
                    <a:pt x="91" y="68"/>
                  </a:lnTo>
                  <a:lnTo>
                    <a:pt x="82" y="66"/>
                  </a:lnTo>
                  <a:lnTo>
                    <a:pt x="82" y="66"/>
                  </a:lnTo>
                  <a:lnTo>
                    <a:pt x="54" y="65"/>
                  </a:lnTo>
                  <a:lnTo>
                    <a:pt x="45" y="66"/>
                  </a:lnTo>
                  <a:lnTo>
                    <a:pt x="33" y="70"/>
                  </a:lnTo>
                  <a:lnTo>
                    <a:pt x="33" y="70"/>
                  </a:lnTo>
                  <a:lnTo>
                    <a:pt x="26" y="72"/>
                  </a:lnTo>
                  <a:lnTo>
                    <a:pt x="19" y="72"/>
                  </a:lnTo>
                  <a:lnTo>
                    <a:pt x="7" y="68"/>
                  </a:lnTo>
                  <a:lnTo>
                    <a:pt x="4" y="66"/>
                  </a:lnTo>
                  <a:lnTo>
                    <a:pt x="2" y="65"/>
                  </a:lnTo>
                  <a:lnTo>
                    <a:pt x="0" y="61"/>
                  </a:lnTo>
                  <a:lnTo>
                    <a:pt x="2" y="59"/>
                  </a:lnTo>
                  <a:lnTo>
                    <a:pt x="2" y="59"/>
                  </a:lnTo>
                  <a:lnTo>
                    <a:pt x="5" y="59"/>
                  </a:lnTo>
                  <a:lnTo>
                    <a:pt x="9" y="59"/>
                  </a:lnTo>
                  <a:lnTo>
                    <a:pt x="14" y="59"/>
                  </a:lnTo>
                  <a:lnTo>
                    <a:pt x="17" y="59"/>
                  </a:lnTo>
                  <a:lnTo>
                    <a:pt x="17" y="56"/>
                  </a:lnTo>
                  <a:lnTo>
                    <a:pt x="17" y="56"/>
                  </a:lnTo>
                  <a:lnTo>
                    <a:pt x="17" y="52"/>
                  </a:lnTo>
                  <a:lnTo>
                    <a:pt x="19" y="51"/>
                  </a:lnTo>
                  <a:lnTo>
                    <a:pt x="23" y="51"/>
                  </a:lnTo>
                  <a:lnTo>
                    <a:pt x="26" y="49"/>
                  </a:lnTo>
                  <a:lnTo>
                    <a:pt x="28" y="46"/>
                  </a:lnTo>
                  <a:lnTo>
                    <a:pt x="28" y="42"/>
                  </a:lnTo>
                  <a:lnTo>
                    <a:pt x="28" y="42"/>
                  </a:lnTo>
                  <a:lnTo>
                    <a:pt x="30" y="32"/>
                  </a:lnTo>
                  <a:lnTo>
                    <a:pt x="35" y="25"/>
                  </a:lnTo>
                  <a:lnTo>
                    <a:pt x="38" y="23"/>
                  </a:lnTo>
                  <a:lnTo>
                    <a:pt x="42" y="23"/>
                  </a:lnTo>
                  <a:lnTo>
                    <a:pt x="45" y="23"/>
                  </a:lnTo>
                  <a:lnTo>
                    <a:pt x="51" y="26"/>
                  </a:lnTo>
                  <a:lnTo>
                    <a:pt x="51" y="26"/>
                  </a:lnTo>
                  <a:lnTo>
                    <a:pt x="61" y="33"/>
                  </a:lnTo>
                  <a:lnTo>
                    <a:pt x="71" y="40"/>
                  </a:lnTo>
                  <a:lnTo>
                    <a:pt x="78" y="42"/>
                  </a:lnTo>
                  <a:lnTo>
                    <a:pt x="80" y="40"/>
                  </a:lnTo>
                  <a:lnTo>
                    <a:pt x="80" y="39"/>
                  </a:lnTo>
                  <a:lnTo>
                    <a:pt x="80" y="39"/>
                  </a:lnTo>
                  <a:lnTo>
                    <a:pt x="73" y="32"/>
                  </a:lnTo>
                  <a:lnTo>
                    <a:pt x="66" y="28"/>
                  </a:lnTo>
                  <a:lnTo>
                    <a:pt x="57" y="25"/>
                  </a:lnTo>
                  <a:lnTo>
                    <a:pt x="51" y="19"/>
                  </a:lnTo>
                  <a:lnTo>
                    <a:pt x="51" y="19"/>
                  </a:lnTo>
                  <a:lnTo>
                    <a:pt x="49" y="16"/>
                  </a:lnTo>
                  <a:lnTo>
                    <a:pt x="49" y="14"/>
                  </a:lnTo>
                  <a:lnTo>
                    <a:pt x="51" y="11"/>
                  </a:lnTo>
                  <a:lnTo>
                    <a:pt x="54" y="9"/>
                  </a:lnTo>
                  <a:lnTo>
                    <a:pt x="57" y="7"/>
                  </a:lnTo>
                  <a:lnTo>
                    <a:pt x="63" y="7"/>
                  </a:lnTo>
                  <a:lnTo>
                    <a:pt x="70" y="7"/>
                  </a:lnTo>
                  <a:lnTo>
                    <a:pt x="77" y="9"/>
                  </a:lnTo>
                  <a:lnTo>
                    <a:pt x="77" y="9"/>
                  </a:lnTo>
                  <a:lnTo>
                    <a:pt x="87" y="14"/>
                  </a:lnTo>
                  <a:lnTo>
                    <a:pt x="91" y="18"/>
                  </a:lnTo>
                  <a:lnTo>
                    <a:pt x="96" y="23"/>
                  </a:lnTo>
                  <a:lnTo>
                    <a:pt x="106" y="30"/>
                  </a:lnTo>
                  <a:lnTo>
                    <a:pt x="106" y="30"/>
                  </a:lnTo>
                  <a:lnTo>
                    <a:pt x="111" y="35"/>
                  </a:lnTo>
                  <a:lnTo>
                    <a:pt x="115" y="39"/>
                  </a:lnTo>
                  <a:lnTo>
                    <a:pt x="115" y="40"/>
                  </a:lnTo>
                  <a:lnTo>
                    <a:pt x="115" y="44"/>
                  </a:lnTo>
                  <a:lnTo>
                    <a:pt x="113" y="52"/>
                  </a:lnTo>
                  <a:lnTo>
                    <a:pt x="113" y="58"/>
                  </a:lnTo>
                  <a:lnTo>
                    <a:pt x="117" y="65"/>
                  </a:lnTo>
                  <a:lnTo>
                    <a:pt x="117" y="65"/>
                  </a:lnTo>
                  <a:lnTo>
                    <a:pt x="120" y="70"/>
                  </a:lnTo>
                  <a:lnTo>
                    <a:pt x="122" y="70"/>
                  </a:lnTo>
                  <a:lnTo>
                    <a:pt x="122" y="70"/>
                  </a:lnTo>
                  <a:lnTo>
                    <a:pt x="125" y="68"/>
                  </a:lnTo>
                  <a:lnTo>
                    <a:pt x="127" y="63"/>
                  </a:lnTo>
                  <a:lnTo>
                    <a:pt x="131" y="58"/>
                  </a:lnTo>
                  <a:lnTo>
                    <a:pt x="132" y="54"/>
                  </a:lnTo>
                  <a:lnTo>
                    <a:pt x="136" y="52"/>
                  </a:lnTo>
                  <a:lnTo>
                    <a:pt x="139" y="56"/>
                  </a:lnTo>
                  <a:lnTo>
                    <a:pt x="139" y="56"/>
                  </a:lnTo>
                  <a:lnTo>
                    <a:pt x="143" y="59"/>
                  </a:lnTo>
                  <a:lnTo>
                    <a:pt x="146" y="63"/>
                  </a:lnTo>
                  <a:lnTo>
                    <a:pt x="150" y="63"/>
                  </a:lnTo>
                  <a:lnTo>
                    <a:pt x="152" y="61"/>
                  </a:lnTo>
                  <a:lnTo>
                    <a:pt x="152" y="58"/>
                  </a:lnTo>
                  <a:lnTo>
                    <a:pt x="153" y="54"/>
                  </a:lnTo>
                  <a:lnTo>
                    <a:pt x="150" y="46"/>
                  </a:lnTo>
                  <a:lnTo>
                    <a:pt x="150" y="46"/>
                  </a:lnTo>
                  <a:lnTo>
                    <a:pt x="148" y="40"/>
                  </a:lnTo>
                  <a:lnTo>
                    <a:pt x="148" y="35"/>
                  </a:lnTo>
                  <a:lnTo>
                    <a:pt x="148" y="32"/>
                  </a:lnTo>
                  <a:lnTo>
                    <a:pt x="152" y="28"/>
                  </a:lnTo>
                  <a:lnTo>
                    <a:pt x="153" y="26"/>
                  </a:lnTo>
                  <a:lnTo>
                    <a:pt x="157" y="26"/>
                  </a:lnTo>
                  <a:lnTo>
                    <a:pt x="160" y="30"/>
                  </a:lnTo>
                  <a:lnTo>
                    <a:pt x="165" y="37"/>
                  </a:lnTo>
                  <a:lnTo>
                    <a:pt x="165" y="37"/>
                  </a:lnTo>
                  <a:lnTo>
                    <a:pt x="172" y="47"/>
                  </a:lnTo>
                  <a:lnTo>
                    <a:pt x="179" y="52"/>
                  </a:lnTo>
                  <a:lnTo>
                    <a:pt x="181" y="54"/>
                  </a:lnTo>
                  <a:lnTo>
                    <a:pt x="183" y="52"/>
                  </a:lnTo>
                  <a:lnTo>
                    <a:pt x="183" y="44"/>
                  </a:lnTo>
                  <a:lnTo>
                    <a:pt x="183" y="44"/>
                  </a:lnTo>
                  <a:lnTo>
                    <a:pt x="183" y="39"/>
                  </a:lnTo>
                  <a:lnTo>
                    <a:pt x="186" y="33"/>
                  </a:lnTo>
                  <a:lnTo>
                    <a:pt x="190" y="28"/>
                  </a:lnTo>
                  <a:lnTo>
                    <a:pt x="195" y="25"/>
                  </a:lnTo>
                  <a:lnTo>
                    <a:pt x="200" y="23"/>
                  </a:lnTo>
                  <a:lnTo>
                    <a:pt x="205" y="23"/>
                  </a:lnTo>
                  <a:lnTo>
                    <a:pt x="209" y="23"/>
                  </a:lnTo>
                  <a:lnTo>
                    <a:pt x="211" y="28"/>
                  </a:lnTo>
                  <a:lnTo>
                    <a:pt x="211" y="28"/>
                  </a:lnTo>
                  <a:lnTo>
                    <a:pt x="214" y="37"/>
                  </a:lnTo>
                  <a:lnTo>
                    <a:pt x="219" y="42"/>
                  </a:lnTo>
                  <a:lnTo>
                    <a:pt x="221" y="44"/>
                  </a:lnTo>
                  <a:lnTo>
                    <a:pt x="223" y="42"/>
                  </a:lnTo>
                  <a:lnTo>
                    <a:pt x="223" y="40"/>
                  </a:lnTo>
                  <a:lnTo>
                    <a:pt x="223" y="35"/>
                  </a:lnTo>
                  <a:lnTo>
                    <a:pt x="223" y="35"/>
                  </a:lnTo>
                  <a:lnTo>
                    <a:pt x="223" y="28"/>
                  </a:lnTo>
                  <a:lnTo>
                    <a:pt x="225" y="25"/>
                  </a:lnTo>
                  <a:lnTo>
                    <a:pt x="226" y="23"/>
                  </a:lnTo>
                  <a:lnTo>
                    <a:pt x="230" y="23"/>
                  </a:lnTo>
                  <a:lnTo>
                    <a:pt x="233" y="25"/>
                  </a:lnTo>
                  <a:lnTo>
                    <a:pt x="242" y="32"/>
                  </a:lnTo>
                  <a:lnTo>
                    <a:pt x="242" y="32"/>
                  </a:lnTo>
                  <a:lnTo>
                    <a:pt x="246" y="35"/>
                  </a:lnTo>
                  <a:lnTo>
                    <a:pt x="251" y="37"/>
                  </a:lnTo>
                  <a:lnTo>
                    <a:pt x="252" y="33"/>
                  </a:lnTo>
                  <a:lnTo>
                    <a:pt x="256" y="30"/>
                  </a:lnTo>
                  <a:lnTo>
                    <a:pt x="263" y="25"/>
                  </a:lnTo>
                  <a:lnTo>
                    <a:pt x="266" y="23"/>
                  </a:lnTo>
                  <a:lnTo>
                    <a:pt x="272" y="25"/>
                  </a:lnTo>
                  <a:lnTo>
                    <a:pt x="272" y="25"/>
                  </a:lnTo>
                  <a:lnTo>
                    <a:pt x="280" y="26"/>
                  </a:lnTo>
                  <a:lnTo>
                    <a:pt x="284" y="26"/>
                  </a:lnTo>
                  <a:lnTo>
                    <a:pt x="286" y="26"/>
                  </a:lnTo>
                  <a:lnTo>
                    <a:pt x="286" y="23"/>
                  </a:lnTo>
                  <a:lnTo>
                    <a:pt x="286" y="21"/>
                  </a:lnTo>
                  <a:lnTo>
                    <a:pt x="282" y="14"/>
                  </a:lnTo>
                  <a:lnTo>
                    <a:pt x="282" y="14"/>
                  </a:lnTo>
                  <a:lnTo>
                    <a:pt x="282" y="9"/>
                  </a:lnTo>
                  <a:lnTo>
                    <a:pt x="282" y="5"/>
                  </a:lnTo>
                  <a:lnTo>
                    <a:pt x="286" y="4"/>
                  </a:lnTo>
                  <a:lnTo>
                    <a:pt x="291" y="2"/>
                  </a:lnTo>
                  <a:lnTo>
                    <a:pt x="296" y="0"/>
                  </a:lnTo>
                  <a:lnTo>
                    <a:pt x="301" y="2"/>
                  </a:lnTo>
                  <a:lnTo>
                    <a:pt x="306" y="4"/>
                  </a:lnTo>
                  <a:lnTo>
                    <a:pt x="310" y="9"/>
                  </a:lnTo>
                  <a:lnTo>
                    <a:pt x="310" y="9"/>
                  </a:lnTo>
                  <a:lnTo>
                    <a:pt x="313" y="16"/>
                  </a:lnTo>
                  <a:lnTo>
                    <a:pt x="317" y="21"/>
                  </a:lnTo>
                  <a:lnTo>
                    <a:pt x="320" y="23"/>
                  </a:lnTo>
                  <a:lnTo>
                    <a:pt x="322" y="23"/>
                  </a:lnTo>
                  <a:lnTo>
                    <a:pt x="329" y="18"/>
                  </a:lnTo>
                  <a:lnTo>
                    <a:pt x="338" y="12"/>
                  </a:lnTo>
                  <a:lnTo>
                    <a:pt x="338" y="12"/>
                  </a:lnTo>
                  <a:lnTo>
                    <a:pt x="347" y="11"/>
                  </a:lnTo>
                  <a:lnTo>
                    <a:pt x="352" y="11"/>
                  </a:lnTo>
                  <a:lnTo>
                    <a:pt x="353" y="12"/>
                  </a:lnTo>
                  <a:lnTo>
                    <a:pt x="352" y="14"/>
                  </a:lnTo>
                  <a:lnTo>
                    <a:pt x="343" y="23"/>
                  </a:lnTo>
                  <a:lnTo>
                    <a:pt x="343" y="23"/>
                  </a:lnTo>
                  <a:lnTo>
                    <a:pt x="338" y="26"/>
                  </a:lnTo>
                  <a:lnTo>
                    <a:pt x="338" y="28"/>
                  </a:lnTo>
                  <a:lnTo>
                    <a:pt x="340" y="30"/>
                  </a:lnTo>
                  <a:lnTo>
                    <a:pt x="345" y="32"/>
                  </a:lnTo>
                  <a:lnTo>
                    <a:pt x="348" y="32"/>
                  </a:lnTo>
                  <a:lnTo>
                    <a:pt x="352" y="33"/>
                  </a:lnTo>
                  <a:lnTo>
                    <a:pt x="352" y="37"/>
                  </a:lnTo>
                  <a:lnTo>
                    <a:pt x="350" y="42"/>
                  </a:lnTo>
                  <a:lnTo>
                    <a:pt x="350" y="42"/>
                  </a:lnTo>
                  <a:lnTo>
                    <a:pt x="347" y="47"/>
                  </a:lnTo>
                  <a:lnTo>
                    <a:pt x="347" y="49"/>
                  </a:lnTo>
                  <a:lnTo>
                    <a:pt x="348" y="49"/>
                  </a:lnTo>
                  <a:lnTo>
                    <a:pt x="348" y="4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3" name="Freeform 1966">
              <a:extLst>
                <a:ext uri="{FF2B5EF4-FFF2-40B4-BE49-F238E27FC236}">
                  <a16:creationId xmlns:a16="http://schemas.microsoft.com/office/drawing/2014/main" id="{AF379D4C-967B-469C-9E06-4459B4E6DE34}"/>
                </a:ext>
              </a:extLst>
            </p:cNvPr>
            <p:cNvSpPr>
              <a:spLocks/>
            </p:cNvSpPr>
            <p:nvPr/>
          </p:nvSpPr>
          <p:spPr bwMode="auto">
            <a:xfrm>
              <a:off x="3539195" y="5531984"/>
              <a:ext cx="148009" cy="174439"/>
            </a:xfrm>
            <a:custGeom>
              <a:avLst/>
              <a:gdLst/>
              <a:ahLst/>
              <a:cxnLst>
                <a:cxn ang="0">
                  <a:pos x="177" y="169"/>
                </a:cxn>
                <a:cxn ang="0">
                  <a:pos x="158" y="198"/>
                </a:cxn>
                <a:cxn ang="0">
                  <a:pos x="137" y="216"/>
                </a:cxn>
                <a:cxn ang="0">
                  <a:pos x="130" y="218"/>
                </a:cxn>
                <a:cxn ang="0">
                  <a:pos x="120" y="219"/>
                </a:cxn>
                <a:cxn ang="0">
                  <a:pos x="104" y="214"/>
                </a:cxn>
                <a:cxn ang="0">
                  <a:pos x="94" y="216"/>
                </a:cxn>
                <a:cxn ang="0">
                  <a:pos x="87" y="218"/>
                </a:cxn>
                <a:cxn ang="0">
                  <a:pos x="73" y="214"/>
                </a:cxn>
                <a:cxn ang="0">
                  <a:pos x="50" y="202"/>
                </a:cxn>
                <a:cxn ang="0">
                  <a:pos x="36" y="198"/>
                </a:cxn>
                <a:cxn ang="0">
                  <a:pos x="29" y="198"/>
                </a:cxn>
                <a:cxn ang="0">
                  <a:pos x="15" y="192"/>
                </a:cxn>
                <a:cxn ang="0">
                  <a:pos x="7" y="183"/>
                </a:cxn>
                <a:cxn ang="0">
                  <a:pos x="3" y="176"/>
                </a:cxn>
                <a:cxn ang="0">
                  <a:pos x="0" y="162"/>
                </a:cxn>
                <a:cxn ang="0">
                  <a:pos x="0" y="148"/>
                </a:cxn>
                <a:cxn ang="0">
                  <a:pos x="7" y="138"/>
                </a:cxn>
                <a:cxn ang="0">
                  <a:pos x="10" y="134"/>
                </a:cxn>
                <a:cxn ang="0">
                  <a:pos x="15" y="125"/>
                </a:cxn>
                <a:cxn ang="0">
                  <a:pos x="14" y="108"/>
                </a:cxn>
                <a:cxn ang="0">
                  <a:pos x="12" y="82"/>
                </a:cxn>
                <a:cxn ang="0">
                  <a:pos x="14" y="77"/>
                </a:cxn>
                <a:cxn ang="0">
                  <a:pos x="15" y="70"/>
                </a:cxn>
                <a:cxn ang="0">
                  <a:pos x="14" y="59"/>
                </a:cxn>
                <a:cxn ang="0">
                  <a:pos x="19" y="47"/>
                </a:cxn>
                <a:cxn ang="0">
                  <a:pos x="22" y="42"/>
                </a:cxn>
                <a:cxn ang="0">
                  <a:pos x="24" y="26"/>
                </a:cxn>
                <a:cxn ang="0">
                  <a:pos x="24" y="14"/>
                </a:cxn>
                <a:cxn ang="0">
                  <a:pos x="31" y="0"/>
                </a:cxn>
                <a:cxn ang="0">
                  <a:pos x="35" y="5"/>
                </a:cxn>
                <a:cxn ang="0">
                  <a:pos x="43" y="5"/>
                </a:cxn>
                <a:cxn ang="0">
                  <a:pos x="52" y="2"/>
                </a:cxn>
                <a:cxn ang="0">
                  <a:pos x="62" y="2"/>
                </a:cxn>
                <a:cxn ang="0">
                  <a:pos x="71" y="7"/>
                </a:cxn>
                <a:cxn ang="0">
                  <a:pos x="82" y="23"/>
                </a:cxn>
                <a:cxn ang="0">
                  <a:pos x="85" y="35"/>
                </a:cxn>
                <a:cxn ang="0">
                  <a:pos x="87" y="42"/>
                </a:cxn>
                <a:cxn ang="0">
                  <a:pos x="96" y="38"/>
                </a:cxn>
                <a:cxn ang="0">
                  <a:pos x="101" y="35"/>
                </a:cxn>
                <a:cxn ang="0">
                  <a:pos x="108" y="37"/>
                </a:cxn>
                <a:cxn ang="0">
                  <a:pos x="116" y="49"/>
                </a:cxn>
                <a:cxn ang="0">
                  <a:pos x="127" y="57"/>
                </a:cxn>
                <a:cxn ang="0">
                  <a:pos x="137" y="63"/>
                </a:cxn>
                <a:cxn ang="0">
                  <a:pos x="148" y="73"/>
                </a:cxn>
                <a:cxn ang="0">
                  <a:pos x="155" y="80"/>
                </a:cxn>
                <a:cxn ang="0">
                  <a:pos x="169" y="91"/>
                </a:cxn>
                <a:cxn ang="0">
                  <a:pos x="183" y="111"/>
                </a:cxn>
                <a:cxn ang="0">
                  <a:pos x="186" y="125"/>
                </a:cxn>
                <a:cxn ang="0">
                  <a:pos x="181" y="136"/>
                </a:cxn>
                <a:cxn ang="0">
                  <a:pos x="176" y="148"/>
                </a:cxn>
                <a:cxn ang="0">
                  <a:pos x="177" y="169"/>
                </a:cxn>
              </a:cxnLst>
              <a:rect l="0" t="0" r="r" b="b"/>
              <a:pathLst>
                <a:path w="186" h="219">
                  <a:moveTo>
                    <a:pt x="177" y="169"/>
                  </a:moveTo>
                  <a:lnTo>
                    <a:pt x="177" y="169"/>
                  </a:lnTo>
                  <a:lnTo>
                    <a:pt x="169" y="186"/>
                  </a:lnTo>
                  <a:lnTo>
                    <a:pt x="158" y="198"/>
                  </a:lnTo>
                  <a:lnTo>
                    <a:pt x="150" y="207"/>
                  </a:lnTo>
                  <a:lnTo>
                    <a:pt x="137" y="216"/>
                  </a:lnTo>
                  <a:lnTo>
                    <a:pt x="137" y="216"/>
                  </a:lnTo>
                  <a:lnTo>
                    <a:pt x="130" y="218"/>
                  </a:lnTo>
                  <a:lnTo>
                    <a:pt x="125" y="219"/>
                  </a:lnTo>
                  <a:lnTo>
                    <a:pt x="120" y="219"/>
                  </a:lnTo>
                  <a:lnTo>
                    <a:pt x="115" y="218"/>
                  </a:lnTo>
                  <a:lnTo>
                    <a:pt x="104" y="214"/>
                  </a:lnTo>
                  <a:lnTo>
                    <a:pt x="99" y="214"/>
                  </a:lnTo>
                  <a:lnTo>
                    <a:pt x="94" y="216"/>
                  </a:lnTo>
                  <a:lnTo>
                    <a:pt x="94" y="216"/>
                  </a:lnTo>
                  <a:lnTo>
                    <a:pt x="87" y="218"/>
                  </a:lnTo>
                  <a:lnTo>
                    <a:pt x="80" y="218"/>
                  </a:lnTo>
                  <a:lnTo>
                    <a:pt x="73" y="214"/>
                  </a:lnTo>
                  <a:lnTo>
                    <a:pt x="66" y="211"/>
                  </a:lnTo>
                  <a:lnTo>
                    <a:pt x="50" y="202"/>
                  </a:lnTo>
                  <a:lnTo>
                    <a:pt x="43" y="198"/>
                  </a:lnTo>
                  <a:lnTo>
                    <a:pt x="36" y="198"/>
                  </a:lnTo>
                  <a:lnTo>
                    <a:pt x="36" y="198"/>
                  </a:lnTo>
                  <a:lnTo>
                    <a:pt x="29" y="198"/>
                  </a:lnTo>
                  <a:lnTo>
                    <a:pt x="24" y="197"/>
                  </a:lnTo>
                  <a:lnTo>
                    <a:pt x="15" y="192"/>
                  </a:lnTo>
                  <a:lnTo>
                    <a:pt x="10" y="185"/>
                  </a:lnTo>
                  <a:lnTo>
                    <a:pt x="7" y="183"/>
                  </a:lnTo>
                  <a:lnTo>
                    <a:pt x="7" y="183"/>
                  </a:lnTo>
                  <a:lnTo>
                    <a:pt x="3" y="176"/>
                  </a:lnTo>
                  <a:lnTo>
                    <a:pt x="0" y="169"/>
                  </a:lnTo>
                  <a:lnTo>
                    <a:pt x="0" y="162"/>
                  </a:lnTo>
                  <a:lnTo>
                    <a:pt x="0" y="155"/>
                  </a:lnTo>
                  <a:lnTo>
                    <a:pt x="0" y="148"/>
                  </a:lnTo>
                  <a:lnTo>
                    <a:pt x="3" y="143"/>
                  </a:lnTo>
                  <a:lnTo>
                    <a:pt x="7" y="138"/>
                  </a:lnTo>
                  <a:lnTo>
                    <a:pt x="10" y="134"/>
                  </a:lnTo>
                  <a:lnTo>
                    <a:pt x="10" y="134"/>
                  </a:lnTo>
                  <a:lnTo>
                    <a:pt x="14" y="131"/>
                  </a:lnTo>
                  <a:lnTo>
                    <a:pt x="15" y="125"/>
                  </a:lnTo>
                  <a:lnTo>
                    <a:pt x="15" y="117"/>
                  </a:lnTo>
                  <a:lnTo>
                    <a:pt x="14" y="108"/>
                  </a:lnTo>
                  <a:lnTo>
                    <a:pt x="12" y="91"/>
                  </a:lnTo>
                  <a:lnTo>
                    <a:pt x="12" y="82"/>
                  </a:lnTo>
                  <a:lnTo>
                    <a:pt x="14" y="77"/>
                  </a:lnTo>
                  <a:lnTo>
                    <a:pt x="14" y="77"/>
                  </a:lnTo>
                  <a:lnTo>
                    <a:pt x="15" y="73"/>
                  </a:lnTo>
                  <a:lnTo>
                    <a:pt x="15" y="70"/>
                  </a:lnTo>
                  <a:lnTo>
                    <a:pt x="15" y="64"/>
                  </a:lnTo>
                  <a:lnTo>
                    <a:pt x="14" y="59"/>
                  </a:lnTo>
                  <a:lnTo>
                    <a:pt x="15" y="54"/>
                  </a:lnTo>
                  <a:lnTo>
                    <a:pt x="19" y="47"/>
                  </a:lnTo>
                  <a:lnTo>
                    <a:pt x="19" y="47"/>
                  </a:lnTo>
                  <a:lnTo>
                    <a:pt x="22" y="42"/>
                  </a:lnTo>
                  <a:lnTo>
                    <a:pt x="24" y="35"/>
                  </a:lnTo>
                  <a:lnTo>
                    <a:pt x="24" y="26"/>
                  </a:lnTo>
                  <a:lnTo>
                    <a:pt x="24" y="21"/>
                  </a:lnTo>
                  <a:lnTo>
                    <a:pt x="24" y="14"/>
                  </a:lnTo>
                  <a:lnTo>
                    <a:pt x="26" y="9"/>
                  </a:lnTo>
                  <a:lnTo>
                    <a:pt x="31" y="0"/>
                  </a:lnTo>
                  <a:lnTo>
                    <a:pt x="31" y="0"/>
                  </a:lnTo>
                  <a:lnTo>
                    <a:pt x="35" y="5"/>
                  </a:lnTo>
                  <a:lnTo>
                    <a:pt x="38" y="7"/>
                  </a:lnTo>
                  <a:lnTo>
                    <a:pt x="43" y="5"/>
                  </a:lnTo>
                  <a:lnTo>
                    <a:pt x="47" y="3"/>
                  </a:lnTo>
                  <a:lnTo>
                    <a:pt x="52" y="2"/>
                  </a:lnTo>
                  <a:lnTo>
                    <a:pt x="57" y="0"/>
                  </a:lnTo>
                  <a:lnTo>
                    <a:pt x="62" y="2"/>
                  </a:lnTo>
                  <a:lnTo>
                    <a:pt x="71" y="7"/>
                  </a:lnTo>
                  <a:lnTo>
                    <a:pt x="71" y="7"/>
                  </a:lnTo>
                  <a:lnTo>
                    <a:pt x="78" y="16"/>
                  </a:lnTo>
                  <a:lnTo>
                    <a:pt x="82" y="23"/>
                  </a:lnTo>
                  <a:lnTo>
                    <a:pt x="83" y="30"/>
                  </a:lnTo>
                  <a:lnTo>
                    <a:pt x="85" y="35"/>
                  </a:lnTo>
                  <a:lnTo>
                    <a:pt x="85" y="40"/>
                  </a:lnTo>
                  <a:lnTo>
                    <a:pt x="87" y="42"/>
                  </a:lnTo>
                  <a:lnTo>
                    <a:pt x="90" y="42"/>
                  </a:lnTo>
                  <a:lnTo>
                    <a:pt x="96" y="38"/>
                  </a:lnTo>
                  <a:lnTo>
                    <a:pt x="96" y="38"/>
                  </a:lnTo>
                  <a:lnTo>
                    <a:pt x="101" y="35"/>
                  </a:lnTo>
                  <a:lnTo>
                    <a:pt x="104" y="35"/>
                  </a:lnTo>
                  <a:lnTo>
                    <a:pt x="108" y="37"/>
                  </a:lnTo>
                  <a:lnTo>
                    <a:pt x="111" y="40"/>
                  </a:lnTo>
                  <a:lnTo>
                    <a:pt x="116" y="49"/>
                  </a:lnTo>
                  <a:lnTo>
                    <a:pt x="122" y="52"/>
                  </a:lnTo>
                  <a:lnTo>
                    <a:pt x="127" y="57"/>
                  </a:lnTo>
                  <a:lnTo>
                    <a:pt x="127" y="57"/>
                  </a:lnTo>
                  <a:lnTo>
                    <a:pt x="137" y="63"/>
                  </a:lnTo>
                  <a:lnTo>
                    <a:pt x="143" y="68"/>
                  </a:lnTo>
                  <a:lnTo>
                    <a:pt x="148" y="73"/>
                  </a:lnTo>
                  <a:lnTo>
                    <a:pt x="155" y="80"/>
                  </a:lnTo>
                  <a:lnTo>
                    <a:pt x="155" y="80"/>
                  </a:lnTo>
                  <a:lnTo>
                    <a:pt x="163" y="85"/>
                  </a:lnTo>
                  <a:lnTo>
                    <a:pt x="169" y="91"/>
                  </a:lnTo>
                  <a:lnTo>
                    <a:pt x="183" y="111"/>
                  </a:lnTo>
                  <a:lnTo>
                    <a:pt x="183" y="111"/>
                  </a:lnTo>
                  <a:lnTo>
                    <a:pt x="186" y="118"/>
                  </a:lnTo>
                  <a:lnTo>
                    <a:pt x="186" y="125"/>
                  </a:lnTo>
                  <a:lnTo>
                    <a:pt x="184" y="131"/>
                  </a:lnTo>
                  <a:lnTo>
                    <a:pt x="181" y="136"/>
                  </a:lnTo>
                  <a:lnTo>
                    <a:pt x="177" y="141"/>
                  </a:lnTo>
                  <a:lnTo>
                    <a:pt x="176" y="148"/>
                  </a:lnTo>
                  <a:lnTo>
                    <a:pt x="176" y="157"/>
                  </a:lnTo>
                  <a:lnTo>
                    <a:pt x="177" y="169"/>
                  </a:lnTo>
                  <a:lnTo>
                    <a:pt x="177" y="16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4" name="Freeform 1967">
              <a:extLst>
                <a:ext uri="{FF2B5EF4-FFF2-40B4-BE49-F238E27FC236}">
                  <a16:creationId xmlns:a16="http://schemas.microsoft.com/office/drawing/2014/main" id="{342AA127-C356-4AC5-ADE6-7496A09386A5}"/>
                </a:ext>
              </a:extLst>
            </p:cNvPr>
            <p:cNvSpPr>
              <a:spLocks/>
            </p:cNvSpPr>
            <p:nvPr/>
          </p:nvSpPr>
          <p:spPr bwMode="auto">
            <a:xfrm>
              <a:off x="5306480" y="1350743"/>
              <a:ext cx="111006" cy="56384"/>
            </a:xfrm>
            <a:custGeom>
              <a:avLst/>
              <a:gdLst/>
              <a:ahLst/>
              <a:cxnLst>
                <a:cxn ang="0">
                  <a:pos x="21" y="21"/>
                </a:cxn>
                <a:cxn ang="0">
                  <a:pos x="21" y="21"/>
                </a:cxn>
                <a:cxn ang="0">
                  <a:pos x="12" y="19"/>
                </a:cxn>
                <a:cxn ang="0">
                  <a:pos x="9" y="16"/>
                </a:cxn>
                <a:cxn ang="0">
                  <a:pos x="7" y="12"/>
                </a:cxn>
                <a:cxn ang="0">
                  <a:pos x="7" y="10"/>
                </a:cxn>
                <a:cxn ang="0">
                  <a:pos x="11" y="9"/>
                </a:cxn>
                <a:cxn ang="0">
                  <a:pos x="16" y="7"/>
                </a:cxn>
                <a:cxn ang="0">
                  <a:pos x="30" y="3"/>
                </a:cxn>
                <a:cxn ang="0">
                  <a:pos x="47" y="2"/>
                </a:cxn>
                <a:cxn ang="0">
                  <a:pos x="65" y="0"/>
                </a:cxn>
                <a:cxn ang="0">
                  <a:pos x="80" y="2"/>
                </a:cxn>
                <a:cxn ang="0">
                  <a:pos x="91" y="2"/>
                </a:cxn>
                <a:cxn ang="0">
                  <a:pos x="91" y="2"/>
                </a:cxn>
                <a:cxn ang="0">
                  <a:pos x="94" y="5"/>
                </a:cxn>
                <a:cxn ang="0">
                  <a:pos x="94" y="7"/>
                </a:cxn>
                <a:cxn ang="0">
                  <a:pos x="87" y="10"/>
                </a:cxn>
                <a:cxn ang="0">
                  <a:pos x="82" y="12"/>
                </a:cxn>
                <a:cxn ang="0">
                  <a:pos x="80" y="14"/>
                </a:cxn>
                <a:cxn ang="0">
                  <a:pos x="82" y="19"/>
                </a:cxn>
                <a:cxn ang="0">
                  <a:pos x="89" y="23"/>
                </a:cxn>
                <a:cxn ang="0">
                  <a:pos x="89" y="23"/>
                </a:cxn>
                <a:cxn ang="0">
                  <a:pos x="98" y="28"/>
                </a:cxn>
                <a:cxn ang="0">
                  <a:pos x="105" y="30"/>
                </a:cxn>
                <a:cxn ang="0">
                  <a:pos x="110" y="30"/>
                </a:cxn>
                <a:cxn ang="0">
                  <a:pos x="115" y="28"/>
                </a:cxn>
                <a:cxn ang="0">
                  <a:pos x="122" y="26"/>
                </a:cxn>
                <a:cxn ang="0">
                  <a:pos x="127" y="26"/>
                </a:cxn>
                <a:cxn ang="0">
                  <a:pos x="134" y="28"/>
                </a:cxn>
                <a:cxn ang="0">
                  <a:pos x="134" y="28"/>
                </a:cxn>
                <a:cxn ang="0">
                  <a:pos x="136" y="30"/>
                </a:cxn>
                <a:cxn ang="0">
                  <a:pos x="138" y="33"/>
                </a:cxn>
                <a:cxn ang="0">
                  <a:pos x="138" y="35"/>
                </a:cxn>
                <a:cxn ang="0">
                  <a:pos x="136" y="36"/>
                </a:cxn>
                <a:cxn ang="0">
                  <a:pos x="131" y="40"/>
                </a:cxn>
                <a:cxn ang="0">
                  <a:pos x="124" y="45"/>
                </a:cxn>
                <a:cxn ang="0">
                  <a:pos x="101" y="54"/>
                </a:cxn>
                <a:cxn ang="0">
                  <a:pos x="77" y="64"/>
                </a:cxn>
                <a:cxn ang="0">
                  <a:pos x="77" y="64"/>
                </a:cxn>
                <a:cxn ang="0">
                  <a:pos x="65" y="70"/>
                </a:cxn>
                <a:cxn ang="0">
                  <a:pos x="58" y="70"/>
                </a:cxn>
                <a:cxn ang="0">
                  <a:pos x="56" y="70"/>
                </a:cxn>
                <a:cxn ang="0">
                  <a:pos x="56" y="68"/>
                </a:cxn>
                <a:cxn ang="0">
                  <a:pos x="58" y="64"/>
                </a:cxn>
                <a:cxn ang="0">
                  <a:pos x="59" y="59"/>
                </a:cxn>
                <a:cxn ang="0">
                  <a:pos x="59" y="56"/>
                </a:cxn>
                <a:cxn ang="0">
                  <a:pos x="58" y="54"/>
                </a:cxn>
                <a:cxn ang="0">
                  <a:pos x="56" y="52"/>
                </a:cxn>
                <a:cxn ang="0">
                  <a:pos x="45" y="52"/>
                </a:cxn>
                <a:cxn ang="0">
                  <a:pos x="45" y="52"/>
                </a:cxn>
                <a:cxn ang="0">
                  <a:pos x="23" y="54"/>
                </a:cxn>
                <a:cxn ang="0">
                  <a:pos x="7" y="56"/>
                </a:cxn>
                <a:cxn ang="0">
                  <a:pos x="2" y="54"/>
                </a:cxn>
                <a:cxn ang="0">
                  <a:pos x="0" y="52"/>
                </a:cxn>
                <a:cxn ang="0">
                  <a:pos x="4" y="49"/>
                </a:cxn>
                <a:cxn ang="0">
                  <a:pos x="9" y="43"/>
                </a:cxn>
                <a:cxn ang="0">
                  <a:pos x="9" y="43"/>
                </a:cxn>
                <a:cxn ang="0">
                  <a:pos x="21" y="33"/>
                </a:cxn>
                <a:cxn ang="0">
                  <a:pos x="26" y="28"/>
                </a:cxn>
                <a:cxn ang="0">
                  <a:pos x="26" y="26"/>
                </a:cxn>
                <a:cxn ang="0">
                  <a:pos x="26" y="24"/>
                </a:cxn>
                <a:cxn ang="0">
                  <a:pos x="21" y="21"/>
                </a:cxn>
                <a:cxn ang="0">
                  <a:pos x="21" y="21"/>
                </a:cxn>
              </a:cxnLst>
              <a:rect l="0" t="0" r="r" b="b"/>
              <a:pathLst>
                <a:path w="138" h="70">
                  <a:moveTo>
                    <a:pt x="21" y="21"/>
                  </a:moveTo>
                  <a:lnTo>
                    <a:pt x="21" y="21"/>
                  </a:lnTo>
                  <a:lnTo>
                    <a:pt x="12" y="19"/>
                  </a:lnTo>
                  <a:lnTo>
                    <a:pt x="9" y="16"/>
                  </a:lnTo>
                  <a:lnTo>
                    <a:pt x="7" y="12"/>
                  </a:lnTo>
                  <a:lnTo>
                    <a:pt x="7" y="10"/>
                  </a:lnTo>
                  <a:lnTo>
                    <a:pt x="11" y="9"/>
                  </a:lnTo>
                  <a:lnTo>
                    <a:pt x="16" y="7"/>
                  </a:lnTo>
                  <a:lnTo>
                    <a:pt x="30" y="3"/>
                  </a:lnTo>
                  <a:lnTo>
                    <a:pt x="47" y="2"/>
                  </a:lnTo>
                  <a:lnTo>
                    <a:pt x="65" y="0"/>
                  </a:lnTo>
                  <a:lnTo>
                    <a:pt x="80" y="2"/>
                  </a:lnTo>
                  <a:lnTo>
                    <a:pt x="91" y="2"/>
                  </a:lnTo>
                  <a:lnTo>
                    <a:pt x="91" y="2"/>
                  </a:lnTo>
                  <a:lnTo>
                    <a:pt x="94" y="5"/>
                  </a:lnTo>
                  <a:lnTo>
                    <a:pt x="94" y="7"/>
                  </a:lnTo>
                  <a:lnTo>
                    <a:pt x="87" y="10"/>
                  </a:lnTo>
                  <a:lnTo>
                    <a:pt x="82" y="12"/>
                  </a:lnTo>
                  <a:lnTo>
                    <a:pt x="80" y="14"/>
                  </a:lnTo>
                  <a:lnTo>
                    <a:pt x="82" y="19"/>
                  </a:lnTo>
                  <a:lnTo>
                    <a:pt x="89" y="23"/>
                  </a:lnTo>
                  <a:lnTo>
                    <a:pt x="89" y="23"/>
                  </a:lnTo>
                  <a:lnTo>
                    <a:pt x="98" y="28"/>
                  </a:lnTo>
                  <a:lnTo>
                    <a:pt x="105" y="30"/>
                  </a:lnTo>
                  <a:lnTo>
                    <a:pt x="110" y="30"/>
                  </a:lnTo>
                  <a:lnTo>
                    <a:pt x="115" y="28"/>
                  </a:lnTo>
                  <a:lnTo>
                    <a:pt x="122" y="26"/>
                  </a:lnTo>
                  <a:lnTo>
                    <a:pt x="127" y="26"/>
                  </a:lnTo>
                  <a:lnTo>
                    <a:pt x="134" y="28"/>
                  </a:lnTo>
                  <a:lnTo>
                    <a:pt x="134" y="28"/>
                  </a:lnTo>
                  <a:lnTo>
                    <a:pt x="136" y="30"/>
                  </a:lnTo>
                  <a:lnTo>
                    <a:pt x="138" y="33"/>
                  </a:lnTo>
                  <a:lnTo>
                    <a:pt x="138" y="35"/>
                  </a:lnTo>
                  <a:lnTo>
                    <a:pt x="136" y="36"/>
                  </a:lnTo>
                  <a:lnTo>
                    <a:pt x="131" y="40"/>
                  </a:lnTo>
                  <a:lnTo>
                    <a:pt x="124" y="45"/>
                  </a:lnTo>
                  <a:lnTo>
                    <a:pt x="101" y="54"/>
                  </a:lnTo>
                  <a:lnTo>
                    <a:pt x="77" y="64"/>
                  </a:lnTo>
                  <a:lnTo>
                    <a:pt x="77" y="64"/>
                  </a:lnTo>
                  <a:lnTo>
                    <a:pt x="65" y="70"/>
                  </a:lnTo>
                  <a:lnTo>
                    <a:pt x="58" y="70"/>
                  </a:lnTo>
                  <a:lnTo>
                    <a:pt x="56" y="70"/>
                  </a:lnTo>
                  <a:lnTo>
                    <a:pt x="56" y="68"/>
                  </a:lnTo>
                  <a:lnTo>
                    <a:pt x="58" y="64"/>
                  </a:lnTo>
                  <a:lnTo>
                    <a:pt x="59" y="59"/>
                  </a:lnTo>
                  <a:lnTo>
                    <a:pt x="59" y="56"/>
                  </a:lnTo>
                  <a:lnTo>
                    <a:pt x="58" y="54"/>
                  </a:lnTo>
                  <a:lnTo>
                    <a:pt x="56" y="52"/>
                  </a:lnTo>
                  <a:lnTo>
                    <a:pt x="45" y="52"/>
                  </a:lnTo>
                  <a:lnTo>
                    <a:pt x="45" y="52"/>
                  </a:lnTo>
                  <a:lnTo>
                    <a:pt x="23" y="54"/>
                  </a:lnTo>
                  <a:lnTo>
                    <a:pt x="7" y="56"/>
                  </a:lnTo>
                  <a:lnTo>
                    <a:pt x="2" y="54"/>
                  </a:lnTo>
                  <a:lnTo>
                    <a:pt x="0" y="52"/>
                  </a:lnTo>
                  <a:lnTo>
                    <a:pt x="4" y="49"/>
                  </a:lnTo>
                  <a:lnTo>
                    <a:pt x="9" y="43"/>
                  </a:lnTo>
                  <a:lnTo>
                    <a:pt x="9" y="43"/>
                  </a:lnTo>
                  <a:lnTo>
                    <a:pt x="21" y="33"/>
                  </a:lnTo>
                  <a:lnTo>
                    <a:pt x="26" y="28"/>
                  </a:lnTo>
                  <a:lnTo>
                    <a:pt x="26" y="26"/>
                  </a:lnTo>
                  <a:lnTo>
                    <a:pt x="26" y="24"/>
                  </a:lnTo>
                  <a:lnTo>
                    <a:pt x="21" y="21"/>
                  </a:lnTo>
                  <a:lnTo>
                    <a:pt x="21"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5" name="Freeform 1968">
              <a:extLst>
                <a:ext uri="{FF2B5EF4-FFF2-40B4-BE49-F238E27FC236}">
                  <a16:creationId xmlns:a16="http://schemas.microsoft.com/office/drawing/2014/main" id="{265818FF-2F3C-4D51-8ACD-78C5B4A8D078}"/>
                </a:ext>
              </a:extLst>
            </p:cNvPr>
            <p:cNvSpPr>
              <a:spLocks/>
            </p:cNvSpPr>
            <p:nvPr/>
          </p:nvSpPr>
          <p:spPr bwMode="auto">
            <a:xfrm>
              <a:off x="8317735" y="3294236"/>
              <a:ext cx="7048" cy="5284"/>
            </a:xfrm>
            <a:custGeom>
              <a:avLst/>
              <a:gdLst/>
              <a:ahLst/>
              <a:cxnLst>
                <a:cxn ang="0">
                  <a:pos x="5" y="8"/>
                </a:cxn>
                <a:cxn ang="0">
                  <a:pos x="5" y="8"/>
                </a:cxn>
                <a:cxn ang="0">
                  <a:pos x="2" y="3"/>
                </a:cxn>
                <a:cxn ang="0">
                  <a:pos x="0" y="2"/>
                </a:cxn>
                <a:cxn ang="0">
                  <a:pos x="2" y="0"/>
                </a:cxn>
                <a:cxn ang="0">
                  <a:pos x="2" y="0"/>
                </a:cxn>
                <a:cxn ang="0">
                  <a:pos x="5" y="0"/>
                </a:cxn>
                <a:cxn ang="0">
                  <a:pos x="7" y="2"/>
                </a:cxn>
                <a:cxn ang="0">
                  <a:pos x="9" y="3"/>
                </a:cxn>
                <a:cxn ang="0">
                  <a:pos x="9" y="3"/>
                </a:cxn>
                <a:cxn ang="0">
                  <a:pos x="9" y="7"/>
                </a:cxn>
                <a:cxn ang="0">
                  <a:pos x="7" y="8"/>
                </a:cxn>
                <a:cxn ang="0">
                  <a:pos x="5" y="8"/>
                </a:cxn>
                <a:cxn ang="0">
                  <a:pos x="5" y="8"/>
                </a:cxn>
              </a:cxnLst>
              <a:rect l="0" t="0" r="r" b="b"/>
              <a:pathLst>
                <a:path w="9" h="8">
                  <a:moveTo>
                    <a:pt x="5" y="8"/>
                  </a:moveTo>
                  <a:lnTo>
                    <a:pt x="5" y="8"/>
                  </a:lnTo>
                  <a:lnTo>
                    <a:pt x="2" y="3"/>
                  </a:lnTo>
                  <a:lnTo>
                    <a:pt x="0" y="2"/>
                  </a:lnTo>
                  <a:lnTo>
                    <a:pt x="2" y="0"/>
                  </a:lnTo>
                  <a:lnTo>
                    <a:pt x="2" y="0"/>
                  </a:lnTo>
                  <a:lnTo>
                    <a:pt x="5" y="0"/>
                  </a:lnTo>
                  <a:lnTo>
                    <a:pt x="7" y="2"/>
                  </a:lnTo>
                  <a:lnTo>
                    <a:pt x="9" y="3"/>
                  </a:lnTo>
                  <a:lnTo>
                    <a:pt x="9" y="3"/>
                  </a:lnTo>
                  <a:lnTo>
                    <a:pt x="9" y="7"/>
                  </a:lnTo>
                  <a:lnTo>
                    <a:pt x="7" y="8"/>
                  </a:lnTo>
                  <a:lnTo>
                    <a:pt x="5" y="8"/>
                  </a:lnTo>
                  <a:lnTo>
                    <a:pt x="5"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6" name="Freeform 1969">
              <a:extLst>
                <a:ext uri="{FF2B5EF4-FFF2-40B4-BE49-F238E27FC236}">
                  <a16:creationId xmlns:a16="http://schemas.microsoft.com/office/drawing/2014/main" id="{5DA32A5C-D6E6-4D1F-B903-3D0011D506AA}"/>
                </a:ext>
              </a:extLst>
            </p:cNvPr>
            <p:cNvSpPr>
              <a:spLocks/>
            </p:cNvSpPr>
            <p:nvPr/>
          </p:nvSpPr>
          <p:spPr bwMode="auto">
            <a:xfrm>
              <a:off x="6964522" y="4182285"/>
              <a:ext cx="59908" cy="133913"/>
            </a:xfrm>
            <a:custGeom>
              <a:avLst/>
              <a:gdLst/>
              <a:ahLst/>
              <a:cxnLst>
                <a:cxn ang="0">
                  <a:pos x="18" y="158"/>
                </a:cxn>
                <a:cxn ang="0">
                  <a:pos x="7" y="141"/>
                </a:cxn>
                <a:cxn ang="0">
                  <a:pos x="4" y="122"/>
                </a:cxn>
                <a:cxn ang="0">
                  <a:pos x="2" y="82"/>
                </a:cxn>
                <a:cxn ang="0">
                  <a:pos x="0" y="69"/>
                </a:cxn>
                <a:cxn ang="0">
                  <a:pos x="2" y="61"/>
                </a:cxn>
                <a:cxn ang="0">
                  <a:pos x="5" y="66"/>
                </a:cxn>
                <a:cxn ang="0">
                  <a:pos x="5" y="68"/>
                </a:cxn>
                <a:cxn ang="0">
                  <a:pos x="7" y="61"/>
                </a:cxn>
                <a:cxn ang="0">
                  <a:pos x="9" y="43"/>
                </a:cxn>
                <a:cxn ang="0">
                  <a:pos x="9" y="38"/>
                </a:cxn>
                <a:cxn ang="0">
                  <a:pos x="14" y="26"/>
                </a:cxn>
                <a:cxn ang="0">
                  <a:pos x="14" y="17"/>
                </a:cxn>
                <a:cxn ang="0">
                  <a:pos x="11" y="5"/>
                </a:cxn>
                <a:cxn ang="0">
                  <a:pos x="7" y="2"/>
                </a:cxn>
                <a:cxn ang="0">
                  <a:pos x="11" y="0"/>
                </a:cxn>
                <a:cxn ang="0">
                  <a:pos x="23" y="2"/>
                </a:cxn>
                <a:cxn ang="0">
                  <a:pos x="30" y="9"/>
                </a:cxn>
                <a:cxn ang="0">
                  <a:pos x="40" y="24"/>
                </a:cxn>
                <a:cxn ang="0">
                  <a:pos x="47" y="38"/>
                </a:cxn>
                <a:cxn ang="0">
                  <a:pos x="54" y="49"/>
                </a:cxn>
                <a:cxn ang="0">
                  <a:pos x="65" y="73"/>
                </a:cxn>
                <a:cxn ang="0">
                  <a:pos x="68" y="82"/>
                </a:cxn>
                <a:cxn ang="0">
                  <a:pos x="72" y="89"/>
                </a:cxn>
                <a:cxn ang="0">
                  <a:pos x="75" y="97"/>
                </a:cxn>
                <a:cxn ang="0">
                  <a:pos x="77" y="101"/>
                </a:cxn>
                <a:cxn ang="0">
                  <a:pos x="77" y="122"/>
                </a:cxn>
                <a:cxn ang="0">
                  <a:pos x="73" y="137"/>
                </a:cxn>
                <a:cxn ang="0">
                  <a:pos x="63" y="150"/>
                </a:cxn>
                <a:cxn ang="0">
                  <a:pos x="51" y="157"/>
                </a:cxn>
                <a:cxn ang="0">
                  <a:pos x="35" y="165"/>
                </a:cxn>
                <a:cxn ang="0">
                  <a:pos x="25" y="164"/>
                </a:cxn>
                <a:cxn ang="0">
                  <a:pos x="18" y="158"/>
                </a:cxn>
              </a:cxnLst>
              <a:rect l="0" t="0" r="r" b="b"/>
              <a:pathLst>
                <a:path w="77" h="165">
                  <a:moveTo>
                    <a:pt x="18" y="158"/>
                  </a:moveTo>
                  <a:lnTo>
                    <a:pt x="18" y="158"/>
                  </a:lnTo>
                  <a:lnTo>
                    <a:pt x="12" y="151"/>
                  </a:lnTo>
                  <a:lnTo>
                    <a:pt x="7" y="141"/>
                  </a:lnTo>
                  <a:lnTo>
                    <a:pt x="5" y="132"/>
                  </a:lnTo>
                  <a:lnTo>
                    <a:pt x="4" y="122"/>
                  </a:lnTo>
                  <a:lnTo>
                    <a:pt x="4" y="101"/>
                  </a:lnTo>
                  <a:lnTo>
                    <a:pt x="2" y="82"/>
                  </a:lnTo>
                  <a:lnTo>
                    <a:pt x="2" y="82"/>
                  </a:lnTo>
                  <a:lnTo>
                    <a:pt x="0" y="69"/>
                  </a:lnTo>
                  <a:lnTo>
                    <a:pt x="2" y="63"/>
                  </a:lnTo>
                  <a:lnTo>
                    <a:pt x="2" y="61"/>
                  </a:lnTo>
                  <a:lnTo>
                    <a:pt x="4" y="61"/>
                  </a:lnTo>
                  <a:lnTo>
                    <a:pt x="5" y="66"/>
                  </a:lnTo>
                  <a:lnTo>
                    <a:pt x="5" y="66"/>
                  </a:lnTo>
                  <a:lnTo>
                    <a:pt x="5" y="68"/>
                  </a:lnTo>
                  <a:lnTo>
                    <a:pt x="5" y="66"/>
                  </a:lnTo>
                  <a:lnTo>
                    <a:pt x="7" y="61"/>
                  </a:lnTo>
                  <a:lnTo>
                    <a:pt x="9" y="50"/>
                  </a:lnTo>
                  <a:lnTo>
                    <a:pt x="9" y="43"/>
                  </a:lnTo>
                  <a:lnTo>
                    <a:pt x="9" y="43"/>
                  </a:lnTo>
                  <a:lnTo>
                    <a:pt x="9" y="38"/>
                  </a:lnTo>
                  <a:lnTo>
                    <a:pt x="12" y="33"/>
                  </a:lnTo>
                  <a:lnTo>
                    <a:pt x="14" y="26"/>
                  </a:lnTo>
                  <a:lnTo>
                    <a:pt x="14" y="17"/>
                  </a:lnTo>
                  <a:lnTo>
                    <a:pt x="14" y="17"/>
                  </a:lnTo>
                  <a:lnTo>
                    <a:pt x="12" y="10"/>
                  </a:lnTo>
                  <a:lnTo>
                    <a:pt x="11" y="5"/>
                  </a:lnTo>
                  <a:lnTo>
                    <a:pt x="7" y="3"/>
                  </a:lnTo>
                  <a:lnTo>
                    <a:pt x="7" y="2"/>
                  </a:lnTo>
                  <a:lnTo>
                    <a:pt x="7" y="2"/>
                  </a:lnTo>
                  <a:lnTo>
                    <a:pt x="11" y="0"/>
                  </a:lnTo>
                  <a:lnTo>
                    <a:pt x="16" y="0"/>
                  </a:lnTo>
                  <a:lnTo>
                    <a:pt x="23" y="2"/>
                  </a:lnTo>
                  <a:lnTo>
                    <a:pt x="30" y="9"/>
                  </a:lnTo>
                  <a:lnTo>
                    <a:pt x="30" y="9"/>
                  </a:lnTo>
                  <a:lnTo>
                    <a:pt x="37" y="17"/>
                  </a:lnTo>
                  <a:lnTo>
                    <a:pt x="40" y="24"/>
                  </a:lnTo>
                  <a:lnTo>
                    <a:pt x="42" y="31"/>
                  </a:lnTo>
                  <a:lnTo>
                    <a:pt x="47" y="38"/>
                  </a:lnTo>
                  <a:lnTo>
                    <a:pt x="47" y="38"/>
                  </a:lnTo>
                  <a:lnTo>
                    <a:pt x="54" y="49"/>
                  </a:lnTo>
                  <a:lnTo>
                    <a:pt x="59" y="61"/>
                  </a:lnTo>
                  <a:lnTo>
                    <a:pt x="65" y="73"/>
                  </a:lnTo>
                  <a:lnTo>
                    <a:pt x="68" y="82"/>
                  </a:lnTo>
                  <a:lnTo>
                    <a:pt x="68" y="82"/>
                  </a:lnTo>
                  <a:lnTo>
                    <a:pt x="72" y="85"/>
                  </a:lnTo>
                  <a:lnTo>
                    <a:pt x="72" y="89"/>
                  </a:lnTo>
                  <a:lnTo>
                    <a:pt x="72" y="92"/>
                  </a:lnTo>
                  <a:lnTo>
                    <a:pt x="75" y="97"/>
                  </a:lnTo>
                  <a:lnTo>
                    <a:pt x="75" y="97"/>
                  </a:lnTo>
                  <a:lnTo>
                    <a:pt x="77" y="101"/>
                  </a:lnTo>
                  <a:lnTo>
                    <a:pt x="77" y="106"/>
                  </a:lnTo>
                  <a:lnTo>
                    <a:pt x="77" y="122"/>
                  </a:lnTo>
                  <a:lnTo>
                    <a:pt x="75" y="130"/>
                  </a:lnTo>
                  <a:lnTo>
                    <a:pt x="73" y="137"/>
                  </a:lnTo>
                  <a:lnTo>
                    <a:pt x="68" y="144"/>
                  </a:lnTo>
                  <a:lnTo>
                    <a:pt x="63" y="150"/>
                  </a:lnTo>
                  <a:lnTo>
                    <a:pt x="63" y="150"/>
                  </a:lnTo>
                  <a:lnTo>
                    <a:pt x="51" y="157"/>
                  </a:lnTo>
                  <a:lnTo>
                    <a:pt x="40" y="164"/>
                  </a:lnTo>
                  <a:lnTo>
                    <a:pt x="35" y="165"/>
                  </a:lnTo>
                  <a:lnTo>
                    <a:pt x="30" y="165"/>
                  </a:lnTo>
                  <a:lnTo>
                    <a:pt x="25" y="164"/>
                  </a:lnTo>
                  <a:lnTo>
                    <a:pt x="18" y="158"/>
                  </a:lnTo>
                  <a:lnTo>
                    <a:pt x="18" y="1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7" name="Freeform 1970">
              <a:extLst>
                <a:ext uri="{FF2B5EF4-FFF2-40B4-BE49-F238E27FC236}">
                  <a16:creationId xmlns:a16="http://schemas.microsoft.com/office/drawing/2014/main" id="{75CD5395-52C0-406A-8882-41BAB0F76C56}"/>
                </a:ext>
              </a:extLst>
            </p:cNvPr>
            <p:cNvSpPr>
              <a:spLocks/>
            </p:cNvSpPr>
            <p:nvPr/>
          </p:nvSpPr>
          <p:spPr bwMode="auto">
            <a:xfrm>
              <a:off x="5919655" y="3865127"/>
              <a:ext cx="296017" cy="223773"/>
            </a:xfrm>
            <a:custGeom>
              <a:avLst/>
              <a:gdLst/>
              <a:ahLst/>
              <a:cxnLst>
                <a:cxn ang="0">
                  <a:pos x="327" y="10"/>
                </a:cxn>
                <a:cxn ang="0">
                  <a:pos x="325" y="21"/>
                </a:cxn>
                <a:cxn ang="0">
                  <a:pos x="351" y="66"/>
                </a:cxn>
                <a:cxn ang="0">
                  <a:pos x="353" y="75"/>
                </a:cxn>
                <a:cxn ang="0">
                  <a:pos x="355" y="85"/>
                </a:cxn>
                <a:cxn ang="0">
                  <a:pos x="367" y="103"/>
                </a:cxn>
                <a:cxn ang="0">
                  <a:pos x="341" y="122"/>
                </a:cxn>
                <a:cxn ang="0">
                  <a:pos x="337" y="146"/>
                </a:cxn>
                <a:cxn ang="0">
                  <a:pos x="330" y="153"/>
                </a:cxn>
                <a:cxn ang="0">
                  <a:pos x="313" y="162"/>
                </a:cxn>
                <a:cxn ang="0">
                  <a:pos x="287" y="171"/>
                </a:cxn>
                <a:cxn ang="0">
                  <a:pos x="266" y="183"/>
                </a:cxn>
                <a:cxn ang="0">
                  <a:pos x="261" y="183"/>
                </a:cxn>
                <a:cxn ang="0">
                  <a:pos x="240" y="188"/>
                </a:cxn>
                <a:cxn ang="0">
                  <a:pos x="217" y="211"/>
                </a:cxn>
                <a:cxn ang="0">
                  <a:pos x="200" y="219"/>
                </a:cxn>
                <a:cxn ang="0">
                  <a:pos x="188" y="218"/>
                </a:cxn>
                <a:cxn ang="0">
                  <a:pos x="160" y="235"/>
                </a:cxn>
                <a:cxn ang="0">
                  <a:pos x="125" y="244"/>
                </a:cxn>
                <a:cxn ang="0">
                  <a:pos x="109" y="244"/>
                </a:cxn>
                <a:cxn ang="0">
                  <a:pos x="99" y="258"/>
                </a:cxn>
                <a:cxn ang="0">
                  <a:pos x="94" y="261"/>
                </a:cxn>
                <a:cxn ang="0">
                  <a:pos x="87" y="268"/>
                </a:cxn>
                <a:cxn ang="0">
                  <a:pos x="80" y="271"/>
                </a:cxn>
                <a:cxn ang="0">
                  <a:pos x="67" y="271"/>
                </a:cxn>
                <a:cxn ang="0">
                  <a:pos x="59" y="277"/>
                </a:cxn>
                <a:cxn ang="0">
                  <a:pos x="52" y="278"/>
                </a:cxn>
                <a:cxn ang="0">
                  <a:pos x="43" y="277"/>
                </a:cxn>
                <a:cxn ang="0">
                  <a:pos x="34" y="275"/>
                </a:cxn>
                <a:cxn ang="0">
                  <a:pos x="27" y="266"/>
                </a:cxn>
                <a:cxn ang="0">
                  <a:pos x="22" y="252"/>
                </a:cxn>
                <a:cxn ang="0">
                  <a:pos x="22" y="240"/>
                </a:cxn>
                <a:cxn ang="0">
                  <a:pos x="19" y="224"/>
                </a:cxn>
                <a:cxn ang="0">
                  <a:pos x="13" y="204"/>
                </a:cxn>
                <a:cxn ang="0">
                  <a:pos x="8" y="181"/>
                </a:cxn>
                <a:cxn ang="0">
                  <a:pos x="7" y="172"/>
                </a:cxn>
                <a:cxn ang="0">
                  <a:pos x="0" y="165"/>
                </a:cxn>
                <a:cxn ang="0">
                  <a:pos x="5" y="160"/>
                </a:cxn>
                <a:cxn ang="0">
                  <a:pos x="1" y="150"/>
                </a:cxn>
                <a:cxn ang="0">
                  <a:pos x="1" y="143"/>
                </a:cxn>
                <a:cxn ang="0">
                  <a:pos x="7" y="115"/>
                </a:cxn>
                <a:cxn ang="0">
                  <a:pos x="22" y="97"/>
                </a:cxn>
                <a:cxn ang="0">
                  <a:pos x="19" y="90"/>
                </a:cxn>
                <a:cxn ang="0">
                  <a:pos x="22" y="76"/>
                </a:cxn>
                <a:cxn ang="0">
                  <a:pos x="22" y="75"/>
                </a:cxn>
                <a:cxn ang="0">
                  <a:pos x="26" y="66"/>
                </a:cxn>
                <a:cxn ang="0">
                  <a:pos x="33" y="66"/>
                </a:cxn>
                <a:cxn ang="0">
                  <a:pos x="41" y="73"/>
                </a:cxn>
                <a:cxn ang="0">
                  <a:pos x="45" y="73"/>
                </a:cxn>
                <a:cxn ang="0">
                  <a:pos x="47" y="75"/>
                </a:cxn>
                <a:cxn ang="0">
                  <a:pos x="54" y="70"/>
                </a:cxn>
                <a:cxn ang="0">
                  <a:pos x="94" y="83"/>
                </a:cxn>
                <a:cxn ang="0">
                  <a:pos x="130" y="103"/>
                </a:cxn>
                <a:cxn ang="0">
                  <a:pos x="130" y="148"/>
                </a:cxn>
                <a:cxn ang="0">
                  <a:pos x="191" y="66"/>
                </a:cxn>
                <a:cxn ang="0">
                  <a:pos x="215" y="33"/>
                </a:cxn>
                <a:cxn ang="0">
                  <a:pos x="245" y="24"/>
                </a:cxn>
                <a:cxn ang="0">
                  <a:pos x="329" y="0"/>
                </a:cxn>
              </a:cxnLst>
              <a:rect l="0" t="0" r="r" b="b"/>
              <a:pathLst>
                <a:path w="367" h="280">
                  <a:moveTo>
                    <a:pt x="329" y="0"/>
                  </a:moveTo>
                  <a:lnTo>
                    <a:pt x="329" y="0"/>
                  </a:lnTo>
                  <a:lnTo>
                    <a:pt x="327" y="10"/>
                  </a:lnTo>
                  <a:lnTo>
                    <a:pt x="325" y="16"/>
                  </a:lnTo>
                  <a:lnTo>
                    <a:pt x="325" y="21"/>
                  </a:lnTo>
                  <a:lnTo>
                    <a:pt x="325" y="21"/>
                  </a:lnTo>
                  <a:lnTo>
                    <a:pt x="330" y="31"/>
                  </a:lnTo>
                  <a:lnTo>
                    <a:pt x="337" y="43"/>
                  </a:lnTo>
                  <a:lnTo>
                    <a:pt x="351" y="66"/>
                  </a:lnTo>
                  <a:lnTo>
                    <a:pt x="351" y="66"/>
                  </a:lnTo>
                  <a:lnTo>
                    <a:pt x="353" y="71"/>
                  </a:lnTo>
                  <a:lnTo>
                    <a:pt x="353" y="75"/>
                  </a:lnTo>
                  <a:lnTo>
                    <a:pt x="353" y="80"/>
                  </a:lnTo>
                  <a:lnTo>
                    <a:pt x="355" y="85"/>
                  </a:lnTo>
                  <a:lnTo>
                    <a:pt x="355" y="85"/>
                  </a:lnTo>
                  <a:lnTo>
                    <a:pt x="356" y="89"/>
                  </a:lnTo>
                  <a:lnTo>
                    <a:pt x="360" y="94"/>
                  </a:lnTo>
                  <a:lnTo>
                    <a:pt x="367" y="103"/>
                  </a:lnTo>
                  <a:lnTo>
                    <a:pt x="367" y="103"/>
                  </a:lnTo>
                  <a:lnTo>
                    <a:pt x="351" y="113"/>
                  </a:lnTo>
                  <a:lnTo>
                    <a:pt x="341" y="122"/>
                  </a:lnTo>
                  <a:lnTo>
                    <a:pt x="337" y="129"/>
                  </a:lnTo>
                  <a:lnTo>
                    <a:pt x="337" y="136"/>
                  </a:lnTo>
                  <a:lnTo>
                    <a:pt x="337" y="146"/>
                  </a:lnTo>
                  <a:lnTo>
                    <a:pt x="336" y="150"/>
                  </a:lnTo>
                  <a:lnTo>
                    <a:pt x="330" y="153"/>
                  </a:lnTo>
                  <a:lnTo>
                    <a:pt x="330" y="153"/>
                  </a:lnTo>
                  <a:lnTo>
                    <a:pt x="322" y="155"/>
                  </a:lnTo>
                  <a:lnTo>
                    <a:pt x="320" y="158"/>
                  </a:lnTo>
                  <a:lnTo>
                    <a:pt x="313" y="162"/>
                  </a:lnTo>
                  <a:lnTo>
                    <a:pt x="296" y="167"/>
                  </a:lnTo>
                  <a:lnTo>
                    <a:pt x="296" y="167"/>
                  </a:lnTo>
                  <a:lnTo>
                    <a:pt x="287" y="171"/>
                  </a:lnTo>
                  <a:lnTo>
                    <a:pt x="280" y="172"/>
                  </a:lnTo>
                  <a:lnTo>
                    <a:pt x="271" y="179"/>
                  </a:lnTo>
                  <a:lnTo>
                    <a:pt x="266" y="183"/>
                  </a:lnTo>
                  <a:lnTo>
                    <a:pt x="264" y="183"/>
                  </a:lnTo>
                  <a:lnTo>
                    <a:pt x="261" y="183"/>
                  </a:lnTo>
                  <a:lnTo>
                    <a:pt x="261" y="183"/>
                  </a:lnTo>
                  <a:lnTo>
                    <a:pt x="254" y="183"/>
                  </a:lnTo>
                  <a:lnTo>
                    <a:pt x="249" y="184"/>
                  </a:lnTo>
                  <a:lnTo>
                    <a:pt x="240" y="188"/>
                  </a:lnTo>
                  <a:lnTo>
                    <a:pt x="231" y="195"/>
                  </a:lnTo>
                  <a:lnTo>
                    <a:pt x="224" y="202"/>
                  </a:lnTo>
                  <a:lnTo>
                    <a:pt x="217" y="211"/>
                  </a:lnTo>
                  <a:lnTo>
                    <a:pt x="210" y="216"/>
                  </a:lnTo>
                  <a:lnTo>
                    <a:pt x="203" y="219"/>
                  </a:lnTo>
                  <a:lnTo>
                    <a:pt x="200" y="219"/>
                  </a:lnTo>
                  <a:lnTo>
                    <a:pt x="195" y="218"/>
                  </a:lnTo>
                  <a:lnTo>
                    <a:pt x="195" y="218"/>
                  </a:lnTo>
                  <a:lnTo>
                    <a:pt x="188" y="218"/>
                  </a:lnTo>
                  <a:lnTo>
                    <a:pt x="182" y="219"/>
                  </a:lnTo>
                  <a:lnTo>
                    <a:pt x="168" y="230"/>
                  </a:lnTo>
                  <a:lnTo>
                    <a:pt x="160" y="235"/>
                  </a:lnTo>
                  <a:lnTo>
                    <a:pt x="151" y="240"/>
                  </a:lnTo>
                  <a:lnTo>
                    <a:pt x="139" y="244"/>
                  </a:lnTo>
                  <a:lnTo>
                    <a:pt x="125" y="244"/>
                  </a:lnTo>
                  <a:lnTo>
                    <a:pt x="125" y="244"/>
                  </a:lnTo>
                  <a:lnTo>
                    <a:pt x="116" y="242"/>
                  </a:lnTo>
                  <a:lnTo>
                    <a:pt x="109" y="244"/>
                  </a:lnTo>
                  <a:lnTo>
                    <a:pt x="106" y="247"/>
                  </a:lnTo>
                  <a:lnTo>
                    <a:pt x="102" y="251"/>
                  </a:lnTo>
                  <a:lnTo>
                    <a:pt x="99" y="258"/>
                  </a:lnTo>
                  <a:lnTo>
                    <a:pt x="97" y="261"/>
                  </a:lnTo>
                  <a:lnTo>
                    <a:pt x="94" y="261"/>
                  </a:lnTo>
                  <a:lnTo>
                    <a:pt x="94" y="261"/>
                  </a:lnTo>
                  <a:lnTo>
                    <a:pt x="90" y="263"/>
                  </a:lnTo>
                  <a:lnTo>
                    <a:pt x="88" y="265"/>
                  </a:lnTo>
                  <a:lnTo>
                    <a:pt x="87" y="268"/>
                  </a:lnTo>
                  <a:lnTo>
                    <a:pt x="85" y="270"/>
                  </a:lnTo>
                  <a:lnTo>
                    <a:pt x="83" y="271"/>
                  </a:lnTo>
                  <a:lnTo>
                    <a:pt x="80" y="271"/>
                  </a:lnTo>
                  <a:lnTo>
                    <a:pt x="74" y="271"/>
                  </a:lnTo>
                  <a:lnTo>
                    <a:pt x="74" y="271"/>
                  </a:lnTo>
                  <a:lnTo>
                    <a:pt x="67" y="271"/>
                  </a:lnTo>
                  <a:lnTo>
                    <a:pt x="66" y="273"/>
                  </a:lnTo>
                  <a:lnTo>
                    <a:pt x="62" y="275"/>
                  </a:lnTo>
                  <a:lnTo>
                    <a:pt x="59" y="277"/>
                  </a:lnTo>
                  <a:lnTo>
                    <a:pt x="59" y="277"/>
                  </a:lnTo>
                  <a:lnTo>
                    <a:pt x="55" y="277"/>
                  </a:lnTo>
                  <a:lnTo>
                    <a:pt x="52" y="278"/>
                  </a:lnTo>
                  <a:lnTo>
                    <a:pt x="48" y="280"/>
                  </a:lnTo>
                  <a:lnTo>
                    <a:pt x="43" y="277"/>
                  </a:lnTo>
                  <a:lnTo>
                    <a:pt x="43" y="277"/>
                  </a:lnTo>
                  <a:lnTo>
                    <a:pt x="41" y="275"/>
                  </a:lnTo>
                  <a:lnTo>
                    <a:pt x="38" y="273"/>
                  </a:lnTo>
                  <a:lnTo>
                    <a:pt x="34" y="275"/>
                  </a:lnTo>
                  <a:lnTo>
                    <a:pt x="33" y="275"/>
                  </a:lnTo>
                  <a:lnTo>
                    <a:pt x="31" y="273"/>
                  </a:lnTo>
                  <a:lnTo>
                    <a:pt x="27" y="266"/>
                  </a:lnTo>
                  <a:lnTo>
                    <a:pt x="27" y="266"/>
                  </a:lnTo>
                  <a:lnTo>
                    <a:pt x="24" y="258"/>
                  </a:lnTo>
                  <a:lnTo>
                    <a:pt x="22" y="252"/>
                  </a:lnTo>
                  <a:lnTo>
                    <a:pt x="22" y="247"/>
                  </a:lnTo>
                  <a:lnTo>
                    <a:pt x="22" y="240"/>
                  </a:lnTo>
                  <a:lnTo>
                    <a:pt x="22" y="240"/>
                  </a:lnTo>
                  <a:lnTo>
                    <a:pt x="22" y="237"/>
                  </a:lnTo>
                  <a:lnTo>
                    <a:pt x="22" y="231"/>
                  </a:lnTo>
                  <a:lnTo>
                    <a:pt x="19" y="224"/>
                  </a:lnTo>
                  <a:lnTo>
                    <a:pt x="15" y="214"/>
                  </a:lnTo>
                  <a:lnTo>
                    <a:pt x="13" y="204"/>
                  </a:lnTo>
                  <a:lnTo>
                    <a:pt x="13" y="204"/>
                  </a:lnTo>
                  <a:lnTo>
                    <a:pt x="13" y="193"/>
                  </a:lnTo>
                  <a:lnTo>
                    <a:pt x="10" y="186"/>
                  </a:lnTo>
                  <a:lnTo>
                    <a:pt x="8" y="181"/>
                  </a:lnTo>
                  <a:lnTo>
                    <a:pt x="8" y="176"/>
                  </a:lnTo>
                  <a:lnTo>
                    <a:pt x="8" y="176"/>
                  </a:lnTo>
                  <a:lnTo>
                    <a:pt x="7" y="172"/>
                  </a:lnTo>
                  <a:lnTo>
                    <a:pt x="7" y="171"/>
                  </a:lnTo>
                  <a:lnTo>
                    <a:pt x="1" y="167"/>
                  </a:lnTo>
                  <a:lnTo>
                    <a:pt x="0" y="165"/>
                  </a:lnTo>
                  <a:lnTo>
                    <a:pt x="3" y="164"/>
                  </a:lnTo>
                  <a:lnTo>
                    <a:pt x="3" y="164"/>
                  </a:lnTo>
                  <a:lnTo>
                    <a:pt x="5" y="160"/>
                  </a:lnTo>
                  <a:lnTo>
                    <a:pt x="5" y="158"/>
                  </a:lnTo>
                  <a:lnTo>
                    <a:pt x="3" y="155"/>
                  </a:lnTo>
                  <a:lnTo>
                    <a:pt x="1" y="150"/>
                  </a:lnTo>
                  <a:lnTo>
                    <a:pt x="1" y="146"/>
                  </a:lnTo>
                  <a:lnTo>
                    <a:pt x="1" y="143"/>
                  </a:lnTo>
                  <a:lnTo>
                    <a:pt x="1" y="143"/>
                  </a:lnTo>
                  <a:lnTo>
                    <a:pt x="5" y="137"/>
                  </a:lnTo>
                  <a:lnTo>
                    <a:pt x="7" y="130"/>
                  </a:lnTo>
                  <a:lnTo>
                    <a:pt x="7" y="115"/>
                  </a:lnTo>
                  <a:lnTo>
                    <a:pt x="7" y="115"/>
                  </a:lnTo>
                  <a:lnTo>
                    <a:pt x="15" y="106"/>
                  </a:lnTo>
                  <a:lnTo>
                    <a:pt x="22" y="97"/>
                  </a:lnTo>
                  <a:lnTo>
                    <a:pt x="22" y="97"/>
                  </a:lnTo>
                  <a:lnTo>
                    <a:pt x="20" y="96"/>
                  </a:lnTo>
                  <a:lnTo>
                    <a:pt x="19" y="90"/>
                  </a:lnTo>
                  <a:lnTo>
                    <a:pt x="19" y="90"/>
                  </a:lnTo>
                  <a:lnTo>
                    <a:pt x="19" y="83"/>
                  </a:lnTo>
                  <a:lnTo>
                    <a:pt x="22" y="76"/>
                  </a:lnTo>
                  <a:lnTo>
                    <a:pt x="22" y="76"/>
                  </a:lnTo>
                  <a:lnTo>
                    <a:pt x="22" y="75"/>
                  </a:lnTo>
                  <a:lnTo>
                    <a:pt x="22" y="75"/>
                  </a:lnTo>
                  <a:lnTo>
                    <a:pt x="20" y="73"/>
                  </a:lnTo>
                  <a:lnTo>
                    <a:pt x="22" y="70"/>
                  </a:lnTo>
                  <a:lnTo>
                    <a:pt x="26" y="66"/>
                  </a:lnTo>
                  <a:lnTo>
                    <a:pt x="29" y="66"/>
                  </a:lnTo>
                  <a:lnTo>
                    <a:pt x="29" y="66"/>
                  </a:lnTo>
                  <a:lnTo>
                    <a:pt x="33" y="66"/>
                  </a:lnTo>
                  <a:lnTo>
                    <a:pt x="36" y="68"/>
                  </a:lnTo>
                  <a:lnTo>
                    <a:pt x="38" y="71"/>
                  </a:lnTo>
                  <a:lnTo>
                    <a:pt x="41" y="73"/>
                  </a:lnTo>
                  <a:lnTo>
                    <a:pt x="41" y="73"/>
                  </a:lnTo>
                  <a:lnTo>
                    <a:pt x="45" y="73"/>
                  </a:lnTo>
                  <a:lnTo>
                    <a:pt x="45" y="73"/>
                  </a:lnTo>
                  <a:lnTo>
                    <a:pt x="45" y="75"/>
                  </a:lnTo>
                  <a:lnTo>
                    <a:pt x="45" y="75"/>
                  </a:lnTo>
                  <a:lnTo>
                    <a:pt x="47" y="75"/>
                  </a:lnTo>
                  <a:lnTo>
                    <a:pt x="47" y="75"/>
                  </a:lnTo>
                  <a:lnTo>
                    <a:pt x="54" y="70"/>
                  </a:lnTo>
                  <a:lnTo>
                    <a:pt x="54" y="70"/>
                  </a:lnTo>
                  <a:lnTo>
                    <a:pt x="59" y="71"/>
                  </a:lnTo>
                  <a:lnTo>
                    <a:pt x="67" y="73"/>
                  </a:lnTo>
                  <a:lnTo>
                    <a:pt x="94" y="83"/>
                  </a:lnTo>
                  <a:lnTo>
                    <a:pt x="118" y="96"/>
                  </a:lnTo>
                  <a:lnTo>
                    <a:pt x="130" y="103"/>
                  </a:lnTo>
                  <a:lnTo>
                    <a:pt x="130" y="103"/>
                  </a:lnTo>
                  <a:lnTo>
                    <a:pt x="130" y="111"/>
                  </a:lnTo>
                  <a:lnTo>
                    <a:pt x="130" y="111"/>
                  </a:lnTo>
                  <a:lnTo>
                    <a:pt x="130" y="148"/>
                  </a:lnTo>
                  <a:lnTo>
                    <a:pt x="130" y="148"/>
                  </a:lnTo>
                  <a:lnTo>
                    <a:pt x="191" y="66"/>
                  </a:lnTo>
                  <a:lnTo>
                    <a:pt x="191" y="66"/>
                  </a:lnTo>
                  <a:lnTo>
                    <a:pt x="203" y="49"/>
                  </a:lnTo>
                  <a:lnTo>
                    <a:pt x="210" y="38"/>
                  </a:lnTo>
                  <a:lnTo>
                    <a:pt x="215" y="33"/>
                  </a:lnTo>
                  <a:lnTo>
                    <a:pt x="215" y="33"/>
                  </a:lnTo>
                  <a:lnTo>
                    <a:pt x="229" y="28"/>
                  </a:lnTo>
                  <a:lnTo>
                    <a:pt x="245" y="24"/>
                  </a:lnTo>
                  <a:lnTo>
                    <a:pt x="276" y="17"/>
                  </a:lnTo>
                  <a:lnTo>
                    <a:pt x="276" y="17"/>
                  </a:lnTo>
                  <a:lnTo>
                    <a:pt x="329" y="0"/>
                  </a:lnTo>
                  <a:lnTo>
                    <a:pt x="329"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8" name="Freeform 1971">
              <a:extLst>
                <a:ext uri="{FF2B5EF4-FFF2-40B4-BE49-F238E27FC236}">
                  <a16:creationId xmlns:a16="http://schemas.microsoft.com/office/drawing/2014/main" id="{1FF5AD12-6775-4469-99F4-B0FDFD8676F7}"/>
                </a:ext>
              </a:extLst>
            </p:cNvPr>
            <p:cNvSpPr>
              <a:spLocks/>
            </p:cNvSpPr>
            <p:nvPr/>
          </p:nvSpPr>
          <p:spPr bwMode="auto">
            <a:xfrm>
              <a:off x="5875607" y="4108281"/>
              <a:ext cx="294254" cy="461645"/>
            </a:xfrm>
            <a:custGeom>
              <a:avLst/>
              <a:gdLst/>
              <a:ahLst/>
              <a:cxnLst>
                <a:cxn ang="0">
                  <a:pos x="19" y="569"/>
                </a:cxn>
                <a:cxn ang="0">
                  <a:pos x="5" y="553"/>
                </a:cxn>
                <a:cxn ang="0">
                  <a:pos x="0" y="534"/>
                </a:cxn>
                <a:cxn ang="0">
                  <a:pos x="0" y="388"/>
                </a:cxn>
                <a:cxn ang="0">
                  <a:pos x="33" y="339"/>
                </a:cxn>
                <a:cxn ang="0">
                  <a:pos x="45" y="327"/>
                </a:cxn>
                <a:cxn ang="0">
                  <a:pos x="61" y="327"/>
                </a:cxn>
                <a:cxn ang="0">
                  <a:pos x="66" y="322"/>
                </a:cxn>
                <a:cxn ang="0">
                  <a:pos x="75" y="309"/>
                </a:cxn>
                <a:cxn ang="0">
                  <a:pos x="97" y="301"/>
                </a:cxn>
                <a:cxn ang="0">
                  <a:pos x="123" y="301"/>
                </a:cxn>
                <a:cxn ang="0">
                  <a:pos x="143" y="296"/>
                </a:cxn>
                <a:cxn ang="0">
                  <a:pos x="183" y="243"/>
                </a:cxn>
                <a:cxn ang="0">
                  <a:pos x="244" y="170"/>
                </a:cxn>
                <a:cxn ang="0">
                  <a:pos x="240" y="167"/>
                </a:cxn>
                <a:cxn ang="0">
                  <a:pos x="219" y="167"/>
                </a:cxn>
                <a:cxn ang="0">
                  <a:pos x="170" y="151"/>
                </a:cxn>
                <a:cxn ang="0">
                  <a:pos x="111" y="130"/>
                </a:cxn>
                <a:cxn ang="0">
                  <a:pos x="101" y="120"/>
                </a:cxn>
                <a:cxn ang="0">
                  <a:pos x="83" y="104"/>
                </a:cxn>
                <a:cxn ang="0">
                  <a:pos x="78" y="90"/>
                </a:cxn>
                <a:cxn ang="0">
                  <a:pos x="68" y="76"/>
                </a:cxn>
                <a:cxn ang="0">
                  <a:pos x="61" y="61"/>
                </a:cxn>
                <a:cxn ang="0">
                  <a:pos x="80" y="19"/>
                </a:cxn>
                <a:cxn ang="0">
                  <a:pos x="89" y="31"/>
                </a:cxn>
                <a:cxn ang="0">
                  <a:pos x="104" y="55"/>
                </a:cxn>
                <a:cxn ang="0">
                  <a:pos x="120" y="66"/>
                </a:cxn>
                <a:cxn ang="0">
                  <a:pos x="143" y="62"/>
                </a:cxn>
                <a:cxn ang="0">
                  <a:pos x="163" y="50"/>
                </a:cxn>
                <a:cxn ang="0">
                  <a:pos x="181" y="52"/>
                </a:cxn>
                <a:cxn ang="0">
                  <a:pos x="204" y="50"/>
                </a:cxn>
                <a:cxn ang="0">
                  <a:pos x="219" y="38"/>
                </a:cxn>
                <a:cxn ang="0">
                  <a:pos x="238" y="36"/>
                </a:cxn>
                <a:cxn ang="0">
                  <a:pos x="252" y="34"/>
                </a:cxn>
                <a:cxn ang="0">
                  <a:pos x="258" y="29"/>
                </a:cxn>
                <a:cxn ang="0">
                  <a:pos x="278" y="27"/>
                </a:cxn>
                <a:cxn ang="0">
                  <a:pos x="317" y="19"/>
                </a:cxn>
                <a:cxn ang="0">
                  <a:pos x="346" y="0"/>
                </a:cxn>
                <a:cxn ang="0">
                  <a:pos x="359" y="5"/>
                </a:cxn>
                <a:cxn ang="0">
                  <a:pos x="359" y="20"/>
                </a:cxn>
                <a:cxn ang="0">
                  <a:pos x="355" y="47"/>
                </a:cxn>
                <a:cxn ang="0">
                  <a:pos x="367" y="67"/>
                </a:cxn>
                <a:cxn ang="0">
                  <a:pos x="359" y="66"/>
                </a:cxn>
                <a:cxn ang="0">
                  <a:pos x="348" y="90"/>
                </a:cxn>
                <a:cxn ang="0">
                  <a:pos x="343" y="111"/>
                </a:cxn>
                <a:cxn ang="0">
                  <a:pos x="310" y="177"/>
                </a:cxn>
                <a:cxn ang="0">
                  <a:pos x="287" y="236"/>
                </a:cxn>
                <a:cxn ang="0">
                  <a:pos x="235" y="332"/>
                </a:cxn>
                <a:cxn ang="0">
                  <a:pos x="174" y="400"/>
                </a:cxn>
                <a:cxn ang="0">
                  <a:pos x="120" y="445"/>
                </a:cxn>
                <a:cxn ang="0">
                  <a:pos x="57" y="515"/>
                </a:cxn>
                <a:cxn ang="0">
                  <a:pos x="38" y="539"/>
                </a:cxn>
                <a:cxn ang="0">
                  <a:pos x="31" y="560"/>
                </a:cxn>
                <a:cxn ang="0">
                  <a:pos x="22" y="576"/>
                </a:cxn>
              </a:cxnLst>
              <a:rect l="0" t="0" r="r" b="b"/>
              <a:pathLst>
                <a:path w="367" h="576">
                  <a:moveTo>
                    <a:pt x="22" y="576"/>
                  </a:moveTo>
                  <a:lnTo>
                    <a:pt x="22" y="576"/>
                  </a:lnTo>
                  <a:lnTo>
                    <a:pt x="19" y="569"/>
                  </a:lnTo>
                  <a:lnTo>
                    <a:pt x="15" y="565"/>
                  </a:lnTo>
                  <a:lnTo>
                    <a:pt x="9" y="557"/>
                  </a:lnTo>
                  <a:lnTo>
                    <a:pt x="5" y="553"/>
                  </a:lnTo>
                  <a:lnTo>
                    <a:pt x="2" y="548"/>
                  </a:lnTo>
                  <a:lnTo>
                    <a:pt x="0" y="543"/>
                  </a:lnTo>
                  <a:lnTo>
                    <a:pt x="0" y="534"/>
                  </a:lnTo>
                  <a:lnTo>
                    <a:pt x="0" y="534"/>
                  </a:lnTo>
                  <a:lnTo>
                    <a:pt x="0" y="388"/>
                  </a:lnTo>
                  <a:lnTo>
                    <a:pt x="0" y="388"/>
                  </a:lnTo>
                  <a:lnTo>
                    <a:pt x="14" y="369"/>
                  </a:lnTo>
                  <a:lnTo>
                    <a:pt x="33" y="339"/>
                  </a:lnTo>
                  <a:lnTo>
                    <a:pt x="33" y="339"/>
                  </a:lnTo>
                  <a:lnTo>
                    <a:pt x="36" y="332"/>
                  </a:lnTo>
                  <a:lnTo>
                    <a:pt x="40" y="329"/>
                  </a:lnTo>
                  <a:lnTo>
                    <a:pt x="45" y="327"/>
                  </a:lnTo>
                  <a:lnTo>
                    <a:pt x="52" y="327"/>
                  </a:lnTo>
                  <a:lnTo>
                    <a:pt x="52" y="327"/>
                  </a:lnTo>
                  <a:lnTo>
                    <a:pt x="61" y="327"/>
                  </a:lnTo>
                  <a:lnTo>
                    <a:pt x="66" y="325"/>
                  </a:lnTo>
                  <a:lnTo>
                    <a:pt x="68" y="323"/>
                  </a:lnTo>
                  <a:lnTo>
                    <a:pt x="66" y="322"/>
                  </a:lnTo>
                  <a:lnTo>
                    <a:pt x="68" y="318"/>
                  </a:lnTo>
                  <a:lnTo>
                    <a:pt x="69" y="315"/>
                  </a:lnTo>
                  <a:lnTo>
                    <a:pt x="75" y="309"/>
                  </a:lnTo>
                  <a:lnTo>
                    <a:pt x="83" y="304"/>
                  </a:lnTo>
                  <a:lnTo>
                    <a:pt x="83" y="304"/>
                  </a:lnTo>
                  <a:lnTo>
                    <a:pt x="97" y="301"/>
                  </a:lnTo>
                  <a:lnTo>
                    <a:pt x="108" y="299"/>
                  </a:lnTo>
                  <a:lnTo>
                    <a:pt x="116" y="299"/>
                  </a:lnTo>
                  <a:lnTo>
                    <a:pt x="123" y="301"/>
                  </a:lnTo>
                  <a:lnTo>
                    <a:pt x="129" y="301"/>
                  </a:lnTo>
                  <a:lnTo>
                    <a:pt x="136" y="299"/>
                  </a:lnTo>
                  <a:lnTo>
                    <a:pt x="143" y="296"/>
                  </a:lnTo>
                  <a:lnTo>
                    <a:pt x="151" y="285"/>
                  </a:lnTo>
                  <a:lnTo>
                    <a:pt x="151" y="285"/>
                  </a:lnTo>
                  <a:lnTo>
                    <a:pt x="183" y="243"/>
                  </a:lnTo>
                  <a:lnTo>
                    <a:pt x="217" y="202"/>
                  </a:lnTo>
                  <a:lnTo>
                    <a:pt x="217" y="202"/>
                  </a:lnTo>
                  <a:lnTo>
                    <a:pt x="244" y="170"/>
                  </a:lnTo>
                  <a:lnTo>
                    <a:pt x="245" y="168"/>
                  </a:lnTo>
                  <a:lnTo>
                    <a:pt x="245" y="167"/>
                  </a:lnTo>
                  <a:lnTo>
                    <a:pt x="240" y="167"/>
                  </a:lnTo>
                  <a:lnTo>
                    <a:pt x="240" y="167"/>
                  </a:lnTo>
                  <a:lnTo>
                    <a:pt x="231" y="168"/>
                  </a:lnTo>
                  <a:lnTo>
                    <a:pt x="219" y="167"/>
                  </a:lnTo>
                  <a:lnTo>
                    <a:pt x="200" y="163"/>
                  </a:lnTo>
                  <a:lnTo>
                    <a:pt x="170" y="151"/>
                  </a:lnTo>
                  <a:lnTo>
                    <a:pt x="170" y="151"/>
                  </a:lnTo>
                  <a:lnTo>
                    <a:pt x="143" y="141"/>
                  </a:lnTo>
                  <a:lnTo>
                    <a:pt x="123" y="135"/>
                  </a:lnTo>
                  <a:lnTo>
                    <a:pt x="111" y="130"/>
                  </a:lnTo>
                  <a:lnTo>
                    <a:pt x="106" y="125"/>
                  </a:lnTo>
                  <a:lnTo>
                    <a:pt x="101" y="120"/>
                  </a:lnTo>
                  <a:lnTo>
                    <a:pt x="101" y="120"/>
                  </a:lnTo>
                  <a:lnTo>
                    <a:pt x="94" y="111"/>
                  </a:lnTo>
                  <a:lnTo>
                    <a:pt x="87" y="108"/>
                  </a:lnTo>
                  <a:lnTo>
                    <a:pt x="83" y="104"/>
                  </a:lnTo>
                  <a:lnTo>
                    <a:pt x="80" y="97"/>
                  </a:lnTo>
                  <a:lnTo>
                    <a:pt x="80" y="97"/>
                  </a:lnTo>
                  <a:lnTo>
                    <a:pt x="78" y="90"/>
                  </a:lnTo>
                  <a:lnTo>
                    <a:pt x="76" y="87"/>
                  </a:lnTo>
                  <a:lnTo>
                    <a:pt x="73" y="85"/>
                  </a:lnTo>
                  <a:lnTo>
                    <a:pt x="68" y="76"/>
                  </a:lnTo>
                  <a:lnTo>
                    <a:pt x="68" y="76"/>
                  </a:lnTo>
                  <a:lnTo>
                    <a:pt x="64" y="67"/>
                  </a:lnTo>
                  <a:lnTo>
                    <a:pt x="61" y="61"/>
                  </a:lnTo>
                  <a:lnTo>
                    <a:pt x="63" y="52"/>
                  </a:lnTo>
                  <a:lnTo>
                    <a:pt x="68" y="41"/>
                  </a:lnTo>
                  <a:lnTo>
                    <a:pt x="80" y="19"/>
                  </a:lnTo>
                  <a:lnTo>
                    <a:pt x="80" y="19"/>
                  </a:lnTo>
                  <a:lnTo>
                    <a:pt x="85" y="26"/>
                  </a:lnTo>
                  <a:lnTo>
                    <a:pt x="89" y="31"/>
                  </a:lnTo>
                  <a:lnTo>
                    <a:pt x="96" y="43"/>
                  </a:lnTo>
                  <a:lnTo>
                    <a:pt x="99" y="50"/>
                  </a:lnTo>
                  <a:lnTo>
                    <a:pt x="104" y="55"/>
                  </a:lnTo>
                  <a:lnTo>
                    <a:pt x="111" y="61"/>
                  </a:lnTo>
                  <a:lnTo>
                    <a:pt x="120" y="66"/>
                  </a:lnTo>
                  <a:lnTo>
                    <a:pt x="120" y="66"/>
                  </a:lnTo>
                  <a:lnTo>
                    <a:pt x="129" y="67"/>
                  </a:lnTo>
                  <a:lnTo>
                    <a:pt x="137" y="66"/>
                  </a:lnTo>
                  <a:lnTo>
                    <a:pt x="143" y="62"/>
                  </a:lnTo>
                  <a:lnTo>
                    <a:pt x="150" y="59"/>
                  </a:lnTo>
                  <a:lnTo>
                    <a:pt x="157" y="54"/>
                  </a:lnTo>
                  <a:lnTo>
                    <a:pt x="163" y="50"/>
                  </a:lnTo>
                  <a:lnTo>
                    <a:pt x="170" y="50"/>
                  </a:lnTo>
                  <a:lnTo>
                    <a:pt x="181" y="52"/>
                  </a:lnTo>
                  <a:lnTo>
                    <a:pt x="181" y="52"/>
                  </a:lnTo>
                  <a:lnTo>
                    <a:pt x="191" y="54"/>
                  </a:lnTo>
                  <a:lnTo>
                    <a:pt x="198" y="54"/>
                  </a:lnTo>
                  <a:lnTo>
                    <a:pt x="204" y="50"/>
                  </a:lnTo>
                  <a:lnTo>
                    <a:pt x="209" y="47"/>
                  </a:lnTo>
                  <a:lnTo>
                    <a:pt x="214" y="41"/>
                  </a:lnTo>
                  <a:lnTo>
                    <a:pt x="219" y="38"/>
                  </a:lnTo>
                  <a:lnTo>
                    <a:pt x="228" y="36"/>
                  </a:lnTo>
                  <a:lnTo>
                    <a:pt x="238" y="36"/>
                  </a:lnTo>
                  <a:lnTo>
                    <a:pt x="238" y="36"/>
                  </a:lnTo>
                  <a:lnTo>
                    <a:pt x="247" y="36"/>
                  </a:lnTo>
                  <a:lnTo>
                    <a:pt x="251" y="36"/>
                  </a:lnTo>
                  <a:lnTo>
                    <a:pt x="252" y="34"/>
                  </a:lnTo>
                  <a:lnTo>
                    <a:pt x="252" y="33"/>
                  </a:lnTo>
                  <a:lnTo>
                    <a:pt x="254" y="31"/>
                  </a:lnTo>
                  <a:lnTo>
                    <a:pt x="258" y="29"/>
                  </a:lnTo>
                  <a:lnTo>
                    <a:pt x="264" y="27"/>
                  </a:lnTo>
                  <a:lnTo>
                    <a:pt x="278" y="27"/>
                  </a:lnTo>
                  <a:lnTo>
                    <a:pt x="278" y="27"/>
                  </a:lnTo>
                  <a:lnTo>
                    <a:pt x="294" y="26"/>
                  </a:lnTo>
                  <a:lnTo>
                    <a:pt x="306" y="22"/>
                  </a:lnTo>
                  <a:lnTo>
                    <a:pt x="317" y="19"/>
                  </a:lnTo>
                  <a:lnTo>
                    <a:pt x="325" y="12"/>
                  </a:lnTo>
                  <a:lnTo>
                    <a:pt x="339" y="3"/>
                  </a:lnTo>
                  <a:lnTo>
                    <a:pt x="346" y="0"/>
                  </a:lnTo>
                  <a:lnTo>
                    <a:pt x="353" y="1"/>
                  </a:lnTo>
                  <a:lnTo>
                    <a:pt x="353" y="1"/>
                  </a:lnTo>
                  <a:lnTo>
                    <a:pt x="359" y="5"/>
                  </a:lnTo>
                  <a:lnTo>
                    <a:pt x="360" y="8"/>
                  </a:lnTo>
                  <a:lnTo>
                    <a:pt x="360" y="14"/>
                  </a:lnTo>
                  <a:lnTo>
                    <a:pt x="359" y="20"/>
                  </a:lnTo>
                  <a:lnTo>
                    <a:pt x="355" y="27"/>
                  </a:lnTo>
                  <a:lnTo>
                    <a:pt x="355" y="36"/>
                  </a:lnTo>
                  <a:lnTo>
                    <a:pt x="355" y="47"/>
                  </a:lnTo>
                  <a:lnTo>
                    <a:pt x="360" y="57"/>
                  </a:lnTo>
                  <a:lnTo>
                    <a:pt x="360" y="57"/>
                  </a:lnTo>
                  <a:lnTo>
                    <a:pt x="367" y="67"/>
                  </a:lnTo>
                  <a:lnTo>
                    <a:pt x="365" y="67"/>
                  </a:lnTo>
                  <a:lnTo>
                    <a:pt x="362" y="66"/>
                  </a:lnTo>
                  <a:lnTo>
                    <a:pt x="359" y="66"/>
                  </a:lnTo>
                  <a:lnTo>
                    <a:pt x="353" y="69"/>
                  </a:lnTo>
                  <a:lnTo>
                    <a:pt x="350" y="76"/>
                  </a:lnTo>
                  <a:lnTo>
                    <a:pt x="348" y="90"/>
                  </a:lnTo>
                  <a:lnTo>
                    <a:pt x="348" y="90"/>
                  </a:lnTo>
                  <a:lnTo>
                    <a:pt x="346" y="101"/>
                  </a:lnTo>
                  <a:lnTo>
                    <a:pt x="343" y="111"/>
                  </a:lnTo>
                  <a:lnTo>
                    <a:pt x="332" y="132"/>
                  </a:lnTo>
                  <a:lnTo>
                    <a:pt x="318" y="160"/>
                  </a:lnTo>
                  <a:lnTo>
                    <a:pt x="310" y="177"/>
                  </a:lnTo>
                  <a:lnTo>
                    <a:pt x="303" y="198"/>
                  </a:lnTo>
                  <a:lnTo>
                    <a:pt x="303" y="198"/>
                  </a:lnTo>
                  <a:lnTo>
                    <a:pt x="287" y="236"/>
                  </a:lnTo>
                  <a:lnTo>
                    <a:pt x="270" y="271"/>
                  </a:lnTo>
                  <a:lnTo>
                    <a:pt x="252" y="303"/>
                  </a:lnTo>
                  <a:lnTo>
                    <a:pt x="235" y="332"/>
                  </a:lnTo>
                  <a:lnTo>
                    <a:pt x="216" y="357"/>
                  </a:lnTo>
                  <a:lnTo>
                    <a:pt x="195" y="381"/>
                  </a:lnTo>
                  <a:lnTo>
                    <a:pt x="174" y="400"/>
                  </a:lnTo>
                  <a:lnTo>
                    <a:pt x="153" y="419"/>
                  </a:lnTo>
                  <a:lnTo>
                    <a:pt x="153" y="419"/>
                  </a:lnTo>
                  <a:lnTo>
                    <a:pt x="120" y="445"/>
                  </a:lnTo>
                  <a:lnTo>
                    <a:pt x="99" y="466"/>
                  </a:lnTo>
                  <a:lnTo>
                    <a:pt x="82" y="489"/>
                  </a:lnTo>
                  <a:lnTo>
                    <a:pt x="57" y="515"/>
                  </a:lnTo>
                  <a:lnTo>
                    <a:pt x="57" y="515"/>
                  </a:lnTo>
                  <a:lnTo>
                    <a:pt x="47" y="529"/>
                  </a:lnTo>
                  <a:lnTo>
                    <a:pt x="38" y="539"/>
                  </a:lnTo>
                  <a:lnTo>
                    <a:pt x="35" y="546"/>
                  </a:lnTo>
                  <a:lnTo>
                    <a:pt x="33" y="552"/>
                  </a:lnTo>
                  <a:lnTo>
                    <a:pt x="31" y="560"/>
                  </a:lnTo>
                  <a:lnTo>
                    <a:pt x="28" y="567"/>
                  </a:lnTo>
                  <a:lnTo>
                    <a:pt x="22" y="576"/>
                  </a:lnTo>
                  <a:lnTo>
                    <a:pt x="22" y="5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9" name="Freeform 1972">
              <a:extLst>
                <a:ext uri="{FF2B5EF4-FFF2-40B4-BE49-F238E27FC236}">
                  <a16:creationId xmlns:a16="http://schemas.microsoft.com/office/drawing/2014/main" id="{4C926E58-0F35-46E2-B5AC-79D4DA8E2AFF}"/>
                </a:ext>
              </a:extLst>
            </p:cNvPr>
            <p:cNvSpPr>
              <a:spLocks/>
            </p:cNvSpPr>
            <p:nvPr/>
          </p:nvSpPr>
          <p:spPr bwMode="auto">
            <a:xfrm>
              <a:off x="5066847" y="4333820"/>
              <a:ext cx="535648" cy="641370"/>
            </a:xfrm>
            <a:custGeom>
              <a:avLst/>
              <a:gdLst/>
              <a:ahLst/>
              <a:cxnLst>
                <a:cxn ang="0">
                  <a:pos x="607" y="475"/>
                </a:cxn>
                <a:cxn ang="0">
                  <a:pos x="637" y="538"/>
                </a:cxn>
                <a:cxn ang="0">
                  <a:pos x="600" y="579"/>
                </a:cxn>
                <a:cxn ang="0">
                  <a:pos x="571" y="614"/>
                </a:cxn>
                <a:cxn ang="0">
                  <a:pos x="576" y="647"/>
                </a:cxn>
                <a:cxn ang="0">
                  <a:pos x="569" y="693"/>
                </a:cxn>
                <a:cxn ang="0">
                  <a:pos x="595" y="752"/>
                </a:cxn>
                <a:cxn ang="0">
                  <a:pos x="616" y="767"/>
                </a:cxn>
                <a:cxn ang="0">
                  <a:pos x="597" y="794"/>
                </a:cxn>
                <a:cxn ang="0">
                  <a:pos x="555" y="748"/>
                </a:cxn>
                <a:cxn ang="0">
                  <a:pos x="526" y="719"/>
                </a:cxn>
                <a:cxn ang="0">
                  <a:pos x="510" y="736"/>
                </a:cxn>
                <a:cxn ang="0">
                  <a:pos x="459" y="707"/>
                </a:cxn>
                <a:cxn ang="0">
                  <a:pos x="428" y="707"/>
                </a:cxn>
                <a:cxn ang="0">
                  <a:pos x="407" y="693"/>
                </a:cxn>
                <a:cxn ang="0">
                  <a:pos x="374" y="694"/>
                </a:cxn>
                <a:cxn ang="0">
                  <a:pos x="355" y="703"/>
                </a:cxn>
                <a:cxn ang="0">
                  <a:pos x="350" y="656"/>
                </a:cxn>
                <a:cxn ang="0">
                  <a:pos x="339" y="579"/>
                </a:cxn>
                <a:cxn ang="0">
                  <a:pos x="336" y="538"/>
                </a:cxn>
                <a:cxn ang="0">
                  <a:pos x="292" y="527"/>
                </a:cxn>
                <a:cxn ang="0">
                  <a:pos x="280" y="520"/>
                </a:cxn>
                <a:cxn ang="0">
                  <a:pos x="254" y="541"/>
                </a:cxn>
                <a:cxn ang="0">
                  <a:pos x="243" y="565"/>
                </a:cxn>
                <a:cxn ang="0">
                  <a:pos x="191" y="567"/>
                </a:cxn>
                <a:cxn ang="0">
                  <a:pos x="165" y="525"/>
                </a:cxn>
                <a:cxn ang="0">
                  <a:pos x="153" y="475"/>
                </a:cxn>
                <a:cxn ang="0">
                  <a:pos x="59" y="473"/>
                </a:cxn>
                <a:cxn ang="0">
                  <a:pos x="15" y="471"/>
                </a:cxn>
                <a:cxn ang="0">
                  <a:pos x="10" y="461"/>
                </a:cxn>
                <a:cxn ang="0">
                  <a:pos x="29" y="423"/>
                </a:cxn>
                <a:cxn ang="0">
                  <a:pos x="69" y="409"/>
                </a:cxn>
                <a:cxn ang="0">
                  <a:pos x="75" y="428"/>
                </a:cxn>
                <a:cxn ang="0">
                  <a:pos x="104" y="417"/>
                </a:cxn>
                <a:cxn ang="0">
                  <a:pos x="137" y="379"/>
                </a:cxn>
                <a:cxn ang="0">
                  <a:pos x="137" y="329"/>
                </a:cxn>
                <a:cxn ang="0">
                  <a:pos x="184" y="261"/>
                </a:cxn>
                <a:cxn ang="0">
                  <a:pos x="202" y="209"/>
                </a:cxn>
                <a:cxn ang="0">
                  <a:pos x="200" y="169"/>
                </a:cxn>
                <a:cxn ang="0">
                  <a:pos x="219" y="101"/>
                </a:cxn>
                <a:cxn ang="0">
                  <a:pos x="226" y="38"/>
                </a:cxn>
                <a:cxn ang="0">
                  <a:pos x="264" y="10"/>
                </a:cxn>
                <a:cxn ang="0">
                  <a:pos x="297" y="38"/>
                </a:cxn>
                <a:cxn ang="0">
                  <a:pos x="367" y="34"/>
                </a:cxn>
                <a:cxn ang="0">
                  <a:pos x="400" y="26"/>
                </a:cxn>
                <a:cxn ang="0">
                  <a:pos x="449" y="15"/>
                </a:cxn>
                <a:cxn ang="0">
                  <a:pos x="489" y="5"/>
                </a:cxn>
                <a:cxn ang="0">
                  <a:pos x="524" y="8"/>
                </a:cxn>
                <a:cxn ang="0">
                  <a:pos x="569" y="41"/>
                </a:cxn>
                <a:cxn ang="0">
                  <a:pos x="595" y="40"/>
                </a:cxn>
                <a:cxn ang="0">
                  <a:pos x="620" y="36"/>
                </a:cxn>
                <a:cxn ang="0">
                  <a:pos x="653" y="78"/>
                </a:cxn>
                <a:cxn ang="0">
                  <a:pos x="660" y="128"/>
                </a:cxn>
                <a:cxn ang="0">
                  <a:pos x="626" y="184"/>
                </a:cxn>
                <a:cxn ang="0">
                  <a:pos x="593" y="299"/>
                </a:cxn>
                <a:cxn ang="0">
                  <a:pos x="581" y="330"/>
                </a:cxn>
                <a:cxn ang="0">
                  <a:pos x="595" y="374"/>
                </a:cxn>
              </a:cxnLst>
              <a:rect l="0" t="0" r="r" b="b"/>
              <a:pathLst>
                <a:path w="667" h="797">
                  <a:moveTo>
                    <a:pt x="602" y="417"/>
                  </a:moveTo>
                  <a:lnTo>
                    <a:pt x="602" y="417"/>
                  </a:lnTo>
                  <a:lnTo>
                    <a:pt x="600" y="428"/>
                  </a:lnTo>
                  <a:lnTo>
                    <a:pt x="600" y="435"/>
                  </a:lnTo>
                  <a:lnTo>
                    <a:pt x="606" y="449"/>
                  </a:lnTo>
                  <a:lnTo>
                    <a:pt x="609" y="461"/>
                  </a:lnTo>
                  <a:lnTo>
                    <a:pt x="609" y="468"/>
                  </a:lnTo>
                  <a:lnTo>
                    <a:pt x="607" y="475"/>
                  </a:lnTo>
                  <a:lnTo>
                    <a:pt x="607" y="475"/>
                  </a:lnTo>
                  <a:lnTo>
                    <a:pt x="606" y="482"/>
                  </a:lnTo>
                  <a:lnTo>
                    <a:pt x="607" y="491"/>
                  </a:lnTo>
                  <a:lnTo>
                    <a:pt x="611" y="499"/>
                  </a:lnTo>
                  <a:lnTo>
                    <a:pt x="618" y="508"/>
                  </a:lnTo>
                  <a:lnTo>
                    <a:pt x="628" y="525"/>
                  </a:lnTo>
                  <a:lnTo>
                    <a:pt x="633" y="532"/>
                  </a:lnTo>
                  <a:lnTo>
                    <a:pt x="637" y="538"/>
                  </a:lnTo>
                  <a:lnTo>
                    <a:pt x="637" y="538"/>
                  </a:lnTo>
                  <a:lnTo>
                    <a:pt x="642" y="559"/>
                  </a:lnTo>
                  <a:lnTo>
                    <a:pt x="649" y="572"/>
                  </a:lnTo>
                  <a:lnTo>
                    <a:pt x="649" y="572"/>
                  </a:lnTo>
                  <a:lnTo>
                    <a:pt x="640" y="574"/>
                  </a:lnTo>
                  <a:lnTo>
                    <a:pt x="630" y="576"/>
                  </a:lnTo>
                  <a:lnTo>
                    <a:pt x="609" y="578"/>
                  </a:lnTo>
                  <a:lnTo>
                    <a:pt x="600" y="579"/>
                  </a:lnTo>
                  <a:lnTo>
                    <a:pt x="593" y="583"/>
                  </a:lnTo>
                  <a:lnTo>
                    <a:pt x="588" y="586"/>
                  </a:lnTo>
                  <a:lnTo>
                    <a:pt x="586" y="593"/>
                  </a:lnTo>
                  <a:lnTo>
                    <a:pt x="586" y="593"/>
                  </a:lnTo>
                  <a:lnTo>
                    <a:pt x="585" y="600"/>
                  </a:lnTo>
                  <a:lnTo>
                    <a:pt x="581" y="606"/>
                  </a:lnTo>
                  <a:lnTo>
                    <a:pt x="573" y="612"/>
                  </a:lnTo>
                  <a:lnTo>
                    <a:pt x="571" y="614"/>
                  </a:lnTo>
                  <a:lnTo>
                    <a:pt x="567" y="618"/>
                  </a:lnTo>
                  <a:lnTo>
                    <a:pt x="569" y="621"/>
                  </a:lnTo>
                  <a:lnTo>
                    <a:pt x="573" y="626"/>
                  </a:lnTo>
                  <a:lnTo>
                    <a:pt x="573" y="626"/>
                  </a:lnTo>
                  <a:lnTo>
                    <a:pt x="576" y="635"/>
                  </a:lnTo>
                  <a:lnTo>
                    <a:pt x="578" y="640"/>
                  </a:lnTo>
                  <a:lnTo>
                    <a:pt x="578" y="644"/>
                  </a:lnTo>
                  <a:lnTo>
                    <a:pt x="576" y="647"/>
                  </a:lnTo>
                  <a:lnTo>
                    <a:pt x="573" y="654"/>
                  </a:lnTo>
                  <a:lnTo>
                    <a:pt x="573" y="658"/>
                  </a:lnTo>
                  <a:lnTo>
                    <a:pt x="574" y="665"/>
                  </a:lnTo>
                  <a:lnTo>
                    <a:pt x="574" y="665"/>
                  </a:lnTo>
                  <a:lnTo>
                    <a:pt x="576" y="672"/>
                  </a:lnTo>
                  <a:lnTo>
                    <a:pt x="574" y="679"/>
                  </a:lnTo>
                  <a:lnTo>
                    <a:pt x="573" y="686"/>
                  </a:lnTo>
                  <a:lnTo>
                    <a:pt x="569" y="693"/>
                  </a:lnTo>
                  <a:lnTo>
                    <a:pt x="564" y="707"/>
                  </a:lnTo>
                  <a:lnTo>
                    <a:pt x="564" y="712"/>
                  </a:lnTo>
                  <a:lnTo>
                    <a:pt x="566" y="717"/>
                  </a:lnTo>
                  <a:lnTo>
                    <a:pt x="566" y="717"/>
                  </a:lnTo>
                  <a:lnTo>
                    <a:pt x="578" y="738"/>
                  </a:lnTo>
                  <a:lnTo>
                    <a:pt x="585" y="747"/>
                  </a:lnTo>
                  <a:lnTo>
                    <a:pt x="590" y="750"/>
                  </a:lnTo>
                  <a:lnTo>
                    <a:pt x="595" y="752"/>
                  </a:lnTo>
                  <a:lnTo>
                    <a:pt x="595" y="752"/>
                  </a:lnTo>
                  <a:lnTo>
                    <a:pt x="600" y="752"/>
                  </a:lnTo>
                  <a:lnTo>
                    <a:pt x="606" y="748"/>
                  </a:lnTo>
                  <a:lnTo>
                    <a:pt x="613" y="741"/>
                  </a:lnTo>
                  <a:lnTo>
                    <a:pt x="614" y="741"/>
                  </a:lnTo>
                  <a:lnTo>
                    <a:pt x="616" y="743"/>
                  </a:lnTo>
                  <a:lnTo>
                    <a:pt x="616" y="767"/>
                  </a:lnTo>
                  <a:lnTo>
                    <a:pt x="616" y="767"/>
                  </a:lnTo>
                  <a:lnTo>
                    <a:pt x="614" y="794"/>
                  </a:lnTo>
                  <a:lnTo>
                    <a:pt x="613" y="797"/>
                  </a:lnTo>
                  <a:lnTo>
                    <a:pt x="613" y="795"/>
                  </a:lnTo>
                  <a:lnTo>
                    <a:pt x="607" y="790"/>
                  </a:lnTo>
                  <a:lnTo>
                    <a:pt x="606" y="788"/>
                  </a:lnTo>
                  <a:lnTo>
                    <a:pt x="602" y="790"/>
                  </a:lnTo>
                  <a:lnTo>
                    <a:pt x="602" y="790"/>
                  </a:lnTo>
                  <a:lnTo>
                    <a:pt x="597" y="794"/>
                  </a:lnTo>
                  <a:lnTo>
                    <a:pt x="595" y="795"/>
                  </a:lnTo>
                  <a:lnTo>
                    <a:pt x="592" y="794"/>
                  </a:lnTo>
                  <a:lnTo>
                    <a:pt x="586" y="788"/>
                  </a:lnTo>
                  <a:lnTo>
                    <a:pt x="579" y="774"/>
                  </a:lnTo>
                  <a:lnTo>
                    <a:pt x="579" y="774"/>
                  </a:lnTo>
                  <a:lnTo>
                    <a:pt x="571" y="760"/>
                  </a:lnTo>
                  <a:lnTo>
                    <a:pt x="564" y="752"/>
                  </a:lnTo>
                  <a:lnTo>
                    <a:pt x="555" y="748"/>
                  </a:lnTo>
                  <a:lnTo>
                    <a:pt x="546" y="747"/>
                  </a:lnTo>
                  <a:lnTo>
                    <a:pt x="546" y="747"/>
                  </a:lnTo>
                  <a:lnTo>
                    <a:pt x="539" y="743"/>
                  </a:lnTo>
                  <a:lnTo>
                    <a:pt x="534" y="738"/>
                  </a:lnTo>
                  <a:lnTo>
                    <a:pt x="531" y="731"/>
                  </a:lnTo>
                  <a:lnTo>
                    <a:pt x="527" y="724"/>
                  </a:lnTo>
                  <a:lnTo>
                    <a:pt x="527" y="724"/>
                  </a:lnTo>
                  <a:lnTo>
                    <a:pt x="526" y="719"/>
                  </a:lnTo>
                  <a:lnTo>
                    <a:pt x="522" y="715"/>
                  </a:lnTo>
                  <a:lnTo>
                    <a:pt x="520" y="715"/>
                  </a:lnTo>
                  <a:lnTo>
                    <a:pt x="519" y="717"/>
                  </a:lnTo>
                  <a:lnTo>
                    <a:pt x="517" y="726"/>
                  </a:lnTo>
                  <a:lnTo>
                    <a:pt x="517" y="726"/>
                  </a:lnTo>
                  <a:lnTo>
                    <a:pt x="515" y="731"/>
                  </a:lnTo>
                  <a:lnTo>
                    <a:pt x="513" y="734"/>
                  </a:lnTo>
                  <a:lnTo>
                    <a:pt x="510" y="736"/>
                  </a:lnTo>
                  <a:lnTo>
                    <a:pt x="505" y="736"/>
                  </a:lnTo>
                  <a:lnTo>
                    <a:pt x="492" y="733"/>
                  </a:lnTo>
                  <a:lnTo>
                    <a:pt x="473" y="726"/>
                  </a:lnTo>
                  <a:lnTo>
                    <a:pt x="473" y="726"/>
                  </a:lnTo>
                  <a:lnTo>
                    <a:pt x="463" y="722"/>
                  </a:lnTo>
                  <a:lnTo>
                    <a:pt x="459" y="717"/>
                  </a:lnTo>
                  <a:lnTo>
                    <a:pt x="459" y="712"/>
                  </a:lnTo>
                  <a:lnTo>
                    <a:pt x="459" y="707"/>
                  </a:lnTo>
                  <a:lnTo>
                    <a:pt x="459" y="703"/>
                  </a:lnTo>
                  <a:lnTo>
                    <a:pt x="458" y="701"/>
                  </a:lnTo>
                  <a:lnTo>
                    <a:pt x="452" y="701"/>
                  </a:lnTo>
                  <a:lnTo>
                    <a:pt x="442" y="707"/>
                  </a:lnTo>
                  <a:lnTo>
                    <a:pt x="442" y="707"/>
                  </a:lnTo>
                  <a:lnTo>
                    <a:pt x="433" y="710"/>
                  </a:lnTo>
                  <a:lnTo>
                    <a:pt x="430" y="708"/>
                  </a:lnTo>
                  <a:lnTo>
                    <a:pt x="428" y="707"/>
                  </a:lnTo>
                  <a:lnTo>
                    <a:pt x="428" y="701"/>
                  </a:lnTo>
                  <a:lnTo>
                    <a:pt x="426" y="696"/>
                  </a:lnTo>
                  <a:lnTo>
                    <a:pt x="425" y="691"/>
                  </a:lnTo>
                  <a:lnTo>
                    <a:pt x="421" y="687"/>
                  </a:lnTo>
                  <a:lnTo>
                    <a:pt x="412" y="686"/>
                  </a:lnTo>
                  <a:lnTo>
                    <a:pt x="412" y="686"/>
                  </a:lnTo>
                  <a:lnTo>
                    <a:pt x="411" y="691"/>
                  </a:lnTo>
                  <a:lnTo>
                    <a:pt x="407" y="693"/>
                  </a:lnTo>
                  <a:lnTo>
                    <a:pt x="404" y="693"/>
                  </a:lnTo>
                  <a:lnTo>
                    <a:pt x="398" y="691"/>
                  </a:lnTo>
                  <a:lnTo>
                    <a:pt x="398" y="691"/>
                  </a:lnTo>
                  <a:lnTo>
                    <a:pt x="395" y="689"/>
                  </a:lnTo>
                  <a:lnTo>
                    <a:pt x="391" y="689"/>
                  </a:lnTo>
                  <a:lnTo>
                    <a:pt x="386" y="693"/>
                  </a:lnTo>
                  <a:lnTo>
                    <a:pt x="379" y="694"/>
                  </a:lnTo>
                  <a:lnTo>
                    <a:pt x="374" y="694"/>
                  </a:lnTo>
                  <a:lnTo>
                    <a:pt x="369" y="693"/>
                  </a:lnTo>
                  <a:lnTo>
                    <a:pt x="369" y="693"/>
                  </a:lnTo>
                  <a:lnTo>
                    <a:pt x="364" y="693"/>
                  </a:lnTo>
                  <a:lnTo>
                    <a:pt x="362" y="694"/>
                  </a:lnTo>
                  <a:lnTo>
                    <a:pt x="360" y="694"/>
                  </a:lnTo>
                  <a:lnTo>
                    <a:pt x="360" y="698"/>
                  </a:lnTo>
                  <a:lnTo>
                    <a:pt x="358" y="701"/>
                  </a:lnTo>
                  <a:lnTo>
                    <a:pt x="355" y="703"/>
                  </a:lnTo>
                  <a:lnTo>
                    <a:pt x="351" y="703"/>
                  </a:lnTo>
                  <a:lnTo>
                    <a:pt x="351" y="703"/>
                  </a:lnTo>
                  <a:lnTo>
                    <a:pt x="348" y="701"/>
                  </a:lnTo>
                  <a:lnTo>
                    <a:pt x="348" y="696"/>
                  </a:lnTo>
                  <a:lnTo>
                    <a:pt x="351" y="684"/>
                  </a:lnTo>
                  <a:lnTo>
                    <a:pt x="353" y="675"/>
                  </a:lnTo>
                  <a:lnTo>
                    <a:pt x="353" y="665"/>
                  </a:lnTo>
                  <a:lnTo>
                    <a:pt x="350" y="656"/>
                  </a:lnTo>
                  <a:lnTo>
                    <a:pt x="344" y="646"/>
                  </a:lnTo>
                  <a:lnTo>
                    <a:pt x="344" y="646"/>
                  </a:lnTo>
                  <a:lnTo>
                    <a:pt x="339" y="635"/>
                  </a:lnTo>
                  <a:lnTo>
                    <a:pt x="336" y="625"/>
                  </a:lnTo>
                  <a:lnTo>
                    <a:pt x="336" y="614"/>
                  </a:lnTo>
                  <a:lnTo>
                    <a:pt x="336" y="606"/>
                  </a:lnTo>
                  <a:lnTo>
                    <a:pt x="339" y="586"/>
                  </a:lnTo>
                  <a:lnTo>
                    <a:pt x="339" y="579"/>
                  </a:lnTo>
                  <a:lnTo>
                    <a:pt x="337" y="571"/>
                  </a:lnTo>
                  <a:lnTo>
                    <a:pt x="337" y="571"/>
                  </a:lnTo>
                  <a:lnTo>
                    <a:pt x="334" y="560"/>
                  </a:lnTo>
                  <a:lnTo>
                    <a:pt x="334" y="553"/>
                  </a:lnTo>
                  <a:lnTo>
                    <a:pt x="336" y="546"/>
                  </a:lnTo>
                  <a:lnTo>
                    <a:pt x="337" y="539"/>
                  </a:lnTo>
                  <a:lnTo>
                    <a:pt x="337" y="539"/>
                  </a:lnTo>
                  <a:lnTo>
                    <a:pt x="336" y="538"/>
                  </a:lnTo>
                  <a:lnTo>
                    <a:pt x="334" y="536"/>
                  </a:lnTo>
                  <a:lnTo>
                    <a:pt x="329" y="534"/>
                  </a:lnTo>
                  <a:lnTo>
                    <a:pt x="311" y="534"/>
                  </a:lnTo>
                  <a:lnTo>
                    <a:pt x="303" y="534"/>
                  </a:lnTo>
                  <a:lnTo>
                    <a:pt x="296" y="534"/>
                  </a:lnTo>
                  <a:lnTo>
                    <a:pt x="292" y="531"/>
                  </a:lnTo>
                  <a:lnTo>
                    <a:pt x="292" y="529"/>
                  </a:lnTo>
                  <a:lnTo>
                    <a:pt x="292" y="527"/>
                  </a:lnTo>
                  <a:lnTo>
                    <a:pt x="292" y="527"/>
                  </a:lnTo>
                  <a:lnTo>
                    <a:pt x="294" y="520"/>
                  </a:lnTo>
                  <a:lnTo>
                    <a:pt x="294" y="518"/>
                  </a:lnTo>
                  <a:lnTo>
                    <a:pt x="292" y="517"/>
                  </a:lnTo>
                  <a:lnTo>
                    <a:pt x="289" y="517"/>
                  </a:lnTo>
                  <a:lnTo>
                    <a:pt x="283" y="520"/>
                  </a:lnTo>
                  <a:lnTo>
                    <a:pt x="283" y="520"/>
                  </a:lnTo>
                  <a:lnTo>
                    <a:pt x="280" y="520"/>
                  </a:lnTo>
                  <a:lnTo>
                    <a:pt x="277" y="522"/>
                  </a:lnTo>
                  <a:lnTo>
                    <a:pt x="266" y="520"/>
                  </a:lnTo>
                  <a:lnTo>
                    <a:pt x="263" y="522"/>
                  </a:lnTo>
                  <a:lnTo>
                    <a:pt x="259" y="524"/>
                  </a:lnTo>
                  <a:lnTo>
                    <a:pt x="256" y="527"/>
                  </a:lnTo>
                  <a:lnTo>
                    <a:pt x="256" y="532"/>
                  </a:lnTo>
                  <a:lnTo>
                    <a:pt x="256" y="532"/>
                  </a:lnTo>
                  <a:lnTo>
                    <a:pt x="254" y="541"/>
                  </a:lnTo>
                  <a:lnTo>
                    <a:pt x="252" y="545"/>
                  </a:lnTo>
                  <a:lnTo>
                    <a:pt x="250" y="548"/>
                  </a:lnTo>
                  <a:lnTo>
                    <a:pt x="250" y="555"/>
                  </a:lnTo>
                  <a:lnTo>
                    <a:pt x="250" y="555"/>
                  </a:lnTo>
                  <a:lnTo>
                    <a:pt x="250" y="560"/>
                  </a:lnTo>
                  <a:lnTo>
                    <a:pt x="250" y="564"/>
                  </a:lnTo>
                  <a:lnTo>
                    <a:pt x="247" y="565"/>
                  </a:lnTo>
                  <a:lnTo>
                    <a:pt x="243" y="565"/>
                  </a:lnTo>
                  <a:lnTo>
                    <a:pt x="236" y="565"/>
                  </a:lnTo>
                  <a:lnTo>
                    <a:pt x="228" y="562"/>
                  </a:lnTo>
                  <a:lnTo>
                    <a:pt x="228" y="562"/>
                  </a:lnTo>
                  <a:lnTo>
                    <a:pt x="224" y="560"/>
                  </a:lnTo>
                  <a:lnTo>
                    <a:pt x="219" y="560"/>
                  </a:lnTo>
                  <a:lnTo>
                    <a:pt x="205" y="565"/>
                  </a:lnTo>
                  <a:lnTo>
                    <a:pt x="196" y="567"/>
                  </a:lnTo>
                  <a:lnTo>
                    <a:pt x="191" y="567"/>
                  </a:lnTo>
                  <a:lnTo>
                    <a:pt x="186" y="564"/>
                  </a:lnTo>
                  <a:lnTo>
                    <a:pt x="182" y="559"/>
                  </a:lnTo>
                  <a:lnTo>
                    <a:pt x="182" y="559"/>
                  </a:lnTo>
                  <a:lnTo>
                    <a:pt x="176" y="548"/>
                  </a:lnTo>
                  <a:lnTo>
                    <a:pt x="170" y="541"/>
                  </a:lnTo>
                  <a:lnTo>
                    <a:pt x="167" y="534"/>
                  </a:lnTo>
                  <a:lnTo>
                    <a:pt x="165" y="531"/>
                  </a:lnTo>
                  <a:lnTo>
                    <a:pt x="165" y="525"/>
                  </a:lnTo>
                  <a:lnTo>
                    <a:pt x="165" y="525"/>
                  </a:lnTo>
                  <a:lnTo>
                    <a:pt x="165" y="517"/>
                  </a:lnTo>
                  <a:lnTo>
                    <a:pt x="162" y="512"/>
                  </a:lnTo>
                  <a:lnTo>
                    <a:pt x="158" y="505"/>
                  </a:lnTo>
                  <a:lnTo>
                    <a:pt x="156" y="492"/>
                  </a:lnTo>
                  <a:lnTo>
                    <a:pt x="156" y="492"/>
                  </a:lnTo>
                  <a:lnTo>
                    <a:pt x="155" y="480"/>
                  </a:lnTo>
                  <a:lnTo>
                    <a:pt x="153" y="475"/>
                  </a:lnTo>
                  <a:lnTo>
                    <a:pt x="148" y="473"/>
                  </a:lnTo>
                  <a:lnTo>
                    <a:pt x="142" y="471"/>
                  </a:lnTo>
                  <a:lnTo>
                    <a:pt x="134" y="471"/>
                  </a:lnTo>
                  <a:lnTo>
                    <a:pt x="104" y="473"/>
                  </a:lnTo>
                  <a:lnTo>
                    <a:pt x="104" y="473"/>
                  </a:lnTo>
                  <a:lnTo>
                    <a:pt x="87" y="475"/>
                  </a:lnTo>
                  <a:lnTo>
                    <a:pt x="75" y="475"/>
                  </a:lnTo>
                  <a:lnTo>
                    <a:pt x="59" y="473"/>
                  </a:lnTo>
                  <a:lnTo>
                    <a:pt x="47" y="470"/>
                  </a:lnTo>
                  <a:lnTo>
                    <a:pt x="40" y="470"/>
                  </a:lnTo>
                  <a:lnTo>
                    <a:pt x="31" y="470"/>
                  </a:lnTo>
                  <a:lnTo>
                    <a:pt x="31" y="470"/>
                  </a:lnTo>
                  <a:lnTo>
                    <a:pt x="24" y="468"/>
                  </a:lnTo>
                  <a:lnTo>
                    <a:pt x="21" y="470"/>
                  </a:lnTo>
                  <a:lnTo>
                    <a:pt x="15" y="471"/>
                  </a:lnTo>
                  <a:lnTo>
                    <a:pt x="15" y="471"/>
                  </a:lnTo>
                  <a:lnTo>
                    <a:pt x="10" y="475"/>
                  </a:lnTo>
                  <a:lnTo>
                    <a:pt x="5" y="475"/>
                  </a:lnTo>
                  <a:lnTo>
                    <a:pt x="3" y="475"/>
                  </a:lnTo>
                  <a:lnTo>
                    <a:pt x="0" y="470"/>
                  </a:lnTo>
                  <a:lnTo>
                    <a:pt x="0" y="470"/>
                  </a:lnTo>
                  <a:lnTo>
                    <a:pt x="7" y="468"/>
                  </a:lnTo>
                  <a:lnTo>
                    <a:pt x="8" y="465"/>
                  </a:lnTo>
                  <a:lnTo>
                    <a:pt x="10" y="461"/>
                  </a:lnTo>
                  <a:lnTo>
                    <a:pt x="10" y="454"/>
                  </a:lnTo>
                  <a:lnTo>
                    <a:pt x="12" y="444"/>
                  </a:lnTo>
                  <a:lnTo>
                    <a:pt x="12" y="437"/>
                  </a:lnTo>
                  <a:lnTo>
                    <a:pt x="15" y="433"/>
                  </a:lnTo>
                  <a:lnTo>
                    <a:pt x="15" y="433"/>
                  </a:lnTo>
                  <a:lnTo>
                    <a:pt x="21" y="426"/>
                  </a:lnTo>
                  <a:lnTo>
                    <a:pt x="26" y="423"/>
                  </a:lnTo>
                  <a:lnTo>
                    <a:pt x="29" y="423"/>
                  </a:lnTo>
                  <a:lnTo>
                    <a:pt x="33" y="423"/>
                  </a:lnTo>
                  <a:lnTo>
                    <a:pt x="33" y="423"/>
                  </a:lnTo>
                  <a:lnTo>
                    <a:pt x="38" y="428"/>
                  </a:lnTo>
                  <a:lnTo>
                    <a:pt x="45" y="428"/>
                  </a:lnTo>
                  <a:lnTo>
                    <a:pt x="50" y="424"/>
                  </a:lnTo>
                  <a:lnTo>
                    <a:pt x="55" y="421"/>
                  </a:lnTo>
                  <a:lnTo>
                    <a:pt x="64" y="411"/>
                  </a:lnTo>
                  <a:lnTo>
                    <a:pt x="69" y="409"/>
                  </a:lnTo>
                  <a:lnTo>
                    <a:pt x="73" y="409"/>
                  </a:lnTo>
                  <a:lnTo>
                    <a:pt x="75" y="411"/>
                  </a:lnTo>
                  <a:lnTo>
                    <a:pt x="75" y="411"/>
                  </a:lnTo>
                  <a:lnTo>
                    <a:pt x="78" y="412"/>
                  </a:lnTo>
                  <a:lnTo>
                    <a:pt x="78" y="416"/>
                  </a:lnTo>
                  <a:lnTo>
                    <a:pt x="76" y="423"/>
                  </a:lnTo>
                  <a:lnTo>
                    <a:pt x="75" y="424"/>
                  </a:lnTo>
                  <a:lnTo>
                    <a:pt x="75" y="428"/>
                  </a:lnTo>
                  <a:lnTo>
                    <a:pt x="76" y="430"/>
                  </a:lnTo>
                  <a:lnTo>
                    <a:pt x="80" y="433"/>
                  </a:lnTo>
                  <a:lnTo>
                    <a:pt x="80" y="433"/>
                  </a:lnTo>
                  <a:lnTo>
                    <a:pt x="83" y="433"/>
                  </a:lnTo>
                  <a:lnTo>
                    <a:pt x="87" y="433"/>
                  </a:lnTo>
                  <a:lnTo>
                    <a:pt x="94" y="430"/>
                  </a:lnTo>
                  <a:lnTo>
                    <a:pt x="99" y="424"/>
                  </a:lnTo>
                  <a:lnTo>
                    <a:pt x="104" y="417"/>
                  </a:lnTo>
                  <a:lnTo>
                    <a:pt x="113" y="404"/>
                  </a:lnTo>
                  <a:lnTo>
                    <a:pt x="116" y="398"/>
                  </a:lnTo>
                  <a:lnTo>
                    <a:pt x="122" y="395"/>
                  </a:lnTo>
                  <a:lnTo>
                    <a:pt x="122" y="395"/>
                  </a:lnTo>
                  <a:lnTo>
                    <a:pt x="125" y="393"/>
                  </a:lnTo>
                  <a:lnTo>
                    <a:pt x="130" y="390"/>
                  </a:lnTo>
                  <a:lnTo>
                    <a:pt x="134" y="386"/>
                  </a:lnTo>
                  <a:lnTo>
                    <a:pt x="137" y="379"/>
                  </a:lnTo>
                  <a:lnTo>
                    <a:pt x="139" y="372"/>
                  </a:lnTo>
                  <a:lnTo>
                    <a:pt x="141" y="365"/>
                  </a:lnTo>
                  <a:lnTo>
                    <a:pt x="141" y="358"/>
                  </a:lnTo>
                  <a:lnTo>
                    <a:pt x="139" y="353"/>
                  </a:lnTo>
                  <a:lnTo>
                    <a:pt x="139" y="353"/>
                  </a:lnTo>
                  <a:lnTo>
                    <a:pt x="137" y="348"/>
                  </a:lnTo>
                  <a:lnTo>
                    <a:pt x="137" y="341"/>
                  </a:lnTo>
                  <a:lnTo>
                    <a:pt x="137" y="329"/>
                  </a:lnTo>
                  <a:lnTo>
                    <a:pt x="141" y="317"/>
                  </a:lnTo>
                  <a:lnTo>
                    <a:pt x="148" y="303"/>
                  </a:lnTo>
                  <a:lnTo>
                    <a:pt x="155" y="290"/>
                  </a:lnTo>
                  <a:lnTo>
                    <a:pt x="163" y="280"/>
                  </a:lnTo>
                  <a:lnTo>
                    <a:pt x="170" y="271"/>
                  </a:lnTo>
                  <a:lnTo>
                    <a:pt x="179" y="266"/>
                  </a:lnTo>
                  <a:lnTo>
                    <a:pt x="179" y="266"/>
                  </a:lnTo>
                  <a:lnTo>
                    <a:pt x="184" y="261"/>
                  </a:lnTo>
                  <a:lnTo>
                    <a:pt x="188" y="257"/>
                  </a:lnTo>
                  <a:lnTo>
                    <a:pt x="189" y="252"/>
                  </a:lnTo>
                  <a:lnTo>
                    <a:pt x="191" y="247"/>
                  </a:lnTo>
                  <a:lnTo>
                    <a:pt x="193" y="233"/>
                  </a:lnTo>
                  <a:lnTo>
                    <a:pt x="195" y="224"/>
                  </a:lnTo>
                  <a:lnTo>
                    <a:pt x="198" y="216"/>
                  </a:lnTo>
                  <a:lnTo>
                    <a:pt x="198" y="216"/>
                  </a:lnTo>
                  <a:lnTo>
                    <a:pt x="202" y="209"/>
                  </a:lnTo>
                  <a:lnTo>
                    <a:pt x="202" y="203"/>
                  </a:lnTo>
                  <a:lnTo>
                    <a:pt x="202" y="200"/>
                  </a:lnTo>
                  <a:lnTo>
                    <a:pt x="200" y="196"/>
                  </a:lnTo>
                  <a:lnTo>
                    <a:pt x="198" y="191"/>
                  </a:lnTo>
                  <a:lnTo>
                    <a:pt x="198" y="186"/>
                  </a:lnTo>
                  <a:lnTo>
                    <a:pt x="198" y="179"/>
                  </a:lnTo>
                  <a:lnTo>
                    <a:pt x="200" y="169"/>
                  </a:lnTo>
                  <a:lnTo>
                    <a:pt x="200" y="169"/>
                  </a:lnTo>
                  <a:lnTo>
                    <a:pt x="203" y="156"/>
                  </a:lnTo>
                  <a:lnTo>
                    <a:pt x="203" y="149"/>
                  </a:lnTo>
                  <a:lnTo>
                    <a:pt x="203" y="137"/>
                  </a:lnTo>
                  <a:lnTo>
                    <a:pt x="205" y="128"/>
                  </a:lnTo>
                  <a:lnTo>
                    <a:pt x="207" y="123"/>
                  </a:lnTo>
                  <a:lnTo>
                    <a:pt x="210" y="116"/>
                  </a:lnTo>
                  <a:lnTo>
                    <a:pt x="210" y="116"/>
                  </a:lnTo>
                  <a:lnTo>
                    <a:pt x="219" y="101"/>
                  </a:lnTo>
                  <a:lnTo>
                    <a:pt x="224" y="92"/>
                  </a:lnTo>
                  <a:lnTo>
                    <a:pt x="226" y="85"/>
                  </a:lnTo>
                  <a:lnTo>
                    <a:pt x="224" y="78"/>
                  </a:lnTo>
                  <a:lnTo>
                    <a:pt x="224" y="78"/>
                  </a:lnTo>
                  <a:lnTo>
                    <a:pt x="221" y="52"/>
                  </a:lnTo>
                  <a:lnTo>
                    <a:pt x="221" y="43"/>
                  </a:lnTo>
                  <a:lnTo>
                    <a:pt x="224" y="41"/>
                  </a:lnTo>
                  <a:lnTo>
                    <a:pt x="226" y="38"/>
                  </a:lnTo>
                  <a:lnTo>
                    <a:pt x="226" y="38"/>
                  </a:lnTo>
                  <a:lnTo>
                    <a:pt x="229" y="34"/>
                  </a:lnTo>
                  <a:lnTo>
                    <a:pt x="233" y="29"/>
                  </a:lnTo>
                  <a:lnTo>
                    <a:pt x="238" y="17"/>
                  </a:lnTo>
                  <a:lnTo>
                    <a:pt x="242" y="12"/>
                  </a:lnTo>
                  <a:lnTo>
                    <a:pt x="247" y="8"/>
                  </a:lnTo>
                  <a:lnTo>
                    <a:pt x="256" y="7"/>
                  </a:lnTo>
                  <a:lnTo>
                    <a:pt x="264" y="10"/>
                  </a:lnTo>
                  <a:lnTo>
                    <a:pt x="264" y="10"/>
                  </a:lnTo>
                  <a:lnTo>
                    <a:pt x="275" y="15"/>
                  </a:lnTo>
                  <a:lnTo>
                    <a:pt x="280" y="21"/>
                  </a:lnTo>
                  <a:lnTo>
                    <a:pt x="283" y="26"/>
                  </a:lnTo>
                  <a:lnTo>
                    <a:pt x="287" y="29"/>
                  </a:lnTo>
                  <a:lnTo>
                    <a:pt x="289" y="34"/>
                  </a:lnTo>
                  <a:lnTo>
                    <a:pt x="292" y="36"/>
                  </a:lnTo>
                  <a:lnTo>
                    <a:pt x="297" y="38"/>
                  </a:lnTo>
                  <a:lnTo>
                    <a:pt x="297" y="38"/>
                  </a:lnTo>
                  <a:lnTo>
                    <a:pt x="311" y="40"/>
                  </a:lnTo>
                  <a:lnTo>
                    <a:pt x="324" y="43"/>
                  </a:lnTo>
                  <a:lnTo>
                    <a:pt x="343" y="50"/>
                  </a:lnTo>
                  <a:lnTo>
                    <a:pt x="350" y="50"/>
                  </a:lnTo>
                  <a:lnTo>
                    <a:pt x="357" y="48"/>
                  </a:lnTo>
                  <a:lnTo>
                    <a:pt x="362" y="43"/>
                  </a:lnTo>
                  <a:lnTo>
                    <a:pt x="367" y="34"/>
                  </a:lnTo>
                  <a:lnTo>
                    <a:pt x="367" y="34"/>
                  </a:lnTo>
                  <a:lnTo>
                    <a:pt x="371" y="24"/>
                  </a:lnTo>
                  <a:lnTo>
                    <a:pt x="374" y="21"/>
                  </a:lnTo>
                  <a:lnTo>
                    <a:pt x="376" y="21"/>
                  </a:lnTo>
                  <a:lnTo>
                    <a:pt x="379" y="24"/>
                  </a:lnTo>
                  <a:lnTo>
                    <a:pt x="384" y="26"/>
                  </a:lnTo>
                  <a:lnTo>
                    <a:pt x="390" y="27"/>
                  </a:lnTo>
                  <a:lnTo>
                    <a:pt x="400" y="26"/>
                  </a:lnTo>
                  <a:lnTo>
                    <a:pt x="412" y="19"/>
                  </a:lnTo>
                  <a:lnTo>
                    <a:pt x="412" y="19"/>
                  </a:lnTo>
                  <a:lnTo>
                    <a:pt x="423" y="15"/>
                  </a:lnTo>
                  <a:lnTo>
                    <a:pt x="431" y="14"/>
                  </a:lnTo>
                  <a:lnTo>
                    <a:pt x="437" y="14"/>
                  </a:lnTo>
                  <a:lnTo>
                    <a:pt x="442" y="15"/>
                  </a:lnTo>
                  <a:lnTo>
                    <a:pt x="445" y="15"/>
                  </a:lnTo>
                  <a:lnTo>
                    <a:pt x="449" y="15"/>
                  </a:lnTo>
                  <a:lnTo>
                    <a:pt x="452" y="14"/>
                  </a:lnTo>
                  <a:lnTo>
                    <a:pt x="458" y="7"/>
                  </a:lnTo>
                  <a:lnTo>
                    <a:pt x="458" y="7"/>
                  </a:lnTo>
                  <a:lnTo>
                    <a:pt x="461" y="3"/>
                  </a:lnTo>
                  <a:lnTo>
                    <a:pt x="465" y="1"/>
                  </a:lnTo>
                  <a:lnTo>
                    <a:pt x="472" y="0"/>
                  </a:lnTo>
                  <a:lnTo>
                    <a:pt x="480" y="1"/>
                  </a:lnTo>
                  <a:lnTo>
                    <a:pt x="489" y="5"/>
                  </a:lnTo>
                  <a:lnTo>
                    <a:pt x="503" y="12"/>
                  </a:lnTo>
                  <a:lnTo>
                    <a:pt x="510" y="14"/>
                  </a:lnTo>
                  <a:lnTo>
                    <a:pt x="512" y="12"/>
                  </a:lnTo>
                  <a:lnTo>
                    <a:pt x="513" y="10"/>
                  </a:lnTo>
                  <a:lnTo>
                    <a:pt x="513" y="10"/>
                  </a:lnTo>
                  <a:lnTo>
                    <a:pt x="517" y="8"/>
                  </a:lnTo>
                  <a:lnTo>
                    <a:pt x="519" y="7"/>
                  </a:lnTo>
                  <a:lnTo>
                    <a:pt x="524" y="8"/>
                  </a:lnTo>
                  <a:lnTo>
                    <a:pt x="529" y="12"/>
                  </a:lnTo>
                  <a:lnTo>
                    <a:pt x="536" y="15"/>
                  </a:lnTo>
                  <a:lnTo>
                    <a:pt x="536" y="15"/>
                  </a:lnTo>
                  <a:lnTo>
                    <a:pt x="546" y="27"/>
                  </a:lnTo>
                  <a:lnTo>
                    <a:pt x="557" y="38"/>
                  </a:lnTo>
                  <a:lnTo>
                    <a:pt x="560" y="41"/>
                  </a:lnTo>
                  <a:lnTo>
                    <a:pt x="566" y="41"/>
                  </a:lnTo>
                  <a:lnTo>
                    <a:pt x="569" y="41"/>
                  </a:lnTo>
                  <a:lnTo>
                    <a:pt x="574" y="38"/>
                  </a:lnTo>
                  <a:lnTo>
                    <a:pt x="574" y="38"/>
                  </a:lnTo>
                  <a:lnTo>
                    <a:pt x="579" y="34"/>
                  </a:lnTo>
                  <a:lnTo>
                    <a:pt x="583" y="33"/>
                  </a:lnTo>
                  <a:lnTo>
                    <a:pt x="586" y="34"/>
                  </a:lnTo>
                  <a:lnTo>
                    <a:pt x="588" y="36"/>
                  </a:lnTo>
                  <a:lnTo>
                    <a:pt x="592" y="38"/>
                  </a:lnTo>
                  <a:lnTo>
                    <a:pt x="595" y="40"/>
                  </a:lnTo>
                  <a:lnTo>
                    <a:pt x="597" y="38"/>
                  </a:lnTo>
                  <a:lnTo>
                    <a:pt x="600" y="34"/>
                  </a:lnTo>
                  <a:lnTo>
                    <a:pt x="600" y="34"/>
                  </a:lnTo>
                  <a:lnTo>
                    <a:pt x="604" y="29"/>
                  </a:lnTo>
                  <a:lnTo>
                    <a:pt x="607" y="27"/>
                  </a:lnTo>
                  <a:lnTo>
                    <a:pt x="611" y="27"/>
                  </a:lnTo>
                  <a:lnTo>
                    <a:pt x="613" y="27"/>
                  </a:lnTo>
                  <a:lnTo>
                    <a:pt x="620" y="36"/>
                  </a:lnTo>
                  <a:lnTo>
                    <a:pt x="626" y="48"/>
                  </a:lnTo>
                  <a:lnTo>
                    <a:pt x="626" y="48"/>
                  </a:lnTo>
                  <a:lnTo>
                    <a:pt x="630" y="54"/>
                  </a:lnTo>
                  <a:lnTo>
                    <a:pt x="633" y="57"/>
                  </a:lnTo>
                  <a:lnTo>
                    <a:pt x="639" y="61"/>
                  </a:lnTo>
                  <a:lnTo>
                    <a:pt x="646" y="66"/>
                  </a:lnTo>
                  <a:lnTo>
                    <a:pt x="649" y="71"/>
                  </a:lnTo>
                  <a:lnTo>
                    <a:pt x="653" y="78"/>
                  </a:lnTo>
                  <a:lnTo>
                    <a:pt x="653" y="78"/>
                  </a:lnTo>
                  <a:lnTo>
                    <a:pt x="649" y="97"/>
                  </a:lnTo>
                  <a:lnTo>
                    <a:pt x="647" y="113"/>
                  </a:lnTo>
                  <a:lnTo>
                    <a:pt x="647" y="118"/>
                  </a:lnTo>
                  <a:lnTo>
                    <a:pt x="649" y="122"/>
                  </a:lnTo>
                  <a:lnTo>
                    <a:pt x="653" y="125"/>
                  </a:lnTo>
                  <a:lnTo>
                    <a:pt x="660" y="128"/>
                  </a:lnTo>
                  <a:lnTo>
                    <a:pt x="660" y="128"/>
                  </a:lnTo>
                  <a:lnTo>
                    <a:pt x="665" y="132"/>
                  </a:lnTo>
                  <a:lnTo>
                    <a:pt x="667" y="137"/>
                  </a:lnTo>
                  <a:lnTo>
                    <a:pt x="665" y="142"/>
                  </a:lnTo>
                  <a:lnTo>
                    <a:pt x="661" y="148"/>
                  </a:lnTo>
                  <a:lnTo>
                    <a:pt x="647" y="162"/>
                  </a:lnTo>
                  <a:lnTo>
                    <a:pt x="633" y="175"/>
                  </a:lnTo>
                  <a:lnTo>
                    <a:pt x="633" y="175"/>
                  </a:lnTo>
                  <a:lnTo>
                    <a:pt x="626" y="184"/>
                  </a:lnTo>
                  <a:lnTo>
                    <a:pt x="623" y="195"/>
                  </a:lnTo>
                  <a:lnTo>
                    <a:pt x="618" y="207"/>
                  </a:lnTo>
                  <a:lnTo>
                    <a:pt x="616" y="221"/>
                  </a:lnTo>
                  <a:lnTo>
                    <a:pt x="613" y="252"/>
                  </a:lnTo>
                  <a:lnTo>
                    <a:pt x="609" y="283"/>
                  </a:lnTo>
                  <a:lnTo>
                    <a:pt x="609" y="283"/>
                  </a:lnTo>
                  <a:lnTo>
                    <a:pt x="599" y="292"/>
                  </a:lnTo>
                  <a:lnTo>
                    <a:pt x="593" y="299"/>
                  </a:lnTo>
                  <a:lnTo>
                    <a:pt x="592" y="304"/>
                  </a:lnTo>
                  <a:lnTo>
                    <a:pt x="592" y="310"/>
                  </a:lnTo>
                  <a:lnTo>
                    <a:pt x="593" y="315"/>
                  </a:lnTo>
                  <a:lnTo>
                    <a:pt x="593" y="318"/>
                  </a:lnTo>
                  <a:lnTo>
                    <a:pt x="588" y="322"/>
                  </a:lnTo>
                  <a:lnTo>
                    <a:pt x="588" y="322"/>
                  </a:lnTo>
                  <a:lnTo>
                    <a:pt x="583" y="327"/>
                  </a:lnTo>
                  <a:lnTo>
                    <a:pt x="581" y="330"/>
                  </a:lnTo>
                  <a:lnTo>
                    <a:pt x="581" y="332"/>
                  </a:lnTo>
                  <a:lnTo>
                    <a:pt x="588" y="341"/>
                  </a:lnTo>
                  <a:lnTo>
                    <a:pt x="588" y="341"/>
                  </a:lnTo>
                  <a:lnTo>
                    <a:pt x="590" y="348"/>
                  </a:lnTo>
                  <a:lnTo>
                    <a:pt x="593" y="353"/>
                  </a:lnTo>
                  <a:lnTo>
                    <a:pt x="595" y="362"/>
                  </a:lnTo>
                  <a:lnTo>
                    <a:pt x="595" y="374"/>
                  </a:lnTo>
                  <a:lnTo>
                    <a:pt x="595" y="374"/>
                  </a:lnTo>
                  <a:lnTo>
                    <a:pt x="595" y="386"/>
                  </a:lnTo>
                  <a:lnTo>
                    <a:pt x="597" y="397"/>
                  </a:lnTo>
                  <a:lnTo>
                    <a:pt x="600" y="407"/>
                  </a:lnTo>
                  <a:lnTo>
                    <a:pt x="602" y="417"/>
                  </a:lnTo>
                  <a:lnTo>
                    <a:pt x="602" y="4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0" name="Freeform 1973">
              <a:extLst>
                <a:ext uri="{FF2B5EF4-FFF2-40B4-BE49-F238E27FC236}">
                  <a16:creationId xmlns:a16="http://schemas.microsoft.com/office/drawing/2014/main" id="{75F258FC-AF00-4C33-B2EF-5C9C0EF657FB}"/>
                </a:ext>
              </a:extLst>
            </p:cNvPr>
            <p:cNvSpPr>
              <a:spLocks/>
            </p:cNvSpPr>
            <p:nvPr/>
          </p:nvSpPr>
          <p:spPr bwMode="auto">
            <a:xfrm>
              <a:off x="5549635" y="4548787"/>
              <a:ext cx="310112" cy="366496"/>
            </a:xfrm>
            <a:custGeom>
              <a:avLst/>
              <a:gdLst/>
              <a:ahLst/>
              <a:cxnLst>
                <a:cxn ang="0">
                  <a:pos x="13" y="144"/>
                </a:cxn>
                <a:cxn ang="0">
                  <a:pos x="28" y="129"/>
                </a:cxn>
                <a:cxn ang="0">
                  <a:pos x="46" y="101"/>
                </a:cxn>
                <a:cxn ang="0">
                  <a:pos x="53" y="89"/>
                </a:cxn>
                <a:cxn ang="0">
                  <a:pos x="42" y="80"/>
                </a:cxn>
                <a:cxn ang="0">
                  <a:pos x="39" y="76"/>
                </a:cxn>
                <a:cxn ang="0">
                  <a:pos x="42" y="62"/>
                </a:cxn>
                <a:cxn ang="0">
                  <a:pos x="49" y="57"/>
                </a:cxn>
                <a:cxn ang="0">
                  <a:pos x="53" y="45"/>
                </a:cxn>
                <a:cxn ang="0">
                  <a:pos x="49" y="21"/>
                </a:cxn>
                <a:cxn ang="0">
                  <a:pos x="39" y="2"/>
                </a:cxn>
                <a:cxn ang="0">
                  <a:pos x="96" y="0"/>
                </a:cxn>
                <a:cxn ang="0">
                  <a:pos x="241" y="52"/>
                </a:cxn>
                <a:cxn ang="0">
                  <a:pos x="291" y="85"/>
                </a:cxn>
                <a:cxn ang="0">
                  <a:pos x="293" y="94"/>
                </a:cxn>
                <a:cxn ang="0">
                  <a:pos x="293" y="106"/>
                </a:cxn>
                <a:cxn ang="0">
                  <a:pos x="326" y="137"/>
                </a:cxn>
                <a:cxn ang="0">
                  <a:pos x="349" y="155"/>
                </a:cxn>
                <a:cxn ang="0">
                  <a:pos x="338" y="181"/>
                </a:cxn>
                <a:cxn ang="0">
                  <a:pos x="331" y="202"/>
                </a:cxn>
                <a:cxn ang="0">
                  <a:pos x="335" y="228"/>
                </a:cxn>
                <a:cxn ang="0">
                  <a:pos x="354" y="250"/>
                </a:cxn>
                <a:cxn ang="0">
                  <a:pos x="356" y="261"/>
                </a:cxn>
                <a:cxn ang="0">
                  <a:pos x="349" y="270"/>
                </a:cxn>
                <a:cxn ang="0">
                  <a:pos x="352" y="285"/>
                </a:cxn>
                <a:cxn ang="0">
                  <a:pos x="354" y="301"/>
                </a:cxn>
                <a:cxn ang="0">
                  <a:pos x="349" y="313"/>
                </a:cxn>
                <a:cxn ang="0">
                  <a:pos x="352" y="331"/>
                </a:cxn>
                <a:cxn ang="0">
                  <a:pos x="363" y="371"/>
                </a:cxn>
                <a:cxn ang="0">
                  <a:pos x="370" y="388"/>
                </a:cxn>
                <a:cxn ang="0">
                  <a:pos x="389" y="404"/>
                </a:cxn>
                <a:cxn ang="0">
                  <a:pos x="366" y="421"/>
                </a:cxn>
                <a:cxn ang="0">
                  <a:pos x="335" y="439"/>
                </a:cxn>
                <a:cxn ang="0">
                  <a:pos x="314" y="439"/>
                </a:cxn>
                <a:cxn ang="0">
                  <a:pos x="303" y="433"/>
                </a:cxn>
                <a:cxn ang="0">
                  <a:pos x="300" y="439"/>
                </a:cxn>
                <a:cxn ang="0">
                  <a:pos x="289" y="452"/>
                </a:cxn>
                <a:cxn ang="0">
                  <a:pos x="275" y="454"/>
                </a:cxn>
                <a:cxn ang="0">
                  <a:pos x="265" y="449"/>
                </a:cxn>
                <a:cxn ang="0">
                  <a:pos x="249" y="454"/>
                </a:cxn>
                <a:cxn ang="0">
                  <a:pos x="235" y="447"/>
                </a:cxn>
                <a:cxn ang="0">
                  <a:pos x="227" y="442"/>
                </a:cxn>
                <a:cxn ang="0">
                  <a:pos x="215" y="447"/>
                </a:cxn>
                <a:cxn ang="0">
                  <a:pos x="187" y="447"/>
                </a:cxn>
                <a:cxn ang="0">
                  <a:pos x="181" y="433"/>
                </a:cxn>
                <a:cxn ang="0">
                  <a:pos x="181" y="409"/>
                </a:cxn>
                <a:cxn ang="0">
                  <a:pos x="174" y="388"/>
                </a:cxn>
                <a:cxn ang="0">
                  <a:pos x="157" y="365"/>
                </a:cxn>
                <a:cxn ang="0">
                  <a:pos x="126" y="357"/>
                </a:cxn>
                <a:cxn ang="0">
                  <a:pos x="98" y="344"/>
                </a:cxn>
                <a:cxn ang="0">
                  <a:pos x="91" y="338"/>
                </a:cxn>
                <a:cxn ang="0">
                  <a:pos x="84" y="334"/>
                </a:cxn>
                <a:cxn ang="0">
                  <a:pos x="79" y="329"/>
                </a:cxn>
                <a:cxn ang="0">
                  <a:pos x="74" y="322"/>
                </a:cxn>
                <a:cxn ang="0">
                  <a:pos x="54" y="311"/>
                </a:cxn>
                <a:cxn ang="0">
                  <a:pos x="42" y="291"/>
                </a:cxn>
                <a:cxn ang="0">
                  <a:pos x="33" y="264"/>
                </a:cxn>
                <a:cxn ang="0">
                  <a:pos x="11" y="231"/>
                </a:cxn>
                <a:cxn ang="0">
                  <a:pos x="7" y="207"/>
                </a:cxn>
                <a:cxn ang="0">
                  <a:pos x="9" y="193"/>
                </a:cxn>
                <a:cxn ang="0">
                  <a:pos x="0" y="155"/>
                </a:cxn>
              </a:cxnLst>
              <a:rect l="0" t="0" r="r" b="b"/>
              <a:pathLst>
                <a:path w="389" h="454">
                  <a:moveTo>
                    <a:pt x="2" y="146"/>
                  </a:moveTo>
                  <a:lnTo>
                    <a:pt x="2" y="146"/>
                  </a:lnTo>
                  <a:lnTo>
                    <a:pt x="13" y="144"/>
                  </a:lnTo>
                  <a:lnTo>
                    <a:pt x="20" y="141"/>
                  </a:lnTo>
                  <a:lnTo>
                    <a:pt x="25" y="136"/>
                  </a:lnTo>
                  <a:lnTo>
                    <a:pt x="28" y="129"/>
                  </a:lnTo>
                  <a:lnTo>
                    <a:pt x="35" y="115"/>
                  </a:lnTo>
                  <a:lnTo>
                    <a:pt x="39" y="108"/>
                  </a:lnTo>
                  <a:lnTo>
                    <a:pt x="46" y="101"/>
                  </a:lnTo>
                  <a:lnTo>
                    <a:pt x="46" y="101"/>
                  </a:lnTo>
                  <a:lnTo>
                    <a:pt x="51" y="94"/>
                  </a:lnTo>
                  <a:lnTo>
                    <a:pt x="53" y="89"/>
                  </a:lnTo>
                  <a:lnTo>
                    <a:pt x="53" y="85"/>
                  </a:lnTo>
                  <a:lnTo>
                    <a:pt x="49" y="83"/>
                  </a:lnTo>
                  <a:lnTo>
                    <a:pt x="42" y="80"/>
                  </a:lnTo>
                  <a:lnTo>
                    <a:pt x="39" y="78"/>
                  </a:lnTo>
                  <a:lnTo>
                    <a:pt x="39" y="76"/>
                  </a:lnTo>
                  <a:lnTo>
                    <a:pt x="39" y="76"/>
                  </a:lnTo>
                  <a:lnTo>
                    <a:pt x="39" y="71"/>
                  </a:lnTo>
                  <a:lnTo>
                    <a:pt x="40" y="68"/>
                  </a:lnTo>
                  <a:lnTo>
                    <a:pt x="42" y="62"/>
                  </a:lnTo>
                  <a:lnTo>
                    <a:pt x="42" y="57"/>
                  </a:lnTo>
                  <a:lnTo>
                    <a:pt x="42" y="57"/>
                  </a:lnTo>
                  <a:lnTo>
                    <a:pt x="49" y="57"/>
                  </a:lnTo>
                  <a:lnTo>
                    <a:pt x="51" y="57"/>
                  </a:lnTo>
                  <a:lnTo>
                    <a:pt x="51" y="54"/>
                  </a:lnTo>
                  <a:lnTo>
                    <a:pt x="53" y="45"/>
                  </a:lnTo>
                  <a:lnTo>
                    <a:pt x="51" y="33"/>
                  </a:lnTo>
                  <a:lnTo>
                    <a:pt x="51" y="33"/>
                  </a:lnTo>
                  <a:lnTo>
                    <a:pt x="49" y="21"/>
                  </a:lnTo>
                  <a:lnTo>
                    <a:pt x="46" y="14"/>
                  </a:lnTo>
                  <a:lnTo>
                    <a:pt x="42" y="8"/>
                  </a:lnTo>
                  <a:lnTo>
                    <a:pt x="39" y="2"/>
                  </a:lnTo>
                  <a:lnTo>
                    <a:pt x="39" y="2"/>
                  </a:lnTo>
                  <a:lnTo>
                    <a:pt x="60" y="0"/>
                  </a:lnTo>
                  <a:lnTo>
                    <a:pt x="96" y="0"/>
                  </a:lnTo>
                  <a:lnTo>
                    <a:pt x="161" y="0"/>
                  </a:lnTo>
                  <a:lnTo>
                    <a:pt x="161" y="0"/>
                  </a:lnTo>
                  <a:lnTo>
                    <a:pt x="241" y="52"/>
                  </a:lnTo>
                  <a:lnTo>
                    <a:pt x="284" y="80"/>
                  </a:lnTo>
                  <a:lnTo>
                    <a:pt x="284" y="80"/>
                  </a:lnTo>
                  <a:lnTo>
                    <a:pt x="291" y="85"/>
                  </a:lnTo>
                  <a:lnTo>
                    <a:pt x="293" y="89"/>
                  </a:lnTo>
                  <a:lnTo>
                    <a:pt x="293" y="92"/>
                  </a:lnTo>
                  <a:lnTo>
                    <a:pt x="293" y="94"/>
                  </a:lnTo>
                  <a:lnTo>
                    <a:pt x="291" y="97"/>
                  </a:lnTo>
                  <a:lnTo>
                    <a:pt x="291" y="101"/>
                  </a:lnTo>
                  <a:lnTo>
                    <a:pt x="293" y="106"/>
                  </a:lnTo>
                  <a:lnTo>
                    <a:pt x="296" y="111"/>
                  </a:lnTo>
                  <a:lnTo>
                    <a:pt x="296" y="111"/>
                  </a:lnTo>
                  <a:lnTo>
                    <a:pt x="326" y="137"/>
                  </a:lnTo>
                  <a:lnTo>
                    <a:pt x="340" y="149"/>
                  </a:lnTo>
                  <a:lnTo>
                    <a:pt x="349" y="155"/>
                  </a:lnTo>
                  <a:lnTo>
                    <a:pt x="349" y="155"/>
                  </a:lnTo>
                  <a:lnTo>
                    <a:pt x="343" y="167"/>
                  </a:lnTo>
                  <a:lnTo>
                    <a:pt x="340" y="174"/>
                  </a:lnTo>
                  <a:lnTo>
                    <a:pt x="338" y="181"/>
                  </a:lnTo>
                  <a:lnTo>
                    <a:pt x="335" y="190"/>
                  </a:lnTo>
                  <a:lnTo>
                    <a:pt x="335" y="190"/>
                  </a:lnTo>
                  <a:lnTo>
                    <a:pt x="331" y="202"/>
                  </a:lnTo>
                  <a:lnTo>
                    <a:pt x="329" y="212"/>
                  </a:lnTo>
                  <a:lnTo>
                    <a:pt x="331" y="221"/>
                  </a:lnTo>
                  <a:lnTo>
                    <a:pt x="335" y="228"/>
                  </a:lnTo>
                  <a:lnTo>
                    <a:pt x="343" y="238"/>
                  </a:lnTo>
                  <a:lnTo>
                    <a:pt x="354" y="250"/>
                  </a:lnTo>
                  <a:lnTo>
                    <a:pt x="354" y="250"/>
                  </a:lnTo>
                  <a:lnTo>
                    <a:pt x="356" y="256"/>
                  </a:lnTo>
                  <a:lnTo>
                    <a:pt x="356" y="259"/>
                  </a:lnTo>
                  <a:lnTo>
                    <a:pt x="356" y="261"/>
                  </a:lnTo>
                  <a:lnTo>
                    <a:pt x="352" y="263"/>
                  </a:lnTo>
                  <a:lnTo>
                    <a:pt x="350" y="264"/>
                  </a:lnTo>
                  <a:lnTo>
                    <a:pt x="349" y="270"/>
                  </a:lnTo>
                  <a:lnTo>
                    <a:pt x="350" y="275"/>
                  </a:lnTo>
                  <a:lnTo>
                    <a:pt x="352" y="285"/>
                  </a:lnTo>
                  <a:lnTo>
                    <a:pt x="352" y="285"/>
                  </a:lnTo>
                  <a:lnTo>
                    <a:pt x="356" y="292"/>
                  </a:lnTo>
                  <a:lnTo>
                    <a:pt x="356" y="297"/>
                  </a:lnTo>
                  <a:lnTo>
                    <a:pt x="354" y="301"/>
                  </a:lnTo>
                  <a:lnTo>
                    <a:pt x="350" y="304"/>
                  </a:lnTo>
                  <a:lnTo>
                    <a:pt x="349" y="308"/>
                  </a:lnTo>
                  <a:lnTo>
                    <a:pt x="349" y="313"/>
                  </a:lnTo>
                  <a:lnTo>
                    <a:pt x="349" y="320"/>
                  </a:lnTo>
                  <a:lnTo>
                    <a:pt x="352" y="331"/>
                  </a:lnTo>
                  <a:lnTo>
                    <a:pt x="352" y="331"/>
                  </a:lnTo>
                  <a:lnTo>
                    <a:pt x="359" y="350"/>
                  </a:lnTo>
                  <a:lnTo>
                    <a:pt x="363" y="362"/>
                  </a:lnTo>
                  <a:lnTo>
                    <a:pt x="363" y="371"/>
                  </a:lnTo>
                  <a:lnTo>
                    <a:pt x="366" y="381"/>
                  </a:lnTo>
                  <a:lnTo>
                    <a:pt x="366" y="381"/>
                  </a:lnTo>
                  <a:lnTo>
                    <a:pt x="370" y="388"/>
                  </a:lnTo>
                  <a:lnTo>
                    <a:pt x="375" y="392"/>
                  </a:lnTo>
                  <a:lnTo>
                    <a:pt x="380" y="395"/>
                  </a:lnTo>
                  <a:lnTo>
                    <a:pt x="389" y="404"/>
                  </a:lnTo>
                  <a:lnTo>
                    <a:pt x="389" y="404"/>
                  </a:lnTo>
                  <a:lnTo>
                    <a:pt x="378" y="412"/>
                  </a:lnTo>
                  <a:lnTo>
                    <a:pt x="366" y="421"/>
                  </a:lnTo>
                  <a:lnTo>
                    <a:pt x="352" y="430"/>
                  </a:lnTo>
                  <a:lnTo>
                    <a:pt x="335" y="439"/>
                  </a:lnTo>
                  <a:lnTo>
                    <a:pt x="335" y="439"/>
                  </a:lnTo>
                  <a:lnTo>
                    <a:pt x="326" y="440"/>
                  </a:lnTo>
                  <a:lnTo>
                    <a:pt x="319" y="440"/>
                  </a:lnTo>
                  <a:lnTo>
                    <a:pt x="314" y="439"/>
                  </a:lnTo>
                  <a:lnTo>
                    <a:pt x="309" y="437"/>
                  </a:lnTo>
                  <a:lnTo>
                    <a:pt x="305" y="433"/>
                  </a:lnTo>
                  <a:lnTo>
                    <a:pt x="303" y="433"/>
                  </a:lnTo>
                  <a:lnTo>
                    <a:pt x="302" y="435"/>
                  </a:lnTo>
                  <a:lnTo>
                    <a:pt x="300" y="439"/>
                  </a:lnTo>
                  <a:lnTo>
                    <a:pt x="300" y="439"/>
                  </a:lnTo>
                  <a:lnTo>
                    <a:pt x="296" y="445"/>
                  </a:lnTo>
                  <a:lnTo>
                    <a:pt x="293" y="449"/>
                  </a:lnTo>
                  <a:lnTo>
                    <a:pt x="289" y="452"/>
                  </a:lnTo>
                  <a:lnTo>
                    <a:pt x="284" y="454"/>
                  </a:lnTo>
                  <a:lnTo>
                    <a:pt x="281" y="454"/>
                  </a:lnTo>
                  <a:lnTo>
                    <a:pt x="275" y="454"/>
                  </a:lnTo>
                  <a:lnTo>
                    <a:pt x="269" y="449"/>
                  </a:lnTo>
                  <a:lnTo>
                    <a:pt x="269" y="449"/>
                  </a:lnTo>
                  <a:lnTo>
                    <a:pt x="265" y="449"/>
                  </a:lnTo>
                  <a:lnTo>
                    <a:pt x="262" y="449"/>
                  </a:lnTo>
                  <a:lnTo>
                    <a:pt x="255" y="452"/>
                  </a:lnTo>
                  <a:lnTo>
                    <a:pt x="249" y="454"/>
                  </a:lnTo>
                  <a:lnTo>
                    <a:pt x="246" y="454"/>
                  </a:lnTo>
                  <a:lnTo>
                    <a:pt x="241" y="452"/>
                  </a:lnTo>
                  <a:lnTo>
                    <a:pt x="235" y="447"/>
                  </a:lnTo>
                  <a:lnTo>
                    <a:pt x="235" y="447"/>
                  </a:lnTo>
                  <a:lnTo>
                    <a:pt x="230" y="444"/>
                  </a:lnTo>
                  <a:lnTo>
                    <a:pt x="227" y="442"/>
                  </a:lnTo>
                  <a:lnTo>
                    <a:pt x="223" y="444"/>
                  </a:lnTo>
                  <a:lnTo>
                    <a:pt x="220" y="445"/>
                  </a:lnTo>
                  <a:lnTo>
                    <a:pt x="215" y="447"/>
                  </a:lnTo>
                  <a:lnTo>
                    <a:pt x="208" y="449"/>
                  </a:lnTo>
                  <a:lnTo>
                    <a:pt x="199" y="449"/>
                  </a:lnTo>
                  <a:lnTo>
                    <a:pt x="187" y="447"/>
                  </a:lnTo>
                  <a:lnTo>
                    <a:pt x="187" y="447"/>
                  </a:lnTo>
                  <a:lnTo>
                    <a:pt x="183" y="440"/>
                  </a:lnTo>
                  <a:lnTo>
                    <a:pt x="181" y="433"/>
                  </a:lnTo>
                  <a:lnTo>
                    <a:pt x="180" y="425"/>
                  </a:lnTo>
                  <a:lnTo>
                    <a:pt x="181" y="414"/>
                  </a:lnTo>
                  <a:lnTo>
                    <a:pt x="181" y="409"/>
                  </a:lnTo>
                  <a:lnTo>
                    <a:pt x="180" y="402"/>
                  </a:lnTo>
                  <a:lnTo>
                    <a:pt x="180" y="402"/>
                  </a:lnTo>
                  <a:lnTo>
                    <a:pt x="174" y="388"/>
                  </a:lnTo>
                  <a:lnTo>
                    <a:pt x="171" y="378"/>
                  </a:lnTo>
                  <a:lnTo>
                    <a:pt x="166" y="371"/>
                  </a:lnTo>
                  <a:lnTo>
                    <a:pt x="157" y="365"/>
                  </a:lnTo>
                  <a:lnTo>
                    <a:pt x="157" y="365"/>
                  </a:lnTo>
                  <a:lnTo>
                    <a:pt x="140" y="360"/>
                  </a:lnTo>
                  <a:lnTo>
                    <a:pt x="126" y="357"/>
                  </a:lnTo>
                  <a:lnTo>
                    <a:pt x="126" y="357"/>
                  </a:lnTo>
                  <a:lnTo>
                    <a:pt x="107" y="346"/>
                  </a:lnTo>
                  <a:lnTo>
                    <a:pt x="98" y="344"/>
                  </a:lnTo>
                  <a:lnTo>
                    <a:pt x="94" y="343"/>
                  </a:lnTo>
                  <a:lnTo>
                    <a:pt x="91" y="338"/>
                  </a:lnTo>
                  <a:lnTo>
                    <a:pt x="91" y="338"/>
                  </a:lnTo>
                  <a:lnTo>
                    <a:pt x="89" y="336"/>
                  </a:lnTo>
                  <a:lnTo>
                    <a:pt x="87" y="334"/>
                  </a:lnTo>
                  <a:lnTo>
                    <a:pt x="84" y="334"/>
                  </a:lnTo>
                  <a:lnTo>
                    <a:pt x="82" y="336"/>
                  </a:lnTo>
                  <a:lnTo>
                    <a:pt x="82" y="336"/>
                  </a:lnTo>
                  <a:lnTo>
                    <a:pt x="79" y="329"/>
                  </a:lnTo>
                  <a:lnTo>
                    <a:pt x="79" y="329"/>
                  </a:lnTo>
                  <a:lnTo>
                    <a:pt x="77" y="325"/>
                  </a:lnTo>
                  <a:lnTo>
                    <a:pt x="74" y="322"/>
                  </a:lnTo>
                  <a:lnTo>
                    <a:pt x="67" y="318"/>
                  </a:lnTo>
                  <a:lnTo>
                    <a:pt x="58" y="315"/>
                  </a:lnTo>
                  <a:lnTo>
                    <a:pt x="54" y="311"/>
                  </a:lnTo>
                  <a:lnTo>
                    <a:pt x="49" y="304"/>
                  </a:lnTo>
                  <a:lnTo>
                    <a:pt x="49" y="304"/>
                  </a:lnTo>
                  <a:lnTo>
                    <a:pt x="42" y="291"/>
                  </a:lnTo>
                  <a:lnTo>
                    <a:pt x="37" y="270"/>
                  </a:lnTo>
                  <a:lnTo>
                    <a:pt x="37" y="270"/>
                  </a:lnTo>
                  <a:lnTo>
                    <a:pt x="33" y="264"/>
                  </a:lnTo>
                  <a:lnTo>
                    <a:pt x="28" y="257"/>
                  </a:lnTo>
                  <a:lnTo>
                    <a:pt x="18" y="240"/>
                  </a:lnTo>
                  <a:lnTo>
                    <a:pt x="11" y="231"/>
                  </a:lnTo>
                  <a:lnTo>
                    <a:pt x="7" y="223"/>
                  </a:lnTo>
                  <a:lnTo>
                    <a:pt x="6" y="214"/>
                  </a:lnTo>
                  <a:lnTo>
                    <a:pt x="7" y="207"/>
                  </a:lnTo>
                  <a:lnTo>
                    <a:pt x="7" y="207"/>
                  </a:lnTo>
                  <a:lnTo>
                    <a:pt x="9" y="200"/>
                  </a:lnTo>
                  <a:lnTo>
                    <a:pt x="9" y="193"/>
                  </a:lnTo>
                  <a:lnTo>
                    <a:pt x="6" y="179"/>
                  </a:lnTo>
                  <a:lnTo>
                    <a:pt x="2" y="163"/>
                  </a:lnTo>
                  <a:lnTo>
                    <a:pt x="0" y="155"/>
                  </a:lnTo>
                  <a:lnTo>
                    <a:pt x="2" y="146"/>
                  </a:lnTo>
                  <a:lnTo>
                    <a:pt x="2" y="14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1" name="Freeform 1974">
              <a:extLst>
                <a:ext uri="{FF2B5EF4-FFF2-40B4-BE49-F238E27FC236}">
                  <a16:creationId xmlns:a16="http://schemas.microsoft.com/office/drawing/2014/main" id="{FB3C0E22-645A-48F8-9B17-AEB1C6AB946F}"/>
                </a:ext>
              </a:extLst>
            </p:cNvPr>
            <p:cNvSpPr>
              <a:spLocks/>
            </p:cNvSpPr>
            <p:nvPr/>
          </p:nvSpPr>
          <p:spPr bwMode="auto">
            <a:xfrm>
              <a:off x="5431580" y="5050958"/>
              <a:ext cx="222013" cy="234347"/>
            </a:xfrm>
            <a:custGeom>
              <a:avLst/>
              <a:gdLst/>
              <a:ahLst/>
              <a:cxnLst>
                <a:cxn ang="0">
                  <a:pos x="3" y="105"/>
                </a:cxn>
                <a:cxn ang="0">
                  <a:pos x="22" y="143"/>
                </a:cxn>
                <a:cxn ang="0">
                  <a:pos x="28" y="155"/>
                </a:cxn>
                <a:cxn ang="0">
                  <a:pos x="45" y="179"/>
                </a:cxn>
                <a:cxn ang="0">
                  <a:pos x="71" y="197"/>
                </a:cxn>
                <a:cxn ang="0">
                  <a:pos x="73" y="206"/>
                </a:cxn>
                <a:cxn ang="0">
                  <a:pos x="83" y="209"/>
                </a:cxn>
                <a:cxn ang="0">
                  <a:pos x="87" y="219"/>
                </a:cxn>
                <a:cxn ang="0">
                  <a:pos x="87" y="233"/>
                </a:cxn>
                <a:cxn ang="0">
                  <a:pos x="96" y="251"/>
                </a:cxn>
                <a:cxn ang="0">
                  <a:pos x="111" y="261"/>
                </a:cxn>
                <a:cxn ang="0">
                  <a:pos x="130" y="268"/>
                </a:cxn>
                <a:cxn ang="0">
                  <a:pos x="143" y="284"/>
                </a:cxn>
                <a:cxn ang="0">
                  <a:pos x="169" y="287"/>
                </a:cxn>
                <a:cxn ang="0">
                  <a:pos x="188" y="291"/>
                </a:cxn>
                <a:cxn ang="0">
                  <a:pos x="202" y="291"/>
                </a:cxn>
                <a:cxn ang="0">
                  <a:pos x="212" y="294"/>
                </a:cxn>
                <a:cxn ang="0">
                  <a:pos x="251" y="249"/>
                </a:cxn>
                <a:cxn ang="0">
                  <a:pos x="258" y="218"/>
                </a:cxn>
                <a:cxn ang="0">
                  <a:pos x="268" y="197"/>
                </a:cxn>
                <a:cxn ang="0">
                  <a:pos x="271" y="178"/>
                </a:cxn>
                <a:cxn ang="0">
                  <a:pos x="266" y="165"/>
                </a:cxn>
                <a:cxn ang="0">
                  <a:pos x="268" y="155"/>
                </a:cxn>
                <a:cxn ang="0">
                  <a:pos x="261" y="139"/>
                </a:cxn>
                <a:cxn ang="0">
                  <a:pos x="265" y="136"/>
                </a:cxn>
                <a:cxn ang="0">
                  <a:pos x="273" y="108"/>
                </a:cxn>
                <a:cxn ang="0">
                  <a:pos x="271" y="70"/>
                </a:cxn>
                <a:cxn ang="0">
                  <a:pos x="270" y="59"/>
                </a:cxn>
                <a:cxn ang="0">
                  <a:pos x="270" y="49"/>
                </a:cxn>
                <a:cxn ang="0">
                  <a:pos x="252" y="38"/>
                </a:cxn>
                <a:cxn ang="0">
                  <a:pos x="221" y="23"/>
                </a:cxn>
                <a:cxn ang="0">
                  <a:pos x="205" y="16"/>
                </a:cxn>
                <a:cxn ang="0">
                  <a:pos x="183" y="14"/>
                </a:cxn>
                <a:cxn ang="0">
                  <a:pos x="181" y="0"/>
                </a:cxn>
                <a:cxn ang="0">
                  <a:pos x="144" y="4"/>
                </a:cxn>
                <a:cxn ang="0">
                  <a:pos x="132" y="14"/>
                </a:cxn>
                <a:cxn ang="0">
                  <a:pos x="125" y="33"/>
                </a:cxn>
                <a:cxn ang="0">
                  <a:pos x="113" y="45"/>
                </a:cxn>
                <a:cxn ang="0">
                  <a:pos x="97" y="54"/>
                </a:cxn>
                <a:cxn ang="0">
                  <a:pos x="63" y="98"/>
                </a:cxn>
                <a:cxn ang="0">
                  <a:pos x="49" y="105"/>
                </a:cxn>
                <a:cxn ang="0">
                  <a:pos x="35" y="98"/>
                </a:cxn>
                <a:cxn ang="0">
                  <a:pos x="28" y="101"/>
                </a:cxn>
                <a:cxn ang="0">
                  <a:pos x="14" y="94"/>
                </a:cxn>
                <a:cxn ang="0">
                  <a:pos x="0" y="94"/>
                </a:cxn>
              </a:cxnLst>
              <a:rect l="0" t="0" r="r" b="b"/>
              <a:pathLst>
                <a:path w="275" h="294">
                  <a:moveTo>
                    <a:pt x="0" y="94"/>
                  </a:moveTo>
                  <a:lnTo>
                    <a:pt x="0" y="94"/>
                  </a:lnTo>
                  <a:lnTo>
                    <a:pt x="3" y="105"/>
                  </a:lnTo>
                  <a:lnTo>
                    <a:pt x="7" y="115"/>
                  </a:lnTo>
                  <a:lnTo>
                    <a:pt x="16" y="131"/>
                  </a:lnTo>
                  <a:lnTo>
                    <a:pt x="22" y="143"/>
                  </a:lnTo>
                  <a:lnTo>
                    <a:pt x="26" y="148"/>
                  </a:lnTo>
                  <a:lnTo>
                    <a:pt x="28" y="155"/>
                  </a:lnTo>
                  <a:lnTo>
                    <a:pt x="28" y="155"/>
                  </a:lnTo>
                  <a:lnTo>
                    <a:pt x="31" y="165"/>
                  </a:lnTo>
                  <a:lnTo>
                    <a:pt x="36" y="174"/>
                  </a:lnTo>
                  <a:lnTo>
                    <a:pt x="45" y="179"/>
                  </a:lnTo>
                  <a:lnTo>
                    <a:pt x="52" y="185"/>
                  </a:lnTo>
                  <a:lnTo>
                    <a:pt x="66" y="193"/>
                  </a:lnTo>
                  <a:lnTo>
                    <a:pt x="71" y="197"/>
                  </a:lnTo>
                  <a:lnTo>
                    <a:pt x="71" y="202"/>
                  </a:lnTo>
                  <a:lnTo>
                    <a:pt x="71" y="202"/>
                  </a:lnTo>
                  <a:lnTo>
                    <a:pt x="73" y="206"/>
                  </a:lnTo>
                  <a:lnTo>
                    <a:pt x="75" y="207"/>
                  </a:lnTo>
                  <a:lnTo>
                    <a:pt x="80" y="209"/>
                  </a:lnTo>
                  <a:lnTo>
                    <a:pt x="83" y="209"/>
                  </a:lnTo>
                  <a:lnTo>
                    <a:pt x="85" y="211"/>
                  </a:lnTo>
                  <a:lnTo>
                    <a:pt x="87" y="214"/>
                  </a:lnTo>
                  <a:lnTo>
                    <a:pt x="87" y="219"/>
                  </a:lnTo>
                  <a:lnTo>
                    <a:pt x="87" y="219"/>
                  </a:lnTo>
                  <a:lnTo>
                    <a:pt x="87" y="226"/>
                  </a:lnTo>
                  <a:lnTo>
                    <a:pt x="87" y="233"/>
                  </a:lnTo>
                  <a:lnTo>
                    <a:pt x="89" y="240"/>
                  </a:lnTo>
                  <a:lnTo>
                    <a:pt x="90" y="246"/>
                  </a:lnTo>
                  <a:lnTo>
                    <a:pt x="96" y="251"/>
                  </a:lnTo>
                  <a:lnTo>
                    <a:pt x="99" y="254"/>
                  </a:lnTo>
                  <a:lnTo>
                    <a:pt x="104" y="259"/>
                  </a:lnTo>
                  <a:lnTo>
                    <a:pt x="111" y="261"/>
                  </a:lnTo>
                  <a:lnTo>
                    <a:pt x="111" y="261"/>
                  </a:lnTo>
                  <a:lnTo>
                    <a:pt x="123" y="265"/>
                  </a:lnTo>
                  <a:lnTo>
                    <a:pt x="130" y="268"/>
                  </a:lnTo>
                  <a:lnTo>
                    <a:pt x="137" y="273"/>
                  </a:lnTo>
                  <a:lnTo>
                    <a:pt x="143" y="284"/>
                  </a:lnTo>
                  <a:lnTo>
                    <a:pt x="143" y="284"/>
                  </a:lnTo>
                  <a:lnTo>
                    <a:pt x="150" y="284"/>
                  </a:lnTo>
                  <a:lnTo>
                    <a:pt x="157" y="286"/>
                  </a:lnTo>
                  <a:lnTo>
                    <a:pt x="169" y="287"/>
                  </a:lnTo>
                  <a:lnTo>
                    <a:pt x="177" y="291"/>
                  </a:lnTo>
                  <a:lnTo>
                    <a:pt x="183" y="291"/>
                  </a:lnTo>
                  <a:lnTo>
                    <a:pt x="188" y="291"/>
                  </a:lnTo>
                  <a:lnTo>
                    <a:pt x="188" y="291"/>
                  </a:lnTo>
                  <a:lnTo>
                    <a:pt x="195" y="291"/>
                  </a:lnTo>
                  <a:lnTo>
                    <a:pt x="202" y="291"/>
                  </a:lnTo>
                  <a:lnTo>
                    <a:pt x="207" y="293"/>
                  </a:lnTo>
                  <a:lnTo>
                    <a:pt x="212" y="294"/>
                  </a:lnTo>
                  <a:lnTo>
                    <a:pt x="212" y="294"/>
                  </a:lnTo>
                  <a:lnTo>
                    <a:pt x="245" y="253"/>
                  </a:lnTo>
                  <a:lnTo>
                    <a:pt x="245" y="253"/>
                  </a:lnTo>
                  <a:lnTo>
                    <a:pt x="251" y="249"/>
                  </a:lnTo>
                  <a:lnTo>
                    <a:pt x="252" y="244"/>
                  </a:lnTo>
                  <a:lnTo>
                    <a:pt x="254" y="233"/>
                  </a:lnTo>
                  <a:lnTo>
                    <a:pt x="258" y="218"/>
                  </a:lnTo>
                  <a:lnTo>
                    <a:pt x="261" y="209"/>
                  </a:lnTo>
                  <a:lnTo>
                    <a:pt x="268" y="197"/>
                  </a:lnTo>
                  <a:lnTo>
                    <a:pt x="268" y="197"/>
                  </a:lnTo>
                  <a:lnTo>
                    <a:pt x="271" y="188"/>
                  </a:lnTo>
                  <a:lnTo>
                    <a:pt x="273" y="183"/>
                  </a:lnTo>
                  <a:lnTo>
                    <a:pt x="271" y="178"/>
                  </a:lnTo>
                  <a:lnTo>
                    <a:pt x="270" y="174"/>
                  </a:lnTo>
                  <a:lnTo>
                    <a:pt x="266" y="169"/>
                  </a:lnTo>
                  <a:lnTo>
                    <a:pt x="266" y="165"/>
                  </a:lnTo>
                  <a:lnTo>
                    <a:pt x="266" y="159"/>
                  </a:lnTo>
                  <a:lnTo>
                    <a:pt x="266" y="159"/>
                  </a:lnTo>
                  <a:lnTo>
                    <a:pt x="268" y="155"/>
                  </a:lnTo>
                  <a:lnTo>
                    <a:pt x="268" y="150"/>
                  </a:lnTo>
                  <a:lnTo>
                    <a:pt x="265" y="143"/>
                  </a:lnTo>
                  <a:lnTo>
                    <a:pt x="261" y="139"/>
                  </a:lnTo>
                  <a:lnTo>
                    <a:pt x="261" y="138"/>
                  </a:lnTo>
                  <a:lnTo>
                    <a:pt x="265" y="136"/>
                  </a:lnTo>
                  <a:lnTo>
                    <a:pt x="265" y="136"/>
                  </a:lnTo>
                  <a:lnTo>
                    <a:pt x="266" y="134"/>
                  </a:lnTo>
                  <a:lnTo>
                    <a:pt x="270" y="127"/>
                  </a:lnTo>
                  <a:lnTo>
                    <a:pt x="273" y="108"/>
                  </a:lnTo>
                  <a:lnTo>
                    <a:pt x="275" y="87"/>
                  </a:lnTo>
                  <a:lnTo>
                    <a:pt x="273" y="77"/>
                  </a:lnTo>
                  <a:lnTo>
                    <a:pt x="271" y="70"/>
                  </a:lnTo>
                  <a:lnTo>
                    <a:pt x="271" y="70"/>
                  </a:lnTo>
                  <a:lnTo>
                    <a:pt x="270" y="63"/>
                  </a:lnTo>
                  <a:lnTo>
                    <a:pt x="270" y="59"/>
                  </a:lnTo>
                  <a:lnTo>
                    <a:pt x="270" y="52"/>
                  </a:lnTo>
                  <a:lnTo>
                    <a:pt x="271" y="51"/>
                  </a:lnTo>
                  <a:lnTo>
                    <a:pt x="270" y="49"/>
                  </a:lnTo>
                  <a:lnTo>
                    <a:pt x="263" y="42"/>
                  </a:lnTo>
                  <a:lnTo>
                    <a:pt x="263" y="42"/>
                  </a:lnTo>
                  <a:lnTo>
                    <a:pt x="252" y="38"/>
                  </a:lnTo>
                  <a:lnTo>
                    <a:pt x="244" y="35"/>
                  </a:lnTo>
                  <a:lnTo>
                    <a:pt x="235" y="31"/>
                  </a:lnTo>
                  <a:lnTo>
                    <a:pt x="221" y="23"/>
                  </a:lnTo>
                  <a:lnTo>
                    <a:pt x="221" y="23"/>
                  </a:lnTo>
                  <a:lnTo>
                    <a:pt x="214" y="17"/>
                  </a:lnTo>
                  <a:lnTo>
                    <a:pt x="205" y="16"/>
                  </a:lnTo>
                  <a:lnTo>
                    <a:pt x="191" y="17"/>
                  </a:lnTo>
                  <a:lnTo>
                    <a:pt x="186" y="16"/>
                  </a:lnTo>
                  <a:lnTo>
                    <a:pt x="183" y="14"/>
                  </a:lnTo>
                  <a:lnTo>
                    <a:pt x="181" y="9"/>
                  </a:lnTo>
                  <a:lnTo>
                    <a:pt x="181" y="0"/>
                  </a:lnTo>
                  <a:lnTo>
                    <a:pt x="181" y="0"/>
                  </a:lnTo>
                  <a:lnTo>
                    <a:pt x="162" y="0"/>
                  </a:lnTo>
                  <a:lnTo>
                    <a:pt x="150" y="2"/>
                  </a:lnTo>
                  <a:lnTo>
                    <a:pt x="144" y="4"/>
                  </a:lnTo>
                  <a:lnTo>
                    <a:pt x="137" y="9"/>
                  </a:lnTo>
                  <a:lnTo>
                    <a:pt x="137" y="9"/>
                  </a:lnTo>
                  <a:lnTo>
                    <a:pt x="132" y="14"/>
                  </a:lnTo>
                  <a:lnTo>
                    <a:pt x="129" y="19"/>
                  </a:lnTo>
                  <a:lnTo>
                    <a:pt x="127" y="28"/>
                  </a:lnTo>
                  <a:lnTo>
                    <a:pt x="125" y="33"/>
                  </a:lnTo>
                  <a:lnTo>
                    <a:pt x="123" y="37"/>
                  </a:lnTo>
                  <a:lnTo>
                    <a:pt x="120" y="42"/>
                  </a:lnTo>
                  <a:lnTo>
                    <a:pt x="113" y="45"/>
                  </a:lnTo>
                  <a:lnTo>
                    <a:pt x="113" y="45"/>
                  </a:lnTo>
                  <a:lnTo>
                    <a:pt x="104" y="49"/>
                  </a:lnTo>
                  <a:lnTo>
                    <a:pt x="97" y="54"/>
                  </a:lnTo>
                  <a:lnTo>
                    <a:pt x="85" y="68"/>
                  </a:lnTo>
                  <a:lnTo>
                    <a:pt x="63" y="98"/>
                  </a:lnTo>
                  <a:lnTo>
                    <a:pt x="63" y="98"/>
                  </a:lnTo>
                  <a:lnTo>
                    <a:pt x="57" y="103"/>
                  </a:lnTo>
                  <a:lnTo>
                    <a:pt x="54" y="105"/>
                  </a:lnTo>
                  <a:lnTo>
                    <a:pt x="49" y="105"/>
                  </a:lnTo>
                  <a:lnTo>
                    <a:pt x="45" y="103"/>
                  </a:lnTo>
                  <a:lnTo>
                    <a:pt x="38" y="98"/>
                  </a:lnTo>
                  <a:lnTo>
                    <a:pt x="35" y="98"/>
                  </a:lnTo>
                  <a:lnTo>
                    <a:pt x="31" y="99"/>
                  </a:lnTo>
                  <a:lnTo>
                    <a:pt x="31" y="99"/>
                  </a:lnTo>
                  <a:lnTo>
                    <a:pt x="28" y="101"/>
                  </a:lnTo>
                  <a:lnTo>
                    <a:pt x="24" y="101"/>
                  </a:lnTo>
                  <a:lnTo>
                    <a:pt x="19" y="98"/>
                  </a:lnTo>
                  <a:lnTo>
                    <a:pt x="14" y="94"/>
                  </a:lnTo>
                  <a:lnTo>
                    <a:pt x="9" y="94"/>
                  </a:lnTo>
                  <a:lnTo>
                    <a:pt x="0" y="94"/>
                  </a:lnTo>
                  <a:lnTo>
                    <a:pt x="0" y="9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2" name="Freeform 1975">
              <a:extLst>
                <a:ext uri="{FF2B5EF4-FFF2-40B4-BE49-F238E27FC236}">
                  <a16:creationId xmlns:a16="http://schemas.microsoft.com/office/drawing/2014/main" id="{49B8122E-A086-46F4-8670-C862B69CB59E}"/>
                </a:ext>
              </a:extLst>
            </p:cNvPr>
            <p:cNvSpPr>
              <a:spLocks/>
            </p:cNvSpPr>
            <p:nvPr/>
          </p:nvSpPr>
          <p:spPr bwMode="auto">
            <a:xfrm>
              <a:off x="5103849" y="3706546"/>
              <a:ext cx="296017" cy="555032"/>
            </a:xfrm>
            <a:custGeom>
              <a:avLst/>
              <a:gdLst/>
              <a:ahLst/>
              <a:cxnLst>
                <a:cxn ang="0">
                  <a:pos x="80" y="689"/>
                </a:cxn>
                <a:cxn ang="0">
                  <a:pos x="101" y="679"/>
                </a:cxn>
                <a:cxn ang="0">
                  <a:pos x="110" y="682"/>
                </a:cxn>
                <a:cxn ang="0">
                  <a:pos x="124" y="682"/>
                </a:cxn>
                <a:cxn ang="0">
                  <a:pos x="151" y="668"/>
                </a:cxn>
                <a:cxn ang="0">
                  <a:pos x="183" y="661"/>
                </a:cxn>
                <a:cxn ang="0">
                  <a:pos x="193" y="642"/>
                </a:cxn>
                <a:cxn ang="0">
                  <a:pos x="188" y="630"/>
                </a:cxn>
                <a:cxn ang="0">
                  <a:pos x="202" y="625"/>
                </a:cxn>
                <a:cxn ang="0">
                  <a:pos x="252" y="609"/>
                </a:cxn>
                <a:cxn ang="0">
                  <a:pos x="284" y="574"/>
                </a:cxn>
                <a:cxn ang="0">
                  <a:pos x="287" y="557"/>
                </a:cxn>
                <a:cxn ang="0">
                  <a:pos x="312" y="543"/>
                </a:cxn>
                <a:cxn ang="0">
                  <a:pos x="329" y="543"/>
                </a:cxn>
                <a:cxn ang="0">
                  <a:pos x="326" y="522"/>
                </a:cxn>
                <a:cxn ang="0">
                  <a:pos x="317" y="508"/>
                </a:cxn>
                <a:cxn ang="0">
                  <a:pos x="313" y="477"/>
                </a:cxn>
                <a:cxn ang="0">
                  <a:pos x="308" y="468"/>
                </a:cxn>
                <a:cxn ang="0">
                  <a:pos x="292" y="468"/>
                </a:cxn>
                <a:cxn ang="0">
                  <a:pos x="296" y="454"/>
                </a:cxn>
                <a:cxn ang="0">
                  <a:pos x="306" y="437"/>
                </a:cxn>
                <a:cxn ang="0">
                  <a:pos x="301" y="418"/>
                </a:cxn>
                <a:cxn ang="0">
                  <a:pos x="313" y="409"/>
                </a:cxn>
                <a:cxn ang="0">
                  <a:pos x="312" y="392"/>
                </a:cxn>
                <a:cxn ang="0">
                  <a:pos x="319" y="386"/>
                </a:cxn>
                <a:cxn ang="0">
                  <a:pos x="322" y="374"/>
                </a:cxn>
                <a:cxn ang="0">
                  <a:pos x="331" y="360"/>
                </a:cxn>
                <a:cxn ang="0">
                  <a:pos x="332" y="343"/>
                </a:cxn>
                <a:cxn ang="0">
                  <a:pos x="359" y="339"/>
                </a:cxn>
                <a:cxn ang="0">
                  <a:pos x="369" y="336"/>
                </a:cxn>
                <a:cxn ang="0">
                  <a:pos x="265" y="108"/>
                </a:cxn>
                <a:cxn ang="0">
                  <a:pos x="89" y="0"/>
                </a:cxn>
                <a:cxn ang="0">
                  <a:pos x="50" y="23"/>
                </a:cxn>
                <a:cxn ang="0">
                  <a:pos x="59" y="76"/>
                </a:cxn>
                <a:cxn ang="0">
                  <a:pos x="71" y="115"/>
                </a:cxn>
                <a:cxn ang="0">
                  <a:pos x="82" y="150"/>
                </a:cxn>
                <a:cxn ang="0">
                  <a:pos x="75" y="186"/>
                </a:cxn>
                <a:cxn ang="0">
                  <a:pos x="68" y="292"/>
                </a:cxn>
                <a:cxn ang="0">
                  <a:pos x="49" y="313"/>
                </a:cxn>
                <a:cxn ang="0">
                  <a:pos x="5" y="388"/>
                </a:cxn>
                <a:cxn ang="0">
                  <a:pos x="3" y="425"/>
                </a:cxn>
                <a:cxn ang="0">
                  <a:pos x="38" y="454"/>
                </a:cxn>
                <a:cxn ang="0">
                  <a:pos x="42" y="466"/>
                </a:cxn>
                <a:cxn ang="0">
                  <a:pos x="47" y="480"/>
                </a:cxn>
                <a:cxn ang="0">
                  <a:pos x="52" y="494"/>
                </a:cxn>
                <a:cxn ang="0">
                  <a:pos x="54" y="533"/>
                </a:cxn>
                <a:cxn ang="0">
                  <a:pos x="64" y="573"/>
                </a:cxn>
                <a:cxn ang="0">
                  <a:pos x="61" y="587"/>
                </a:cxn>
                <a:cxn ang="0">
                  <a:pos x="33" y="583"/>
                </a:cxn>
                <a:cxn ang="0">
                  <a:pos x="19" y="590"/>
                </a:cxn>
                <a:cxn ang="0">
                  <a:pos x="19" y="606"/>
                </a:cxn>
                <a:cxn ang="0">
                  <a:pos x="56" y="642"/>
                </a:cxn>
                <a:cxn ang="0">
                  <a:pos x="64" y="660"/>
                </a:cxn>
                <a:cxn ang="0">
                  <a:pos x="70" y="686"/>
                </a:cxn>
              </a:cxnLst>
              <a:rect l="0" t="0" r="r" b="b"/>
              <a:pathLst>
                <a:path w="369" h="691">
                  <a:moveTo>
                    <a:pt x="70" y="686"/>
                  </a:moveTo>
                  <a:lnTo>
                    <a:pt x="70" y="686"/>
                  </a:lnTo>
                  <a:lnTo>
                    <a:pt x="75" y="689"/>
                  </a:lnTo>
                  <a:lnTo>
                    <a:pt x="80" y="689"/>
                  </a:lnTo>
                  <a:lnTo>
                    <a:pt x="84" y="691"/>
                  </a:lnTo>
                  <a:lnTo>
                    <a:pt x="87" y="689"/>
                  </a:lnTo>
                  <a:lnTo>
                    <a:pt x="94" y="686"/>
                  </a:lnTo>
                  <a:lnTo>
                    <a:pt x="101" y="679"/>
                  </a:lnTo>
                  <a:lnTo>
                    <a:pt x="101" y="679"/>
                  </a:lnTo>
                  <a:lnTo>
                    <a:pt x="103" y="675"/>
                  </a:lnTo>
                  <a:lnTo>
                    <a:pt x="106" y="677"/>
                  </a:lnTo>
                  <a:lnTo>
                    <a:pt x="110" y="682"/>
                  </a:lnTo>
                  <a:lnTo>
                    <a:pt x="113" y="684"/>
                  </a:lnTo>
                  <a:lnTo>
                    <a:pt x="115" y="686"/>
                  </a:lnTo>
                  <a:lnTo>
                    <a:pt x="120" y="686"/>
                  </a:lnTo>
                  <a:lnTo>
                    <a:pt x="124" y="682"/>
                  </a:lnTo>
                  <a:lnTo>
                    <a:pt x="124" y="682"/>
                  </a:lnTo>
                  <a:lnTo>
                    <a:pt x="134" y="675"/>
                  </a:lnTo>
                  <a:lnTo>
                    <a:pt x="143" y="672"/>
                  </a:lnTo>
                  <a:lnTo>
                    <a:pt x="151" y="668"/>
                  </a:lnTo>
                  <a:lnTo>
                    <a:pt x="160" y="668"/>
                  </a:lnTo>
                  <a:lnTo>
                    <a:pt x="167" y="667"/>
                  </a:lnTo>
                  <a:lnTo>
                    <a:pt x="176" y="665"/>
                  </a:lnTo>
                  <a:lnTo>
                    <a:pt x="183" y="661"/>
                  </a:lnTo>
                  <a:lnTo>
                    <a:pt x="188" y="656"/>
                  </a:lnTo>
                  <a:lnTo>
                    <a:pt x="188" y="656"/>
                  </a:lnTo>
                  <a:lnTo>
                    <a:pt x="191" y="648"/>
                  </a:lnTo>
                  <a:lnTo>
                    <a:pt x="193" y="642"/>
                  </a:lnTo>
                  <a:lnTo>
                    <a:pt x="193" y="639"/>
                  </a:lnTo>
                  <a:lnTo>
                    <a:pt x="191" y="637"/>
                  </a:lnTo>
                  <a:lnTo>
                    <a:pt x="188" y="632"/>
                  </a:lnTo>
                  <a:lnTo>
                    <a:pt x="188" y="630"/>
                  </a:lnTo>
                  <a:lnTo>
                    <a:pt x="190" y="628"/>
                  </a:lnTo>
                  <a:lnTo>
                    <a:pt x="190" y="628"/>
                  </a:lnTo>
                  <a:lnTo>
                    <a:pt x="195" y="627"/>
                  </a:lnTo>
                  <a:lnTo>
                    <a:pt x="202" y="625"/>
                  </a:lnTo>
                  <a:lnTo>
                    <a:pt x="221" y="623"/>
                  </a:lnTo>
                  <a:lnTo>
                    <a:pt x="232" y="620"/>
                  </a:lnTo>
                  <a:lnTo>
                    <a:pt x="242" y="616"/>
                  </a:lnTo>
                  <a:lnTo>
                    <a:pt x="252" y="609"/>
                  </a:lnTo>
                  <a:lnTo>
                    <a:pt x="261" y="599"/>
                  </a:lnTo>
                  <a:lnTo>
                    <a:pt x="261" y="599"/>
                  </a:lnTo>
                  <a:lnTo>
                    <a:pt x="275" y="581"/>
                  </a:lnTo>
                  <a:lnTo>
                    <a:pt x="284" y="574"/>
                  </a:lnTo>
                  <a:lnTo>
                    <a:pt x="287" y="569"/>
                  </a:lnTo>
                  <a:lnTo>
                    <a:pt x="287" y="562"/>
                  </a:lnTo>
                  <a:lnTo>
                    <a:pt x="287" y="562"/>
                  </a:lnTo>
                  <a:lnTo>
                    <a:pt x="287" y="557"/>
                  </a:lnTo>
                  <a:lnTo>
                    <a:pt x="292" y="554"/>
                  </a:lnTo>
                  <a:lnTo>
                    <a:pt x="298" y="548"/>
                  </a:lnTo>
                  <a:lnTo>
                    <a:pt x="305" y="545"/>
                  </a:lnTo>
                  <a:lnTo>
                    <a:pt x="312" y="543"/>
                  </a:lnTo>
                  <a:lnTo>
                    <a:pt x="319" y="541"/>
                  </a:lnTo>
                  <a:lnTo>
                    <a:pt x="326" y="541"/>
                  </a:lnTo>
                  <a:lnTo>
                    <a:pt x="329" y="543"/>
                  </a:lnTo>
                  <a:lnTo>
                    <a:pt x="329" y="543"/>
                  </a:lnTo>
                  <a:lnTo>
                    <a:pt x="331" y="534"/>
                  </a:lnTo>
                  <a:lnTo>
                    <a:pt x="331" y="529"/>
                  </a:lnTo>
                  <a:lnTo>
                    <a:pt x="327" y="526"/>
                  </a:lnTo>
                  <a:lnTo>
                    <a:pt x="326" y="522"/>
                  </a:lnTo>
                  <a:lnTo>
                    <a:pt x="319" y="519"/>
                  </a:lnTo>
                  <a:lnTo>
                    <a:pt x="317" y="514"/>
                  </a:lnTo>
                  <a:lnTo>
                    <a:pt x="317" y="508"/>
                  </a:lnTo>
                  <a:lnTo>
                    <a:pt x="317" y="508"/>
                  </a:lnTo>
                  <a:lnTo>
                    <a:pt x="319" y="500"/>
                  </a:lnTo>
                  <a:lnTo>
                    <a:pt x="317" y="494"/>
                  </a:lnTo>
                  <a:lnTo>
                    <a:pt x="315" y="489"/>
                  </a:lnTo>
                  <a:lnTo>
                    <a:pt x="313" y="477"/>
                  </a:lnTo>
                  <a:lnTo>
                    <a:pt x="313" y="477"/>
                  </a:lnTo>
                  <a:lnTo>
                    <a:pt x="313" y="472"/>
                  </a:lnTo>
                  <a:lnTo>
                    <a:pt x="312" y="468"/>
                  </a:lnTo>
                  <a:lnTo>
                    <a:pt x="308" y="468"/>
                  </a:lnTo>
                  <a:lnTo>
                    <a:pt x="305" y="468"/>
                  </a:lnTo>
                  <a:lnTo>
                    <a:pt x="298" y="470"/>
                  </a:lnTo>
                  <a:lnTo>
                    <a:pt x="296" y="470"/>
                  </a:lnTo>
                  <a:lnTo>
                    <a:pt x="292" y="468"/>
                  </a:lnTo>
                  <a:lnTo>
                    <a:pt x="292" y="468"/>
                  </a:lnTo>
                  <a:lnTo>
                    <a:pt x="291" y="463"/>
                  </a:lnTo>
                  <a:lnTo>
                    <a:pt x="292" y="458"/>
                  </a:lnTo>
                  <a:lnTo>
                    <a:pt x="296" y="454"/>
                  </a:lnTo>
                  <a:lnTo>
                    <a:pt x="299" y="451"/>
                  </a:lnTo>
                  <a:lnTo>
                    <a:pt x="303" y="447"/>
                  </a:lnTo>
                  <a:lnTo>
                    <a:pt x="306" y="444"/>
                  </a:lnTo>
                  <a:lnTo>
                    <a:pt x="306" y="437"/>
                  </a:lnTo>
                  <a:lnTo>
                    <a:pt x="305" y="430"/>
                  </a:lnTo>
                  <a:lnTo>
                    <a:pt x="305" y="430"/>
                  </a:lnTo>
                  <a:lnTo>
                    <a:pt x="301" y="423"/>
                  </a:lnTo>
                  <a:lnTo>
                    <a:pt x="301" y="418"/>
                  </a:lnTo>
                  <a:lnTo>
                    <a:pt x="305" y="416"/>
                  </a:lnTo>
                  <a:lnTo>
                    <a:pt x="308" y="413"/>
                  </a:lnTo>
                  <a:lnTo>
                    <a:pt x="312" y="411"/>
                  </a:lnTo>
                  <a:lnTo>
                    <a:pt x="313" y="409"/>
                  </a:lnTo>
                  <a:lnTo>
                    <a:pt x="315" y="404"/>
                  </a:lnTo>
                  <a:lnTo>
                    <a:pt x="313" y="399"/>
                  </a:lnTo>
                  <a:lnTo>
                    <a:pt x="313" y="399"/>
                  </a:lnTo>
                  <a:lnTo>
                    <a:pt x="312" y="392"/>
                  </a:lnTo>
                  <a:lnTo>
                    <a:pt x="312" y="388"/>
                  </a:lnTo>
                  <a:lnTo>
                    <a:pt x="313" y="386"/>
                  </a:lnTo>
                  <a:lnTo>
                    <a:pt x="315" y="386"/>
                  </a:lnTo>
                  <a:lnTo>
                    <a:pt x="319" y="386"/>
                  </a:lnTo>
                  <a:lnTo>
                    <a:pt x="320" y="385"/>
                  </a:lnTo>
                  <a:lnTo>
                    <a:pt x="322" y="379"/>
                  </a:lnTo>
                  <a:lnTo>
                    <a:pt x="322" y="379"/>
                  </a:lnTo>
                  <a:lnTo>
                    <a:pt x="322" y="374"/>
                  </a:lnTo>
                  <a:lnTo>
                    <a:pt x="322" y="372"/>
                  </a:lnTo>
                  <a:lnTo>
                    <a:pt x="326" y="369"/>
                  </a:lnTo>
                  <a:lnTo>
                    <a:pt x="329" y="364"/>
                  </a:lnTo>
                  <a:lnTo>
                    <a:pt x="331" y="360"/>
                  </a:lnTo>
                  <a:lnTo>
                    <a:pt x="331" y="353"/>
                  </a:lnTo>
                  <a:lnTo>
                    <a:pt x="331" y="353"/>
                  </a:lnTo>
                  <a:lnTo>
                    <a:pt x="331" y="346"/>
                  </a:lnTo>
                  <a:lnTo>
                    <a:pt x="332" y="343"/>
                  </a:lnTo>
                  <a:lnTo>
                    <a:pt x="334" y="339"/>
                  </a:lnTo>
                  <a:lnTo>
                    <a:pt x="338" y="339"/>
                  </a:lnTo>
                  <a:lnTo>
                    <a:pt x="348" y="338"/>
                  </a:lnTo>
                  <a:lnTo>
                    <a:pt x="359" y="339"/>
                  </a:lnTo>
                  <a:lnTo>
                    <a:pt x="359" y="339"/>
                  </a:lnTo>
                  <a:lnTo>
                    <a:pt x="367" y="338"/>
                  </a:lnTo>
                  <a:lnTo>
                    <a:pt x="369" y="338"/>
                  </a:lnTo>
                  <a:lnTo>
                    <a:pt x="369" y="336"/>
                  </a:lnTo>
                  <a:lnTo>
                    <a:pt x="366" y="327"/>
                  </a:lnTo>
                  <a:lnTo>
                    <a:pt x="366" y="174"/>
                  </a:lnTo>
                  <a:lnTo>
                    <a:pt x="366" y="174"/>
                  </a:lnTo>
                  <a:lnTo>
                    <a:pt x="265" y="108"/>
                  </a:lnTo>
                  <a:lnTo>
                    <a:pt x="174" y="50"/>
                  </a:lnTo>
                  <a:lnTo>
                    <a:pt x="90" y="0"/>
                  </a:lnTo>
                  <a:lnTo>
                    <a:pt x="90" y="0"/>
                  </a:lnTo>
                  <a:lnTo>
                    <a:pt x="89" y="0"/>
                  </a:lnTo>
                  <a:lnTo>
                    <a:pt x="84" y="0"/>
                  </a:lnTo>
                  <a:lnTo>
                    <a:pt x="73" y="5"/>
                  </a:lnTo>
                  <a:lnTo>
                    <a:pt x="50" y="23"/>
                  </a:lnTo>
                  <a:lnTo>
                    <a:pt x="50" y="23"/>
                  </a:lnTo>
                  <a:lnTo>
                    <a:pt x="56" y="36"/>
                  </a:lnTo>
                  <a:lnTo>
                    <a:pt x="57" y="47"/>
                  </a:lnTo>
                  <a:lnTo>
                    <a:pt x="59" y="68"/>
                  </a:lnTo>
                  <a:lnTo>
                    <a:pt x="59" y="76"/>
                  </a:lnTo>
                  <a:lnTo>
                    <a:pt x="61" y="89"/>
                  </a:lnTo>
                  <a:lnTo>
                    <a:pt x="64" y="101"/>
                  </a:lnTo>
                  <a:lnTo>
                    <a:pt x="71" y="115"/>
                  </a:lnTo>
                  <a:lnTo>
                    <a:pt x="71" y="115"/>
                  </a:lnTo>
                  <a:lnTo>
                    <a:pt x="78" y="129"/>
                  </a:lnTo>
                  <a:lnTo>
                    <a:pt x="84" y="137"/>
                  </a:lnTo>
                  <a:lnTo>
                    <a:pt x="84" y="144"/>
                  </a:lnTo>
                  <a:lnTo>
                    <a:pt x="82" y="150"/>
                  </a:lnTo>
                  <a:lnTo>
                    <a:pt x="78" y="160"/>
                  </a:lnTo>
                  <a:lnTo>
                    <a:pt x="77" y="171"/>
                  </a:lnTo>
                  <a:lnTo>
                    <a:pt x="75" y="186"/>
                  </a:lnTo>
                  <a:lnTo>
                    <a:pt x="75" y="186"/>
                  </a:lnTo>
                  <a:lnTo>
                    <a:pt x="75" y="221"/>
                  </a:lnTo>
                  <a:lnTo>
                    <a:pt x="73" y="256"/>
                  </a:lnTo>
                  <a:lnTo>
                    <a:pt x="70" y="284"/>
                  </a:lnTo>
                  <a:lnTo>
                    <a:pt x="68" y="292"/>
                  </a:lnTo>
                  <a:lnTo>
                    <a:pt x="64" y="296"/>
                  </a:lnTo>
                  <a:lnTo>
                    <a:pt x="64" y="296"/>
                  </a:lnTo>
                  <a:lnTo>
                    <a:pt x="59" y="303"/>
                  </a:lnTo>
                  <a:lnTo>
                    <a:pt x="49" y="313"/>
                  </a:lnTo>
                  <a:lnTo>
                    <a:pt x="36" y="329"/>
                  </a:lnTo>
                  <a:lnTo>
                    <a:pt x="24" y="348"/>
                  </a:lnTo>
                  <a:lnTo>
                    <a:pt x="12" y="367"/>
                  </a:lnTo>
                  <a:lnTo>
                    <a:pt x="5" y="388"/>
                  </a:lnTo>
                  <a:lnTo>
                    <a:pt x="2" y="397"/>
                  </a:lnTo>
                  <a:lnTo>
                    <a:pt x="0" y="407"/>
                  </a:lnTo>
                  <a:lnTo>
                    <a:pt x="2" y="416"/>
                  </a:lnTo>
                  <a:lnTo>
                    <a:pt x="3" y="425"/>
                  </a:lnTo>
                  <a:lnTo>
                    <a:pt x="19" y="451"/>
                  </a:lnTo>
                  <a:lnTo>
                    <a:pt x="19" y="451"/>
                  </a:lnTo>
                  <a:lnTo>
                    <a:pt x="36" y="453"/>
                  </a:lnTo>
                  <a:lnTo>
                    <a:pt x="38" y="454"/>
                  </a:lnTo>
                  <a:lnTo>
                    <a:pt x="38" y="456"/>
                  </a:lnTo>
                  <a:lnTo>
                    <a:pt x="36" y="461"/>
                  </a:lnTo>
                  <a:lnTo>
                    <a:pt x="36" y="463"/>
                  </a:lnTo>
                  <a:lnTo>
                    <a:pt x="42" y="466"/>
                  </a:lnTo>
                  <a:lnTo>
                    <a:pt x="42" y="466"/>
                  </a:lnTo>
                  <a:lnTo>
                    <a:pt x="45" y="468"/>
                  </a:lnTo>
                  <a:lnTo>
                    <a:pt x="47" y="472"/>
                  </a:lnTo>
                  <a:lnTo>
                    <a:pt x="47" y="480"/>
                  </a:lnTo>
                  <a:lnTo>
                    <a:pt x="49" y="489"/>
                  </a:lnTo>
                  <a:lnTo>
                    <a:pt x="49" y="491"/>
                  </a:lnTo>
                  <a:lnTo>
                    <a:pt x="52" y="494"/>
                  </a:lnTo>
                  <a:lnTo>
                    <a:pt x="52" y="494"/>
                  </a:lnTo>
                  <a:lnTo>
                    <a:pt x="54" y="496"/>
                  </a:lnTo>
                  <a:lnTo>
                    <a:pt x="54" y="498"/>
                  </a:lnTo>
                  <a:lnTo>
                    <a:pt x="56" y="507"/>
                  </a:lnTo>
                  <a:lnTo>
                    <a:pt x="54" y="533"/>
                  </a:lnTo>
                  <a:lnTo>
                    <a:pt x="54" y="547"/>
                  </a:lnTo>
                  <a:lnTo>
                    <a:pt x="57" y="561"/>
                  </a:lnTo>
                  <a:lnTo>
                    <a:pt x="59" y="566"/>
                  </a:lnTo>
                  <a:lnTo>
                    <a:pt x="64" y="573"/>
                  </a:lnTo>
                  <a:lnTo>
                    <a:pt x="68" y="578"/>
                  </a:lnTo>
                  <a:lnTo>
                    <a:pt x="75" y="581"/>
                  </a:lnTo>
                  <a:lnTo>
                    <a:pt x="75" y="581"/>
                  </a:lnTo>
                  <a:lnTo>
                    <a:pt x="61" y="587"/>
                  </a:lnTo>
                  <a:lnTo>
                    <a:pt x="50" y="587"/>
                  </a:lnTo>
                  <a:lnTo>
                    <a:pt x="42" y="587"/>
                  </a:lnTo>
                  <a:lnTo>
                    <a:pt x="33" y="583"/>
                  </a:lnTo>
                  <a:lnTo>
                    <a:pt x="33" y="583"/>
                  </a:lnTo>
                  <a:lnTo>
                    <a:pt x="28" y="583"/>
                  </a:lnTo>
                  <a:lnTo>
                    <a:pt x="24" y="585"/>
                  </a:lnTo>
                  <a:lnTo>
                    <a:pt x="21" y="587"/>
                  </a:lnTo>
                  <a:lnTo>
                    <a:pt x="19" y="590"/>
                  </a:lnTo>
                  <a:lnTo>
                    <a:pt x="17" y="599"/>
                  </a:lnTo>
                  <a:lnTo>
                    <a:pt x="17" y="602"/>
                  </a:lnTo>
                  <a:lnTo>
                    <a:pt x="19" y="606"/>
                  </a:lnTo>
                  <a:lnTo>
                    <a:pt x="19" y="606"/>
                  </a:lnTo>
                  <a:lnTo>
                    <a:pt x="30" y="618"/>
                  </a:lnTo>
                  <a:lnTo>
                    <a:pt x="38" y="627"/>
                  </a:lnTo>
                  <a:lnTo>
                    <a:pt x="50" y="637"/>
                  </a:lnTo>
                  <a:lnTo>
                    <a:pt x="56" y="642"/>
                  </a:lnTo>
                  <a:lnTo>
                    <a:pt x="59" y="648"/>
                  </a:lnTo>
                  <a:lnTo>
                    <a:pt x="63" y="653"/>
                  </a:lnTo>
                  <a:lnTo>
                    <a:pt x="64" y="660"/>
                  </a:lnTo>
                  <a:lnTo>
                    <a:pt x="64" y="660"/>
                  </a:lnTo>
                  <a:lnTo>
                    <a:pt x="68" y="672"/>
                  </a:lnTo>
                  <a:lnTo>
                    <a:pt x="71" y="677"/>
                  </a:lnTo>
                  <a:lnTo>
                    <a:pt x="71" y="681"/>
                  </a:lnTo>
                  <a:lnTo>
                    <a:pt x="70" y="686"/>
                  </a:lnTo>
                  <a:lnTo>
                    <a:pt x="70" y="68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3" name="Freeform 1976">
              <a:extLst>
                <a:ext uri="{FF2B5EF4-FFF2-40B4-BE49-F238E27FC236}">
                  <a16:creationId xmlns:a16="http://schemas.microsoft.com/office/drawing/2014/main" id="{AA20F0C2-946C-4C07-B97D-E1345E5BF8DA}"/>
                </a:ext>
              </a:extLst>
            </p:cNvPr>
            <p:cNvSpPr>
              <a:spLocks/>
            </p:cNvSpPr>
            <p:nvPr/>
          </p:nvSpPr>
          <p:spPr bwMode="auto">
            <a:xfrm>
              <a:off x="4568201" y="3999040"/>
              <a:ext cx="222013" cy="195581"/>
            </a:xfrm>
            <a:custGeom>
              <a:avLst/>
              <a:gdLst/>
              <a:ahLst/>
              <a:cxnLst>
                <a:cxn ang="0">
                  <a:pos x="94" y="221"/>
                </a:cxn>
                <a:cxn ang="0">
                  <a:pos x="91" y="188"/>
                </a:cxn>
                <a:cxn ang="0">
                  <a:pos x="98" y="176"/>
                </a:cxn>
                <a:cxn ang="0">
                  <a:pos x="162" y="176"/>
                </a:cxn>
                <a:cxn ang="0">
                  <a:pos x="176" y="176"/>
                </a:cxn>
                <a:cxn ang="0">
                  <a:pos x="188" y="170"/>
                </a:cxn>
                <a:cxn ang="0">
                  <a:pos x="211" y="179"/>
                </a:cxn>
                <a:cxn ang="0">
                  <a:pos x="225" y="177"/>
                </a:cxn>
                <a:cxn ang="0">
                  <a:pos x="247" y="160"/>
                </a:cxn>
                <a:cxn ang="0">
                  <a:pos x="270" y="148"/>
                </a:cxn>
                <a:cxn ang="0">
                  <a:pos x="266" y="120"/>
                </a:cxn>
                <a:cxn ang="0">
                  <a:pos x="270" y="116"/>
                </a:cxn>
                <a:cxn ang="0">
                  <a:pos x="268" y="104"/>
                </a:cxn>
                <a:cxn ang="0">
                  <a:pos x="259" y="106"/>
                </a:cxn>
                <a:cxn ang="0">
                  <a:pos x="246" y="102"/>
                </a:cxn>
                <a:cxn ang="0">
                  <a:pos x="228" y="87"/>
                </a:cxn>
                <a:cxn ang="0">
                  <a:pos x="232" y="76"/>
                </a:cxn>
                <a:cxn ang="0">
                  <a:pos x="225" y="64"/>
                </a:cxn>
                <a:cxn ang="0">
                  <a:pos x="211" y="57"/>
                </a:cxn>
                <a:cxn ang="0">
                  <a:pos x="204" y="35"/>
                </a:cxn>
                <a:cxn ang="0">
                  <a:pos x="200" y="7"/>
                </a:cxn>
                <a:cxn ang="0">
                  <a:pos x="190" y="3"/>
                </a:cxn>
                <a:cxn ang="0">
                  <a:pos x="176" y="2"/>
                </a:cxn>
                <a:cxn ang="0">
                  <a:pos x="165" y="3"/>
                </a:cxn>
                <a:cxn ang="0">
                  <a:pos x="134" y="19"/>
                </a:cxn>
                <a:cxn ang="0">
                  <a:pos x="120" y="40"/>
                </a:cxn>
                <a:cxn ang="0">
                  <a:pos x="111" y="38"/>
                </a:cxn>
                <a:cxn ang="0">
                  <a:pos x="96" y="49"/>
                </a:cxn>
                <a:cxn ang="0">
                  <a:pos x="91" y="64"/>
                </a:cxn>
                <a:cxn ang="0">
                  <a:pos x="78" y="62"/>
                </a:cxn>
                <a:cxn ang="0">
                  <a:pos x="77" y="78"/>
                </a:cxn>
                <a:cxn ang="0">
                  <a:pos x="64" y="82"/>
                </a:cxn>
                <a:cxn ang="0">
                  <a:pos x="56" y="71"/>
                </a:cxn>
                <a:cxn ang="0">
                  <a:pos x="47" y="76"/>
                </a:cxn>
                <a:cxn ang="0">
                  <a:pos x="47" y="92"/>
                </a:cxn>
                <a:cxn ang="0">
                  <a:pos x="44" y="101"/>
                </a:cxn>
                <a:cxn ang="0">
                  <a:pos x="38" y="106"/>
                </a:cxn>
                <a:cxn ang="0">
                  <a:pos x="35" y="125"/>
                </a:cxn>
                <a:cxn ang="0">
                  <a:pos x="7" y="137"/>
                </a:cxn>
                <a:cxn ang="0">
                  <a:pos x="7" y="150"/>
                </a:cxn>
                <a:cxn ang="0">
                  <a:pos x="4" y="172"/>
                </a:cxn>
                <a:cxn ang="0">
                  <a:pos x="0" y="179"/>
                </a:cxn>
                <a:cxn ang="0">
                  <a:pos x="0" y="200"/>
                </a:cxn>
                <a:cxn ang="0">
                  <a:pos x="14" y="210"/>
                </a:cxn>
                <a:cxn ang="0">
                  <a:pos x="28" y="228"/>
                </a:cxn>
                <a:cxn ang="0">
                  <a:pos x="44" y="235"/>
                </a:cxn>
                <a:cxn ang="0">
                  <a:pos x="56" y="224"/>
                </a:cxn>
                <a:cxn ang="0">
                  <a:pos x="80" y="226"/>
                </a:cxn>
                <a:cxn ang="0">
                  <a:pos x="94" y="242"/>
                </a:cxn>
              </a:cxnLst>
              <a:rect l="0" t="0" r="r" b="b"/>
              <a:pathLst>
                <a:path w="277" h="244">
                  <a:moveTo>
                    <a:pt x="99" y="244"/>
                  </a:moveTo>
                  <a:lnTo>
                    <a:pt x="99" y="244"/>
                  </a:lnTo>
                  <a:lnTo>
                    <a:pt x="96" y="233"/>
                  </a:lnTo>
                  <a:lnTo>
                    <a:pt x="94" y="221"/>
                  </a:lnTo>
                  <a:lnTo>
                    <a:pt x="94" y="210"/>
                  </a:lnTo>
                  <a:lnTo>
                    <a:pt x="96" y="202"/>
                  </a:lnTo>
                  <a:lnTo>
                    <a:pt x="96" y="202"/>
                  </a:lnTo>
                  <a:lnTo>
                    <a:pt x="91" y="188"/>
                  </a:lnTo>
                  <a:lnTo>
                    <a:pt x="91" y="183"/>
                  </a:lnTo>
                  <a:lnTo>
                    <a:pt x="91" y="179"/>
                  </a:lnTo>
                  <a:lnTo>
                    <a:pt x="92" y="176"/>
                  </a:lnTo>
                  <a:lnTo>
                    <a:pt x="98" y="176"/>
                  </a:lnTo>
                  <a:lnTo>
                    <a:pt x="98" y="176"/>
                  </a:lnTo>
                  <a:lnTo>
                    <a:pt x="132" y="176"/>
                  </a:lnTo>
                  <a:lnTo>
                    <a:pt x="162" y="176"/>
                  </a:lnTo>
                  <a:lnTo>
                    <a:pt x="162" y="176"/>
                  </a:lnTo>
                  <a:lnTo>
                    <a:pt x="167" y="177"/>
                  </a:lnTo>
                  <a:lnTo>
                    <a:pt x="169" y="179"/>
                  </a:lnTo>
                  <a:lnTo>
                    <a:pt x="172" y="179"/>
                  </a:lnTo>
                  <a:lnTo>
                    <a:pt x="176" y="176"/>
                  </a:lnTo>
                  <a:lnTo>
                    <a:pt x="176" y="176"/>
                  </a:lnTo>
                  <a:lnTo>
                    <a:pt x="183" y="170"/>
                  </a:lnTo>
                  <a:lnTo>
                    <a:pt x="188" y="170"/>
                  </a:lnTo>
                  <a:lnTo>
                    <a:pt x="188" y="170"/>
                  </a:lnTo>
                  <a:lnTo>
                    <a:pt x="200" y="172"/>
                  </a:lnTo>
                  <a:lnTo>
                    <a:pt x="207" y="176"/>
                  </a:lnTo>
                  <a:lnTo>
                    <a:pt x="209" y="177"/>
                  </a:lnTo>
                  <a:lnTo>
                    <a:pt x="211" y="179"/>
                  </a:lnTo>
                  <a:lnTo>
                    <a:pt x="211" y="179"/>
                  </a:lnTo>
                  <a:lnTo>
                    <a:pt x="218" y="177"/>
                  </a:lnTo>
                  <a:lnTo>
                    <a:pt x="221" y="177"/>
                  </a:lnTo>
                  <a:lnTo>
                    <a:pt x="225" y="177"/>
                  </a:lnTo>
                  <a:lnTo>
                    <a:pt x="225" y="177"/>
                  </a:lnTo>
                  <a:lnTo>
                    <a:pt x="233" y="167"/>
                  </a:lnTo>
                  <a:lnTo>
                    <a:pt x="240" y="162"/>
                  </a:lnTo>
                  <a:lnTo>
                    <a:pt x="247" y="160"/>
                  </a:lnTo>
                  <a:lnTo>
                    <a:pt x="253" y="158"/>
                  </a:lnTo>
                  <a:lnTo>
                    <a:pt x="258" y="156"/>
                  </a:lnTo>
                  <a:lnTo>
                    <a:pt x="265" y="155"/>
                  </a:lnTo>
                  <a:lnTo>
                    <a:pt x="270" y="148"/>
                  </a:lnTo>
                  <a:lnTo>
                    <a:pt x="277" y="139"/>
                  </a:lnTo>
                  <a:lnTo>
                    <a:pt x="277" y="139"/>
                  </a:lnTo>
                  <a:lnTo>
                    <a:pt x="268" y="125"/>
                  </a:lnTo>
                  <a:lnTo>
                    <a:pt x="266" y="120"/>
                  </a:lnTo>
                  <a:lnTo>
                    <a:pt x="266" y="118"/>
                  </a:lnTo>
                  <a:lnTo>
                    <a:pt x="268" y="118"/>
                  </a:lnTo>
                  <a:lnTo>
                    <a:pt x="268" y="118"/>
                  </a:lnTo>
                  <a:lnTo>
                    <a:pt x="270" y="116"/>
                  </a:lnTo>
                  <a:lnTo>
                    <a:pt x="272" y="113"/>
                  </a:lnTo>
                  <a:lnTo>
                    <a:pt x="272" y="109"/>
                  </a:lnTo>
                  <a:lnTo>
                    <a:pt x="270" y="106"/>
                  </a:lnTo>
                  <a:lnTo>
                    <a:pt x="268" y="104"/>
                  </a:lnTo>
                  <a:lnTo>
                    <a:pt x="265" y="102"/>
                  </a:lnTo>
                  <a:lnTo>
                    <a:pt x="263" y="102"/>
                  </a:lnTo>
                  <a:lnTo>
                    <a:pt x="259" y="106"/>
                  </a:lnTo>
                  <a:lnTo>
                    <a:pt x="259" y="106"/>
                  </a:lnTo>
                  <a:lnTo>
                    <a:pt x="256" y="108"/>
                  </a:lnTo>
                  <a:lnTo>
                    <a:pt x="253" y="108"/>
                  </a:lnTo>
                  <a:lnTo>
                    <a:pt x="249" y="106"/>
                  </a:lnTo>
                  <a:lnTo>
                    <a:pt x="246" y="102"/>
                  </a:lnTo>
                  <a:lnTo>
                    <a:pt x="237" y="94"/>
                  </a:lnTo>
                  <a:lnTo>
                    <a:pt x="230" y="89"/>
                  </a:lnTo>
                  <a:lnTo>
                    <a:pt x="230" y="89"/>
                  </a:lnTo>
                  <a:lnTo>
                    <a:pt x="228" y="87"/>
                  </a:lnTo>
                  <a:lnTo>
                    <a:pt x="226" y="82"/>
                  </a:lnTo>
                  <a:lnTo>
                    <a:pt x="228" y="76"/>
                  </a:lnTo>
                  <a:lnTo>
                    <a:pt x="230" y="76"/>
                  </a:lnTo>
                  <a:lnTo>
                    <a:pt x="232" y="76"/>
                  </a:lnTo>
                  <a:lnTo>
                    <a:pt x="232" y="76"/>
                  </a:lnTo>
                  <a:lnTo>
                    <a:pt x="235" y="75"/>
                  </a:lnTo>
                  <a:lnTo>
                    <a:pt x="235" y="73"/>
                  </a:lnTo>
                  <a:lnTo>
                    <a:pt x="225" y="64"/>
                  </a:lnTo>
                  <a:lnTo>
                    <a:pt x="225" y="64"/>
                  </a:lnTo>
                  <a:lnTo>
                    <a:pt x="218" y="61"/>
                  </a:lnTo>
                  <a:lnTo>
                    <a:pt x="214" y="59"/>
                  </a:lnTo>
                  <a:lnTo>
                    <a:pt x="211" y="57"/>
                  </a:lnTo>
                  <a:lnTo>
                    <a:pt x="207" y="49"/>
                  </a:lnTo>
                  <a:lnTo>
                    <a:pt x="207" y="49"/>
                  </a:lnTo>
                  <a:lnTo>
                    <a:pt x="206" y="40"/>
                  </a:lnTo>
                  <a:lnTo>
                    <a:pt x="204" y="35"/>
                  </a:lnTo>
                  <a:lnTo>
                    <a:pt x="200" y="28"/>
                  </a:lnTo>
                  <a:lnTo>
                    <a:pt x="199" y="26"/>
                  </a:lnTo>
                  <a:lnTo>
                    <a:pt x="199" y="22"/>
                  </a:lnTo>
                  <a:lnTo>
                    <a:pt x="200" y="7"/>
                  </a:lnTo>
                  <a:lnTo>
                    <a:pt x="200" y="7"/>
                  </a:lnTo>
                  <a:lnTo>
                    <a:pt x="197" y="7"/>
                  </a:lnTo>
                  <a:lnTo>
                    <a:pt x="190" y="3"/>
                  </a:lnTo>
                  <a:lnTo>
                    <a:pt x="190" y="3"/>
                  </a:lnTo>
                  <a:lnTo>
                    <a:pt x="185" y="2"/>
                  </a:lnTo>
                  <a:lnTo>
                    <a:pt x="183" y="2"/>
                  </a:lnTo>
                  <a:lnTo>
                    <a:pt x="181" y="3"/>
                  </a:lnTo>
                  <a:lnTo>
                    <a:pt x="176" y="2"/>
                  </a:lnTo>
                  <a:lnTo>
                    <a:pt x="176" y="2"/>
                  </a:lnTo>
                  <a:lnTo>
                    <a:pt x="172" y="0"/>
                  </a:lnTo>
                  <a:lnTo>
                    <a:pt x="171" y="0"/>
                  </a:lnTo>
                  <a:lnTo>
                    <a:pt x="165" y="3"/>
                  </a:lnTo>
                  <a:lnTo>
                    <a:pt x="155" y="10"/>
                  </a:lnTo>
                  <a:lnTo>
                    <a:pt x="146" y="15"/>
                  </a:lnTo>
                  <a:lnTo>
                    <a:pt x="134" y="19"/>
                  </a:lnTo>
                  <a:lnTo>
                    <a:pt x="134" y="19"/>
                  </a:lnTo>
                  <a:lnTo>
                    <a:pt x="129" y="21"/>
                  </a:lnTo>
                  <a:lnTo>
                    <a:pt x="125" y="24"/>
                  </a:lnTo>
                  <a:lnTo>
                    <a:pt x="122" y="33"/>
                  </a:lnTo>
                  <a:lnTo>
                    <a:pt x="120" y="40"/>
                  </a:lnTo>
                  <a:lnTo>
                    <a:pt x="118" y="42"/>
                  </a:lnTo>
                  <a:lnTo>
                    <a:pt x="115" y="40"/>
                  </a:lnTo>
                  <a:lnTo>
                    <a:pt x="115" y="40"/>
                  </a:lnTo>
                  <a:lnTo>
                    <a:pt x="111" y="38"/>
                  </a:lnTo>
                  <a:lnTo>
                    <a:pt x="108" y="38"/>
                  </a:lnTo>
                  <a:lnTo>
                    <a:pt x="103" y="38"/>
                  </a:lnTo>
                  <a:lnTo>
                    <a:pt x="101" y="42"/>
                  </a:lnTo>
                  <a:lnTo>
                    <a:pt x="96" y="49"/>
                  </a:lnTo>
                  <a:lnTo>
                    <a:pt x="94" y="59"/>
                  </a:lnTo>
                  <a:lnTo>
                    <a:pt x="94" y="59"/>
                  </a:lnTo>
                  <a:lnTo>
                    <a:pt x="92" y="62"/>
                  </a:lnTo>
                  <a:lnTo>
                    <a:pt x="91" y="64"/>
                  </a:lnTo>
                  <a:lnTo>
                    <a:pt x="89" y="64"/>
                  </a:lnTo>
                  <a:lnTo>
                    <a:pt x="85" y="62"/>
                  </a:lnTo>
                  <a:lnTo>
                    <a:pt x="80" y="61"/>
                  </a:lnTo>
                  <a:lnTo>
                    <a:pt x="78" y="62"/>
                  </a:lnTo>
                  <a:lnTo>
                    <a:pt x="78" y="66"/>
                  </a:lnTo>
                  <a:lnTo>
                    <a:pt x="78" y="66"/>
                  </a:lnTo>
                  <a:lnTo>
                    <a:pt x="78" y="73"/>
                  </a:lnTo>
                  <a:lnTo>
                    <a:pt x="77" y="78"/>
                  </a:lnTo>
                  <a:lnTo>
                    <a:pt x="75" y="80"/>
                  </a:lnTo>
                  <a:lnTo>
                    <a:pt x="73" y="82"/>
                  </a:lnTo>
                  <a:lnTo>
                    <a:pt x="70" y="82"/>
                  </a:lnTo>
                  <a:lnTo>
                    <a:pt x="64" y="82"/>
                  </a:lnTo>
                  <a:lnTo>
                    <a:pt x="64" y="82"/>
                  </a:lnTo>
                  <a:lnTo>
                    <a:pt x="61" y="80"/>
                  </a:lnTo>
                  <a:lnTo>
                    <a:pt x="58" y="76"/>
                  </a:lnTo>
                  <a:lnTo>
                    <a:pt x="56" y="71"/>
                  </a:lnTo>
                  <a:lnTo>
                    <a:pt x="54" y="69"/>
                  </a:lnTo>
                  <a:lnTo>
                    <a:pt x="52" y="71"/>
                  </a:lnTo>
                  <a:lnTo>
                    <a:pt x="52" y="71"/>
                  </a:lnTo>
                  <a:lnTo>
                    <a:pt x="47" y="76"/>
                  </a:lnTo>
                  <a:lnTo>
                    <a:pt x="45" y="82"/>
                  </a:lnTo>
                  <a:lnTo>
                    <a:pt x="45" y="87"/>
                  </a:lnTo>
                  <a:lnTo>
                    <a:pt x="47" y="92"/>
                  </a:lnTo>
                  <a:lnTo>
                    <a:pt x="47" y="92"/>
                  </a:lnTo>
                  <a:lnTo>
                    <a:pt x="49" y="96"/>
                  </a:lnTo>
                  <a:lnTo>
                    <a:pt x="49" y="99"/>
                  </a:lnTo>
                  <a:lnTo>
                    <a:pt x="47" y="101"/>
                  </a:lnTo>
                  <a:lnTo>
                    <a:pt x="44" y="101"/>
                  </a:lnTo>
                  <a:lnTo>
                    <a:pt x="38" y="102"/>
                  </a:lnTo>
                  <a:lnTo>
                    <a:pt x="37" y="104"/>
                  </a:lnTo>
                  <a:lnTo>
                    <a:pt x="38" y="106"/>
                  </a:lnTo>
                  <a:lnTo>
                    <a:pt x="38" y="106"/>
                  </a:lnTo>
                  <a:lnTo>
                    <a:pt x="40" y="109"/>
                  </a:lnTo>
                  <a:lnTo>
                    <a:pt x="40" y="113"/>
                  </a:lnTo>
                  <a:lnTo>
                    <a:pt x="35" y="125"/>
                  </a:lnTo>
                  <a:lnTo>
                    <a:pt x="35" y="125"/>
                  </a:lnTo>
                  <a:lnTo>
                    <a:pt x="31" y="130"/>
                  </a:lnTo>
                  <a:lnTo>
                    <a:pt x="26" y="132"/>
                  </a:lnTo>
                  <a:lnTo>
                    <a:pt x="16" y="136"/>
                  </a:lnTo>
                  <a:lnTo>
                    <a:pt x="7" y="137"/>
                  </a:lnTo>
                  <a:lnTo>
                    <a:pt x="5" y="139"/>
                  </a:lnTo>
                  <a:lnTo>
                    <a:pt x="5" y="143"/>
                  </a:lnTo>
                  <a:lnTo>
                    <a:pt x="5" y="143"/>
                  </a:lnTo>
                  <a:lnTo>
                    <a:pt x="7" y="150"/>
                  </a:lnTo>
                  <a:lnTo>
                    <a:pt x="9" y="158"/>
                  </a:lnTo>
                  <a:lnTo>
                    <a:pt x="7" y="167"/>
                  </a:lnTo>
                  <a:lnTo>
                    <a:pt x="7" y="170"/>
                  </a:lnTo>
                  <a:lnTo>
                    <a:pt x="4" y="172"/>
                  </a:lnTo>
                  <a:lnTo>
                    <a:pt x="4" y="172"/>
                  </a:lnTo>
                  <a:lnTo>
                    <a:pt x="2" y="172"/>
                  </a:lnTo>
                  <a:lnTo>
                    <a:pt x="0" y="174"/>
                  </a:lnTo>
                  <a:lnTo>
                    <a:pt x="0" y="179"/>
                  </a:lnTo>
                  <a:lnTo>
                    <a:pt x="2" y="188"/>
                  </a:lnTo>
                  <a:lnTo>
                    <a:pt x="2" y="193"/>
                  </a:lnTo>
                  <a:lnTo>
                    <a:pt x="0" y="200"/>
                  </a:lnTo>
                  <a:lnTo>
                    <a:pt x="0" y="200"/>
                  </a:lnTo>
                  <a:lnTo>
                    <a:pt x="7" y="203"/>
                  </a:lnTo>
                  <a:lnTo>
                    <a:pt x="12" y="205"/>
                  </a:lnTo>
                  <a:lnTo>
                    <a:pt x="14" y="207"/>
                  </a:lnTo>
                  <a:lnTo>
                    <a:pt x="14" y="210"/>
                  </a:lnTo>
                  <a:lnTo>
                    <a:pt x="16" y="214"/>
                  </a:lnTo>
                  <a:lnTo>
                    <a:pt x="17" y="217"/>
                  </a:lnTo>
                  <a:lnTo>
                    <a:pt x="21" y="223"/>
                  </a:lnTo>
                  <a:lnTo>
                    <a:pt x="28" y="228"/>
                  </a:lnTo>
                  <a:lnTo>
                    <a:pt x="28" y="228"/>
                  </a:lnTo>
                  <a:lnTo>
                    <a:pt x="37" y="233"/>
                  </a:lnTo>
                  <a:lnTo>
                    <a:pt x="42" y="235"/>
                  </a:lnTo>
                  <a:lnTo>
                    <a:pt x="44" y="235"/>
                  </a:lnTo>
                  <a:lnTo>
                    <a:pt x="45" y="233"/>
                  </a:lnTo>
                  <a:lnTo>
                    <a:pt x="49" y="230"/>
                  </a:lnTo>
                  <a:lnTo>
                    <a:pt x="51" y="226"/>
                  </a:lnTo>
                  <a:lnTo>
                    <a:pt x="56" y="224"/>
                  </a:lnTo>
                  <a:lnTo>
                    <a:pt x="64" y="223"/>
                  </a:lnTo>
                  <a:lnTo>
                    <a:pt x="64" y="223"/>
                  </a:lnTo>
                  <a:lnTo>
                    <a:pt x="73" y="224"/>
                  </a:lnTo>
                  <a:lnTo>
                    <a:pt x="80" y="226"/>
                  </a:lnTo>
                  <a:lnTo>
                    <a:pt x="84" y="230"/>
                  </a:lnTo>
                  <a:lnTo>
                    <a:pt x="87" y="233"/>
                  </a:lnTo>
                  <a:lnTo>
                    <a:pt x="92" y="240"/>
                  </a:lnTo>
                  <a:lnTo>
                    <a:pt x="94" y="242"/>
                  </a:lnTo>
                  <a:lnTo>
                    <a:pt x="99" y="244"/>
                  </a:lnTo>
                  <a:lnTo>
                    <a:pt x="99" y="2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4" name="Freeform 1977">
              <a:extLst>
                <a:ext uri="{FF2B5EF4-FFF2-40B4-BE49-F238E27FC236}">
                  <a16:creationId xmlns:a16="http://schemas.microsoft.com/office/drawing/2014/main" id="{0851BD23-7694-4730-BECA-86D28934AAE0}"/>
                </a:ext>
              </a:extLst>
            </p:cNvPr>
            <p:cNvSpPr>
              <a:spLocks/>
            </p:cNvSpPr>
            <p:nvPr/>
          </p:nvSpPr>
          <p:spPr bwMode="auto">
            <a:xfrm>
              <a:off x="4351473" y="3257235"/>
              <a:ext cx="340067" cy="301303"/>
            </a:xfrm>
            <a:custGeom>
              <a:avLst/>
              <a:gdLst/>
              <a:ahLst/>
              <a:cxnLst>
                <a:cxn ang="0">
                  <a:pos x="0" y="376"/>
                </a:cxn>
                <a:cxn ang="0">
                  <a:pos x="17" y="360"/>
                </a:cxn>
                <a:cxn ang="0">
                  <a:pos x="47" y="353"/>
                </a:cxn>
                <a:cxn ang="0">
                  <a:pos x="64" y="337"/>
                </a:cxn>
                <a:cxn ang="0">
                  <a:pos x="87" y="320"/>
                </a:cxn>
                <a:cxn ang="0">
                  <a:pos x="106" y="297"/>
                </a:cxn>
                <a:cxn ang="0">
                  <a:pos x="120" y="268"/>
                </a:cxn>
                <a:cxn ang="0">
                  <a:pos x="115" y="222"/>
                </a:cxn>
                <a:cxn ang="0">
                  <a:pos x="125" y="186"/>
                </a:cxn>
                <a:cxn ang="0">
                  <a:pos x="134" y="170"/>
                </a:cxn>
                <a:cxn ang="0">
                  <a:pos x="134" y="158"/>
                </a:cxn>
                <a:cxn ang="0">
                  <a:pos x="144" y="144"/>
                </a:cxn>
                <a:cxn ang="0">
                  <a:pos x="153" y="132"/>
                </a:cxn>
                <a:cxn ang="0">
                  <a:pos x="167" y="116"/>
                </a:cxn>
                <a:cxn ang="0">
                  <a:pos x="195" y="104"/>
                </a:cxn>
                <a:cxn ang="0">
                  <a:pos x="218" y="88"/>
                </a:cxn>
                <a:cxn ang="0">
                  <a:pos x="238" y="48"/>
                </a:cxn>
                <a:cxn ang="0">
                  <a:pos x="261" y="3"/>
                </a:cxn>
                <a:cxn ang="0">
                  <a:pos x="270" y="0"/>
                </a:cxn>
                <a:cxn ang="0">
                  <a:pos x="275" y="6"/>
                </a:cxn>
                <a:cxn ang="0">
                  <a:pos x="282" y="22"/>
                </a:cxn>
                <a:cxn ang="0">
                  <a:pos x="301" y="33"/>
                </a:cxn>
                <a:cxn ang="0">
                  <a:pos x="320" y="31"/>
                </a:cxn>
                <a:cxn ang="0">
                  <a:pos x="338" y="29"/>
                </a:cxn>
                <a:cxn ang="0">
                  <a:pos x="346" y="29"/>
                </a:cxn>
                <a:cxn ang="0">
                  <a:pos x="355" y="20"/>
                </a:cxn>
                <a:cxn ang="0">
                  <a:pos x="357" y="24"/>
                </a:cxn>
                <a:cxn ang="0">
                  <a:pos x="366" y="34"/>
                </a:cxn>
                <a:cxn ang="0">
                  <a:pos x="383" y="36"/>
                </a:cxn>
                <a:cxn ang="0">
                  <a:pos x="395" y="50"/>
                </a:cxn>
                <a:cxn ang="0">
                  <a:pos x="402" y="94"/>
                </a:cxn>
                <a:cxn ang="0">
                  <a:pos x="407" y="137"/>
                </a:cxn>
                <a:cxn ang="0">
                  <a:pos x="418" y="149"/>
                </a:cxn>
                <a:cxn ang="0">
                  <a:pos x="423" y="153"/>
                </a:cxn>
                <a:cxn ang="0">
                  <a:pos x="420" y="163"/>
                </a:cxn>
                <a:cxn ang="0">
                  <a:pos x="416" y="172"/>
                </a:cxn>
                <a:cxn ang="0">
                  <a:pos x="392" y="174"/>
                </a:cxn>
                <a:cxn ang="0">
                  <a:pos x="362" y="177"/>
                </a:cxn>
                <a:cxn ang="0">
                  <a:pos x="350" y="188"/>
                </a:cxn>
                <a:cxn ang="0">
                  <a:pos x="326" y="193"/>
                </a:cxn>
                <a:cxn ang="0">
                  <a:pos x="324" y="205"/>
                </a:cxn>
                <a:cxn ang="0">
                  <a:pos x="334" y="221"/>
                </a:cxn>
                <a:cxn ang="0">
                  <a:pos x="331" y="229"/>
                </a:cxn>
                <a:cxn ang="0">
                  <a:pos x="299" y="243"/>
                </a:cxn>
                <a:cxn ang="0">
                  <a:pos x="277" y="264"/>
                </a:cxn>
                <a:cxn ang="0">
                  <a:pos x="263" y="273"/>
                </a:cxn>
                <a:cxn ang="0">
                  <a:pos x="193" y="299"/>
                </a:cxn>
                <a:cxn ang="0">
                  <a:pos x="157" y="329"/>
                </a:cxn>
              </a:cxnLst>
              <a:rect l="0" t="0" r="r" b="b"/>
              <a:pathLst>
                <a:path w="423" h="376">
                  <a:moveTo>
                    <a:pt x="157" y="376"/>
                  </a:moveTo>
                  <a:lnTo>
                    <a:pt x="0" y="376"/>
                  </a:lnTo>
                  <a:lnTo>
                    <a:pt x="0" y="376"/>
                  </a:lnTo>
                  <a:lnTo>
                    <a:pt x="3" y="367"/>
                  </a:lnTo>
                  <a:lnTo>
                    <a:pt x="10" y="362"/>
                  </a:lnTo>
                  <a:lnTo>
                    <a:pt x="17" y="360"/>
                  </a:lnTo>
                  <a:lnTo>
                    <a:pt x="26" y="358"/>
                  </a:lnTo>
                  <a:lnTo>
                    <a:pt x="36" y="356"/>
                  </a:lnTo>
                  <a:lnTo>
                    <a:pt x="47" y="353"/>
                  </a:lnTo>
                  <a:lnTo>
                    <a:pt x="56" y="346"/>
                  </a:lnTo>
                  <a:lnTo>
                    <a:pt x="64" y="337"/>
                  </a:lnTo>
                  <a:lnTo>
                    <a:pt x="64" y="337"/>
                  </a:lnTo>
                  <a:lnTo>
                    <a:pt x="71" y="329"/>
                  </a:lnTo>
                  <a:lnTo>
                    <a:pt x="77" y="323"/>
                  </a:lnTo>
                  <a:lnTo>
                    <a:pt x="87" y="320"/>
                  </a:lnTo>
                  <a:lnTo>
                    <a:pt x="92" y="316"/>
                  </a:lnTo>
                  <a:lnTo>
                    <a:pt x="97" y="309"/>
                  </a:lnTo>
                  <a:lnTo>
                    <a:pt x="106" y="297"/>
                  </a:lnTo>
                  <a:lnTo>
                    <a:pt x="117" y="278"/>
                  </a:lnTo>
                  <a:lnTo>
                    <a:pt x="117" y="278"/>
                  </a:lnTo>
                  <a:lnTo>
                    <a:pt x="120" y="268"/>
                  </a:lnTo>
                  <a:lnTo>
                    <a:pt x="120" y="257"/>
                  </a:lnTo>
                  <a:lnTo>
                    <a:pt x="117" y="235"/>
                  </a:lnTo>
                  <a:lnTo>
                    <a:pt x="115" y="222"/>
                  </a:lnTo>
                  <a:lnTo>
                    <a:pt x="115" y="210"/>
                  </a:lnTo>
                  <a:lnTo>
                    <a:pt x="118" y="198"/>
                  </a:lnTo>
                  <a:lnTo>
                    <a:pt x="125" y="186"/>
                  </a:lnTo>
                  <a:lnTo>
                    <a:pt x="125" y="186"/>
                  </a:lnTo>
                  <a:lnTo>
                    <a:pt x="132" y="177"/>
                  </a:lnTo>
                  <a:lnTo>
                    <a:pt x="134" y="170"/>
                  </a:lnTo>
                  <a:lnTo>
                    <a:pt x="136" y="165"/>
                  </a:lnTo>
                  <a:lnTo>
                    <a:pt x="136" y="161"/>
                  </a:lnTo>
                  <a:lnTo>
                    <a:pt x="134" y="158"/>
                  </a:lnTo>
                  <a:lnTo>
                    <a:pt x="136" y="154"/>
                  </a:lnTo>
                  <a:lnTo>
                    <a:pt x="137" y="149"/>
                  </a:lnTo>
                  <a:lnTo>
                    <a:pt x="144" y="144"/>
                  </a:lnTo>
                  <a:lnTo>
                    <a:pt x="144" y="144"/>
                  </a:lnTo>
                  <a:lnTo>
                    <a:pt x="150" y="137"/>
                  </a:lnTo>
                  <a:lnTo>
                    <a:pt x="153" y="132"/>
                  </a:lnTo>
                  <a:lnTo>
                    <a:pt x="158" y="125"/>
                  </a:lnTo>
                  <a:lnTo>
                    <a:pt x="162" y="121"/>
                  </a:lnTo>
                  <a:lnTo>
                    <a:pt x="167" y="116"/>
                  </a:lnTo>
                  <a:lnTo>
                    <a:pt x="179" y="111"/>
                  </a:lnTo>
                  <a:lnTo>
                    <a:pt x="195" y="104"/>
                  </a:lnTo>
                  <a:lnTo>
                    <a:pt x="195" y="104"/>
                  </a:lnTo>
                  <a:lnTo>
                    <a:pt x="204" y="100"/>
                  </a:lnTo>
                  <a:lnTo>
                    <a:pt x="211" y="95"/>
                  </a:lnTo>
                  <a:lnTo>
                    <a:pt x="218" y="88"/>
                  </a:lnTo>
                  <a:lnTo>
                    <a:pt x="225" y="81"/>
                  </a:lnTo>
                  <a:lnTo>
                    <a:pt x="233" y="66"/>
                  </a:lnTo>
                  <a:lnTo>
                    <a:pt x="238" y="48"/>
                  </a:lnTo>
                  <a:lnTo>
                    <a:pt x="251" y="17"/>
                  </a:lnTo>
                  <a:lnTo>
                    <a:pt x="256" y="6"/>
                  </a:lnTo>
                  <a:lnTo>
                    <a:pt x="261" y="3"/>
                  </a:lnTo>
                  <a:lnTo>
                    <a:pt x="265" y="0"/>
                  </a:lnTo>
                  <a:lnTo>
                    <a:pt x="265" y="0"/>
                  </a:lnTo>
                  <a:lnTo>
                    <a:pt x="270" y="0"/>
                  </a:lnTo>
                  <a:lnTo>
                    <a:pt x="273" y="0"/>
                  </a:lnTo>
                  <a:lnTo>
                    <a:pt x="275" y="1"/>
                  </a:lnTo>
                  <a:lnTo>
                    <a:pt x="275" y="6"/>
                  </a:lnTo>
                  <a:lnTo>
                    <a:pt x="275" y="12"/>
                  </a:lnTo>
                  <a:lnTo>
                    <a:pt x="277" y="17"/>
                  </a:lnTo>
                  <a:lnTo>
                    <a:pt x="282" y="22"/>
                  </a:lnTo>
                  <a:lnTo>
                    <a:pt x="291" y="29"/>
                  </a:lnTo>
                  <a:lnTo>
                    <a:pt x="291" y="29"/>
                  </a:lnTo>
                  <a:lnTo>
                    <a:pt x="301" y="33"/>
                  </a:lnTo>
                  <a:lnTo>
                    <a:pt x="308" y="33"/>
                  </a:lnTo>
                  <a:lnTo>
                    <a:pt x="315" y="33"/>
                  </a:lnTo>
                  <a:lnTo>
                    <a:pt x="320" y="31"/>
                  </a:lnTo>
                  <a:lnTo>
                    <a:pt x="329" y="27"/>
                  </a:lnTo>
                  <a:lnTo>
                    <a:pt x="332" y="27"/>
                  </a:lnTo>
                  <a:lnTo>
                    <a:pt x="338" y="29"/>
                  </a:lnTo>
                  <a:lnTo>
                    <a:pt x="338" y="29"/>
                  </a:lnTo>
                  <a:lnTo>
                    <a:pt x="343" y="29"/>
                  </a:lnTo>
                  <a:lnTo>
                    <a:pt x="346" y="29"/>
                  </a:lnTo>
                  <a:lnTo>
                    <a:pt x="350" y="27"/>
                  </a:lnTo>
                  <a:lnTo>
                    <a:pt x="353" y="24"/>
                  </a:lnTo>
                  <a:lnTo>
                    <a:pt x="355" y="20"/>
                  </a:lnTo>
                  <a:lnTo>
                    <a:pt x="357" y="22"/>
                  </a:lnTo>
                  <a:lnTo>
                    <a:pt x="357" y="24"/>
                  </a:lnTo>
                  <a:lnTo>
                    <a:pt x="357" y="24"/>
                  </a:lnTo>
                  <a:lnTo>
                    <a:pt x="359" y="29"/>
                  </a:lnTo>
                  <a:lnTo>
                    <a:pt x="362" y="33"/>
                  </a:lnTo>
                  <a:lnTo>
                    <a:pt x="366" y="34"/>
                  </a:lnTo>
                  <a:lnTo>
                    <a:pt x="371" y="34"/>
                  </a:lnTo>
                  <a:lnTo>
                    <a:pt x="383" y="36"/>
                  </a:lnTo>
                  <a:lnTo>
                    <a:pt x="383" y="36"/>
                  </a:lnTo>
                  <a:lnTo>
                    <a:pt x="388" y="40"/>
                  </a:lnTo>
                  <a:lnTo>
                    <a:pt x="392" y="45"/>
                  </a:lnTo>
                  <a:lnTo>
                    <a:pt x="395" y="50"/>
                  </a:lnTo>
                  <a:lnTo>
                    <a:pt x="397" y="59"/>
                  </a:lnTo>
                  <a:lnTo>
                    <a:pt x="400" y="76"/>
                  </a:lnTo>
                  <a:lnTo>
                    <a:pt x="402" y="94"/>
                  </a:lnTo>
                  <a:lnTo>
                    <a:pt x="404" y="113"/>
                  </a:lnTo>
                  <a:lnTo>
                    <a:pt x="406" y="130"/>
                  </a:lnTo>
                  <a:lnTo>
                    <a:pt x="407" y="137"/>
                  </a:lnTo>
                  <a:lnTo>
                    <a:pt x="411" y="142"/>
                  </a:lnTo>
                  <a:lnTo>
                    <a:pt x="413" y="146"/>
                  </a:lnTo>
                  <a:lnTo>
                    <a:pt x="418" y="149"/>
                  </a:lnTo>
                  <a:lnTo>
                    <a:pt x="418" y="149"/>
                  </a:lnTo>
                  <a:lnTo>
                    <a:pt x="421" y="151"/>
                  </a:lnTo>
                  <a:lnTo>
                    <a:pt x="423" y="153"/>
                  </a:lnTo>
                  <a:lnTo>
                    <a:pt x="423" y="154"/>
                  </a:lnTo>
                  <a:lnTo>
                    <a:pt x="423" y="156"/>
                  </a:lnTo>
                  <a:lnTo>
                    <a:pt x="420" y="163"/>
                  </a:lnTo>
                  <a:lnTo>
                    <a:pt x="418" y="170"/>
                  </a:lnTo>
                  <a:lnTo>
                    <a:pt x="418" y="170"/>
                  </a:lnTo>
                  <a:lnTo>
                    <a:pt x="416" y="172"/>
                  </a:lnTo>
                  <a:lnTo>
                    <a:pt x="414" y="172"/>
                  </a:lnTo>
                  <a:lnTo>
                    <a:pt x="409" y="174"/>
                  </a:lnTo>
                  <a:lnTo>
                    <a:pt x="392" y="174"/>
                  </a:lnTo>
                  <a:lnTo>
                    <a:pt x="381" y="174"/>
                  </a:lnTo>
                  <a:lnTo>
                    <a:pt x="371" y="175"/>
                  </a:lnTo>
                  <a:lnTo>
                    <a:pt x="362" y="177"/>
                  </a:lnTo>
                  <a:lnTo>
                    <a:pt x="355" y="182"/>
                  </a:lnTo>
                  <a:lnTo>
                    <a:pt x="355" y="182"/>
                  </a:lnTo>
                  <a:lnTo>
                    <a:pt x="350" y="188"/>
                  </a:lnTo>
                  <a:lnTo>
                    <a:pt x="345" y="191"/>
                  </a:lnTo>
                  <a:lnTo>
                    <a:pt x="331" y="193"/>
                  </a:lnTo>
                  <a:lnTo>
                    <a:pt x="326" y="193"/>
                  </a:lnTo>
                  <a:lnTo>
                    <a:pt x="324" y="195"/>
                  </a:lnTo>
                  <a:lnTo>
                    <a:pt x="322" y="198"/>
                  </a:lnTo>
                  <a:lnTo>
                    <a:pt x="324" y="205"/>
                  </a:lnTo>
                  <a:lnTo>
                    <a:pt x="324" y="205"/>
                  </a:lnTo>
                  <a:lnTo>
                    <a:pt x="331" y="215"/>
                  </a:lnTo>
                  <a:lnTo>
                    <a:pt x="334" y="221"/>
                  </a:lnTo>
                  <a:lnTo>
                    <a:pt x="334" y="224"/>
                  </a:lnTo>
                  <a:lnTo>
                    <a:pt x="332" y="228"/>
                  </a:lnTo>
                  <a:lnTo>
                    <a:pt x="331" y="229"/>
                  </a:lnTo>
                  <a:lnTo>
                    <a:pt x="315" y="236"/>
                  </a:lnTo>
                  <a:lnTo>
                    <a:pt x="315" y="236"/>
                  </a:lnTo>
                  <a:lnTo>
                    <a:pt x="299" y="243"/>
                  </a:lnTo>
                  <a:lnTo>
                    <a:pt x="289" y="248"/>
                  </a:lnTo>
                  <a:lnTo>
                    <a:pt x="284" y="254"/>
                  </a:lnTo>
                  <a:lnTo>
                    <a:pt x="277" y="264"/>
                  </a:lnTo>
                  <a:lnTo>
                    <a:pt x="277" y="264"/>
                  </a:lnTo>
                  <a:lnTo>
                    <a:pt x="273" y="268"/>
                  </a:lnTo>
                  <a:lnTo>
                    <a:pt x="263" y="273"/>
                  </a:lnTo>
                  <a:lnTo>
                    <a:pt x="235" y="283"/>
                  </a:lnTo>
                  <a:lnTo>
                    <a:pt x="204" y="294"/>
                  </a:lnTo>
                  <a:lnTo>
                    <a:pt x="193" y="299"/>
                  </a:lnTo>
                  <a:lnTo>
                    <a:pt x="186" y="304"/>
                  </a:lnTo>
                  <a:lnTo>
                    <a:pt x="186" y="304"/>
                  </a:lnTo>
                  <a:lnTo>
                    <a:pt x="157" y="329"/>
                  </a:lnTo>
                  <a:lnTo>
                    <a:pt x="157" y="3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5" name="Freeform 1978">
              <a:extLst>
                <a:ext uri="{FF2B5EF4-FFF2-40B4-BE49-F238E27FC236}">
                  <a16:creationId xmlns:a16="http://schemas.microsoft.com/office/drawing/2014/main" id="{D475E685-3EE7-4526-B082-9A7B0170E863}"/>
                </a:ext>
              </a:extLst>
            </p:cNvPr>
            <p:cNvSpPr>
              <a:spLocks/>
            </p:cNvSpPr>
            <p:nvPr/>
          </p:nvSpPr>
          <p:spPr bwMode="auto">
            <a:xfrm>
              <a:off x="4242231" y="3558537"/>
              <a:ext cx="236108" cy="244918"/>
            </a:xfrm>
            <a:custGeom>
              <a:avLst/>
              <a:gdLst/>
              <a:ahLst/>
              <a:cxnLst>
                <a:cxn ang="0">
                  <a:pos x="296" y="74"/>
                </a:cxn>
                <a:cxn ang="0">
                  <a:pos x="179" y="188"/>
                </a:cxn>
                <a:cxn ang="0">
                  <a:pos x="155" y="198"/>
                </a:cxn>
                <a:cxn ang="0">
                  <a:pos x="142" y="209"/>
                </a:cxn>
                <a:cxn ang="0">
                  <a:pos x="139" y="233"/>
                </a:cxn>
                <a:cxn ang="0">
                  <a:pos x="144" y="278"/>
                </a:cxn>
                <a:cxn ang="0">
                  <a:pos x="10" y="278"/>
                </a:cxn>
                <a:cxn ang="0">
                  <a:pos x="7" y="282"/>
                </a:cxn>
                <a:cxn ang="0">
                  <a:pos x="1" y="297"/>
                </a:cxn>
                <a:cxn ang="0">
                  <a:pos x="3" y="304"/>
                </a:cxn>
                <a:cxn ang="0">
                  <a:pos x="0" y="303"/>
                </a:cxn>
                <a:cxn ang="0">
                  <a:pos x="0" y="282"/>
                </a:cxn>
                <a:cxn ang="0">
                  <a:pos x="3" y="262"/>
                </a:cxn>
                <a:cxn ang="0">
                  <a:pos x="10" y="245"/>
                </a:cxn>
                <a:cxn ang="0">
                  <a:pos x="17" y="240"/>
                </a:cxn>
                <a:cxn ang="0">
                  <a:pos x="26" y="233"/>
                </a:cxn>
                <a:cxn ang="0">
                  <a:pos x="29" y="219"/>
                </a:cxn>
                <a:cxn ang="0">
                  <a:pos x="31" y="209"/>
                </a:cxn>
                <a:cxn ang="0">
                  <a:pos x="40" y="186"/>
                </a:cxn>
                <a:cxn ang="0">
                  <a:pos x="43" y="177"/>
                </a:cxn>
                <a:cxn ang="0">
                  <a:pos x="43" y="177"/>
                </a:cxn>
                <a:cxn ang="0">
                  <a:pos x="36" y="177"/>
                </a:cxn>
                <a:cxn ang="0">
                  <a:pos x="41" y="170"/>
                </a:cxn>
                <a:cxn ang="0">
                  <a:pos x="54" y="158"/>
                </a:cxn>
                <a:cxn ang="0">
                  <a:pos x="71" y="139"/>
                </a:cxn>
                <a:cxn ang="0">
                  <a:pos x="76" y="130"/>
                </a:cxn>
                <a:cxn ang="0">
                  <a:pos x="80" y="111"/>
                </a:cxn>
                <a:cxn ang="0">
                  <a:pos x="85" y="90"/>
                </a:cxn>
                <a:cxn ang="0">
                  <a:pos x="90" y="74"/>
                </a:cxn>
                <a:cxn ang="0">
                  <a:pos x="94" y="64"/>
                </a:cxn>
                <a:cxn ang="0">
                  <a:pos x="102" y="55"/>
                </a:cxn>
                <a:cxn ang="0">
                  <a:pos x="115" y="48"/>
                </a:cxn>
                <a:cxn ang="0">
                  <a:pos x="130" y="24"/>
                </a:cxn>
                <a:cxn ang="0">
                  <a:pos x="296" y="0"/>
                </a:cxn>
              </a:cxnLst>
              <a:rect l="0" t="0" r="r" b="b"/>
              <a:pathLst>
                <a:path w="296" h="304">
                  <a:moveTo>
                    <a:pt x="296" y="17"/>
                  </a:moveTo>
                  <a:lnTo>
                    <a:pt x="296" y="74"/>
                  </a:lnTo>
                  <a:lnTo>
                    <a:pt x="179" y="74"/>
                  </a:lnTo>
                  <a:lnTo>
                    <a:pt x="179" y="188"/>
                  </a:lnTo>
                  <a:lnTo>
                    <a:pt x="179" y="188"/>
                  </a:lnTo>
                  <a:lnTo>
                    <a:pt x="155" y="198"/>
                  </a:lnTo>
                  <a:lnTo>
                    <a:pt x="148" y="203"/>
                  </a:lnTo>
                  <a:lnTo>
                    <a:pt x="142" y="209"/>
                  </a:lnTo>
                  <a:lnTo>
                    <a:pt x="141" y="219"/>
                  </a:lnTo>
                  <a:lnTo>
                    <a:pt x="139" y="233"/>
                  </a:lnTo>
                  <a:lnTo>
                    <a:pt x="144" y="278"/>
                  </a:lnTo>
                  <a:lnTo>
                    <a:pt x="144" y="278"/>
                  </a:lnTo>
                  <a:lnTo>
                    <a:pt x="10" y="278"/>
                  </a:lnTo>
                  <a:lnTo>
                    <a:pt x="10" y="278"/>
                  </a:lnTo>
                  <a:lnTo>
                    <a:pt x="8" y="280"/>
                  </a:lnTo>
                  <a:lnTo>
                    <a:pt x="7" y="282"/>
                  </a:lnTo>
                  <a:lnTo>
                    <a:pt x="3" y="289"/>
                  </a:lnTo>
                  <a:lnTo>
                    <a:pt x="1" y="297"/>
                  </a:lnTo>
                  <a:lnTo>
                    <a:pt x="3" y="304"/>
                  </a:lnTo>
                  <a:lnTo>
                    <a:pt x="3" y="304"/>
                  </a:lnTo>
                  <a:lnTo>
                    <a:pt x="1" y="304"/>
                  </a:lnTo>
                  <a:lnTo>
                    <a:pt x="0" y="303"/>
                  </a:lnTo>
                  <a:lnTo>
                    <a:pt x="0" y="296"/>
                  </a:lnTo>
                  <a:lnTo>
                    <a:pt x="0" y="282"/>
                  </a:lnTo>
                  <a:lnTo>
                    <a:pt x="3" y="262"/>
                  </a:lnTo>
                  <a:lnTo>
                    <a:pt x="3" y="262"/>
                  </a:lnTo>
                  <a:lnTo>
                    <a:pt x="7" y="252"/>
                  </a:lnTo>
                  <a:lnTo>
                    <a:pt x="10" y="245"/>
                  </a:lnTo>
                  <a:lnTo>
                    <a:pt x="14" y="242"/>
                  </a:lnTo>
                  <a:lnTo>
                    <a:pt x="17" y="240"/>
                  </a:lnTo>
                  <a:lnTo>
                    <a:pt x="22" y="236"/>
                  </a:lnTo>
                  <a:lnTo>
                    <a:pt x="26" y="233"/>
                  </a:lnTo>
                  <a:lnTo>
                    <a:pt x="27" y="228"/>
                  </a:lnTo>
                  <a:lnTo>
                    <a:pt x="29" y="219"/>
                  </a:lnTo>
                  <a:lnTo>
                    <a:pt x="29" y="219"/>
                  </a:lnTo>
                  <a:lnTo>
                    <a:pt x="31" y="209"/>
                  </a:lnTo>
                  <a:lnTo>
                    <a:pt x="33" y="200"/>
                  </a:lnTo>
                  <a:lnTo>
                    <a:pt x="40" y="186"/>
                  </a:lnTo>
                  <a:lnTo>
                    <a:pt x="43" y="179"/>
                  </a:lnTo>
                  <a:lnTo>
                    <a:pt x="43" y="177"/>
                  </a:lnTo>
                  <a:lnTo>
                    <a:pt x="43" y="177"/>
                  </a:lnTo>
                  <a:lnTo>
                    <a:pt x="43" y="177"/>
                  </a:lnTo>
                  <a:lnTo>
                    <a:pt x="38" y="177"/>
                  </a:lnTo>
                  <a:lnTo>
                    <a:pt x="36" y="177"/>
                  </a:lnTo>
                  <a:lnTo>
                    <a:pt x="36" y="175"/>
                  </a:lnTo>
                  <a:lnTo>
                    <a:pt x="41" y="170"/>
                  </a:lnTo>
                  <a:lnTo>
                    <a:pt x="54" y="158"/>
                  </a:lnTo>
                  <a:lnTo>
                    <a:pt x="54" y="158"/>
                  </a:lnTo>
                  <a:lnTo>
                    <a:pt x="64" y="146"/>
                  </a:lnTo>
                  <a:lnTo>
                    <a:pt x="71" y="139"/>
                  </a:lnTo>
                  <a:lnTo>
                    <a:pt x="74" y="135"/>
                  </a:lnTo>
                  <a:lnTo>
                    <a:pt x="76" y="130"/>
                  </a:lnTo>
                  <a:lnTo>
                    <a:pt x="80" y="111"/>
                  </a:lnTo>
                  <a:lnTo>
                    <a:pt x="80" y="111"/>
                  </a:lnTo>
                  <a:lnTo>
                    <a:pt x="83" y="95"/>
                  </a:lnTo>
                  <a:lnTo>
                    <a:pt x="85" y="90"/>
                  </a:lnTo>
                  <a:lnTo>
                    <a:pt x="87" y="87"/>
                  </a:lnTo>
                  <a:lnTo>
                    <a:pt x="90" y="74"/>
                  </a:lnTo>
                  <a:lnTo>
                    <a:pt x="90" y="74"/>
                  </a:lnTo>
                  <a:lnTo>
                    <a:pt x="94" y="64"/>
                  </a:lnTo>
                  <a:lnTo>
                    <a:pt x="99" y="57"/>
                  </a:lnTo>
                  <a:lnTo>
                    <a:pt x="102" y="55"/>
                  </a:lnTo>
                  <a:lnTo>
                    <a:pt x="108" y="52"/>
                  </a:lnTo>
                  <a:lnTo>
                    <a:pt x="115" y="48"/>
                  </a:lnTo>
                  <a:lnTo>
                    <a:pt x="121" y="40"/>
                  </a:lnTo>
                  <a:lnTo>
                    <a:pt x="130" y="24"/>
                  </a:lnTo>
                  <a:lnTo>
                    <a:pt x="139" y="0"/>
                  </a:lnTo>
                  <a:lnTo>
                    <a:pt x="296" y="0"/>
                  </a:lnTo>
                  <a:lnTo>
                    <a:pt x="296" y="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6" name="Freeform 1979">
              <a:extLst>
                <a:ext uri="{FF2B5EF4-FFF2-40B4-BE49-F238E27FC236}">
                  <a16:creationId xmlns:a16="http://schemas.microsoft.com/office/drawing/2014/main" id="{CF99C86F-729E-41BB-B54A-A1913BD384D1}"/>
                </a:ext>
              </a:extLst>
            </p:cNvPr>
            <p:cNvSpPr>
              <a:spLocks/>
            </p:cNvSpPr>
            <p:nvPr/>
          </p:nvSpPr>
          <p:spPr bwMode="auto">
            <a:xfrm>
              <a:off x="4229896" y="3947940"/>
              <a:ext cx="174438" cy="149772"/>
            </a:xfrm>
            <a:custGeom>
              <a:avLst/>
              <a:gdLst/>
              <a:ahLst/>
              <a:cxnLst>
                <a:cxn ang="0">
                  <a:pos x="29" y="124"/>
                </a:cxn>
                <a:cxn ang="0">
                  <a:pos x="15" y="87"/>
                </a:cxn>
                <a:cxn ang="0">
                  <a:pos x="8" y="82"/>
                </a:cxn>
                <a:cxn ang="0">
                  <a:pos x="1" y="79"/>
                </a:cxn>
                <a:cxn ang="0">
                  <a:pos x="14" y="70"/>
                </a:cxn>
                <a:cxn ang="0">
                  <a:pos x="29" y="47"/>
                </a:cxn>
                <a:cxn ang="0">
                  <a:pos x="34" y="16"/>
                </a:cxn>
                <a:cxn ang="0">
                  <a:pos x="54" y="4"/>
                </a:cxn>
                <a:cxn ang="0">
                  <a:pos x="102" y="0"/>
                </a:cxn>
                <a:cxn ang="0">
                  <a:pos x="115" y="2"/>
                </a:cxn>
                <a:cxn ang="0">
                  <a:pos x="139" y="25"/>
                </a:cxn>
                <a:cxn ang="0">
                  <a:pos x="149" y="33"/>
                </a:cxn>
                <a:cxn ang="0">
                  <a:pos x="181" y="77"/>
                </a:cxn>
                <a:cxn ang="0">
                  <a:pos x="186" y="93"/>
                </a:cxn>
                <a:cxn ang="0">
                  <a:pos x="191" y="101"/>
                </a:cxn>
                <a:cxn ang="0">
                  <a:pos x="195" y="112"/>
                </a:cxn>
                <a:cxn ang="0">
                  <a:pos x="191" y="126"/>
                </a:cxn>
                <a:cxn ang="0">
                  <a:pos x="196" y="138"/>
                </a:cxn>
                <a:cxn ang="0">
                  <a:pos x="205" y="140"/>
                </a:cxn>
                <a:cxn ang="0">
                  <a:pos x="214" y="152"/>
                </a:cxn>
                <a:cxn ang="0">
                  <a:pos x="214" y="173"/>
                </a:cxn>
                <a:cxn ang="0">
                  <a:pos x="207" y="180"/>
                </a:cxn>
                <a:cxn ang="0">
                  <a:pos x="184" y="181"/>
                </a:cxn>
                <a:cxn ang="0">
                  <a:pos x="176" y="181"/>
                </a:cxn>
                <a:cxn ang="0">
                  <a:pos x="142" y="171"/>
                </a:cxn>
                <a:cxn ang="0">
                  <a:pos x="106" y="169"/>
                </a:cxn>
                <a:cxn ang="0">
                  <a:pos x="80" y="169"/>
                </a:cxn>
                <a:cxn ang="0">
                  <a:pos x="73" y="174"/>
                </a:cxn>
                <a:cxn ang="0">
                  <a:pos x="73" y="178"/>
                </a:cxn>
                <a:cxn ang="0">
                  <a:pos x="52" y="181"/>
                </a:cxn>
                <a:cxn ang="0">
                  <a:pos x="33" y="187"/>
                </a:cxn>
                <a:cxn ang="0">
                  <a:pos x="26" y="181"/>
                </a:cxn>
                <a:cxn ang="0">
                  <a:pos x="28" y="176"/>
                </a:cxn>
                <a:cxn ang="0">
                  <a:pos x="38" y="174"/>
                </a:cxn>
                <a:cxn ang="0">
                  <a:pos x="66" y="174"/>
                </a:cxn>
                <a:cxn ang="0">
                  <a:pos x="55" y="171"/>
                </a:cxn>
                <a:cxn ang="0">
                  <a:pos x="47" y="171"/>
                </a:cxn>
                <a:cxn ang="0">
                  <a:pos x="34" y="169"/>
                </a:cxn>
                <a:cxn ang="0">
                  <a:pos x="28" y="171"/>
                </a:cxn>
                <a:cxn ang="0">
                  <a:pos x="26" y="161"/>
                </a:cxn>
                <a:cxn ang="0">
                  <a:pos x="29" y="150"/>
                </a:cxn>
                <a:cxn ang="0">
                  <a:pos x="57" y="152"/>
                </a:cxn>
                <a:cxn ang="0">
                  <a:pos x="61" y="147"/>
                </a:cxn>
                <a:cxn ang="0">
                  <a:pos x="68" y="141"/>
                </a:cxn>
                <a:cxn ang="0">
                  <a:pos x="80" y="136"/>
                </a:cxn>
                <a:cxn ang="0">
                  <a:pos x="85" y="131"/>
                </a:cxn>
                <a:cxn ang="0">
                  <a:pos x="102" y="140"/>
                </a:cxn>
                <a:cxn ang="0">
                  <a:pos x="129" y="141"/>
                </a:cxn>
                <a:cxn ang="0">
                  <a:pos x="130" y="134"/>
                </a:cxn>
                <a:cxn ang="0">
                  <a:pos x="123" y="133"/>
                </a:cxn>
                <a:cxn ang="0">
                  <a:pos x="109" y="136"/>
                </a:cxn>
                <a:cxn ang="0">
                  <a:pos x="106" y="129"/>
                </a:cxn>
                <a:cxn ang="0">
                  <a:pos x="97" y="129"/>
                </a:cxn>
                <a:cxn ang="0">
                  <a:pos x="94" y="126"/>
                </a:cxn>
                <a:cxn ang="0">
                  <a:pos x="83" y="120"/>
                </a:cxn>
                <a:cxn ang="0">
                  <a:pos x="73" y="127"/>
                </a:cxn>
                <a:cxn ang="0">
                  <a:pos x="62" y="131"/>
                </a:cxn>
                <a:cxn ang="0">
                  <a:pos x="33" y="131"/>
                </a:cxn>
              </a:cxnLst>
              <a:rect l="0" t="0" r="r" b="b"/>
              <a:pathLst>
                <a:path w="216" h="187">
                  <a:moveTo>
                    <a:pt x="33" y="131"/>
                  </a:moveTo>
                  <a:lnTo>
                    <a:pt x="33" y="131"/>
                  </a:lnTo>
                  <a:lnTo>
                    <a:pt x="29" y="124"/>
                  </a:lnTo>
                  <a:lnTo>
                    <a:pt x="26" y="117"/>
                  </a:lnTo>
                  <a:lnTo>
                    <a:pt x="21" y="100"/>
                  </a:lnTo>
                  <a:lnTo>
                    <a:pt x="15" y="87"/>
                  </a:lnTo>
                  <a:lnTo>
                    <a:pt x="12" y="84"/>
                  </a:lnTo>
                  <a:lnTo>
                    <a:pt x="8" y="82"/>
                  </a:lnTo>
                  <a:lnTo>
                    <a:pt x="8" y="82"/>
                  </a:lnTo>
                  <a:lnTo>
                    <a:pt x="3" y="84"/>
                  </a:lnTo>
                  <a:lnTo>
                    <a:pt x="0" y="82"/>
                  </a:lnTo>
                  <a:lnTo>
                    <a:pt x="1" y="79"/>
                  </a:lnTo>
                  <a:lnTo>
                    <a:pt x="7" y="75"/>
                  </a:lnTo>
                  <a:lnTo>
                    <a:pt x="7" y="75"/>
                  </a:lnTo>
                  <a:lnTo>
                    <a:pt x="14" y="70"/>
                  </a:lnTo>
                  <a:lnTo>
                    <a:pt x="21" y="65"/>
                  </a:lnTo>
                  <a:lnTo>
                    <a:pt x="24" y="56"/>
                  </a:lnTo>
                  <a:lnTo>
                    <a:pt x="29" y="47"/>
                  </a:lnTo>
                  <a:lnTo>
                    <a:pt x="34" y="30"/>
                  </a:lnTo>
                  <a:lnTo>
                    <a:pt x="34" y="16"/>
                  </a:lnTo>
                  <a:lnTo>
                    <a:pt x="34" y="16"/>
                  </a:lnTo>
                  <a:lnTo>
                    <a:pt x="38" y="11"/>
                  </a:lnTo>
                  <a:lnTo>
                    <a:pt x="45" y="7"/>
                  </a:lnTo>
                  <a:lnTo>
                    <a:pt x="54" y="4"/>
                  </a:lnTo>
                  <a:lnTo>
                    <a:pt x="64" y="2"/>
                  </a:lnTo>
                  <a:lnTo>
                    <a:pt x="85" y="0"/>
                  </a:lnTo>
                  <a:lnTo>
                    <a:pt x="102" y="0"/>
                  </a:lnTo>
                  <a:lnTo>
                    <a:pt x="102" y="0"/>
                  </a:lnTo>
                  <a:lnTo>
                    <a:pt x="108" y="0"/>
                  </a:lnTo>
                  <a:lnTo>
                    <a:pt x="115" y="2"/>
                  </a:lnTo>
                  <a:lnTo>
                    <a:pt x="123" y="9"/>
                  </a:lnTo>
                  <a:lnTo>
                    <a:pt x="132" y="18"/>
                  </a:lnTo>
                  <a:lnTo>
                    <a:pt x="139" y="25"/>
                  </a:lnTo>
                  <a:lnTo>
                    <a:pt x="139" y="25"/>
                  </a:lnTo>
                  <a:lnTo>
                    <a:pt x="144" y="28"/>
                  </a:lnTo>
                  <a:lnTo>
                    <a:pt x="149" y="33"/>
                  </a:lnTo>
                  <a:lnTo>
                    <a:pt x="162" y="53"/>
                  </a:lnTo>
                  <a:lnTo>
                    <a:pt x="174" y="70"/>
                  </a:lnTo>
                  <a:lnTo>
                    <a:pt x="181" y="77"/>
                  </a:lnTo>
                  <a:lnTo>
                    <a:pt x="186" y="82"/>
                  </a:lnTo>
                  <a:lnTo>
                    <a:pt x="186" y="82"/>
                  </a:lnTo>
                  <a:lnTo>
                    <a:pt x="186" y="93"/>
                  </a:lnTo>
                  <a:lnTo>
                    <a:pt x="186" y="94"/>
                  </a:lnTo>
                  <a:lnTo>
                    <a:pt x="188" y="96"/>
                  </a:lnTo>
                  <a:lnTo>
                    <a:pt x="191" y="101"/>
                  </a:lnTo>
                  <a:lnTo>
                    <a:pt x="193" y="105"/>
                  </a:lnTo>
                  <a:lnTo>
                    <a:pt x="195" y="112"/>
                  </a:lnTo>
                  <a:lnTo>
                    <a:pt x="195" y="112"/>
                  </a:lnTo>
                  <a:lnTo>
                    <a:pt x="195" y="120"/>
                  </a:lnTo>
                  <a:lnTo>
                    <a:pt x="191" y="124"/>
                  </a:lnTo>
                  <a:lnTo>
                    <a:pt x="191" y="126"/>
                  </a:lnTo>
                  <a:lnTo>
                    <a:pt x="195" y="134"/>
                  </a:lnTo>
                  <a:lnTo>
                    <a:pt x="195" y="134"/>
                  </a:lnTo>
                  <a:lnTo>
                    <a:pt x="196" y="138"/>
                  </a:lnTo>
                  <a:lnTo>
                    <a:pt x="200" y="140"/>
                  </a:lnTo>
                  <a:lnTo>
                    <a:pt x="203" y="140"/>
                  </a:lnTo>
                  <a:lnTo>
                    <a:pt x="205" y="140"/>
                  </a:lnTo>
                  <a:lnTo>
                    <a:pt x="207" y="141"/>
                  </a:lnTo>
                  <a:lnTo>
                    <a:pt x="214" y="152"/>
                  </a:lnTo>
                  <a:lnTo>
                    <a:pt x="214" y="152"/>
                  </a:lnTo>
                  <a:lnTo>
                    <a:pt x="216" y="159"/>
                  </a:lnTo>
                  <a:lnTo>
                    <a:pt x="216" y="166"/>
                  </a:lnTo>
                  <a:lnTo>
                    <a:pt x="214" y="173"/>
                  </a:lnTo>
                  <a:lnTo>
                    <a:pt x="214" y="181"/>
                  </a:lnTo>
                  <a:lnTo>
                    <a:pt x="214" y="181"/>
                  </a:lnTo>
                  <a:lnTo>
                    <a:pt x="207" y="180"/>
                  </a:lnTo>
                  <a:lnTo>
                    <a:pt x="200" y="180"/>
                  </a:lnTo>
                  <a:lnTo>
                    <a:pt x="191" y="178"/>
                  </a:lnTo>
                  <a:lnTo>
                    <a:pt x="184" y="181"/>
                  </a:lnTo>
                  <a:lnTo>
                    <a:pt x="184" y="181"/>
                  </a:lnTo>
                  <a:lnTo>
                    <a:pt x="179" y="183"/>
                  </a:lnTo>
                  <a:lnTo>
                    <a:pt x="176" y="181"/>
                  </a:lnTo>
                  <a:lnTo>
                    <a:pt x="163" y="178"/>
                  </a:lnTo>
                  <a:lnTo>
                    <a:pt x="149" y="173"/>
                  </a:lnTo>
                  <a:lnTo>
                    <a:pt x="142" y="171"/>
                  </a:lnTo>
                  <a:lnTo>
                    <a:pt x="134" y="169"/>
                  </a:lnTo>
                  <a:lnTo>
                    <a:pt x="134" y="169"/>
                  </a:lnTo>
                  <a:lnTo>
                    <a:pt x="106" y="169"/>
                  </a:lnTo>
                  <a:lnTo>
                    <a:pt x="92" y="169"/>
                  </a:lnTo>
                  <a:lnTo>
                    <a:pt x="80" y="169"/>
                  </a:lnTo>
                  <a:lnTo>
                    <a:pt x="80" y="169"/>
                  </a:lnTo>
                  <a:lnTo>
                    <a:pt x="71" y="173"/>
                  </a:lnTo>
                  <a:lnTo>
                    <a:pt x="73" y="173"/>
                  </a:lnTo>
                  <a:lnTo>
                    <a:pt x="73" y="174"/>
                  </a:lnTo>
                  <a:lnTo>
                    <a:pt x="76" y="174"/>
                  </a:lnTo>
                  <a:lnTo>
                    <a:pt x="76" y="176"/>
                  </a:lnTo>
                  <a:lnTo>
                    <a:pt x="73" y="178"/>
                  </a:lnTo>
                  <a:lnTo>
                    <a:pt x="73" y="178"/>
                  </a:lnTo>
                  <a:lnTo>
                    <a:pt x="62" y="180"/>
                  </a:lnTo>
                  <a:lnTo>
                    <a:pt x="52" y="181"/>
                  </a:lnTo>
                  <a:lnTo>
                    <a:pt x="41" y="181"/>
                  </a:lnTo>
                  <a:lnTo>
                    <a:pt x="36" y="185"/>
                  </a:lnTo>
                  <a:lnTo>
                    <a:pt x="33" y="187"/>
                  </a:lnTo>
                  <a:lnTo>
                    <a:pt x="33" y="187"/>
                  </a:lnTo>
                  <a:lnTo>
                    <a:pt x="29" y="183"/>
                  </a:lnTo>
                  <a:lnTo>
                    <a:pt x="26" y="181"/>
                  </a:lnTo>
                  <a:lnTo>
                    <a:pt x="26" y="180"/>
                  </a:lnTo>
                  <a:lnTo>
                    <a:pt x="28" y="176"/>
                  </a:lnTo>
                  <a:lnTo>
                    <a:pt x="28" y="176"/>
                  </a:lnTo>
                  <a:lnTo>
                    <a:pt x="31" y="173"/>
                  </a:lnTo>
                  <a:lnTo>
                    <a:pt x="33" y="173"/>
                  </a:lnTo>
                  <a:lnTo>
                    <a:pt x="38" y="174"/>
                  </a:lnTo>
                  <a:lnTo>
                    <a:pt x="48" y="176"/>
                  </a:lnTo>
                  <a:lnTo>
                    <a:pt x="55" y="176"/>
                  </a:lnTo>
                  <a:lnTo>
                    <a:pt x="66" y="174"/>
                  </a:lnTo>
                  <a:lnTo>
                    <a:pt x="66" y="174"/>
                  </a:lnTo>
                  <a:lnTo>
                    <a:pt x="61" y="173"/>
                  </a:lnTo>
                  <a:lnTo>
                    <a:pt x="55" y="171"/>
                  </a:lnTo>
                  <a:lnTo>
                    <a:pt x="52" y="171"/>
                  </a:lnTo>
                  <a:lnTo>
                    <a:pt x="47" y="171"/>
                  </a:lnTo>
                  <a:lnTo>
                    <a:pt x="47" y="171"/>
                  </a:lnTo>
                  <a:lnTo>
                    <a:pt x="41" y="171"/>
                  </a:lnTo>
                  <a:lnTo>
                    <a:pt x="38" y="169"/>
                  </a:lnTo>
                  <a:lnTo>
                    <a:pt x="34" y="169"/>
                  </a:lnTo>
                  <a:lnTo>
                    <a:pt x="31" y="171"/>
                  </a:lnTo>
                  <a:lnTo>
                    <a:pt x="31" y="171"/>
                  </a:lnTo>
                  <a:lnTo>
                    <a:pt x="28" y="171"/>
                  </a:lnTo>
                  <a:lnTo>
                    <a:pt x="28" y="171"/>
                  </a:lnTo>
                  <a:lnTo>
                    <a:pt x="26" y="167"/>
                  </a:lnTo>
                  <a:lnTo>
                    <a:pt x="26" y="161"/>
                  </a:lnTo>
                  <a:lnTo>
                    <a:pt x="24" y="152"/>
                  </a:lnTo>
                  <a:lnTo>
                    <a:pt x="24" y="152"/>
                  </a:lnTo>
                  <a:lnTo>
                    <a:pt x="29" y="150"/>
                  </a:lnTo>
                  <a:lnTo>
                    <a:pt x="36" y="150"/>
                  </a:lnTo>
                  <a:lnTo>
                    <a:pt x="48" y="150"/>
                  </a:lnTo>
                  <a:lnTo>
                    <a:pt x="57" y="152"/>
                  </a:lnTo>
                  <a:lnTo>
                    <a:pt x="61" y="150"/>
                  </a:lnTo>
                  <a:lnTo>
                    <a:pt x="61" y="147"/>
                  </a:lnTo>
                  <a:lnTo>
                    <a:pt x="61" y="147"/>
                  </a:lnTo>
                  <a:lnTo>
                    <a:pt x="61" y="143"/>
                  </a:lnTo>
                  <a:lnTo>
                    <a:pt x="62" y="141"/>
                  </a:lnTo>
                  <a:lnTo>
                    <a:pt x="68" y="141"/>
                  </a:lnTo>
                  <a:lnTo>
                    <a:pt x="75" y="140"/>
                  </a:lnTo>
                  <a:lnTo>
                    <a:pt x="78" y="140"/>
                  </a:lnTo>
                  <a:lnTo>
                    <a:pt x="80" y="136"/>
                  </a:lnTo>
                  <a:lnTo>
                    <a:pt x="80" y="136"/>
                  </a:lnTo>
                  <a:lnTo>
                    <a:pt x="83" y="133"/>
                  </a:lnTo>
                  <a:lnTo>
                    <a:pt x="85" y="131"/>
                  </a:lnTo>
                  <a:lnTo>
                    <a:pt x="90" y="134"/>
                  </a:lnTo>
                  <a:lnTo>
                    <a:pt x="102" y="140"/>
                  </a:lnTo>
                  <a:lnTo>
                    <a:pt x="102" y="140"/>
                  </a:lnTo>
                  <a:lnTo>
                    <a:pt x="116" y="143"/>
                  </a:lnTo>
                  <a:lnTo>
                    <a:pt x="125" y="143"/>
                  </a:lnTo>
                  <a:lnTo>
                    <a:pt x="129" y="141"/>
                  </a:lnTo>
                  <a:lnTo>
                    <a:pt x="130" y="140"/>
                  </a:lnTo>
                  <a:lnTo>
                    <a:pt x="130" y="138"/>
                  </a:lnTo>
                  <a:lnTo>
                    <a:pt x="130" y="134"/>
                  </a:lnTo>
                  <a:lnTo>
                    <a:pt x="130" y="134"/>
                  </a:lnTo>
                  <a:lnTo>
                    <a:pt x="127" y="133"/>
                  </a:lnTo>
                  <a:lnTo>
                    <a:pt x="123" y="133"/>
                  </a:lnTo>
                  <a:lnTo>
                    <a:pt x="118" y="134"/>
                  </a:lnTo>
                  <a:lnTo>
                    <a:pt x="113" y="136"/>
                  </a:lnTo>
                  <a:lnTo>
                    <a:pt x="109" y="136"/>
                  </a:lnTo>
                  <a:lnTo>
                    <a:pt x="108" y="133"/>
                  </a:lnTo>
                  <a:lnTo>
                    <a:pt x="108" y="133"/>
                  </a:lnTo>
                  <a:lnTo>
                    <a:pt x="106" y="129"/>
                  </a:lnTo>
                  <a:lnTo>
                    <a:pt x="102" y="127"/>
                  </a:lnTo>
                  <a:lnTo>
                    <a:pt x="99" y="127"/>
                  </a:lnTo>
                  <a:lnTo>
                    <a:pt x="97" y="129"/>
                  </a:lnTo>
                  <a:lnTo>
                    <a:pt x="95" y="127"/>
                  </a:lnTo>
                  <a:lnTo>
                    <a:pt x="94" y="126"/>
                  </a:lnTo>
                  <a:lnTo>
                    <a:pt x="94" y="126"/>
                  </a:lnTo>
                  <a:lnTo>
                    <a:pt x="92" y="122"/>
                  </a:lnTo>
                  <a:lnTo>
                    <a:pt x="88" y="120"/>
                  </a:lnTo>
                  <a:lnTo>
                    <a:pt x="83" y="120"/>
                  </a:lnTo>
                  <a:lnTo>
                    <a:pt x="76" y="124"/>
                  </a:lnTo>
                  <a:lnTo>
                    <a:pt x="73" y="127"/>
                  </a:lnTo>
                  <a:lnTo>
                    <a:pt x="73" y="127"/>
                  </a:lnTo>
                  <a:lnTo>
                    <a:pt x="71" y="129"/>
                  </a:lnTo>
                  <a:lnTo>
                    <a:pt x="69" y="131"/>
                  </a:lnTo>
                  <a:lnTo>
                    <a:pt x="62" y="131"/>
                  </a:lnTo>
                  <a:lnTo>
                    <a:pt x="52" y="129"/>
                  </a:lnTo>
                  <a:lnTo>
                    <a:pt x="33" y="131"/>
                  </a:lnTo>
                  <a:lnTo>
                    <a:pt x="33" y="13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7" name="Freeform 1980">
              <a:extLst>
                <a:ext uri="{FF2B5EF4-FFF2-40B4-BE49-F238E27FC236}">
                  <a16:creationId xmlns:a16="http://schemas.microsoft.com/office/drawing/2014/main" id="{9ED4B704-8A57-4237-AB8F-5FAD10990263}"/>
                </a:ext>
              </a:extLst>
            </p:cNvPr>
            <p:cNvSpPr>
              <a:spLocks/>
            </p:cNvSpPr>
            <p:nvPr/>
          </p:nvSpPr>
          <p:spPr bwMode="auto">
            <a:xfrm>
              <a:off x="5311767" y="2427330"/>
              <a:ext cx="162103" cy="109244"/>
            </a:xfrm>
            <a:custGeom>
              <a:avLst/>
              <a:gdLst/>
              <a:ahLst/>
              <a:cxnLst>
                <a:cxn ang="0">
                  <a:pos x="199" y="44"/>
                </a:cxn>
                <a:cxn ang="0">
                  <a:pos x="195" y="58"/>
                </a:cxn>
                <a:cxn ang="0">
                  <a:pos x="197" y="61"/>
                </a:cxn>
                <a:cxn ang="0">
                  <a:pos x="202" y="65"/>
                </a:cxn>
                <a:cxn ang="0">
                  <a:pos x="201" y="68"/>
                </a:cxn>
                <a:cxn ang="0">
                  <a:pos x="195" y="73"/>
                </a:cxn>
                <a:cxn ang="0">
                  <a:pos x="185" y="77"/>
                </a:cxn>
                <a:cxn ang="0">
                  <a:pos x="174" y="86"/>
                </a:cxn>
                <a:cxn ang="0">
                  <a:pos x="168" y="94"/>
                </a:cxn>
                <a:cxn ang="0">
                  <a:pos x="164" y="107"/>
                </a:cxn>
                <a:cxn ang="0">
                  <a:pos x="168" y="113"/>
                </a:cxn>
                <a:cxn ang="0">
                  <a:pos x="171" y="120"/>
                </a:cxn>
                <a:cxn ang="0">
                  <a:pos x="168" y="124"/>
                </a:cxn>
                <a:cxn ang="0">
                  <a:pos x="162" y="124"/>
                </a:cxn>
                <a:cxn ang="0">
                  <a:pos x="157" y="117"/>
                </a:cxn>
                <a:cxn ang="0">
                  <a:pos x="148" y="119"/>
                </a:cxn>
                <a:cxn ang="0">
                  <a:pos x="141" y="124"/>
                </a:cxn>
                <a:cxn ang="0">
                  <a:pos x="126" y="134"/>
                </a:cxn>
                <a:cxn ang="0">
                  <a:pos x="115" y="136"/>
                </a:cxn>
                <a:cxn ang="0">
                  <a:pos x="98" y="134"/>
                </a:cxn>
                <a:cxn ang="0">
                  <a:pos x="89" y="134"/>
                </a:cxn>
                <a:cxn ang="0">
                  <a:pos x="89" y="126"/>
                </a:cxn>
                <a:cxn ang="0">
                  <a:pos x="82" y="119"/>
                </a:cxn>
                <a:cxn ang="0">
                  <a:pos x="67" y="112"/>
                </a:cxn>
                <a:cxn ang="0">
                  <a:pos x="63" y="112"/>
                </a:cxn>
                <a:cxn ang="0">
                  <a:pos x="63" y="100"/>
                </a:cxn>
                <a:cxn ang="0">
                  <a:pos x="65" y="86"/>
                </a:cxn>
                <a:cxn ang="0">
                  <a:pos x="61" y="80"/>
                </a:cxn>
                <a:cxn ang="0">
                  <a:pos x="56" y="77"/>
                </a:cxn>
                <a:cxn ang="0">
                  <a:pos x="47" y="75"/>
                </a:cxn>
                <a:cxn ang="0">
                  <a:pos x="37" y="75"/>
                </a:cxn>
                <a:cxn ang="0">
                  <a:pos x="11" y="65"/>
                </a:cxn>
                <a:cxn ang="0">
                  <a:pos x="11" y="54"/>
                </a:cxn>
                <a:cxn ang="0">
                  <a:pos x="6" y="42"/>
                </a:cxn>
                <a:cxn ang="0">
                  <a:pos x="2" y="37"/>
                </a:cxn>
                <a:cxn ang="0">
                  <a:pos x="0" y="21"/>
                </a:cxn>
                <a:cxn ang="0">
                  <a:pos x="21" y="9"/>
                </a:cxn>
                <a:cxn ang="0">
                  <a:pos x="51" y="2"/>
                </a:cxn>
                <a:cxn ang="0">
                  <a:pos x="68" y="4"/>
                </a:cxn>
                <a:cxn ang="0">
                  <a:pos x="103" y="6"/>
                </a:cxn>
                <a:cxn ang="0">
                  <a:pos x="115" y="9"/>
                </a:cxn>
                <a:cxn ang="0">
                  <a:pos x="126" y="9"/>
                </a:cxn>
                <a:cxn ang="0">
                  <a:pos x="131" y="6"/>
                </a:cxn>
                <a:cxn ang="0">
                  <a:pos x="136" y="0"/>
                </a:cxn>
                <a:cxn ang="0">
                  <a:pos x="140" y="0"/>
                </a:cxn>
                <a:cxn ang="0">
                  <a:pos x="143" y="4"/>
                </a:cxn>
                <a:cxn ang="0">
                  <a:pos x="145" y="11"/>
                </a:cxn>
                <a:cxn ang="0">
                  <a:pos x="150" y="14"/>
                </a:cxn>
                <a:cxn ang="0">
                  <a:pos x="155" y="16"/>
                </a:cxn>
                <a:cxn ang="0">
                  <a:pos x="168" y="18"/>
                </a:cxn>
                <a:cxn ang="0">
                  <a:pos x="187" y="35"/>
                </a:cxn>
                <a:cxn ang="0">
                  <a:pos x="199" y="44"/>
                </a:cxn>
              </a:cxnLst>
              <a:rect l="0" t="0" r="r" b="b"/>
              <a:pathLst>
                <a:path w="202" h="136">
                  <a:moveTo>
                    <a:pt x="199" y="44"/>
                  </a:moveTo>
                  <a:lnTo>
                    <a:pt x="199" y="44"/>
                  </a:lnTo>
                  <a:lnTo>
                    <a:pt x="195" y="53"/>
                  </a:lnTo>
                  <a:lnTo>
                    <a:pt x="195" y="58"/>
                  </a:lnTo>
                  <a:lnTo>
                    <a:pt x="195" y="60"/>
                  </a:lnTo>
                  <a:lnTo>
                    <a:pt x="197" y="61"/>
                  </a:lnTo>
                  <a:lnTo>
                    <a:pt x="202" y="61"/>
                  </a:lnTo>
                  <a:lnTo>
                    <a:pt x="202" y="65"/>
                  </a:lnTo>
                  <a:lnTo>
                    <a:pt x="201" y="68"/>
                  </a:lnTo>
                  <a:lnTo>
                    <a:pt x="201" y="68"/>
                  </a:lnTo>
                  <a:lnTo>
                    <a:pt x="199" y="72"/>
                  </a:lnTo>
                  <a:lnTo>
                    <a:pt x="195" y="73"/>
                  </a:lnTo>
                  <a:lnTo>
                    <a:pt x="188" y="77"/>
                  </a:lnTo>
                  <a:lnTo>
                    <a:pt x="185" y="77"/>
                  </a:lnTo>
                  <a:lnTo>
                    <a:pt x="180" y="80"/>
                  </a:lnTo>
                  <a:lnTo>
                    <a:pt x="174" y="86"/>
                  </a:lnTo>
                  <a:lnTo>
                    <a:pt x="168" y="94"/>
                  </a:lnTo>
                  <a:lnTo>
                    <a:pt x="168" y="94"/>
                  </a:lnTo>
                  <a:lnTo>
                    <a:pt x="164" y="101"/>
                  </a:lnTo>
                  <a:lnTo>
                    <a:pt x="164" y="107"/>
                  </a:lnTo>
                  <a:lnTo>
                    <a:pt x="166" y="110"/>
                  </a:lnTo>
                  <a:lnTo>
                    <a:pt x="168" y="113"/>
                  </a:lnTo>
                  <a:lnTo>
                    <a:pt x="171" y="119"/>
                  </a:lnTo>
                  <a:lnTo>
                    <a:pt x="171" y="120"/>
                  </a:lnTo>
                  <a:lnTo>
                    <a:pt x="168" y="124"/>
                  </a:lnTo>
                  <a:lnTo>
                    <a:pt x="168" y="124"/>
                  </a:lnTo>
                  <a:lnTo>
                    <a:pt x="164" y="126"/>
                  </a:lnTo>
                  <a:lnTo>
                    <a:pt x="162" y="124"/>
                  </a:lnTo>
                  <a:lnTo>
                    <a:pt x="159" y="119"/>
                  </a:lnTo>
                  <a:lnTo>
                    <a:pt x="157" y="117"/>
                  </a:lnTo>
                  <a:lnTo>
                    <a:pt x="154" y="117"/>
                  </a:lnTo>
                  <a:lnTo>
                    <a:pt x="148" y="119"/>
                  </a:lnTo>
                  <a:lnTo>
                    <a:pt x="141" y="124"/>
                  </a:lnTo>
                  <a:lnTo>
                    <a:pt x="141" y="124"/>
                  </a:lnTo>
                  <a:lnTo>
                    <a:pt x="133" y="131"/>
                  </a:lnTo>
                  <a:lnTo>
                    <a:pt x="126" y="134"/>
                  </a:lnTo>
                  <a:lnTo>
                    <a:pt x="121" y="136"/>
                  </a:lnTo>
                  <a:lnTo>
                    <a:pt x="115" y="136"/>
                  </a:lnTo>
                  <a:lnTo>
                    <a:pt x="105" y="134"/>
                  </a:lnTo>
                  <a:lnTo>
                    <a:pt x="98" y="134"/>
                  </a:lnTo>
                  <a:lnTo>
                    <a:pt x="89" y="134"/>
                  </a:lnTo>
                  <a:lnTo>
                    <a:pt x="89" y="134"/>
                  </a:lnTo>
                  <a:lnTo>
                    <a:pt x="89" y="131"/>
                  </a:lnTo>
                  <a:lnTo>
                    <a:pt x="89" y="126"/>
                  </a:lnTo>
                  <a:lnTo>
                    <a:pt x="86" y="122"/>
                  </a:lnTo>
                  <a:lnTo>
                    <a:pt x="82" y="119"/>
                  </a:lnTo>
                  <a:lnTo>
                    <a:pt x="72" y="113"/>
                  </a:lnTo>
                  <a:lnTo>
                    <a:pt x="67" y="112"/>
                  </a:lnTo>
                  <a:lnTo>
                    <a:pt x="63" y="112"/>
                  </a:lnTo>
                  <a:lnTo>
                    <a:pt x="63" y="112"/>
                  </a:lnTo>
                  <a:lnTo>
                    <a:pt x="63" y="105"/>
                  </a:lnTo>
                  <a:lnTo>
                    <a:pt x="63" y="100"/>
                  </a:lnTo>
                  <a:lnTo>
                    <a:pt x="65" y="91"/>
                  </a:lnTo>
                  <a:lnTo>
                    <a:pt x="65" y="86"/>
                  </a:lnTo>
                  <a:lnTo>
                    <a:pt x="65" y="84"/>
                  </a:lnTo>
                  <a:lnTo>
                    <a:pt x="61" y="80"/>
                  </a:lnTo>
                  <a:lnTo>
                    <a:pt x="61" y="80"/>
                  </a:lnTo>
                  <a:lnTo>
                    <a:pt x="56" y="77"/>
                  </a:lnTo>
                  <a:lnTo>
                    <a:pt x="53" y="75"/>
                  </a:lnTo>
                  <a:lnTo>
                    <a:pt x="47" y="75"/>
                  </a:lnTo>
                  <a:lnTo>
                    <a:pt x="42" y="75"/>
                  </a:lnTo>
                  <a:lnTo>
                    <a:pt x="37" y="75"/>
                  </a:lnTo>
                  <a:lnTo>
                    <a:pt x="26" y="72"/>
                  </a:lnTo>
                  <a:lnTo>
                    <a:pt x="11" y="65"/>
                  </a:lnTo>
                  <a:lnTo>
                    <a:pt x="11" y="65"/>
                  </a:lnTo>
                  <a:lnTo>
                    <a:pt x="11" y="54"/>
                  </a:lnTo>
                  <a:lnTo>
                    <a:pt x="9" y="47"/>
                  </a:lnTo>
                  <a:lnTo>
                    <a:pt x="6" y="42"/>
                  </a:lnTo>
                  <a:lnTo>
                    <a:pt x="6" y="42"/>
                  </a:lnTo>
                  <a:lnTo>
                    <a:pt x="2" y="37"/>
                  </a:lnTo>
                  <a:lnTo>
                    <a:pt x="2" y="33"/>
                  </a:lnTo>
                  <a:lnTo>
                    <a:pt x="0" y="21"/>
                  </a:lnTo>
                  <a:lnTo>
                    <a:pt x="0" y="21"/>
                  </a:lnTo>
                  <a:lnTo>
                    <a:pt x="21" y="9"/>
                  </a:lnTo>
                  <a:lnTo>
                    <a:pt x="37" y="4"/>
                  </a:lnTo>
                  <a:lnTo>
                    <a:pt x="51" y="2"/>
                  </a:lnTo>
                  <a:lnTo>
                    <a:pt x="68" y="4"/>
                  </a:lnTo>
                  <a:lnTo>
                    <a:pt x="68" y="4"/>
                  </a:lnTo>
                  <a:lnTo>
                    <a:pt x="94" y="6"/>
                  </a:lnTo>
                  <a:lnTo>
                    <a:pt x="103" y="6"/>
                  </a:lnTo>
                  <a:lnTo>
                    <a:pt x="115" y="9"/>
                  </a:lnTo>
                  <a:lnTo>
                    <a:pt x="115" y="9"/>
                  </a:lnTo>
                  <a:lnTo>
                    <a:pt x="121" y="11"/>
                  </a:lnTo>
                  <a:lnTo>
                    <a:pt x="126" y="9"/>
                  </a:lnTo>
                  <a:lnTo>
                    <a:pt x="129" y="9"/>
                  </a:lnTo>
                  <a:lnTo>
                    <a:pt x="131" y="6"/>
                  </a:lnTo>
                  <a:lnTo>
                    <a:pt x="134" y="2"/>
                  </a:lnTo>
                  <a:lnTo>
                    <a:pt x="136" y="0"/>
                  </a:lnTo>
                  <a:lnTo>
                    <a:pt x="140" y="0"/>
                  </a:lnTo>
                  <a:lnTo>
                    <a:pt x="140" y="0"/>
                  </a:lnTo>
                  <a:lnTo>
                    <a:pt x="141" y="2"/>
                  </a:lnTo>
                  <a:lnTo>
                    <a:pt x="143" y="4"/>
                  </a:lnTo>
                  <a:lnTo>
                    <a:pt x="143" y="9"/>
                  </a:lnTo>
                  <a:lnTo>
                    <a:pt x="145" y="11"/>
                  </a:lnTo>
                  <a:lnTo>
                    <a:pt x="147" y="14"/>
                  </a:lnTo>
                  <a:lnTo>
                    <a:pt x="150" y="14"/>
                  </a:lnTo>
                  <a:lnTo>
                    <a:pt x="155" y="16"/>
                  </a:lnTo>
                  <a:lnTo>
                    <a:pt x="155" y="16"/>
                  </a:lnTo>
                  <a:lnTo>
                    <a:pt x="162" y="16"/>
                  </a:lnTo>
                  <a:lnTo>
                    <a:pt x="168" y="18"/>
                  </a:lnTo>
                  <a:lnTo>
                    <a:pt x="176" y="26"/>
                  </a:lnTo>
                  <a:lnTo>
                    <a:pt x="187" y="35"/>
                  </a:lnTo>
                  <a:lnTo>
                    <a:pt x="192" y="39"/>
                  </a:lnTo>
                  <a:lnTo>
                    <a:pt x="199" y="44"/>
                  </a:lnTo>
                  <a:lnTo>
                    <a:pt x="199" y="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8" name="Freeform 1981">
              <a:extLst>
                <a:ext uri="{FF2B5EF4-FFF2-40B4-BE49-F238E27FC236}">
                  <a16:creationId xmlns:a16="http://schemas.microsoft.com/office/drawing/2014/main" id="{EC7E2D6A-9BFB-49CB-B1B1-6541DC3910A4}"/>
                </a:ext>
              </a:extLst>
            </p:cNvPr>
            <p:cNvSpPr>
              <a:spLocks/>
            </p:cNvSpPr>
            <p:nvPr/>
          </p:nvSpPr>
          <p:spPr bwMode="auto">
            <a:xfrm>
              <a:off x="4887125" y="2494287"/>
              <a:ext cx="255491" cy="317162"/>
            </a:xfrm>
            <a:custGeom>
              <a:avLst/>
              <a:gdLst/>
              <a:ahLst/>
              <a:cxnLst>
                <a:cxn ang="0">
                  <a:pos x="235" y="284"/>
                </a:cxn>
                <a:cxn ang="0">
                  <a:pos x="221" y="249"/>
                </a:cxn>
                <a:cxn ang="0">
                  <a:pos x="270" y="221"/>
                </a:cxn>
                <a:cxn ang="0">
                  <a:pos x="296" y="205"/>
                </a:cxn>
                <a:cxn ang="0">
                  <a:pos x="315" y="211"/>
                </a:cxn>
                <a:cxn ang="0">
                  <a:pos x="308" y="172"/>
                </a:cxn>
                <a:cxn ang="0">
                  <a:pos x="306" y="141"/>
                </a:cxn>
                <a:cxn ang="0">
                  <a:pos x="298" y="117"/>
                </a:cxn>
                <a:cxn ang="0">
                  <a:pos x="294" y="64"/>
                </a:cxn>
                <a:cxn ang="0">
                  <a:pos x="279" y="54"/>
                </a:cxn>
                <a:cxn ang="0">
                  <a:pos x="270" y="42"/>
                </a:cxn>
                <a:cxn ang="0">
                  <a:pos x="247" y="26"/>
                </a:cxn>
                <a:cxn ang="0">
                  <a:pos x="226" y="31"/>
                </a:cxn>
                <a:cxn ang="0">
                  <a:pos x="195" y="52"/>
                </a:cxn>
                <a:cxn ang="0">
                  <a:pos x="172" y="50"/>
                </a:cxn>
                <a:cxn ang="0">
                  <a:pos x="183" y="35"/>
                </a:cxn>
                <a:cxn ang="0">
                  <a:pos x="171" y="31"/>
                </a:cxn>
                <a:cxn ang="0">
                  <a:pos x="153" y="28"/>
                </a:cxn>
                <a:cxn ang="0">
                  <a:pos x="146" y="16"/>
                </a:cxn>
                <a:cxn ang="0">
                  <a:pos x="132" y="5"/>
                </a:cxn>
                <a:cxn ang="0">
                  <a:pos x="103" y="2"/>
                </a:cxn>
                <a:cxn ang="0">
                  <a:pos x="110" y="24"/>
                </a:cxn>
                <a:cxn ang="0">
                  <a:pos x="101" y="33"/>
                </a:cxn>
                <a:cxn ang="0">
                  <a:pos x="110" y="45"/>
                </a:cxn>
                <a:cxn ang="0">
                  <a:pos x="113" y="54"/>
                </a:cxn>
                <a:cxn ang="0">
                  <a:pos x="105" y="57"/>
                </a:cxn>
                <a:cxn ang="0">
                  <a:pos x="92" y="82"/>
                </a:cxn>
                <a:cxn ang="0">
                  <a:pos x="89" y="70"/>
                </a:cxn>
                <a:cxn ang="0">
                  <a:pos x="78" y="76"/>
                </a:cxn>
                <a:cxn ang="0">
                  <a:pos x="54" y="64"/>
                </a:cxn>
                <a:cxn ang="0">
                  <a:pos x="47" y="85"/>
                </a:cxn>
                <a:cxn ang="0">
                  <a:pos x="33" y="120"/>
                </a:cxn>
                <a:cxn ang="0">
                  <a:pos x="38" y="130"/>
                </a:cxn>
                <a:cxn ang="0">
                  <a:pos x="30" y="153"/>
                </a:cxn>
                <a:cxn ang="0">
                  <a:pos x="12" y="162"/>
                </a:cxn>
                <a:cxn ang="0">
                  <a:pos x="12" y="184"/>
                </a:cxn>
                <a:cxn ang="0">
                  <a:pos x="0" y="205"/>
                </a:cxn>
                <a:cxn ang="0">
                  <a:pos x="4" y="219"/>
                </a:cxn>
                <a:cxn ang="0">
                  <a:pos x="17" y="235"/>
                </a:cxn>
                <a:cxn ang="0">
                  <a:pos x="10" y="261"/>
                </a:cxn>
                <a:cxn ang="0">
                  <a:pos x="16" y="285"/>
                </a:cxn>
                <a:cxn ang="0">
                  <a:pos x="33" y="299"/>
                </a:cxn>
                <a:cxn ang="0">
                  <a:pos x="78" y="312"/>
                </a:cxn>
                <a:cxn ang="0">
                  <a:pos x="59" y="381"/>
                </a:cxn>
                <a:cxn ang="0">
                  <a:pos x="89" y="379"/>
                </a:cxn>
                <a:cxn ang="0">
                  <a:pos x="105" y="378"/>
                </a:cxn>
                <a:cxn ang="0">
                  <a:pos x="134" y="381"/>
                </a:cxn>
                <a:cxn ang="0">
                  <a:pos x="158" y="393"/>
                </a:cxn>
                <a:cxn ang="0">
                  <a:pos x="172" y="383"/>
                </a:cxn>
                <a:cxn ang="0">
                  <a:pos x="200" y="381"/>
                </a:cxn>
                <a:cxn ang="0">
                  <a:pos x="221" y="376"/>
                </a:cxn>
                <a:cxn ang="0">
                  <a:pos x="239" y="378"/>
                </a:cxn>
                <a:cxn ang="0">
                  <a:pos x="253" y="381"/>
                </a:cxn>
                <a:cxn ang="0">
                  <a:pos x="246" y="362"/>
                </a:cxn>
                <a:cxn ang="0">
                  <a:pos x="263" y="343"/>
                </a:cxn>
                <a:cxn ang="0">
                  <a:pos x="275" y="331"/>
                </a:cxn>
              </a:cxnLst>
              <a:rect l="0" t="0" r="r" b="b"/>
              <a:pathLst>
                <a:path w="320" h="395">
                  <a:moveTo>
                    <a:pt x="279" y="322"/>
                  </a:moveTo>
                  <a:lnTo>
                    <a:pt x="279" y="322"/>
                  </a:lnTo>
                  <a:lnTo>
                    <a:pt x="266" y="310"/>
                  </a:lnTo>
                  <a:lnTo>
                    <a:pt x="258" y="301"/>
                  </a:lnTo>
                  <a:lnTo>
                    <a:pt x="251" y="294"/>
                  </a:lnTo>
                  <a:lnTo>
                    <a:pt x="242" y="289"/>
                  </a:lnTo>
                  <a:lnTo>
                    <a:pt x="242" y="289"/>
                  </a:lnTo>
                  <a:lnTo>
                    <a:pt x="235" y="284"/>
                  </a:lnTo>
                  <a:lnTo>
                    <a:pt x="230" y="280"/>
                  </a:lnTo>
                  <a:lnTo>
                    <a:pt x="230" y="277"/>
                  </a:lnTo>
                  <a:lnTo>
                    <a:pt x="230" y="273"/>
                  </a:lnTo>
                  <a:lnTo>
                    <a:pt x="232" y="266"/>
                  </a:lnTo>
                  <a:lnTo>
                    <a:pt x="230" y="261"/>
                  </a:lnTo>
                  <a:lnTo>
                    <a:pt x="226" y="258"/>
                  </a:lnTo>
                  <a:lnTo>
                    <a:pt x="226" y="258"/>
                  </a:lnTo>
                  <a:lnTo>
                    <a:pt x="221" y="249"/>
                  </a:lnTo>
                  <a:lnTo>
                    <a:pt x="221" y="247"/>
                  </a:lnTo>
                  <a:lnTo>
                    <a:pt x="223" y="245"/>
                  </a:lnTo>
                  <a:lnTo>
                    <a:pt x="230" y="242"/>
                  </a:lnTo>
                  <a:lnTo>
                    <a:pt x="240" y="238"/>
                  </a:lnTo>
                  <a:lnTo>
                    <a:pt x="240" y="238"/>
                  </a:lnTo>
                  <a:lnTo>
                    <a:pt x="253" y="233"/>
                  </a:lnTo>
                  <a:lnTo>
                    <a:pt x="261" y="228"/>
                  </a:lnTo>
                  <a:lnTo>
                    <a:pt x="270" y="221"/>
                  </a:lnTo>
                  <a:lnTo>
                    <a:pt x="282" y="218"/>
                  </a:lnTo>
                  <a:lnTo>
                    <a:pt x="282" y="218"/>
                  </a:lnTo>
                  <a:lnTo>
                    <a:pt x="293" y="214"/>
                  </a:lnTo>
                  <a:lnTo>
                    <a:pt x="294" y="212"/>
                  </a:lnTo>
                  <a:lnTo>
                    <a:pt x="294" y="211"/>
                  </a:lnTo>
                  <a:lnTo>
                    <a:pt x="294" y="207"/>
                  </a:lnTo>
                  <a:lnTo>
                    <a:pt x="294" y="207"/>
                  </a:lnTo>
                  <a:lnTo>
                    <a:pt x="296" y="205"/>
                  </a:lnTo>
                  <a:lnTo>
                    <a:pt x="296" y="205"/>
                  </a:lnTo>
                  <a:lnTo>
                    <a:pt x="298" y="205"/>
                  </a:lnTo>
                  <a:lnTo>
                    <a:pt x="300" y="205"/>
                  </a:lnTo>
                  <a:lnTo>
                    <a:pt x="303" y="209"/>
                  </a:lnTo>
                  <a:lnTo>
                    <a:pt x="308" y="212"/>
                  </a:lnTo>
                  <a:lnTo>
                    <a:pt x="312" y="212"/>
                  </a:lnTo>
                  <a:lnTo>
                    <a:pt x="315" y="211"/>
                  </a:lnTo>
                  <a:lnTo>
                    <a:pt x="315" y="211"/>
                  </a:lnTo>
                  <a:lnTo>
                    <a:pt x="319" y="200"/>
                  </a:lnTo>
                  <a:lnTo>
                    <a:pt x="320" y="191"/>
                  </a:lnTo>
                  <a:lnTo>
                    <a:pt x="320" y="186"/>
                  </a:lnTo>
                  <a:lnTo>
                    <a:pt x="319" y="184"/>
                  </a:lnTo>
                  <a:lnTo>
                    <a:pt x="312" y="181"/>
                  </a:lnTo>
                  <a:lnTo>
                    <a:pt x="310" y="177"/>
                  </a:lnTo>
                  <a:lnTo>
                    <a:pt x="308" y="172"/>
                  </a:lnTo>
                  <a:lnTo>
                    <a:pt x="308" y="172"/>
                  </a:lnTo>
                  <a:lnTo>
                    <a:pt x="306" y="167"/>
                  </a:lnTo>
                  <a:lnTo>
                    <a:pt x="308" y="164"/>
                  </a:lnTo>
                  <a:lnTo>
                    <a:pt x="310" y="157"/>
                  </a:lnTo>
                  <a:lnTo>
                    <a:pt x="312" y="155"/>
                  </a:lnTo>
                  <a:lnTo>
                    <a:pt x="312" y="151"/>
                  </a:lnTo>
                  <a:lnTo>
                    <a:pt x="310" y="146"/>
                  </a:lnTo>
                  <a:lnTo>
                    <a:pt x="306" y="141"/>
                  </a:lnTo>
                  <a:lnTo>
                    <a:pt x="306" y="141"/>
                  </a:lnTo>
                  <a:lnTo>
                    <a:pt x="305" y="137"/>
                  </a:lnTo>
                  <a:lnTo>
                    <a:pt x="305" y="134"/>
                  </a:lnTo>
                  <a:lnTo>
                    <a:pt x="306" y="130"/>
                  </a:lnTo>
                  <a:lnTo>
                    <a:pt x="306" y="127"/>
                  </a:lnTo>
                  <a:lnTo>
                    <a:pt x="306" y="125"/>
                  </a:lnTo>
                  <a:lnTo>
                    <a:pt x="303" y="122"/>
                  </a:lnTo>
                  <a:lnTo>
                    <a:pt x="298" y="117"/>
                  </a:lnTo>
                  <a:lnTo>
                    <a:pt x="298" y="117"/>
                  </a:lnTo>
                  <a:lnTo>
                    <a:pt x="293" y="111"/>
                  </a:lnTo>
                  <a:lnTo>
                    <a:pt x="291" y="108"/>
                  </a:lnTo>
                  <a:lnTo>
                    <a:pt x="291" y="103"/>
                  </a:lnTo>
                  <a:lnTo>
                    <a:pt x="293" y="97"/>
                  </a:lnTo>
                  <a:lnTo>
                    <a:pt x="296" y="92"/>
                  </a:lnTo>
                  <a:lnTo>
                    <a:pt x="296" y="83"/>
                  </a:lnTo>
                  <a:lnTo>
                    <a:pt x="296" y="75"/>
                  </a:lnTo>
                  <a:lnTo>
                    <a:pt x="294" y="64"/>
                  </a:lnTo>
                  <a:lnTo>
                    <a:pt x="294" y="64"/>
                  </a:lnTo>
                  <a:lnTo>
                    <a:pt x="293" y="63"/>
                  </a:lnTo>
                  <a:lnTo>
                    <a:pt x="293" y="63"/>
                  </a:lnTo>
                  <a:lnTo>
                    <a:pt x="284" y="61"/>
                  </a:lnTo>
                  <a:lnTo>
                    <a:pt x="279" y="59"/>
                  </a:lnTo>
                  <a:lnTo>
                    <a:pt x="279" y="57"/>
                  </a:lnTo>
                  <a:lnTo>
                    <a:pt x="279" y="54"/>
                  </a:lnTo>
                  <a:lnTo>
                    <a:pt x="279" y="54"/>
                  </a:lnTo>
                  <a:lnTo>
                    <a:pt x="279" y="50"/>
                  </a:lnTo>
                  <a:lnTo>
                    <a:pt x="277" y="49"/>
                  </a:lnTo>
                  <a:lnTo>
                    <a:pt x="277" y="45"/>
                  </a:lnTo>
                  <a:lnTo>
                    <a:pt x="275" y="40"/>
                  </a:lnTo>
                  <a:lnTo>
                    <a:pt x="275" y="40"/>
                  </a:lnTo>
                  <a:lnTo>
                    <a:pt x="275" y="40"/>
                  </a:lnTo>
                  <a:lnTo>
                    <a:pt x="273" y="40"/>
                  </a:lnTo>
                  <a:lnTo>
                    <a:pt x="270" y="42"/>
                  </a:lnTo>
                  <a:lnTo>
                    <a:pt x="263" y="42"/>
                  </a:lnTo>
                  <a:lnTo>
                    <a:pt x="259" y="40"/>
                  </a:lnTo>
                  <a:lnTo>
                    <a:pt x="256" y="38"/>
                  </a:lnTo>
                  <a:lnTo>
                    <a:pt x="256" y="38"/>
                  </a:lnTo>
                  <a:lnTo>
                    <a:pt x="253" y="31"/>
                  </a:lnTo>
                  <a:lnTo>
                    <a:pt x="251" y="28"/>
                  </a:lnTo>
                  <a:lnTo>
                    <a:pt x="251" y="26"/>
                  </a:lnTo>
                  <a:lnTo>
                    <a:pt x="247" y="26"/>
                  </a:lnTo>
                  <a:lnTo>
                    <a:pt x="247" y="26"/>
                  </a:lnTo>
                  <a:lnTo>
                    <a:pt x="242" y="26"/>
                  </a:lnTo>
                  <a:lnTo>
                    <a:pt x="239" y="24"/>
                  </a:lnTo>
                  <a:lnTo>
                    <a:pt x="235" y="23"/>
                  </a:lnTo>
                  <a:lnTo>
                    <a:pt x="233" y="23"/>
                  </a:lnTo>
                  <a:lnTo>
                    <a:pt x="233" y="23"/>
                  </a:lnTo>
                  <a:lnTo>
                    <a:pt x="230" y="26"/>
                  </a:lnTo>
                  <a:lnTo>
                    <a:pt x="226" y="31"/>
                  </a:lnTo>
                  <a:lnTo>
                    <a:pt x="219" y="36"/>
                  </a:lnTo>
                  <a:lnTo>
                    <a:pt x="216" y="38"/>
                  </a:lnTo>
                  <a:lnTo>
                    <a:pt x="211" y="40"/>
                  </a:lnTo>
                  <a:lnTo>
                    <a:pt x="211" y="40"/>
                  </a:lnTo>
                  <a:lnTo>
                    <a:pt x="206" y="40"/>
                  </a:lnTo>
                  <a:lnTo>
                    <a:pt x="202" y="42"/>
                  </a:lnTo>
                  <a:lnTo>
                    <a:pt x="199" y="49"/>
                  </a:lnTo>
                  <a:lnTo>
                    <a:pt x="195" y="52"/>
                  </a:lnTo>
                  <a:lnTo>
                    <a:pt x="193" y="52"/>
                  </a:lnTo>
                  <a:lnTo>
                    <a:pt x="190" y="50"/>
                  </a:lnTo>
                  <a:lnTo>
                    <a:pt x="190" y="50"/>
                  </a:lnTo>
                  <a:lnTo>
                    <a:pt x="186" y="49"/>
                  </a:lnTo>
                  <a:lnTo>
                    <a:pt x="183" y="49"/>
                  </a:lnTo>
                  <a:lnTo>
                    <a:pt x="179" y="49"/>
                  </a:lnTo>
                  <a:lnTo>
                    <a:pt x="174" y="50"/>
                  </a:lnTo>
                  <a:lnTo>
                    <a:pt x="172" y="50"/>
                  </a:lnTo>
                  <a:lnTo>
                    <a:pt x="171" y="49"/>
                  </a:lnTo>
                  <a:lnTo>
                    <a:pt x="171" y="49"/>
                  </a:lnTo>
                  <a:lnTo>
                    <a:pt x="171" y="47"/>
                  </a:lnTo>
                  <a:lnTo>
                    <a:pt x="172" y="45"/>
                  </a:lnTo>
                  <a:lnTo>
                    <a:pt x="178" y="42"/>
                  </a:lnTo>
                  <a:lnTo>
                    <a:pt x="183" y="38"/>
                  </a:lnTo>
                  <a:lnTo>
                    <a:pt x="185" y="36"/>
                  </a:lnTo>
                  <a:lnTo>
                    <a:pt x="183" y="35"/>
                  </a:lnTo>
                  <a:lnTo>
                    <a:pt x="183" y="35"/>
                  </a:lnTo>
                  <a:lnTo>
                    <a:pt x="183" y="33"/>
                  </a:lnTo>
                  <a:lnTo>
                    <a:pt x="185" y="29"/>
                  </a:lnTo>
                  <a:lnTo>
                    <a:pt x="183" y="28"/>
                  </a:lnTo>
                  <a:lnTo>
                    <a:pt x="183" y="28"/>
                  </a:lnTo>
                  <a:lnTo>
                    <a:pt x="176" y="29"/>
                  </a:lnTo>
                  <a:lnTo>
                    <a:pt x="176" y="29"/>
                  </a:lnTo>
                  <a:lnTo>
                    <a:pt x="171" y="31"/>
                  </a:lnTo>
                  <a:lnTo>
                    <a:pt x="167" y="31"/>
                  </a:lnTo>
                  <a:lnTo>
                    <a:pt x="164" y="31"/>
                  </a:lnTo>
                  <a:lnTo>
                    <a:pt x="162" y="29"/>
                  </a:lnTo>
                  <a:lnTo>
                    <a:pt x="160" y="26"/>
                  </a:lnTo>
                  <a:lnTo>
                    <a:pt x="158" y="26"/>
                  </a:lnTo>
                  <a:lnTo>
                    <a:pt x="155" y="26"/>
                  </a:lnTo>
                  <a:lnTo>
                    <a:pt x="155" y="26"/>
                  </a:lnTo>
                  <a:lnTo>
                    <a:pt x="153" y="28"/>
                  </a:lnTo>
                  <a:lnTo>
                    <a:pt x="152" y="26"/>
                  </a:lnTo>
                  <a:lnTo>
                    <a:pt x="148" y="24"/>
                  </a:lnTo>
                  <a:lnTo>
                    <a:pt x="145" y="23"/>
                  </a:lnTo>
                  <a:lnTo>
                    <a:pt x="145" y="23"/>
                  </a:lnTo>
                  <a:lnTo>
                    <a:pt x="141" y="23"/>
                  </a:lnTo>
                  <a:lnTo>
                    <a:pt x="143" y="21"/>
                  </a:lnTo>
                  <a:lnTo>
                    <a:pt x="146" y="17"/>
                  </a:lnTo>
                  <a:lnTo>
                    <a:pt x="146" y="16"/>
                  </a:lnTo>
                  <a:lnTo>
                    <a:pt x="145" y="12"/>
                  </a:lnTo>
                  <a:lnTo>
                    <a:pt x="145" y="12"/>
                  </a:lnTo>
                  <a:lnTo>
                    <a:pt x="143" y="9"/>
                  </a:lnTo>
                  <a:lnTo>
                    <a:pt x="141" y="7"/>
                  </a:lnTo>
                  <a:lnTo>
                    <a:pt x="139" y="7"/>
                  </a:lnTo>
                  <a:lnTo>
                    <a:pt x="136" y="7"/>
                  </a:lnTo>
                  <a:lnTo>
                    <a:pt x="136" y="7"/>
                  </a:lnTo>
                  <a:lnTo>
                    <a:pt x="132" y="5"/>
                  </a:lnTo>
                  <a:lnTo>
                    <a:pt x="131" y="5"/>
                  </a:lnTo>
                  <a:lnTo>
                    <a:pt x="127" y="5"/>
                  </a:lnTo>
                  <a:lnTo>
                    <a:pt x="125" y="5"/>
                  </a:lnTo>
                  <a:lnTo>
                    <a:pt x="125" y="5"/>
                  </a:lnTo>
                  <a:lnTo>
                    <a:pt x="120" y="3"/>
                  </a:lnTo>
                  <a:lnTo>
                    <a:pt x="110" y="2"/>
                  </a:lnTo>
                  <a:lnTo>
                    <a:pt x="110" y="2"/>
                  </a:lnTo>
                  <a:lnTo>
                    <a:pt x="103" y="2"/>
                  </a:lnTo>
                  <a:lnTo>
                    <a:pt x="96" y="0"/>
                  </a:lnTo>
                  <a:lnTo>
                    <a:pt x="96" y="0"/>
                  </a:lnTo>
                  <a:lnTo>
                    <a:pt x="98" y="5"/>
                  </a:lnTo>
                  <a:lnTo>
                    <a:pt x="99" y="10"/>
                  </a:lnTo>
                  <a:lnTo>
                    <a:pt x="108" y="21"/>
                  </a:lnTo>
                  <a:lnTo>
                    <a:pt x="108" y="21"/>
                  </a:lnTo>
                  <a:lnTo>
                    <a:pt x="110" y="23"/>
                  </a:lnTo>
                  <a:lnTo>
                    <a:pt x="110" y="24"/>
                  </a:lnTo>
                  <a:lnTo>
                    <a:pt x="106" y="26"/>
                  </a:lnTo>
                  <a:lnTo>
                    <a:pt x="99" y="28"/>
                  </a:lnTo>
                  <a:lnTo>
                    <a:pt x="98" y="28"/>
                  </a:lnTo>
                  <a:lnTo>
                    <a:pt x="96" y="31"/>
                  </a:lnTo>
                  <a:lnTo>
                    <a:pt x="96" y="31"/>
                  </a:lnTo>
                  <a:lnTo>
                    <a:pt x="96" y="33"/>
                  </a:lnTo>
                  <a:lnTo>
                    <a:pt x="96" y="35"/>
                  </a:lnTo>
                  <a:lnTo>
                    <a:pt x="101" y="33"/>
                  </a:lnTo>
                  <a:lnTo>
                    <a:pt x="105" y="33"/>
                  </a:lnTo>
                  <a:lnTo>
                    <a:pt x="105" y="33"/>
                  </a:lnTo>
                  <a:lnTo>
                    <a:pt x="105" y="36"/>
                  </a:lnTo>
                  <a:lnTo>
                    <a:pt x="105" y="36"/>
                  </a:lnTo>
                  <a:lnTo>
                    <a:pt x="103" y="38"/>
                  </a:lnTo>
                  <a:lnTo>
                    <a:pt x="103" y="40"/>
                  </a:lnTo>
                  <a:lnTo>
                    <a:pt x="106" y="43"/>
                  </a:lnTo>
                  <a:lnTo>
                    <a:pt x="110" y="45"/>
                  </a:lnTo>
                  <a:lnTo>
                    <a:pt x="110" y="45"/>
                  </a:lnTo>
                  <a:lnTo>
                    <a:pt x="108" y="47"/>
                  </a:lnTo>
                  <a:lnTo>
                    <a:pt x="108" y="47"/>
                  </a:lnTo>
                  <a:lnTo>
                    <a:pt x="105" y="49"/>
                  </a:lnTo>
                  <a:lnTo>
                    <a:pt x="105" y="50"/>
                  </a:lnTo>
                  <a:lnTo>
                    <a:pt x="106" y="52"/>
                  </a:lnTo>
                  <a:lnTo>
                    <a:pt x="113" y="54"/>
                  </a:lnTo>
                  <a:lnTo>
                    <a:pt x="113" y="54"/>
                  </a:lnTo>
                  <a:lnTo>
                    <a:pt x="120" y="56"/>
                  </a:lnTo>
                  <a:lnTo>
                    <a:pt x="125" y="61"/>
                  </a:lnTo>
                  <a:lnTo>
                    <a:pt x="127" y="63"/>
                  </a:lnTo>
                  <a:lnTo>
                    <a:pt x="124" y="61"/>
                  </a:lnTo>
                  <a:lnTo>
                    <a:pt x="124" y="61"/>
                  </a:lnTo>
                  <a:lnTo>
                    <a:pt x="117" y="59"/>
                  </a:lnTo>
                  <a:lnTo>
                    <a:pt x="111" y="57"/>
                  </a:lnTo>
                  <a:lnTo>
                    <a:pt x="105" y="57"/>
                  </a:lnTo>
                  <a:lnTo>
                    <a:pt x="98" y="56"/>
                  </a:lnTo>
                  <a:lnTo>
                    <a:pt x="98" y="56"/>
                  </a:lnTo>
                  <a:lnTo>
                    <a:pt x="96" y="56"/>
                  </a:lnTo>
                  <a:lnTo>
                    <a:pt x="94" y="57"/>
                  </a:lnTo>
                  <a:lnTo>
                    <a:pt x="94" y="66"/>
                  </a:lnTo>
                  <a:lnTo>
                    <a:pt x="96" y="75"/>
                  </a:lnTo>
                  <a:lnTo>
                    <a:pt x="96" y="78"/>
                  </a:lnTo>
                  <a:lnTo>
                    <a:pt x="92" y="82"/>
                  </a:lnTo>
                  <a:lnTo>
                    <a:pt x="92" y="82"/>
                  </a:lnTo>
                  <a:lnTo>
                    <a:pt x="91" y="82"/>
                  </a:lnTo>
                  <a:lnTo>
                    <a:pt x="91" y="82"/>
                  </a:lnTo>
                  <a:lnTo>
                    <a:pt x="91" y="78"/>
                  </a:lnTo>
                  <a:lnTo>
                    <a:pt x="91" y="73"/>
                  </a:lnTo>
                  <a:lnTo>
                    <a:pt x="91" y="71"/>
                  </a:lnTo>
                  <a:lnTo>
                    <a:pt x="89" y="70"/>
                  </a:lnTo>
                  <a:lnTo>
                    <a:pt x="89" y="70"/>
                  </a:lnTo>
                  <a:lnTo>
                    <a:pt x="85" y="70"/>
                  </a:lnTo>
                  <a:lnTo>
                    <a:pt x="84" y="71"/>
                  </a:lnTo>
                  <a:lnTo>
                    <a:pt x="84" y="75"/>
                  </a:lnTo>
                  <a:lnTo>
                    <a:pt x="82" y="78"/>
                  </a:lnTo>
                  <a:lnTo>
                    <a:pt x="82" y="80"/>
                  </a:lnTo>
                  <a:lnTo>
                    <a:pt x="80" y="78"/>
                  </a:lnTo>
                  <a:lnTo>
                    <a:pt x="80" y="78"/>
                  </a:lnTo>
                  <a:lnTo>
                    <a:pt x="78" y="76"/>
                  </a:lnTo>
                  <a:lnTo>
                    <a:pt x="77" y="75"/>
                  </a:lnTo>
                  <a:lnTo>
                    <a:pt x="78" y="70"/>
                  </a:lnTo>
                  <a:lnTo>
                    <a:pt x="77" y="68"/>
                  </a:lnTo>
                  <a:lnTo>
                    <a:pt x="75" y="66"/>
                  </a:lnTo>
                  <a:lnTo>
                    <a:pt x="71" y="64"/>
                  </a:lnTo>
                  <a:lnTo>
                    <a:pt x="64" y="64"/>
                  </a:lnTo>
                  <a:lnTo>
                    <a:pt x="64" y="64"/>
                  </a:lnTo>
                  <a:lnTo>
                    <a:pt x="54" y="64"/>
                  </a:lnTo>
                  <a:lnTo>
                    <a:pt x="47" y="66"/>
                  </a:lnTo>
                  <a:lnTo>
                    <a:pt x="44" y="71"/>
                  </a:lnTo>
                  <a:lnTo>
                    <a:pt x="42" y="76"/>
                  </a:lnTo>
                  <a:lnTo>
                    <a:pt x="42" y="76"/>
                  </a:lnTo>
                  <a:lnTo>
                    <a:pt x="40" y="80"/>
                  </a:lnTo>
                  <a:lnTo>
                    <a:pt x="42" y="82"/>
                  </a:lnTo>
                  <a:lnTo>
                    <a:pt x="44" y="83"/>
                  </a:lnTo>
                  <a:lnTo>
                    <a:pt x="47" y="85"/>
                  </a:lnTo>
                  <a:lnTo>
                    <a:pt x="47" y="85"/>
                  </a:lnTo>
                  <a:lnTo>
                    <a:pt x="47" y="89"/>
                  </a:lnTo>
                  <a:lnTo>
                    <a:pt x="47" y="89"/>
                  </a:lnTo>
                  <a:lnTo>
                    <a:pt x="42" y="117"/>
                  </a:lnTo>
                  <a:lnTo>
                    <a:pt x="40" y="120"/>
                  </a:lnTo>
                  <a:lnTo>
                    <a:pt x="37" y="120"/>
                  </a:lnTo>
                  <a:lnTo>
                    <a:pt x="37" y="120"/>
                  </a:lnTo>
                  <a:lnTo>
                    <a:pt x="33" y="120"/>
                  </a:lnTo>
                  <a:lnTo>
                    <a:pt x="30" y="120"/>
                  </a:lnTo>
                  <a:lnTo>
                    <a:pt x="30" y="122"/>
                  </a:lnTo>
                  <a:lnTo>
                    <a:pt x="28" y="125"/>
                  </a:lnTo>
                  <a:lnTo>
                    <a:pt x="28" y="125"/>
                  </a:lnTo>
                  <a:lnTo>
                    <a:pt x="30" y="129"/>
                  </a:lnTo>
                  <a:lnTo>
                    <a:pt x="30" y="130"/>
                  </a:lnTo>
                  <a:lnTo>
                    <a:pt x="35" y="130"/>
                  </a:lnTo>
                  <a:lnTo>
                    <a:pt x="38" y="130"/>
                  </a:lnTo>
                  <a:lnTo>
                    <a:pt x="40" y="132"/>
                  </a:lnTo>
                  <a:lnTo>
                    <a:pt x="42" y="136"/>
                  </a:lnTo>
                  <a:lnTo>
                    <a:pt x="42" y="136"/>
                  </a:lnTo>
                  <a:lnTo>
                    <a:pt x="40" y="139"/>
                  </a:lnTo>
                  <a:lnTo>
                    <a:pt x="40" y="143"/>
                  </a:lnTo>
                  <a:lnTo>
                    <a:pt x="35" y="148"/>
                  </a:lnTo>
                  <a:lnTo>
                    <a:pt x="30" y="151"/>
                  </a:lnTo>
                  <a:lnTo>
                    <a:pt x="30" y="153"/>
                  </a:lnTo>
                  <a:lnTo>
                    <a:pt x="31" y="155"/>
                  </a:lnTo>
                  <a:lnTo>
                    <a:pt x="31" y="155"/>
                  </a:lnTo>
                  <a:lnTo>
                    <a:pt x="33" y="157"/>
                  </a:lnTo>
                  <a:lnTo>
                    <a:pt x="31" y="157"/>
                  </a:lnTo>
                  <a:lnTo>
                    <a:pt x="28" y="160"/>
                  </a:lnTo>
                  <a:lnTo>
                    <a:pt x="21" y="162"/>
                  </a:lnTo>
                  <a:lnTo>
                    <a:pt x="12" y="162"/>
                  </a:lnTo>
                  <a:lnTo>
                    <a:pt x="12" y="162"/>
                  </a:lnTo>
                  <a:lnTo>
                    <a:pt x="5" y="162"/>
                  </a:lnTo>
                  <a:lnTo>
                    <a:pt x="4" y="164"/>
                  </a:lnTo>
                  <a:lnTo>
                    <a:pt x="4" y="165"/>
                  </a:lnTo>
                  <a:lnTo>
                    <a:pt x="5" y="171"/>
                  </a:lnTo>
                  <a:lnTo>
                    <a:pt x="9" y="177"/>
                  </a:lnTo>
                  <a:lnTo>
                    <a:pt x="9" y="177"/>
                  </a:lnTo>
                  <a:lnTo>
                    <a:pt x="12" y="183"/>
                  </a:lnTo>
                  <a:lnTo>
                    <a:pt x="12" y="184"/>
                  </a:lnTo>
                  <a:lnTo>
                    <a:pt x="10" y="190"/>
                  </a:lnTo>
                  <a:lnTo>
                    <a:pt x="9" y="193"/>
                  </a:lnTo>
                  <a:lnTo>
                    <a:pt x="7" y="197"/>
                  </a:lnTo>
                  <a:lnTo>
                    <a:pt x="7" y="197"/>
                  </a:lnTo>
                  <a:lnTo>
                    <a:pt x="7" y="200"/>
                  </a:lnTo>
                  <a:lnTo>
                    <a:pt x="7" y="200"/>
                  </a:lnTo>
                  <a:lnTo>
                    <a:pt x="2" y="204"/>
                  </a:lnTo>
                  <a:lnTo>
                    <a:pt x="0" y="205"/>
                  </a:lnTo>
                  <a:lnTo>
                    <a:pt x="4" y="207"/>
                  </a:lnTo>
                  <a:lnTo>
                    <a:pt x="4" y="207"/>
                  </a:lnTo>
                  <a:lnTo>
                    <a:pt x="5" y="209"/>
                  </a:lnTo>
                  <a:lnTo>
                    <a:pt x="7" y="211"/>
                  </a:lnTo>
                  <a:lnTo>
                    <a:pt x="7" y="214"/>
                  </a:lnTo>
                  <a:lnTo>
                    <a:pt x="5" y="218"/>
                  </a:lnTo>
                  <a:lnTo>
                    <a:pt x="4" y="219"/>
                  </a:lnTo>
                  <a:lnTo>
                    <a:pt x="4" y="219"/>
                  </a:lnTo>
                  <a:lnTo>
                    <a:pt x="7" y="223"/>
                  </a:lnTo>
                  <a:lnTo>
                    <a:pt x="10" y="224"/>
                  </a:lnTo>
                  <a:lnTo>
                    <a:pt x="12" y="226"/>
                  </a:lnTo>
                  <a:lnTo>
                    <a:pt x="12" y="230"/>
                  </a:lnTo>
                  <a:lnTo>
                    <a:pt x="12" y="230"/>
                  </a:lnTo>
                  <a:lnTo>
                    <a:pt x="12" y="231"/>
                  </a:lnTo>
                  <a:lnTo>
                    <a:pt x="14" y="233"/>
                  </a:lnTo>
                  <a:lnTo>
                    <a:pt x="17" y="235"/>
                  </a:lnTo>
                  <a:lnTo>
                    <a:pt x="17" y="237"/>
                  </a:lnTo>
                  <a:lnTo>
                    <a:pt x="17" y="238"/>
                  </a:lnTo>
                  <a:lnTo>
                    <a:pt x="14" y="244"/>
                  </a:lnTo>
                  <a:lnTo>
                    <a:pt x="9" y="249"/>
                  </a:lnTo>
                  <a:lnTo>
                    <a:pt x="9" y="249"/>
                  </a:lnTo>
                  <a:lnTo>
                    <a:pt x="9" y="254"/>
                  </a:lnTo>
                  <a:lnTo>
                    <a:pt x="9" y="259"/>
                  </a:lnTo>
                  <a:lnTo>
                    <a:pt x="10" y="261"/>
                  </a:lnTo>
                  <a:lnTo>
                    <a:pt x="14" y="263"/>
                  </a:lnTo>
                  <a:lnTo>
                    <a:pt x="19" y="266"/>
                  </a:lnTo>
                  <a:lnTo>
                    <a:pt x="23" y="268"/>
                  </a:lnTo>
                  <a:lnTo>
                    <a:pt x="23" y="268"/>
                  </a:lnTo>
                  <a:lnTo>
                    <a:pt x="23" y="271"/>
                  </a:lnTo>
                  <a:lnTo>
                    <a:pt x="21" y="275"/>
                  </a:lnTo>
                  <a:lnTo>
                    <a:pt x="17" y="278"/>
                  </a:lnTo>
                  <a:lnTo>
                    <a:pt x="16" y="285"/>
                  </a:lnTo>
                  <a:lnTo>
                    <a:pt x="16" y="285"/>
                  </a:lnTo>
                  <a:lnTo>
                    <a:pt x="21" y="287"/>
                  </a:lnTo>
                  <a:lnTo>
                    <a:pt x="24" y="289"/>
                  </a:lnTo>
                  <a:lnTo>
                    <a:pt x="26" y="294"/>
                  </a:lnTo>
                  <a:lnTo>
                    <a:pt x="30" y="298"/>
                  </a:lnTo>
                  <a:lnTo>
                    <a:pt x="30" y="299"/>
                  </a:lnTo>
                  <a:lnTo>
                    <a:pt x="33" y="299"/>
                  </a:lnTo>
                  <a:lnTo>
                    <a:pt x="33" y="299"/>
                  </a:lnTo>
                  <a:lnTo>
                    <a:pt x="37" y="299"/>
                  </a:lnTo>
                  <a:lnTo>
                    <a:pt x="38" y="303"/>
                  </a:lnTo>
                  <a:lnTo>
                    <a:pt x="42" y="305"/>
                  </a:lnTo>
                  <a:lnTo>
                    <a:pt x="47" y="303"/>
                  </a:lnTo>
                  <a:lnTo>
                    <a:pt x="47" y="303"/>
                  </a:lnTo>
                  <a:lnTo>
                    <a:pt x="56" y="303"/>
                  </a:lnTo>
                  <a:lnTo>
                    <a:pt x="63" y="305"/>
                  </a:lnTo>
                  <a:lnTo>
                    <a:pt x="78" y="312"/>
                  </a:lnTo>
                  <a:lnTo>
                    <a:pt x="78" y="312"/>
                  </a:lnTo>
                  <a:lnTo>
                    <a:pt x="80" y="313"/>
                  </a:lnTo>
                  <a:lnTo>
                    <a:pt x="80" y="315"/>
                  </a:lnTo>
                  <a:lnTo>
                    <a:pt x="71" y="325"/>
                  </a:lnTo>
                  <a:lnTo>
                    <a:pt x="66" y="336"/>
                  </a:lnTo>
                  <a:lnTo>
                    <a:pt x="63" y="346"/>
                  </a:lnTo>
                  <a:lnTo>
                    <a:pt x="59" y="362"/>
                  </a:lnTo>
                  <a:lnTo>
                    <a:pt x="59" y="381"/>
                  </a:lnTo>
                  <a:lnTo>
                    <a:pt x="59" y="381"/>
                  </a:lnTo>
                  <a:lnTo>
                    <a:pt x="66" y="383"/>
                  </a:lnTo>
                  <a:lnTo>
                    <a:pt x="71" y="383"/>
                  </a:lnTo>
                  <a:lnTo>
                    <a:pt x="75" y="381"/>
                  </a:lnTo>
                  <a:lnTo>
                    <a:pt x="84" y="381"/>
                  </a:lnTo>
                  <a:lnTo>
                    <a:pt x="84" y="381"/>
                  </a:lnTo>
                  <a:lnTo>
                    <a:pt x="89" y="381"/>
                  </a:lnTo>
                  <a:lnTo>
                    <a:pt x="89" y="379"/>
                  </a:lnTo>
                  <a:lnTo>
                    <a:pt x="91" y="376"/>
                  </a:lnTo>
                  <a:lnTo>
                    <a:pt x="91" y="374"/>
                  </a:lnTo>
                  <a:lnTo>
                    <a:pt x="94" y="372"/>
                  </a:lnTo>
                  <a:lnTo>
                    <a:pt x="94" y="372"/>
                  </a:lnTo>
                  <a:lnTo>
                    <a:pt x="98" y="371"/>
                  </a:lnTo>
                  <a:lnTo>
                    <a:pt x="99" y="371"/>
                  </a:lnTo>
                  <a:lnTo>
                    <a:pt x="103" y="374"/>
                  </a:lnTo>
                  <a:lnTo>
                    <a:pt x="105" y="378"/>
                  </a:lnTo>
                  <a:lnTo>
                    <a:pt x="108" y="378"/>
                  </a:lnTo>
                  <a:lnTo>
                    <a:pt x="110" y="378"/>
                  </a:lnTo>
                  <a:lnTo>
                    <a:pt x="110" y="378"/>
                  </a:lnTo>
                  <a:lnTo>
                    <a:pt x="117" y="378"/>
                  </a:lnTo>
                  <a:lnTo>
                    <a:pt x="122" y="379"/>
                  </a:lnTo>
                  <a:lnTo>
                    <a:pt x="129" y="385"/>
                  </a:lnTo>
                  <a:lnTo>
                    <a:pt x="129" y="385"/>
                  </a:lnTo>
                  <a:lnTo>
                    <a:pt x="134" y="381"/>
                  </a:lnTo>
                  <a:lnTo>
                    <a:pt x="139" y="381"/>
                  </a:lnTo>
                  <a:lnTo>
                    <a:pt x="143" y="383"/>
                  </a:lnTo>
                  <a:lnTo>
                    <a:pt x="146" y="386"/>
                  </a:lnTo>
                  <a:lnTo>
                    <a:pt x="150" y="393"/>
                  </a:lnTo>
                  <a:lnTo>
                    <a:pt x="153" y="395"/>
                  </a:lnTo>
                  <a:lnTo>
                    <a:pt x="155" y="395"/>
                  </a:lnTo>
                  <a:lnTo>
                    <a:pt x="155" y="395"/>
                  </a:lnTo>
                  <a:lnTo>
                    <a:pt x="158" y="393"/>
                  </a:lnTo>
                  <a:lnTo>
                    <a:pt x="158" y="392"/>
                  </a:lnTo>
                  <a:lnTo>
                    <a:pt x="160" y="386"/>
                  </a:lnTo>
                  <a:lnTo>
                    <a:pt x="160" y="383"/>
                  </a:lnTo>
                  <a:lnTo>
                    <a:pt x="162" y="381"/>
                  </a:lnTo>
                  <a:lnTo>
                    <a:pt x="164" y="383"/>
                  </a:lnTo>
                  <a:lnTo>
                    <a:pt x="164" y="383"/>
                  </a:lnTo>
                  <a:lnTo>
                    <a:pt x="169" y="383"/>
                  </a:lnTo>
                  <a:lnTo>
                    <a:pt x="172" y="383"/>
                  </a:lnTo>
                  <a:lnTo>
                    <a:pt x="176" y="383"/>
                  </a:lnTo>
                  <a:lnTo>
                    <a:pt x="178" y="388"/>
                  </a:lnTo>
                  <a:lnTo>
                    <a:pt x="178" y="388"/>
                  </a:lnTo>
                  <a:lnTo>
                    <a:pt x="179" y="390"/>
                  </a:lnTo>
                  <a:lnTo>
                    <a:pt x="183" y="392"/>
                  </a:lnTo>
                  <a:lnTo>
                    <a:pt x="188" y="390"/>
                  </a:lnTo>
                  <a:lnTo>
                    <a:pt x="193" y="386"/>
                  </a:lnTo>
                  <a:lnTo>
                    <a:pt x="200" y="381"/>
                  </a:lnTo>
                  <a:lnTo>
                    <a:pt x="200" y="381"/>
                  </a:lnTo>
                  <a:lnTo>
                    <a:pt x="204" y="379"/>
                  </a:lnTo>
                  <a:lnTo>
                    <a:pt x="207" y="378"/>
                  </a:lnTo>
                  <a:lnTo>
                    <a:pt x="212" y="379"/>
                  </a:lnTo>
                  <a:lnTo>
                    <a:pt x="216" y="379"/>
                  </a:lnTo>
                  <a:lnTo>
                    <a:pt x="219" y="379"/>
                  </a:lnTo>
                  <a:lnTo>
                    <a:pt x="221" y="376"/>
                  </a:lnTo>
                  <a:lnTo>
                    <a:pt x="221" y="376"/>
                  </a:lnTo>
                  <a:lnTo>
                    <a:pt x="223" y="374"/>
                  </a:lnTo>
                  <a:lnTo>
                    <a:pt x="225" y="374"/>
                  </a:lnTo>
                  <a:lnTo>
                    <a:pt x="228" y="376"/>
                  </a:lnTo>
                  <a:lnTo>
                    <a:pt x="233" y="378"/>
                  </a:lnTo>
                  <a:lnTo>
                    <a:pt x="235" y="379"/>
                  </a:lnTo>
                  <a:lnTo>
                    <a:pt x="237" y="379"/>
                  </a:lnTo>
                  <a:lnTo>
                    <a:pt x="237" y="379"/>
                  </a:lnTo>
                  <a:lnTo>
                    <a:pt x="239" y="378"/>
                  </a:lnTo>
                  <a:lnTo>
                    <a:pt x="240" y="379"/>
                  </a:lnTo>
                  <a:lnTo>
                    <a:pt x="244" y="385"/>
                  </a:lnTo>
                  <a:lnTo>
                    <a:pt x="249" y="388"/>
                  </a:lnTo>
                  <a:lnTo>
                    <a:pt x="251" y="388"/>
                  </a:lnTo>
                  <a:lnTo>
                    <a:pt x="253" y="386"/>
                  </a:lnTo>
                  <a:lnTo>
                    <a:pt x="253" y="386"/>
                  </a:lnTo>
                  <a:lnTo>
                    <a:pt x="254" y="383"/>
                  </a:lnTo>
                  <a:lnTo>
                    <a:pt x="253" y="381"/>
                  </a:lnTo>
                  <a:lnTo>
                    <a:pt x="249" y="378"/>
                  </a:lnTo>
                  <a:lnTo>
                    <a:pt x="246" y="374"/>
                  </a:lnTo>
                  <a:lnTo>
                    <a:pt x="246" y="372"/>
                  </a:lnTo>
                  <a:lnTo>
                    <a:pt x="247" y="371"/>
                  </a:lnTo>
                  <a:lnTo>
                    <a:pt x="247" y="371"/>
                  </a:lnTo>
                  <a:lnTo>
                    <a:pt x="249" y="369"/>
                  </a:lnTo>
                  <a:lnTo>
                    <a:pt x="249" y="366"/>
                  </a:lnTo>
                  <a:lnTo>
                    <a:pt x="246" y="362"/>
                  </a:lnTo>
                  <a:lnTo>
                    <a:pt x="242" y="357"/>
                  </a:lnTo>
                  <a:lnTo>
                    <a:pt x="242" y="353"/>
                  </a:lnTo>
                  <a:lnTo>
                    <a:pt x="246" y="350"/>
                  </a:lnTo>
                  <a:lnTo>
                    <a:pt x="246" y="350"/>
                  </a:lnTo>
                  <a:lnTo>
                    <a:pt x="249" y="348"/>
                  </a:lnTo>
                  <a:lnTo>
                    <a:pt x="253" y="346"/>
                  </a:lnTo>
                  <a:lnTo>
                    <a:pt x="258" y="345"/>
                  </a:lnTo>
                  <a:lnTo>
                    <a:pt x="263" y="343"/>
                  </a:lnTo>
                  <a:lnTo>
                    <a:pt x="265" y="341"/>
                  </a:lnTo>
                  <a:lnTo>
                    <a:pt x="265" y="338"/>
                  </a:lnTo>
                  <a:lnTo>
                    <a:pt x="265" y="338"/>
                  </a:lnTo>
                  <a:lnTo>
                    <a:pt x="266" y="334"/>
                  </a:lnTo>
                  <a:lnTo>
                    <a:pt x="266" y="332"/>
                  </a:lnTo>
                  <a:lnTo>
                    <a:pt x="272" y="332"/>
                  </a:lnTo>
                  <a:lnTo>
                    <a:pt x="273" y="332"/>
                  </a:lnTo>
                  <a:lnTo>
                    <a:pt x="275" y="331"/>
                  </a:lnTo>
                  <a:lnTo>
                    <a:pt x="279" y="327"/>
                  </a:lnTo>
                  <a:lnTo>
                    <a:pt x="279" y="322"/>
                  </a:lnTo>
                  <a:lnTo>
                    <a:pt x="279" y="32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9" name="Freeform 1982">
              <a:extLst>
                <a:ext uri="{FF2B5EF4-FFF2-40B4-BE49-F238E27FC236}">
                  <a16:creationId xmlns:a16="http://schemas.microsoft.com/office/drawing/2014/main" id="{358DC772-2284-4D4B-AC2F-A3C3B7BFDC77}"/>
                </a:ext>
              </a:extLst>
            </p:cNvPr>
            <p:cNvSpPr>
              <a:spLocks/>
            </p:cNvSpPr>
            <p:nvPr/>
          </p:nvSpPr>
          <p:spPr bwMode="auto">
            <a:xfrm>
              <a:off x="4948795" y="3052841"/>
              <a:ext cx="47573" cy="89862"/>
            </a:xfrm>
            <a:custGeom>
              <a:avLst/>
              <a:gdLst/>
              <a:ahLst/>
              <a:cxnLst>
                <a:cxn ang="0">
                  <a:pos x="0" y="23"/>
                </a:cxn>
                <a:cxn ang="0">
                  <a:pos x="0" y="23"/>
                </a:cxn>
                <a:cxn ang="0">
                  <a:pos x="2" y="14"/>
                </a:cxn>
                <a:cxn ang="0">
                  <a:pos x="4" y="14"/>
                </a:cxn>
                <a:cxn ang="0">
                  <a:pos x="6" y="16"/>
                </a:cxn>
                <a:cxn ang="0">
                  <a:pos x="7" y="18"/>
                </a:cxn>
                <a:cxn ang="0">
                  <a:pos x="13" y="18"/>
                </a:cxn>
                <a:cxn ang="0">
                  <a:pos x="18" y="18"/>
                </a:cxn>
                <a:cxn ang="0">
                  <a:pos x="23" y="13"/>
                </a:cxn>
                <a:cxn ang="0">
                  <a:pos x="23" y="13"/>
                </a:cxn>
                <a:cxn ang="0">
                  <a:pos x="35" y="4"/>
                </a:cxn>
                <a:cxn ang="0">
                  <a:pos x="40" y="2"/>
                </a:cxn>
                <a:cxn ang="0">
                  <a:pos x="44" y="0"/>
                </a:cxn>
                <a:cxn ang="0">
                  <a:pos x="46" y="0"/>
                </a:cxn>
                <a:cxn ang="0">
                  <a:pos x="47" y="2"/>
                </a:cxn>
                <a:cxn ang="0">
                  <a:pos x="53" y="7"/>
                </a:cxn>
                <a:cxn ang="0">
                  <a:pos x="53" y="7"/>
                </a:cxn>
                <a:cxn ang="0">
                  <a:pos x="56" y="14"/>
                </a:cxn>
                <a:cxn ang="0">
                  <a:pos x="60" y="23"/>
                </a:cxn>
                <a:cxn ang="0">
                  <a:pos x="60" y="33"/>
                </a:cxn>
                <a:cxn ang="0">
                  <a:pos x="60" y="37"/>
                </a:cxn>
                <a:cxn ang="0">
                  <a:pos x="56" y="42"/>
                </a:cxn>
                <a:cxn ang="0">
                  <a:pos x="56" y="42"/>
                </a:cxn>
                <a:cxn ang="0">
                  <a:pos x="54" y="47"/>
                </a:cxn>
                <a:cxn ang="0">
                  <a:pos x="54" y="51"/>
                </a:cxn>
                <a:cxn ang="0">
                  <a:pos x="58" y="58"/>
                </a:cxn>
                <a:cxn ang="0">
                  <a:pos x="58" y="65"/>
                </a:cxn>
                <a:cxn ang="0">
                  <a:pos x="56" y="73"/>
                </a:cxn>
                <a:cxn ang="0">
                  <a:pos x="56" y="73"/>
                </a:cxn>
                <a:cxn ang="0">
                  <a:pos x="54" y="89"/>
                </a:cxn>
                <a:cxn ang="0">
                  <a:pos x="51" y="98"/>
                </a:cxn>
                <a:cxn ang="0">
                  <a:pos x="49" y="100"/>
                </a:cxn>
                <a:cxn ang="0">
                  <a:pos x="47" y="101"/>
                </a:cxn>
                <a:cxn ang="0">
                  <a:pos x="40" y="100"/>
                </a:cxn>
                <a:cxn ang="0">
                  <a:pos x="40" y="100"/>
                </a:cxn>
                <a:cxn ang="0">
                  <a:pos x="37" y="98"/>
                </a:cxn>
                <a:cxn ang="0">
                  <a:pos x="35" y="98"/>
                </a:cxn>
                <a:cxn ang="0">
                  <a:pos x="33" y="103"/>
                </a:cxn>
                <a:cxn ang="0">
                  <a:pos x="30" y="108"/>
                </a:cxn>
                <a:cxn ang="0">
                  <a:pos x="28" y="110"/>
                </a:cxn>
                <a:cxn ang="0">
                  <a:pos x="25" y="112"/>
                </a:cxn>
                <a:cxn ang="0">
                  <a:pos x="25" y="112"/>
                </a:cxn>
                <a:cxn ang="0">
                  <a:pos x="21" y="112"/>
                </a:cxn>
                <a:cxn ang="0">
                  <a:pos x="18" y="110"/>
                </a:cxn>
                <a:cxn ang="0">
                  <a:pos x="14" y="107"/>
                </a:cxn>
                <a:cxn ang="0">
                  <a:pos x="13" y="101"/>
                </a:cxn>
                <a:cxn ang="0">
                  <a:pos x="9" y="91"/>
                </a:cxn>
                <a:cxn ang="0">
                  <a:pos x="11" y="79"/>
                </a:cxn>
                <a:cxn ang="0">
                  <a:pos x="11" y="79"/>
                </a:cxn>
                <a:cxn ang="0">
                  <a:pos x="13" y="68"/>
                </a:cxn>
                <a:cxn ang="0">
                  <a:pos x="13" y="65"/>
                </a:cxn>
                <a:cxn ang="0">
                  <a:pos x="11" y="61"/>
                </a:cxn>
                <a:cxn ang="0">
                  <a:pos x="11" y="54"/>
                </a:cxn>
                <a:cxn ang="0">
                  <a:pos x="11" y="54"/>
                </a:cxn>
                <a:cxn ang="0">
                  <a:pos x="11" y="47"/>
                </a:cxn>
                <a:cxn ang="0">
                  <a:pos x="11" y="42"/>
                </a:cxn>
                <a:cxn ang="0">
                  <a:pos x="7" y="35"/>
                </a:cxn>
                <a:cxn ang="0">
                  <a:pos x="2" y="30"/>
                </a:cxn>
                <a:cxn ang="0">
                  <a:pos x="2" y="26"/>
                </a:cxn>
                <a:cxn ang="0">
                  <a:pos x="0" y="23"/>
                </a:cxn>
                <a:cxn ang="0">
                  <a:pos x="0" y="23"/>
                </a:cxn>
              </a:cxnLst>
              <a:rect l="0" t="0" r="r" b="b"/>
              <a:pathLst>
                <a:path w="60" h="112">
                  <a:moveTo>
                    <a:pt x="0" y="23"/>
                  </a:moveTo>
                  <a:lnTo>
                    <a:pt x="0" y="23"/>
                  </a:lnTo>
                  <a:lnTo>
                    <a:pt x="2" y="14"/>
                  </a:lnTo>
                  <a:lnTo>
                    <a:pt x="4" y="14"/>
                  </a:lnTo>
                  <a:lnTo>
                    <a:pt x="6" y="16"/>
                  </a:lnTo>
                  <a:lnTo>
                    <a:pt x="7" y="18"/>
                  </a:lnTo>
                  <a:lnTo>
                    <a:pt x="13" y="18"/>
                  </a:lnTo>
                  <a:lnTo>
                    <a:pt x="18" y="18"/>
                  </a:lnTo>
                  <a:lnTo>
                    <a:pt x="23" y="13"/>
                  </a:lnTo>
                  <a:lnTo>
                    <a:pt x="23" y="13"/>
                  </a:lnTo>
                  <a:lnTo>
                    <a:pt x="35" y="4"/>
                  </a:lnTo>
                  <a:lnTo>
                    <a:pt x="40" y="2"/>
                  </a:lnTo>
                  <a:lnTo>
                    <a:pt x="44" y="0"/>
                  </a:lnTo>
                  <a:lnTo>
                    <a:pt x="46" y="0"/>
                  </a:lnTo>
                  <a:lnTo>
                    <a:pt x="47" y="2"/>
                  </a:lnTo>
                  <a:lnTo>
                    <a:pt x="53" y="7"/>
                  </a:lnTo>
                  <a:lnTo>
                    <a:pt x="53" y="7"/>
                  </a:lnTo>
                  <a:lnTo>
                    <a:pt x="56" y="14"/>
                  </a:lnTo>
                  <a:lnTo>
                    <a:pt x="60" y="23"/>
                  </a:lnTo>
                  <a:lnTo>
                    <a:pt x="60" y="33"/>
                  </a:lnTo>
                  <a:lnTo>
                    <a:pt x="60" y="37"/>
                  </a:lnTo>
                  <a:lnTo>
                    <a:pt x="56" y="42"/>
                  </a:lnTo>
                  <a:lnTo>
                    <a:pt x="56" y="42"/>
                  </a:lnTo>
                  <a:lnTo>
                    <a:pt x="54" y="47"/>
                  </a:lnTo>
                  <a:lnTo>
                    <a:pt x="54" y="51"/>
                  </a:lnTo>
                  <a:lnTo>
                    <a:pt x="58" y="58"/>
                  </a:lnTo>
                  <a:lnTo>
                    <a:pt x="58" y="65"/>
                  </a:lnTo>
                  <a:lnTo>
                    <a:pt x="56" y="73"/>
                  </a:lnTo>
                  <a:lnTo>
                    <a:pt x="56" y="73"/>
                  </a:lnTo>
                  <a:lnTo>
                    <a:pt x="54" y="89"/>
                  </a:lnTo>
                  <a:lnTo>
                    <a:pt x="51" y="98"/>
                  </a:lnTo>
                  <a:lnTo>
                    <a:pt x="49" y="100"/>
                  </a:lnTo>
                  <a:lnTo>
                    <a:pt x="47" y="101"/>
                  </a:lnTo>
                  <a:lnTo>
                    <a:pt x="40" y="100"/>
                  </a:lnTo>
                  <a:lnTo>
                    <a:pt x="40" y="100"/>
                  </a:lnTo>
                  <a:lnTo>
                    <a:pt x="37" y="98"/>
                  </a:lnTo>
                  <a:lnTo>
                    <a:pt x="35" y="98"/>
                  </a:lnTo>
                  <a:lnTo>
                    <a:pt x="33" y="103"/>
                  </a:lnTo>
                  <a:lnTo>
                    <a:pt x="30" y="108"/>
                  </a:lnTo>
                  <a:lnTo>
                    <a:pt x="28" y="110"/>
                  </a:lnTo>
                  <a:lnTo>
                    <a:pt x="25" y="112"/>
                  </a:lnTo>
                  <a:lnTo>
                    <a:pt x="25" y="112"/>
                  </a:lnTo>
                  <a:lnTo>
                    <a:pt x="21" y="112"/>
                  </a:lnTo>
                  <a:lnTo>
                    <a:pt x="18" y="110"/>
                  </a:lnTo>
                  <a:lnTo>
                    <a:pt x="14" y="107"/>
                  </a:lnTo>
                  <a:lnTo>
                    <a:pt x="13" y="101"/>
                  </a:lnTo>
                  <a:lnTo>
                    <a:pt x="9" y="91"/>
                  </a:lnTo>
                  <a:lnTo>
                    <a:pt x="11" y="79"/>
                  </a:lnTo>
                  <a:lnTo>
                    <a:pt x="11" y="79"/>
                  </a:lnTo>
                  <a:lnTo>
                    <a:pt x="13" y="68"/>
                  </a:lnTo>
                  <a:lnTo>
                    <a:pt x="13" y="65"/>
                  </a:lnTo>
                  <a:lnTo>
                    <a:pt x="11" y="61"/>
                  </a:lnTo>
                  <a:lnTo>
                    <a:pt x="11" y="54"/>
                  </a:lnTo>
                  <a:lnTo>
                    <a:pt x="11" y="54"/>
                  </a:lnTo>
                  <a:lnTo>
                    <a:pt x="11" y="47"/>
                  </a:lnTo>
                  <a:lnTo>
                    <a:pt x="11" y="42"/>
                  </a:lnTo>
                  <a:lnTo>
                    <a:pt x="7" y="35"/>
                  </a:lnTo>
                  <a:lnTo>
                    <a:pt x="2" y="30"/>
                  </a:lnTo>
                  <a:lnTo>
                    <a:pt x="2" y="26"/>
                  </a:lnTo>
                  <a:lnTo>
                    <a:pt x="0" y="23"/>
                  </a:lnTo>
                  <a:lnTo>
                    <a:pt x="0" y="2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0" name="Freeform 1983">
              <a:extLst>
                <a:ext uri="{FF2B5EF4-FFF2-40B4-BE49-F238E27FC236}">
                  <a16:creationId xmlns:a16="http://schemas.microsoft.com/office/drawing/2014/main" id="{4A154369-BCFD-44DF-95CD-8BCA5EE05D33}"/>
                </a:ext>
              </a:extLst>
            </p:cNvPr>
            <p:cNvSpPr>
              <a:spLocks/>
            </p:cNvSpPr>
            <p:nvPr/>
          </p:nvSpPr>
          <p:spPr bwMode="auto">
            <a:xfrm>
              <a:off x="4816643" y="2555955"/>
              <a:ext cx="107483" cy="114531"/>
            </a:xfrm>
            <a:custGeom>
              <a:avLst/>
              <a:gdLst/>
              <a:ahLst/>
              <a:cxnLst>
                <a:cxn ang="0">
                  <a:pos x="129" y="11"/>
                </a:cxn>
                <a:cxn ang="0">
                  <a:pos x="115" y="0"/>
                </a:cxn>
                <a:cxn ang="0">
                  <a:pos x="77" y="9"/>
                </a:cxn>
                <a:cxn ang="0">
                  <a:pos x="66" y="23"/>
                </a:cxn>
                <a:cxn ang="0">
                  <a:pos x="70" y="25"/>
                </a:cxn>
                <a:cxn ang="0">
                  <a:pos x="73" y="34"/>
                </a:cxn>
                <a:cxn ang="0">
                  <a:pos x="77" y="35"/>
                </a:cxn>
                <a:cxn ang="0">
                  <a:pos x="80" y="47"/>
                </a:cxn>
                <a:cxn ang="0">
                  <a:pos x="84" y="56"/>
                </a:cxn>
                <a:cxn ang="0">
                  <a:pos x="72" y="65"/>
                </a:cxn>
                <a:cxn ang="0">
                  <a:pos x="58" y="54"/>
                </a:cxn>
                <a:cxn ang="0">
                  <a:pos x="63" y="46"/>
                </a:cxn>
                <a:cxn ang="0">
                  <a:pos x="61" y="37"/>
                </a:cxn>
                <a:cxn ang="0">
                  <a:pos x="61" y="30"/>
                </a:cxn>
                <a:cxn ang="0">
                  <a:pos x="52" y="28"/>
                </a:cxn>
                <a:cxn ang="0">
                  <a:pos x="46" y="37"/>
                </a:cxn>
                <a:cxn ang="0">
                  <a:pos x="39" y="65"/>
                </a:cxn>
                <a:cxn ang="0">
                  <a:pos x="25" y="82"/>
                </a:cxn>
                <a:cxn ang="0">
                  <a:pos x="18" y="89"/>
                </a:cxn>
                <a:cxn ang="0">
                  <a:pos x="12" y="95"/>
                </a:cxn>
                <a:cxn ang="0">
                  <a:pos x="23" y="103"/>
                </a:cxn>
                <a:cxn ang="0">
                  <a:pos x="4" y="101"/>
                </a:cxn>
                <a:cxn ang="0">
                  <a:pos x="9" y="107"/>
                </a:cxn>
                <a:cxn ang="0">
                  <a:pos x="25" y="107"/>
                </a:cxn>
                <a:cxn ang="0">
                  <a:pos x="26" y="110"/>
                </a:cxn>
                <a:cxn ang="0">
                  <a:pos x="12" y="112"/>
                </a:cxn>
                <a:cxn ang="0">
                  <a:pos x="0" y="110"/>
                </a:cxn>
                <a:cxn ang="0">
                  <a:pos x="7" y="117"/>
                </a:cxn>
                <a:cxn ang="0">
                  <a:pos x="25" y="117"/>
                </a:cxn>
                <a:cxn ang="0">
                  <a:pos x="37" y="112"/>
                </a:cxn>
                <a:cxn ang="0">
                  <a:pos x="40" y="105"/>
                </a:cxn>
                <a:cxn ang="0">
                  <a:pos x="51" y="107"/>
                </a:cxn>
                <a:cxn ang="0">
                  <a:pos x="54" y="108"/>
                </a:cxn>
                <a:cxn ang="0">
                  <a:pos x="70" y="117"/>
                </a:cxn>
                <a:cxn ang="0">
                  <a:pos x="86" y="122"/>
                </a:cxn>
                <a:cxn ang="0">
                  <a:pos x="80" y="140"/>
                </a:cxn>
                <a:cxn ang="0">
                  <a:pos x="94" y="142"/>
                </a:cxn>
                <a:cxn ang="0">
                  <a:pos x="93" y="131"/>
                </a:cxn>
                <a:cxn ang="0">
                  <a:pos x="96" y="124"/>
                </a:cxn>
                <a:cxn ang="0">
                  <a:pos x="98" y="117"/>
                </a:cxn>
                <a:cxn ang="0">
                  <a:pos x="98" y="101"/>
                </a:cxn>
                <a:cxn ang="0">
                  <a:pos x="93" y="88"/>
                </a:cxn>
                <a:cxn ang="0">
                  <a:pos x="110" y="86"/>
                </a:cxn>
                <a:cxn ang="0">
                  <a:pos x="120" y="79"/>
                </a:cxn>
                <a:cxn ang="0">
                  <a:pos x="124" y="72"/>
                </a:cxn>
                <a:cxn ang="0">
                  <a:pos x="131" y="60"/>
                </a:cxn>
                <a:cxn ang="0">
                  <a:pos x="119" y="54"/>
                </a:cxn>
                <a:cxn ang="0">
                  <a:pos x="119" y="46"/>
                </a:cxn>
                <a:cxn ang="0">
                  <a:pos x="126" y="44"/>
                </a:cxn>
                <a:cxn ang="0">
                  <a:pos x="136" y="13"/>
                </a:cxn>
              </a:cxnLst>
              <a:rect l="0" t="0" r="r" b="b"/>
              <a:pathLst>
                <a:path w="136" h="143">
                  <a:moveTo>
                    <a:pt x="136" y="13"/>
                  </a:moveTo>
                  <a:lnTo>
                    <a:pt x="136" y="13"/>
                  </a:lnTo>
                  <a:lnTo>
                    <a:pt x="133" y="13"/>
                  </a:lnTo>
                  <a:lnTo>
                    <a:pt x="129" y="11"/>
                  </a:lnTo>
                  <a:lnTo>
                    <a:pt x="124" y="6"/>
                  </a:lnTo>
                  <a:lnTo>
                    <a:pt x="124" y="6"/>
                  </a:lnTo>
                  <a:lnTo>
                    <a:pt x="120" y="2"/>
                  </a:lnTo>
                  <a:lnTo>
                    <a:pt x="115" y="0"/>
                  </a:lnTo>
                  <a:lnTo>
                    <a:pt x="93" y="4"/>
                  </a:lnTo>
                  <a:lnTo>
                    <a:pt x="93" y="4"/>
                  </a:lnTo>
                  <a:lnTo>
                    <a:pt x="84" y="7"/>
                  </a:lnTo>
                  <a:lnTo>
                    <a:pt x="77" y="9"/>
                  </a:lnTo>
                  <a:lnTo>
                    <a:pt x="72" y="13"/>
                  </a:lnTo>
                  <a:lnTo>
                    <a:pt x="70" y="16"/>
                  </a:lnTo>
                  <a:lnTo>
                    <a:pt x="66" y="20"/>
                  </a:lnTo>
                  <a:lnTo>
                    <a:pt x="66" y="23"/>
                  </a:lnTo>
                  <a:lnTo>
                    <a:pt x="66" y="25"/>
                  </a:lnTo>
                  <a:lnTo>
                    <a:pt x="68" y="25"/>
                  </a:lnTo>
                  <a:lnTo>
                    <a:pt x="68" y="25"/>
                  </a:lnTo>
                  <a:lnTo>
                    <a:pt x="70" y="25"/>
                  </a:lnTo>
                  <a:lnTo>
                    <a:pt x="72" y="27"/>
                  </a:lnTo>
                  <a:lnTo>
                    <a:pt x="72" y="30"/>
                  </a:lnTo>
                  <a:lnTo>
                    <a:pt x="72" y="32"/>
                  </a:lnTo>
                  <a:lnTo>
                    <a:pt x="73" y="34"/>
                  </a:lnTo>
                  <a:lnTo>
                    <a:pt x="75" y="34"/>
                  </a:lnTo>
                  <a:lnTo>
                    <a:pt x="75" y="34"/>
                  </a:lnTo>
                  <a:lnTo>
                    <a:pt x="77" y="35"/>
                  </a:lnTo>
                  <a:lnTo>
                    <a:pt x="77" y="35"/>
                  </a:lnTo>
                  <a:lnTo>
                    <a:pt x="77" y="41"/>
                  </a:lnTo>
                  <a:lnTo>
                    <a:pt x="77" y="44"/>
                  </a:lnTo>
                  <a:lnTo>
                    <a:pt x="79" y="46"/>
                  </a:lnTo>
                  <a:lnTo>
                    <a:pt x="80" y="47"/>
                  </a:lnTo>
                  <a:lnTo>
                    <a:pt x="80" y="47"/>
                  </a:lnTo>
                  <a:lnTo>
                    <a:pt x="84" y="49"/>
                  </a:lnTo>
                  <a:lnTo>
                    <a:pt x="86" y="53"/>
                  </a:lnTo>
                  <a:lnTo>
                    <a:pt x="84" y="56"/>
                  </a:lnTo>
                  <a:lnTo>
                    <a:pt x="82" y="60"/>
                  </a:lnTo>
                  <a:lnTo>
                    <a:pt x="79" y="61"/>
                  </a:lnTo>
                  <a:lnTo>
                    <a:pt x="75" y="65"/>
                  </a:lnTo>
                  <a:lnTo>
                    <a:pt x="72" y="65"/>
                  </a:lnTo>
                  <a:lnTo>
                    <a:pt x="66" y="65"/>
                  </a:lnTo>
                  <a:lnTo>
                    <a:pt x="66" y="65"/>
                  </a:lnTo>
                  <a:lnTo>
                    <a:pt x="61" y="60"/>
                  </a:lnTo>
                  <a:lnTo>
                    <a:pt x="58" y="54"/>
                  </a:lnTo>
                  <a:lnTo>
                    <a:pt x="58" y="51"/>
                  </a:lnTo>
                  <a:lnTo>
                    <a:pt x="58" y="49"/>
                  </a:lnTo>
                  <a:lnTo>
                    <a:pt x="61" y="47"/>
                  </a:lnTo>
                  <a:lnTo>
                    <a:pt x="63" y="46"/>
                  </a:lnTo>
                  <a:lnTo>
                    <a:pt x="63" y="46"/>
                  </a:lnTo>
                  <a:lnTo>
                    <a:pt x="66" y="42"/>
                  </a:lnTo>
                  <a:lnTo>
                    <a:pt x="65" y="41"/>
                  </a:lnTo>
                  <a:lnTo>
                    <a:pt x="61" y="37"/>
                  </a:lnTo>
                  <a:lnTo>
                    <a:pt x="59" y="37"/>
                  </a:lnTo>
                  <a:lnTo>
                    <a:pt x="59" y="35"/>
                  </a:lnTo>
                  <a:lnTo>
                    <a:pt x="59" y="35"/>
                  </a:lnTo>
                  <a:lnTo>
                    <a:pt x="61" y="30"/>
                  </a:lnTo>
                  <a:lnTo>
                    <a:pt x="63" y="27"/>
                  </a:lnTo>
                  <a:lnTo>
                    <a:pt x="63" y="25"/>
                  </a:lnTo>
                  <a:lnTo>
                    <a:pt x="61" y="25"/>
                  </a:lnTo>
                  <a:lnTo>
                    <a:pt x="52" y="28"/>
                  </a:lnTo>
                  <a:lnTo>
                    <a:pt x="52" y="28"/>
                  </a:lnTo>
                  <a:lnTo>
                    <a:pt x="49" y="28"/>
                  </a:lnTo>
                  <a:lnTo>
                    <a:pt x="47" y="30"/>
                  </a:lnTo>
                  <a:lnTo>
                    <a:pt x="46" y="37"/>
                  </a:lnTo>
                  <a:lnTo>
                    <a:pt x="44" y="49"/>
                  </a:lnTo>
                  <a:lnTo>
                    <a:pt x="40" y="56"/>
                  </a:lnTo>
                  <a:lnTo>
                    <a:pt x="39" y="65"/>
                  </a:lnTo>
                  <a:lnTo>
                    <a:pt x="39" y="65"/>
                  </a:lnTo>
                  <a:lnTo>
                    <a:pt x="32" y="75"/>
                  </a:lnTo>
                  <a:lnTo>
                    <a:pt x="26" y="79"/>
                  </a:lnTo>
                  <a:lnTo>
                    <a:pt x="25" y="81"/>
                  </a:lnTo>
                  <a:lnTo>
                    <a:pt x="25" y="82"/>
                  </a:lnTo>
                  <a:lnTo>
                    <a:pt x="25" y="82"/>
                  </a:lnTo>
                  <a:lnTo>
                    <a:pt x="25" y="86"/>
                  </a:lnTo>
                  <a:lnTo>
                    <a:pt x="25" y="88"/>
                  </a:lnTo>
                  <a:lnTo>
                    <a:pt x="18" y="89"/>
                  </a:lnTo>
                  <a:lnTo>
                    <a:pt x="12" y="91"/>
                  </a:lnTo>
                  <a:lnTo>
                    <a:pt x="12" y="93"/>
                  </a:lnTo>
                  <a:lnTo>
                    <a:pt x="12" y="95"/>
                  </a:lnTo>
                  <a:lnTo>
                    <a:pt x="12" y="95"/>
                  </a:lnTo>
                  <a:lnTo>
                    <a:pt x="18" y="96"/>
                  </a:lnTo>
                  <a:lnTo>
                    <a:pt x="26" y="98"/>
                  </a:lnTo>
                  <a:lnTo>
                    <a:pt x="30" y="100"/>
                  </a:lnTo>
                  <a:lnTo>
                    <a:pt x="23" y="103"/>
                  </a:lnTo>
                  <a:lnTo>
                    <a:pt x="23" y="103"/>
                  </a:lnTo>
                  <a:lnTo>
                    <a:pt x="11" y="100"/>
                  </a:lnTo>
                  <a:lnTo>
                    <a:pt x="7" y="100"/>
                  </a:lnTo>
                  <a:lnTo>
                    <a:pt x="4" y="101"/>
                  </a:lnTo>
                  <a:lnTo>
                    <a:pt x="4" y="101"/>
                  </a:lnTo>
                  <a:lnTo>
                    <a:pt x="4" y="103"/>
                  </a:lnTo>
                  <a:lnTo>
                    <a:pt x="4" y="103"/>
                  </a:lnTo>
                  <a:lnTo>
                    <a:pt x="9" y="107"/>
                  </a:lnTo>
                  <a:lnTo>
                    <a:pt x="16" y="108"/>
                  </a:lnTo>
                  <a:lnTo>
                    <a:pt x="19" y="108"/>
                  </a:lnTo>
                  <a:lnTo>
                    <a:pt x="19" y="108"/>
                  </a:lnTo>
                  <a:lnTo>
                    <a:pt x="25" y="107"/>
                  </a:lnTo>
                  <a:lnTo>
                    <a:pt x="26" y="108"/>
                  </a:lnTo>
                  <a:lnTo>
                    <a:pt x="28" y="110"/>
                  </a:lnTo>
                  <a:lnTo>
                    <a:pt x="26" y="110"/>
                  </a:lnTo>
                  <a:lnTo>
                    <a:pt x="26" y="110"/>
                  </a:lnTo>
                  <a:lnTo>
                    <a:pt x="19" y="112"/>
                  </a:lnTo>
                  <a:lnTo>
                    <a:pt x="16" y="114"/>
                  </a:lnTo>
                  <a:lnTo>
                    <a:pt x="12" y="112"/>
                  </a:lnTo>
                  <a:lnTo>
                    <a:pt x="12" y="112"/>
                  </a:lnTo>
                  <a:lnTo>
                    <a:pt x="9" y="110"/>
                  </a:lnTo>
                  <a:lnTo>
                    <a:pt x="5" y="110"/>
                  </a:lnTo>
                  <a:lnTo>
                    <a:pt x="0" y="110"/>
                  </a:lnTo>
                  <a:lnTo>
                    <a:pt x="0" y="110"/>
                  </a:lnTo>
                  <a:lnTo>
                    <a:pt x="2" y="115"/>
                  </a:lnTo>
                  <a:lnTo>
                    <a:pt x="4" y="117"/>
                  </a:lnTo>
                  <a:lnTo>
                    <a:pt x="7" y="117"/>
                  </a:lnTo>
                  <a:lnTo>
                    <a:pt x="7" y="117"/>
                  </a:lnTo>
                  <a:lnTo>
                    <a:pt x="11" y="117"/>
                  </a:lnTo>
                  <a:lnTo>
                    <a:pt x="14" y="119"/>
                  </a:lnTo>
                  <a:lnTo>
                    <a:pt x="19" y="119"/>
                  </a:lnTo>
                  <a:lnTo>
                    <a:pt x="25" y="117"/>
                  </a:lnTo>
                  <a:lnTo>
                    <a:pt x="25" y="117"/>
                  </a:lnTo>
                  <a:lnTo>
                    <a:pt x="30" y="114"/>
                  </a:lnTo>
                  <a:lnTo>
                    <a:pt x="33" y="114"/>
                  </a:lnTo>
                  <a:lnTo>
                    <a:pt x="37" y="112"/>
                  </a:lnTo>
                  <a:lnTo>
                    <a:pt x="39" y="108"/>
                  </a:lnTo>
                  <a:lnTo>
                    <a:pt x="39" y="108"/>
                  </a:lnTo>
                  <a:lnTo>
                    <a:pt x="40" y="105"/>
                  </a:lnTo>
                  <a:lnTo>
                    <a:pt x="40" y="105"/>
                  </a:lnTo>
                  <a:lnTo>
                    <a:pt x="42" y="107"/>
                  </a:lnTo>
                  <a:lnTo>
                    <a:pt x="46" y="108"/>
                  </a:lnTo>
                  <a:lnTo>
                    <a:pt x="46" y="108"/>
                  </a:lnTo>
                  <a:lnTo>
                    <a:pt x="51" y="107"/>
                  </a:lnTo>
                  <a:lnTo>
                    <a:pt x="51" y="108"/>
                  </a:lnTo>
                  <a:lnTo>
                    <a:pt x="52" y="110"/>
                  </a:lnTo>
                  <a:lnTo>
                    <a:pt x="54" y="108"/>
                  </a:lnTo>
                  <a:lnTo>
                    <a:pt x="54" y="108"/>
                  </a:lnTo>
                  <a:lnTo>
                    <a:pt x="59" y="108"/>
                  </a:lnTo>
                  <a:lnTo>
                    <a:pt x="61" y="112"/>
                  </a:lnTo>
                  <a:lnTo>
                    <a:pt x="66" y="115"/>
                  </a:lnTo>
                  <a:lnTo>
                    <a:pt x="70" y="117"/>
                  </a:lnTo>
                  <a:lnTo>
                    <a:pt x="77" y="117"/>
                  </a:lnTo>
                  <a:lnTo>
                    <a:pt x="77" y="117"/>
                  </a:lnTo>
                  <a:lnTo>
                    <a:pt x="84" y="119"/>
                  </a:lnTo>
                  <a:lnTo>
                    <a:pt x="86" y="122"/>
                  </a:lnTo>
                  <a:lnTo>
                    <a:pt x="86" y="126"/>
                  </a:lnTo>
                  <a:lnTo>
                    <a:pt x="84" y="131"/>
                  </a:lnTo>
                  <a:lnTo>
                    <a:pt x="80" y="135"/>
                  </a:lnTo>
                  <a:lnTo>
                    <a:pt x="80" y="140"/>
                  </a:lnTo>
                  <a:lnTo>
                    <a:pt x="84" y="142"/>
                  </a:lnTo>
                  <a:lnTo>
                    <a:pt x="93" y="143"/>
                  </a:lnTo>
                  <a:lnTo>
                    <a:pt x="93" y="143"/>
                  </a:lnTo>
                  <a:lnTo>
                    <a:pt x="94" y="142"/>
                  </a:lnTo>
                  <a:lnTo>
                    <a:pt x="96" y="138"/>
                  </a:lnTo>
                  <a:lnTo>
                    <a:pt x="96" y="135"/>
                  </a:lnTo>
                  <a:lnTo>
                    <a:pt x="94" y="133"/>
                  </a:lnTo>
                  <a:lnTo>
                    <a:pt x="93" y="131"/>
                  </a:lnTo>
                  <a:lnTo>
                    <a:pt x="93" y="131"/>
                  </a:lnTo>
                  <a:lnTo>
                    <a:pt x="89" y="129"/>
                  </a:lnTo>
                  <a:lnTo>
                    <a:pt x="91" y="128"/>
                  </a:lnTo>
                  <a:lnTo>
                    <a:pt x="96" y="124"/>
                  </a:lnTo>
                  <a:lnTo>
                    <a:pt x="96" y="124"/>
                  </a:lnTo>
                  <a:lnTo>
                    <a:pt x="96" y="121"/>
                  </a:lnTo>
                  <a:lnTo>
                    <a:pt x="96" y="121"/>
                  </a:lnTo>
                  <a:lnTo>
                    <a:pt x="98" y="117"/>
                  </a:lnTo>
                  <a:lnTo>
                    <a:pt x="99" y="114"/>
                  </a:lnTo>
                  <a:lnTo>
                    <a:pt x="101" y="108"/>
                  </a:lnTo>
                  <a:lnTo>
                    <a:pt x="101" y="107"/>
                  </a:lnTo>
                  <a:lnTo>
                    <a:pt x="98" y="101"/>
                  </a:lnTo>
                  <a:lnTo>
                    <a:pt x="98" y="101"/>
                  </a:lnTo>
                  <a:lnTo>
                    <a:pt x="94" y="95"/>
                  </a:lnTo>
                  <a:lnTo>
                    <a:pt x="93" y="89"/>
                  </a:lnTo>
                  <a:lnTo>
                    <a:pt x="93" y="88"/>
                  </a:lnTo>
                  <a:lnTo>
                    <a:pt x="94" y="86"/>
                  </a:lnTo>
                  <a:lnTo>
                    <a:pt x="101" y="86"/>
                  </a:lnTo>
                  <a:lnTo>
                    <a:pt x="101" y="86"/>
                  </a:lnTo>
                  <a:lnTo>
                    <a:pt x="110" y="86"/>
                  </a:lnTo>
                  <a:lnTo>
                    <a:pt x="117" y="84"/>
                  </a:lnTo>
                  <a:lnTo>
                    <a:pt x="120" y="81"/>
                  </a:lnTo>
                  <a:lnTo>
                    <a:pt x="122" y="81"/>
                  </a:lnTo>
                  <a:lnTo>
                    <a:pt x="120" y="79"/>
                  </a:lnTo>
                  <a:lnTo>
                    <a:pt x="120" y="79"/>
                  </a:lnTo>
                  <a:lnTo>
                    <a:pt x="119" y="77"/>
                  </a:lnTo>
                  <a:lnTo>
                    <a:pt x="119" y="75"/>
                  </a:lnTo>
                  <a:lnTo>
                    <a:pt x="124" y="72"/>
                  </a:lnTo>
                  <a:lnTo>
                    <a:pt x="129" y="67"/>
                  </a:lnTo>
                  <a:lnTo>
                    <a:pt x="129" y="63"/>
                  </a:lnTo>
                  <a:lnTo>
                    <a:pt x="131" y="60"/>
                  </a:lnTo>
                  <a:lnTo>
                    <a:pt x="131" y="60"/>
                  </a:lnTo>
                  <a:lnTo>
                    <a:pt x="129" y="56"/>
                  </a:lnTo>
                  <a:lnTo>
                    <a:pt x="127" y="54"/>
                  </a:lnTo>
                  <a:lnTo>
                    <a:pt x="124" y="54"/>
                  </a:lnTo>
                  <a:lnTo>
                    <a:pt x="119" y="54"/>
                  </a:lnTo>
                  <a:lnTo>
                    <a:pt x="119" y="53"/>
                  </a:lnTo>
                  <a:lnTo>
                    <a:pt x="117" y="49"/>
                  </a:lnTo>
                  <a:lnTo>
                    <a:pt x="117" y="49"/>
                  </a:lnTo>
                  <a:lnTo>
                    <a:pt x="119" y="46"/>
                  </a:lnTo>
                  <a:lnTo>
                    <a:pt x="119" y="44"/>
                  </a:lnTo>
                  <a:lnTo>
                    <a:pt x="122" y="44"/>
                  </a:lnTo>
                  <a:lnTo>
                    <a:pt x="126" y="44"/>
                  </a:lnTo>
                  <a:lnTo>
                    <a:pt x="126" y="44"/>
                  </a:lnTo>
                  <a:lnTo>
                    <a:pt x="129" y="44"/>
                  </a:lnTo>
                  <a:lnTo>
                    <a:pt x="131" y="41"/>
                  </a:lnTo>
                  <a:lnTo>
                    <a:pt x="136" y="13"/>
                  </a:lnTo>
                  <a:lnTo>
                    <a:pt x="136" y="1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1" name="Freeform 1984">
              <a:extLst>
                <a:ext uri="{FF2B5EF4-FFF2-40B4-BE49-F238E27FC236}">
                  <a16:creationId xmlns:a16="http://schemas.microsoft.com/office/drawing/2014/main" id="{F38199C4-113D-40B3-96E8-18B7BF81AE2D}"/>
                </a:ext>
              </a:extLst>
            </p:cNvPr>
            <p:cNvSpPr>
              <a:spLocks/>
            </p:cNvSpPr>
            <p:nvPr/>
          </p:nvSpPr>
          <p:spPr bwMode="auto">
            <a:xfrm>
              <a:off x="8895674" y="4656267"/>
              <a:ext cx="114530" cy="75768"/>
            </a:xfrm>
            <a:custGeom>
              <a:avLst/>
              <a:gdLst/>
              <a:ahLst/>
              <a:cxnLst>
                <a:cxn ang="0">
                  <a:pos x="0" y="61"/>
                </a:cxn>
                <a:cxn ang="0">
                  <a:pos x="4" y="57"/>
                </a:cxn>
                <a:cxn ang="0">
                  <a:pos x="19" y="56"/>
                </a:cxn>
                <a:cxn ang="0">
                  <a:pos x="40" y="59"/>
                </a:cxn>
                <a:cxn ang="0">
                  <a:pos x="56" y="59"/>
                </a:cxn>
                <a:cxn ang="0">
                  <a:pos x="58" y="54"/>
                </a:cxn>
                <a:cxn ang="0">
                  <a:pos x="58" y="43"/>
                </a:cxn>
                <a:cxn ang="0">
                  <a:pos x="65" y="36"/>
                </a:cxn>
                <a:cxn ang="0">
                  <a:pos x="66" y="38"/>
                </a:cxn>
                <a:cxn ang="0">
                  <a:pos x="66" y="42"/>
                </a:cxn>
                <a:cxn ang="0">
                  <a:pos x="63" y="47"/>
                </a:cxn>
                <a:cxn ang="0">
                  <a:pos x="65" y="54"/>
                </a:cxn>
                <a:cxn ang="0">
                  <a:pos x="70" y="59"/>
                </a:cxn>
                <a:cxn ang="0">
                  <a:pos x="75" y="56"/>
                </a:cxn>
                <a:cxn ang="0">
                  <a:pos x="79" y="57"/>
                </a:cxn>
                <a:cxn ang="0">
                  <a:pos x="89" y="57"/>
                </a:cxn>
                <a:cxn ang="0">
                  <a:pos x="96" y="47"/>
                </a:cxn>
                <a:cxn ang="0">
                  <a:pos x="103" y="36"/>
                </a:cxn>
                <a:cxn ang="0">
                  <a:pos x="113" y="33"/>
                </a:cxn>
                <a:cxn ang="0">
                  <a:pos x="117" y="35"/>
                </a:cxn>
                <a:cxn ang="0">
                  <a:pos x="115" y="21"/>
                </a:cxn>
                <a:cxn ang="0">
                  <a:pos x="113" y="3"/>
                </a:cxn>
                <a:cxn ang="0">
                  <a:pos x="117" y="2"/>
                </a:cxn>
                <a:cxn ang="0">
                  <a:pos x="133" y="0"/>
                </a:cxn>
                <a:cxn ang="0">
                  <a:pos x="141" y="5"/>
                </a:cxn>
                <a:cxn ang="0">
                  <a:pos x="145" y="9"/>
                </a:cxn>
                <a:cxn ang="0">
                  <a:pos x="145" y="22"/>
                </a:cxn>
                <a:cxn ang="0">
                  <a:pos x="138" y="35"/>
                </a:cxn>
                <a:cxn ang="0">
                  <a:pos x="134" y="36"/>
                </a:cxn>
                <a:cxn ang="0">
                  <a:pos x="131" y="38"/>
                </a:cxn>
                <a:cxn ang="0">
                  <a:pos x="136" y="50"/>
                </a:cxn>
                <a:cxn ang="0">
                  <a:pos x="133" y="57"/>
                </a:cxn>
                <a:cxn ang="0">
                  <a:pos x="127" y="61"/>
                </a:cxn>
                <a:cxn ang="0">
                  <a:pos x="119" y="61"/>
                </a:cxn>
                <a:cxn ang="0">
                  <a:pos x="113" y="61"/>
                </a:cxn>
                <a:cxn ang="0">
                  <a:pos x="108" y="68"/>
                </a:cxn>
                <a:cxn ang="0">
                  <a:pos x="105" y="73"/>
                </a:cxn>
                <a:cxn ang="0">
                  <a:pos x="87" y="83"/>
                </a:cxn>
                <a:cxn ang="0">
                  <a:pos x="66" y="92"/>
                </a:cxn>
                <a:cxn ang="0">
                  <a:pos x="49" y="92"/>
                </a:cxn>
                <a:cxn ang="0">
                  <a:pos x="42" y="89"/>
                </a:cxn>
                <a:cxn ang="0">
                  <a:pos x="37" y="83"/>
                </a:cxn>
                <a:cxn ang="0">
                  <a:pos x="33" y="83"/>
                </a:cxn>
                <a:cxn ang="0">
                  <a:pos x="28" y="85"/>
                </a:cxn>
                <a:cxn ang="0">
                  <a:pos x="19" y="78"/>
                </a:cxn>
                <a:cxn ang="0">
                  <a:pos x="13" y="73"/>
                </a:cxn>
                <a:cxn ang="0">
                  <a:pos x="2" y="68"/>
                </a:cxn>
                <a:cxn ang="0">
                  <a:pos x="0" y="61"/>
                </a:cxn>
              </a:cxnLst>
              <a:rect l="0" t="0" r="r" b="b"/>
              <a:pathLst>
                <a:path w="145" h="92">
                  <a:moveTo>
                    <a:pt x="0" y="61"/>
                  </a:moveTo>
                  <a:lnTo>
                    <a:pt x="0" y="61"/>
                  </a:lnTo>
                  <a:lnTo>
                    <a:pt x="2" y="59"/>
                  </a:lnTo>
                  <a:lnTo>
                    <a:pt x="4" y="57"/>
                  </a:lnTo>
                  <a:lnTo>
                    <a:pt x="9" y="56"/>
                  </a:lnTo>
                  <a:lnTo>
                    <a:pt x="19" y="56"/>
                  </a:lnTo>
                  <a:lnTo>
                    <a:pt x="30" y="57"/>
                  </a:lnTo>
                  <a:lnTo>
                    <a:pt x="40" y="59"/>
                  </a:lnTo>
                  <a:lnTo>
                    <a:pt x="49" y="59"/>
                  </a:lnTo>
                  <a:lnTo>
                    <a:pt x="56" y="59"/>
                  </a:lnTo>
                  <a:lnTo>
                    <a:pt x="58" y="57"/>
                  </a:lnTo>
                  <a:lnTo>
                    <a:pt x="58" y="54"/>
                  </a:lnTo>
                  <a:lnTo>
                    <a:pt x="58" y="54"/>
                  </a:lnTo>
                  <a:lnTo>
                    <a:pt x="58" y="43"/>
                  </a:lnTo>
                  <a:lnTo>
                    <a:pt x="61" y="38"/>
                  </a:lnTo>
                  <a:lnTo>
                    <a:pt x="65" y="36"/>
                  </a:lnTo>
                  <a:lnTo>
                    <a:pt x="66" y="36"/>
                  </a:lnTo>
                  <a:lnTo>
                    <a:pt x="66" y="38"/>
                  </a:lnTo>
                  <a:lnTo>
                    <a:pt x="66" y="38"/>
                  </a:lnTo>
                  <a:lnTo>
                    <a:pt x="66" y="42"/>
                  </a:lnTo>
                  <a:lnTo>
                    <a:pt x="65" y="43"/>
                  </a:lnTo>
                  <a:lnTo>
                    <a:pt x="63" y="47"/>
                  </a:lnTo>
                  <a:lnTo>
                    <a:pt x="65" y="54"/>
                  </a:lnTo>
                  <a:lnTo>
                    <a:pt x="65" y="54"/>
                  </a:lnTo>
                  <a:lnTo>
                    <a:pt x="68" y="59"/>
                  </a:lnTo>
                  <a:lnTo>
                    <a:pt x="70" y="59"/>
                  </a:lnTo>
                  <a:lnTo>
                    <a:pt x="73" y="56"/>
                  </a:lnTo>
                  <a:lnTo>
                    <a:pt x="75" y="56"/>
                  </a:lnTo>
                  <a:lnTo>
                    <a:pt x="79" y="57"/>
                  </a:lnTo>
                  <a:lnTo>
                    <a:pt x="79" y="57"/>
                  </a:lnTo>
                  <a:lnTo>
                    <a:pt x="84" y="59"/>
                  </a:lnTo>
                  <a:lnTo>
                    <a:pt x="89" y="57"/>
                  </a:lnTo>
                  <a:lnTo>
                    <a:pt x="93" y="52"/>
                  </a:lnTo>
                  <a:lnTo>
                    <a:pt x="96" y="47"/>
                  </a:lnTo>
                  <a:lnTo>
                    <a:pt x="98" y="42"/>
                  </a:lnTo>
                  <a:lnTo>
                    <a:pt x="103" y="36"/>
                  </a:lnTo>
                  <a:lnTo>
                    <a:pt x="107" y="33"/>
                  </a:lnTo>
                  <a:lnTo>
                    <a:pt x="113" y="33"/>
                  </a:lnTo>
                  <a:lnTo>
                    <a:pt x="113" y="33"/>
                  </a:lnTo>
                  <a:lnTo>
                    <a:pt x="117" y="35"/>
                  </a:lnTo>
                  <a:lnTo>
                    <a:pt x="119" y="31"/>
                  </a:lnTo>
                  <a:lnTo>
                    <a:pt x="115" y="21"/>
                  </a:lnTo>
                  <a:lnTo>
                    <a:pt x="112" y="9"/>
                  </a:lnTo>
                  <a:lnTo>
                    <a:pt x="113" y="3"/>
                  </a:lnTo>
                  <a:lnTo>
                    <a:pt x="115" y="2"/>
                  </a:lnTo>
                  <a:lnTo>
                    <a:pt x="117" y="2"/>
                  </a:lnTo>
                  <a:lnTo>
                    <a:pt x="117" y="2"/>
                  </a:lnTo>
                  <a:lnTo>
                    <a:pt x="133" y="0"/>
                  </a:lnTo>
                  <a:lnTo>
                    <a:pt x="138" y="2"/>
                  </a:lnTo>
                  <a:lnTo>
                    <a:pt x="141" y="5"/>
                  </a:lnTo>
                  <a:lnTo>
                    <a:pt x="141" y="5"/>
                  </a:lnTo>
                  <a:lnTo>
                    <a:pt x="145" y="9"/>
                  </a:lnTo>
                  <a:lnTo>
                    <a:pt x="145" y="14"/>
                  </a:lnTo>
                  <a:lnTo>
                    <a:pt x="145" y="22"/>
                  </a:lnTo>
                  <a:lnTo>
                    <a:pt x="141" y="31"/>
                  </a:lnTo>
                  <a:lnTo>
                    <a:pt x="138" y="35"/>
                  </a:lnTo>
                  <a:lnTo>
                    <a:pt x="134" y="36"/>
                  </a:lnTo>
                  <a:lnTo>
                    <a:pt x="134" y="36"/>
                  </a:lnTo>
                  <a:lnTo>
                    <a:pt x="131" y="36"/>
                  </a:lnTo>
                  <a:lnTo>
                    <a:pt x="131" y="38"/>
                  </a:lnTo>
                  <a:lnTo>
                    <a:pt x="133" y="43"/>
                  </a:lnTo>
                  <a:lnTo>
                    <a:pt x="136" y="50"/>
                  </a:lnTo>
                  <a:lnTo>
                    <a:pt x="134" y="54"/>
                  </a:lnTo>
                  <a:lnTo>
                    <a:pt x="133" y="57"/>
                  </a:lnTo>
                  <a:lnTo>
                    <a:pt x="133" y="57"/>
                  </a:lnTo>
                  <a:lnTo>
                    <a:pt x="127" y="61"/>
                  </a:lnTo>
                  <a:lnTo>
                    <a:pt x="126" y="61"/>
                  </a:lnTo>
                  <a:lnTo>
                    <a:pt x="119" y="61"/>
                  </a:lnTo>
                  <a:lnTo>
                    <a:pt x="117" y="61"/>
                  </a:lnTo>
                  <a:lnTo>
                    <a:pt x="113" y="61"/>
                  </a:lnTo>
                  <a:lnTo>
                    <a:pt x="112" y="63"/>
                  </a:lnTo>
                  <a:lnTo>
                    <a:pt x="108" y="68"/>
                  </a:lnTo>
                  <a:lnTo>
                    <a:pt x="108" y="68"/>
                  </a:lnTo>
                  <a:lnTo>
                    <a:pt x="105" y="73"/>
                  </a:lnTo>
                  <a:lnTo>
                    <a:pt x="98" y="78"/>
                  </a:lnTo>
                  <a:lnTo>
                    <a:pt x="87" y="83"/>
                  </a:lnTo>
                  <a:lnTo>
                    <a:pt x="77" y="89"/>
                  </a:lnTo>
                  <a:lnTo>
                    <a:pt x="66" y="92"/>
                  </a:lnTo>
                  <a:lnTo>
                    <a:pt x="56" y="92"/>
                  </a:lnTo>
                  <a:lnTo>
                    <a:pt x="49" y="92"/>
                  </a:lnTo>
                  <a:lnTo>
                    <a:pt x="42" y="89"/>
                  </a:lnTo>
                  <a:lnTo>
                    <a:pt x="42" y="89"/>
                  </a:lnTo>
                  <a:lnTo>
                    <a:pt x="39" y="83"/>
                  </a:lnTo>
                  <a:lnTo>
                    <a:pt x="37" y="83"/>
                  </a:lnTo>
                  <a:lnTo>
                    <a:pt x="35" y="83"/>
                  </a:lnTo>
                  <a:lnTo>
                    <a:pt x="33" y="83"/>
                  </a:lnTo>
                  <a:lnTo>
                    <a:pt x="32" y="85"/>
                  </a:lnTo>
                  <a:lnTo>
                    <a:pt x="28" y="85"/>
                  </a:lnTo>
                  <a:lnTo>
                    <a:pt x="25" y="83"/>
                  </a:lnTo>
                  <a:lnTo>
                    <a:pt x="19" y="78"/>
                  </a:lnTo>
                  <a:lnTo>
                    <a:pt x="19" y="78"/>
                  </a:lnTo>
                  <a:lnTo>
                    <a:pt x="13" y="73"/>
                  </a:lnTo>
                  <a:lnTo>
                    <a:pt x="6" y="69"/>
                  </a:lnTo>
                  <a:lnTo>
                    <a:pt x="2" y="68"/>
                  </a:lnTo>
                  <a:lnTo>
                    <a:pt x="0" y="61"/>
                  </a:lnTo>
                  <a:lnTo>
                    <a:pt x="0" y="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2" name="Freeform 1985">
              <a:extLst>
                <a:ext uri="{FF2B5EF4-FFF2-40B4-BE49-F238E27FC236}">
                  <a16:creationId xmlns:a16="http://schemas.microsoft.com/office/drawing/2014/main" id="{BA27F5C2-4B3F-4F05-B744-BFFAEC914ED9}"/>
                </a:ext>
              </a:extLst>
            </p:cNvPr>
            <p:cNvSpPr>
              <a:spLocks/>
            </p:cNvSpPr>
            <p:nvPr/>
          </p:nvSpPr>
          <p:spPr bwMode="auto">
            <a:xfrm>
              <a:off x="9068346" y="4687984"/>
              <a:ext cx="42289" cy="59909"/>
            </a:xfrm>
            <a:custGeom>
              <a:avLst/>
              <a:gdLst/>
              <a:ahLst/>
              <a:cxnLst>
                <a:cxn ang="0">
                  <a:pos x="45" y="77"/>
                </a:cxn>
                <a:cxn ang="0">
                  <a:pos x="45" y="77"/>
                </a:cxn>
                <a:cxn ang="0">
                  <a:pos x="38" y="77"/>
                </a:cxn>
                <a:cxn ang="0">
                  <a:pos x="31" y="75"/>
                </a:cxn>
                <a:cxn ang="0">
                  <a:pos x="26" y="72"/>
                </a:cxn>
                <a:cxn ang="0">
                  <a:pos x="24" y="63"/>
                </a:cxn>
                <a:cxn ang="0">
                  <a:pos x="24" y="63"/>
                </a:cxn>
                <a:cxn ang="0">
                  <a:pos x="23" y="60"/>
                </a:cxn>
                <a:cxn ang="0">
                  <a:pos x="21" y="56"/>
                </a:cxn>
                <a:cxn ang="0">
                  <a:pos x="14" y="47"/>
                </a:cxn>
                <a:cxn ang="0">
                  <a:pos x="9" y="40"/>
                </a:cxn>
                <a:cxn ang="0">
                  <a:pos x="7" y="35"/>
                </a:cxn>
                <a:cxn ang="0">
                  <a:pos x="7" y="28"/>
                </a:cxn>
                <a:cxn ang="0">
                  <a:pos x="7" y="28"/>
                </a:cxn>
                <a:cxn ang="0">
                  <a:pos x="7" y="23"/>
                </a:cxn>
                <a:cxn ang="0">
                  <a:pos x="5" y="20"/>
                </a:cxn>
                <a:cxn ang="0">
                  <a:pos x="2" y="13"/>
                </a:cxn>
                <a:cxn ang="0">
                  <a:pos x="0" y="7"/>
                </a:cxn>
                <a:cxn ang="0">
                  <a:pos x="0" y="6"/>
                </a:cxn>
                <a:cxn ang="0">
                  <a:pos x="0" y="2"/>
                </a:cxn>
                <a:cxn ang="0">
                  <a:pos x="0" y="2"/>
                </a:cxn>
                <a:cxn ang="0">
                  <a:pos x="3" y="0"/>
                </a:cxn>
                <a:cxn ang="0">
                  <a:pos x="5" y="2"/>
                </a:cxn>
                <a:cxn ang="0">
                  <a:pos x="7" y="7"/>
                </a:cxn>
                <a:cxn ang="0">
                  <a:pos x="10" y="18"/>
                </a:cxn>
                <a:cxn ang="0">
                  <a:pos x="12" y="21"/>
                </a:cxn>
                <a:cxn ang="0">
                  <a:pos x="16" y="23"/>
                </a:cxn>
                <a:cxn ang="0">
                  <a:pos x="16" y="23"/>
                </a:cxn>
                <a:cxn ang="0">
                  <a:pos x="19" y="25"/>
                </a:cxn>
                <a:cxn ang="0">
                  <a:pos x="23" y="28"/>
                </a:cxn>
                <a:cxn ang="0">
                  <a:pos x="26" y="37"/>
                </a:cxn>
                <a:cxn ang="0">
                  <a:pos x="31" y="46"/>
                </a:cxn>
                <a:cxn ang="0">
                  <a:pos x="35" y="49"/>
                </a:cxn>
                <a:cxn ang="0">
                  <a:pos x="38" y="51"/>
                </a:cxn>
                <a:cxn ang="0">
                  <a:pos x="38" y="51"/>
                </a:cxn>
                <a:cxn ang="0">
                  <a:pos x="42" y="53"/>
                </a:cxn>
                <a:cxn ang="0">
                  <a:pos x="45" y="56"/>
                </a:cxn>
                <a:cxn ang="0">
                  <a:pos x="50" y="65"/>
                </a:cxn>
                <a:cxn ang="0">
                  <a:pos x="50" y="68"/>
                </a:cxn>
                <a:cxn ang="0">
                  <a:pos x="50" y="74"/>
                </a:cxn>
                <a:cxn ang="0">
                  <a:pos x="49" y="75"/>
                </a:cxn>
                <a:cxn ang="0">
                  <a:pos x="45" y="77"/>
                </a:cxn>
                <a:cxn ang="0">
                  <a:pos x="45" y="77"/>
                </a:cxn>
              </a:cxnLst>
              <a:rect l="0" t="0" r="r" b="b"/>
              <a:pathLst>
                <a:path w="50" h="77">
                  <a:moveTo>
                    <a:pt x="45" y="77"/>
                  </a:moveTo>
                  <a:lnTo>
                    <a:pt x="45" y="77"/>
                  </a:lnTo>
                  <a:lnTo>
                    <a:pt x="38" y="77"/>
                  </a:lnTo>
                  <a:lnTo>
                    <a:pt x="31" y="75"/>
                  </a:lnTo>
                  <a:lnTo>
                    <a:pt x="26" y="72"/>
                  </a:lnTo>
                  <a:lnTo>
                    <a:pt x="24" y="63"/>
                  </a:lnTo>
                  <a:lnTo>
                    <a:pt x="24" y="63"/>
                  </a:lnTo>
                  <a:lnTo>
                    <a:pt x="23" y="60"/>
                  </a:lnTo>
                  <a:lnTo>
                    <a:pt x="21" y="56"/>
                  </a:lnTo>
                  <a:lnTo>
                    <a:pt x="14" y="47"/>
                  </a:lnTo>
                  <a:lnTo>
                    <a:pt x="9" y="40"/>
                  </a:lnTo>
                  <a:lnTo>
                    <a:pt x="7" y="35"/>
                  </a:lnTo>
                  <a:lnTo>
                    <a:pt x="7" y="28"/>
                  </a:lnTo>
                  <a:lnTo>
                    <a:pt x="7" y="28"/>
                  </a:lnTo>
                  <a:lnTo>
                    <a:pt x="7" y="23"/>
                  </a:lnTo>
                  <a:lnTo>
                    <a:pt x="5" y="20"/>
                  </a:lnTo>
                  <a:lnTo>
                    <a:pt x="2" y="13"/>
                  </a:lnTo>
                  <a:lnTo>
                    <a:pt x="0" y="7"/>
                  </a:lnTo>
                  <a:lnTo>
                    <a:pt x="0" y="6"/>
                  </a:lnTo>
                  <a:lnTo>
                    <a:pt x="0" y="2"/>
                  </a:lnTo>
                  <a:lnTo>
                    <a:pt x="0" y="2"/>
                  </a:lnTo>
                  <a:lnTo>
                    <a:pt x="3" y="0"/>
                  </a:lnTo>
                  <a:lnTo>
                    <a:pt x="5" y="2"/>
                  </a:lnTo>
                  <a:lnTo>
                    <a:pt x="7" y="7"/>
                  </a:lnTo>
                  <a:lnTo>
                    <a:pt x="10" y="18"/>
                  </a:lnTo>
                  <a:lnTo>
                    <a:pt x="12" y="21"/>
                  </a:lnTo>
                  <a:lnTo>
                    <a:pt x="16" y="23"/>
                  </a:lnTo>
                  <a:lnTo>
                    <a:pt x="16" y="23"/>
                  </a:lnTo>
                  <a:lnTo>
                    <a:pt x="19" y="25"/>
                  </a:lnTo>
                  <a:lnTo>
                    <a:pt x="23" y="28"/>
                  </a:lnTo>
                  <a:lnTo>
                    <a:pt x="26" y="37"/>
                  </a:lnTo>
                  <a:lnTo>
                    <a:pt x="31" y="46"/>
                  </a:lnTo>
                  <a:lnTo>
                    <a:pt x="35" y="49"/>
                  </a:lnTo>
                  <a:lnTo>
                    <a:pt x="38" y="51"/>
                  </a:lnTo>
                  <a:lnTo>
                    <a:pt x="38" y="51"/>
                  </a:lnTo>
                  <a:lnTo>
                    <a:pt x="42" y="53"/>
                  </a:lnTo>
                  <a:lnTo>
                    <a:pt x="45" y="56"/>
                  </a:lnTo>
                  <a:lnTo>
                    <a:pt x="50" y="65"/>
                  </a:lnTo>
                  <a:lnTo>
                    <a:pt x="50" y="68"/>
                  </a:lnTo>
                  <a:lnTo>
                    <a:pt x="50" y="74"/>
                  </a:lnTo>
                  <a:lnTo>
                    <a:pt x="49" y="75"/>
                  </a:lnTo>
                  <a:lnTo>
                    <a:pt x="45" y="77"/>
                  </a:lnTo>
                  <a:lnTo>
                    <a:pt x="45" y="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3" name="Freeform 1986">
              <a:extLst>
                <a:ext uri="{FF2B5EF4-FFF2-40B4-BE49-F238E27FC236}">
                  <a16:creationId xmlns:a16="http://schemas.microsoft.com/office/drawing/2014/main" id="{14B61FBC-FC39-4E60-B1DD-668F8FF9C0F0}"/>
                </a:ext>
              </a:extLst>
            </p:cNvPr>
            <p:cNvSpPr>
              <a:spLocks/>
            </p:cNvSpPr>
            <p:nvPr/>
          </p:nvSpPr>
          <p:spPr bwMode="auto">
            <a:xfrm>
              <a:off x="9182877" y="4774323"/>
              <a:ext cx="37004" cy="33478"/>
            </a:xfrm>
            <a:custGeom>
              <a:avLst/>
              <a:gdLst/>
              <a:ahLst/>
              <a:cxnLst>
                <a:cxn ang="0">
                  <a:pos x="5" y="2"/>
                </a:cxn>
                <a:cxn ang="0">
                  <a:pos x="5" y="2"/>
                </a:cxn>
                <a:cxn ang="0">
                  <a:pos x="14" y="6"/>
                </a:cxn>
                <a:cxn ang="0">
                  <a:pos x="17" y="9"/>
                </a:cxn>
                <a:cxn ang="0">
                  <a:pos x="21" y="13"/>
                </a:cxn>
                <a:cxn ang="0">
                  <a:pos x="28" y="18"/>
                </a:cxn>
                <a:cxn ang="0">
                  <a:pos x="28" y="18"/>
                </a:cxn>
                <a:cxn ang="0">
                  <a:pos x="33" y="21"/>
                </a:cxn>
                <a:cxn ang="0">
                  <a:pos x="38" y="25"/>
                </a:cxn>
                <a:cxn ang="0">
                  <a:pos x="47" y="35"/>
                </a:cxn>
                <a:cxn ang="0">
                  <a:pos x="49" y="44"/>
                </a:cxn>
                <a:cxn ang="0">
                  <a:pos x="49" y="44"/>
                </a:cxn>
                <a:cxn ang="0">
                  <a:pos x="45" y="40"/>
                </a:cxn>
                <a:cxn ang="0">
                  <a:pos x="45" y="40"/>
                </a:cxn>
                <a:cxn ang="0">
                  <a:pos x="33" y="33"/>
                </a:cxn>
                <a:cxn ang="0">
                  <a:pos x="19" y="25"/>
                </a:cxn>
                <a:cxn ang="0">
                  <a:pos x="7" y="18"/>
                </a:cxn>
                <a:cxn ang="0">
                  <a:pos x="3" y="14"/>
                </a:cxn>
                <a:cxn ang="0">
                  <a:pos x="2" y="11"/>
                </a:cxn>
                <a:cxn ang="0">
                  <a:pos x="2" y="11"/>
                </a:cxn>
                <a:cxn ang="0">
                  <a:pos x="0" y="0"/>
                </a:cxn>
                <a:cxn ang="0">
                  <a:pos x="2" y="0"/>
                </a:cxn>
                <a:cxn ang="0">
                  <a:pos x="5" y="2"/>
                </a:cxn>
                <a:cxn ang="0">
                  <a:pos x="5" y="2"/>
                </a:cxn>
              </a:cxnLst>
              <a:rect l="0" t="0" r="r" b="b"/>
              <a:pathLst>
                <a:path w="49" h="44">
                  <a:moveTo>
                    <a:pt x="5" y="2"/>
                  </a:moveTo>
                  <a:lnTo>
                    <a:pt x="5" y="2"/>
                  </a:lnTo>
                  <a:lnTo>
                    <a:pt x="14" y="6"/>
                  </a:lnTo>
                  <a:lnTo>
                    <a:pt x="17" y="9"/>
                  </a:lnTo>
                  <a:lnTo>
                    <a:pt x="21" y="13"/>
                  </a:lnTo>
                  <a:lnTo>
                    <a:pt x="28" y="18"/>
                  </a:lnTo>
                  <a:lnTo>
                    <a:pt x="28" y="18"/>
                  </a:lnTo>
                  <a:lnTo>
                    <a:pt x="33" y="21"/>
                  </a:lnTo>
                  <a:lnTo>
                    <a:pt x="38" y="25"/>
                  </a:lnTo>
                  <a:lnTo>
                    <a:pt x="47" y="35"/>
                  </a:lnTo>
                  <a:lnTo>
                    <a:pt x="49" y="44"/>
                  </a:lnTo>
                  <a:lnTo>
                    <a:pt x="49" y="44"/>
                  </a:lnTo>
                  <a:lnTo>
                    <a:pt x="45" y="40"/>
                  </a:lnTo>
                  <a:lnTo>
                    <a:pt x="45" y="40"/>
                  </a:lnTo>
                  <a:lnTo>
                    <a:pt x="33" y="33"/>
                  </a:lnTo>
                  <a:lnTo>
                    <a:pt x="19" y="25"/>
                  </a:lnTo>
                  <a:lnTo>
                    <a:pt x="7" y="18"/>
                  </a:lnTo>
                  <a:lnTo>
                    <a:pt x="3" y="14"/>
                  </a:lnTo>
                  <a:lnTo>
                    <a:pt x="2" y="11"/>
                  </a:lnTo>
                  <a:lnTo>
                    <a:pt x="2" y="11"/>
                  </a:lnTo>
                  <a:lnTo>
                    <a:pt x="0" y="0"/>
                  </a:lnTo>
                  <a:lnTo>
                    <a:pt x="2" y="0"/>
                  </a:lnTo>
                  <a:lnTo>
                    <a:pt x="5" y="2"/>
                  </a:lnTo>
                  <a:lnTo>
                    <a:pt x="5"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4" name="Freeform 1987">
              <a:extLst>
                <a:ext uri="{FF2B5EF4-FFF2-40B4-BE49-F238E27FC236}">
                  <a16:creationId xmlns:a16="http://schemas.microsoft.com/office/drawing/2014/main" id="{57668566-66A6-4E26-A06B-A1CF663C8A3B}"/>
                </a:ext>
              </a:extLst>
            </p:cNvPr>
            <p:cNvSpPr>
              <a:spLocks/>
            </p:cNvSpPr>
            <p:nvPr/>
          </p:nvSpPr>
          <p:spPr bwMode="auto">
            <a:xfrm>
              <a:off x="6164572" y="1616809"/>
              <a:ext cx="177962" cy="149769"/>
            </a:xfrm>
            <a:custGeom>
              <a:avLst/>
              <a:gdLst/>
              <a:ahLst/>
              <a:cxnLst>
                <a:cxn ang="0">
                  <a:pos x="218" y="176"/>
                </a:cxn>
                <a:cxn ang="0">
                  <a:pos x="197" y="183"/>
                </a:cxn>
                <a:cxn ang="0">
                  <a:pos x="181" y="185"/>
                </a:cxn>
                <a:cxn ang="0">
                  <a:pos x="153" y="180"/>
                </a:cxn>
                <a:cxn ang="0">
                  <a:pos x="141" y="180"/>
                </a:cxn>
                <a:cxn ang="0">
                  <a:pos x="120" y="178"/>
                </a:cxn>
                <a:cxn ang="0">
                  <a:pos x="115" y="173"/>
                </a:cxn>
                <a:cxn ang="0">
                  <a:pos x="101" y="169"/>
                </a:cxn>
                <a:cxn ang="0">
                  <a:pos x="87" y="168"/>
                </a:cxn>
                <a:cxn ang="0">
                  <a:pos x="70" y="166"/>
                </a:cxn>
                <a:cxn ang="0">
                  <a:pos x="71" y="164"/>
                </a:cxn>
                <a:cxn ang="0">
                  <a:pos x="78" y="157"/>
                </a:cxn>
                <a:cxn ang="0">
                  <a:pos x="84" y="148"/>
                </a:cxn>
                <a:cxn ang="0">
                  <a:pos x="80" y="140"/>
                </a:cxn>
                <a:cxn ang="0">
                  <a:pos x="77" y="136"/>
                </a:cxn>
                <a:cxn ang="0">
                  <a:pos x="70" y="128"/>
                </a:cxn>
                <a:cxn ang="0">
                  <a:pos x="68" y="133"/>
                </a:cxn>
                <a:cxn ang="0">
                  <a:pos x="68" y="145"/>
                </a:cxn>
                <a:cxn ang="0">
                  <a:pos x="63" y="150"/>
                </a:cxn>
                <a:cxn ang="0">
                  <a:pos x="54" y="150"/>
                </a:cxn>
                <a:cxn ang="0">
                  <a:pos x="49" y="147"/>
                </a:cxn>
                <a:cxn ang="0">
                  <a:pos x="37" y="138"/>
                </a:cxn>
                <a:cxn ang="0">
                  <a:pos x="38" y="131"/>
                </a:cxn>
                <a:cxn ang="0">
                  <a:pos x="45" y="126"/>
                </a:cxn>
                <a:cxn ang="0">
                  <a:pos x="31" y="124"/>
                </a:cxn>
                <a:cxn ang="0">
                  <a:pos x="19" y="122"/>
                </a:cxn>
                <a:cxn ang="0">
                  <a:pos x="5" y="119"/>
                </a:cxn>
                <a:cxn ang="0">
                  <a:pos x="0" y="110"/>
                </a:cxn>
                <a:cxn ang="0">
                  <a:pos x="7" y="88"/>
                </a:cxn>
                <a:cxn ang="0">
                  <a:pos x="12" y="81"/>
                </a:cxn>
                <a:cxn ang="0">
                  <a:pos x="19" y="77"/>
                </a:cxn>
                <a:cxn ang="0">
                  <a:pos x="28" y="81"/>
                </a:cxn>
                <a:cxn ang="0">
                  <a:pos x="37" y="77"/>
                </a:cxn>
                <a:cxn ang="0">
                  <a:pos x="42" y="68"/>
                </a:cxn>
                <a:cxn ang="0">
                  <a:pos x="45" y="53"/>
                </a:cxn>
                <a:cxn ang="0">
                  <a:pos x="40" y="44"/>
                </a:cxn>
                <a:cxn ang="0">
                  <a:pos x="40" y="39"/>
                </a:cxn>
                <a:cxn ang="0">
                  <a:pos x="52" y="30"/>
                </a:cxn>
                <a:cxn ang="0">
                  <a:pos x="61" y="27"/>
                </a:cxn>
                <a:cxn ang="0">
                  <a:pos x="64" y="20"/>
                </a:cxn>
                <a:cxn ang="0">
                  <a:pos x="64" y="14"/>
                </a:cxn>
                <a:cxn ang="0">
                  <a:pos x="78" y="9"/>
                </a:cxn>
                <a:cxn ang="0">
                  <a:pos x="97" y="7"/>
                </a:cxn>
                <a:cxn ang="0">
                  <a:pos x="141" y="0"/>
                </a:cxn>
                <a:cxn ang="0">
                  <a:pos x="148" y="0"/>
                </a:cxn>
                <a:cxn ang="0">
                  <a:pos x="165" y="9"/>
                </a:cxn>
                <a:cxn ang="0">
                  <a:pos x="178" y="16"/>
                </a:cxn>
                <a:cxn ang="0">
                  <a:pos x="176" y="23"/>
                </a:cxn>
                <a:cxn ang="0">
                  <a:pos x="162" y="35"/>
                </a:cxn>
                <a:cxn ang="0">
                  <a:pos x="146" y="54"/>
                </a:cxn>
                <a:cxn ang="0">
                  <a:pos x="141" y="68"/>
                </a:cxn>
                <a:cxn ang="0">
                  <a:pos x="139" y="82"/>
                </a:cxn>
                <a:cxn ang="0">
                  <a:pos x="143" y="100"/>
                </a:cxn>
                <a:cxn ang="0">
                  <a:pos x="155" y="115"/>
                </a:cxn>
                <a:cxn ang="0">
                  <a:pos x="164" y="131"/>
                </a:cxn>
                <a:cxn ang="0">
                  <a:pos x="171" y="140"/>
                </a:cxn>
                <a:cxn ang="0">
                  <a:pos x="190" y="154"/>
                </a:cxn>
                <a:cxn ang="0">
                  <a:pos x="211" y="164"/>
                </a:cxn>
                <a:cxn ang="0">
                  <a:pos x="219" y="169"/>
                </a:cxn>
                <a:cxn ang="0">
                  <a:pos x="219" y="173"/>
                </a:cxn>
                <a:cxn ang="0">
                  <a:pos x="218" y="176"/>
                </a:cxn>
              </a:cxnLst>
              <a:rect l="0" t="0" r="r" b="b"/>
              <a:pathLst>
                <a:path w="221" h="185">
                  <a:moveTo>
                    <a:pt x="218" y="176"/>
                  </a:moveTo>
                  <a:lnTo>
                    <a:pt x="218" y="176"/>
                  </a:lnTo>
                  <a:lnTo>
                    <a:pt x="205" y="182"/>
                  </a:lnTo>
                  <a:lnTo>
                    <a:pt x="197" y="183"/>
                  </a:lnTo>
                  <a:lnTo>
                    <a:pt x="188" y="185"/>
                  </a:lnTo>
                  <a:lnTo>
                    <a:pt x="181" y="185"/>
                  </a:lnTo>
                  <a:lnTo>
                    <a:pt x="164" y="182"/>
                  </a:lnTo>
                  <a:lnTo>
                    <a:pt x="153" y="180"/>
                  </a:lnTo>
                  <a:lnTo>
                    <a:pt x="141" y="180"/>
                  </a:lnTo>
                  <a:lnTo>
                    <a:pt x="141" y="180"/>
                  </a:lnTo>
                  <a:lnTo>
                    <a:pt x="125" y="178"/>
                  </a:lnTo>
                  <a:lnTo>
                    <a:pt x="120" y="178"/>
                  </a:lnTo>
                  <a:lnTo>
                    <a:pt x="118" y="176"/>
                  </a:lnTo>
                  <a:lnTo>
                    <a:pt x="115" y="173"/>
                  </a:lnTo>
                  <a:lnTo>
                    <a:pt x="110" y="171"/>
                  </a:lnTo>
                  <a:lnTo>
                    <a:pt x="101" y="169"/>
                  </a:lnTo>
                  <a:lnTo>
                    <a:pt x="87" y="168"/>
                  </a:lnTo>
                  <a:lnTo>
                    <a:pt x="87" y="168"/>
                  </a:lnTo>
                  <a:lnTo>
                    <a:pt x="75" y="166"/>
                  </a:lnTo>
                  <a:lnTo>
                    <a:pt x="70" y="166"/>
                  </a:lnTo>
                  <a:lnTo>
                    <a:pt x="70" y="164"/>
                  </a:lnTo>
                  <a:lnTo>
                    <a:pt x="71" y="164"/>
                  </a:lnTo>
                  <a:lnTo>
                    <a:pt x="75" y="161"/>
                  </a:lnTo>
                  <a:lnTo>
                    <a:pt x="78" y="157"/>
                  </a:lnTo>
                  <a:lnTo>
                    <a:pt x="82" y="152"/>
                  </a:lnTo>
                  <a:lnTo>
                    <a:pt x="84" y="148"/>
                  </a:lnTo>
                  <a:lnTo>
                    <a:pt x="82" y="145"/>
                  </a:lnTo>
                  <a:lnTo>
                    <a:pt x="80" y="140"/>
                  </a:lnTo>
                  <a:lnTo>
                    <a:pt x="77" y="136"/>
                  </a:lnTo>
                  <a:lnTo>
                    <a:pt x="77" y="136"/>
                  </a:lnTo>
                  <a:lnTo>
                    <a:pt x="71" y="129"/>
                  </a:lnTo>
                  <a:lnTo>
                    <a:pt x="70" y="128"/>
                  </a:lnTo>
                  <a:lnTo>
                    <a:pt x="68" y="128"/>
                  </a:lnTo>
                  <a:lnTo>
                    <a:pt x="68" y="133"/>
                  </a:lnTo>
                  <a:lnTo>
                    <a:pt x="68" y="138"/>
                  </a:lnTo>
                  <a:lnTo>
                    <a:pt x="68" y="145"/>
                  </a:lnTo>
                  <a:lnTo>
                    <a:pt x="64" y="150"/>
                  </a:lnTo>
                  <a:lnTo>
                    <a:pt x="63" y="150"/>
                  </a:lnTo>
                  <a:lnTo>
                    <a:pt x="59" y="152"/>
                  </a:lnTo>
                  <a:lnTo>
                    <a:pt x="54" y="150"/>
                  </a:lnTo>
                  <a:lnTo>
                    <a:pt x="49" y="147"/>
                  </a:lnTo>
                  <a:lnTo>
                    <a:pt x="49" y="147"/>
                  </a:lnTo>
                  <a:lnTo>
                    <a:pt x="38" y="140"/>
                  </a:lnTo>
                  <a:lnTo>
                    <a:pt x="37" y="138"/>
                  </a:lnTo>
                  <a:lnTo>
                    <a:pt x="37" y="135"/>
                  </a:lnTo>
                  <a:lnTo>
                    <a:pt x="38" y="131"/>
                  </a:lnTo>
                  <a:lnTo>
                    <a:pt x="42" y="128"/>
                  </a:lnTo>
                  <a:lnTo>
                    <a:pt x="45" y="126"/>
                  </a:lnTo>
                  <a:lnTo>
                    <a:pt x="45" y="124"/>
                  </a:lnTo>
                  <a:lnTo>
                    <a:pt x="31" y="124"/>
                  </a:lnTo>
                  <a:lnTo>
                    <a:pt x="31" y="124"/>
                  </a:lnTo>
                  <a:lnTo>
                    <a:pt x="19" y="122"/>
                  </a:lnTo>
                  <a:lnTo>
                    <a:pt x="10" y="121"/>
                  </a:lnTo>
                  <a:lnTo>
                    <a:pt x="5" y="119"/>
                  </a:lnTo>
                  <a:lnTo>
                    <a:pt x="2" y="115"/>
                  </a:lnTo>
                  <a:lnTo>
                    <a:pt x="0" y="110"/>
                  </a:lnTo>
                  <a:lnTo>
                    <a:pt x="2" y="105"/>
                  </a:lnTo>
                  <a:lnTo>
                    <a:pt x="7" y="88"/>
                  </a:lnTo>
                  <a:lnTo>
                    <a:pt x="7" y="88"/>
                  </a:lnTo>
                  <a:lnTo>
                    <a:pt x="12" y="81"/>
                  </a:lnTo>
                  <a:lnTo>
                    <a:pt x="16" y="77"/>
                  </a:lnTo>
                  <a:lnTo>
                    <a:pt x="19" y="77"/>
                  </a:lnTo>
                  <a:lnTo>
                    <a:pt x="24" y="79"/>
                  </a:lnTo>
                  <a:lnTo>
                    <a:pt x="28" y="81"/>
                  </a:lnTo>
                  <a:lnTo>
                    <a:pt x="31" y="79"/>
                  </a:lnTo>
                  <a:lnTo>
                    <a:pt x="37" y="77"/>
                  </a:lnTo>
                  <a:lnTo>
                    <a:pt x="42" y="68"/>
                  </a:lnTo>
                  <a:lnTo>
                    <a:pt x="42" y="68"/>
                  </a:lnTo>
                  <a:lnTo>
                    <a:pt x="45" y="60"/>
                  </a:lnTo>
                  <a:lnTo>
                    <a:pt x="45" y="53"/>
                  </a:lnTo>
                  <a:lnTo>
                    <a:pt x="44" y="47"/>
                  </a:lnTo>
                  <a:lnTo>
                    <a:pt x="40" y="44"/>
                  </a:lnTo>
                  <a:lnTo>
                    <a:pt x="38" y="41"/>
                  </a:lnTo>
                  <a:lnTo>
                    <a:pt x="40" y="39"/>
                  </a:lnTo>
                  <a:lnTo>
                    <a:pt x="44" y="35"/>
                  </a:lnTo>
                  <a:lnTo>
                    <a:pt x="52" y="30"/>
                  </a:lnTo>
                  <a:lnTo>
                    <a:pt x="52" y="30"/>
                  </a:lnTo>
                  <a:lnTo>
                    <a:pt x="61" y="27"/>
                  </a:lnTo>
                  <a:lnTo>
                    <a:pt x="64" y="23"/>
                  </a:lnTo>
                  <a:lnTo>
                    <a:pt x="64" y="20"/>
                  </a:lnTo>
                  <a:lnTo>
                    <a:pt x="64" y="16"/>
                  </a:lnTo>
                  <a:lnTo>
                    <a:pt x="64" y="14"/>
                  </a:lnTo>
                  <a:lnTo>
                    <a:pt x="70" y="13"/>
                  </a:lnTo>
                  <a:lnTo>
                    <a:pt x="78" y="9"/>
                  </a:lnTo>
                  <a:lnTo>
                    <a:pt x="97" y="7"/>
                  </a:lnTo>
                  <a:lnTo>
                    <a:pt x="97" y="7"/>
                  </a:lnTo>
                  <a:lnTo>
                    <a:pt x="129" y="2"/>
                  </a:lnTo>
                  <a:lnTo>
                    <a:pt x="141" y="0"/>
                  </a:lnTo>
                  <a:lnTo>
                    <a:pt x="145" y="0"/>
                  </a:lnTo>
                  <a:lnTo>
                    <a:pt x="148" y="0"/>
                  </a:lnTo>
                  <a:lnTo>
                    <a:pt x="165" y="9"/>
                  </a:lnTo>
                  <a:lnTo>
                    <a:pt x="165" y="9"/>
                  </a:lnTo>
                  <a:lnTo>
                    <a:pt x="174" y="13"/>
                  </a:lnTo>
                  <a:lnTo>
                    <a:pt x="178" y="16"/>
                  </a:lnTo>
                  <a:lnTo>
                    <a:pt x="178" y="18"/>
                  </a:lnTo>
                  <a:lnTo>
                    <a:pt x="176" y="23"/>
                  </a:lnTo>
                  <a:lnTo>
                    <a:pt x="171" y="28"/>
                  </a:lnTo>
                  <a:lnTo>
                    <a:pt x="162" y="35"/>
                  </a:lnTo>
                  <a:lnTo>
                    <a:pt x="153" y="44"/>
                  </a:lnTo>
                  <a:lnTo>
                    <a:pt x="146" y="54"/>
                  </a:lnTo>
                  <a:lnTo>
                    <a:pt x="143" y="61"/>
                  </a:lnTo>
                  <a:lnTo>
                    <a:pt x="141" y="68"/>
                  </a:lnTo>
                  <a:lnTo>
                    <a:pt x="141" y="68"/>
                  </a:lnTo>
                  <a:lnTo>
                    <a:pt x="139" y="82"/>
                  </a:lnTo>
                  <a:lnTo>
                    <a:pt x="141" y="93"/>
                  </a:lnTo>
                  <a:lnTo>
                    <a:pt x="143" y="100"/>
                  </a:lnTo>
                  <a:lnTo>
                    <a:pt x="146" y="107"/>
                  </a:lnTo>
                  <a:lnTo>
                    <a:pt x="155" y="115"/>
                  </a:lnTo>
                  <a:lnTo>
                    <a:pt x="160" y="122"/>
                  </a:lnTo>
                  <a:lnTo>
                    <a:pt x="164" y="131"/>
                  </a:lnTo>
                  <a:lnTo>
                    <a:pt x="164" y="131"/>
                  </a:lnTo>
                  <a:lnTo>
                    <a:pt x="171" y="140"/>
                  </a:lnTo>
                  <a:lnTo>
                    <a:pt x="179" y="147"/>
                  </a:lnTo>
                  <a:lnTo>
                    <a:pt x="190" y="154"/>
                  </a:lnTo>
                  <a:lnTo>
                    <a:pt x="202" y="159"/>
                  </a:lnTo>
                  <a:lnTo>
                    <a:pt x="211" y="164"/>
                  </a:lnTo>
                  <a:lnTo>
                    <a:pt x="218" y="168"/>
                  </a:lnTo>
                  <a:lnTo>
                    <a:pt x="219" y="169"/>
                  </a:lnTo>
                  <a:lnTo>
                    <a:pt x="221" y="171"/>
                  </a:lnTo>
                  <a:lnTo>
                    <a:pt x="219" y="173"/>
                  </a:lnTo>
                  <a:lnTo>
                    <a:pt x="218" y="176"/>
                  </a:lnTo>
                  <a:lnTo>
                    <a:pt x="218" y="17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5" name="Freeform 1988">
              <a:extLst>
                <a:ext uri="{FF2B5EF4-FFF2-40B4-BE49-F238E27FC236}">
                  <a16:creationId xmlns:a16="http://schemas.microsoft.com/office/drawing/2014/main" id="{E5A81632-62F3-48BE-AC8A-D85DAD8FB90D}"/>
                </a:ext>
              </a:extLst>
            </p:cNvPr>
            <p:cNvSpPr>
              <a:spLocks/>
            </p:cNvSpPr>
            <p:nvPr/>
          </p:nvSpPr>
          <p:spPr bwMode="auto">
            <a:xfrm>
              <a:off x="6231531" y="1421224"/>
              <a:ext cx="433451" cy="202632"/>
            </a:xfrm>
            <a:custGeom>
              <a:avLst/>
              <a:gdLst/>
              <a:ahLst/>
              <a:cxnLst>
                <a:cxn ang="0">
                  <a:pos x="77" y="238"/>
                </a:cxn>
                <a:cxn ang="0">
                  <a:pos x="58" y="235"/>
                </a:cxn>
                <a:cxn ang="0">
                  <a:pos x="31" y="240"/>
                </a:cxn>
                <a:cxn ang="0">
                  <a:pos x="19" y="238"/>
                </a:cxn>
                <a:cxn ang="0">
                  <a:pos x="26" y="230"/>
                </a:cxn>
                <a:cxn ang="0">
                  <a:pos x="17" y="226"/>
                </a:cxn>
                <a:cxn ang="0">
                  <a:pos x="0" y="223"/>
                </a:cxn>
                <a:cxn ang="0">
                  <a:pos x="11" y="210"/>
                </a:cxn>
                <a:cxn ang="0">
                  <a:pos x="40" y="195"/>
                </a:cxn>
                <a:cxn ang="0">
                  <a:pos x="58" y="174"/>
                </a:cxn>
                <a:cxn ang="0">
                  <a:pos x="70" y="158"/>
                </a:cxn>
                <a:cxn ang="0">
                  <a:pos x="84" y="156"/>
                </a:cxn>
                <a:cxn ang="0">
                  <a:pos x="84" y="151"/>
                </a:cxn>
                <a:cxn ang="0">
                  <a:pos x="80" y="144"/>
                </a:cxn>
                <a:cxn ang="0">
                  <a:pos x="87" y="139"/>
                </a:cxn>
                <a:cxn ang="0">
                  <a:pos x="80" y="130"/>
                </a:cxn>
                <a:cxn ang="0">
                  <a:pos x="82" y="122"/>
                </a:cxn>
                <a:cxn ang="0">
                  <a:pos x="92" y="118"/>
                </a:cxn>
                <a:cxn ang="0">
                  <a:pos x="98" y="123"/>
                </a:cxn>
                <a:cxn ang="0">
                  <a:pos x="110" y="118"/>
                </a:cxn>
                <a:cxn ang="0">
                  <a:pos x="122" y="111"/>
                </a:cxn>
                <a:cxn ang="0">
                  <a:pos x="131" y="115"/>
                </a:cxn>
                <a:cxn ang="0">
                  <a:pos x="143" y="106"/>
                </a:cxn>
                <a:cxn ang="0">
                  <a:pos x="164" y="89"/>
                </a:cxn>
                <a:cxn ang="0">
                  <a:pos x="209" y="68"/>
                </a:cxn>
                <a:cxn ang="0">
                  <a:pos x="247" y="61"/>
                </a:cxn>
                <a:cxn ang="0">
                  <a:pos x="256" y="61"/>
                </a:cxn>
                <a:cxn ang="0">
                  <a:pos x="254" y="54"/>
                </a:cxn>
                <a:cxn ang="0">
                  <a:pos x="277" y="45"/>
                </a:cxn>
                <a:cxn ang="0">
                  <a:pos x="298" y="47"/>
                </a:cxn>
                <a:cxn ang="0">
                  <a:pos x="310" y="54"/>
                </a:cxn>
                <a:cxn ang="0">
                  <a:pos x="340" y="47"/>
                </a:cxn>
                <a:cxn ang="0">
                  <a:pos x="374" y="38"/>
                </a:cxn>
                <a:cxn ang="0">
                  <a:pos x="404" y="31"/>
                </a:cxn>
                <a:cxn ang="0">
                  <a:pos x="425" y="21"/>
                </a:cxn>
                <a:cxn ang="0">
                  <a:pos x="435" y="14"/>
                </a:cxn>
                <a:cxn ang="0">
                  <a:pos x="481" y="0"/>
                </a:cxn>
                <a:cxn ang="0">
                  <a:pos x="531" y="7"/>
                </a:cxn>
                <a:cxn ang="0">
                  <a:pos x="542" y="19"/>
                </a:cxn>
                <a:cxn ang="0">
                  <a:pos x="538" y="31"/>
                </a:cxn>
                <a:cxn ang="0">
                  <a:pos x="524" y="42"/>
                </a:cxn>
                <a:cxn ang="0">
                  <a:pos x="413" y="75"/>
                </a:cxn>
                <a:cxn ang="0">
                  <a:pos x="289" y="111"/>
                </a:cxn>
                <a:cxn ang="0">
                  <a:pos x="258" y="127"/>
                </a:cxn>
                <a:cxn ang="0">
                  <a:pos x="246" y="141"/>
                </a:cxn>
                <a:cxn ang="0">
                  <a:pos x="225" y="155"/>
                </a:cxn>
                <a:cxn ang="0">
                  <a:pos x="186" y="169"/>
                </a:cxn>
                <a:cxn ang="0">
                  <a:pos x="179" y="183"/>
                </a:cxn>
                <a:cxn ang="0">
                  <a:pos x="176" y="190"/>
                </a:cxn>
                <a:cxn ang="0">
                  <a:pos x="159" y="198"/>
                </a:cxn>
                <a:cxn ang="0">
                  <a:pos x="152" y="212"/>
                </a:cxn>
                <a:cxn ang="0">
                  <a:pos x="141" y="228"/>
                </a:cxn>
                <a:cxn ang="0">
                  <a:pos x="127" y="233"/>
                </a:cxn>
                <a:cxn ang="0">
                  <a:pos x="124" y="242"/>
                </a:cxn>
                <a:cxn ang="0">
                  <a:pos x="112" y="250"/>
                </a:cxn>
                <a:cxn ang="0">
                  <a:pos x="92" y="249"/>
                </a:cxn>
              </a:cxnLst>
              <a:rect l="0" t="0" r="r" b="b"/>
              <a:pathLst>
                <a:path w="543" h="250">
                  <a:moveTo>
                    <a:pt x="92" y="249"/>
                  </a:moveTo>
                  <a:lnTo>
                    <a:pt x="92" y="249"/>
                  </a:lnTo>
                  <a:lnTo>
                    <a:pt x="77" y="238"/>
                  </a:lnTo>
                  <a:lnTo>
                    <a:pt x="70" y="237"/>
                  </a:lnTo>
                  <a:lnTo>
                    <a:pt x="65" y="235"/>
                  </a:lnTo>
                  <a:lnTo>
                    <a:pt x="58" y="235"/>
                  </a:lnTo>
                  <a:lnTo>
                    <a:pt x="51" y="235"/>
                  </a:lnTo>
                  <a:lnTo>
                    <a:pt x="31" y="240"/>
                  </a:lnTo>
                  <a:lnTo>
                    <a:pt x="31" y="240"/>
                  </a:lnTo>
                  <a:lnTo>
                    <a:pt x="23" y="242"/>
                  </a:lnTo>
                  <a:lnTo>
                    <a:pt x="19" y="240"/>
                  </a:lnTo>
                  <a:lnTo>
                    <a:pt x="19" y="238"/>
                  </a:lnTo>
                  <a:lnTo>
                    <a:pt x="23" y="235"/>
                  </a:lnTo>
                  <a:lnTo>
                    <a:pt x="24" y="231"/>
                  </a:lnTo>
                  <a:lnTo>
                    <a:pt x="26" y="230"/>
                  </a:lnTo>
                  <a:lnTo>
                    <a:pt x="24" y="226"/>
                  </a:lnTo>
                  <a:lnTo>
                    <a:pt x="17" y="226"/>
                  </a:lnTo>
                  <a:lnTo>
                    <a:pt x="17" y="226"/>
                  </a:lnTo>
                  <a:lnTo>
                    <a:pt x="9" y="226"/>
                  </a:lnTo>
                  <a:lnTo>
                    <a:pt x="2" y="224"/>
                  </a:lnTo>
                  <a:lnTo>
                    <a:pt x="0" y="223"/>
                  </a:lnTo>
                  <a:lnTo>
                    <a:pt x="0" y="219"/>
                  </a:lnTo>
                  <a:lnTo>
                    <a:pt x="4" y="216"/>
                  </a:lnTo>
                  <a:lnTo>
                    <a:pt x="11" y="210"/>
                  </a:lnTo>
                  <a:lnTo>
                    <a:pt x="30" y="200"/>
                  </a:lnTo>
                  <a:lnTo>
                    <a:pt x="30" y="200"/>
                  </a:lnTo>
                  <a:lnTo>
                    <a:pt x="40" y="195"/>
                  </a:lnTo>
                  <a:lnTo>
                    <a:pt x="49" y="188"/>
                  </a:lnTo>
                  <a:lnTo>
                    <a:pt x="54" y="181"/>
                  </a:lnTo>
                  <a:lnTo>
                    <a:pt x="58" y="174"/>
                  </a:lnTo>
                  <a:lnTo>
                    <a:pt x="61" y="167"/>
                  </a:lnTo>
                  <a:lnTo>
                    <a:pt x="65" y="162"/>
                  </a:lnTo>
                  <a:lnTo>
                    <a:pt x="70" y="158"/>
                  </a:lnTo>
                  <a:lnTo>
                    <a:pt x="77" y="156"/>
                  </a:lnTo>
                  <a:lnTo>
                    <a:pt x="77" y="156"/>
                  </a:lnTo>
                  <a:lnTo>
                    <a:pt x="84" y="156"/>
                  </a:lnTo>
                  <a:lnTo>
                    <a:pt x="87" y="155"/>
                  </a:lnTo>
                  <a:lnTo>
                    <a:pt x="85" y="153"/>
                  </a:lnTo>
                  <a:lnTo>
                    <a:pt x="84" y="151"/>
                  </a:lnTo>
                  <a:lnTo>
                    <a:pt x="80" y="149"/>
                  </a:lnTo>
                  <a:lnTo>
                    <a:pt x="78" y="146"/>
                  </a:lnTo>
                  <a:lnTo>
                    <a:pt x="80" y="144"/>
                  </a:lnTo>
                  <a:lnTo>
                    <a:pt x="84" y="142"/>
                  </a:lnTo>
                  <a:lnTo>
                    <a:pt x="84" y="142"/>
                  </a:lnTo>
                  <a:lnTo>
                    <a:pt x="87" y="139"/>
                  </a:lnTo>
                  <a:lnTo>
                    <a:pt x="89" y="137"/>
                  </a:lnTo>
                  <a:lnTo>
                    <a:pt x="82" y="134"/>
                  </a:lnTo>
                  <a:lnTo>
                    <a:pt x="80" y="130"/>
                  </a:lnTo>
                  <a:lnTo>
                    <a:pt x="77" y="129"/>
                  </a:lnTo>
                  <a:lnTo>
                    <a:pt x="78" y="125"/>
                  </a:lnTo>
                  <a:lnTo>
                    <a:pt x="82" y="122"/>
                  </a:lnTo>
                  <a:lnTo>
                    <a:pt x="82" y="122"/>
                  </a:lnTo>
                  <a:lnTo>
                    <a:pt x="87" y="118"/>
                  </a:lnTo>
                  <a:lnTo>
                    <a:pt x="92" y="118"/>
                  </a:lnTo>
                  <a:lnTo>
                    <a:pt x="94" y="120"/>
                  </a:lnTo>
                  <a:lnTo>
                    <a:pt x="96" y="122"/>
                  </a:lnTo>
                  <a:lnTo>
                    <a:pt x="98" y="123"/>
                  </a:lnTo>
                  <a:lnTo>
                    <a:pt x="99" y="123"/>
                  </a:lnTo>
                  <a:lnTo>
                    <a:pt x="105" y="122"/>
                  </a:lnTo>
                  <a:lnTo>
                    <a:pt x="110" y="118"/>
                  </a:lnTo>
                  <a:lnTo>
                    <a:pt x="110" y="118"/>
                  </a:lnTo>
                  <a:lnTo>
                    <a:pt x="117" y="113"/>
                  </a:lnTo>
                  <a:lnTo>
                    <a:pt x="122" y="111"/>
                  </a:lnTo>
                  <a:lnTo>
                    <a:pt x="125" y="111"/>
                  </a:lnTo>
                  <a:lnTo>
                    <a:pt x="127" y="113"/>
                  </a:lnTo>
                  <a:lnTo>
                    <a:pt x="131" y="115"/>
                  </a:lnTo>
                  <a:lnTo>
                    <a:pt x="132" y="115"/>
                  </a:lnTo>
                  <a:lnTo>
                    <a:pt x="138" y="113"/>
                  </a:lnTo>
                  <a:lnTo>
                    <a:pt x="143" y="106"/>
                  </a:lnTo>
                  <a:lnTo>
                    <a:pt x="143" y="106"/>
                  </a:lnTo>
                  <a:lnTo>
                    <a:pt x="152" y="97"/>
                  </a:lnTo>
                  <a:lnTo>
                    <a:pt x="164" y="89"/>
                  </a:lnTo>
                  <a:lnTo>
                    <a:pt x="178" y="80"/>
                  </a:lnTo>
                  <a:lnTo>
                    <a:pt x="193" y="73"/>
                  </a:lnTo>
                  <a:lnTo>
                    <a:pt x="209" y="68"/>
                  </a:lnTo>
                  <a:lnTo>
                    <a:pt x="223" y="64"/>
                  </a:lnTo>
                  <a:lnTo>
                    <a:pt x="237" y="61"/>
                  </a:lnTo>
                  <a:lnTo>
                    <a:pt x="247" y="61"/>
                  </a:lnTo>
                  <a:lnTo>
                    <a:pt x="247" y="61"/>
                  </a:lnTo>
                  <a:lnTo>
                    <a:pt x="254" y="61"/>
                  </a:lnTo>
                  <a:lnTo>
                    <a:pt x="256" y="61"/>
                  </a:lnTo>
                  <a:lnTo>
                    <a:pt x="256" y="59"/>
                  </a:lnTo>
                  <a:lnTo>
                    <a:pt x="254" y="55"/>
                  </a:lnTo>
                  <a:lnTo>
                    <a:pt x="254" y="54"/>
                  </a:lnTo>
                  <a:lnTo>
                    <a:pt x="256" y="50"/>
                  </a:lnTo>
                  <a:lnTo>
                    <a:pt x="263" y="47"/>
                  </a:lnTo>
                  <a:lnTo>
                    <a:pt x="277" y="45"/>
                  </a:lnTo>
                  <a:lnTo>
                    <a:pt x="277" y="45"/>
                  </a:lnTo>
                  <a:lnTo>
                    <a:pt x="291" y="45"/>
                  </a:lnTo>
                  <a:lnTo>
                    <a:pt x="298" y="47"/>
                  </a:lnTo>
                  <a:lnTo>
                    <a:pt x="303" y="48"/>
                  </a:lnTo>
                  <a:lnTo>
                    <a:pt x="307" y="52"/>
                  </a:lnTo>
                  <a:lnTo>
                    <a:pt x="310" y="54"/>
                  </a:lnTo>
                  <a:lnTo>
                    <a:pt x="315" y="54"/>
                  </a:lnTo>
                  <a:lnTo>
                    <a:pt x="324" y="52"/>
                  </a:lnTo>
                  <a:lnTo>
                    <a:pt x="340" y="47"/>
                  </a:lnTo>
                  <a:lnTo>
                    <a:pt x="340" y="47"/>
                  </a:lnTo>
                  <a:lnTo>
                    <a:pt x="364" y="40"/>
                  </a:lnTo>
                  <a:lnTo>
                    <a:pt x="374" y="38"/>
                  </a:lnTo>
                  <a:lnTo>
                    <a:pt x="383" y="38"/>
                  </a:lnTo>
                  <a:lnTo>
                    <a:pt x="404" y="31"/>
                  </a:lnTo>
                  <a:lnTo>
                    <a:pt x="404" y="31"/>
                  </a:lnTo>
                  <a:lnTo>
                    <a:pt x="416" y="28"/>
                  </a:lnTo>
                  <a:lnTo>
                    <a:pt x="423" y="24"/>
                  </a:lnTo>
                  <a:lnTo>
                    <a:pt x="425" y="21"/>
                  </a:lnTo>
                  <a:lnTo>
                    <a:pt x="427" y="19"/>
                  </a:lnTo>
                  <a:lnTo>
                    <a:pt x="430" y="15"/>
                  </a:lnTo>
                  <a:lnTo>
                    <a:pt x="435" y="14"/>
                  </a:lnTo>
                  <a:lnTo>
                    <a:pt x="460" y="5"/>
                  </a:lnTo>
                  <a:lnTo>
                    <a:pt x="460" y="5"/>
                  </a:lnTo>
                  <a:lnTo>
                    <a:pt x="481" y="0"/>
                  </a:lnTo>
                  <a:lnTo>
                    <a:pt x="500" y="0"/>
                  </a:lnTo>
                  <a:lnTo>
                    <a:pt x="517" y="3"/>
                  </a:lnTo>
                  <a:lnTo>
                    <a:pt x="531" y="7"/>
                  </a:lnTo>
                  <a:lnTo>
                    <a:pt x="536" y="10"/>
                  </a:lnTo>
                  <a:lnTo>
                    <a:pt x="540" y="14"/>
                  </a:lnTo>
                  <a:lnTo>
                    <a:pt x="542" y="19"/>
                  </a:lnTo>
                  <a:lnTo>
                    <a:pt x="543" y="22"/>
                  </a:lnTo>
                  <a:lnTo>
                    <a:pt x="542" y="28"/>
                  </a:lnTo>
                  <a:lnTo>
                    <a:pt x="538" y="31"/>
                  </a:lnTo>
                  <a:lnTo>
                    <a:pt x="531" y="36"/>
                  </a:lnTo>
                  <a:lnTo>
                    <a:pt x="524" y="42"/>
                  </a:lnTo>
                  <a:lnTo>
                    <a:pt x="524" y="42"/>
                  </a:lnTo>
                  <a:lnTo>
                    <a:pt x="502" y="50"/>
                  </a:lnTo>
                  <a:lnTo>
                    <a:pt x="475" y="59"/>
                  </a:lnTo>
                  <a:lnTo>
                    <a:pt x="413" y="75"/>
                  </a:lnTo>
                  <a:lnTo>
                    <a:pt x="347" y="92"/>
                  </a:lnTo>
                  <a:lnTo>
                    <a:pt x="317" y="101"/>
                  </a:lnTo>
                  <a:lnTo>
                    <a:pt x="289" y="111"/>
                  </a:lnTo>
                  <a:lnTo>
                    <a:pt x="289" y="111"/>
                  </a:lnTo>
                  <a:lnTo>
                    <a:pt x="270" y="120"/>
                  </a:lnTo>
                  <a:lnTo>
                    <a:pt x="258" y="127"/>
                  </a:lnTo>
                  <a:lnTo>
                    <a:pt x="251" y="132"/>
                  </a:lnTo>
                  <a:lnTo>
                    <a:pt x="247" y="137"/>
                  </a:lnTo>
                  <a:lnTo>
                    <a:pt x="246" y="141"/>
                  </a:lnTo>
                  <a:lnTo>
                    <a:pt x="242" y="144"/>
                  </a:lnTo>
                  <a:lnTo>
                    <a:pt x="237" y="149"/>
                  </a:lnTo>
                  <a:lnTo>
                    <a:pt x="225" y="155"/>
                  </a:lnTo>
                  <a:lnTo>
                    <a:pt x="225" y="155"/>
                  </a:lnTo>
                  <a:lnTo>
                    <a:pt x="200" y="163"/>
                  </a:lnTo>
                  <a:lnTo>
                    <a:pt x="186" y="169"/>
                  </a:lnTo>
                  <a:lnTo>
                    <a:pt x="185" y="170"/>
                  </a:lnTo>
                  <a:lnTo>
                    <a:pt x="181" y="174"/>
                  </a:lnTo>
                  <a:lnTo>
                    <a:pt x="179" y="183"/>
                  </a:lnTo>
                  <a:lnTo>
                    <a:pt x="179" y="183"/>
                  </a:lnTo>
                  <a:lnTo>
                    <a:pt x="178" y="186"/>
                  </a:lnTo>
                  <a:lnTo>
                    <a:pt x="176" y="190"/>
                  </a:lnTo>
                  <a:lnTo>
                    <a:pt x="167" y="193"/>
                  </a:lnTo>
                  <a:lnTo>
                    <a:pt x="162" y="195"/>
                  </a:lnTo>
                  <a:lnTo>
                    <a:pt x="159" y="198"/>
                  </a:lnTo>
                  <a:lnTo>
                    <a:pt x="155" y="203"/>
                  </a:lnTo>
                  <a:lnTo>
                    <a:pt x="152" y="212"/>
                  </a:lnTo>
                  <a:lnTo>
                    <a:pt x="152" y="212"/>
                  </a:lnTo>
                  <a:lnTo>
                    <a:pt x="150" y="219"/>
                  </a:lnTo>
                  <a:lnTo>
                    <a:pt x="145" y="224"/>
                  </a:lnTo>
                  <a:lnTo>
                    <a:pt x="141" y="228"/>
                  </a:lnTo>
                  <a:lnTo>
                    <a:pt x="138" y="228"/>
                  </a:lnTo>
                  <a:lnTo>
                    <a:pt x="131" y="230"/>
                  </a:lnTo>
                  <a:lnTo>
                    <a:pt x="127" y="233"/>
                  </a:lnTo>
                  <a:lnTo>
                    <a:pt x="125" y="237"/>
                  </a:lnTo>
                  <a:lnTo>
                    <a:pt x="125" y="237"/>
                  </a:lnTo>
                  <a:lnTo>
                    <a:pt x="124" y="242"/>
                  </a:lnTo>
                  <a:lnTo>
                    <a:pt x="120" y="247"/>
                  </a:lnTo>
                  <a:lnTo>
                    <a:pt x="117" y="249"/>
                  </a:lnTo>
                  <a:lnTo>
                    <a:pt x="112" y="250"/>
                  </a:lnTo>
                  <a:lnTo>
                    <a:pt x="101" y="250"/>
                  </a:lnTo>
                  <a:lnTo>
                    <a:pt x="92" y="249"/>
                  </a:lnTo>
                  <a:lnTo>
                    <a:pt x="92" y="249"/>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6" name="Freeform 1989">
              <a:extLst>
                <a:ext uri="{FF2B5EF4-FFF2-40B4-BE49-F238E27FC236}">
                  <a16:creationId xmlns:a16="http://schemas.microsoft.com/office/drawing/2014/main" id="{3D93487A-7D5B-4CE7-877D-2BF2C512027B}"/>
                </a:ext>
              </a:extLst>
            </p:cNvPr>
            <p:cNvSpPr>
              <a:spLocks/>
            </p:cNvSpPr>
            <p:nvPr/>
          </p:nvSpPr>
          <p:spPr bwMode="auto">
            <a:xfrm>
              <a:off x="8707138" y="2515430"/>
              <a:ext cx="86338" cy="352402"/>
            </a:xfrm>
            <a:custGeom>
              <a:avLst/>
              <a:gdLst/>
              <a:ahLst/>
              <a:cxnLst>
                <a:cxn ang="0">
                  <a:pos x="7" y="52"/>
                </a:cxn>
                <a:cxn ang="0">
                  <a:pos x="19" y="49"/>
                </a:cxn>
                <a:cxn ang="0">
                  <a:pos x="24" y="56"/>
                </a:cxn>
                <a:cxn ang="0">
                  <a:pos x="33" y="49"/>
                </a:cxn>
                <a:cxn ang="0">
                  <a:pos x="28" y="44"/>
                </a:cxn>
                <a:cxn ang="0">
                  <a:pos x="31" y="38"/>
                </a:cxn>
                <a:cxn ang="0">
                  <a:pos x="37" y="26"/>
                </a:cxn>
                <a:cxn ang="0">
                  <a:pos x="24" y="9"/>
                </a:cxn>
                <a:cxn ang="0">
                  <a:pos x="33" y="5"/>
                </a:cxn>
                <a:cxn ang="0">
                  <a:pos x="40" y="3"/>
                </a:cxn>
                <a:cxn ang="0">
                  <a:pos x="45" y="24"/>
                </a:cxn>
                <a:cxn ang="0">
                  <a:pos x="47" y="37"/>
                </a:cxn>
                <a:cxn ang="0">
                  <a:pos x="50" y="47"/>
                </a:cxn>
                <a:cxn ang="0">
                  <a:pos x="52" y="54"/>
                </a:cxn>
                <a:cxn ang="0">
                  <a:pos x="57" y="73"/>
                </a:cxn>
                <a:cxn ang="0">
                  <a:pos x="56" y="108"/>
                </a:cxn>
                <a:cxn ang="0">
                  <a:pos x="52" y="131"/>
                </a:cxn>
                <a:cxn ang="0">
                  <a:pos x="57" y="136"/>
                </a:cxn>
                <a:cxn ang="0">
                  <a:pos x="57" y="151"/>
                </a:cxn>
                <a:cxn ang="0">
                  <a:pos x="63" y="151"/>
                </a:cxn>
                <a:cxn ang="0">
                  <a:pos x="70" y="181"/>
                </a:cxn>
                <a:cxn ang="0">
                  <a:pos x="75" y="211"/>
                </a:cxn>
                <a:cxn ang="0">
                  <a:pos x="91" y="258"/>
                </a:cxn>
                <a:cxn ang="0">
                  <a:pos x="104" y="287"/>
                </a:cxn>
                <a:cxn ang="0">
                  <a:pos x="106" y="296"/>
                </a:cxn>
                <a:cxn ang="0">
                  <a:pos x="75" y="268"/>
                </a:cxn>
                <a:cxn ang="0">
                  <a:pos x="52" y="272"/>
                </a:cxn>
                <a:cxn ang="0">
                  <a:pos x="47" y="287"/>
                </a:cxn>
                <a:cxn ang="0">
                  <a:pos x="38" y="310"/>
                </a:cxn>
                <a:cxn ang="0">
                  <a:pos x="35" y="357"/>
                </a:cxn>
                <a:cxn ang="0">
                  <a:pos x="45" y="371"/>
                </a:cxn>
                <a:cxn ang="0">
                  <a:pos x="57" y="393"/>
                </a:cxn>
                <a:cxn ang="0">
                  <a:pos x="66" y="395"/>
                </a:cxn>
                <a:cxn ang="0">
                  <a:pos x="68" y="414"/>
                </a:cxn>
                <a:cxn ang="0">
                  <a:pos x="63" y="430"/>
                </a:cxn>
                <a:cxn ang="0">
                  <a:pos x="57" y="409"/>
                </a:cxn>
                <a:cxn ang="0">
                  <a:pos x="45" y="406"/>
                </a:cxn>
                <a:cxn ang="0">
                  <a:pos x="35" y="399"/>
                </a:cxn>
                <a:cxn ang="0">
                  <a:pos x="23" y="420"/>
                </a:cxn>
                <a:cxn ang="0">
                  <a:pos x="14" y="440"/>
                </a:cxn>
                <a:cxn ang="0">
                  <a:pos x="7" y="420"/>
                </a:cxn>
                <a:cxn ang="0">
                  <a:pos x="12" y="393"/>
                </a:cxn>
                <a:cxn ang="0">
                  <a:pos x="10" y="360"/>
                </a:cxn>
                <a:cxn ang="0">
                  <a:pos x="17" y="334"/>
                </a:cxn>
                <a:cxn ang="0">
                  <a:pos x="9" y="303"/>
                </a:cxn>
                <a:cxn ang="0">
                  <a:pos x="10" y="289"/>
                </a:cxn>
                <a:cxn ang="0">
                  <a:pos x="17" y="219"/>
                </a:cxn>
                <a:cxn ang="0">
                  <a:pos x="14" y="197"/>
                </a:cxn>
                <a:cxn ang="0">
                  <a:pos x="19" y="164"/>
                </a:cxn>
                <a:cxn ang="0">
                  <a:pos x="3" y="145"/>
                </a:cxn>
                <a:cxn ang="0">
                  <a:pos x="5" y="141"/>
                </a:cxn>
                <a:cxn ang="0">
                  <a:pos x="0" y="131"/>
                </a:cxn>
                <a:cxn ang="0">
                  <a:pos x="0" y="113"/>
                </a:cxn>
                <a:cxn ang="0">
                  <a:pos x="7" y="92"/>
                </a:cxn>
                <a:cxn ang="0">
                  <a:pos x="5" y="63"/>
                </a:cxn>
              </a:cxnLst>
              <a:rect l="0" t="0" r="r" b="b"/>
              <a:pathLst>
                <a:path w="108" h="440">
                  <a:moveTo>
                    <a:pt x="5" y="63"/>
                  </a:moveTo>
                  <a:lnTo>
                    <a:pt x="5" y="63"/>
                  </a:lnTo>
                  <a:lnTo>
                    <a:pt x="5" y="56"/>
                  </a:lnTo>
                  <a:lnTo>
                    <a:pt x="7" y="52"/>
                  </a:lnTo>
                  <a:lnTo>
                    <a:pt x="10" y="52"/>
                  </a:lnTo>
                  <a:lnTo>
                    <a:pt x="16" y="49"/>
                  </a:lnTo>
                  <a:lnTo>
                    <a:pt x="16" y="49"/>
                  </a:lnTo>
                  <a:lnTo>
                    <a:pt x="19" y="49"/>
                  </a:lnTo>
                  <a:lnTo>
                    <a:pt x="21" y="49"/>
                  </a:lnTo>
                  <a:lnTo>
                    <a:pt x="21" y="54"/>
                  </a:lnTo>
                  <a:lnTo>
                    <a:pt x="23" y="56"/>
                  </a:lnTo>
                  <a:lnTo>
                    <a:pt x="24" y="56"/>
                  </a:lnTo>
                  <a:lnTo>
                    <a:pt x="26" y="56"/>
                  </a:lnTo>
                  <a:lnTo>
                    <a:pt x="30" y="54"/>
                  </a:lnTo>
                  <a:lnTo>
                    <a:pt x="30" y="54"/>
                  </a:lnTo>
                  <a:lnTo>
                    <a:pt x="33" y="49"/>
                  </a:lnTo>
                  <a:lnTo>
                    <a:pt x="33" y="49"/>
                  </a:lnTo>
                  <a:lnTo>
                    <a:pt x="33" y="47"/>
                  </a:lnTo>
                  <a:lnTo>
                    <a:pt x="30" y="45"/>
                  </a:lnTo>
                  <a:lnTo>
                    <a:pt x="28" y="44"/>
                  </a:lnTo>
                  <a:lnTo>
                    <a:pt x="30" y="42"/>
                  </a:lnTo>
                  <a:lnTo>
                    <a:pt x="30" y="42"/>
                  </a:lnTo>
                  <a:lnTo>
                    <a:pt x="30" y="38"/>
                  </a:lnTo>
                  <a:lnTo>
                    <a:pt x="31" y="38"/>
                  </a:lnTo>
                  <a:lnTo>
                    <a:pt x="35" y="38"/>
                  </a:lnTo>
                  <a:lnTo>
                    <a:pt x="37" y="31"/>
                  </a:lnTo>
                  <a:lnTo>
                    <a:pt x="37" y="31"/>
                  </a:lnTo>
                  <a:lnTo>
                    <a:pt x="37" y="26"/>
                  </a:lnTo>
                  <a:lnTo>
                    <a:pt x="33" y="23"/>
                  </a:lnTo>
                  <a:lnTo>
                    <a:pt x="28" y="16"/>
                  </a:lnTo>
                  <a:lnTo>
                    <a:pt x="23" y="10"/>
                  </a:lnTo>
                  <a:lnTo>
                    <a:pt x="24" y="9"/>
                  </a:lnTo>
                  <a:lnTo>
                    <a:pt x="26" y="7"/>
                  </a:lnTo>
                  <a:lnTo>
                    <a:pt x="26" y="7"/>
                  </a:lnTo>
                  <a:lnTo>
                    <a:pt x="31" y="7"/>
                  </a:lnTo>
                  <a:lnTo>
                    <a:pt x="33" y="5"/>
                  </a:lnTo>
                  <a:lnTo>
                    <a:pt x="37" y="2"/>
                  </a:lnTo>
                  <a:lnTo>
                    <a:pt x="38" y="0"/>
                  </a:lnTo>
                  <a:lnTo>
                    <a:pt x="40" y="3"/>
                  </a:lnTo>
                  <a:lnTo>
                    <a:pt x="40" y="3"/>
                  </a:lnTo>
                  <a:lnTo>
                    <a:pt x="44" y="9"/>
                  </a:lnTo>
                  <a:lnTo>
                    <a:pt x="47" y="14"/>
                  </a:lnTo>
                  <a:lnTo>
                    <a:pt x="49" y="17"/>
                  </a:lnTo>
                  <a:lnTo>
                    <a:pt x="45" y="24"/>
                  </a:lnTo>
                  <a:lnTo>
                    <a:pt x="45" y="24"/>
                  </a:lnTo>
                  <a:lnTo>
                    <a:pt x="44" y="28"/>
                  </a:lnTo>
                  <a:lnTo>
                    <a:pt x="45" y="31"/>
                  </a:lnTo>
                  <a:lnTo>
                    <a:pt x="47" y="37"/>
                  </a:lnTo>
                  <a:lnTo>
                    <a:pt x="49" y="44"/>
                  </a:lnTo>
                  <a:lnTo>
                    <a:pt x="49" y="44"/>
                  </a:lnTo>
                  <a:lnTo>
                    <a:pt x="49" y="47"/>
                  </a:lnTo>
                  <a:lnTo>
                    <a:pt x="50" y="47"/>
                  </a:lnTo>
                  <a:lnTo>
                    <a:pt x="52" y="49"/>
                  </a:lnTo>
                  <a:lnTo>
                    <a:pt x="52" y="50"/>
                  </a:lnTo>
                  <a:lnTo>
                    <a:pt x="52" y="50"/>
                  </a:lnTo>
                  <a:lnTo>
                    <a:pt x="52" y="54"/>
                  </a:lnTo>
                  <a:lnTo>
                    <a:pt x="52" y="56"/>
                  </a:lnTo>
                  <a:lnTo>
                    <a:pt x="54" y="59"/>
                  </a:lnTo>
                  <a:lnTo>
                    <a:pt x="57" y="73"/>
                  </a:lnTo>
                  <a:lnTo>
                    <a:pt x="57" y="73"/>
                  </a:lnTo>
                  <a:lnTo>
                    <a:pt x="59" y="85"/>
                  </a:lnTo>
                  <a:lnTo>
                    <a:pt x="59" y="96"/>
                  </a:lnTo>
                  <a:lnTo>
                    <a:pt x="59" y="103"/>
                  </a:lnTo>
                  <a:lnTo>
                    <a:pt x="56" y="108"/>
                  </a:lnTo>
                  <a:lnTo>
                    <a:pt x="52" y="118"/>
                  </a:lnTo>
                  <a:lnTo>
                    <a:pt x="52" y="124"/>
                  </a:lnTo>
                  <a:lnTo>
                    <a:pt x="52" y="131"/>
                  </a:lnTo>
                  <a:lnTo>
                    <a:pt x="52" y="131"/>
                  </a:lnTo>
                  <a:lnTo>
                    <a:pt x="56" y="136"/>
                  </a:lnTo>
                  <a:lnTo>
                    <a:pt x="57" y="136"/>
                  </a:lnTo>
                  <a:lnTo>
                    <a:pt x="57" y="134"/>
                  </a:lnTo>
                  <a:lnTo>
                    <a:pt x="57" y="136"/>
                  </a:lnTo>
                  <a:lnTo>
                    <a:pt x="57" y="143"/>
                  </a:lnTo>
                  <a:lnTo>
                    <a:pt x="57" y="143"/>
                  </a:lnTo>
                  <a:lnTo>
                    <a:pt x="56" y="151"/>
                  </a:lnTo>
                  <a:lnTo>
                    <a:pt x="57" y="151"/>
                  </a:lnTo>
                  <a:lnTo>
                    <a:pt x="57" y="150"/>
                  </a:lnTo>
                  <a:lnTo>
                    <a:pt x="61" y="148"/>
                  </a:lnTo>
                  <a:lnTo>
                    <a:pt x="61" y="150"/>
                  </a:lnTo>
                  <a:lnTo>
                    <a:pt x="63" y="151"/>
                  </a:lnTo>
                  <a:lnTo>
                    <a:pt x="63" y="151"/>
                  </a:lnTo>
                  <a:lnTo>
                    <a:pt x="64" y="160"/>
                  </a:lnTo>
                  <a:lnTo>
                    <a:pt x="66" y="171"/>
                  </a:lnTo>
                  <a:lnTo>
                    <a:pt x="70" y="181"/>
                  </a:lnTo>
                  <a:lnTo>
                    <a:pt x="71" y="195"/>
                  </a:lnTo>
                  <a:lnTo>
                    <a:pt x="71" y="195"/>
                  </a:lnTo>
                  <a:lnTo>
                    <a:pt x="71" y="202"/>
                  </a:lnTo>
                  <a:lnTo>
                    <a:pt x="75" y="211"/>
                  </a:lnTo>
                  <a:lnTo>
                    <a:pt x="80" y="226"/>
                  </a:lnTo>
                  <a:lnTo>
                    <a:pt x="85" y="244"/>
                  </a:lnTo>
                  <a:lnTo>
                    <a:pt x="91" y="258"/>
                  </a:lnTo>
                  <a:lnTo>
                    <a:pt x="91" y="258"/>
                  </a:lnTo>
                  <a:lnTo>
                    <a:pt x="91" y="265"/>
                  </a:lnTo>
                  <a:lnTo>
                    <a:pt x="92" y="270"/>
                  </a:lnTo>
                  <a:lnTo>
                    <a:pt x="99" y="280"/>
                  </a:lnTo>
                  <a:lnTo>
                    <a:pt x="104" y="287"/>
                  </a:lnTo>
                  <a:lnTo>
                    <a:pt x="108" y="296"/>
                  </a:lnTo>
                  <a:lnTo>
                    <a:pt x="108" y="296"/>
                  </a:lnTo>
                  <a:lnTo>
                    <a:pt x="108" y="299"/>
                  </a:lnTo>
                  <a:lnTo>
                    <a:pt x="106" y="296"/>
                  </a:lnTo>
                  <a:lnTo>
                    <a:pt x="94" y="280"/>
                  </a:lnTo>
                  <a:lnTo>
                    <a:pt x="94" y="280"/>
                  </a:lnTo>
                  <a:lnTo>
                    <a:pt x="85" y="272"/>
                  </a:lnTo>
                  <a:lnTo>
                    <a:pt x="75" y="268"/>
                  </a:lnTo>
                  <a:lnTo>
                    <a:pt x="66" y="268"/>
                  </a:lnTo>
                  <a:lnTo>
                    <a:pt x="57" y="270"/>
                  </a:lnTo>
                  <a:lnTo>
                    <a:pt x="57" y="270"/>
                  </a:lnTo>
                  <a:lnTo>
                    <a:pt x="52" y="272"/>
                  </a:lnTo>
                  <a:lnTo>
                    <a:pt x="50" y="273"/>
                  </a:lnTo>
                  <a:lnTo>
                    <a:pt x="49" y="277"/>
                  </a:lnTo>
                  <a:lnTo>
                    <a:pt x="47" y="280"/>
                  </a:lnTo>
                  <a:lnTo>
                    <a:pt x="47" y="287"/>
                  </a:lnTo>
                  <a:lnTo>
                    <a:pt x="47" y="292"/>
                  </a:lnTo>
                  <a:lnTo>
                    <a:pt x="44" y="296"/>
                  </a:lnTo>
                  <a:lnTo>
                    <a:pt x="44" y="296"/>
                  </a:lnTo>
                  <a:lnTo>
                    <a:pt x="38" y="310"/>
                  </a:lnTo>
                  <a:lnTo>
                    <a:pt x="33" y="329"/>
                  </a:lnTo>
                  <a:lnTo>
                    <a:pt x="31" y="340"/>
                  </a:lnTo>
                  <a:lnTo>
                    <a:pt x="31" y="348"/>
                  </a:lnTo>
                  <a:lnTo>
                    <a:pt x="35" y="357"/>
                  </a:lnTo>
                  <a:lnTo>
                    <a:pt x="38" y="362"/>
                  </a:lnTo>
                  <a:lnTo>
                    <a:pt x="38" y="362"/>
                  </a:lnTo>
                  <a:lnTo>
                    <a:pt x="42" y="367"/>
                  </a:lnTo>
                  <a:lnTo>
                    <a:pt x="45" y="371"/>
                  </a:lnTo>
                  <a:lnTo>
                    <a:pt x="49" y="381"/>
                  </a:lnTo>
                  <a:lnTo>
                    <a:pt x="52" y="388"/>
                  </a:lnTo>
                  <a:lnTo>
                    <a:pt x="54" y="392"/>
                  </a:lnTo>
                  <a:lnTo>
                    <a:pt x="57" y="393"/>
                  </a:lnTo>
                  <a:lnTo>
                    <a:pt x="57" y="393"/>
                  </a:lnTo>
                  <a:lnTo>
                    <a:pt x="63" y="395"/>
                  </a:lnTo>
                  <a:lnTo>
                    <a:pt x="64" y="393"/>
                  </a:lnTo>
                  <a:lnTo>
                    <a:pt x="66" y="395"/>
                  </a:lnTo>
                  <a:lnTo>
                    <a:pt x="66" y="402"/>
                  </a:lnTo>
                  <a:lnTo>
                    <a:pt x="66" y="402"/>
                  </a:lnTo>
                  <a:lnTo>
                    <a:pt x="66" y="411"/>
                  </a:lnTo>
                  <a:lnTo>
                    <a:pt x="68" y="414"/>
                  </a:lnTo>
                  <a:lnTo>
                    <a:pt x="68" y="420"/>
                  </a:lnTo>
                  <a:lnTo>
                    <a:pt x="64" y="428"/>
                  </a:lnTo>
                  <a:lnTo>
                    <a:pt x="64" y="428"/>
                  </a:lnTo>
                  <a:lnTo>
                    <a:pt x="63" y="430"/>
                  </a:lnTo>
                  <a:lnTo>
                    <a:pt x="63" y="428"/>
                  </a:lnTo>
                  <a:lnTo>
                    <a:pt x="61" y="421"/>
                  </a:lnTo>
                  <a:lnTo>
                    <a:pt x="59" y="413"/>
                  </a:lnTo>
                  <a:lnTo>
                    <a:pt x="57" y="409"/>
                  </a:lnTo>
                  <a:lnTo>
                    <a:pt x="54" y="406"/>
                  </a:lnTo>
                  <a:lnTo>
                    <a:pt x="54" y="406"/>
                  </a:lnTo>
                  <a:lnTo>
                    <a:pt x="50" y="406"/>
                  </a:lnTo>
                  <a:lnTo>
                    <a:pt x="45" y="406"/>
                  </a:lnTo>
                  <a:lnTo>
                    <a:pt x="42" y="406"/>
                  </a:lnTo>
                  <a:lnTo>
                    <a:pt x="38" y="402"/>
                  </a:lnTo>
                  <a:lnTo>
                    <a:pt x="38" y="402"/>
                  </a:lnTo>
                  <a:lnTo>
                    <a:pt x="35" y="399"/>
                  </a:lnTo>
                  <a:lnTo>
                    <a:pt x="33" y="400"/>
                  </a:lnTo>
                  <a:lnTo>
                    <a:pt x="31" y="402"/>
                  </a:lnTo>
                  <a:lnTo>
                    <a:pt x="26" y="409"/>
                  </a:lnTo>
                  <a:lnTo>
                    <a:pt x="23" y="420"/>
                  </a:lnTo>
                  <a:lnTo>
                    <a:pt x="23" y="420"/>
                  </a:lnTo>
                  <a:lnTo>
                    <a:pt x="19" y="432"/>
                  </a:lnTo>
                  <a:lnTo>
                    <a:pt x="16" y="439"/>
                  </a:lnTo>
                  <a:lnTo>
                    <a:pt x="14" y="440"/>
                  </a:lnTo>
                  <a:lnTo>
                    <a:pt x="12" y="440"/>
                  </a:lnTo>
                  <a:lnTo>
                    <a:pt x="9" y="432"/>
                  </a:lnTo>
                  <a:lnTo>
                    <a:pt x="9" y="432"/>
                  </a:lnTo>
                  <a:lnTo>
                    <a:pt x="7" y="420"/>
                  </a:lnTo>
                  <a:lnTo>
                    <a:pt x="5" y="411"/>
                  </a:lnTo>
                  <a:lnTo>
                    <a:pt x="7" y="402"/>
                  </a:lnTo>
                  <a:lnTo>
                    <a:pt x="12" y="393"/>
                  </a:lnTo>
                  <a:lnTo>
                    <a:pt x="12" y="393"/>
                  </a:lnTo>
                  <a:lnTo>
                    <a:pt x="14" y="388"/>
                  </a:lnTo>
                  <a:lnTo>
                    <a:pt x="14" y="383"/>
                  </a:lnTo>
                  <a:lnTo>
                    <a:pt x="12" y="373"/>
                  </a:lnTo>
                  <a:lnTo>
                    <a:pt x="10" y="360"/>
                  </a:lnTo>
                  <a:lnTo>
                    <a:pt x="10" y="353"/>
                  </a:lnTo>
                  <a:lnTo>
                    <a:pt x="12" y="345"/>
                  </a:lnTo>
                  <a:lnTo>
                    <a:pt x="12" y="345"/>
                  </a:lnTo>
                  <a:lnTo>
                    <a:pt x="17" y="334"/>
                  </a:lnTo>
                  <a:lnTo>
                    <a:pt x="17" y="324"/>
                  </a:lnTo>
                  <a:lnTo>
                    <a:pt x="16" y="317"/>
                  </a:lnTo>
                  <a:lnTo>
                    <a:pt x="14" y="312"/>
                  </a:lnTo>
                  <a:lnTo>
                    <a:pt x="9" y="303"/>
                  </a:lnTo>
                  <a:lnTo>
                    <a:pt x="7" y="299"/>
                  </a:lnTo>
                  <a:lnTo>
                    <a:pt x="9" y="294"/>
                  </a:lnTo>
                  <a:lnTo>
                    <a:pt x="9" y="294"/>
                  </a:lnTo>
                  <a:lnTo>
                    <a:pt x="10" y="289"/>
                  </a:lnTo>
                  <a:lnTo>
                    <a:pt x="14" y="280"/>
                  </a:lnTo>
                  <a:lnTo>
                    <a:pt x="17" y="256"/>
                  </a:lnTo>
                  <a:lnTo>
                    <a:pt x="17" y="230"/>
                  </a:lnTo>
                  <a:lnTo>
                    <a:pt x="17" y="219"/>
                  </a:lnTo>
                  <a:lnTo>
                    <a:pt x="16" y="209"/>
                  </a:lnTo>
                  <a:lnTo>
                    <a:pt x="16" y="209"/>
                  </a:lnTo>
                  <a:lnTo>
                    <a:pt x="14" y="202"/>
                  </a:lnTo>
                  <a:lnTo>
                    <a:pt x="14" y="197"/>
                  </a:lnTo>
                  <a:lnTo>
                    <a:pt x="19" y="186"/>
                  </a:lnTo>
                  <a:lnTo>
                    <a:pt x="21" y="176"/>
                  </a:lnTo>
                  <a:lnTo>
                    <a:pt x="21" y="171"/>
                  </a:lnTo>
                  <a:lnTo>
                    <a:pt x="19" y="164"/>
                  </a:lnTo>
                  <a:lnTo>
                    <a:pt x="19" y="164"/>
                  </a:lnTo>
                  <a:lnTo>
                    <a:pt x="12" y="153"/>
                  </a:lnTo>
                  <a:lnTo>
                    <a:pt x="7" y="148"/>
                  </a:lnTo>
                  <a:lnTo>
                    <a:pt x="3" y="145"/>
                  </a:lnTo>
                  <a:lnTo>
                    <a:pt x="3" y="145"/>
                  </a:lnTo>
                  <a:lnTo>
                    <a:pt x="3" y="143"/>
                  </a:lnTo>
                  <a:lnTo>
                    <a:pt x="3" y="143"/>
                  </a:lnTo>
                  <a:lnTo>
                    <a:pt x="5" y="141"/>
                  </a:lnTo>
                  <a:lnTo>
                    <a:pt x="5" y="141"/>
                  </a:lnTo>
                  <a:lnTo>
                    <a:pt x="2" y="139"/>
                  </a:lnTo>
                  <a:lnTo>
                    <a:pt x="0" y="136"/>
                  </a:lnTo>
                  <a:lnTo>
                    <a:pt x="0" y="131"/>
                  </a:lnTo>
                  <a:lnTo>
                    <a:pt x="0" y="127"/>
                  </a:lnTo>
                  <a:lnTo>
                    <a:pt x="0" y="127"/>
                  </a:lnTo>
                  <a:lnTo>
                    <a:pt x="2" y="118"/>
                  </a:lnTo>
                  <a:lnTo>
                    <a:pt x="0" y="113"/>
                  </a:lnTo>
                  <a:lnTo>
                    <a:pt x="0" y="110"/>
                  </a:lnTo>
                  <a:lnTo>
                    <a:pt x="3" y="103"/>
                  </a:lnTo>
                  <a:lnTo>
                    <a:pt x="3" y="103"/>
                  </a:lnTo>
                  <a:lnTo>
                    <a:pt x="7" y="92"/>
                  </a:lnTo>
                  <a:lnTo>
                    <a:pt x="9" y="82"/>
                  </a:lnTo>
                  <a:lnTo>
                    <a:pt x="9" y="71"/>
                  </a:lnTo>
                  <a:lnTo>
                    <a:pt x="5" y="63"/>
                  </a:lnTo>
                  <a:lnTo>
                    <a:pt x="5" y="6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7" name="Freeform 1990">
              <a:extLst>
                <a:ext uri="{FF2B5EF4-FFF2-40B4-BE49-F238E27FC236}">
                  <a16:creationId xmlns:a16="http://schemas.microsoft.com/office/drawing/2014/main" id="{2E1A321D-ECC5-4051-A5C8-F7CCDA2AD13E}"/>
                </a:ext>
              </a:extLst>
            </p:cNvPr>
            <p:cNvSpPr>
              <a:spLocks/>
            </p:cNvSpPr>
            <p:nvPr/>
          </p:nvSpPr>
          <p:spPr bwMode="auto">
            <a:xfrm>
              <a:off x="8834000" y="1496990"/>
              <a:ext cx="135675" cy="44050"/>
            </a:xfrm>
            <a:custGeom>
              <a:avLst/>
              <a:gdLst/>
              <a:ahLst/>
              <a:cxnLst>
                <a:cxn ang="0">
                  <a:pos x="54" y="50"/>
                </a:cxn>
                <a:cxn ang="0">
                  <a:pos x="54" y="50"/>
                </a:cxn>
                <a:cxn ang="0">
                  <a:pos x="30" y="43"/>
                </a:cxn>
                <a:cxn ang="0">
                  <a:pos x="14" y="36"/>
                </a:cxn>
                <a:cxn ang="0">
                  <a:pos x="4" y="31"/>
                </a:cxn>
                <a:cxn ang="0">
                  <a:pos x="0" y="24"/>
                </a:cxn>
                <a:cxn ang="0">
                  <a:pos x="0" y="19"/>
                </a:cxn>
                <a:cxn ang="0">
                  <a:pos x="2" y="14"/>
                </a:cxn>
                <a:cxn ang="0">
                  <a:pos x="9" y="3"/>
                </a:cxn>
                <a:cxn ang="0">
                  <a:pos x="9" y="3"/>
                </a:cxn>
                <a:cxn ang="0">
                  <a:pos x="11" y="0"/>
                </a:cxn>
                <a:cxn ang="0">
                  <a:pos x="13" y="0"/>
                </a:cxn>
                <a:cxn ang="0">
                  <a:pos x="16" y="5"/>
                </a:cxn>
                <a:cxn ang="0">
                  <a:pos x="20" y="8"/>
                </a:cxn>
                <a:cxn ang="0">
                  <a:pos x="28" y="10"/>
                </a:cxn>
                <a:cxn ang="0">
                  <a:pos x="40" y="12"/>
                </a:cxn>
                <a:cxn ang="0">
                  <a:pos x="56" y="10"/>
                </a:cxn>
                <a:cxn ang="0">
                  <a:pos x="56" y="10"/>
                </a:cxn>
                <a:cxn ang="0">
                  <a:pos x="74" y="10"/>
                </a:cxn>
                <a:cxn ang="0">
                  <a:pos x="82" y="12"/>
                </a:cxn>
                <a:cxn ang="0">
                  <a:pos x="88" y="15"/>
                </a:cxn>
                <a:cxn ang="0">
                  <a:pos x="89" y="19"/>
                </a:cxn>
                <a:cxn ang="0">
                  <a:pos x="89" y="22"/>
                </a:cxn>
                <a:cxn ang="0">
                  <a:pos x="91" y="24"/>
                </a:cxn>
                <a:cxn ang="0">
                  <a:pos x="96" y="24"/>
                </a:cxn>
                <a:cxn ang="0">
                  <a:pos x="107" y="21"/>
                </a:cxn>
                <a:cxn ang="0">
                  <a:pos x="107" y="21"/>
                </a:cxn>
                <a:cxn ang="0">
                  <a:pos x="117" y="17"/>
                </a:cxn>
                <a:cxn ang="0">
                  <a:pos x="126" y="17"/>
                </a:cxn>
                <a:cxn ang="0">
                  <a:pos x="131" y="19"/>
                </a:cxn>
                <a:cxn ang="0">
                  <a:pos x="136" y="22"/>
                </a:cxn>
                <a:cxn ang="0">
                  <a:pos x="145" y="28"/>
                </a:cxn>
                <a:cxn ang="0">
                  <a:pos x="148" y="29"/>
                </a:cxn>
                <a:cxn ang="0">
                  <a:pos x="155" y="31"/>
                </a:cxn>
                <a:cxn ang="0">
                  <a:pos x="155" y="31"/>
                </a:cxn>
                <a:cxn ang="0">
                  <a:pos x="162" y="31"/>
                </a:cxn>
                <a:cxn ang="0">
                  <a:pos x="166" y="33"/>
                </a:cxn>
                <a:cxn ang="0">
                  <a:pos x="168" y="36"/>
                </a:cxn>
                <a:cxn ang="0">
                  <a:pos x="166" y="40"/>
                </a:cxn>
                <a:cxn ang="0">
                  <a:pos x="161" y="45"/>
                </a:cxn>
                <a:cxn ang="0">
                  <a:pos x="155" y="48"/>
                </a:cxn>
                <a:cxn ang="0">
                  <a:pos x="145" y="52"/>
                </a:cxn>
                <a:cxn ang="0">
                  <a:pos x="135" y="54"/>
                </a:cxn>
                <a:cxn ang="0">
                  <a:pos x="135" y="54"/>
                </a:cxn>
                <a:cxn ang="0">
                  <a:pos x="94" y="55"/>
                </a:cxn>
                <a:cxn ang="0">
                  <a:pos x="77" y="54"/>
                </a:cxn>
                <a:cxn ang="0">
                  <a:pos x="54" y="50"/>
                </a:cxn>
                <a:cxn ang="0">
                  <a:pos x="54" y="50"/>
                </a:cxn>
              </a:cxnLst>
              <a:rect l="0" t="0" r="r" b="b"/>
              <a:pathLst>
                <a:path w="168" h="55">
                  <a:moveTo>
                    <a:pt x="54" y="50"/>
                  </a:moveTo>
                  <a:lnTo>
                    <a:pt x="54" y="50"/>
                  </a:lnTo>
                  <a:lnTo>
                    <a:pt x="30" y="43"/>
                  </a:lnTo>
                  <a:lnTo>
                    <a:pt x="14" y="36"/>
                  </a:lnTo>
                  <a:lnTo>
                    <a:pt x="4" y="31"/>
                  </a:lnTo>
                  <a:lnTo>
                    <a:pt x="0" y="24"/>
                  </a:lnTo>
                  <a:lnTo>
                    <a:pt x="0" y="19"/>
                  </a:lnTo>
                  <a:lnTo>
                    <a:pt x="2" y="14"/>
                  </a:lnTo>
                  <a:lnTo>
                    <a:pt x="9" y="3"/>
                  </a:lnTo>
                  <a:lnTo>
                    <a:pt x="9" y="3"/>
                  </a:lnTo>
                  <a:lnTo>
                    <a:pt x="11" y="0"/>
                  </a:lnTo>
                  <a:lnTo>
                    <a:pt x="13" y="0"/>
                  </a:lnTo>
                  <a:lnTo>
                    <a:pt x="16" y="5"/>
                  </a:lnTo>
                  <a:lnTo>
                    <a:pt x="20" y="8"/>
                  </a:lnTo>
                  <a:lnTo>
                    <a:pt x="28" y="10"/>
                  </a:lnTo>
                  <a:lnTo>
                    <a:pt x="40" y="12"/>
                  </a:lnTo>
                  <a:lnTo>
                    <a:pt x="56" y="10"/>
                  </a:lnTo>
                  <a:lnTo>
                    <a:pt x="56" y="10"/>
                  </a:lnTo>
                  <a:lnTo>
                    <a:pt x="74" y="10"/>
                  </a:lnTo>
                  <a:lnTo>
                    <a:pt x="82" y="12"/>
                  </a:lnTo>
                  <a:lnTo>
                    <a:pt x="88" y="15"/>
                  </a:lnTo>
                  <a:lnTo>
                    <a:pt x="89" y="19"/>
                  </a:lnTo>
                  <a:lnTo>
                    <a:pt x="89" y="22"/>
                  </a:lnTo>
                  <a:lnTo>
                    <a:pt x="91" y="24"/>
                  </a:lnTo>
                  <a:lnTo>
                    <a:pt x="96" y="24"/>
                  </a:lnTo>
                  <a:lnTo>
                    <a:pt x="107" y="21"/>
                  </a:lnTo>
                  <a:lnTo>
                    <a:pt x="107" y="21"/>
                  </a:lnTo>
                  <a:lnTo>
                    <a:pt x="117" y="17"/>
                  </a:lnTo>
                  <a:lnTo>
                    <a:pt x="126" y="17"/>
                  </a:lnTo>
                  <a:lnTo>
                    <a:pt x="131" y="19"/>
                  </a:lnTo>
                  <a:lnTo>
                    <a:pt x="136" y="22"/>
                  </a:lnTo>
                  <a:lnTo>
                    <a:pt x="145" y="28"/>
                  </a:lnTo>
                  <a:lnTo>
                    <a:pt x="148" y="29"/>
                  </a:lnTo>
                  <a:lnTo>
                    <a:pt x="155" y="31"/>
                  </a:lnTo>
                  <a:lnTo>
                    <a:pt x="155" y="31"/>
                  </a:lnTo>
                  <a:lnTo>
                    <a:pt x="162" y="31"/>
                  </a:lnTo>
                  <a:lnTo>
                    <a:pt x="166" y="33"/>
                  </a:lnTo>
                  <a:lnTo>
                    <a:pt x="168" y="36"/>
                  </a:lnTo>
                  <a:lnTo>
                    <a:pt x="166" y="40"/>
                  </a:lnTo>
                  <a:lnTo>
                    <a:pt x="161" y="45"/>
                  </a:lnTo>
                  <a:lnTo>
                    <a:pt x="155" y="48"/>
                  </a:lnTo>
                  <a:lnTo>
                    <a:pt x="145" y="52"/>
                  </a:lnTo>
                  <a:lnTo>
                    <a:pt x="135" y="54"/>
                  </a:lnTo>
                  <a:lnTo>
                    <a:pt x="135" y="54"/>
                  </a:lnTo>
                  <a:lnTo>
                    <a:pt x="94" y="55"/>
                  </a:lnTo>
                  <a:lnTo>
                    <a:pt x="77" y="54"/>
                  </a:lnTo>
                  <a:lnTo>
                    <a:pt x="54" y="50"/>
                  </a:lnTo>
                  <a:lnTo>
                    <a:pt x="54" y="5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8" name="Freeform 1991">
              <a:extLst>
                <a:ext uri="{FF2B5EF4-FFF2-40B4-BE49-F238E27FC236}">
                  <a16:creationId xmlns:a16="http://schemas.microsoft.com/office/drawing/2014/main" id="{9742CA89-8BAC-4D76-98DD-5B3F1968E39F}"/>
                </a:ext>
              </a:extLst>
            </p:cNvPr>
            <p:cNvSpPr>
              <a:spLocks/>
            </p:cNvSpPr>
            <p:nvPr/>
          </p:nvSpPr>
          <p:spPr bwMode="auto">
            <a:xfrm>
              <a:off x="8576751" y="1463514"/>
              <a:ext cx="232584" cy="86340"/>
            </a:xfrm>
            <a:custGeom>
              <a:avLst/>
              <a:gdLst/>
              <a:ahLst/>
              <a:cxnLst>
                <a:cxn ang="0">
                  <a:pos x="266" y="73"/>
                </a:cxn>
                <a:cxn ang="0">
                  <a:pos x="212" y="90"/>
                </a:cxn>
                <a:cxn ang="0">
                  <a:pos x="192" y="92"/>
                </a:cxn>
                <a:cxn ang="0">
                  <a:pos x="176" y="85"/>
                </a:cxn>
                <a:cxn ang="0">
                  <a:pos x="169" y="82"/>
                </a:cxn>
                <a:cxn ang="0">
                  <a:pos x="155" y="84"/>
                </a:cxn>
                <a:cxn ang="0">
                  <a:pos x="138" y="90"/>
                </a:cxn>
                <a:cxn ang="0">
                  <a:pos x="118" y="92"/>
                </a:cxn>
                <a:cxn ang="0">
                  <a:pos x="106" y="90"/>
                </a:cxn>
                <a:cxn ang="0">
                  <a:pos x="91" y="90"/>
                </a:cxn>
                <a:cxn ang="0">
                  <a:pos x="87" y="99"/>
                </a:cxn>
                <a:cxn ang="0">
                  <a:pos x="82" y="106"/>
                </a:cxn>
                <a:cxn ang="0">
                  <a:pos x="59" y="101"/>
                </a:cxn>
                <a:cxn ang="0">
                  <a:pos x="30" y="89"/>
                </a:cxn>
                <a:cxn ang="0">
                  <a:pos x="9" y="77"/>
                </a:cxn>
                <a:cxn ang="0">
                  <a:pos x="0" y="66"/>
                </a:cxn>
                <a:cxn ang="0">
                  <a:pos x="4" y="57"/>
                </a:cxn>
                <a:cxn ang="0">
                  <a:pos x="9" y="54"/>
                </a:cxn>
                <a:cxn ang="0">
                  <a:pos x="5" y="42"/>
                </a:cxn>
                <a:cxn ang="0">
                  <a:pos x="4" y="31"/>
                </a:cxn>
                <a:cxn ang="0">
                  <a:pos x="14" y="19"/>
                </a:cxn>
                <a:cxn ang="0">
                  <a:pos x="31" y="9"/>
                </a:cxn>
                <a:cxn ang="0">
                  <a:pos x="51" y="0"/>
                </a:cxn>
                <a:cxn ang="0">
                  <a:pos x="63" y="2"/>
                </a:cxn>
                <a:cxn ang="0">
                  <a:pos x="70" y="5"/>
                </a:cxn>
                <a:cxn ang="0">
                  <a:pos x="106" y="28"/>
                </a:cxn>
                <a:cxn ang="0">
                  <a:pos x="129" y="40"/>
                </a:cxn>
                <a:cxn ang="0">
                  <a:pos x="136" y="40"/>
                </a:cxn>
                <a:cxn ang="0">
                  <a:pos x="138" y="35"/>
                </a:cxn>
                <a:cxn ang="0">
                  <a:pos x="132" y="23"/>
                </a:cxn>
                <a:cxn ang="0">
                  <a:pos x="136" y="12"/>
                </a:cxn>
                <a:cxn ang="0">
                  <a:pos x="143" y="7"/>
                </a:cxn>
                <a:cxn ang="0">
                  <a:pos x="153" y="3"/>
                </a:cxn>
                <a:cxn ang="0">
                  <a:pos x="171" y="9"/>
                </a:cxn>
                <a:cxn ang="0">
                  <a:pos x="188" y="21"/>
                </a:cxn>
                <a:cxn ang="0">
                  <a:pos x="207" y="28"/>
                </a:cxn>
                <a:cxn ang="0">
                  <a:pos x="219" y="26"/>
                </a:cxn>
                <a:cxn ang="0">
                  <a:pos x="247" y="26"/>
                </a:cxn>
                <a:cxn ang="0">
                  <a:pos x="275" y="35"/>
                </a:cxn>
                <a:cxn ang="0">
                  <a:pos x="289" y="43"/>
                </a:cxn>
                <a:cxn ang="0">
                  <a:pos x="289" y="47"/>
                </a:cxn>
                <a:cxn ang="0">
                  <a:pos x="282" y="49"/>
                </a:cxn>
                <a:cxn ang="0">
                  <a:pos x="273" y="50"/>
                </a:cxn>
                <a:cxn ang="0">
                  <a:pos x="272" y="56"/>
                </a:cxn>
                <a:cxn ang="0">
                  <a:pos x="277" y="63"/>
                </a:cxn>
                <a:cxn ang="0">
                  <a:pos x="273" y="70"/>
                </a:cxn>
                <a:cxn ang="0">
                  <a:pos x="266" y="73"/>
                </a:cxn>
              </a:cxnLst>
              <a:rect l="0" t="0" r="r" b="b"/>
              <a:pathLst>
                <a:path w="291" h="106">
                  <a:moveTo>
                    <a:pt x="266" y="73"/>
                  </a:moveTo>
                  <a:lnTo>
                    <a:pt x="266" y="73"/>
                  </a:lnTo>
                  <a:lnTo>
                    <a:pt x="237" y="84"/>
                  </a:lnTo>
                  <a:lnTo>
                    <a:pt x="212" y="90"/>
                  </a:lnTo>
                  <a:lnTo>
                    <a:pt x="202" y="92"/>
                  </a:lnTo>
                  <a:lnTo>
                    <a:pt x="192" y="92"/>
                  </a:lnTo>
                  <a:lnTo>
                    <a:pt x="183" y="90"/>
                  </a:lnTo>
                  <a:lnTo>
                    <a:pt x="176" y="85"/>
                  </a:lnTo>
                  <a:lnTo>
                    <a:pt x="176" y="85"/>
                  </a:lnTo>
                  <a:lnTo>
                    <a:pt x="169" y="82"/>
                  </a:lnTo>
                  <a:lnTo>
                    <a:pt x="162" y="82"/>
                  </a:lnTo>
                  <a:lnTo>
                    <a:pt x="155" y="84"/>
                  </a:lnTo>
                  <a:lnTo>
                    <a:pt x="146" y="87"/>
                  </a:lnTo>
                  <a:lnTo>
                    <a:pt x="138" y="90"/>
                  </a:lnTo>
                  <a:lnTo>
                    <a:pt x="129" y="92"/>
                  </a:lnTo>
                  <a:lnTo>
                    <a:pt x="118" y="92"/>
                  </a:lnTo>
                  <a:lnTo>
                    <a:pt x="106" y="90"/>
                  </a:lnTo>
                  <a:lnTo>
                    <a:pt x="106" y="90"/>
                  </a:lnTo>
                  <a:lnTo>
                    <a:pt x="96" y="89"/>
                  </a:lnTo>
                  <a:lnTo>
                    <a:pt x="91" y="90"/>
                  </a:lnTo>
                  <a:lnTo>
                    <a:pt x="89" y="94"/>
                  </a:lnTo>
                  <a:lnTo>
                    <a:pt x="87" y="99"/>
                  </a:lnTo>
                  <a:lnTo>
                    <a:pt x="85" y="103"/>
                  </a:lnTo>
                  <a:lnTo>
                    <a:pt x="82" y="106"/>
                  </a:lnTo>
                  <a:lnTo>
                    <a:pt x="73" y="106"/>
                  </a:lnTo>
                  <a:lnTo>
                    <a:pt x="59" y="101"/>
                  </a:lnTo>
                  <a:lnTo>
                    <a:pt x="59" y="101"/>
                  </a:lnTo>
                  <a:lnTo>
                    <a:pt x="30" y="89"/>
                  </a:lnTo>
                  <a:lnTo>
                    <a:pt x="17" y="82"/>
                  </a:lnTo>
                  <a:lnTo>
                    <a:pt x="9" y="77"/>
                  </a:lnTo>
                  <a:lnTo>
                    <a:pt x="2" y="70"/>
                  </a:lnTo>
                  <a:lnTo>
                    <a:pt x="0" y="66"/>
                  </a:lnTo>
                  <a:lnTo>
                    <a:pt x="0" y="61"/>
                  </a:lnTo>
                  <a:lnTo>
                    <a:pt x="4" y="57"/>
                  </a:lnTo>
                  <a:lnTo>
                    <a:pt x="4" y="57"/>
                  </a:lnTo>
                  <a:lnTo>
                    <a:pt x="9" y="54"/>
                  </a:lnTo>
                  <a:lnTo>
                    <a:pt x="9" y="50"/>
                  </a:lnTo>
                  <a:lnTo>
                    <a:pt x="5" y="42"/>
                  </a:lnTo>
                  <a:lnTo>
                    <a:pt x="4" y="37"/>
                  </a:lnTo>
                  <a:lnTo>
                    <a:pt x="4" y="31"/>
                  </a:lnTo>
                  <a:lnTo>
                    <a:pt x="7" y="24"/>
                  </a:lnTo>
                  <a:lnTo>
                    <a:pt x="14" y="19"/>
                  </a:lnTo>
                  <a:lnTo>
                    <a:pt x="14" y="19"/>
                  </a:lnTo>
                  <a:lnTo>
                    <a:pt x="31" y="9"/>
                  </a:lnTo>
                  <a:lnTo>
                    <a:pt x="45" y="2"/>
                  </a:lnTo>
                  <a:lnTo>
                    <a:pt x="51" y="0"/>
                  </a:lnTo>
                  <a:lnTo>
                    <a:pt x="58" y="0"/>
                  </a:lnTo>
                  <a:lnTo>
                    <a:pt x="63" y="2"/>
                  </a:lnTo>
                  <a:lnTo>
                    <a:pt x="70" y="5"/>
                  </a:lnTo>
                  <a:lnTo>
                    <a:pt x="70" y="5"/>
                  </a:lnTo>
                  <a:lnTo>
                    <a:pt x="87" y="16"/>
                  </a:lnTo>
                  <a:lnTo>
                    <a:pt x="106" y="28"/>
                  </a:lnTo>
                  <a:lnTo>
                    <a:pt x="122" y="37"/>
                  </a:lnTo>
                  <a:lnTo>
                    <a:pt x="129" y="40"/>
                  </a:lnTo>
                  <a:lnTo>
                    <a:pt x="136" y="40"/>
                  </a:lnTo>
                  <a:lnTo>
                    <a:pt x="136" y="40"/>
                  </a:lnTo>
                  <a:lnTo>
                    <a:pt x="138" y="38"/>
                  </a:lnTo>
                  <a:lnTo>
                    <a:pt x="138" y="35"/>
                  </a:lnTo>
                  <a:lnTo>
                    <a:pt x="134" y="26"/>
                  </a:lnTo>
                  <a:lnTo>
                    <a:pt x="132" y="23"/>
                  </a:lnTo>
                  <a:lnTo>
                    <a:pt x="132" y="17"/>
                  </a:lnTo>
                  <a:lnTo>
                    <a:pt x="136" y="12"/>
                  </a:lnTo>
                  <a:lnTo>
                    <a:pt x="143" y="7"/>
                  </a:lnTo>
                  <a:lnTo>
                    <a:pt x="143" y="7"/>
                  </a:lnTo>
                  <a:lnTo>
                    <a:pt x="148" y="5"/>
                  </a:lnTo>
                  <a:lnTo>
                    <a:pt x="153" y="3"/>
                  </a:lnTo>
                  <a:lnTo>
                    <a:pt x="162" y="5"/>
                  </a:lnTo>
                  <a:lnTo>
                    <a:pt x="171" y="9"/>
                  </a:lnTo>
                  <a:lnTo>
                    <a:pt x="179" y="14"/>
                  </a:lnTo>
                  <a:lnTo>
                    <a:pt x="188" y="21"/>
                  </a:lnTo>
                  <a:lnTo>
                    <a:pt x="197" y="24"/>
                  </a:lnTo>
                  <a:lnTo>
                    <a:pt x="207" y="28"/>
                  </a:lnTo>
                  <a:lnTo>
                    <a:pt x="219" y="26"/>
                  </a:lnTo>
                  <a:lnTo>
                    <a:pt x="219" y="26"/>
                  </a:lnTo>
                  <a:lnTo>
                    <a:pt x="233" y="26"/>
                  </a:lnTo>
                  <a:lnTo>
                    <a:pt x="247" y="26"/>
                  </a:lnTo>
                  <a:lnTo>
                    <a:pt x="261" y="30"/>
                  </a:lnTo>
                  <a:lnTo>
                    <a:pt x="275" y="35"/>
                  </a:lnTo>
                  <a:lnTo>
                    <a:pt x="284" y="38"/>
                  </a:lnTo>
                  <a:lnTo>
                    <a:pt x="289" y="43"/>
                  </a:lnTo>
                  <a:lnTo>
                    <a:pt x="291" y="45"/>
                  </a:lnTo>
                  <a:lnTo>
                    <a:pt x="289" y="47"/>
                  </a:lnTo>
                  <a:lnTo>
                    <a:pt x="287" y="49"/>
                  </a:lnTo>
                  <a:lnTo>
                    <a:pt x="282" y="49"/>
                  </a:lnTo>
                  <a:lnTo>
                    <a:pt x="282" y="49"/>
                  </a:lnTo>
                  <a:lnTo>
                    <a:pt x="273" y="50"/>
                  </a:lnTo>
                  <a:lnTo>
                    <a:pt x="272" y="52"/>
                  </a:lnTo>
                  <a:lnTo>
                    <a:pt x="272" y="56"/>
                  </a:lnTo>
                  <a:lnTo>
                    <a:pt x="273" y="59"/>
                  </a:lnTo>
                  <a:lnTo>
                    <a:pt x="277" y="63"/>
                  </a:lnTo>
                  <a:lnTo>
                    <a:pt x="277" y="66"/>
                  </a:lnTo>
                  <a:lnTo>
                    <a:pt x="273" y="70"/>
                  </a:lnTo>
                  <a:lnTo>
                    <a:pt x="266" y="73"/>
                  </a:lnTo>
                  <a:lnTo>
                    <a:pt x="266" y="7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9" name="Freeform 1992">
              <a:extLst>
                <a:ext uri="{FF2B5EF4-FFF2-40B4-BE49-F238E27FC236}">
                  <a16:creationId xmlns:a16="http://schemas.microsoft.com/office/drawing/2014/main" id="{8FFA9D68-3610-43BC-A103-512A8B3194D1}"/>
                </a:ext>
              </a:extLst>
            </p:cNvPr>
            <p:cNvSpPr>
              <a:spLocks/>
            </p:cNvSpPr>
            <p:nvPr/>
          </p:nvSpPr>
          <p:spPr bwMode="auto">
            <a:xfrm>
              <a:off x="8182062" y="1593901"/>
              <a:ext cx="185009" cy="89862"/>
            </a:xfrm>
            <a:custGeom>
              <a:avLst/>
              <a:gdLst/>
              <a:ahLst/>
              <a:cxnLst>
                <a:cxn ang="0">
                  <a:pos x="108" y="90"/>
                </a:cxn>
                <a:cxn ang="0">
                  <a:pos x="58" y="69"/>
                </a:cxn>
                <a:cxn ang="0">
                  <a:pos x="14" y="59"/>
                </a:cxn>
                <a:cxn ang="0">
                  <a:pos x="4" y="57"/>
                </a:cxn>
                <a:cxn ang="0">
                  <a:pos x="4" y="52"/>
                </a:cxn>
                <a:cxn ang="0">
                  <a:pos x="12" y="45"/>
                </a:cxn>
                <a:cxn ang="0">
                  <a:pos x="18" y="38"/>
                </a:cxn>
                <a:cxn ang="0">
                  <a:pos x="16" y="33"/>
                </a:cxn>
                <a:cxn ang="0">
                  <a:pos x="14" y="29"/>
                </a:cxn>
                <a:cxn ang="0">
                  <a:pos x="9" y="22"/>
                </a:cxn>
                <a:cxn ang="0">
                  <a:pos x="9" y="15"/>
                </a:cxn>
                <a:cxn ang="0">
                  <a:pos x="25" y="5"/>
                </a:cxn>
                <a:cxn ang="0">
                  <a:pos x="49" y="0"/>
                </a:cxn>
                <a:cxn ang="0">
                  <a:pos x="72" y="3"/>
                </a:cxn>
                <a:cxn ang="0">
                  <a:pos x="82" y="8"/>
                </a:cxn>
                <a:cxn ang="0">
                  <a:pos x="105" y="12"/>
                </a:cxn>
                <a:cxn ang="0">
                  <a:pos x="115" y="14"/>
                </a:cxn>
                <a:cxn ang="0">
                  <a:pos x="122" y="24"/>
                </a:cxn>
                <a:cxn ang="0">
                  <a:pos x="126" y="29"/>
                </a:cxn>
                <a:cxn ang="0">
                  <a:pos x="131" y="29"/>
                </a:cxn>
                <a:cxn ang="0">
                  <a:pos x="140" y="21"/>
                </a:cxn>
                <a:cxn ang="0">
                  <a:pos x="154" y="17"/>
                </a:cxn>
                <a:cxn ang="0">
                  <a:pos x="164" y="19"/>
                </a:cxn>
                <a:cxn ang="0">
                  <a:pos x="211" y="36"/>
                </a:cxn>
                <a:cxn ang="0">
                  <a:pos x="221" y="45"/>
                </a:cxn>
                <a:cxn ang="0">
                  <a:pos x="220" y="48"/>
                </a:cxn>
                <a:cxn ang="0">
                  <a:pos x="209" y="52"/>
                </a:cxn>
                <a:cxn ang="0">
                  <a:pos x="201" y="55"/>
                </a:cxn>
                <a:cxn ang="0">
                  <a:pos x="204" y="59"/>
                </a:cxn>
                <a:cxn ang="0">
                  <a:pos x="218" y="64"/>
                </a:cxn>
                <a:cxn ang="0">
                  <a:pos x="223" y="68"/>
                </a:cxn>
                <a:cxn ang="0">
                  <a:pos x="216" y="73"/>
                </a:cxn>
                <a:cxn ang="0">
                  <a:pos x="208" y="74"/>
                </a:cxn>
                <a:cxn ang="0">
                  <a:pos x="206" y="78"/>
                </a:cxn>
                <a:cxn ang="0">
                  <a:pos x="214" y="81"/>
                </a:cxn>
                <a:cxn ang="0">
                  <a:pos x="227" y="88"/>
                </a:cxn>
                <a:cxn ang="0">
                  <a:pos x="230" y="97"/>
                </a:cxn>
                <a:cxn ang="0">
                  <a:pos x="230" y="101"/>
                </a:cxn>
                <a:cxn ang="0">
                  <a:pos x="220" y="111"/>
                </a:cxn>
                <a:cxn ang="0">
                  <a:pos x="206" y="108"/>
                </a:cxn>
                <a:cxn ang="0">
                  <a:pos x="167" y="90"/>
                </a:cxn>
                <a:cxn ang="0">
                  <a:pos x="141" y="80"/>
                </a:cxn>
                <a:cxn ang="0">
                  <a:pos x="127" y="80"/>
                </a:cxn>
                <a:cxn ang="0">
                  <a:pos x="122" y="81"/>
                </a:cxn>
                <a:cxn ang="0">
                  <a:pos x="122" y="90"/>
                </a:cxn>
                <a:cxn ang="0">
                  <a:pos x="120" y="95"/>
                </a:cxn>
                <a:cxn ang="0">
                  <a:pos x="108" y="90"/>
                </a:cxn>
              </a:cxnLst>
              <a:rect l="0" t="0" r="r" b="b"/>
              <a:pathLst>
                <a:path w="230" h="111">
                  <a:moveTo>
                    <a:pt x="108" y="90"/>
                  </a:moveTo>
                  <a:lnTo>
                    <a:pt x="108" y="90"/>
                  </a:lnTo>
                  <a:lnTo>
                    <a:pt x="80" y="78"/>
                  </a:lnTo>
                  <a:lnTo>
                    <a:pt x="58" y="69"/>
                  </a:lnTo>
                  <a:lnTo>
                    <a:pt x="39" y="64"/>
                  </a:lnTo>
                  <a:lnTo>
                    <a:pt x="14" y="59"/>
                  </a:lnTo>
                  <a:lnTo>
                    <a:pt x="14" y="59"/>
                  </a:lnTo>
                  <a:lnTo>
                    <a:pt x="4" y="57"/>
                  </a:lnTo>
                  <a:lnTo>
                    <a:pt x="0" y="55"/>
                  </a:lnTo>
                  <a:lnTo>
                    <a:pt x="4" y="52"/>
                  </a:lnTo>
                  <a:lnTo>
                    <a:pt x="7" y="48"/>
                  </a:lnTo>
                  <a:lnTo>
                    <a:pt x="12" y="45"/>
                  </a:lnTo>
                  <a:lnTo>
                    <a:pt x="18" y="41"/>
                  </a:lnTo>
                  <a:lnTo>
                    <a:pt x="18" y="38"/>
                  </a:lnTo>
                  <a:lnTo>
                    <a:pt x="18" y="36"/>
                  </a:lnTo>
                  <a:lnTo>
                    <a:pt x="16" y="33"/>
                  </a:lnTo>
                  <a:lnTo>
                    <a:pt x="14" y="29"/>
                  </a:lnTo>
                  <a:lnTo>
                    <a:pt x="14" y="29"/>
                  </a:lnTo>
                  <a:lnTo>
                    <a:pt x="11" y="26"/>
                  </a:lnTo>
                  <a:lnTo>
                    <a:pt x="9" y="22"/>
                  </a:lnTo>
                  <a:lnTo>
                    <a:pt x="9" y="19"/>
                  </a:lnTo>
                  <a:lnTo>
                    <a:pt x="9" y="15"/>
                  </a:lnTo>
                  <a:lnTo>
                    <a:pt x="16" y="10"/>
                  </a:lnTo>
                  <a:lnTo>
                    <a:pt x="25" y="5"/>
                  </a:lnTo>
                  <a:lnTo>
                    <a:pt x="35" y="1"/>
                  </a:lnTo>
                  <a:lnTo>
                    <a:pt x="49" y="0"/>
                  </a:lnTo>
                  <a:lnTo>
                    <a:pt x="61" y="0"/>
                  </a:lnTo>
                  <a:lnTo>
                    <a:pt x="72" y="3"/>
                  </a:lnTo>
                  <a:lnTo>
                    <a:pt x="72" y="3"/>
                  </a:lnTo>
                  <a:lnTo>
                    <a:pt x="82" y="8"/>
                  </a:lnTo>
                  <a:lnTo>
                    <a:pt x="91" y="10"/>
                  </a:lnTo>
                  <a:lnTo>
                    <a:pt x="105" y="12"/>
                  </a:lnTo>
                  <a:lnTo>
                    <a:pt x="110" y="12"/>
                  </a:lnTo>
                  <a:lnTo>
                    <a:pt x="115" y="14"/>
                  </a:lnTo>
                  <a:lnTo>
                    <a:pt x="119" y="19"/>
                  </a:lnTo>
                  <a:lnTo>
                    <a:pt x="122" y="24"/>
                  </a:lnTo>
                  <a:lnTo>
                    <a:pt x="122" y="24"/>
                  </a:lnTo>
                  <a:lnTo>
                    <a:pt x="126" y="29"/>
                  </a:lnTo>
                  <a:lnTo>
                    <a:pt x="127" y="31"/>
                  </a:lnTo>
                  <a:lnTo>
                    <a:pt x="131" y="29"/>
                  </a:lnTo>
                  <a:lnTo>
                    <a:pt x="134" y="26"/>
                  </a:lnTo>
                  <a:lnTo>
                    <a:pt x="140" y="21"/>
                  </a:lnTo>
                  <a:lnTo>
                    <a:pt x="147" y="17"/>
                  </a:lnTo>
                  <a:lnTo>
                    <a:pt x="154" y="17"/>
                  </a:lnTo>
                  <a:lnTo>
                    <a:pt x="164" y="19"/>
                  </a:lnTo>
                  <a:lnTo>
                    <a:pt x="164" y="19"/>
                  </a:lnTo>
                  <a:lnTo>
                    <a:pt x="188" y="27"/>
                  </a:lnTo>
                  <a:lnTo>
                    <a:pt x="211" y="36"/>
                  </a:lnTo>
                  <a:lnTo>
                    <a:pt x="220" y="40"/>
                  </a:lnTo>
                  <a:lnTo>
                    <a:pt x="221" y="45"/>
                  </a:lnTo>
                  <a:lnTo>
                    <a:pt x="221" y="47"/>
                  </a:lnTo>
                  <a:lnTo>
                    <a:pt x="220" y="48"/>
                  </a:lnTo>
                  <a:lnTo>
                    <a:pt x="209" y="52"/>
                  </a:lnTo>
                  <a:lnTo>
                    <a:pt x="209" y="52"/>
                  </a:lnTo>
                  <a:lnTo>
                    <a:pt x="202" y="54"/>
                  </a:lnTo>
                  <a:lnTo>
                    <a:pt x="201" y="55"/>
                  </a:lnTo>
                  <a:lnTo>
                    <a:pt x="201" y="57"/>
                  </a:lnTo>
                  <a:lnTo>
                    <a:pt x="204" y="59"/>
                  </a:lnTo>
                  <a:lnTo>
                    <a:pt x="211" y="62"/>
                  </a:lnTo>
                  <a:lnTo>
                    <a:pt x="218" y="64"/>
                  </a:lnTo>
                  <a:lnTo>
                    <a:pt x="223" y="68"/>
                  </a:lnTo>
                  <a:lnTo>
                    <a:pt x="223" y="68"/>
                  </a:lnTo>
                  <a:lnTo>
                    <a:pt x="223" y="69"/>
                  </a:lnTo>
                  <a:lnTo>
                    <a:pt x="216" y="73"/>
                  </a:lnTo>
                  <a:lnTo>
                    <a:pt x="216" y="73"/>
                  </a:lnTo>
                  <a:lnTo>
                    <a:pt x="208" y="74"/>
                  </a:lnTo>
                  <a:lnTo>
                    <a:pt x="206" y="76"/>
                  </a:lnTo>
                  <a:lnTo>
                    <a:pt x="206" y="78"/>
                  </a:lnTo>
                  <a:lnTo>
                    <a:pt x="209" y="80"/>
                  </a:lnTo>
                  <a:lnTo>
                    <a:pt x="214" y="81"/>
                  </a:lnTo>
                  <a:lnTo>
                    <a:pt x="221" y="85"/>
                  </a:lnTo>
                  <a:lnTo>
                    <a:pt x="227" y="88"/>
                  </a:lnTo>
                  <a:lnTo>
                    <a:pt x="230" y="94"/>
                  </a:lnTo>
                  <a:lnTo>
                    <a:pt x="230" y="97"/>
                  </a:lnTo>
                  <a:lnTo>
                    <a:pt x="230" y="101"/>
                  </a:lnTo>
                  <a:lnTo>
                    <a:pt x="230" y="101"/>
                  </a:lnTo>
                  <a:lnTo>
                    <a:pt x="225" y="108"/>
                  </a:lnTo>
                  <a:lnTo>
                    <a:pt x="220" y="111"/>
                  </a:lnTo>
                  <a:lnTo>
                    <a:pt x="213" y="111"/>
                  </a:lnTo>
                  <a:lnTo>
                    <a:pt x="206" y="108"/>
                  </a:lnTo>
                  <a:lnTo>
                    <a:pt x="188" y="99"/>
                  </a:lnTo>
                  <a:lnTo>
                    <a:pt x="167" y="90"/>
                  </a:lnTo>
                  <a:lnTo>
                    <a:pt x="167" y="90"/>
                  </a:lnTo>
                  <a:lnTo>
                    <a:pt x="141" y="80"/>
                  </a:lnTo>
                  <a:lnTo>
                    <a:pt x="136" y="78"/>
                  </a:lnTo>
                  <a:lnTo>
                    <a:pt x="127" y="80"/>
                  </a:lnTo>
                  <a:lnTo>
                    <a:pt x="127" y="80"/>
                  </a:lnTo>
                  <a:lnTo>
                    <a:pt x="122" y="81"/>
                  </a:lnTo>
                  <a:lnTo>
                    <a:pt x="120" y="85"/>
                  </a:lnTo>
                  <a:lnTo>
                    <a:pt x="122" y="90"/>
                  </a:lnTo>
                  <a:lnTo>
                    <a:pt x="122" y="94"/>
                  </a:lnTo>
                  <a:lnTo>
                    <a:pt x="120" y="95"/>
                  </a:lnTo>
                  <a:lnTo>
                    <a:pt x="117" y="94"/>
                  </a:lnTo>
                  <a:lnTo>
                    <a:pt x="108" y="90"/>
                  </a:lnTo>
                  <a:lnTo>
                    <a:pt x="108" y="9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0" name="Freeform 1993">
              <a:extLst>
                <a:ext uri="{FF2B5EF4-FFF2-40B4-BE49-F238E27FC236}">
                  <a16:creationId xmlns:a16="http://schemas.microsoft.com/office/drawing/2014/main" id="{EB976078-B654-418E-BBF8-6D88EC3E5E7C}"/>
                </a:ext>
              </a:extLst>
            </p:cNvPr>
            <p:cNvSpPr>
              <a:spLocks/>
            </p:cNvSpPr>
            <p:nvPr/>
          </p:nvSpPr>
          <p:spPr bwMode="auto">
            <a:xfrm>
              <a:off x="7345114" y="1241499"/>
              <a:ext cx="192057" cy="79291"/>
            </a:xfrm>
            <a:custGeom>
              <a:avLst/>
              <a:gdLst/>
              <a:ahLst/>
              <a:cxnLst>
                <a:cxn ang="0">
                  <a:pos x="53" y="75"/>
                </a:cxn>
                <a:cxn ang="0">
                  <a:pos x="42" y="66"/>
                </a:cxn>
                <a:cxn ang="0">
                  <a:pos x="42" y="58"/>
                </a:cxn>
                <a:cxn ang="0">
                  <a:pos x="37" y="51"/>
                </a:cxn>
                <a:cxn ang="0">
                  <a:pos x="16" y="51"/>
                </a:cxn>
                <a:cxn ang="0">
                  <a:pos x="4" y="49"/>
                </a:cxn>
                <a:cxn ang="0">
                  <a:pos x="0" y="47"/>
                </a:cxn>
                <a:cxn ang="0">
                  <a:pos x="2" y="42"/>
                </a:cxn>
                <a:cxn ang="0">
                  <a:pos x="33" y="24"/>
                </a:cxn>
                <a:cxn ang="0">
                  <a:pos x="56" y="12"/>
                </a:cxn>
                <a:cxn ang="0">
                  <a:pos x="79" y="4"/>
                </a:cxn>
                <a:cxn ang="0">
                  <a:pos x="108" y="0"/>
                </a:cxn>
                <a:cxn ang="0">
                  <a:pos x="157" y="0"/>
                </a:cxn>
                <a:cxn ang="0">
                  <a:pos x="162" y="2"/>
                </a:cxn>
                <a:cxn ang="0">
                  <a:pos x="162" y="9"/>
                </a:cxn>
                <a:cxn ang="0">
                  <a:pos x="159" y="16"/>
                </a:cxn>
                <a:cxn ang="0">
                  <a:pos x="161" y="19"/>
                </a:cxn>
                <a:cxn ang="0">
                  <a:pos x="181" y="14"/>
                </a:cxn>
                <a:cxn ang="0">
                  <a:pos x="206" y="7"/>
                </a:cxn>
                <a:cxn ang="0">
                  <a:pos x="216" y="7"/>
                </a:cxn>
                <a:cxn ang="0">
                  <a:pos x="223" y="12"/>
                </a:cxn>
                <a:cxn ang="0">
                  <a:pos x="234" y="19"/>
                </a:cxn>
                <a:cxn ang="0">
                  <a:pos x="237" y="21"/>
                </a:cxn>
                <a:cxn ang="0">
                  <a:pos x="239" y="28"/>
                </a:cxn>
                <a:cxn ang="0">
                  <a:pos x="237" y="38"/>
                </a:cxn>
                <a:cxn ang="0">
                  <a:pos x="228" y="54"/>
                </a:cxn>
                <a:cxn ang="0">
                  <a:pos x="225" y="70"/>
                </a:cxn>
                <a:cxn ang="0">
                  <a:pos x="228" y="75"/>
                </a:cxn>
                <a:cxn ang="0">
                  <a:pos x="232" y="78"/>
                </a:cxn>
                <a:cxn ang="0">
                  <a:pos x="232" y="84"/>
                </a:cxn>
                <a:cxn ang="0">
                  <a:pos x="221" y="91"/>
                </a:cxn>
                <a:cxn ang="0">
                  <a:pos x="194" y="98"/>
                </a:cxn>
                <a:cxn ang="0">
                  <a:pos x="159" y="96"/>
                </a:cxn>
                <a:cxn ang="0">
                  <a:pos x="140" y="91"/>
                </a:cxn>
                <a:cxn ang="0">
                  <a:pos x="107" y="82"/>
                </a:cxn>
                <a:cxn ang="0">
                  <a:pos x="68" y="78"/>
                </a:cxn>
                <a:cxn ang="0">
                  <a:pos x="53" y="75"/>
                </a:cxn>
              </a:cxnLst>
              <a:rect l="0" t="0" r="r" b="b"/>
              <a:pathLst>
                <a:path w="239" h="98">
                  <a:moveTo>
                    <a:pt x="53" y="75"/>
                  </a:moveTo>
                  <a:lnTo>
                    <a:pt x="53" y="75"/>
                  </a:lnTo>
                  <a:lnTo>
                    <a:pt x="46" y="70"/>
                  </a:lnTo>
                  <a:lnTo>
                    <a:pt x="42" y="66"/>
                  </a:lnTo>
                  <a:lnTo>
                    <a:pt x="42" y="61"/>
                  </a:lnTo>
                  <a:lnTo>
                    <a:pt x="42" y="58"/>
                  </a:lnTo>
                  <a:lnTo>
                    <a:pt x="40" y="54"/>
                  </a:lnTo>
                  <a:lnTo>
                    <a:pt x="37" y="51"/>
                  </a:lnTo>
                  <a:lnTo>
                    <a:pt x="30" y="51"/>
                  </a:lnTo>
                  <a:lnTo>
                    <a:pt x="16" y="51"/>
                  </a:lnTo>
                  <a:lnTo>
                    <a:pt x="16" y="51"/>
                  </a:lnTo>
                  <a:lnTo>
                    <a:pt x="4" y="49"/>
                  </a:lnTo>
                  <a:lnTo>
                    <a:pt x="2" y="49"/>
                  </a:lnTo>
                  <a:lnTo>
                    <a:pt x="0" y="47"/>
                  </a:lnTo>
                  <a:lnTo>
                    <a:pt x="0" y="45"/>
                  </a:lnTo>
                  <a:lnTo>
                    <a:pt x="2" y="42"/>
                  </a:lnTo>
                  <a:lnTo>
                    <a:pt x="11" y="37"/>
                  </a:lnTo>
                  <a:lnTo>
                    <a:pt x="33" y="24"/>
                  </a:lnTo>
                  <a:lnTo>
                    <a:pt x="56" y="12"/>
                  </a:lnTo>
                  <a:lnTo>
                    <a:pt x="56" y="12"/>
                  </a:lnTo>
                  <a:lnTo>
                    <a:pt x="66" y="7"/>
                  </a:lnTo>
                  <a:lnTo>
                    <a:pt x="79" y="4"/>
                  </a:lnTo>
                  <a:lnTo>
                    <a:pt x="93" y="2"/>
                  </a:lnTo>
                  <a:lnTo>
                    <a:pt x="108" y="0"/>
                  </a:lnTo>
                  <a:lnTo>
                    <a:pt x="134" y="0"/>
                  </a:lnTo>
                  <a:lnTo>
                    <a:pt x="157" y="0"/>
                  </a:lnTo>
                  <a:lnTo>
                    <a:pt x="157" y="0"/>
                  </a:lnTo>
                  <a:lnTo>
                    <a:pt x="162" y="2"/>
                  </a:lnTo>
                  <a:lnTo>
                    <a:pt x="164" y="4"/>
                  </a:lnTo>
                  <a:lnTo>
                    <a:pt x="162" y="9"/>
                  </a:lnTo>
                  <a:lnTo>
                    <a:pt x="161" y="12"/>
                  </a:lnTo>
                  <a:lnTo>
                    <a:pt x="159" y="16"/>
                  </a:lnTo>
                  <a:lnTo>
                    <a:pt x="161" y="18"/>
                  </a:lnTo>
                  <a:lnTo>
                    <a:pt x="161" y="19"/>
                  </a:lnTo>
                  <a:lnTo>
                    <a:pt x="167" y="18"/>
                  </a:lnTo>
                  <a:lnTo>
                    <a:pt x="181" y="14"/>
                  </a:lnTo>
                  <a:lnTo>
                    <a:pt x="181" y="14"/>
                  </a:lnTo>
                  <a:lnTo>
                    <a:pt x="206" y="7"/>
                  </a:lnTo>
                  <a:lnTo>
                    <a:pt x="211" y="7"/>
                  </a:lnTo>
                  <a:lnTo>
                    <a:pt x="216" y="7"/>
                  </a:lnTo>
                  <a:lnTo>
                    <a:pt x="220" y="9"/>
                  </a:lnTo>
                  <a:lnTo>
                    <a:pt x="223" y="12"/>
                  </a:lnTo>
                  <a:lnTo>
                    <a:pt x="227" y="16"/>
                  </a:lnTo>
                  <a:lnTo>
                    <a:pt x="234" y="19"/>
                  </a:lnTo>
                  <a:lnTo>
                    <a:pt x="234" y="19"/>
                  </a:lnTo>
                  <a:lnTo>
                    <a:pt x="237" y="21"/>
                  </a:lnTo>
                  <a:lnTo>
                    <a:pt x="239" y="24"/>
                  </a:lnTo>
                  <a:lnTo>
                    <a:pt x="239" y="28"/>
                  </a:lnTo>
                  <a:lnTo>
                    <a:pt x="239" y="31"/>
                  </a:lnTo>
                  <a:lnTo>
                    <a:pt x="237" y="38"/>
                  </a:lnTo>
                  <a:lnTo>
                    <a:pt x="232" y="45"/>
                  </a:lnTo>
                  <a:lnTo>
                    <a:pt x="228" y="54"/>
                  </a:lnTo>
                  <a:lnTo>
                    <a:pt x="225" y="61"/>
                  </a:lnTo>
                  <a:lnTo>
                    <a:pt x="225" y="70"/>
                  </a:lnTo>
                  <a:lnTo>
                    <a:pt x="227" y="72"/>
                  </a:lnTo>
                  <a:lnTo>
                    <a:pt x="228" y="75"/>
                  </a:lnTo>
                  <a:lnTo>
                    <a:pt x="228" y="75"/>
                  </a:lnTo>
                  <a:lnTo>
                    <a:pt x="232" y="78"/>
                  </a:lnTo>
                  <a:lnTo>
                    <a:pt x="232" y="80"/>
                  </a:lnTo>
                  <a:lnTo>
                    <a:pt x="232" y="84"/>
                  </a:lnTo>
                  <a:lnTo>
                    <a:pt x="230" y="85"/>
                  </a:lnTo>
                  <a:lnTo>
                    <a:pt x="221" y="91"/>
                  </a:lnTo>
                  <a:lnTo>
                    <a:pt x="209" y="94"/>
                  </a:lnTo>
                  <a:lnTo>
                    <a:pt x="194" y="98"/>
                  </a:lnTo>
                  <a:lnTo>
                    <a:pt x="176" y="98"/>
                  </a:lnTo>
                  <a:lnTo>
                    <a:pt x="159" y="96"/>
                  </a:lnTo>
                  <a:lnTo>
                    <a:pt x="140" y="91"/>
                  </a:lnTo>
                  <a:lnTo>
                    <a:pt x="140" y="91"/>
                  </a:lnTo>
                  <a:lnTo>
                    <a:pt x="122" y="85"/>
                  </a:lnTo>
                  <a:lnTo>
                    <a:pt x="107" y="82"/>
                  </a:lnTo>
                  <a:lnTo>
                    <a:pt x="84" y="80"/>
                  </a:lnTo>
                  <a:lnTo>
                    <a:pt x="68" y="78"/>
                  </a:lnTo>
                  <a:lnTo>
                    <a:pt x="60" y="77"/>
                  </a:lnTo>
                  <a:lnTo>
                    <a:pt x="53" y="75"/>
                  </a:lnTo>
                  <a:lnTo>
                    <a:pt x="53" y="75"/>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1" name="Freeform 1994">
              <a:extLst>
                <a:ext uri="{FF2B5EF4-FFF2-40B4-BE49-F238E27FC236}">
                  <a16:creationId xmlns:a16="http://schemas.microsoft.com/office/drawing/2014/main" id="{D1EDB462-5442-4B67-8D4D-15A2B8F48698}"/>
                </a:ext>
              </a:extLst>
            </p:cNvPr>
            <p:cNvSpPr>
              <a:spLocks/>
            </p:cNvSpPr>
            <p:nvPr/>
          </p:nvSpPr>
          <p:spPr bwMode="auto">
            <a:xfrm>
              <a:off x="7255250" y="1176303"/>
              <a:ext cx="44050" cy="10572"/>
            </a:xfrm>
            <a:custGeom>
              <a:avLst/>
              <a:gdLst/>
              <a:ahLst/>
              <a:cxnLst>
                <a:cxn ang="0">
                  <a:pos x="2" y="4"/>
                </a:cxn>
                <a:cxn ang="0">
                  <a:pos x="2" y="4"/>
                </a:cxn>
                <a:cxn ang="0">
                  <a:pos x="5" y="2"/>
                </a:cxn>
                <a:cxn ang="0">
                  <a:pos x="10" y="0"/>
                </a:cxn>
                <a:cxn ang="0">
                  <a:pos x="29" y="0"/>
                </a:cxn>
                <a:cxn ang="0">
                  <a:pos x="47" y="4"/>
                </a:cxn>
                <a:cxn ang="0">
                  <a:pos x="52" y="6"/>
                </a:cxn>
                <a:cxn ang="0">
                  <a:pos x="54" y="9"/>
                </a:cxn>
                <a:cxn ang="0">
                  <a:pos x="54" y="9"/>
                </a:cxn>
                <a:cxn ang="0">
                  <a:pos x="52" y="11"/>
                </a:cxn>
                <a:cxn ang="0">
                  <a:pos x="45" y="12"/>
                </a:cxn>
                <a:cxn ang="0">
                  <a:pos x="26" y="14"/>
                </a:cxn>
                <a:cxn ang="0">
                  <a:pos x="16" y="12"/>
                </a:cxn>
                <a:cxn ang="0">
                  <a:pos x="7" y="11"/>
                </a:cxn>
                <a:cxn ang="0">
                  <a:pos x="2" y="9"/>
                </a:cxn>
                <a:cxn ang="0">
                  <a:pos x="0" y="7"/>
                </a:cxn>
                <a:cxn ang="0">
                  <a:pos x="2" y="4"/>
                </a:cxn>
                <a:cxn ang="0">
                  <a:pos x="2" y="4"/>
                </a:cxn>
              </a:cxnLst>
              <a:rect l="0" t="0" r="r" b="b"/>
              <a:pathLst>
                <a:path w="54" h="14">
                  <a:moveTo>
                    <a:pt x="2" y="4"/>
                  </a:moveTo>
                  <a:lnTo>
                    <a:pt x="2" y="4"/>
                  </a:lnTo>
                  <a:lnTo>
                    <a:pt x="5" y="2"/>
                  </a:lnTo>
                  <a:lnTo>
                    <a:pt x="10" y="0"/>
                  </a:lnTo>
                  <a:lnTo>
                    <a:pt x="29" y="0"/>
                  </a:lnTo>
                  <a:lnTo>
                    <a:pt x="47" y="4"/>
                  </a:lnTo>
                  <a:lnTo>
                    <a:pt x="52" y="6"/>
                  </a:lnTo>
                  <a:lnTo>
                    <a:pt x="54" y="9"/>
                  </a:lnTo>
                  <a:lnTo>
                    <a:pt x="54" y="9"/>
                  </a:lnTo>
                  <a:lnTo>
                    <a:pt x="52" y="11"/>
                  </a:lnTo>
                  <a:lnTo>
                    <a:pt x="45" y="12"/>
                  </a:lnTo>
                  <a:lnTo>
                    <a:pt x="26" y="14"/>
                  </a:lnTo>
                  <a:lnTo>
                    <a:pt x="16" y="12"/>
                  </a:lnTo>
                  <a:lnTo>
                    <a:pt x="7" y="11"/>
                  </a:lnTo>
                  <a:lnTo>
                    <a:pt x="2" y="9"/>
                  </a:lnTo>
                  <a:lnTo>
                    <a:pt x="0" y="7"/>
                  </a:lnTo>
                  <a:lnTo>
                    <a:pt x="2" y="4"/>
                  </a:lnTo>
                  <a:lnTo>
                    <a:pt x="2"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2" name="Freeform 1995">
              <a:extLst>
                <a:ext uri="{FF2B5EF4-FFF2-40B4-BE49-F238E27FC236}">
                  <a16:creationId xmlns:a16="http://schemas.microsoft.com/office/drawing/2014/main" id="{BD1C0576-7FAA-4056-B6EB-BA56FCAE66FD}"/>
                </a:ext>
              </a:extLst>
            </p:cNvPr>
            <p:cNvSpPr>
              <a:spLocks/>
            </p:cNvSpPr>
            <p:nvPr/>
          </p:nvSpPr>
          <p:spPr bwMode="auto">
            <a:xfrm>
              <a:off x="3650201" y="4286243"/>
              <a:ext cx="79291" cy="123341"/>
            </a:xfrm>
            <a:custGeom>
              <a:avLst/>
              <a:gdLst/>
              <a:ahLst/>
              <a:cxnLst>
                <a:cxn ang="0">
                  <a:pos x="23" y="0"/>
                </a:cxn>
                <a:cxn ang="0">
                  <a:pos x="33" y="5"/>
                </a:cxn>
                <a:cxn ang="0">
                  <a:pos x="53" y="12"/>
                </a:cxn>
                <a:cxn ang="0">
                  <a:pos x="63" y="19"/>
                </a:cxn>
                <a:cxn ang="0">
                  <a:pos x="66" y="22"/>
                </a:cxn>
                <a:cxn ang="0">
                  <a:pos x="72" y="31"/>
                </a:cxn>
                <a:cxn ang="0">
                  <a:pos x="84" y="38"/>
                </a:cxn>
                <a:cxn ang="0">
                  <a:pos x="89" y="43"/>
                </a:cxn>
                <a:cxn ang="0">
                  <a:pos x="91" y="48"/>
                </a:cxn>
                <a:cxn ang="0">
                  <a:pos x="94" y="50"/>
                </a:cxn>
                <a:cxn ang="0">
                  <a:pos x="98" y="47"/>
                </a:cxn>
                <a:cxn ang="0">
                  <a:pos x="101" y="61"/>
                </a:cxn>
                <a:cxn ang="0">
                  <a:pos x="101" y="64"/>
                </a:cxn>
                <a:cxn ang="0">
                  <a:pos x="101" y="71"/>
                </a:cxn>
                <a:cxn ang="0">
                  <a:pos x="101" y="73"/>
                </a:cxn>
                <a:cxn ang="0">
                  <a:pos x="84" y="102"/>
                </a:cxn>
                <a:cxn ang="0">
                  <a:pos x="72" y="132"/>
                </a:cxn>
                <a:cxn ang="0">
                  <a:pos x="63" y="149"/>
                </a:cxn>
                <a:cxn ang="0">
                  <a:pos x="58" y="151"/>
                </a:cxn>
                <a:cxn ang="0">
                  <a:pos x="49" y="151"/>
                </a:cxn>
                <a:cxn ang="0">
                  <a:pos x="44" y="144"/>
                </a:cxn>
                <a:cxn ang="0">
                  <a:pos x="40" y="148"/>
                </a:cxn>
                <a:cxn ang="0">
                  <a:pos x="37" y="149"/>
                </a:cxn>
                <a:cxn ang="0">
                  <a:pos x="32" y="146"/>
                </a:cxn>
                <a:cxn ang="0">
                  <a:pos x="28" y="144"/>
                </a:cxn>
                <a:cxn ang="0">
                  <a:pos x="23" y="149"/>
                </a:cxn>
                <a:cxn ang="0">
                  <a:pos x="18" y="153"/>
                </a:cxn>
                <a:cxn ang="0">
                  <a:pos x="7" y="151"/>
                </a:cxn>
                <a:cxn ang="0">
                  <a:pos x="0" y="146"/>
                </a:cxn>
                <a:cxn ang="0">
                  <a:pos x="11" y="134"/>
                </a:cxn>
                <a:cxn ang="0">
                  <a:pos x="14" y="122"/>
                </a:cxn>
                <a:cxn ang="0">
                  <a:pos x="16" y="106"/>
                </a:cxn>
                <a:cxn ang="0">
                  <a:pos x="18" y="104"/>
                </a:cxn>
                <a:cxn ang="0">
                  <a:pos x="21" y="94"/>
                </a:cxn>
                <a:cxn ang="0">
                  <a:pos x="14" y="83"/>
                </a:cxn>
                <a:cxn ang="0">
                  <a:pos x="11" y="76"/>
                </a:cxn>
                <a:cxn ang="0">
                  <a:pos x="6" y="48"/>
                </a:cxn>
                <a:cxn ang="0">
                  <a:pos x="6" y="36"/>
                </a:cxn>
                <a:cxn ang="0">
                  <a:pos x="14" y="19"/>
                </a:cxn>
                <a:cxn ang="0">
                  <a:pos x="23" y="0"/>
                </a:cxn>
              </a:cxnLst>
              <a:rect l="0" t="0" r="r" b="b"/>
              <a:pathLst>
                <a:path w="101" h="155">
                  <a:moveTo>
                    <a:pt x="23" y="0"/>
                  </a:moveTo>
                  <a:lnTo>
                    <a:pt x="23" y="0"/>
                  </a:lnTo>
                  <a:lnTo>
                    <a:pt x="33" y="5"/>
                  </a:lnTo>
                  <a:lnTo>
                    <a:pt x="33" y="5"/>
                  </a:lnTo>
                  <a:lnTo>
                    <a:pt x="44" y="8"/>
                  </a:lnTo>
                  <a:lnTo>
                    <a:pt x="53" y="12"/>
                  </a:lnTo>
                  <a:lnTo>
                    <a:pt x="60" y="15"/>
                  </a:lnTo>
                  <a:lnTo>
                    <a:pt x="63" y="19"/>
                  </a:lnTo>
                  <a:lnTo>
                    <a:pt x="66" y="22"/>
                  </a:lnTo>
                  <a:lnTo>
                    <a:pt x="66" y="22"/>
                  </a:lnTo>
                  <a:lnTo>
                    <a:pt x="68" y="28"/>
                  </a:lnTo>
                  <a:lnTo>
                    <a:pt x="72" y="31"/>
                  </a:lnTo>
                  <a:lnTo>
                    <a:pt x="79" y="35"/>
                  </a:lnTo>
                  <a:lnTo>
                    <a:pt x="84" y="38"/>
                  </a:lnTo>
                  <a:lnTo>
                    <a:pt x="87" y="40"/>
                  </a:lnTo>
                  <a:lnTo>
                    <a:pt x="89" y="43"/>
                  </a:lnTo>
                  <a:lnTo>
                    <a:pt x="89" y="43"/>
                  </a:lnTo>
                  <a:lnTo>
                    <a:pt x="91" y="48"/>
                  </a:lnTo>
                  <a:lnTo>
                    <a:pt x="94" y="50"/>
                  </a:lnTo>
                  <a:lnTo>
                    <a:pt x="94" y="50"/>
                  </a:lnTo>
                  <a:lnTo>
                    <a:pt x="96" y="48"/>
                  </a:lnTo>
                  <a:lnTo>
                    <a:pt x="98" y="47"/>
                  </a:lnTo>
                  <a:lnTo>
                    <a:pt x="98" y="48"/>
                  </a:lnTo>
                  <a:lnTo>
                    <a:pt x="101" y="61"/>
                  </a:lnTo>
                  <a:lnTo>
                    <a:pt x="101" y="61"/>
                  </a:lnTo>
                  <a:lnTo>
                    <a:pt x="101" y="64"/>
                  </a:lnTo>
                  <a:lnTo>
                    <a:pt x="101" y="68"/>
                  </a:lnTo>
                  <a:lnTo>
                    <a:pt x="101" y="71"/>
                  </a:lnTo>
                  <a:lnTo>
                    <a:pt x="101" y="73"/>
                  </a:lnTo>
                  <a:lnTo>
                    <a:pt x="101" y="73"/>
                  </a:lnTo>
                  <a:lnTo>
                    <a:pt x="84" y="102"/>
                  </a:lnTo>
                  <a:lnTo>
                    <a:pt x="84" y="102"/>
                  </a:lnTo>
                  <a:lnTo>
                    <a:pt x="79" y="116"/>
                  </a:lnTo>
                  <a:lnTo>
                    <a:pt x="72" y="132"/>
                  </a:lnTo>
                  <a:lnTo>
                    <a:pt x="66" y="146"/>
                  </a:lnTo>
                  <a:lnTo>
                    <a:pt x="63" y="149"/>
                  </a:lnTo>
                  <a:lnTo>
                    <a:pt x="58" y="151"/>
                  </a:lnTo>
                  <a:lnTo>
                    <a:pt x="58" y="151"/>
                  </a:lnTo>
                  <a:lnTo>
                    <a:pt x="53" y="151"/>
                  </a:lnTo>
                  <a:lnTo>
                    <a:pt x="49" y="151"/>
                  </a:lnTo>
                  <a:lnTo>
                    <a:pt x="46" y="148"/>
                  </a:lnTo>
                  <a:lnTo>
                    <a:pt x="44" y="144"/>
                  </a:lnTo>
                  <a:lnTo>
                    <a:pt x="42" y="146"/>
                  </a:lnTo>
                  <a:lnTo>
                    <a:pt x="40" y="148"/>
                  </a:lnTo>
                  <a:lnTo>
                    <a:pt x="40" y="148"/>
                  </a:lnTo>
                  <a:lnTo>
                    <a:pt x="37" y="149"/>
                  </a:lnTo>
                  <a:lnTo>
                    <a:pt x="35" y="149"/>
                  </a:lnTo>
                  <a:lnTo>
                    <a:pt x="32" y="146"/>
                  </a:lnTo>
                  <a:lnTo>
                    <a:pt x="30" y="146"/>
                  </a:lnTo>
                  <a:lnTo>
                    <a:pt x="28" y="144"/>
                  </a:lnTo>
                  <a:lnTo>
                    <a:pt x="25" y="146"/>
                  </a:lnTo>
                  <a:lnTo>
                    <a:pt x="23" y="149"/>
                  </a:lnTo>
                  <a:lnTo>
                    <a:pt x="23" y="149"/>
                  </a:lnTo>
                  <a:lnTo>
                    <a:pt x="18" y="153"/>
                  </a:lnTo>
                  <a:lnTo>
                    <a:pt x="13" y="155"/>
                  </a:lnTo>
                  <a:lnTo>
                    <a:pt x="7" y="151"/>
                  </a:lnTo>
                  <a:lnTo>
                    <a:pt x="0" y="146"/>
                  </a:lnTo>
                  <a:lnTo>
                    <a:pt x="0" y="146"/>
                  </a:lnTo>
                  <a:lnTo>
                    <a:pt x="7" y="139"/>
                  </a:lnTo>
                  <a:lnTo>
                    <a:pt x="11" y="134"/>
                  </a:lnTo>
                  <a:lnTo>
                    <a:pt x="13" y="127"/>
                  </a:lnTo>
                  <a:lnTo>
                    <a:pt x="14" y="122"/>
                  </a:lnTo>
                  <a:lnTo>
                    <a:pt x="14" y="111"/>
                  </a:lnTo>
                  <a:lnTo>
                    <a:pt x="16" y="106"/>
                  </a:lnTo>
                  <a:lnTo>
                    <a:pt x="18" y="104"/>
                  </a:lnTo>
                  <a:lnTo>
                    <a:pt x="18" y="104"/>
                  </a:lnTo>
                  <a:lnTo>
                    <a:pt x="21" y="97"/>
                  </a:lnTo>
                  <a:lnTo>
                    <a:pt x="21" y="94"/>
                  </a:lnTo>
                  <a:lnTo>
                    <a:pt x="19" y="88"/>
                  </a:lnTo>
                  <a:lnTo>
                    <a:pt x="14" y="83"/>
                  </a:lnTo>
                  <a:lnTo>
                    <a:pt x="14" y="83"/>
                  </a:lnTo>
                  <a:lnTo>
                    <a:pt x="11" y="76"/>
                  </a:lnTo>
                  <a:lnTo>
                    <a:pt x="7" y="71"/>
                  </a:lnTo>
                  <a:lnTo>
                    <a:pt x="6" y="48"/>
                  </a:lnTo>
                  <a:lnTo>
                    <a:pt x="6" y="48"/>
                  </a:lnTo>
                  <a:lnTo>
                    <a:pt x="6" y="36"/>
                  </a:lnTo>
                  <a:lnTo>
                    <a:pt x="9" y="28"/>
                  </a:lnTo>
                  <a:lnTo>
                    <a:pt x="14" y="19"/>
                  </a:lnTo>
                  <a:lnTo>
                    <a:pt x="19" y="10"/>
                  </a:lnTo>
                  <a:lnTo>
                    <a:pt x="23" y="0"/>
                  </a:lnTo>
                  <a:lnTo>
                    <a:pt x="2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3" name="Freeform 1996">
              <a:extLst>
                <a:ext uri="{FF2B5EF4-FFF2-40B4-BE49-F238E27FC236}">
                  <a16:creationId xmlns:a16="http://schemas.microsoft.com/office/drawing/2014/main" id="{41A6A507-E8E6-458A-BBAE-569585789D2A}"/>
                </a:ext>
              </a:extLst>
            </p:cNvPr>
            <p:cNvSpPr>
              <a:spLocks/>
            </p:cNvSpPr>
            <p:nvPr/>
          </p:nvSpPr>
          <p:spPr bwMode="auto">
            <a:xfrm>
              <a:off x="2767438" y="4099473"/>
              <a:ext cx="95148" cy="107483"/>
            </a:xfrm>
            <a:custGeom>
              <a:avLst/>
              <a:gdLst/>
              <a:ahLst/>
              <a:cxnLst>
                <a:cxn ang="0">
                  <a:pos x="115" y="73"/>
                </a:cxn>
                <a:cxn ang="0">
                  <a:pos x="108" y="68"/>
                </a:cxn>
                <a:cxn ang="0">
                  <a:pos x="104" y="77"/>
                </a:cxn>
                <a:cxn ang="0">
                  <a:pos x="104" y="92"/>
                </a:cxn>
                <a:cxn ang="0">
                  <a:pos x="111" y="98"/>
                </a:cxn>
                <a:cxn ang="0">
                  <a:pos x="109" y="101"/>
                </a:cxn>
                <a:cxn ang="0">
                  <a:pos x="106" y="112"/>
                </a:cxn>
                <a:cxn ang="0">
                  <a:pos x="102" y="122"/>
                </a:cxn>
                <a:cxn ang="0">
                  <a:pos x="106" y="134"/>
                </a:cxn>
                <a:cxn ang="0">
                  <a:pos x="97" y="125"/>
                </a:cxn>
                <a:cxn ang="0">
                  <a:pos x="97" y="117"/>
                </a:cxn>
                <a:cxn ang="0">
                  <a:pos x="94" y="110"/>
                </a:cxn>
                <a:cxn ang="0">
                  <a:pos x="90" y="106"/>
                </a:cxn>
                <a:cxn ang="0">
                  <a:pos x="87" y="106"/>
                </a:cxn>
                <a:cxn ang="0">
                  <a:pos x="87" y="112"/>
                </a:cxn>
                <a:cxn ang="0">
                  <a:pos x="92" y="120"/>
                </a:cxn>
                <a:cxn ang="0">
                  <a:pos x="90" y="120"/>
                </a:cxn>
                <a:cxn ang="0">
                  <a:pos x="85" y="119"/>
                </a:cxn>
                <a:cxn ang="0">
                  <a:pos x="76" y="112"/>
                </a:cxn>
                <a:cxn ang="0">
                  <a:pos x="76" y="108"/>
                </a:cxn>
                <a:cxn ang="0">
                  <a:pos x="80" y="96"/>
                </a:cxn>
                <a:cxn ang="0">
                  <a:pos x="76" y="89"/>
                </a:cxn>
                <a:cxn ang="0">
                  <a:pos x="55" y="73"/>
                </a:cxn>
                <a:cxn ang="0">
                  <a:pos x="45" y="70"/>
                </a:cxn>
                <a:cxn ang="0">
                  <a:pos x="43" y="65"/>
                </a:cxn>
                <a:cxn ang="0">
                  <a:pos x="38" y="51"/>
                </a:cxn>
                <a:cxn ang="0">
                  <a:pos x="24" y="44"/>
                </a:cxn>
                <a:cxn ang="0">
                  <a:pos x="22" y="44"/>
                </a:cxn>
                <a:cxn ang="0">
                  <a:pos x="24" y="49"/>
                </a:cxn>
                <a:cxn ang="0">
                  <a:pos x="34" y="61"/>
                </a:cxn>
                <a:cxn ang="0">
                  <a:pos x="27" y="68"/>
                </a:cxn>
                <a:cxn ang="0">
                  <a:pos x="24" y="66"/>
                </a:cxn>
                <a:cxn ang="0">
                  <a:pos x="10" y="56"/>
                </a:cxn>
                <a:cxn ang="0">
                  <a:pos x="3" y="49"/>
                </a:cxn>
                <a:cxn ang="0">
                  <a:pos x="1" y="33"/>
                </a:cxn>
                <a:cxn ang="0">
                  <a:pos x="7" y="28"/>
                </a:cxn>
                <a:cxn ang="0">
                  <a:pos x="8" y="18"/>
                </a:cxn>
                <a:cxn ang="0">
                  <a:pos x="0" y="14"/>
                </a:cxn>
                <a:cxn ang="0">
                  <a:pos x="0" y="12"/>
                </a:cxn>
                <a:cxn ang="0">
                  <a:pos x="7" y="7"/>
                </a:cxn>
                <a:cxn ang="0">
                  <a:pos x="7" y="2"/>
                </a:cxn>
                <a:cxn ang="0">
                  <a:pos x="26" y="9"/>
                </a:cxn>
                <a:cxn ang="0">
                  <a:pos x="34" y="12"/>
                </a:cxn>
                <a:cxn ang="0">
                  <a:pos x="41" y="5"/>
                </a:cxn>
                <a:cxn ang="0">
                  <a:pos x="47" y="9"/>
                </a:cxn>
                <a:cxn ang="0">
                  <a:pos x="54" y="9"/>
                </a:cxn>
                <a:cxn ang="0">
                  <a:pos x="61" y="18"/>
                </a:cxn>
                <a:cxn ang="0">
                  <a:pos x="73" y="21"/>
                </a:cxn>
                <a:cxn ang="0">
                  <a:pos x="78" y="12"/>
                </a:cxn>
                <a:cxn ang="0">
                  <a:pos x="85" y="28"/>
                </a:cxn>
                <a:cxn ang="0">
                  <a:pos x="97" y="49"/>
                </a:cxn>
                <a:cxn ang="0">
                  <a:pos x="116" y="72"/>
                </a:cxn>
              </a:cxnLst>
              <a:rect l="0" t="0" r="r" b="b"/>
              <a:pathLst>
                <a:path w="116" h="134">
                  <a:moveTo>
                    <a:pt x="116" y="72"/>
                  </a:moveTo>
                  <a:lnTo>
                    <a:pt x="116" y="72"/>
                  </a:lnTo>
                  <a:lnTo>
                    <a:pt x="115" y="73"/>
                  </a:lnTo>
                  <a:lnTo>
                    <a:pt x="111" y="72"/>
                  </a:lnTo>
                  <a:lnTo>
                    <a:pt x="109" y="70"/>
                  </a:lnTo>
                  <a:lnTo>
                    <a:pt x="108" y="68"/>
                  </a:lnTo>
                  <a:lnTo>
                    <a:pt x="108" y="68"/>
                  </a:lnTo>
                  <a:lnTo>
                    <a:pt x="106" y="72"/>
                  </a:lnTo>
                  <a:lnTo>
                    <a:pt x="104" y="77"/>
                  </a:lnTo>
                  <a:lnTo>
                    <a:pt x="104" y="91"/>
                  </a:lnTo>
                  <a:lnTo>
                    <a:pt x="104" y="91"/>
                  </a:lnTo>
                  <a:lnTo>
                    <a:pt x="104" y="92"/>
                  </a:lnTo>
                  <a:lnTo>
                    <a:pt x="106" y="92"/>
                  </a:lnTo>
                  <a:lnTo>
                    <a:pt x="109" y="96"/>
                  </a:lnTo>
                  <a:lnTo>
                    <a:pt x="111" y="98"/>
                  </a:lnTo>
                  <a:lnTo>
                    <a:pt x="111" y="99"/>
                  </a:lnTo>
                  <a:lnTo>
                    <a:pt x="109" y="101"/>
                  </a:lnTo>
                  <a:lnTo>
                    <a:pt x="109" y="101"/>
                  </a:lnTo>
                  <a:lnTo>
                    <a:pt x="104" y="105"/>
                  </a:lnTo>
                  <a:lnTo>
                    <a:pt x="104" y="108"/>
                  </a:lnTo>
                  <a:lnTo>
                    <a:pt x="106" y="112"/>
                  </a:lnTo>
                  <a:lnTo>
                    <a:pt x="106" y="117"/>
                  </a:lnTo>
                  <a:lnTo>
                    <a:pt x="106" y="117"/>
                  </a:lnTo>
                  <a:lnTo>
                    <a:pt x="102" y="122"/>
                  </a:lnTo>
                  <a:lnTo>
                    <a:pt x="102" y="125"/>
                  </a:lnTo>
                  <a:lnTo>
                    <a:pt x="106" y="134"/>
                  </a:lnTo>
                  <a:lnTo>
                    <a:pt x="106" y="134"/>
                  </a:lnTo>
                  <a:lnTo>
                    <a:pt x="104" y="134"/>
                  </a:lnTo>
                  <a:lnTo>
                    <a:pt x="102" y="131"/>
                  </a:lnTo>
                  <a:lnTo>
                    <a:pt x="97" y="125"/>
                  </a:lnTo>
                  <a:lnTo>
                    <a:pt x="97" y="125"/>
                  </a:lnTo>
                  <a:lnTo>
                    <a:pt x="97" y="122"/>
                  </a:lnTo>
                  <a:lnTo>
                    <a:pt x="97" y="117"/>
                  </a:lnTo>
                  <a:lnTo>
                    <a:pt x="97" y="113"/>
                  </a:lnTo>
                  <a:lnTo>
                    <a:pt x="95" y="112"/>
                  </a:lnTo>
                  <a:lnTo>
                    <a:pt x="94" y="110"/>
                  </a:lnTo>
                  <a:lnTo>
                    <a:pt x="94" y="110"/>
                  </a:lnTo>
                  <a:lnTo>
                    <a:pt x="92" y="108"/>
                  </a:lnTo>
                  <a:lnTo>
                    <a:pt x="90" y="106"/>
                  </a:lnTo>
                  <a:lnTo>
                    <a:pt x="90" y="105"/>
                  </a:lnTo>
                  <a:lnTo>
                    <a:pt x="87" y="106"/>
                  </a:lnTo>
                  <a:lnTo>
                    <a:pt x="87" y="106"/>
                  </a:lnTo>
                  <a:lnTo>
                    <a:pt x="85" y="106"/>
                  </a:lnTo>
                  <a:lnTo>
                    <a:pt x="85" y="108"/>
                  </a:lnTo>
                  <a:lnTo>
                    <a:pt x="87" y="112"/>
                  </a:lnTo>
                  <a:lnTo>
                    <a:pt x="90" y="115"/>
                  </a:lnTo>
                  <a:lnTo>
                    <a:pt x="92" y="117"/>
                  </a:lnTo>
                  <a:lnTo>
                    <a:pt x="92" y="120"/>
                  </a:lnTo>
                  <a:lnTo>
                    <a:pt x="92" y="120"/>
                  </a:lnTo>
                  <a:lnTo>
                    <a:pt x="92" y="122"/>
                  </a:lnTo>
                  <a:lnTo>
                    <a:pt x="90" y="120"/>
                  </a:lnTo>
                  <a:lnTo>
                    <a:pt x="88" y="119"/>
                  </a:lnTo>
                  <a:lnTo>
                    <a:pt x="85" y="119"/>
                  </a:lnTo>
                  <a:lnTo>
                    <a:pt x="85" y="119"/>
                  </a:lnTo>
                  <a:lnTo>
                    <a:pt x="81" y="117"/>
                  </a:lnTo>
                  <a:lnTo>
                    <a:pt x="78" y="115"/>
                  </a:lnTo>
                  <a:lnTo>
                    <a:pt x="76" y="112"/>
                  </a:lnTo>
                  <a:lnTo>
                    <a:pt x="76" y="110"/>
                  </a:lnTo>
                  <a:lnTo>
                    <a:pt x="76" y="108"/>
                  </a:lnTo>
                  <a:lnTo>
                    <a:pt x="76" y="108"/>
                  </a:lnTo>
                  <a:lnTo>
                    <a:pt x="80" y="105"/>
                  </a:lnTo>
                  <a:lnTo>
                    <a:pt x="80" y="101"/>
                  </a:lnTo>
                  <a:lnTo>
                    <a:pt x="80" y="96"/>
                  </a:lnTo>
                  <a:lnTo>
                    <a:pt x="80" y="96"/>
                  </a:lnTo>
                  <a:lnTo>
                    <a:pt x="80" y="92"/>
                  </a:lnTo>
                  <a:lnTo>
                    <a:pt x="76" y="89"/>
                  </a:lnTo>
                  <a:lnTo>
                    <a:pt x="64" y="78"/>
                  </a:lnTo>
                  <a:lnTo>
                    <a:pt x="64" y="78"/>
                  </a:lnTo>
                  <a:lnTo>
                    <a:pt x="55" y="73"/>
                  </a:lnTo>
                  <a:lnTo>
                    <a:pt x="52" y="72"/>
                  </a:lnTo>
                  <a:lnTo>
                    <a:pt x="48" y="72"/>
                  </a:lnTo>
                  <a:lnTo>
                    <a:pt x="45" y="70"/>
                  </a:lnTo>
                  <a:lnTo>
                    <a:pt x="45" y="70"/>
                  </a:lnTo>
                  <a:lnTo>
                    <a:pt x="43" y="66"/>
                  </a:lnTo>
                  <a:lnTo>
                    <a:pt x="43" y="65"/>
                  </a:lnTo>
                  <a:lnTo>
                    <a:pt x="41" y="56"/>
                  </a:lnTo>
                  <a:lnTo>
                    <a:pt x="41" y="56"/>
                  </a:lnTo>
                  <a:lnTo>
                    <a:pt x="38" y="51"/>
                  </a:lnTo>
                  <a:lnTo>
                    <a:pt x="33" y="49"/>
                  </a:lnTo>
                  <a:lnTo>
                    <a:pt x="27" y="45"/>
                  </a:lnTo>
                  <a:lnTo>
                    <a:pt x="24" y="44"/>
                  </a:lnTo>
                  <a:lnTo>
                    <a:pt x="24" y="44"/>
                  </a:lnTo>
                  <a:lnTo>
                    <a:pt x="22" y="42"/>
                  </a:lnTo>
                  <a:lnTo>
                    <a:pt x="22" y="44"/>
                  </a:lnTo>
                  <a:lnTo>
                    <a:pt x="22" y="45"/>
                  </a:lnTo>
                  <a:lnTo>
                    <a:pt x="24" y="49"/>
                  </a:lnTo>
                  <a:lnTo>
                    <a:pt x="24" y="49"/>
                  </a:lnTo>
                  <a:lnTo>
                    <a:pt x="33" y="56"/>
                  </a:lnTo>
                  <a:lnTo>
                    <a:pt x="36" y="59"/>
                  </a:lnTo>
                  <a:lnTo>
                    <a:pt x="34" y="61"/>
                  </a:lnTo>
                  <a:lnTo>
                    <a:pt x="33" y="63"/>
                  </a:lnTo>
                  <a:lnTo>
                    <a:pt x="33" y="63"/>
                  </a:lnTo>
                  <a:lnTo>
                    <a:pt x="27" y="68"/>
                  </a:lnTo>
                  <a:lnTo>
                    <a:pt x="26" y="68"/>
                  </a:lnTo>
                  <a:lnTo>
                    <a:pt x="24" y="66"/>
                  </a:lnTo>
                  <a:lnTo>
                    <a:pt x="24" y="66"/>
                  </a:lnTo>
                  <a:lnTo>
                    <a:pt x="22" y="63"/>
                  </a:lnTo>
                  <a:lnTo>
                    <a:pt x="17" y="59"/>
                  </a:lnTo>
                  <a:lnTo>
                    <a:pt x="10" y="56"/>
                  </a:lnTo>
                  <a:lnTo>
                    <a:pt x="10" y="56"/>
                  </a:lnTo>
                  <a:lnTo>
                    <a:pt x="7" y="54"/>
                  </a:lnTo>
                  <a:lnTo>
                    <a:pt x="3" y="49"/>
                  </a:lnTo>
                  <a:lnTo>
                    <a:pt x="1" y="42"/>
                  </a:lnTo>
                  <a:lnTo>
                    <a:pt x="1" y="33"/>
                  </a:lnTo>
                  <a:lnTo>
                    <a:pt x="1" y="33"/>
                  </a:lnTo>
                  <a:lnTo>
                    <a:pt x="3" y="28"/>
                  </a:lnTo>
                  <a:lnTo>
                    <a:pt x="5" y="28"/>
                  </a:lnTo>
                  <a:lnTo>
                    <a:pt x="7" y="28"/>
                  </a:lnTo>
                  <a:lnTo>
                    <a:pt x="8" y="23"/>
                  </a:lnTo>
                  <a:lnTo>
                    <a:pt x="8" y="23"/>
                  </a:lnTo>
                  <a:lnTo>
                    <a:pt x="8" y="18"/>
                  </a:lnTo>
                  <a:lnTo>
                    <a:pt x="7" y="16"/>
                  </a:lnTo>
                  <a:lnTo>
                    <a:pt x="5" y="16"/>
                  </a:lnTo>
                  <a:lnTo>
                    <a:pt x="0" y="14"/>
                  </a:lnTo>
                  <a:lnTo>
                    <a:pt x="0" y="14"/>
                  </a:lnTo>
                  <a:lnTo>
                    <a:pt x="0" y="14"/>
                  </a:lnTo>
                  <a:lnTo>
                    <a:pt x="0" y="12"/>
                  </a:lnTo>
                  <a:lnTo>
                    <a:pt x="3" y="11"/>
                  </a:lnTo>
                  <a:lnTo>
                    <a:pt x="7" y="9"/>
                  </a:lnTo>
                  <a:lnTo>
                    <a:pt x="7" y="7"/>
                  </a:lnTo>
                  <a:lnTo>
                    <a:pt x="5" y="4"/>
                  </a:lnTo>
                  <a:lnTo>
                    <a:pt x="5" y="4"/>
                  </a:lnTo>
                  <a:lnTo>
                    <a:pt x="7" y="2"/>
                  </a:lnTo>
                  <a:lnTo>
                    <a:pt x="10" y="0"/>
                  </a:lnTo>
                  <a:lnTo>
                    <a:pt x="15" y="2"/>
                  </a:lnTo>
                  <a:lnTo>
                    <a:pt x="26" y="9"/>
                  </a:lnTo>
                  <a:lnTo>
                    <a:pt x="26" y="9"/>
                  </a:lnTo>
                  <a:lnTo>
                    <a:pt x="31" y="11"/>
                  </a:lnTo>
                  <a:lnTo>
                    <a:pt x="34" y="12"/>
                  </a:lnTo>
                  <a:lnTo>
                    <a:pt x="36" y="11"/>
                  </a:lnTo>
                  <a:lnTo>
                    <a:pt x="38" y="9"/>
                  </a:lnTo>
                  <a:lnTo>
                    <a:pt x="41" y="5"/>
                  </a:lnTo>
                  <a:lnTo>
                    <a:pt x="43" y="5"/>
                  </a:lnTo>
                  <a:lnTo>
                    <a:pt x="47" y="9"/>
                  </a:lnTo>
                  <a:lnTo>
                    <a:pt x="47" y="9"/>
                  </a:lnTo>
                  <a:lnTo>
                    <a:pt x="50" y="11"/>
                  </a:lnTo>
                  <a:lnTo>
                    <a:pt x="52" y="9"/>
                  </a:lnTo>
                  <a:lnTo>
                    <a:pt x="54" y="9"/>
                  </a:lnTo>
                  <a:lnTo>
                    <a:pt x="57" y="14"/>
                  </a:lnTo>
                  <a:lnTo>
                    <a:pt x="57" y="14"/>
                  </a:lnTo>
                  <a:lnTo>
                    <a:pt x="61" y="18"/>
                  </a:lnTo>
                  <a:lnTo>
                    <a:pt x="66" y="21"/>
                  </a:lnTo>
                  <a:lnTo>
                    <a:pt x="69" y="21"/>
                  </a:lnTo>
                  <a:lnTo>
                    <a:pt x="73" y="21"/>
                  </a:lnTo>
                  <a:lnTo>
                    <a:pt x="76" y="18"/>
                  </a:lnTo>
                  <a:lnTo>
                    <a:pt x="78" y="12"/>
                  </a:lnTo>
                  <a:lnTo>
                    <a:pt x="78" y="12"/>
                  </a:lnTo>
                  <a:lnTo>
                    <a:pt x="81" y="16"/>
                  </a:lnTo>
                  <a:lnTo>
                    <a:pt x="83" y="21"/>
                  </a:lnTo>
                  <a:lnTo>
                    <a:pt x="85" y="28"/>
                  </a:lnTo>
                  <a:lnTo>
                    <a:pt x="88" y="37"/>
                  </a:lnTo>
                  <a:lnTo>
                    <a:pt x="88" y="37"/>
                  </a:lnTo>
                  <a:lnTo>
                    <a:pt x="97" y="49"/>
                  </a:lnTo>
                  <a:lnTo>
                    <a:pt x="106" y="58"/>
                  </a:lnTo>
                  <a:lnTo>
                    <a:pt x="113" y="65"/>
                  </a:lnTo>
                  <a:lnTo>
                    <a:pt x="116" y="72"/>
                  </a:lnTo>
                  <a:lnTo>
                    <a:pt x="116" y="7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4" name="Freeform 1997">
              <a:extLst>
                <a:ext uri="{FF2B5EF4-FFF2-40B4-BE49-F238E27FC236}">
                  <a16:creationId xmlns:a16="http://schemas.microsoft.com/office/drawing/2014/main" id="{925FDD69-DBDE-4075-B8DD-9433D0E97D43}"/>
                </a:ext>
              </a:extLst>
            </p:cNvPr>
            <p:cNvSpPr>
              <a:spLocks/>
            </p:cNvSpPr>
            <p:nvPr/>
          </p:nvSpPr>
          <p:spPr bwMode="auto">
            <a:xfrm>
              <a:off x="2668765" y="3933846"/>
              <a:ext cx="177962" cy="107483"/>
            </a:xfrm>
            <a:custGeom>
              <a:avLst/>
              <a:gdLst/>
              <a:ahLst/>
              <a:cxnLst>
                <a:cxn ang="0">
                  <a:pos x="24" y="28"/>
                </a:cxn>
                <a:cxn ang="0">
                  <a:pos x="8" y="42"/>
                </a:cxn>
                <a:cxn ang="0">
                  <a:pos x="8" y="59"/>
                </a:cxn>
                <a:cxn ang="0">
                  <a:pos x="0" y="68"/>
                </a:cxn>
                <a:cxn ang="0">
                  <a:pos x="14" y="77"/>
                </a:cxn>
                <a:cxn ang="0">
                  <a:pos x="31" y="94"/>
                </a:cxn>
                <a:cxn ang="0">
                  <a:pos x="38" y="92"/>
                </a:cxn>
                <a:cxn ang="0">
                  <a:pos x="55" y="94"/>
                </a:cxn>
                <a:cxn ang="0">
                  <a:pos x="57" y="103"/>
                </a:cxn>
                <a:cxn ang="0">
                  <a:pos x="55" y="113"/>
                </a:cxn>
                <a:cxn ang="0">
                  <a:pos x="61" y="111"/>
                </a:cxn>
                <a:cxn ang="0">
                  <a:pos x="64" y="117"/>
                </a:cxn>
                <a:cxn ang="0">
                  <a:pos x="73" y="129"/>
                </a:cxn>
                <a:cxn ang="0">
                  <a:pos x="78" y="132"/>
                </a:cxn>
                <a:cxn ang="0">
                  <a:pos x="87" y="122"/>
                </a:cxn>
                <a:cxn ang="0">
                  <a:pos x="89" y="118"/>
                </a:cxn>
                <a:cxn ang="0">
                  <a:pos x="94" y="117"/>
                </a:cxn>
                <a:cxn ang="0">
                  <a:pos x="90" y="101"/>
                </a:cxn>
                <a:cxn ang="0">
                  <a:pos x="97" y="97"/>
                </a:cxn>
                <a:cxn ang="0">
                  <a:pos x="106" y="97"/>
                </a:cxn>
                <a:cxn ang="0">
                  <a:pos x="115" y="85"/>
                </a:cxn>
                <a:cxn ang="0">
                  <a:pos x="118" y="87"/>
                </a:cxn>
                <a:cxn ang="0">
                  <a:pos x="127" y="94"/>
                </a:cxn>
                <a:cxn ang="0">
                  <a:pos x="129" y="89"/>
                </a:cxn>
                <a:cxn ang="0">
                  <a:pos x="149" y="66"/>
                </a:cxn>
                <a:cxn ang="0">
                  <a:pos x="155" y="57"/>
                </a:cxn>
                <a:cxn ang="0">
                  <a:pos x="160" y="52"/>
                </a:cxn>
                <a:cxn ang="0">
                  <a:pos x="169" y="59"/>
                </a:cxn>
                <a:cxn ang="0">
                  <a:pos x="195" y="54"/>
                </a:cxn>
                <a:cxn ang="0">
                  <a:pos x="203" y="45"/>
                </a:cxn>
                <a:cxn ang="0">
                  <a:pos x="219" y="45"/>
                </a:cxn>
                <a:cxn ang="0">
                  <a:pos x="216" y="40"/>
                </a:cxn>
                <a:cxn ang="0">
                  <a:pos x="205" y="30"/>
                </a:cxn>
                <a:cxn ang="0">
                  <a:pos x="183" y="14"/>
                </a:cxn>
                <a:cxn ang="0">
                  <a:pos x="156" y="2"/>
                </a:cxn>
                <a:cxn ang="0">
                  <a:pos x="148" y="5"/>
                </a:cxn>
                <a:cxn ang="0">
                  <a:pos x="130" y="3"/>
                </a:cxn>
                <a:cxn ang="0">
                  <a:pos x="118" y="0"/>
                </a:cxn>
                <a:cxn ang="0">
                  <a:pos x="120" y="3"/>
                </a:cxn>
                <a:cxn ang="0">
                  <a:pos x="108" y="10"/>
                </a:cxn>
                <a:cxn ang="0">
                  <a:pos x="85" y="9"/>
                </a:cxn>
                <a:cxn ang="0">
                  <a:pos x="68" y="9"/>
                </a:cxn>
                <a:cxn ang="0">
                  <a:pos x="62" y="5"/>
                </a:cxn>
                <a:cxn ang="0">
                  <a:pos x="57" y="5"/>
                </a:cxn>
                <a:cxn ang="0">
                  <a:pos x="45" y="14"/>
                </a:cxn>
                <a:cxn ang="0">
                  <a:pos x="40" y="14"/>
                </a:cxn>
              </a:cxnLst>
              <a:rect l="0" t="0" r="r" b="b"/>
              <a:pathLst>
                <a:path w="219" h="132">
                  <a:moveTo>
                    <a:pt x="40" y="14"/>
                  </a:moveTo>
                  <a:lnTo>
                    <a:pt x="40" y="14"/>
                  </a:lnTo>
                  <a:lnTo>
                    <a:pt x="24" y="28"/>
                  </a:lnTo>
                  <a:lnTo>
                    <a:pt x="10" y="40"/>
                  </a:lnTo>
                  <a:lnTo>
                    <a:pt x="10" y="40"/>
                  </a:lnTo>
                  <a:lnTo>
                    <a:pt x="8" y="42"/>
                  </a:lnTo>
                  <a:lnTo>
                    <a:pt x="7" y="45"/>
                  </a:lnTo>
                  <a:lnTo>
                    <a:pt x="7" y="54"/>
                  </a:lnTo>
                  <a:lnTo>
                    <a:pt x="8" y="59"/>
                  </a:lnTo>
                  <a:lnTo>
                    <a:pt x="7" y="63"/>
                  </a:lnTo>
                  <a:lnTo>
                    <a:pt x="5" y="66"/>
                  </a:lnTo>
                  <a:lnTo>
                    <a:pt x="0" y="68"/>
                  </a:lnTo>
                  <a:lnTo>
                    <a:pt x="0" y="68"/>
                  </a:lnTo>
                  <a:lnTo>
                    <a:pt x="7" y="71"/>
                  </a:lnTo>
                  <a:lnTo>
                    <a:pt x="14" y="77"/>
                  </a:lnTo>
                  <a:lnTo>
                    <a:pt x="24" y="85"/>
                  </a:lnTo>
                  <a:lnTo>
                    <a:pt x="29" y="92"/>
                  </a:lnTo>
                  <a:lnTo>
                    <a:pt x="31" y="94"/>
                  </a:lnTo>
                  <a:lnTo>
                    <a:pt x="33" y="94"/>
                  </a:lnTo>
                  <a:lnTo>
                    <a:pt x="33" y="94"/>
                  </a:lnTo>
                  <a:lnTo>
                    <a:pt x="38" y="92"/>
                  </a:lnTo>
                  <a:lnTo>
                    <a:pt x="45" y="90"/>
                  </a:lnTo>
                  <a:lnTo>
                    <a:pt x="52" y="92"/>
                  </a:lnTo>
                  <a:lnTo>
                    <a:pt x="55" y="94"/>
                  </a:lnTo>
                  <a:lnTo>
                    <a:pt x="55" y="96"/>
                  </a:lnTo>
                  <a:lnTo>
                    <a:pt x="55" y="96"/>
                  </a:lnTo>
                  <a:lnTo>
                    <a:pt x="57" y="103"/>
                  </a:lnTo>
                  <a:lnTo>
                    <a:pt x="57" y="108"/>
                  </a:lnTo>
                  <a:lnTo>
                    <a:pt x="55" y="113"/>
                  </a:lnTo>
                  <a:lnTo>
                    <a:pt x="55" y="113"/>
                  </a:lnTo>
                  <a:lnTo>
                    <a:pt x="57" y="115"/>
                  </a:lnTo>
                  <a:lnTo>
                    <a:pt x="59" y="113"/>
                  </a:lnTo>
                  <a:lnTo>
                    <a:pt x="61" y="111"/>
                  </a:lnTo>
                  <a:lnTo>
                    <a:pt x="61" y="111"/>
                  </a:lnTo>
                  <a:lnTo>
                    <a:pt x="64" y="117"/>
                  </a:lnTo>
                  <a:lnTo>
                    <a:pt x="64" y="117"/>
                  </a:lnTo>
                  <a:lnTo>
                    <a:pt x="68" y="124"/>
                  </a:lnTo>
                  <a:lnTo>
                    <a:pt x="71" y="125"/>
                  </a:lnTo>
                  <a:lnTo>
                    <a:pt x="73" y="129"/>
                  </a:lnTo>
                  <a:lnTo>
                    <a:pt x="71" y="131"/>
                  </a:lnTo>
                  <a:lnTo>
                    <a:pt x="71" y="131"/>
                  </a:lnTo>
                  <a:lnTo>
                    <a:pt x="78" y="132"/>
                  </a:lnTo>
                  <a:lnTo>
                    <a:pt x="82" y="131"/>
                  </a:lnTo>
                  <a:lnTo>
                    <a:pt x="85" y="127"/>
                  </a:lnTo>
                  <a:lnTo>
                    <a:pt x="87" y="122"/>
                  </a:lnTo>
                  <a:lnTo>
                    <a:pt x="87" y="122"/>
                  </a:lnTo>
                  <a:lnTo>
                    <a:pt x="89" y="120"/>
                  </a:lnTo>
                  <a:lnTo>
                    <a:pt x="89" y="118"/>
                  </a:lnTo>
                  <a:lnTo>
                    <a:pt x="92" y="118"/>
                  </a:lnTo>
                  <a:lnTo>
                    <a:pt x="92" y="118"/>
                  </a:lnTo>
                  <a:lnTo>
                    <a:pt x="94" y="117"/>
                  </a:lnTo>
                  <a:lnTo>
                    <a:pt x="92" y="110"/>
                  </a:lnTo>
                  <a:lnTo>
                    <a:pt x="92" y="110"/>
                  </a:lnTo>
                  <a:lnTo>
                    <a:pt x="90" y="101"/>
                  </a:lnTo>
                  <a:lnTo>
                    <a:pt x="92" y="99"/>
                  </a:lnTo>
                  <a:lnTo>
                    <a:pt x="92" y="97"/>
                  </a:lnTo>
                  <a:lnTo>
                    <a:pt x="97" y="97"/>
                  </a:lnTo>
                  <a:lnTo>
                    <a:pt x="102" y="97"/>
                  </a:lnTo>
                  <a:lnTo>
                    <a:pt x="102" y="97"/>
                  </a:lnTo>
                  <a:lnTo>
                    <a:pt x="106" y="97"/>
                  </a:lnTo>
                  <a:lnTo>
                    <a:pt x="108" y="96"/>
                  </a:lnTo>
                  <a:lnTo>
                    <a:pt x="111" y="90"/>
                  </a:lnTo>
                  <a:lnTo>
                    <a:pt x="115" y="85"/>
                  </a:lnTo>
                  <a:lnTo>
                    <a:pt x="116" y="85"/>
                  </a:lnTo>
                  <a:lnTo>
                    <a:pt x="118" y="87"/>
                  </a:lnTo>
                  <a:lnTo>
                    <a:pt x="118" y="87"/>
                  </a:lnTo>
                  <a:lnTo>
                    <a:pt x="122" y="92"/>
                  </a:lnTo>
                  <a:lnTo>
                    <a:pt x="125" y="94"/>
                  </a:lnTo>
                  <a:lnTo>
                    <a:pt x="127" y="94"/>
                  </a:lnTo>
                  <a:lnTo>
                    <a:pt x="129" y="92"/>
                  </a:lnTo>
                  <a:lnTo>
                    <a:pt x="129" y="92"/>
                  </a:lnTo>
                  <a:lnTo>
                    <a:pt x="129" y="89"/>
                  </a:lnTo>
                  <a:lnTo>
                    <a:pt x="130" y="85"/>
                  </a:lnTo>
                  <a:lnTo>
                    <a:pt x="139" y="77"/>
                  </a:lnTo>
                  <a:lnTo>
                    <a:pt x="149" y="66"/>
                  </a:lnTo>
                  <a:lnTo>
                    <a:pt x="153" y="63"/>
                  </a:lnTo>
                  <a:lnTo>
                    <a:pt x="155" y="57"/>
                  </a:lnTo>
                  <a:lnTo>
                    <a:pt x="155" y="57"/>
                  </a:lnTo>
                  <a:lnTo>
                    <a:pt x="156" y="52"/>
                  </a:lnTo>
                  <a:lnTo>
                    <a:pt x="158" y="52"/>
                  </a:lnTo>
                  <a:lnTo>
                    <a:pt x="160" y="52"/>
                  </a:lnTo>
                  <a:lnTo>
                    <a:pt x="162" y="56"/>
                  </a:lnTo>
                  <a:lnTo>
                    <a:pt x="162" y="56"/>
                  </a:lnTo>
                  <a:lnTo>
                    <a:pt x="169" y="59"/>
                  </a:lnTo>
                  <a:lnTo>
                    <a:pt x="179" y="57"/>
                  </a:lnTo>
                  <a:lnTo>
                    <a:pt x="191" y="56"/>
                  </a:lnTo>
                  <a:lnTo>
                    <a:pt x="195" y="54"/>
                  </a:lnTo>
                  <a:lnTo>
                    <a:pt x="198" y="50"/>
                  </a:lnTo>
                  <a:lnTo>
                    <a:pt x="198" y="50"/>
                  </a:lnTo>
                  <a:lnTo>
                    <a:pt x="203" y="45"/>
                  </a:lnTo>
                  <a:lnTo>
                    <a:pt x="209" y="43"/>
                  </a:lnTo>
                  <a:lnTo>
                    <a:pt x="212" y="43"/>
                  </a:lnTo>
                  <a:lnTo>
                    <a:pt x="219" y="45"/>
                  </a:lnTo>
                  <a:lnTo>
                    <a:pt x="219" y="45"/>
                  </a:lnTo>
                  <a:lnTo>
                    <a:pt x="217" y="43"/>
                  </a:lnTo>
                  <a:lnTo>
                    <a:pt x="216" y="40"/>
                  </a:lnTo>
                  <a:lnTo>
                    <a:pt x="212" y="35"/>
                  </a:lnTo>
                  <a:lnTo>
                    <a:pt x="205" y="30"/>
                  </a:lnTo>
                  <a:lnTo>
                    <a:pt x="205" y="30"/>
                  </a:lnTo>
                  <a:lnTo>
                    <a:pt x="191" y="23"/>
                  </a:lnTo>
                  <a:lnTo>
                    <a:pt x="183" y="14"/>
                  </a:lnTo>
                  <a:lnTo>
                    <a:pt x="183" y="14"/>
                  </a:lnTo>
                  <a:lnTo>
                    <a:pt x="176" y="9"/>
                  </a:lnTo>
                  <a:lnTo>
                    <a:pt x="165" y="5"/>
                  </a:lnTo>
                  <a:lnTo>
                    <a:pt x="156" y="2"/>
                  </a:lnTo>
                  <a:lnTo>
                    <a:pt x="151" y="3"/>
                  </a:lnTo>
                  <a:lnTo>
                    <a:pt x="151" y="3"/>
                  </a:lnTo>
                  <a:lnTo>
                    <a:pt x="148" y="5"/>
                  </a:lnTo>
                  <a:lnTo>
                    <a:pt x="143" y="5"/>
                  </a:lnTo>
                  <a:lnTo>
                    <a:pt x="136" y="5"/>
                  </a:lnTo>
                  <a:lnTo>
                    <a:pt x="130" y="3"/>
                  </a:lnTo>
                  <a:lnTo>
                    <a:pt x="130" y="3"/>
                  </a:lnTo>
                  <a:lnTo>
                    <a:pt x="120" y="0"/>
                  </a:lnTo>
                  <a:lnTo>
                    <a:pt x="118" y="0"/>
                  </a:lnTo>
                  <a:lnTo>
                    <a:pt x="120" y="2"/>
                  </a:lnTo>
                  <a:lnTo>
                    <a:pt x="120" y="2"/>
                  </a:lnTo>
                  <a:lnTo>
                    <a:pt x="120" y="3"/>
                  </a:lnTo>
                  <a:lnTo>
                    <a:pt x="120" y="3"/>
                  </a:lnTo>
                  <a:lnTo>
                    <a:pt x="116" y="7"/>
                  </a:lnTo>
                  <a:lnTo>
                    <a:pt x="108" y="10"/>
                  </a:lnTo>
                  <a:lnTo>
                    <a:pt x="108" y="10"/>
                  </a:lnTo>
                  <a:lnTo>
                    <a:pt x="94" y="10"/>
                  </a:lnTo>
                  <a:lnTo>
                    <a:pt x="85" y="9"/>
                  </a:lnTo>
                  <a:lnTo>
                    <a:pt x="76" y="9"/>
                  </a:lnTo>
                  <a:lnTo>
                    <a:pt x="68" y="9"/>
                  </a:lnTo>
                  <a:lnTo>
                    <a:pt x="68" y="9"/>
                  </a:lnTo>
                  <a:lnTo>
                    <a:pt x="64" y="10"/>
                  </a:lnTo>
                  <a:lnTo>
                    <a:pt x="62" y="9"/>
                  </a:lnTo>
                  <a:lnTo>
                    <a:pt x="62" y="5"/>
                  </a:lnTo>
                  <a:lnTo>
                    <a:pt x="61" y="5"/>
                  </a:lnTo>
                  <a:lnTo>
                    <a:pt x="61" y="5"/>
                  </a:lnTo>
                  <a:lnTo>
                    <a:pt x="57" y="5"/>
                  </a:lnTo>
                  <a:lnTo>
                    <a:pt x="54" y="5"/>
                  </a:lnTo>
                  <a:lnTo>
                    <a:pt x="50" y="10"/>
                  </a:lnTo>
                  <a:lnTo>
                    <a:pt x="45" y="14"/>
                  </a:lnTo>
                  <a:lnTo>
                    <a:pt x="43" y="16"/>
                  </a:lnTo>
                  <a:lnTo>
                    <a:pt x="40" y="14"/>
                  </a:lnTo>
                  <a:lnTo>
                    <a:pt x="40"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5" name="Freeform 1998">
              <a:extLst>
                <a:ext uri="{FF2B5EF4-FFF2-40B4-BE49-F238E27FC236}">
                  <a16:creationId xmlns:a16="http://schemas.microsoft.com/office/drawing/2014/main" id="{CCE4BA66-98ED-4FA5-BA70-1F21FF03CF25}"/>
                </a:ext>
              </a:extLst>
            </p:cNvPr>
            <p:cNvSpPr>
              <a:spLocks/>
            </p:cNvSpPr>
            <p:nvPr/>
          </p:nvSpPr>
          <p:spPr bwMode="auto">
            <a:xfrm>
              <a:off x="2819776" y="4373390"/>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6" name="Freeform 1999">
              <a:extLst>
                <a:ext uri="{FF2B5EF4-FFF2-40B4-BE49-F238E27FC236}">
                  <a16:creationId xmlns:a16="http://schemas.microsoft.com/office/drawing/2014/main" id="{C0C7B5A4-3317-4735-BDBB-37F51CAAEDD7}"/>
                </a:ext>
              </a:extLst>
            </p:cNvPr>
            <p:cNvSpPr>
              <a:spLocks/>
            </p:cNvSpPr>
            <p:nvPr/>
          </p:nvSpPr>
          <p:spPr bwMode="auto">
            <a:xfrm>
              <a:off x="2980640" y="3847508"/>
              <a:ext cx="61670" cy="26429"/>
            </a:xfrm>
            <a:custGeom>
              <a:avLst/>
              <a:gdLst/>
              <a:ahLst/>
              <a:cxnLst>
                <a:cxn ang="0">
                  <a:pos x="4" y="9"/>
                </a:cxn>
                <a:cxn ang="0">
                  <a:pos x="4" y="9"/>
                </a:cxn>
                <a:cxn ang="0">
                  <a:pos x="9" y="4"/>
                </a:cxn>
                <a:cxn ang="0">
                  <a:pos x="18" y="0"/>
                </a:cxn>
                <a:cxn ang="0">
                  <a:pos x="28" y="2"/>
                </a:cxn>
                <a:cxn ang="0">
                  <a:pos x="44" y="5"/>
                </a:cxn>
                <a:cxn ang="0">
                  <a:pos x="44" y="5"/>
                </a:cxn>
                <a:cxn ang="0">
                  <a:pos x="58" y="9"/>
                </a:cxn>
                <a:cxn ang="0">
                  <a:pos x="68" y="14"/>
                </a:cxn>
                <a:cxn ang="0">
                  <a:pos x="73" y="19"/>
                </a:cxn>
                <a:cxn ang="0">
                  <a:pos x="77" y="25"/>
                </a:cxn>
                <a:cxn ang="0">
                  <a:pos x="77" y="25"/>
                </a:cxn>
                <a:cxn ang="0">
                  <a:pos x="77" y="28"/>
                </a:cxn>
                <a:cxn ang="0">
                  <a:pos x="77" y="30"/>
                </a:cxn>
                <a:cxn ang="0">
                  <a:pos x="72" y="30"/>
                </a:cxn>
                <a:cxn ang="0">
                  <a:pos x="65" y="28"/>
                </a:cxn>
                <a:cxn ang="0">
                  <a:pos x="54" y="28"/>
                </a:cxn>
                <a:cxn ang="0">
                  <a:pos x="54" y="28"/>
                </a:cxn>
                <a:cxn ang="0">
                  <a:pos x="51" y="28"/>
                </a:cxn>
                <a:cxn ang="0">
                  <a:pos x="49" y="30"/>
                </a:cxn>
                <a:cxn ang="0">
                  <a:pos x="47" y="33"/>
                </a:cxn>
                <a:cxn ang="0">
                  <a:pos x="47" y="33"/>
                </a:cxn>
                <a:cxn ang="0">
                  <a:pos x="44" y="35"/>
                </a:cxn>
                <a:cxn ang="0">
                  <a:pos x="33" y="33"/>
                </a:cxn>
                <a:cxn ang="0">
                  <a:pos x="33" y="33"/>
                </a:cxn>
                <a:cxn ang="0">
                  <a:pos x="21" y="28"/>
                </a:cxn>
                <a:cxn ang="0">
                  <a:pos x="18" y="25"/>
                </a:cxn>
                <a:cxn ang="0">
                  <a:pos x="16" y="21"/>
                </a:cxn>
                <a:cxn ang="0">
                  <a:pos x="11" y="18"/>
                </a:cxn>
                <a:cxn ang="0">
                  <a:pos x="11" y="18"/>
                </a:cxn>
                <a:cxn ang="0">
                  <a:pos x="0" y="14"/>
                </a:cxn>
                <a:cxn ang="0">
                  <a:pos x="2" y="12"/>
                </a:cxn>
                <a:cxn ang="0">
                  <a:pos x="4" y="9"/>
                </a:cxn>
                <a:cxn ang="0">
                  <a:pos x="4" y="9"/>
                </a:cxn>
              </a:cxnLst>
              <a:rect l="0" t="0" r="r" b="b"/>
              <a:pathLst>
                <a:path w="77" h="35">
                  <a:moveTo>
                    <a:pt x="4" y="9"/>
                  </a:moveTo>
                  <a:lnTo>
                    <a:pt x="4" y="9"/>
                  </a:lnTo>
                  <a:lnTo>
                    <a:pt x="9" y="4"/>
                  </a:lnTo>
                  <a:lnTo>
                    <a:pt x="18" y="0"/>
                  </a:lnTo>
                  <a:lnTo>
                    <a:pt x="28" y="2"/>
                  </a:lnTo>
                  <a:lnTo>
                    <a:pt x="44" y="5"/>
                  </a:lnTo>
                  <a:lnTo>
                    <a:pt x="44" y="5"/>
                  </a:lnTo>
                  <a:lnTo>
                    <a:pt x="58" y="9"/>
                  </a:lnTo>
                  <a:lnTo>
                    <a:pt x="68" y="14"/>
                  </a:lnTo>
                  <a:lnTo>
                    <a:pt x="73" y="19"/>
                  </a:lnTo>
                  <a:lnTo>
                    <a:pt x="77" y="25"/>
                  </a:lnTo>
                  <a:lnTo>
                    <a:pt x="77" y="25"/>
                  </a:lnTo>
                  <a:lnTo>
                    <a:pt x="77" y="28"/>
                  </a:lnTo>
                  <a:lnTo>
                    <a:pt x="77" y="30"/>
                  </a:lnTo>
                  <a:lnTo>
                    <a:pt x="72" y="30"/>
                  </a:lnTo>
                  <a:lnTo>
                    <a:pt x="65" y="28"/>
                  </a:lnTo>
                  <a:lnTo>
                    <a:pt x="54" y="28"/>
                  </a:lnTo>
                  <a:lnTo>
                    <a:pt x="54" y="28"/>
                  </a:lnTo>
                  <a:lnTo>
                    <a:pt x="51" y="28"/>
                  </a:lnTo>
                  <a:lnTo>
                    <a:pt x="49" y="30"/>
                  </a:lnTo>
                  <a:lnTo>
                    <a:pt x="47" y="33"/>
                  </a:lnTo>
                  <a:lnTo>
                    <a:pt x="47" y="33"/>
                  </a:lnTo>
                  <a:lnTo>
                    <a:pt x="44" y="35"/>
                  </a:lnTo>
                  <a:lnTo>
                    <a:pt x="33" y="33"/>
                  </a:lnTo>
                  <a:lnTo>
                    <a:pt x="33" y="33"/>
                  </a:lnTo>
                  <a:lnTo>
                    <a:pt x="21" y="28"/>
                  </a:lnTo>
                  <a:lnTo>
                    <a:pt x="18" y="25"/>
                  </a:lnTo>
                  <a:lnTo>
                    <a:pt x="16" y="21"/>
                  </a:lnTo>
                  <a:lnTo>
                    <a:pt x="11" y="18"/>
                  </a:lnTo>
                  <a:lnTo>
                    <a:pt x="11" y="18"/>
                  </a:lnTo>
                  <a:lnTo>
                    <a:pt x="0" y="14"/>
                  </a:lnTo>
                  <a:lnTo>
                    <a:pt x="2" y="12"/>
                  </a:lnTo>
                  <a:lnTo>
                    <a:pt x="4" y="9"/>
                  </a:lnTo>
                  <a:lnTo>
                    <a:pt x="4"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7" name="Freeform 2000">
              <a:extLst>
                <a:ext uri="{FF2B5EF4-FFF2-40B4-BE49-F238E27FC236}">
                  <a16:creationId xmlns:a16="http://schemas.microsoft.com/office/drawing/2014/main" id="{62B78373-CF4B-43D8-8A9E-6FC99912EB26}"/>
                </a:ext>
              </a:extLst>
            </p:cNvPr>
            <p:cNvSpPr>
              <a:spLocks/>
            </p:cNvSpPr>
            <p:nvPr/>
          </p:nvSpPr>
          <p:spPr bwMode="auto">
            <a:xfrm>
              <a:off x="3091644" y="5968962"/>
              <a:ext cx="29954" cy="63432"/>
            </a:xfrm>
            <a:custGeom>
              <a:avLst/>
              <a:gdLst/>
              <a:ahLst/>
              <a:cxnLst>
                <a:cxn ang="0">
                  <a:pos x="10" y="8"/>
                </a:cxn>
                <a:cxn ang="0">
                  <a:pos x="10" y="1"/>
                </a:cxn>
                <a:cxn ang="0">
                  <a:pos x="15" y="1"/>
                </a:cxn>
                <a:cxn ang="0">
                  <a:pos x="17" y="1"/>
                </a:cxn>
                <a:cxn ang="0">
                  <a:pos x="17" y="3"/>
                </a:cxn>
                <a:cxn ang="0">
                  <a:pos x="20" y="3"/>
                </a:cxn>
                <a:cxn ang="0">
                  <a:pos x="29" y="3"/>
                </a:cxn>
                <a:cxn ang="0">
                  <a:pos x="31" y="10"/>
                </a:cxn>
                <a:cxn ang="0">
                  <a:pos x="36" y="24"/>
                </a:cxn>
                <a:cxn ang="0">
                  <a:pos x="33" y="26"/>
                </a:cxn>
                <a:cxn ang="0">
                  <a:pos x="24" y="28"/>
                </a:cxn>
                <a:cxn ang="0">
                  <a:pos x="24" y="33"/>
                </a:cxn>
                <a:cxn ang="0">
                  <a:pos x="26" y="35"/>
                </a:cxn>
                <a:cxn ang="0">
                  <a:pos x="22" y="36"/>
                </a:cxn>
                <a:cxn ang="0">
                  <a:pos x="24" y="43"/>
                </a:cxn>
                <a:cxn ang="0">
                  <a:pos x="31" y="52"/>
                </a:cxn>
                <a:cxn ang="0">
                  <a:pos x="27" y="55"/>
                </a:cxn>
                <a:cxn ang="0">
                  <a:pos x="26" y="55"/>
                </a:cxn>
                <a:cxn ang="0">
                  <a:pos x="29" y="61"/>
                </a:cxn>
                <a:cxn ang="0">
                  <a:pos x="29" y="66"/>
                </a:cxn>
                <a:cxn ang="0">
                  <a:pos x="26" y="66"/>
                </a:cxn>
                <a:cxn ang="0">
                  <a:pos x="22" y="69"/>
                </a:cxn>
                <a:cxn ang="0">
                  <a:pos x="24" y="76"/>
                </a:cxn>
                <a:cxn ang="0">
                  <a:pos x="22" y="80"/>
                </a:cxn>
                <a:cxn ang="0">
                  <a:pos x="17" y="80"/>
                </a:cxn>
                <a:cxn ang="0">
                  <a:pos x="1" y="75"/>
                </a:cxn>
                <a:cxn ang="0">
                  <a:pos x="0" y="69"/>
                </a:cxn>
                <a:cxn ang="0">
                  <a:pos x="3" y="59"/>
                </a:cxn>
                <a:cxn ang="0">
                  <a:pos x="7" y="41"/>
                </a:cxn>
                <a:cxn ang="0">
                  <a:pos x="5" y="31"/>
                </a:cxn>
                <a:cxn ang="0">
                  <a:pos x="7" y="24"/>
                </a:cxn>
                <a:cxn ang="0">
                  <a:pos x="12" y="14"/>
                </a:cxn>
                <a:cxn ang="0">
                  <a:pos x="10" y="8"/>
                </a:cxn>
              </a:cxnLst>
              <a:rect l="0" t="0" r="r" b="b"/>
              <a:pathLst>
                <a:path w="36" h="80">
                  <a:moveTo>
                    <a:pt x="10" y="8"/>
                  </a:moveTo>
                  <a:lnTo>
                    <a:pt x="10" y="8"/>
                  </a:lnTo>
                  <a:lnTo>
                    <a:pt x="10" y="3"/>
                  </a:lnTo>
                  <a:lnTo>
                    <a:pt x="10" y="1"/>
                  </a:lnTo>
                  <a:lnTo>
                    <a:pt x="14" y="0"/>
                  </a:lnTo>
                  <a:lnTo>
                    <a:pt x="15" y="1"/>
                  </a:lnTo>
                  <a:lnTo>
                    <a:pt x="15" y="1"/>
                  </a:lnTo>
                  <a:lnTo>
                    <a:pt x="17" y="1"/>
                  </a:lnTo>
                  <a:lnTo>
                    <a:pt x="17" y="3"/>
                  </a:lnTo>
                  <a:lnTo>
                    <a:pt x="17" y="3"/>
                  </a:lnTo>
                  <a:lnTo>
                    <a:pt x="20" y="3"/>
                  </a:lnTo>
                  <a:lnTo>
                    <a:pt x="20" y="3"/>
                  </a:lnTo>
                  <a:lnTo>
                    <a:pt x="26" y="3"/>
                  </a:lnTo>
                  <a:lnTo>
                    <a:pt x="29" y="3"/>
                  </a:lnTo>
                  <a:lnTo>
                    <a:pt x="31" y="10"/>
                  </a:lnTo>
                  <a:lnTo>
                    <a:pt x="31" y="10"/>
                  </a:lnTo>
                  <a:lnTo>
                    <a:pt x="36" y="21"/>
                  </a:lnTo>
                  <a:lnTo>
                    <a:pt x="36" y="24"/>
                  </a:lnTo>
                  <a:lnTo>
                    <a:pt x="34" y="26"/>
                  </a:lnTo>
                  <a:lnTo>
                    <a:pt x="33" y="26"/>
                  </a:lnTo>
                  <a:lnTo>
                    <a:pt x="33" y="26"/>
                  </a:lnTo>
                  <a:lnTo>
                    <a:pt x="24" y="28"/>
                  </a:lnTo>
                  <a:lnTo>
                    <a:pt x="24" y="29"/>
                  </a:lnTo>
                  <a:lnTo>
                    <a:pt x="24" y="33"/>
                  </a:lnTo>
                  <a:lnTo>
                    <a:pt x="24" y="33"/>
                  </a:lnTo>
                  <a:lnTo>
                    <a:pt x="26" y="35"/>
                  </a:lnTo>
                  <a:lnTo>
                    <a:pt x="24" y="36"/>
                  </a:lnTo>
                  <a:lnTo>
                    <a:pt x="22" y="36"/>
                  </a:lnTo>
                  <a:lnTo>
                    <a:pt x="20" y="38"/>
                  </a:lnTo>
                  <a:lnTo>
                    <a:pt x="24" y="43"/>
                  </a:lnTo>
                  <a:lnTo>
                    <a:pt x="24" y="43"/>
                  </a:lnTo>
                  <a:lnTo>
                    <a:pt x="31" y="52"/>
                  </a:lnTo>
                  <a:lnTo>
                    <a:pt x="31" y="54"/>
                  </a:lnTo>
                  <a:lnTo>
                    <a:pt x="27" y="55"/>
                  </a:lnTo>
                  <a:lnTo>
                    <a:pt x="27" y="55"/>
                  </a:lnTo>
                  <a:lnTo>
                    <a:pt x="26" y="55"/>
                  </a:lnTo>
                  <a:lnTo>
                    <a:pt x="26" y="57"/>
                  </a:lnTo>
                  <a:lnTo>
                    <a:pt x="29" y="61"/>
                  </a:lnTo>
                  <a:lnTo>
                    <a:pt x="29" y="66"/>
                  </a:lnTo>
                  <a:lnTo>
                    <a:pt x="29" y="66"/>
                  </a:lnTo>
                  <a:lnTo>
                    <a:pt x="26" y="66"/>
                  </a:lnTo>
                  <a:lnTo>
                    <a:pt x="26" y="66"/>
                  </a:lnTo>
                  <a:lnTo>
                    <a:pt x="22" y="68"/>
                  </a:lnTo>
                  <a:lnTo>
                    <a:pt x="22" y="69"/>
                  </a:lnTo>
                  <a:lnTo>
                    <a:pt x="24" y="75"/>
                  </a:lnTo>
                  <a:lnTo>
                    <a:pt x="24" y="76"/>
                  </a:lnTo>
                  <a:lnTo>
                    <a:pt x="24" y="78"/>
                  </a:lnTo>
                  <a:lnTo>
                    <a:pt x="22" y="80"/>
                  </a:lnTo>
                  <a:lnTo>
                    <a:pt x="17" y="80"/>
                  </a:lnTo>
                  <a:lnTo>
                    <a:pt x="17" y="80"/>
                  </a:lnTo>
                  <a:lnTo>
                    <a:pt x="8" y="78"/>
                  </a:lnTo>
                  <a:lnTo>
                    <a:pt x="1" y="75"/>
                  </a:lnTo>
                  <a:lnTo>
                    <a:pt x="0" y="73"/>
                  </a:lnTo>
                  <a:lnTo>
                    <a:pt x="0" y="69"/>
                  </a:lnTo>
                  <a:lnTo>
                    <a:pt x="3" y="59"/>
                  </a:lnTo>
                  <a:lnTo>
                    <a:pt x="3" y="59"/>
                  </a:lnTo>
                  <a:lnTo>
                    <a:pt x="7" y="47"/>
                  </a:lnTo>
                  <a:lnTo>
                    <a:pt x="7" y="41"/>
                  </a:lnTo>
                  <a:lnTo>
                    <a:pt x="5" y="36"/>
                  </a:lnTo>
                  <a:lnTo>
                    <a:pt x="5" y="31"/>
                  </a:lnTo>
                  <a:lnTo>
                    <a:pt x="5" y="31"/>
                  </a:lnTo>
                  <a:lnTo>
                    <a:pt x="7" y="24"/>
                  </a:lnTo>
                  <a:lnTo>
                    <a:pt x="10" y="19"/>
                  </a:lnTo>
                  <a:lnTo>
                    <a:pt x="12" y="14"/>
                  </a:lnTo>
                  <a:lnTo>
                    <a:pt x="10" y="8"/>
                  </a:lnTo>
                  <a:lnTo>
                    <a:pt x="10"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8" name="Freeform 2001">
              <a:extLst>
                <a:ext uri="{FF2B5EF4-FFF2-40B4-BE49-F238E27FC236}">
                  <a16:creationId xmlns:a16="http://schemas.microsoft.com/office/drawing/2014/main" id="{3727A598-7B20-4088-956D-6BB4661BD6FB}"/>
                </a:ext>
              </a:extLst>
            </p:cNvPr>
            <p:cNvSpPr>
              <a:spLocks/>
            </p:cNvSpPr>
            <p:nvPr/>
          </p:nvSpPr>
          <p:spPr bwMode="auto">
            <a:xfrm>
              <a:off x="2982402" y="3611397"/>
              <a:ext cx="19380" cy="31715"/>
            </a:xfrm>
            <a:custGeom>
              <a:avLst/>
              <a:gdLst/>
              <a:ahLst/>
              <a:cxnLst>
                <a:cxn ang="0">
                  <a:pos x="10" y="38"/>
                </a:cxn>
                <a:cxn ang="0">
                  <a:pos x="10" y="38"/>
                </a:cxn>
                <a:cxn ang="0">
                  <a:pos x="5" y="33"/>
                </a:cxn>
                <a:cxn ang="0">
                  <a:pos x="2" y="29"/>
                </a:cxn>
                <a:cxn ang="0">
                  <a:pos x="0" y="26"/>
                </a:cxn>
                <a:cxn ang="0">
                  <a:pos x="4" y="19"/>
                </a:cxn>
                <a:cxn ang="0">
                  <a:pos x="4" y="19"/>
                </a:cxn>
                <a:cxn ang="0">
                  <a:pos x="5" y="10"/>
                </a:cxn>
                <a:cxn ang="0">
                  <a:pos x="5" y="5"/>
                </a:cxn>
                <a:cxn ang="0">
                  <a:pos x="5" y="1"/>
                </a:cxn>
                <a:cxn ang="0">
                  <a:pos x="9" y="0"/>
                </a:cxn>
                <a:cxn ang="0">
                  <a:pos x="9" y="0"/>
                </a:cxn>
                <a:cxn ang="0">
                  <a:pos x="12" y="1"/>
                </a:cxn>
                <a:cxn ang="0">
                  <a:pos x="12" y="5"/>
                </a:cxn>
                <a:cxn ang="0">
                  <a:pos x="14" y="10"/>
                </a:cxn>
                <a:cxn ang="0">
                  <a:pos x="17" y="15"/>
                </a:cxn>
                <a:cxn ang="0">
                  <a:pos x="17" y="15"/>
                </a:cxn>
                <a:cxn ang="0">
                  <a:pos x="23" y="21"/>
                </a:cxn>
                <a:cxn ang="0">
                  <a:pos x="24" y="26"/>
                </a:cxn>
                <a:cxn ang="0">
                  <a:pos x="23" y="29"/>
                </a:cxn>
                <a:cxn ang="0">
                  <a:pos x="21" y="33"/>
                </a:cxn>
                <a:cxn ang="0">
                  <a:pos x="21" y="33"/>
                </a:cxn>
                <a:cxn ang="0">
                  <a:pos x="16" y="38"/>
                </a:cxn>
                <a:cxn ang="0">
                  <a:pos x="14" y="40"/>
                </a:cxn>
                <a:cxn ang="0">
                  <a:pos x="10" y="38"/>
                </a:cxn>
                <a:cxn ang="0">
                  <a:pos x="10" y="38"/>
                </a:cxn>
              </a:cxnLst>
              <a:rect l="0" t="0" r="r" b="b"/>
              <a:pathLst>
                <a:path w="24" h="40">
                  <a:moveTo>
                    <a:pt x="10" y="38"/>
                  </a:moveTo>
                  <a:lnTo>
                    <a:pt x="10" y="38"/>
                  </a:lnTo>
                  <a:lnTo>
                    <a:pt x="5" y="33"/>
                  </a:lnTo>
                  <a:lnTo>
                    <a:pt x="2" y="29"/>
                  </a:lnTo>
                  <a:lnTo>
                    <a:pt x="0" y="26"/>
                  </a:lnTo>
                  <a:lnTo>
                    <a:pt x="4" y="19"/>
                  </a:lnTo>
                  <a:lnTo>
                    <a:pt x="4" y="19"/>
                  </a:lnTo>
                  <a:lnTo>
                    <a:pt x="5" y="10"/>
                  </a:lnTo>
                  <a:lnTo>
                    <a:pt x="5" y="5"/>
                  </a:lnTo>
                  <a:lnTo>
                    <a:pt x="5" y="1"/>
                  </a:lnTo>
                  <a:lnTo>
                    <a:pt x="9" y="0"/>
                  </a:lnTo>
                  <a:lnTo>
                    <a:pt x="9" y="0"/>
                  </a:lnTo>
                  <a:lnTo>
                    <a:pt x="12" y="1"/>
                  </a:lnTo>
                  <a:lnTo>
                    <a:pt x="12" y="5"/>
                  </a:lnTo>
                  <a:lnTo>
                    <a:pt x="14" y="10"/>
                  </a:lnTo>
                  <a:lnTo>
                    <a:pt x="17" y="15"/>
                  </a:lnTo>
                  <a:lnTo>
                    <a:pt x="17" y="15"/>
                  </a:lnTo>
                  <a:lnTo>
                    <a:pt x="23" y="21"/>
                  </a:lnTo>
                  <a:lnTo>
                    <a:pt x="24" y="26"/>
                  </a:lnTo>
                  <a:lnTo>
                    <a:pt x="23" y="29"/>
                  </a:lnTo>
                  <a:lnTo>
                    <a:pt x="21" y="33"/>
                  </a:lnTo>
                  <a:lnTo>
                    <a:pt x="21" y="33"/>
                  </a:lnTo>
                  <a:lnTo>
                    <a:pt x="16" y="38"/>
                  </a:lnTo>
                  <a:lnTo>
                    <a:pt x="14" y="40"/>
                  </a:lnTo>
                  <a:lnTo>
                    <a:pt x="10" y="38"/>
                  </a:lnTo>
                  <a:lnTo>
                    <a:pt x="10"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9" name="Freeform 2002">
              <a:extLst>
                <a:ext uri="{FF2B5EF4-FFF2-40B4-BE49-F238E27FC236}">
                  <a16:creationId xmlns:a16="http://schemas.microsoft.com/office/drawing/2014/main" id="{421416F8-593E-49D7-977B-D0BE1FEDABFC}"/>
                </a:ext>
              </a:extLst>
            </p:cNvPr>
            <p:cNvSpPr>
              <a:spLocks/>
            </p:cNvSpPr>
            <p:nvPr/>
          </p:nvSpPr>
          <p:spPr bwMode="auto">
            <a:xfrm>
              <a:off x="2992974" y="3549729"/>
              <a:ext cx="24669" cy="38764"/>
            </a:xfrm>
            <a:custGeom>
              <a:avLst/>
              <a:gdLst/>
              <a:ahLst/>
              <a:cxnLst>
                <a:cxn ang="0">
                  <a:pos x="21" y="45"/>
                </a:cxn>
                <a:cxn ang="0">
                  <a:pos x="21" y="45"/>
                </a:cxn>
                <a:cxn ang="0">
                  <a:pos x="15" y="40"/>
                </a:cxn>
                <a:cxn ang="0">
                  <a:pos x="15" y="40"/>
                </a:cxn>
                <a:cxn ang="0">
                  <a:pos x="17" y="38"/>
                </a:cxn>
                <a:cxn ang="0">
                  <a:pos x="19" y="37"/>
                </a:cxn>
                <a:cxn ang="0">
                  <a:pos x="21" y="35"/>
                </a:cxn>
                <a:cxn ang="0">
                  <a:pos x="21" y="31"/>
                </a:cxn>
                <a:cxn ang="0">
                  <a:pos x="21" y="31"/>
                </a:cxn>
                <a:cxn ang="0">
                  <a:pos x="22" y="25"/>
                </a:cxn>
                <a:cxn ang="0">
                  <a:pos x="24" y="21"/>
                </a:cxn>
                <a:cxn ang="0">
                  <a:pos x="24" y="19"/>
                </a:cxn>
                <a:cxn ang="0">
                  <a:pos x="21" y="16"/>
                </a:cxn>
                <a:cxn ang="0">
                  <a:pos x="21" y="16"/>
                </a:cxn>
                <a:cxn ang="0">
                  <a:pos x="17" y="12"/>
                </a:cxn>
                <a:cxn ang="0">
                  <a:pos x="14" y="9"/>
                </a:cxn>
                <a:cxn ang="0">
                  <a:pos x="12" y="5"/>
                </a:cxn>
                <a:cxn ang="0">
                  <a:pos x="8" y="4"/>
                </a:cxn>
                <a:cxn ang="0">
                  <a:pos x="8" y="4"/>
                </a:cxn>
                <a:cxn ang="0">
                  <a:pos x="0" y="0"/>
                </a:cxn>
                <a:cxn ang="0">
                  <a:pos x="0" y="0"/>
                </a:cxn>
                <a:cxn ang="0">
                  <a:pos x="0" y="0"/>
                </a:cxn>
                <a:cxn ang="0">
                  <a:pos x="5" y="0"/>
                </a:cxn>
                <a:cxn ang="0">
                  <a:pos x="5" y="0"/>
                </a:cxn>
                <a:cxn ang="0">
                  <a:pos x="12" y="2"/>
                </a:cxn>
                <a:cxn ang="0">
                  <a:pos x="17" y="7"/>
                </a:cxn>
                <a:cxn ang="0">
                  <a:pos x="21" y="11"/>
                </a:cxn>
                <a:cxn ang="0">
                  <a:pos x="26" y="14"/>
                </a:cxn>
                <a:cxn ang="0">
                  <a:pos x="26" y="14"/>
                </a:cxn>
                <a:cxn ang="0">
                  <a:pos x="29" y="18"/>
                </a:cxn>
                <a:cxn ang="0">
                  <a:pos x="29" y="23"/>
                </a:cxn>
                <a:cxn ang="0">
                  <a:pos x="29" y="28"/>
                </a:cxn>
                <a:cxn ang="0">
                  <a:pos x="28" y="30"/>
                </a:cxn>
                <a:cxn ang="0">
                  <a:pos x="28" y="30"/>
                </a:cxn>
                <a:cxn ang="0">
                  <a:pos x="26" y="35"/>
                </a:cxn>
                <a:cxn ang="0">
                  <a:pos x="24" y="40"/>
                </a:cxn>
                <a:cxn ang="0">
                  <a:pos x="22" y="45"/>
                </a:cxn>
                <a:cxn ang="0">
                  <a:pos x="22" y="47"/>
                </a:cxn>
                <a:cxn ang="0">
                  <a:pos x="21" y="45"/>
                </a:cxn>
              </a:cxnLst>
              <a:rect l="0" t="0" r="r" b="b"/>
              <a:pathLst>
                <a:path w="29" h="47">
                  <a:moveTo>
                    <a:pt x="21" y="45"/>
                  </a:moveTo>
                  <a:lnTo>
                    <a:pt x="21" y="45"/>
                  </a:lnTo>
                  <a:lnTo>
                    <a:pt x="15" y="40"/>
                  </a:lnTo>
                  <a:lnTo>
                    <a:pt x="15" y="40"/>
                  </a:lnTo>
                  <a:lnTo>
                    <a:pt x="17" y="38"/>
                  </a:lnTo>
                  <a:lnTo>
                    <a:pt x="19" y="37"/>
                  </a:lnTo>
                  <a:lnTo>
                    <a:pt x="21" y="35"/>
                  </a:lnTo>
                  <a:lnTo>
                    <a:pt x="21" y="31"/>
                  </a:lnTo>
                  <a:lnTo>
                    <a:pt x="21" y="31"/>
                  </a:lnTo>
                  <a:lnTo>
                    <a:pt x="22" y="25"/>
                  </a:lnTo>
                  <a:lnTo>
                    <a:pt x="24" y="21"/>
                  </a:lnTo>
                  <a:lnTo>
                    <a:pt x="24" y="19"/>
                  </a:lnTo>
                  <a:lnTo>
                    <a:pt x="21" y="16"/>
                  </a:lnTo>
                  <a:lnTo>
                    <a:pt x="21" y="16"/>
                  </a:lnTo>
                  <a:lnTo>
                    <a:pt x="17" y="12"/>
                  </a:lnTo>
                  <a:lnTo>
                    <a:pt x="14" y="9"/>
                  </a:lnTo>
                  <a:lnTo>
                    <a:pt x="12" y="5"/>
                  </a:lnTo>
                  <a:lnTo>
                    <a:pt x="8" y="4"/>
                  </a:lnTo>
                  <a:lnTo>
                    <a:pt x="8" y="4"/>
                  </a:lnTo>
                  <a:lnTo>
                    <a:pt x="0" y="0"/>
                  </a:lnTo>
                  <a:lnTo>
                    <a:pt x="0" y="0"/>
                  </a:lnTo>
                  <a:lnTo>
                    <a:pt x="0" y="0"/>
                  </a:lnTo>
                  <a:lnTo>
                    <a:pt x="5" y="0"/>
                  </a:lnTo>
                  <a:lnTo>
                    <a:pt x="5" y="0"/>
                  </a:lnTo>
                  <a:lnTo>
                    <a:pt x="12" y="2"/>
                  </a:lnTo>
                  <a:lnTo>
                    <a:pt x="17" y="7"/>
                  </a:lnTo>
                  <a:lnTo>
                    <a:pt x="21" y="11"/>
                  </a:lnTo>
                  <a:lnTo>
                    <a:pt x="26" y="14"/>
                  </a:lnTo>
                  <a:lnTo>
                    <a:pt x="26" y="14"/>
                  </a:lnTo>
                  <a:lnTo>
                    <a:pt x="29" y="18"/>
                  </a:lnTo>
                  <a:lnTo>
                    <a:pt x="29" y="23"/>
                  </a:lnTo>
                  <a:lnTo>
                    <a:pt x="29" y="28"/>
                  </a:lnTo>
                  <a:lnTo>
                    <a:pt x="28" y="30"/>
                  </a:lnTo>
                  <a:lnTo>
                    <a:pt x="28" y="30"/>
                  </a:lnTo>
                  <a:lnTo>
                    <a:pt x="26" y="35"/>
                  </a:lnTo>
                  <a:lnTo>
                    <a:pt x="24" y="40"/>
                  </a:lnTo>
                  <a:lnTo>
                    <a:pt x="22" y="45"/>
                  </a:lnTo>
                  <a:lnTo>
                    <a:pt x="22" y="47"/>
                  </a:lnTo>
                  <a:lnTo>
                    <a:pt x="21" y="45"/>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0" name="Freeform 2003">
              <a:extLst>
                <a:ext uri="{FF2B5EF4-FFF2-40B4-BE49-F238E27FC236}">
                  <a16:creationId xmlns:a16="http://schemas.microsoft.com/office/drawing/2014/main" id="{ABD3049E-0583-4A20-9857-10FE53452422}"/>
                </a:ext>
              </a:extLst>
            </p:cNvPr>
            <p:cNvSpPr>
              <a:spLocks/>
            </p:cNvSpPr>
            <p:nvPr/>
          </p:nvSpPr>
          <p:spPr bwMode="auto">
            <a:xfrm>
              <a:off x="3063456" y="3666020"/>
              <a:ext cx="15857" cy="29956"/>
            </a:xfrm>
            <a:custGeom>
              <a:avLst/>
              <a:gdLst/>
              <a:ahLst/>
              <a:cxnLst>
                <a:cxn ang="0">
                  <a:pos x="12" y="26"/>
                </a:cxn>
                <a:cxn ang="0">
                  <a:pos x="12" y="26"/>
                </a:cxn>
                <a:cxn ang="0">
                  <a:pos x="7" y="22"/>
                </a:cxn>
                <a:cxn ang="0">
                  <a:pos x="7" y="21"/>
                </a:cxn>
                <a:cxn ang="0">
                  <a:pos x="8" y="21"/>
                </a:cxn>
                <a:cxn ang="0">
                  <a:pos x="7" y="15"/>
                </a:cxn>
                <a:cxn ang="0">
                  <a:pos x="7" y="15"/>
                </a:cxn>
                <a:cxn ang="0">
                  <a:pos x="2" y="3"/>
                </a:cxn>
                <a:cxn ang="0">
                  <a:pos x="0" y="0"/>
                </a:cxn>
                <a:cxn ang="0">
                  <a:pos x="2" y="1"/>
                </a:cxn>
                <a:cxn ang="0">
                  <a:pos x="2" y="1"/>
                </a:cxn>
                <a:cxn ang="0">
                  <a:pos x="5" y="5"/>
                </a:cxn>
                <a:cxn ang="0">
                  <a:pos x="8" y="10"/>
                </a:cxn>
                <a:cxn ang="0">
                  <a:pos x="12" y="19"/>
                </a:cxn>
                <a:cxn ang="0">
                  <a:pos x="12" y="19"/>
                </a:cxn>
                <a:cxn ang="0">
                  <a:pos x="12" y="21"/>
                </a:cxn>
                <a:cxn ang="0">
                  <a:pos x="14" y="24"/>
                </a:cxn>
                <a:cxn ang="0">
                  <a:pos x="19" y="31"/>
                </a:cxn>
                <a:cxn ang="0">
                  <a:pos x="19" y="31"/>
                </a:cxn>
                <a:cxn ang="0">
                  <a:pos x="19" y="36"/>
                </a:cxn>
                <a:cxn ang="0">
                  <a:pos x="17" y="33"/>
                </a:cxn>
                <a:cxn ang="0">
                  <a:pos x="17" y="33"/>
                </a:cxn>
                <a:cxn ang="0">
                  <a:pos x="12" y="26"/>
                </a:cxn>
                <a:cxn ang="0">
                  <a:pos x="12" y="26"/>
                </a:cxn>
              </a:cxnLst>
              <a:rect l="0" t="0" r="r" b="b"/>
              <a:pathLst>
                <a:path w="19" h="36">
                  <a:moveTo>
                    <a:pt x="12" y="26"/>
                  </a:moveTo>
                  <a:lnTo>
                    <a:pt x="12" y="26"/>
                  </a:lnTo>
                  <a:lnTo>
                    <a:pt x="7" y="22"/>
                  </a:lnTo>
                  <a:lnTo>
                    <a:pt x="7" y="21"/>
                  </a:lnTo>
                  <a:lnTo>
                    <a:pt x="8" y="21"/>
                  </a:lnTo>
                  <a:lnTo>
                    <a:pt x="7" y="15"/>
                  </a:lnTo>
                  <a:lnTo>
                    <a:pt x="7" y="15"/>
                  </a:lnTo>
                  <a:lnTo>
                    <a:pt x="2" y="3"/>
                  </a:lnTo>
                  <a:lnTo>
                    <a:pt x="0" y="0"/>
                  </a:lnTo>
                  <a:lnTo>
                    <a:pt x="2" y="1"/>
                  </a:lnTo>
                  <a:lnTo>
                    <a:pt x="2" y="1"/>
                  </a:lnTo>
                  <a:lnTo>
                    <a:pt x="5" y="5"/>
                  </a:lnTo>
                  <a:lnTo>
                    <a:pt x="8" y="10"/>
                  </a:lnTo>
                  <a:lnTo>
                    <a:pt x="12" y="19"/>
                  </a:lnTo>
                  <a:lnTo>
                    <a:pt x="12" y="19"/>
                  </a:lnTo>
                  <a:lnTo>
                    <a:pt x="12" y="21"/>
                  </a:lnTo>
                  <a:lnTo>
                    <a:pt x="14" y="24"/>
                  </a:lnTo>
                  <a:lnTo>
                    <a:pt x="19" y="31"/>
                  </a:lnTo>
                  <a:lnTo>
                    <a:pt x="19" y="31"/>
                  </a:lnTo>
                  <a:lnTo>
                    <a:pt x="19" y="36"/>
                  </a:lnTo>
                  <a:lnTo>
                    <a:pt x="17" y="33"/>
                  </a:lnTo>
                  <a:lnTo>
                    <a:pt x="17" y="33"/>
                  </a:lnTo>
                  <a:lnTo>
                    <a:pt x="12" y="26"/>
                  </a:lnTo>
                  <a:lnTo>
                    <a:pt x="12" y="26"/>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1" name="Freeform 2004">
              <a:extLst>
                <a:ext uri="{FF2B5EF4-FFF2-40B4-BE49-F238E27FC236}">
                  <a16:creationId xmlns:a16="http://schemas.microsoft.com/office/drawing/2014/main" id="{AD0AC625-02AF-4771-ACF5-0FF153C90BCA}"/>
                </a:ext>
              </a:extLst>
            </p:cNvPr>
            <p:cNvSpPr>
              <a:spLocks/>
            </p:cNvSpPr>
            <p:nvPr/>
          </p:nvSpPr>
          <p:spPr bwMode="auto">
            <a:xfrm>
              <a:off x="3447569" y="3921512"/>
              <a:ext cx="7048" cy="12334"/>
            </a:xfrm>
            <a:custGeom>
              <a:avLst/>
              <a:gdLst/>
              <a:ahLst/>
              <a:cxnLst>
                <a:cxn ang="0">
                  <a:pos x="7" y="16"/>
                </a:cxn>
                <a:cxn ang="0">
                  <a:pos x="7" y="16"/>
                </a:cxn>
                <a:cxn ang="0">
                  <a:pos x="1" y="16"/>
                </a:cxn>
                <a:cxn ang="0">
                  <a:pos x="0" y="12"/>
                </a:cxn>
                <a:cxn ang="0">
                  <a:pos x="0" y="9"/>
                </a:cxn>
                <a:cxn ang="0">
                  <a:pos x="0" y="2"/>
                </a:cxn>
                <a:cxn ang="0">
                  <a:pos x="0" y="2"/>
                </a:cxn>
                <a:cxn ang="0">
                  <a:pos x="0" y="0"/>
                </a:cxn>
                <a:cxn ang="0">
                  <a:pos x="1" y="0"/>
                </a:cxn>
                <a:cxn ang="0">
                  <a:pos x="3" y="2"/>
                </a:cxn>
                <a:cxn ang="0">
                  <a:pos x="5" y="4"/>
                </a:cxn>
                <a:cxn ang="0">
                  <a:pos x="7" y="7"/>
                </a:cxn>
                <a:cxn ang="0">
                  <a:pos x="7" y="7"/>
                </a:cxn>
                <a:cxn ang="0">
                  <a:pos x="7" y="12"/>
                </a:cxn>
                <a:cxn ang="0">
                  <a:pos x="7" y="14"/>
                </a:cxn>
                <a:cxn ang="0">
                  <a:pos x="7" y="16"/>
                </a:cxn>
              </a:cxnLst>
              <a:rect l="0" t="0" r="r" b="b"/>
              <a:pathLst>
                <a:path w="7" h="16">
                  <a:moveTo>
                    <a:pt x="7" y="16"/>
                  </a:moveTo>
                  <a:lnTo>
                    <a:pt x="7" y="16"/>
                  </a:lnTo>
                  <a:lnTo>
                    <a:pt x="1" y="16"/>
                  </a:lnTo>
                  <a:lnTo>
                    <a:pt x="0" y="12"/>
                  </a:lnTo>
                  <a:lnTo>
                    <a:pt x="0" y="9"/>
                  </a:lnTo>
                  <a:lnTo>
                    <a:pt x="0" y="2"/>
                  </a:lnTo>
                  <a:lnTo>
                    <a:pt x="0" y="2"/>
                  </a:lnTo>
                  <a:lnTo>
                    <a:pt x="0" y="0"/>
                  </a:lnTo>
                  <a:lnTo>
                    <a:pt x="1" y="0"/>
                  </a:lnTo>
                  <a:lnTo>
                    <a:pt x="3" y="2"/>
                  </a:lnTo>
                  <a:lnTo>
                    <a:pt x="5" y="4"/>
                  </a:lnTo>
                  <a:lnTo>
                    <a:pt x="7" y="7"/>
                  </a:lnTo>
                  <a:lnTo>
                    <a:pt x="7" y="7"/>
                  </a:lnTo>
                  <a:lnTo>
                    <a:pt x="7" y="12"/>
                  </a:lnTo>
                  <a:lnTo>
                    <a:pt x="7" y="14"/>
                  </a:lnTo>
                  <a:lnTo>
                    <a:pt x="7" y="1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2" name="Freeform 2005">
              <a:extLst>
                <a:ext uri="{FF2B5EF4-FFF2-40B4-BE49-F238E27FC236}">
                  <a16:creationId xmlns:a16="http://schemas.microsoft.com/office/drawing/2014/main" id="{FFE7A6B6-BEF4-48BB-8B41-B1CB0764CAC7}"/>
                </a:ext>
              </a:extLst>
            </p:cNvPr>
            <p:cNvSpPr>
              <a:spLocks/>
            </p:cNvSpPr>
            <p:nvPr/>
          </p:nvSpPr>
          <p:spPr bwMode="auto">
            <a:xfrm>
              <a:off x="3294274" y="3847505"/>
              <a:ext cx="45813" cy="19381"/>
            </a:xfrm>
            <a:custGeom>
              <a:avLst/>
              <a:gdLst/>
              <a:ahLst/>
              <a:cxnLst>
                <a:cxn ang="0">
                  <a:pos x="0" y="16"/>
                </a:cxn>
                <a:cxn ang="0">
                  <a:pos x="0" y="16"/>
                </a:cxn>
                <a:cxn ang="0">
                  <a:pos x="0" y="9"/>
                </a:cxn>
                <a:cxn ang="0">
                  <a:pos x="0" y="5"/>
                </a:cxn>
                <a:cxn ang="0">
                  <a:pos x="3" y="2"/>
                </a:cxn>
                <a:cxn ang="0">
                  <a:pos x="7" y="0"/>
                </a:cxn>
                <a:cxn ang="0">
                  <a:pos x="19" y="0"/>
                </a:cxn>
                <a:cxn ang="0">
                  <a:pos x="36" y="2"/>
                </a:cxn>
                <a:cxn ang="0">
                  <a:pos x="36" y="2"/>
                </a:cxn>
                <a:cxn ang="0">
                  <a:pos x="45" y="3"/>
                </a:cxn>
                <a:cxn ang="0">
                  <a:pos x="50" y="5"/>
                </a:cxn>
                <a:cxn ang="0">
                  <a:pos x="54" y="9"/>
                </a:cxn>
                <a:cxn ang="0">
                  <a:pos x="56" y="10"/>
                </a:cxn>
                <a:cxn ang="0">
                  <a:pos x="54" y="14"/>
                </a:cxn>
                <a:cxn ang="0">
                  <a:pos x="50" y="17"/>
                </a:cxn>
                <a:cxn ang="0">
                  <a:pos x="42" y="23"/>
                </a:cxn>
                <a:cxn ang="0">
                  <a:pos x="42" y="23"/>
                </a:cxn>
                <a:cxn ang="0">
                  <a:pos x="33" y="24"/>
                </a:cxn>
                <a:cxn ang="0">
                  <a:pos x="28" y="23"/>
                </a:cxn>
                <a:cxn ang="0">
                  <a:pos x="24" y="23"/>
                </a:cxn>
                <a:cxn ang="0">
                  <a:pos x="14" y="23"/>
                </a:cxn>
                <a:cxn ang="0">
                  <a:pos x="14" y="23"/>
                </a:cxn>
                <a:cxn ang="0">
                  <a:pos x="5" y="24"/>
                </a:cxn>
                <a:cxn ang="0">
                  <a:pos x="2" y="23"/>
                </a:cxn>
                <a:cxn ang="0">
                  <a:pos x="0" y="21"/>
                </a:cxn>
                <a:cxn ang="0">
                  <a:pos x="0" y="16"/>
                </a:cxn>
              </a:cxnLst>
              <a:rect l="0" t="0" r="r" b="b"/>
              <a:pathLst>
                <a:path w="56" h="24">
                  <a:moveTo>
                    <a:pt x="0" y="16"/>
                  </a:moveTo>
                  <a:lnTo>
                    <a:pt x="0" y="16"/>
                  </a:lnTo>
                  <a:lnTo>
                    <a:pt x="0" y="9"/>
                  </a:lnTo>
                  <a:lnTo>
                    <a:pt x="0" y="5"/>
                  </a:lnTo>
                  <a:lnTo>
                    <a:pt x="3" y="2"/>
                  </a:lnTo>
                  <a:lnTo>
                    <a:pt x="7" y="0"/>
                  </a:lnTo>
                  <a:lnTo>
                    <a:pt x="19" y="0"/>
                  </a:lnTo>
                  <a:lnTo>
                    <a:pt x="36" y="2"/>
                  </a:lnTo>
                  <a:lnTo>
                    <a:pt x="36" y="2"/>
                  </a:lnTo>
                  <a:lnTo>
                    <a:pt x="45" y="3"/>
                  </a:lnTo>
                  <a:lnTo>
                    <a:pt x="50" y="5"/>
                  </a:lnTo>
                  <a:lnTo>
                    <a:pt x="54" y="9"/>
                  </a:lnTo>
                  <a:lnTo>
                    <a:pt x="56" y="10"/>
                  </a:lnTo>
                  <a:lnTo>
                    <a:pt x="54" y="14"/>
                  </a:lnTo>
                  <a:lnTo>
                    <a:pt x="50" y="17"/>
                  </a:lnTo>
                  <a:lnTo>
                    <a:pt x="42" y="23"/>
                  </a:lnTo>
                  <a:lnTo>
                    <a:pt x="42" y="23"/>
                  </a:lnTo>
                  <a:lnTo>
                    <a:pt x="33" y="24"/>
                  </a:lnTo>
                  <a:lnTo>
                    <a:pt x="28" y="23"/>
                  </a:lnTo>
                  <a:lnTo>
                    <a:pt x="24" y="23"/>
                  </a:lnTo>
                  <a:lnTo>
                    <a:pt x="14" y="23"/>
                  </a:lnTo>
                  <a:lnTo>
                    <a:pt x="14" y="23"/>
                  </a:lnTo>
                  <a:lnTo>
                    <a:pt x="5" y="24"/>
                  </a:lnTo>
                  <a:lnTo>
                    <a:pt x="2" y="23"/>
                  </a:lnTo>
                  <a:lnTo>
                    <a:pt x="0" y="21"/>
                  </a:lnTo>
                  <a:lnTo>
                    <a:pt x="0" y="1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3" name="Freeform 2006">
              <a:extLst>
                <a:ext uri="{FF2B5EF4-FFF2-40B4-BE49-F238E27FC236}">
                  <a16:creationId xmlns:a16="http://schemas.microsoft.com/office/drawing/2014/main" id="{F4811236-7EAB-4B43-9573-840DB03DCD6C}"/>
                </a:ext>
              </a:extLst>
            </p:cNvPr>
            <p:cNvSpPr>
              <a:spLocks/>
            </p:cNvSpPr>
            <p:nvPr/>
          </p:nvSpPr>
          <p:spPr bwMode="auto">
            <a:xfrm>
              <a:off x="6975094" y="3458103"/>
              <a:ext cx="227298" cy="146247"/>
            </a:xfrm>
            <a:custGeom>
              <a:avLst/>
              <a:gdLst/>
              <a:ahLst/>
              <a:cxnLst>
                <a:cxn ang="0">
                  <a:pos x="18" y="23"/>
                </a:cxn>
                <a:cxn ang="0">
                  <a:pos x="11" y="40"/>
                </a:cxn>
                <a:cxn ang="0">
                  <a:pos x="4" y="47"/>
                </a:cxn>
                <a:cxn ang="0">
                  <a:pos x="2" y="59"/>
                </a:cxn>
                <a:cxn ang="0">
                  <a:pos x="2" y="73"/>
                </a:cxn>
                <a:cxn ang="0">
                  <a:pos x="16" y="82"/>
                </a:cxn>
                <a:cxn ang="0">
                  <a:pos x="21" y="78"/>
                </a:cxn>
                <a:cxn ang="0">
                  <a:pos x="58" y="110"/>
                </a:cxn>
                <a:cxn ang="0">
                  <a:pos x="70" y="113"/>
                </a:cxn>
                <a:cxn ang="0">
                  <a:pos x="82" y="122"/>
                </a:cxn>
                <a:cxn ang="0">
                  <a:pos x="91" y="120"/>
                </a:cxn>
                <a:cxn ang="0">
                  <a:pos x="99" y="132"/>
                </a:cxn>
                <a:cxn ang="0">
                  <a:pos x="126" y="134"/>
                </a:cxn>
                <a:cxn ang="0">
                  <a:pos x="136" y="138"/>
                </a:cxn>
                <a:cxn ang="0">
                  <a:pos x="146" y="132"/>
                </a:cxn>
                <a:cxn ang="0">
                  <a:pos x="160" y="141"/>
                </a:cxn>
                <a:cxn ang="0">
                  <a:pos x="162" y="153"/>
                </a:cxn>
                <a:cxn ang="0">
                  <a:pos x="178" y="162"/>
                </a:cxn>
                <a:cxn ang="0">
                  <a:pos x="190" y="162"/>
                </a:cxn>
                <a:cxn ang="0">
                  <a:pos x="199" y="169"/>
                </a:cxn>
                <a:cxn ang="0">
                  <a:pos x="206" y="171"/>
                </a:cxn>
                <a:cxn ang="0">
                  <a:pos x="230" y="178"/>
                </a:cxn>
                <a:cxn ang="0">
                  <a:pos x="244" y="174"/>
                </a:cxn>
                <a:cxn ang="0">
                  <a:pos x="251" y="181"/>
                </a:cxn>
                <a:cxn ang="0">
                  <a:pos x="272" y="181"/>
                </a:cxn>
                <a:cxn ang="0">
                  <a:pos x="284" y="172"/>
                </a:cxn>
                <a:cxn ang="0">
                  <a:pos x="282" y="153"/>
                </a:cxn>
                <a:cxn ang="0">
                  <a:pos x="280" y="132"/>
                </a:cxn>
                <a:cxn ang="0">
                  <a:pos x="284" y="115"/>
                </a:cxn>
                <a:cxn ang="0">
                  <a:pos x="272" y="117"/>
                </a:cxn>
                <a:cxn ang="0">
                  <a:pos x="263" y="115"/>
                </a:cxn>
                <a:cxn ang="0">
                  <a:pos x="249" y="115"/>
                </a:cxn>
                <a:cxn ang="0">
                  <a:pos x="228" y="106"/>
                </a:cxn>
                <a:cxn ang="0">
                  <a:pos x="220" y="111"/>
                </a:cxn>
                <a:cxn ang="0">
                  <a:pos x="213" y="101"/>
                </a:cxn>
                <a:cxn ang="0">
                  <a:pos x="209" y="113"/>
                </a:cxn>
                <a:cxn ang="0">
                  <a:pos x="202" y="104"/>
                </a:cxn>
                <a:cxn ang="0">
                  <a:pos x="192" y="94"/>
                </a:cxn>
                <a:cxn ang="0">
                  <a:pos x="176" y="94"/>
                </a:cxn>
                <a:cxn ang="0">
                  <a:pos x="179" y="80"/>
                </a:cxn>
                <a:cxn ang="0">
                  <a:pos x="171" y="84"/>
                </a:cxn>
                <a:cxn ang="0">
                  <a:pos x="146" y="64"/>
                </a:cxn>
                <a:cxn ang="0">
                  <a:pos x="143" y="52"/>
                </a:cxn>
                <a:cxn ang="0">
                  <a:pos x="129" y="54"/>
                </a:cxn>
                <a:cxn ang="0">
                  <a:pos x="112" y="38"/>
                </a:cxn>
                <a:cxn ang="0">
                  <a:pos x="99" y="33"/>
                </a:cxn>
                <a:cxn ang="0">
                  <a:pos x="84" y="19"/>
                </a:cxn>
                <a:cxn ang="0">
                  <a:pos x="73" y="14"/>
                </a:cxn>
                <a:cxn ang="0">
                  <a:pos x="68" y="2"/>
                </a:cxn>
                <a:cxn ang="0">
                  <a:pos x="49" y="3"/>
                </a:cxn>
                <a:cxn ang="0">
                  <a:pos x="40" y="17"/>
                </a:cxn>
              </a:cxnLst>
              <a:rect l="0" t="0" r="r" b="b"/>
              <a:pathLst>
                <a:path w="286" h="181">
                  <a:moveTo>
                    <a:pt x="33" y="9"/>
                  </a:moveTo>
                  <a:lnTo>
                    <a:pt x="33" y="9"/>
                  </a:lnTo>
                  <a:lnTo>
                    <a:pt x="25" y="16"/>
                  </a:lnTo>
                  <a:lnTo>
                    <a:pt x="18" y="23"/>
                  </a:lnTo>
                  <a:lnTo>
                    <a:pt x="14" y="26"/>
                  </a:lnTo>
                  <a:lnTo>
                    <a:pt x="12" y="30"/>
                  </a:lnTo>
                  <a:lnTo>
                    <a:pt x="11" y="37"/>
                  </a:lnTo>
                  <a:lnTo>
                    <a:pt x="11" y="40"/>
                  </a:lnTo>
                  <a:lnTo>
                    <a:pt x="7" y="42"/>
                  </a:lnTo>
                  <a:lnTo>
                    <a:pt x="7" y="42"/>
                  </a:lnTo>
                  <a:lnTo>
                    <a:pt x="5" y="45"/>
                  </a:lnTo>
                  <a:lnTo>
                    <a:pt x="4" y="47"/>
                  </a:lnTo>
                  <a:lnTo>
                    <a:pt x="5" y="50"/>
                  </a:lnTo>
                  <a:lnTo>
                    <a:pt x="5" y="54"/>
                  </a:lnTo>
                  <a:lnTo>
                    <a:pt x="5" y="57"/>
                  </a:lnTo>
                  <a:lnTo>
                    <a:pt x="2" y="59"/>
                  </a:lnTo>
                  <a:lnTo>
                    <a:pt x="2" y="59"/>
                  </a:lnTo>
                  <a:lnTo>
                    <a:pt x="0" y="63"/>
                  </a:lnTo>
                  <a:lnTo>
                    <a:pt x="0" y="68"/>
                  </a:lnTo>
                  <a:lnTo>
                    <a:pt x="2" y="73"/>
                  </a:lnTo>
                  <a:lnTo>
                    <a:pt x="5" y="77"/>
                  </a:lnTo>
                  <a:lnTo>
                    <a:pt x="9" y="80"/>
                  </a:lnTo>
                  <a:lnTo>
                    <a:pt x="12" y="82"/>
                  </a:lnTo>
                  <a:lnTo>
                    <a:pt x="16" y="82"/>
                  </a:lnTo>
                  <a:lnTo>
                    <a:pt x="16" y="80"/>
                  </a:lnTo>
                  <a:lnTo>
                    <a:pt x="16" y="80"/>
                  </a:lnTo>
                  <a:lnTo>
                    <a:pt x="18" y="77"/>
                  </a:lnTo>
                  <a:lnTo>
                    <a:pt x="21" y="78"/>
                  </a:lnTo>
                  <a:lnTo>
                    <a:pt x="30" y="85"/>
                  </a:lnTo>
                  <a:lnTo>
                    <a:pt x="51" y="104"/>
                  </a:lnTo>
                  <a:lnTo>
                    <a:pt x="51" y="104"/>
                  </a:lnTo>
                  <a:lnTo>
                    <a:pt x="58" y="110"/>
                  </a:lnTo>
                  <a:lnTo>
                    <a:pt x="61" y="113"/>
                  </a:lnTo>
                  <a:lnTo>
                    <a:pt x="65" y="113"/>
                  </a:lnTo>
                  <a:lnTo>
                    <a:pt x="66" y="113"/>
                  </a:lnTo>
                  <a:lnTo>
                    <a:pt x="70" y="113"/>
                  </a:lnTo>
                  <a:lnTo>
                    <a:pt x="72" y="115"/>
                  </a:lnTo>
                  <a:lnTo>
                    <a:pt x="77" y="118"/>
                  </a:lnTo>
                  <a:lnTo>
                    <a:pt x="77" y="118"/>
                  </a:lnTo>
                  <a:lnTo>
                    <a:pt x="82" y="122"/>
                  </a:lnTo>
                  <a:lnTo>
                    <a:pt x="84" y="124"/>
                  </a:lnTo>
                  <a:lnTo>
                    <a:pt x="87" y="124"/>
                  </a:lnTo>
                  <a:lnTo>
                    <a:pt x="89" y="122"/>
                  </a:lnTo>
                  <a:lnTo>
                    <a:pt x="91" y="120"/>
                  </a:lnTo>
                  <a:lnTo>
                    <a:pt x="92" y="125"/>
                  </a:lnTo>
                  <a:lnTo>
                    <a:pt x="92" y="125"/>
                  </a:lnTo>
                  <a:lnTo>
                    <a:pt x="96" y="131"/>
                  </a:lnTo>
                  <a:lnTo>
                    <a:pt x="99" y="132"/>
                  </a:lnTo>
                  <a:lnTo>
                    <a:pt x="103" y="134"/>
                  </a:lnTo>
                  <a:lnTo>
                    <a:pt x="108" y="134"/>
                  </a:lnTo>
                  <a:lnTo>
                    <a:pt x="120" y="132"/>
                  </a:lnTo>
                  <a:lnTo>
                    <a:pt x="126" y="134"/>
                  </a:lnTo>
                  <a:lnTo>
                    <a:pt x="131" y="136"/>
                  </a:lnTo>
                  <a:lnTo>
                    <a:pt x="131" y="136"/>
                  </a:lnTo>
                  <a:lnTo>
                    <a:pt x="134" y="138"/>
                  </a:lnTo>
                  <a:lnTo>
                    <a:pt x="136" y="138"/>
                  </a:lnTo>
                  <a:lnTo>
                    <a:pt x="138" y="134"/>
                  </a:lnTo>
                  <a:lnTo>
                    <a:pt x="139" y="132"/>
                  </a:lnTo>
                  <a:lnTo>
                    <a:pt x="141" y="132"/>
                  </a:lnTo>
                  <a:lnTo>
                    <a:pt x="146" y="132"/>
                  </a:lnTo>
                  <a:lnTo>
                    <a:pt x="152" y="134"/>
                  </a:lnTo>
                  <a:lnTo>
                    <a:pt x="152" y="134"/>
                  </a:lnTo>
                  <a:lnTo>
                    <a:pt x="157" y="138"/>
                  </a:lnTo>
                  <a:lnTo>
                    <a:pt x="160" y="141"/>
                  </a:lnTo>
                  <a:lnTo>
                    <a:pt x="162" y="144"/>
                  </a:lnTo>
                  <a:lnTo>
                    <a:pt x="162" y="148"/>
                  </a:lnTo>
                  <a:lnTo>
                    <a:pt x="162" y="150"/>
                  </a:lnTo>
                  <a:lnTo>
                    <a:pt x="162" y="153"/>
                  </a:lnTo>
                  <a:lnTo>
                    <a:pt x="166" y="155"/>
                  </a:lnTo>
                  <a:lnTo>
                    <a:pt x="171" y="157"/>
                  </a:lnTo>
                  <a:lnTo>
                    <a:pt x="171" y="157"/>
                  </a:lnTo>
                  <a:lnTo>
                    <a:pt x="178" y="162"/>
                  </a:lnTo>
                  <a:lnTo>
                    <a:pt x="181" y="164"/>
                  </a:lnTo>
                  <a:lnTo>
                    <a:pt x="183" y="164"/>
                  </a:lnTo>
                  <a:lnTo>
                    <a:pt x="190" y="162"/>
                  </a:lnTo>
                  <a:lnTo>
                    <a:pt x="190" y="162"/>
                  </a:lnTo>
                  <a:lnTo>
                    <a:pt x="193" y="160"/>
                  </a:lnTo>
                  <a:lnTo>
                    <a:pt x="197" y="162"/>
                  </a:lnTo>
                  <a:lnTo>
                    <a:pt x="199" y="167"/>
                  </a:lnTo>
                  <a:lnTo>
                    <a:pt x="199" y="169"/>
                  </a:lnTo>
                  <a:lnTo>
                    <a:pt x="200" y="171"/>
                  </a:lnTo>
                  <a:lnTo>
                    <a:pt x="202" y="172"/>
                  </a:lnTo>
                  <a:lnTo>
                    <a:pt x="206" y="171"/>
                  </a:lnTo>
                  <a:lnTo>
                    <a:pt x="206" y="171"/>
                  </a:lnTo>
                  <a:lnTo>
                    <a:pt x="211" y="169"/>
                  </a:lnTo>
                  <a:lnTo>
                    <a:pt x="216" y="169"/>
                  </a:lnTo>
                  <a:lnTo>
                    <a:pt x="223" y="174"/>
                  </a:lnTo>
                  <a:lnTo>
                    <a:pt x="230" y="178"/>
                  </a:lnTo>
                  <a:lnTo>
                    <a:pt x="235" y="179"/>
                  </a:lnTo>
                  <a:lnTo>
                    <a:pt x="239" y="176"/>
                  </a:lnTo>
                  <a:lnTo>
                    <a:pt x="239" y="176"/>
                  </a:lnTo>
                  <a:lnTo>
                    <a:pt x="244" y="174"/>
                  </a:lnTo>
                  <a:lnTo>
                    <a:pt x="246" y="174"/>
                  </a:lnTo>
                  <a:lnTo>
                    <a:pt x="247" y="178"/>
                  </a:lnTo>
                  <a:lnTo>
                    <a:pt x="247" y="179"/>
                  </a:lnTo>
                  <a:lnTo>
                    <a:pt x="251" y="181"/>
                  </a:lnTo>
                  <a:lnTo>
                    <a:pt x="254" y="181"/>
                  </a:lnTo>
                  <a:lnTo>
                    <a:pt x="261" y="181"/>
                  </a:lnTo>
                  <a:lnTo>
                    <a:pt x="261" y="181"/>
                  </a:lnTo>
                  <a:lnTo>
                    <a:pt x="272" y="181"/>
                  </a:lnTo>
                  <a:lnTo>
                    <a:pt x="279" y="181"/>
                  </a:lnTo>
                  <a:lnTo>
                    <a:pt x="279" y="181"/>
                  </a:lnTo>
                  <a:lnTo>
                    <a:pt x="280" y="181"/>
                  </a:lnTo>
                  <a:lnTo>
                    <a:pt x="284" y="172"/>
                  </a:lnTo>
                  <a:lnTo>
                    <a:pt x="284" y="172"/>
                  </a:lnTo>
                  <a:lnTo>
                    <a:pt x="286" y="167"/>
                  </a:lnTo>
                  <a:lnTo>
                    <a:pt x="286" y="162"/>
                  </a:lnTo>
                  <a:lnTo>
                    <a:pt x="282" y="153"/>
                  </a:lnTo>
                  <a:lnTo>
                    <a:pt x="279" y="144"/>
                  </a:lnTo>
                  <a:lnTo>
                    <a:pt x="279" y="139"/>
                  </a:lnTo>
                  <a:lnTo>
                    <a:pt x="280" y="132"/>
                  </a:lnTo>
                  <a:lnTo>
                    <a:pt x="280" y="132"/>
                  </a:lnTo>
                  <a:lnTo>
                    <a:pt x="286" y="124"/>
                  </a:lnTo>
                  <a:lnTo>
                    <a:pt x="286" y="118"/>
                  </a:lnTo>
                  <a:lnTo>
                    <a:pt x="286" y="117"/>
                  </a:lnTo>
                  <a:lnTo>
                    <a:pt x="284" y="115"/>
                  </a:lnTo>
                  <a:lnTo>
                    <a:pt x="284" y="115"/>
                  </a:lnTo>
                  <a:lnTo>
                    <a:pt x="279" y="113"/>
                  </a:lnTo>
                  <a:lnTo>
                    <a:pt x="275" y="113"/>
                  </a:lnTo>
                  <a:lnTo>
                    <a:pt x="272" y="117"/>
                  </a:lnTo>
                  <a:lnTo>
                    <a:pt x="272" y="117"/>
                  </a:lnTo>
                  <a:lnTo>
                    <a:pt x="268" y="118"/>
                  </a:lnTo>
                  <a:lnTo>
                    <a:pt x="267" y="117"/>
                  </a:lnTo>
                  <a:lnTo>
                    <a:pt x="263" y="115"/>
                  </a:lnTo>
                  <a:lnTo>
                    <a:pt x="256" y="117"/>
                  </a:lnTo>
                  <a:lnTo>
                    <a:pt x="256" y="117"/>
                  </a:lnTo>
                  <a:lnTo>
                    <a:pt x="253" y="117"/>
                  </a:lnTo>
                  <a:lnTo>
                    <a:pt x="249" y="115"/>
                  </a:lnTo>
                  <a:lnTo>
                    <a:pt x="240" y="110"/>
                  </a:lnTo>
                  <a:lnTo>
                    <a:pt x="233" y="104"/>
                  </a:lnTo>
                  <a:lnTo>
                    <a:pt x="230" y="104"/>
                  </a:lnTo>
                  <a:lnTo>
                    <a:pt x="228" y="106"/>
                  </a:lnTo>
                  <a:lnTo>
                    <a:pt x="228" y="106"/>
                  </a:lnTo>
                  <a:lnTo>
                    <a:pt x="227" y="111"/>
                  </a:lnTo>
                  <a:lnTo>
                    <a:pt x="223" y="113"/>
                  </a:lnTo>
                  <a:lnTo>
                    <a:pt x="220" y="111"/>
                  </a:lnTo>
                  <a:lnTo>
                    <a:pt x="216" y="104"/>
                  </a:lnTo>
                  <a:lnTo>
                    <a:pt x="216" y="104"/>
                  </a:lnTo>
                  <a:lnTo>
                    <a:pt x="213" y="101"/>
                  </a:lnTo>
                  <a:lnTo>
                    <a:pt x="213" y="101"/>
                  </a:lnTo>
                  <a:lnTo>
                    <a:pt x="213" y="104"/>
                  </a:lnTo>
                  <a:lnTo>
                    <a:pt x="213" y="111"/>
                  </a:lnTo>
                  <a:lnTo>
                    <a:pt x="211" y="113"/>
                  </a:lnTo>
                  <a:lnTo>
                    <a:pt x="209" y="113"/>
                  </a:lnTo>
                  <a:lnTo>
                    <a:pt x="209" y="113"/>
                  </a:lnTo>
                  <a:lnTo>
                    <a:pt x="207" y="113"/>
                  </a:lnTo>
                  <a:lnTo>
                    <a:pt x="206" y="111"/>
                  </a:lnTo>
                  <a:lnTo>
                    <a:pt x="202" y="104"/>
                  </a:lnTo>
                  <a:lnTo>
                    <a:pt x="199" y="97"/>
                  </a:lnTo>
                  <a:lnTo>
                    <a:pt x="195" y="96"/>
                  </a:lnTo>
                  <a:lnTo>
                    <a:pt x="192" y="94"/>
                  </a:lnTo>
                  <a:lnTo>
                    <a:pt x="192" y="94"/>
                  </a:lnTo>
                  <a:lnTo>
                    <a:pt x="185" y="96"/>
                  </a:lnTo>
                  <a:lnTo>
                    <a:pt x="179" y="96"/>
                  </a:lnTo>
                  <a:lnTo>
                    <a:pt x="178" y="96"/>
                  </a:lnTo>
                  <a:lnTo>
                    <a:pt x="176" y="94"/>
                  </a:lnTo>
                  <a:lnTo>
                    <a:pt x="178" y="89"/>
                  </a:lnTo>
                  <a:lnTo>
                    <a:pt x="178" y="89"/>
                  </a:lnTo>
                  <a:lnTo>
                    <a:pt x="179" y="82"/>
                  </a:lnTo>
                  <a:lnTo>
                    <a:pt x="179" y="80"/>
                  </a:lnTo>
                  <a:lnTo>
                    <a:pt x="178" y="80"/>
                  </a:lnTo>
                  <a:lnTo>
                    <a:pt x="174" y="84"/>
                  </a:lnTo>
                  <a:lnTo>
                    <a:pt x="174" y="84"/>
                  </a:lnTo>
                  <a:lnTo>
                    <a:pt x="171" y="84"/>
                  </a:lnTo>
                  <a:lnTo>
                    <a:pt x="167" y="84"/>
                  </a:lnTo>
                  <a:lnTo>
                    <a:pt x="159" y="78"/>
                  </a:lnTo>
                  <a:lnTo>
                    <a:pt x="150" y="70"/>
                  </a:lnTo>
                  <a:lnTo>
                    <a:pt x="146" y="64"/>
                  </a:lnTo>
                  <a:lnTo>
                    <a:pt x="146" y="59"/>
                  </a:lnTo>
                  <a:lnTo>
                    <a:pt x="146" y="59"/>
                  </a:lnTo>
                  <a:lnTo>
                    <a:pt x="145" y="54"/>
                  </a:lnTo>
                  <a:lnTo>
                    <a:pt x="143" y="52"/>
                  </a:lnTo>
                  <a:lnTo>
                    <a:pt x="141" y="50"/>
                  </a:lnTo>
                  <a:lnTo>
                    <a:pt x="136" y="52"/>
                  </a:lnTo>
                  <a:lnTo>
                    <a:pt x="129" y="54"/>
                  </a:lnTo>
                  <a:lnTo>
                    <a:pt x="129" y="54"/>
                  </a:lnTo>
                  <a:lnTo>
                    <a:pt x="126" y="54"/>
                  </a:lnTo>
                  <a:lnTo>
                    <a:pt x="124" y="52"/>
                  </a:lnTo>
                  <a:lnTo>
                    <a:pt x="119" y="45"/>
                  </a:lnTo>
                  <a:lnTo>
                    <a:pt x="112" y="38"/>
                  </a:lnTo>
                  <a:lnTo>
                    <a:pt x="108" y="35"/>
                  </a:lnTo>
                  <a:lnTo>
                    <a:pt x="105" y="35"/>
                  </a:lnTo>
                  <a:lnTo>
                    <a:pt x="105" y="35"/>
                  </a:lnTo>
                  <a:lnTo>
                    <a:pt x="99" y="33"/>
                  </a:lnTo>
                  <a:lnTo>
                    <a:pt x="96" y="31"/>
                  </a:lnTo>
                  <a:lnTo>
                    <a:pt x="92" y="28"/>
                  </a:lnTo>
                  <a:lnTo>
                    <a:pt x="87" y="23"/>
                  </a:lnTo>
                  <a:lnTo>
                    <a:pt x="84" y="19"/>
                  </a:lnTo>
                  <a:lnTo>
                    <a:pt x="80" y="17"/>
                  </a:lnTo>
                  <a:lnTo>
                    <a:pt x="80" y="17"/>
                  </a:lnTo>
                  <a:lnTo>
                    <a:pt x="75" y="16"/>
                  </a:lnTo>
                  <a:lnTo>
                    <a:pt x="73" y="14"/>
                  </a:lnTo>
                  <a:lnTo>
                    <a:pt x="73" y="9"/>
                  </a:lnTo>
                  <a:lnTo>
                    <a:pt x="73" y="7"/>
                  </a:lnTo>
                  <a:lnTo>
                    <a:pt x="72" y="3"/>
                  </a:lnTo>
                  <a:lnTo>
                    <a:pt x="68" y="2"/>
                  </a:lnTo>
                  <a:lnTo>
                    <a:pt x="63" y="0"/>
                  </a:lnTo>
                  <a:lnTo>
                    <a:pt x="63" y="0"/>
                  </a:lnTo>
                  <a:lnTo>
                    <a:pt x="54" y="0"/>
                  </a:lnTo>
                  <a:lnTo>
                    <a:pt x="49" y="3"/>
                  </a:lnTo>
                  <a:lnTo>
                    <a:pt x="45" y="7"/>
                  </a:lnTo>
                  <a:lnTo>
                    <a:pt x="44" y="12"/>
                  </a:lnTo>
                  <a:lnTo>
                    <a:pt x="42" y="16"/>
                  </a:lnTo>
                  <a:lnTo>
                    <a:pt x="40" y="17"/>
                  </a:lnTo>
                  <a:lnTo>
                    <a:pt x="37" y="16"/>
                  </a:lnTo>
                  <a:lnTo>
                    <a:pt x="33" y="9"/>
                  </a:lnTo>
                  <a:lnTo>
                    <a:pt x="33"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4" name="Freeform 2007">
              <a:extLst>
                <a:ext uri="{FF2B5EF4-FFF2-40B4-BE49-F238E27FC236}">
                  <a16:creationId xmlns:a16="http://schemas.microsoft.com/office/drawing/2014/main" id="{D297AF56-40D0-4E8F-9840-0B50C9B91292}"/>
                </a:ext>
              </a:extLst>
            </p:cNvPr>
            <p:cNvSpPr>
              <a:spLocks/>
            </p:cNvSpPr>
            <p:nvPr/>
          </p:nvSpPr>
          <p:spPr bwMode="auto">
            <a:xfrm>
              <a:off x="7220008" y="3533871"/>
              <a:ext cx="93387" cy="58146"/>
            </a:xfrm>
            <a:custGeom>
              <a:avLst/>
              <a:gdLst/>
              <a:ahLst/>
              <a:cxnLst>
                <a:cxn ang="0">
                  <a:pos x="3" y="45"/>
                </a:cxn>
                <a:cxn ang="0">
                  <a:pos x="0" y="52"/>
                </a:cxn>
                <a:cxn ang="0">
                  <a:pos x="3" y="59"/>
                </a:cxn>
                <a:cxn ang="0">
                  <a:pos x="15" y="66"/>
                </a:cxn>
                <a:cxn ang="0">
                  <a:pos x="19" y="66"/>
                </a:cxn>
                <a:cxn ang="0">
                  <a:pos x="24" y="66"/>
                </a:cxn>
                <a:cxn ang="0">
                  <a:pos x="31" y="71"/>
                </a:cxn>
                <a:cxn ang="0">
                  <a:pos x="40" y="71"/>
                </a:cxn>
                <a:cxn ang="0">
                  <a:pos x="47" y="70"/>
                </a:cxn>
                <a:cxn ang="0">
                  <a:pos x="57" y="66"/>
                </a:cxn>
                <a:cxn ang="0">
                  <a:pos x="64" y="68"/>
                </a:cxn>
                <a:cxn ang="0">
                  <a:pos x="69" y="71"/>
                </a:cxn>
                <a:cxn ang="0">
                  <a:pos x="80" y="70"/>
                </a:cxn>
                <a:cxn ang="0">
                  <a:pos x="87" y="68"/>
                </a:cxn>
                <a:cxn ang="0">
                  <a:pos x="97" y="68"/>
                </a:cxn>
                <a:cxn ang="0">
                  <a:pos x="102" y="68"/>
                </a:cxn>
                <a:cxn ang="0">
                  <a:pos x="106" y="66"/>
                </a:cxn>
                <a:cxn ang="0">
                  <a:pos x="113" y="66"/>
                </a:cxn>
                <a:cxn ang="0">
                  <a:pos x="115" y="64"/>
                </a:cxn>
                <a:cxn ang="0">
                  <a:pos x="115" y="59"/>
                </a:cxn>
                <a:cxn ang="0">
                  <a:pos x="115" y="50"/>
                </a:cxn>
                <a:cxn ang="0">
                  <a:pos x="116" y="42"/>
                </a:cxn>
                <a:cxn ang="0">
                  <a:pos x="113" y="40"/>
                </a:cxn>
                <a:cxn ang="0">
                  <a:pos x="108" y="40"/>
                </a:cxn>
                <a:cxn ang="0">
                  <a:pos x="101" y="40"/>
                </a:cxn>
                <a:cxn ang="0">
                  <a:pos x="99" y="35"/>
                </a:cxn>
                <a:cxn ang="0">
                  <a:pos x="99" y="24"/>
                </a:cxn>
                <a:cxn ang="0">
                  <a:pos x="101" y="19"/>
                </a:cxn>
                <a:cxn ang="0">
                  <a:pos x="88" y="10"/>
                </a:cxn>
                <a:cxn ang="0">
                  <a:pos x="85" y="10"/>
                </a:cxn>
                <a:cxn ang="0">
                  <a:pos x="80" y="14"/>
                </a:cxn>
                <a:cxn ang="0">
                  <a:pos x="76" y="14"/>
                </a:cxn>
                <a:cxn ang="0">
                  <a:pos x="62" y="12"/>
                </a:cxn>
                <a:cxn ang="0">
                  <a:pos x="55" y="10"/>
                </a:cxn>
                <a:cxn ang="0">
                  <a:pos x="57" y="9"/>
                </a:cxn>
                <a:cxn ang="0">
                  <a:pos x="55" y="3"/>
                </a:cxn>
                <a:cxn ang="0">
                  <a:pos x="47" y="0"/>
                </a:cxn>
                <a:cxn ang="0">
                  <a:pos x="36" y="2"/>
                </a:cxn>
                <a:cxn ang="0">
                  <a:pos x="27" y="10"/>
                </a:cxn>
                <a:cxn ang="0">
                  <a:pos x="22" y="17"/>
                </a:cxn>
                <a:cxn ang="0">
                  <a:pos x="15" y="23"/>
                </a:cxn>
                <a:cxn ang="0">
                  <a:pos x="14" y="28"/>
                </a:cxn>
                <a:cxn ang="0">
                  <a:pos x="8" y="37"/>
                </a:cxn>
                <a:cxn ang="0">
                  <a:pos x="3" y="45"/>
                </a:cxn>
              </a:cxnLst>
              <a:rect l="0" t="0" r="r" b="b"/>
              <a:pathLst>
                <a:path w="116" h="71">
                  <a:moveTo>
                    <a:pt x="3" y="45"/>
                  </a:moveTo>
                  <a:lnTo>
                    <a:pt x="3" y="45"/>
                  </a:lnTo>
                  <a:lnTo>
                    <a:pt x="0" y="49"/>
                  </a:lnTo>
                  <a:lnTo>
                    <a:pt x="0" y="52"/>
                  </a:lnTo>
                  <a:lnTo>
                    <a:pt x="0" y="56"/>
                  </a:lnTo>
                  <a:lnTo>
                    <a:pt x="3" y="59"/>
                  </a:lnTo>
                  <a:lnTo>
                    <a:pt x="10" y="66"/>
                  </a:lnTo>
                  <a:lnTo>
                    <a:pt x="15" y="66"/>
                  </a:lnTo>
                  <a:lnTo>
                    <a:pt x="19" y="66"/>
                  </a:lnTo>
                  <a:lnTo>
                    <a:pt x="19" y="66"/>
                  </a:lnTo>
                  <a:lnTo>
                    <a:pt x="20" y="66"/>
                  </a:lnTo>
                  <a:lnTo>
                    <a:pt x="24" y="66"/>
                  </a:lnTo>
                  <a:lnTo>
                    <a:pt x="29" y="70"/>
                  </a:lnTo>
                  <a:lnTo>
                    <a:pt x="31" y="71"/>
                  </a:lnTo>
                  <a:lnTo>
                    <a:pt x="34" y="71"/>
                  </a:lnTo>
                  <a:lnTo>
                    <a:pt x="40" y="71"/>
                  </a:lnTo>
                  <a:lnTo>
                    <a:pt x="47" y="70"/>
                  </a:lnTo>
                  <a:lnTo>
                    <a:pt x="47" y="70"/>
                  </a:lnTo>
                  <a:lnTo>
                    <a:pt x="54" y="66"/>
                  </a:lnTo>
                  <a:lnTo>
                    <a:pt x="57" y="66"/>
                  </a:lnTo>
                  <a:lnTo>
                    <a:pt x="61" y="66"/>
                  </a:lnTo>
                  <a:lnTo>
                    <a:pt x="64" y="68"/>
                  </a:lnTo>
                  <a:lnTo>
                    <a:pt x="66" y="70"/>
                  </a:lnTo>
                  <a:lnTo>
                    <a:pt x="69" y="71"/>
                  </a:lnTo>
                  <a:lnTo>
                    <a:pt x="74" y="71"/>
                  </a:lnTo>
                  <a:lnTo>
                    <a:pt x="80" y="70"/>
                  </a:lnTo>
                  <a:lnTo>
                    <a:pt x="80" y="70"/>
                  </a:lnTo>
                  <a:lnTo>
                    <a:pt x="87" y="68"/>
                  </a:lnTo>
                  <a:lnTo>
                    <a:pt x="92" y="68"/>
                  </a:lnTo>
                  <a:lnTo>
                    <a:pt x="97" y="68"/>
                  </a:lnTo>
                  <a:lnTo>
                    <a:pt x="101" y="70"/>
                  </a:lnTo>
                  <a:lnTo>
                    <a:pt x="102" y="68"/>
                  </a:lnTo>
                  <a:lnTo>
                    <a:pt x="102" y="68"/>
                  </a:lnTo>
                  <a:lnTo>
                    <a:pt x="106" y="66"/>
                  </a:lnTo>
                  <a:lnTo>
                    <a:pt x="108" y="64"/>
                  </a:lnTo>
                  <a:lnTo>
                    <a:pt x="113" y="66"/>
                  </a:lnTo>
                  <a:lnTo>
                    <a:pt x="115" y="66"/>
                  </a:lnTo>
                  <a:lnTo>
                    <a:pt x="115" y="64"/>
                  </a:lnTo>
                  <a:lnTo>
                    <a:pt x="115" y="59"/>
                  </a:lnTo>
                  <a:lnTo>
                    <a:pt x="115" y="59"/>
                  </a:lnTo>
                  <a:lnTo>
                    <a:pt x="113" y="54"/>
                  </a:lnTo>
                  <a:lnTo>
                    <a:pt x="115" y="50"/>
                  </a:lnTo>
                  <a:lnTo>
                    <a:pt x="115" y="44"/>
                  </a:lnTo>
                  <a:lnTo>
                    <a:pt x="116" y="42"/>
                  </a:lnTo>
                  <a:lnTo>
                    <a:pt x="115" y="40"/>
                  </a:lnTo>
                  <a:lnTo>
                    <a:pt x="113" y="40"/>
                  </a:lnTo>
                  <a:lnTo>
                    <a:pt x="108" y="40"/>
                  </a:lnTo>
                  <a:lnTo>
                    <a:pt x="108" y="40"/>
                  </a:lnTo>
                  <a:lnTo>
                    <a:pt x="104" y="40"/>
                  </a:lnTo>
                  <a:lnTo>
                    <a:pt x="101" y="40"/>
                  </a:lnTo>
                  <a:lnTo>
                    <a:pt x="101" y="38"/>
                  </a:lnTo>
                  <a:lnTo>
                    <a:pt x="99" y="35"/>
                  </a:lnTo>
                  <a:lnTo>
                    <a:pt x="99" y="30"/>
                  </a:lnTo>
                  <a:lnTo>
                    <a:pt x="99" y="24"/>
                  </a:lnTo>
                  <a:lnTo>
                    <a:pt x="99" y="24"/>
                  </a:lnTo>
                  <a:lnTo>
                    <a:pt x="101" y="19"/>
                  </a:lnTo>
                  <a:lnTo>
                    <a:pt x="97" y="16"/>
                  </a:lnTo>
                  <a:lnTo>
                    <a:pt x="88" y="10"/>
                  </a:lnTo>
                  <a:lnTo>
                    <a:pt x="88" y="10"/>
                  </a:lnTo>
                  <a:lnTo>
                    <a:pt x="85" y="10"/>
                  </a:lnTo>
                  <a:lnTo>
                    <a:pt x="83" y="12"/>
                  </a:lnTo>
                  <a:lnTo>
                    <a:pt x="80" y="14"/>
                  </a:lnTo>
                  <a:lnTo>
                    <a:pt x="76" y="14"/>
                  </a:lnTo>
                  <a:lnTo>
                    <a:pt x="76" y="14"/>
                  </a:lnTo>
                  <a:lnTo>
                    <a:pt x="71" y="12"/>
                  </a:lnTo>
                  <a:lnTo>
                    <a:pt x="62" y="12"/>
                  </a:lnTo>
                  <a:lnTo>
                    <a:pt x="57" y="12"/>
                  </a:lnTo>
                  <a:lnTo>
                    <a:pt x="55" y="10"/>
                  </a:lnTo>
                  <a:lnTo>
                    <a:pt x="57" y="9"/>
                  </a:lnTo>
                  <a:lnTo>
                    <a:pt x="57" y="9"/>
                  </a:lnTo>
                  <a:lnTo>
                    <a:pt x="57" y="5"/>
                  </a:lnTo>
                  <a:lnTo>
                    <a:pt x="55" y="3"/>
                  </a:lnTo>
                  <a:lnTo>
                    <a:pt x="52" y="2"/>
                  </a:lnTo>
                  <a:lnTo>
                    <a:pt x="47" y="0"/>
                  </a:lnTo>
                  <a:lnTo>
                    <a:pt x="41" y="2"/>
                  </a:lnTo>
                  <a:lnTo>
                    <a:pt x="36" y="2"/>
                  </a:lnTo>
                  <a:lnTo>
                    <a:pt x="31" y="5"/>
                  </a:lnTo>
                  <a:lnTo>
                    <a:pt x="27" y="10"/>
                  </a:lnTo>
                  <a:lnTo>
                    <a:pt x="27" y="10"/>
                  </a:lnTo>
                  <a:lnTo>
                    <a:pt x="22" y="17"/>
                  </a:lnTo>
                  <a:lnTo>
                    <a:pt x="19" y="19"/>
                  </a:lnTo>
                  <a:lnTo>
                    <a:pt x="15" y="23"/>
                  </a:lnTo>
                  <a:lnTo>
                    <a:pt x="14" y="28"/>
                  </a:lnTo>
                  <a:lnTo>
                    <a:pt x="14" y="28"/>
                  </a:lnTo>
                  <a:lnTo>
                    <a:pt x="12" y="35"/>
                  </a:lnTo>
                  <a:lnTo>
                    <a:pt x="8" y="37"/>
                  </a:lnTo>
                  <a:lnTo>
                    <a:pt x="7" y="38"/>
                  </a:lnTo>
                  <a:lnTo>
                    <a:pt x="3" y="45"/>
                  </a:lnTo>
                  <a:lnTo>
                    <a:pt x="3"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5" name="Freeform 2008">
              <a:extLst>
                <a:ext uri="{FF2B5EF4-FFF2-40B4-BE49-F238E27FC236}">
                  <a16:creationId xmlns:a16="http://schemas.microsoft.com/office/drawing/2014/main" id="{C3C6D0C6-7FFE-46BF-BF95-205259BCC9AB}"/>
                </a:ext>
              </a:extLst>
            </p:cNvPr>
            <p:cNvSpPr>
              <a:spLocks/>
            </p:cNvSpPr>
            <p:nvPr/>
          </p:nvSpPr>
          <p:spPr bwMode="auto">
            <a:xfrm>
              <a:off x="7198865" y="3597302"/>
              <a:ext cx="128627" cy="202631"/>
            </a:xfrm>
            <a:custGeom>
              <a:avLst/>
              <a:gdLst/>
              <a:ahLst/>
              <a:cxnLst>
                <a:cxn ang="0">
                  <a:pos x="42" y="214"/>
                </a:cxn>
                <a:cxn ang="0">
                  <a:pos x="53" y="214"/>
                </a:cxn>
                <a:cxn ang="0">
                  <a:pos x="56" y="217"/>
                </a:cxn>
                <a:cxn ang="0">
                  <a:pos x="70" y="210"/>
                </a:cxn>
                <a:cxn ang="0">
                  <a:pos x="81" y="209"/>
                </a:cxn>
                <a:cxn ang="0">
                  <a:pos x="88" y="184"/>
                </a:cxn>
                <a:cxn ang="0">
                  <a:pos x="86" y="162"/>
                </a:cxn>
                <a:cxn ang="0">
                  <a:pos x="84" y="142"/>
                </a:cxn>
                <a:cxn ang="0">
                  <a:pos x="89" y="135"/>
                </a:cxn>
                <a:cxn ang="0">
                  <a:pos x="95" y="165"/>
                </a:cxn>
                <a:cxn ang="0">
                  <a:pos x="105" y="179"/>
                </a:cxn>
                <a:cxn ang="0">
                  <a:pos x="115" y="172"/>
                </a:cxn>
                <a:cxn ang="0">
                  <a:pos x="129" y="189"/>
                </a:cxn>
                <a:cxn ang="0">
                  <a:pos x="140" y="219"/>
                </a:cxn>
                <a:cxn ang="0">
                  <a:pos x="138" y="231"/>
                </a:cxn>
                <a:cxn ang="0">
                  <a:pos x="147" y="254"/>
                </a:cxn>
                <a:cxn ang="0">
                  <a:pos x="148" y="233"/>
                </a:cxn>
                <a:cxn ang="0">
                  <a:pos x="155" y="233"/>
                </a:cxn>
                <a:cxn ang="0">
                  <a:pos x="161" y="224"/>
                </a:cxn>
                <a:cxn ang="0">
                  <a:pos x="157" y="182"/>
                </a:cxn>
                <a:cxn ang="0">
                  <a:pos x="148" y="141"/>
                </a:cxn>
                <a:cxn ang="0">
                  <a:pos x="147" y="128"/>
                </a:cxn>
                <a:cxn ang="0">
                  <a:pos x="136" y="139"/>
                </a:cxn>
                <a:cxn ang="0">
                  <a:pos x="126" y="162"/>
                </a:cxn>
                <a:cxn ang="0">
                  <a:pos x="114" y="144"/>
                </a:cxn>
                <a:cxn ang="0">
                  <a:pos x="114" y="118"/>
                </a:cxn>
                <a:cxn ang="0">
                  <a:pos x="140" y="101"/>
                </a:cxn>
                <a:cxn ang="0">
                  <a:pos x="147" y="81"/>
                </a:cxn>
                <a:cxn ang="0">
                  <a:pos x="157" y="78"/>
                </a:cxn>
                <a:cxn ang="0">
                  <a:pos x="148" y="68"/>
                </a:cxn>
                <a:cxn ang="0">
                  <a:pos x="74" y="62"/>
                </a:cxn>
                <a:cxn ang="0">
                  <a:pos x="61" y="54"/>
                </a:cxn>
                <a:cxn ang="0">
                  <a:pos x="58" y="17"/>
                </a:cxn>
                <a:cxn ang="0">
                  <a:pos x="49" y="27"/>
                </a:cxn>
                <a:cxn ang="0">
                  <a:pos x="35" y="14"/>
                </a:cxn>
                <a:cxn ang="0">
                  <a:pos x="25" y="15"/>
                </a:cxn>
                <a:cxn ang="0">
                  <a:pos x="20" y="3"/>
                </a:cxn>
                <a:cxn ang="0">
                  <a:pos x="9" y="1"/>
                </a:cxn>
                <a:cxn ang="0">
                  <a:pos x="16" y="10"/>
                </a:cxn>
                <a:cxn ang="0">
                  <a:pos x="0" y="33"/>
                </a:cxn>
                <a:cxn ang="0">
                  <a:pos x="11" y="40"/>
                </a:cxn>
                <a:cxn ang="0">
                  <a:pos x="21" y="50"/>
                </a:cxn>
                <a:cxn ang="0">
                  <a:pos x="32" y="57"/>
                </a:cxn>
                <a:cxn ang="0">
                  <a:pos x="25" y="62"/>
                </a:cxn>
                <a:cxn ang="0">
                  <a:pos x="13" y="68"/>
                </a:cxn>
                <a:cxn ang="0">
                  <a:pos x="9" y="76"/>
                </a:cxn>
                <a:cxn ang="0">
                  <a:pos x="2" y="83"/>
                </a:cxn>
                <a:cxn ang="0">
                  <a:pos x="7" y="97"/>
                </a:cxn>
                <a:cxn ang="0">
                  <a:pos x="25" y="113"/>
                </a:cxn>
                <a:cxn ang="0">
                  <a:pos x="20" y="127"/>
                </a:cxn>
                <a:cxn ang="0">
                  <a:pos x="23" y="139"/>
                </a:cxn>
                <a:cxn ang="0">
                  <a:pos x="28" y="151"/>
                </a:cxn>
                <a:cxn ang="0">
                  <a:pos x="30" y="163"/>
                </a:cxn>
                <a:cxn ang="0">
                  <a:pos x="37" y="198"/>
                </a:cxn>
              </a:cxnLst>
              <a:rect l="0" t="0" r="r" b="b"/>
              <a:pathLst>
                <a:path w="161" h="254">
                  <a:moveTo>
                    <a:pt x="37" y="205"/>
                  </a:moveTo>
                  <a:lnTo>
                    <a:pt x="37" y="205"/>
                  </a:lnTo>
                  <a:lnTo>
                    <a:pt x="39" y="210"/>
                  </a:lnTo>
                  <a:lnTo>
                    <a:pt x="42" y="214"/>
                  </a:lnTo>
                  <a:lnTo>
                    <a:pt x="44" y="214"/>
                  </a:lnTo>
                  <a:lnTo>
                    <a:pt x="46" y="214"/>
                  </a:lnTo>
                  <a:lnTo>
                    <a:pt x="51" y="212"/>
                  </a:lnTo>
                  <a:lnTo>
                    <a:pt x="53" y="214"/>
                  </a:lnTo>
                  <a:lnTo>
                    <a:pt x="53" y="215"/>
                  </a:lnTo>
                  <a:lnTo>
                    <a:pt x="53" y="215"/>
                  </a:lnTo>
                  <a:lnTo>
                    <a:pt x="54" y="217"/>
                  </a:lnTo>
                  <a:lnTo>
                    <a:pt x="56" y="217"/>
                  </a:lnTo>
                  <a:lnTo>
                    <a:pt x="61" y="212"/>
                  </a:lnTo>
                  <a:lnTo>
                    <a:pt x="65" y="207"/>
                  </a:lnTo>
                  <a:lnTo>
                    <a:pt x="68" y="207"/>
                  </a:lnTo>
                  <a:lnTo>
                    <a:pt x="70" y="210"/>
                  </a:lnTo>
                  <a:lnTo>
                    <a:pt x="70" y="210"/>
                  </a:lnTo>
                  <a:lnTo>
                    <a:pt x="74" y="212"/>
                  </a:lnTo>
                  <a:lnTo>
                    <a:pt x="77" y="212"/>
                  </a:lnTo>
                  <a:lnTo>
                    <a:pt x="81" y="209"/>
                  </a:lnTo>
                  <a:lnTo>
                    <a:pt x="84" y="203"/>
                  </a:lnTo>
                  <a:lnTo>
                    <a:pt x="86" y="198"/>
                  </a:lnTo>
                  <a:lnTo>
                    <a:pt x="88" y="191"/>
                  </a:lnTo>
                  <a:lnTo>
                    <a:pt x="88" y="184"/>
                  </a:lnTo>
                  <a:lnTo>
                    <a:pt x="88" y="179"/>
                  </a:lnTo>
                  <a:lnTo>
                    <a:pt x="88" y="179"/>
                  </a:lnTo>
                  <a:lnTo>
                    <a:pt x="84" y="170"/>
                  </a:lnTo>
                  <a:lnTo>
                    <a:pt x="86" y="162"/>
                  </a:lnTo>
                  <a:lnTo>
                    <a:pt x="86" y="155"/>
                  </a:lnTo>
                  <a:lnTo>
                    <a:pt x="86" y="148"/>
                  </a:lnTo>
                  <a:lnTo>
                    <a:pt x="86" y="148"/>
                  </a:lnTo>
                  <a:lnTo>
                    <a:pt x="84" y="142"/>
                  </a:lnTo>
                  <a:lnTo>
                    <a:pt x="86" y="142"/>
                  </a:lnTo>
                  <a:lnTo>
                    <a:pt x="88" y="137"/>
                  </a:lnTo>
                  <a:lnTo>
                    <a:pt x="88" y="137"/>
                  </a:lnTo>
                  <a:lnTo>
                    <a:pt x="89" y="135"/>
                  </a:lnTo>
                  <a:lnTo>
                    <a:pt x="91" y="135"/>
                  </a:lnTo>
                  <a:lnTo>
                    <a:pt x="93" y="142"/>
                  </a:lnTo>
                  <a:lnTo>
                    <a:pt x="95" y="165"/>
                  </a:lnTo>
                  <a:lnTo>
                    <a:pt x="95" y="165"/>
                  </a:lnTo>
                  <a:lnTo>
                    <a:pt x="98" y="174"/>
                  </a:lnTo>
                  <a:lnTo>
                    <a:pt x="100" y="177"/>
                  </a:lnTo>
                  <a:lnTo>
                    <a:pt x="101" y="179"/>
                  </a:lnTo>
                  <a:lnTo>
                    <a:pt x="105" y="179"/>
                  </a:lnTo>
                  <a:lnTo>
                    <a:pt x="108" y="179"/>
                  </a:lnTo>
                  <a:lnTo>
                    <a:pt x="114" y="175"/>
                  </a:lnTo>
                  <a:lnTo>
                    <a:pt x="114" y="175"/>
                  </a:lnTo>
                  <a:lnTo>
                    <a:pt x="115" y="172"/>
                  </a:lnTo>
                  <a:lnTo>
                    <a:pt x="119" y="172"/>
                  </a:lnTo>
                  <a:lnTo>
                    <a:pt x="121" y="174"/>
                  </a:lnTo>
                  <a:lnTo>
                    <a:pt x="124" y="177"/>
                  </a:lnTo>
                  <a:lnTo>
                    <a:pt x="129" y="189"/>
                  </a:lnTo>
                  <a:lnTo>
                    <a:pt x="136" y="207"/>
                  </a:lnTo>
                  <a:lnTo>
                    <a:pt x="136" y="207"/>
                  </a:lnTo>
                  <a:lnTo>
                    <a:pt x="138" y="215"/>
                  </a:lnTo>
                  <a:lnTo>
                    <a:pt x="140" y="219"/>
                  </a:lnTo>
                  <a:lnTo>
                    <a:pt x="142" y="221"/>
                  </a:lnTo>
                  <a:lnTo>
                    <a:pt x="140" y="224"/>
                  </a:lnTo>
                  <a:lnTo>
                    <a:pt x="140" y="224"/>
                  </a:lnTo>
                  <a:lnTo>
                    <a:pt x="138" y="231"/>
                  </a:lnTo>
                  <a:lnTo>
                    <a:pt x="138" y="236"/>
                  </a:lnTo>
                  <a:lnTo>
                    <a:pt x="143" y="247"/>
                  </a:lnTo>
                  <a:lnTo>
                    <a:pt x="143" y="247"/>
                  </a:lnTo>
                  <a:lnTo>
                    <a:pt x="147" y="254"/>
                  </a:lnTo>
                  <a:lnTo>
                    <a:pt x="147" y="252"/>
                  </a:lnTo>
                  <a:lnTo>
                    <a:pt x="147" y="243"/>
                  </a:lnTo>
                  <a:lnTo>
                    <a:pt x="147" y="243"/>
                  </a:lnTo>
                  <a:lnTo>
                    <a:pt x="148" y="233"/>
                  </a:lnTo>
                  <a:lnTo>
                    <a:pt x="148" y="229"/>
                  </a:lnTo>
                  <a:lnTo>
                    <a:pt x="150" y="229"/>
                  </a:lnTo>
                  <a:lnTo>
                    <a:pt x="152" y="229"/>
                  </a:lnTo>
                  <a:lnTo>
                    <a:pt x="155" y="233"/>
                  </a:lnTo>
                  <a:lnTo>
                    <a:pt x="159" y="236"/>
                  </a:lnTo>
                  <a:lnTo>
                    <a:pt x="161" y="236"/>
                  </a:lnTo>
                  <a:lnTo>
                    <a:pt x="161" y="235"/>
                  </a:lnTo>
                  <a:lnTo>
                    <a:pt x="161" y="224"/>
                  </a:lnTo>
                  <a:lnTo>
                    <a:pt x="161" y="205"/>
                  </a:lnTo>
                  <a:lnTo>
                    <a:pt x="161" y="205"/>
                  </a:lnTo>
                  <a:lnTo>
                    <a:pt x="159" y="193"/>
                  </a:lnTo>
                  <a:lnTo>
                    <a:pt x="157" y="182"/>
                  </a:lnTo>
                  <a:lnTo>
                    <a:pt x="152" y="168"/>
                  </a:lnTo>
                  <a:lnTo>
                    <a:pt x="148" y="156"/>
                  </a:lnTo>
                  <a:lnTo>
                    <a:pt x="148" y="149"/>
                  </a:lnTo>
                  <a:lnTo>
                    <a:pt x="148" y="141"/>
                  </a:lnTo>
                  <a:lnTo>
                    <a:pt x="148" y="141"/>
                  </a:lnTo>
                  <a:lnTo>
                    <a:pt x="148" y="135"/>
                  </a:lnTo>
                  <a:lnTo>
                    <a:pt x="148" y="130"/>
                  </a:lnTo>
                  <a:lnTo>
                    <a:pt x="147" y="128"/>
                  </a:lnTo>
                  <a:lnTo>
                    <a:pt x="145" y="128"/>
                  </a:lnTo>
                  <a:lnTo>
                    <a:pt x="142" y="128"/>
                  </a:lnTo>
                  <a:lnTo>
                    <a:pt x="140" y="132"/>
                  </a:lnTo>
                  <a:lnTo>
                    <a:pt x="136" y="139"/>
                  </a:lnTo>
                  <a:lnTo>
                    <a:pt x="136" y="139"/>
                  </a:lnTo>
                  <a:lnTo>
                    <a:pt x="133" y="151"/>
                  </a:lnTo>
                  <a:lnTo>
                    <a:pt x="129" y="158"/>
                  </a:lnTo>
                  <a:lnTo>
                    <a:pt x="126" y="162"/>
                  </a:lnTo>
                  <a:lnTo>
                    <a:pt x="122" y="162"/>
                  </a:lnTo>
                  <a:lnTo>
                    <a:pt x="119" y="158"/>
                  </a:lnTo>
                  <a:lnTo>
                    <a:pt x="115" y="153"/>
                  </a:lnTo>
                  <a:lnTo>
                    <a:pt x="114" y="144"/>
                  </a:lnTo>
                  <a:lnTo>
                    <a:pt x="110" y="134"/>
                  </a:lnTo>
                  <a:lnTo>
                    <a:pt x="110" y="134"/>
                  </a:lnTo>
                  <a:lnTo>
                    <a:pt x="112" y="125"/>
                  </a:lnTo>
                  <a:lnTo>
                    <a:pt x="114" y="118"/>
                  </a:lnTo>
                  <a:lnTo>
                    <a:pt x="121" y="113"/>
                  </a:lnTo>
                  <a:lnTo>
                    <a:pt x="126" y="109"/>
                  </a:lnTo>
                  <a:lnTo>
                    <a:pt x="133" y="104"/>
                  </a:lnTo>
                  <a:lnTo>
                    <a:pt x="140" y="101"/>
                  </a:lnTo>
                  <a:lnTo>
                    <a:pt x="143" y="95"/>
                  </a:lnTo>
                  <a:lnTo>
                    <a:pt x="145" y="87"/>
                  </a:lnTo>
                  <a:lnTo>
                    <a:pt x="145" y="87"/>
                  </a:lnTo>
                  <a:lnTo>
                    <a:pt x="147" y="81"/>
                  </a:lnTo>
                  <a:lnTo>
                    <a:pt x="148" y="78"/>
                  </a:lnTo>
                  <a:lnTo>
                    <a:pt x="152" y="76"/>
                  </a:lnTo>
                  <a:lnTo>
                    <a:pt x="154" y="76"/>
                  </a:lnTo>
                  <a:lnTo>
                    <a:pt x="157" y="78"/>
                  </a:lnTo>
                  <a:lnTo>
                    <a:pt x="154" y="73"/>
                  </a:lnTo>
                  <a:lnTo>
                    <a:pt x="154" y="73"/>
                  </a:lnTo>
                  <a:lnTo>
                    <a:pt x="152" y="69"/>
                  </a:lnTo>
                  <a:lnTo>
                    <a:pt x="148" y="68"/>
                  </a:lnTo>
                  <a:lnTo>
                    <a:pt x="136" y="66"/>
                  </a:lnTo>
                  <a:lnTo>
                    <a:pt x="105" y="66"/>
                  </a:lnTo>
                  <a:lnTo>
                    <a:pt x="88" y="64"/>
                  </a:lnTo>
                  <a:lnTo>
                    <a:pt x="74" y="62"/>
                  </a:lnTo>
                  <a:lnTo>
                    <a:pt x="65" y="59"/>
                  </a:lnTo>
                  <a:lnTo>
                    <a:pt x="63" y="57"/>
                  </a:lnTo>
                  <a:lnTo>
                    <a:pt x="61" y="54"/>
                  </a:lnTo>
                  <a:lnTo>
                    <a:pt x="61" y="54"/>
                  </a:lnTo>
                  <a:lnTo>
                    <a:pt x="61" y="40"/>
                  </a:lnTo>
                  <a:lnTo>
                    <a:pt x="61" y="26"/>
                  </a:lnTo>
                  <a:lnTo>
                    <a:pt x="60" y="17"/>
                  </a:lnTo>
                  <a:lnTo>
                    <a:pt x="58" y="17"/>
                  </a:lnTo>
                  <a:lnTo>
                    <a:pt x="54" y="20"/>
                  </a:lnTo>
                  <a:lnTo>
                    <a:pt x="54" y="20"/>
                  </a:lnTo>
                  <a:lnTo>
                    <a:pt x="53" y="26"/>
                  </a:lnTo>
                  <a:lnTo>
                    <a:pt x="49" y="27"/>
                  </a:lnTo>
                  <a:lnTo>
                    <a:pt x="46" y="26"/>
                  </a:lnTo>
                  <a:lnTo>
                    <a:pt x="44" y="22"/>
                  </a:lnTo>
                  <a:lnTo>
                    <a:pt x="39" y="15"/>
                  </a:lnTo>
                  <a:lnTo>
                    <a:pt x="35" y="14"/>
                  </a:lnTo>
                  <a:lnTo>
                    <a:pt x="32" y="14"/>
                  </a:lnTo>
                  <a:lnTo>
                    <a:pt x="32" y="14"/>
                  </a:lnTo>
                  <a:lnTo>
                    <a:pt x="28" y="15"/>
                  </a:lnTo>
                  <a:lnTo>
                    <a:pt x="25" y="15"/>
                  </a:lnTo>
                  <a:lnTo>
                    <a:pt x="23" y="14"/>
                  </a:lnTo>
                  <a:lnTo>
                    <a:pt x="23" y="12"/>
                  </a:lnTo>
                  <a:lnTo>
                    <a:pt x="21" y="7"/>
                  </a:lnTo>
                  <a:lnTo>
                    <a:pt x="20" y="3"/>
                  </a:lnTo>
                  <a:lnTo>
                    <a:pt x="16" y="1"/>
                  </a:lnTo>
                  <a:lnTo>
                    <a:pt x="16" y="1"/>
                  </a:lnTo>
                  <a:lnTo>
                    <a:pt x="11" y="0"/>
                  </a:lnTo>
                  <a:lnTo>
                    <a:pt x="9" y="1"/>
                  </a:lnTo>
                  <a:lnTo>
                    <a:pt x="11" y="3"/>
                  </a:lnTo>
                  <a:lnTo>
                    <a:pt x="14" y="8"/>
                  </a:lnTo>
                  <a:lnTo>
                    <a:pt x="14" y="8"/>
                  </a:lnTo>
                  <a:lnTo>
                    <a:pt x="16" y="10"/>
                  </a:lnTo>
                  <a:lnTo>
                    <a:pt x="14" y="14"/>
                  </a:lnTo>
                  <a:lnTo>
                    <a:pt x="7" y="22"/>
                  </a:lnTo>
                  <a:lnTo>
                    <a:pt x="0" y="31"/>
                  </a:lnTo>
                  <a:lnTo>
                    <a:pt x="0" y="33"/>
                  </a:lnTo>
                  <a:lnTo>
                    <a:pt x="4" y="36"/>
                  </a:lnTo>
                  <a:lnTo>
                    <a:pt x="4" y="36"/>
                  </a:lnTo>
                  <a:lnTo>
                    <a:pt x="7" y="38"/>
                  </a:lnTo>
                  <a:lnTo>
                    <a:pt x="11" y="40"/>
                  </a:lnTo>
                  <a:lnTo>
                    <a:pt x="14" y="45"/>
                  </a:lnTo>
                  <a:lnTo>
                    <a:pt x="16" y="48"/>
                  </a:lnTo>
                  <a:lnTo>
                    <a:pt x="18" y="50"/>
                  </a:lnTo>
                  <a:lnTo>
                    <a:pt x="21" y="50"/>
                  </a:lnTo>
                  <a:lnTo>
                    <a:pt x="21" y="50"/>
                  </a:lnTo>
                  <a:lnTo>
                    <a:pt x="27" y="50"/>
                  </a:lnTo>
                  <a:lnTo>
                    <a:pt x="28" y="50"/>
                  </a:lnTo>
                  <a:lnTo>
                    <a:pt x="32" y="57"/>
                  </a:lnTo>
                  <a:lnTo>
                    <a:pt x="32" y="57"/>
                  </a:lnTo>
                  <a:lnTo>
                    <a:pt x="34" y="62"/>
                  </a:lnTo>
                  <a:lnTo>
                    <a:pt x="34" y="64"/>
                  </a:lnTo>
                  <a:lnTo>
                    <a:pt x="25" y="62"/>
                  </a:lnTo>
                  <a:lnTo>
                    <a:pt x="16" y="62"/>
                  </a:lnTo>
                  <a:lnTo>
                    <a:pt x="14" y="64"/>
                  </a:lnTo>
                  <a:lnTo>
                    <a:pt x="13" y="68"/>
                  </a:lnTo>
                  <a:lnTo>
                    <a:pt x="13" y="68"/>
                  </a:lnTo>
                  <a:lnTo>
                    <a:pt x="13" y="73"/>
                  </a:lnTo>
                  <a:lnTo>
                    <a:pt x="13" y="76"/>
                  </a:lnTo>
                  <a:lnTo>
                    <a:pt x="11" y="76"/>
                  </a:lnTo>
                  <a:lnTo>
                    <a:pt x="9" y="76"/>
                  </a:lnTo>
                  <a:lnTo>
                    <a:pt x="7" y="76"/>
                  </a:lnTo>
                  <a:lnTo>
                    <a:pt x="4" y="76"/>
                  </a:lnTo>
                  <a:lnTo>
                    <a:pt x="2" y="78"/>
                  </a:lnTo>
                  <a:lnTo>
                    <a:pt x="2" y="83"/>
                  </a:lnTo>
                  <a:lnTo>
                    <a:pt x="2" y="83"/>
                  </a:lnTo>
                  <a:lnTo>
                    <a:pt x="0" y="90"/>
                  </a:lnTo>
                  <a:lnTo>
                    <a:pt x="4" y="95"/>
                  </a:lnTo>
                  <a:lnTo>
                    <a:pt x="7" y="97"/>
                  </a:lnTo>
                  <a:lnTo>
                    <a:pt x="11" y="99"/>
                  </a:lnTo>
                  <a:lnTo>
                    <a:pt x="20" y="102"/>
                  </a:lnTo>
                  <a:lnTo>
                    <a:pt x="23" y="106"/>
                  </a:lnTo>
                  <a:lnTo>
                    <a:pt x="25" y="113"/>
                  </a:lnTo>
                  <a:lnTo>
                    <a:pt x="25" y="113"/>
                  </a:lnTo>
                  <a:lnTo>
                    <a:pt x="25" y="118"/>
                  </a:lnTo>
                  <a:lnTo>
                    <a:pt x="23" y="123"/>
                  </a:lnTo>
                  <a:lnTo>
                    <a:pt x="20" y="127"/>
                  </a:lnTo>
                  <a:lnTo>
                    <a:pt x="18" y="130"/>
                  </a:lnTo>
                  <a:lnTo>
                    <a:pt x="21" y="135"/>
                  </a:lnTo>
                  <a:lnTo>
                    <a:pt x="21" y="135"/>
                  </a:lnTo>
                  <a:lnTo>
                    <a:pt x="23" y="139"/>
                  </a:lnTo>
                  <a:lnTo>
                    <a:pt x="25" y="141"/>
                  </a:lnTo>
                  <a:lnTo>
                    <a:pt x="25" y="146"/>
                  </a:lnTo>
                  <a:lnTo>
                    <a:pt x="23" y="149"/>
                  </a:lnTo>
                  <a:lnTo>
                    <a:pt x="28" y="151"/>
                  </a:lnTo>
                  <a:lnTo>
                    <a:pt x="28" y="151"/>
                  </a:lnTo>
                  <a:lnTo>
                    <a:pt x="32" y="153"/>
                  </a:lnTo>
                  <a:lnTo>
                    <a:pt x="32" y="155"/>
                  </a:lnTo>
                  <a:lnTo>
                    <a:pt x="30" y="163"/>
                  </a:lnTo>
                  <a:lnTo>
                    <a:pt x="32" y="177"/>
                  </a:lnTo>
                  <a:lnTo>
                    <a:pt x="32" y="177"/>
                  </a:lnTo>
                  <a:lnTo>
                    <a:pt x="35" y="193"/>
                  </a:lnTo>
                  <a:lnTo>
                    <a:pt x="37" y="198"/>
                  </a:lnTo>
                  <a:lnTo>
                    <a:pt x="37" y="205"/>
                  </a:lnTo>
                  <a:lnTo>
                    <a:pt x="37" y="20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6" name="Freeform 2009">
              <a:extLst>
                <a:ext uri="{FF2B5EF4-FFF2-40B4-BE49-F238E27FC236}">
                  <a16:creationId xmlns:a16="http://schemas.microsoft.com/office/drawing/2014/main" id="{6F8F400B-D557-4997-9626-E230AACB70D3}"/>
                </a:ext>
              </a:extLst>
            </p:cNvPr>
            <p:cNvSpPr>
              <a:spLocks/>
            </p:cNvSpPr>
            <p:nvPr/>
          </p:nvSpPr>
          <p:spPr bwMode="auto">
            <a:xfrm>
              <a:off x="6196289" y="2992933"/>
              <a:ext cx="401736" cy="288970"/>
            </a:xfrm>
            <a:custGeom>
              <a:avLst/>
              <a:gdLst/>
              <a:ahLst/>
              <a:cxnLst>
                <a:cxn ang="0">
                  <a:pos x="7" y="65"/>
                </a:cxn>
                <a:cxn ang="0">
                  <a:pos x="18" y="56"/>
                </a:cxn>
                <a:cxn ang="0">
                  <a:pos x="23" y="35"/>
                </a:cxn>
                <a:cxn ang="0">
                  <a:pos x="53" y="39"/>
                </a:cxn>
                <a:cxn ang="0">
                  <a:pos x="73" y="75"/>
                </a:cxn>
                <a:cxn ang="0">
                  <a:pos x="77" y="94"/>
                </a:cxn>
                <a:cxn ang="0">
                  <a:pos x="68" y="98"/>
                </a:cxn>
                <a:cxn ang="0">
                  <a:pos x="46" y="100"/>
                </a:cxn>
                <a:cxn ang="0">
                  <a:pos x="35" y="96"/>
                </a:cxn>
                <a:cxn ang="0">
                  <a:pos x="23" y="89"/>
                </a:cxn>
                <a:cxn ang="0">
                  <a:pos x="12" y="108"/>
                </a:cxn>
                <a:cxn ang="0">
                  <a:pos x="21" y="145"/>
                </a:cxn>
                <a:cxn ang="0">
                  <a:pos x="25" y="136"/>
                </a:cxn>
                <a:cxn ang="0">
                  <a:pos x="35" y="148"/>
                </a:cxn>
                <a:cxn ang="0">
                  <a:pos x="37" y="159"/>
                </a:cxn>
                <a:cxn ang="0">
                  <a:pos x="28" y="152"/>
                </a:cxn>
                <a:cxn ang="0">
                  <a:pos x="28" y="173"/>
                </a:cxn>
                <a:cxn ang="0">
                  <a:pos x="40" y="169"/>
                </a:cxn>
                <a:cxn ang="0">
                  <a:pos x="54" y="192"/>
                </a:cxn>
                <a:cxn ang="0">
                  <a:pos x="53" y="260"/>
                </a:cxn>
                <a:cxn ang="0">
                  <a:pos x="89" y="237"/>
                </a:cxn>
                <a:cxn ang="0">
                  <a:pos x="136" y="227"/>
                </a:cxn>
                <a:cxn ang="0">
                  <a:pos x="157" y="220"/>
                </a:cxn>
                <a:cxn ang="0">
                  <a:pos x="171" y="222"/>
                </a:cxn>
                <a:cxn ang="0">
                  <a:pos x="204" y="242"/>
                </a:cxn>
                <a:cxn ang="0">
                  <a:pos x="230" y="246"/>
                </a:cxn>
                <a:cxn ang="0">
                  <a:pos x="249" y="267"/>
                </a:cxn>
                <a:cxn ang="0">
                  <a:pos x="279" y="293"/>
                </a:cxn>
                <a:cxn ang="0">
                  <a:pos x="308" y="300"/>
                </a:cxn>
                <a:cxn ang="0">
                  <a:pos x="305" y="324"/>
                </a:cxn>
                <a:cxn ang="0">
                  <a:pos x="312" y="342"/>
                </a:cxn>
                <a:cxn ang="0">
                  <a:pos x="329" y="350"/>
                </a:cxn>
                <a:cxn ang="0">
                  <a:pos x="347" y="361"/>
                </a:cxn>
                <a:cxn ang="0">
                  <a:pos x="383" y="335"/>
                </a:cxn>
                <a:cxn ang="0">
                  <a:pos x="422" y="312"/>
                </a:cxn>
                <a:cxn ang="0">
                  <a:pos x="443" y="269"/>
                </a:cxn>
                <a:cxn ang="0">
                  <a:pos x="472" y="251"/>
                </a:cxn>
                <a:cxn ang="0">
                  <a:pos x="495" y="244"/>
                </a:cxn>
                <a:cxn ang="0">
                  <a:pos x="481" y="220"/>
                </a:cxn>
                <a:cxn ang="0">
                  <a:pos x="441" y="201"/>
                </a:cxn>
                <a:cxn ang="0">
                  <a:pos x="396" y="171"/>
                </a:cxn>
                <a:cxn ang="0">
                  <a:pos x="349" y="117"/>
                </a:cxn>
                <a:cxn ang="0">
                  <a:pos x="335" y="82"/>
                </a:cxn>
                <a:cxn ang="0">
                  <a:pos x="315" y="75"/>
                </a:cxn>
                <a:cxn ang="0">
                  <a:pos x="291" y="75"/>
                </a:cxn>
                <a:cxn ang="0">
                  <a:pos x="268" y="61"/>
                </a:cxn>
                <a:cxn ang="0">
                  <a:pos x="268" y="51"/>
                </a:cxn>
                <a:cxn ang="0">
                  <a:pos x="267" y="35"/>
                </a:cxn>
                <a:cxn ang="0">
                  <a:pos x="260" y="23"/>
                </a:cxn>
                <a:cxn ang="0">
                  <a:pos x="234" y="13"/>
                </a:cxn>
                <a:cxn ang="0">
                  <a:pos x="216" y="0"/>
                </a:cxn>
                <a:cxn ang="0">
                  <a:pos x="202" y="9"/>
                </a:cxn>
                <a:cxn ang="0">
                  <a:pos x="194" y="21"/>
                </a:cxn>
                <a:cxn ang="0">
                  <a:pos x="162" y="42"/>
                </a:cxn>
                <a:cxn ang="0">
                  <a:pos x="166" y="68"/>
                </a:cxn>
                <a:cxn ang="0">
                  <a:pos x="126" y="70"/>
                </a:cxn>
                <a:cxn ang="0">
                  <a:pos x="103" y="68"/>
                </a:cxn>
                <a:cxn ang="0">
                  <a:pos x="56" y="21"/>
                </a:cxn>
                <a:cxn ang="0">
                  <a:pos x="0" y="49"/>
                </a:cxn>
              </a:cxnLst>
              <a:rect l="0" t="0" r="r" b="b"/>
              <a:pathLst>
                <a:path w="500" h="361">
                  <a:moveTo>
                    <a:pt x="0" y="49"/>
                  </a:moveTo>
                  <a:lnTo>
                    <a:pt x="0" y="49"/>
                  </a:lnTo>
                  <a:lnTo>
                    <a:pt x="6" y="54"/>
                  </a:lnTo>
                  <a:lnTo>
                    <a:pt x="7" y="58"/>
                  </a:lnTo>
                  <a:lnTo>
                    <a:pt x="6" y="60"/>
                  </a:lnTo>
                  <a:lnTo>
                    <a:pt x="7" y="65"/>
                  </a:lnTo>
                  <a:lnTo>
                    <a:pt x="7" y="65"/>
                  </a:lnTo>
                  <a:lnTo>
                    <a:pt x="12" y="74"/>
                  </a:lnTo>
                  <a:lnTo>
                    <a:pt x="14" y="75"/>
                  </a:lnTo>
                  <a:lnTo>
                    <a:pt x="14" y="72"/>
                  </a:lnTo>
                  <a:lnTo>
                    <a:pt x="14" y="72"/>
                  </a:lnTo>
                  <a:lnTo>
                    <a:pt x="16" y="67"/>
                  </a:lnTo>
                  <a:lnTo>
                    <a:pt x="18" y="61"/>
                  </a:lnTo>
                  <a:lnTo>
                    <a:pt x="18" y="56"/>
                  </a:lnTo>
                  <a:lnTo>
                    <a:pt x="16" y="54"/>
                  </a:lnTo>
                  <a:lnTo>
                    <a:pt x="16" y="54"/>
                  </a:lnTo>
                  <a:lnTo>
                    <a:pt x="14" y="51"/>
                  </a:lnTo>
                  <a:lnTo>
                    <a:pt x="14" y="46"/>
                  </a:lnTo>
                  <a:lnTo>
                    <a:pt x="16" y="42"/>
                  </a:lnTo>
                  <a:lnTo>
                    <a:pt x="19" y="39"/>
                  </a:lnTo>
                  <a:lnTo>
                    <a:pt x="23" y="35"/>
                  </a:lnTo>
                  <a:lnTo>
                    <a:pt x="30" y="34"/>
                  </a:lnTo>
                  <a:lnTo>
                    <a:pt x="30" y="34"/>
                  </a:lnTo>
                  <a:lnTo>
                    <a:pt x="40" y="32"/>
                  </a:lnTo>
                  <a:lnTo>
                    <a:pt x="47" y="30"/>
                  </a:lnTo>
                  <a:lnTo>
                    <a:pt x="49" y="32"/>
                  </a:lnTo>
                  <a:lnTo>
                    <a:pt x="51" y="32"/>
                  </a:lnTo>
                  <a:lnTo>
                    <a:pt x="53" y="39"/>
                  </a:lnTo>
                  <a:lnTo>
                    <a:pt x="53" y="39"/>
                  </a:lnTo>
                  <a:lnTo>
                    <a:pt x="54" y="49"/>
                  </a:lnTo>
                  <a:lnTo>
                    <a:pt x="56" y="58"/>
                  </a:lnTo>
                  <a:lnTo>
                    <a:pt x="58" y="63"/>
                  </a:lnTo>
                  <a:lnTo>
                    <a:pt x="61" y="67"/>
                  </a:lnTo>
                  <a:lnTo>
                    <a:pt x="66" y="72"/>
                  </a:lnTo>
                  <a:lnTo>
                    <a:pt x="73" y="75"/>
                  </a:lnTo>
                  <a:lnTo>
                    <a:pt x="73" y="75"/>
                  </a:lnTo>
                  <a:lnTo>
                    <a:pt x="79" y="79"/>
                  </a:lnTo>
                  <a:lnTo>
                    <a:pt x="80" y="82"/>
                  </a:lnTo>
                  <a:lnTo>
                    <a:pt x="82" y="88"/>
                  </a:lnTo>
                  <a:lnTo>
                    <a:pt x="80" y="91"/>
                  </a:lnTo>
                  <a:lnTo>
                    <a:pt x="79" y="93"/>
                  </a:lnTo>
                  <a:lnTo>
                    <a:pt x="77" y="94"/>
                  </a:lnTo>
                  <a:lnTo>
                    <a:pt x="73" y="94"/>
                  </a:lnTo>
                  <a:lnTo>
                    <a:pt x="72" y="94"/>
                  </a:lnTo>
                  <a:lnTo>
                    <a:pt x="72" y="94"/>
                  </a:lnTo>
                  <a:lnTo>
                    <a:pt x="70" y="91"/>
                  </a:lnTo>
                  <a:lnTo>
                    <a:pt x="66" y="91"/>
                  </a:lnTo>
                  <a:lnTo>
                    <a:pt x="66" y="93"/>
                  </a:lnTo>
                  <a:lnTo>
                    <a:pt x="68" y="98"/>
                  </a:lnTo>
                  <a:lnTo>
                    <a:pt x="68" y="98"/>
                  </a:lnTo>
                  <a:lnTo>
                    <a:pt x="66" y="100"/>
                  </a:lnTo>
                  <a:lnTo>
                    <a:pt x="65" y="100"/>
                  </a:lnTo>
                  <a:lnTo>
                    <a:pt x="56" y="103"/>
                  </a:lnTo>
                  <a:lnTo>
                    <a:pt x="53" y="103"/>
                  </a:lnTo>
                  <a:lnTo>
                    <a:pt x="47" y="103"/>
                  </a:lnTo>
                  <a:lnTo>
                    <a:pt x="46" y="100"/>
                  </a:lnTo>
                  <a:lnTo>
                    <a:pt x="44" y="96"/>
                  </a:lnTo>
                  <a:lnTo>
                    <a:pt x="44" y="96"/>
                  </a:lnTo>
                  <a:lnTo>
                    <a:pt x="42" y="91"/>
                  </a:lnTo>
                  <a:lnTo>
                    <a:pt x="40" y="93"/>
                  </a:lnTo>
                  <a:lnTo>
                    <a:pt x="39" y="96"/>
                  </a:lnTo>
                  <a:lnTo>
                    <a:pt x="37" y="96"/>
                  </a:lnTo>
                  <a:lnTo>
                    <a:pt x="35" y="96"/>
                  </a:lnTo>
                  <a:lnTo>
                    <a:pt x="35" y="96"/>
                  </a:lnTo>
                  <a:lnTo>
                    <a:pt x="32" y="94"/>
                  </a:lnTo>
                  <a:lnTo>
                    <a:pt x="30" y="96"/>
                  </a:lnTo>
                  <a:lnTo>
                    <a:pt x="26" y="96"/>
                  </a:lnTo>
                  <a:lnTo>
                    <a:pt x="25" y="94"/>
                  </a:lnTo>
                  <a:lnTo>
                    <a:pt x="25" y="94"/>
                  </a:lnTo>
                  <a:lnTo>
                    <a:pt x="23" y="89"/>
                  </a:lnTo>
                  <a:lnTo>
                    <a:pt x="19" y="86"/>
                  </a:lnTo>
                  <a:lnTo>
                    <a:pt x="18" y="84"/>
                  </a:lnTo>
                  <a:lnTo>
                    <a:pt x="18" y="84"/>
                  </a:lnTo>
                  <a:lnTo>
                    <a:pt x="16" y="89"/>
                  </a:lnTo>
                  <a:lnTo>
                    <a:pt x="16" y="89"/>
                  </a:lnTo>
                  <a:lnTo>
                    <a:pt x="16" y="100"/>
                  </a:lnTo>
                  <a:lnTo>
                    <a:pt x="12" y="108"/>
                  </a:lnTo>
                  <a:lnTo>
                    <a:pt x="11" y="117"/>
                  </a:lnTo>
                  <a:lnTo>
                    <a:pt x="9" y="124"/>
                  </a:lnTo>
                  <a:lnTo>
                    <a:pt x="9" y="124"/>
                  </a:lnTo>
                  <a:lnTo>
                    <a:pt x="11" y="131"/>
                  </a:lnTo>
                  <a:lnTo>
                    <a:pt x="14" y="138"/>
                  </a:lnTo>
                  <a:lnTo>
                    <a:pt x="19" y="145"/>
                  </a:lnTo>
                  <a:lnTo>
                    <a:pt x="21" y="145"/>
                  </a:lnTo>
                  <a:lnTo>
                    <a:pt x="21" y="145"/>
                  </a:lnTo>
                  <a:lnTo>
                    <a:pt x="21" y="145"/>
                  </a:lnTo>
                  <a:lnTo>
                    <a:pt x="23" y="143"/>
                  </a:lnTo>
                  <a:lnTo>
                    <a:pt x="21" y="140"/>
                  </a:lnTo>
                  <a:lnTo>
                    <a:pt x="21" y="136"/>
                  </a:lnTo>
                  <a:lnTo>
                    <a:pt x="25" y="136"/>
                  </a:lnTo>
                  <a:lnTo>
                    <a:pt x="25" y="136"/>
                  </a:lnTo>
                  <a:lnTo>
                    <a:pt x="30" y="136"/>
                  </a:lnTo>
                  <a:lnTo>
                    <a:pt x="35" y="136"/>
                  </a:lnTo>
                  <a:lnTo>
                    <a:pt x="39" y="136"/>
                  </a:lnTo>
                  <a:lnTo>
                    <a:pt x="37" y="140"/>
                  </a:lnTo>
                  <a:lnTo>
                    <a:pt x="37" y="140"/>
                  </a:lnTo>
                  <a:lnTo>
                    <a:pt x="35" y="145"/>
                  </a:lnTo>
                  <a:lnTo>
                    <a:pt x="35" y="148"/>
                  </a:lnTo>
                  <a:lnTo>
                    <a:pt x="37" y="150"/>
                  </a:lnTo>
                  <a:lnTo>
                    <a:pt x="39" y="150"/>
                  </a:lnTo>
                  <a:lnTo>
                    <a:pt x="39" y="150"/>
                  </a:lnTo>
                  <a:lnTo>
                    <a:pt x="42" y="152"/>
                  </a:lnTo>
                  <a:lnTo>
                    <a:pt x="44" y="155"/>
                  </a:lnTo>
                  <a:lnTo>
                    <a:pt x="42" y="159"/>
                  </a:lnTo>
                  <a:lnTo>
                    <a:pt x="37" y="159"/>
                  </a:lnTo>
                  <a:lnTo>
                    <a:pt x="37" y="159"/>
                  </a:lnTo>
                  <a:lnTo>
                    <a:pt x="32" y="157"/>
                  </a:lnTo>
                  <a:lnTo>
                    <a:pt x="30" y="155"/>
                  </a:lnTo>
                  <a:lnTo>
                    <a:pt x="32" y="152"/>
                  </a:lnTo>
                  <a:lnTo>
                    <a:pt x="30" y="150"/>
                  </a:lnTo>
                  <a:lnTo>
                    <a:pt x="30" y="150"/>
                  </a:lnTo>
                  <a:lnTo>
                    <a:pt x="28" y="152"/>
                  </a:lnTo>
                  <a:lnTo>
                    <a:pt x="26" y="154"/>
                  </a:lnTo>
                  <a:lnTo>
                    <a:pt x="25" y="162"/>
                  </a:lnTo>
                  <a:lnTo>
                    <a:pt x="25" y="169"/>
                  </a:lnTo>
                  <a:lnTo>
                    <a:pt x="25" y="173"/>
                  </a:lnTo>
                  <a:lnTo>
                    <a:pt x="26" y="173"/>
                  </a:lnTo>
                  <a:lnTo>
                    <a:pt x="26" y="173"/>
                  </a:lnTo>
                  <a:lnTo>
                    <a:pt x="28" y="173"/>
                  </a:lnTo>
                  <a:lnTo>
                    <a:pt x="28" y="173"/>
                  </a:lnTo>
                  <a:lnTo>
                    <a:pt x="28" y="169"/>
                  </a:lnTo>
                  <a:lnTo>
                    <a:pt x="28" y="166"/>
                  </a:lnTo>
                  <a:lnTo>
                    <a:pt x="33" y="166"/>
                  </a:lnTo>
                  <a:lnTo>
                    <a:pt x="33" y="166"/>
                  </a:lnTo>
                  <a:lnTo>
                    <a:pt x="37" y="168"/>
                  </a:lnTo>
                  <a:lnTo>
                    <a:pt x="40" y="169"/>
                  </a:lnTo>
                  <a:lnTo>
                    <a:pt x="44" y="178"/>
                  </a:lnTo>
                  <a:lnTo>
                    <a:pt x="44" y="178"/>
                  </a:lnTo>
                  <a:lnTo>
                    <a:pt x="47" y="182"/>
                  </a:lnTo>
                  <a:lnTo>
                    <a:pt x="53" y="183"/>
                  </a:lnTo>
                  <a:lnTo>
                    <a:pt x="54" y="187"/>
                  </a:lnTo>
                  <a:lnTo>
                    <a:pt x="54" y="188"/>
                  </a:lnTo>
                  <a:lnTo>
                    <a:pt x="54" y="192"/>
                  </a:lnTo>
                  <a:lnTo>
                    <a:pt x="54" y="192"/>
                  </a:lnTo>
                  <a:lnTo>
                    <a:pt x="51" y="199"/>
                  </a:lnTo>
                  <a:lnTo>
                    <a:pt x="49" y="213"/>
                  </a:lnTo>
                  <a:lnTo>
                    <a:pt x="49" y="232"/>
                  </a:lnTo>
                  <a:lnTo>
                    <a:pt x="53" y="258"/>
                  </a:lnTo>
                  <a:lnTo>
                    <a:pt x="53" y="260"/>
                  </a:lnTo>
                  <a:lnTo>
                    <a:pt x="53" y="260"/>
                  </a:lnTo>
                  <a:lnTo>
                    <a:pt x="68" y="260"/>
                  </a:lnTo>
                  <a:lnTo>
                    <a:pt x="77" y="256"/>
                  </a:lnTo>
                  <a:lnTo>
                    <a:pt x="80" y="255"/>
                  </a:lnTo>
                  <a:lnTo>
                    <a:pt x="82" y="251"/>
                  </a:lnTo>
                  <a:lnTo>
                    <a:pt x="82" y="248"/>
                  </a:lnTo>
                  <a:lnTo>
                    <a:pt x="84" y="242"/>
                  </a:lnTo>
                  <a:lnTo>
                    <a:pt x="89" y="237"/>
                  </a:lnTo>
                  <a:lnTo>
                    <a:pt x="98" y="230"/>
                  </a:lnTo>
                  <a:lnTo>
                    <a:pt x="98" y="230"/>
                  </a:lnTo>
                  <a:lnTo>
                    <a:pt x="105" y="227"/>
                  </a:lnTo>
                  <a:lnTo>
                    <a:pt x="113" y="227"/>
                  </a:lnTo>
                  <a:lnTo>
                    <a:pt x="126" y="227"/>
                  </a:lnTo>
                  <a:lnTo>
                    <a:pt x="133" y="229"/>
                  </a:lnTo>
                  <a:lnTo>
                    <a:pt x="136" y="227"/>
                  </a:lnTo>
                  <a:lnTo>
                    <a:pt x="138" y="223"/>
                  </a:lnTo>
                  <a:lnTo>
                    <a:pt x="138" y="223"/>
                  </a:lnTo>
                  <a:lnTo>
                    <a:pt x="141" y="218"/>
                  </a:lnTo>
                  <a:lnTo>
                    <a:pt x="147" y="216"/>
                  </a:lnTo>
                  <a:lnTo>
                    <a:pt x="152" y="216"/>
                  </a:lnTo>
                  <a:lnTo>
                    <a:pt x="157" y="220"/>
                  </a:lnTo>
                  <a:lnTo>
                    <a:pt x="157" y="220"/>
                  </a:lnTo>
                  <a:lnTo>
                    <a:pt x="160" y="220"/>
                  </a:lnTo>
                  <a:lnTo>
                    <a:pt x="162" y="220"/>
                  </a:lnTo>
                  <a:lnTo>
                    <a:pt x="166" y="218"/>
                  </a:lnTo>
                  <a:lnTo>
                    <a:pt x="166" y="216"/>
                  </a:lnTo>
                  <a:lnTo>
                    <a:pt x="167" y="216"/>
                  </a:lnTo>
                  <a:lnTo>
                    <a:pt x="169" y="218"/>
                  </a:lnTo>
                  <a:lnTo>
                    <a:pt x="171" y="222"/>
                  </a:lnTo>
                  <a:lnTo>
                    <a:pt x="171" y="222"/>
                  </a:lnTo>
                  <a:lnTo>
                    <a:pt x="174" y="227"/>
                  </a:lnTo>
                  <a:lnTo>
                    <a:pt x="178" y="230"/>
                  </a:lnTo>
                  <a:lnTo>
                    <a:pt x="188" y="234"/>
                  </a:lnTo>
                  <a:lnTo>
                    <a:pt x="199" y="237"/>
                  </a:lnTo>
                  <a:lnTo>
                    <a:pt x="202" y="239"/>
                  </a:lnTo>
                  <a:lnTo>
                    <a:pt x="204" y="242"/>
                  </a:lnTo>
                  <a:lnTo>
                    <a:pt x="204" y="242"/>
                  </a:lnTo>
                  <a:lnTo>
                    <a:pt x="206" y="248"/>
                  </a:lnTo>
                  <a:lnTo>
                    <a:pt x="209" y="246"/>
                  </a:lnTo>
                  <a:lnTo>
                    <a:pt x="218" y="244"/>
                  </a:lnTo>
                  <a:lnTo>
                    <a:pt x="223" y="244"/>
                  </a:lnTo>
                  <a:lnTo>
                    <a:pt x="230" y="246"/>
                  </a:lnTo>
                  <a:lnTo>
                    <a:pt x="230" y="246"/>
                  </a:lnTo>
                  <a:lnTo>
                    <a:pt x="237" y="249"/>
                  </a:lnTo>
                  <a:lnTo>
                    <a:pt x="242" y="251"/>
                  </a:lnTo>
                  <a:lnTo>
                    <a:pt x="244" y="255"/>
                  </a:lnTo>
                  <a:lnTo>
                    <a:pt x="244" y="258"/>
                  </a:lnTo>
                  <a:lnTo>
                    <a:pt x="244" y="262"/>
                  </a:lnTo>
                  <a:lnTo>
                    <a:pt x="246" y="263"/>
                  </a:lnTo>
                  <a:lnTo>
                    <a:pt x="249" y="267"/>
                  </a:lnTo>
                  <a:lnTo>
                    <a:pt x="256" y="270"/>
                  </a:lnTo>
                  <a:lnTo>
                    <a:pt x="256" y="270"/>
                  </a:lnTo>
                  <a:lnTo>
                    <a:pt x="263" y="274"/>
                  </a:lnTo>
                  <a:lnTo>
                    <a:pt x="268" y="277"/>
                  </a:lnTo>
                  <a:lnTo>
                    <a:pt x="274" y="284"/>
                  </a:lnTo>
                  <a:lnTo>
                    <a:pt x="277" y="291"/>
                  </a:lnTo>
                  <a:lnTo>
                    <a:pt x="279" y="293"/>
                  </a:lnTo>
                  <a:lnTo>
                    <a:pt x="284" y="293"/>
                  </a:lnTo>
                  <a:lnTo>
                    <a:pt x="284" y="293"/>
                  </a:lnTo>
                  <a:lnTo>
                    <a:pt x="300" y="293"/>
                  </a:lnTo>
                  <a:lnTo>
                    <a:pt x="305" y="293"/>
                  </a:lnTo>
                  <a:lnTo>
                    <a:pt x="308" y="296"/>
                  </a:lnTo>
                  <a:lnTo>
                    <a:pt x="308" y="296"/>
                  </a:lnTo>
                  <a:lnTo>
                    <a:pt x="308" y="300"/>
                  </a:lnTo>
                  <a:lnTo>
                    <a:pt x="307" y="303"/>
                  </a:lnTo>
                  <a:lnTo>
                    <a:pt x="307" y="305"/>
                  </a:lnTo>
                  <a:lnTo>
                    <a:pt x="307" y="310"/>
                  </a:lnTo>
                  <a:lnTo>
                    <a:pt x="307" y="310"/>
                  </a:lnTo>
                  <a:lnTo>
                    <a:pt x="308" y="316"/>
                  </a:lnTo>
                  <a:lnTo>
                    <a:pt x="307" y="321"/>
                  </a:lnTo>
                  <a:lnTo>
                    <a:pt x="305" y="324"/>
                  </a:lnTo>
                  <a:lnTo>
                    <a:pt x="308" y="326"/>
                  </a:lnTo>
                  <a:lnTo>
                    <a:pt x="308" y="326"/>
                  </a:lnTo>
                  <a:lnTo>
                    <a:pt x="310" y="330"/>
                  </a:lnTo>
                  <a:lnTo>
                    <a:pt x="310" y="333"/>
                  </a:lnTo>
                  <a:lnTo>
                    <a:pt x="308" y="338"/>
                  </a:lnTo>
                  <a:lnTo>
                    <a:pt x="312" y="342"/>
                  </a:lnTo>
                  <a:lnTo>
                    <a:pt x="312" y="342"/>
                  </a:lnTo>
                  <a:lnTo>
                    <a:pt x="314" y="343"/>
                  </a:lnTo>
                  <a:lnTo>
                    <a:pt x="315" y="345"/>
                  </a:lnTo>
                  <a:lnTo>
                    <a:pt x="317" y="349"/>
                  </a:lnTo>
                  <a:lnTo>
                    <a:pt x="319" y="350"/>
                  </a:lnTo>
                  <a:lnTo>
                    <a:pt x="321" y="350"/>
                  </a:lnTo>
                  <a:lnTo>
                    <a:pt x="324" y="350"/>
                  </a:lnTo>
                  <a:lnTo>
                    <a:pt x="329" y="350"/>
                  </a:lnTo>
                  <a:lnTo>
                    <a:pt x="329" y="350"/>
                  </a:lnTo>
                  <a:lnTo>
                    <a:pt x="335" y="349"/>
                  </a:lnTo>
                  <a:lnTo>
                    <a:pt x="338" y="350"/>
                  </a:lnTo>
                  <a:lnTo>
                    <a:pt x="340" y="352"/>
                  </a:lnTo>
                  <a:lnTo>
                    <a:pt x="342" y="356"/>
                  </a:lnTo>
                  <a:lnTo>
                    <a:pt x="343" y="359"/>
                  </a:lnTo>
                  <a:lnTo>
                    <a:pt x="347" y="361"/>
                  </a:lnTo>
                  <a:lnTo>
                    <a:pt x="352" y="361"/>
                  </a:lnTo>
                  <a:lnTo>
                    <a:pt x="359" y="359"/>
                  </a:lnTo>
                  <a:lnTo>
                    <a:pt x="359" y="359"/>
                  </a:lnTo>
                  <a:lnTo>
                    <a:pt x="364" y="356"/>
                  </a:lnTo>
                  <a:lnTo>
                    <a:pt x="369" y="352"/>
                  </a:lnTo>
                  <a:lnTo>
                    <a:pt x="376" y="343"/>
                  </a:lnTo>
                  <a:lnTo>
                    <a:pt x="383" y="335"/>
                  </a:lnTo>
                  <a:lnTo>
                    <a:pt x="387" y="330"/>
                  </a:lnTo>
                  <a:lnTo>
                    <a:pt x="390" y="328"/>
                  </a:lnTo>
                  <a:lnTo>
                    <a:pt x="390" y="328"/>
                  </a:lnTo>
                  <a:lnTo>
                    <a:pt x="401" y="324"/>
                  </a:lnTo>
                  <a:lnTo>
                    <a:pt x="411" y="321"/>
                  </a:lnTo>
                  <a:lnTo>
                    <a:pt x="416" y="317"/>
                  </a:lnTo>
                  <a:lnTo>
                    <a:pt x="422" y="312"/>
                  </a:lnTo>
                  <a:lnTo>
                    <a:pt x="425" y="305"/>
                  </a:lnTo>
                  <a:lnTo>
                    <a:pt x="427" y="293"/>
                  </a:lnTo>
                  <a:lnTo>
                    <a:pt x="427" y="293"/>
                  </a:lnTo>
                  <a:lnTo>
                    <a:pt x="430" y="283"/>
                  </a:lnTo>
                  <a:lnTo>
                    <a:pt x="434" y="276"/>
                  </a:lnTo>
                  <a:lnTo>
                    <a:pt x="439" y="270"/>
                  </a:lnTo>
                  <a:lnTo>
                    <a:pt x="443" y="269"/>
                  </a:lnTo>
                  <a:lnTo>
                    <a:pt x="453" y="263"/>
                  </a:lnTo>
                  <a:lnTo>
                    <a:pt x="458" y="260"/>
                  </a:lnTo>
                  <a:lnTo>
                    <a:pt x="463" y="255"/>
                  </a:lnTo>
                  <a:lnTo>
                    <a:pt x="463" y="255"/>
                  </a:lnTo>
                  <a:lnTo>
                    <a:pt x="467" y="251"/>
                  </a:lnTo>
                  <a:lnTo>
                    <a:pt x="470" y="251"/>
                  </a:lnTo>
                  <a:lnTo>
                    <a:pt x="472" y="251"/>
                  </a:lnTo>
                  <a:lnTo>
                    <a:pt x="476" y="255"/>
                  </a:lnTo>
                  <a:lnTo>
                    <a:pt x="484" y="260"/>
                  </a:lnTo>
                  <a:lnTo>
                    <a:pt x="490" y="262"/>
                  </a:lnTo>
                  <a:lnTo>
                    <a:pt x="495" y="262"/>
                  </a:lnTo>
                  <a:lnTo>
                    <a:pt x="495" y="262"/>
                  </a:lnTo>
                  <a:lnTo>
                    <a:pt x="495" y="251"/>
                  </a:lnTo>
                  <a:lnTo>
                    <a:pt x="495" y="244"/>
                  </a:lnTo>
                  <a:lnTo>
                    <a:pt x="497" y="239"/>
                  </a:lnTo>
                  <a:lnTo>
                    <a:pt x="498" y="235"/>
                  </a:lnTo>
                  <a:lnTo>
                    <a:pt x="500" y="232"/>
                  </a:lnTo>
                  <a:lnTo>
                    <a:pt x="498" y="230"/>
                  </a:lnTo>
                  <a:lnTo>
                    <a:pt x="497" y="229"/>
                  </a:lnTo>
                  <a:lnTo>
                    <a:pt x="497" y="229"/>
                  </a:lnTo>
                  <a:lnTo>
                    <a:pt x="481" y="220"/>
                  </a:lnTo>
                  <a:lnTo>
                    <a:pt x="474" y="216"/>
                  </a:lnTo>
                  <a:lnTo>
                    <a:pt x="470" y="216"/>
                  </a:lnTo>
                  <a:lnTo>
                    <a:pt x="469" y="218"/>
                  </a:lnTo>
                  <a:lnTo>
                    <a:pt x="469" y="218"/>
                  </a:lnTo>
                  <a:lnTo>
                    <a:pt x="463" y="218"/>
                  </a:lnTo>
                  <a:lnTo>
                    <a:pt x="456" y="215"/>
                  </a:lnTo>
                  <a:lnTo>
                    <a:pt x="441" y="201"/>
                  </a:lnTo>
                  <a:lnTo>
                    <a:pt x="427" y="188"/>
                  </a:lnTo>
                  <a:lnTo>
                    <a:pt x="420" y="185"/>
                  </a:lnTo>
                  <a:lnTo>
                    <a:pt x="416" y="183"/>
                  </a:lnTo>
                  <a:lnTo>
                    <a:pt x="416" y="183"/>
                  </a:lnTo>
                  <a:lnTo>
                    <a:pt x="411" y="183"/>
                  </a:lnTo>
                  <a:lnTo>
                    <a:pt x="408" y="182"/>
                  </a:lnTo>
                  <a:lnTo>
                    <a:pt x="396" y="171"/>
                  </a:lnTo>
                  <a:lnTo>
                    <a:pt x="383" y="159"/>
                  </a:lnTo>
                  <a:lnTo>
                    <a:pt x="368" y="147"/>
                  </a:lnTo>
                  <a:lnTo>
                    <a:pt x="368" y="147"/>
                  </a:lnTo>
                  <a:lnTo>
                    <a:pt x="361" y="141"/>
                  </a:lnTo>
                  <a:lnTo>
                    <a:pt x="357" y="136"/>
                  </a:lnTo>
                  <a:lnTo>
                    <a:pt x="352" y="126"/>
                  </a:lnTo>
                  <a:lnTo>
                    <a:pt x="349" y="117"/>
                  </a:lnTo>
                  <a:lnTo>
                    <a:pt x="347" y="114"/>
                  </a:lnTo>
                  <a:lnTo>
                    <a:pt x="343" y="110"/>
                  </a:lnTo>
                  <a:lnTo>
                    <a:pt x="343" y="110"/>
                  </a:lnTo>
                  <a:lnTo>
                    <a:pt x="340" y="107"/>
                  </a:lnTo>
                  <a:lnTo>
                    <a:pt x="338" y="103"/>
                  </a:lnTo>
                  <a:lnTo>
                    <a:pt x="336" y="93"/>
                  </a:lnTo>
                  <a:lnTo>
                    <a:pt x="335" y="82"/>
                  </a:lnTo>
                  <a:lnTo>
                    <a:pt x="331" y="79"/>
                  </a:lnTo>
                  <a:lnTo>
                    <a:pt x="326" y="75"/>
                  </a:lnTo>
                  <a:lnTo>
                    <a:pt x="326" y="75"/>
                  </a:lnTo>
                  <a:lnTo>
                    <a:pt x="321" y="72"/>
                  </a:lnTo>
                  <a:lnTo>
                    <a:pt x="319" y="72"/>
                  </a:lnTo>
                  <a:lnTo>
                    <a:pt x="317" y="74"/>
                  </a:lnTo>
                  <a:lnTo>
                    <a:pt x="315" y="75"/>
                  </a:lnTo>
                  <a:lnTo>
                    <a:pt x="312" y="77"/>
                  </a:lnTo>
                  <a:lnTo>
                    <a:pt x="310" y="77"/>
                  </a:lnTo>
                  <a:lnTo>
                    <a:pt x="307" y="77"/>
                  </a:lnTo>
                  <a:lnTo>
                    <a:pt x="307" y="77"/>
                  </a:lnTo>
                  <a:lnTo>
                    <a:pt x="303" y="75"/>
                  </a:lnTo>
                  <a:lnTo>
                    <a:pt x="300" y="74"/>
                  </a:lnTo>
                  <a:lnTo>
                    <a:pt x="291" y="75"/>
                  </a:lnTo>
                  <a:lnTo>
                    <a:pt x="282" y="75"/>
                  </a:lnTo>
                  <a:lnTo>
                    <a:pt x="279" y="74"/>
                  </a:lnTo>
                  <a:lnTo>
                    <a:pt x="274" y="70"/>
                  </a:lnTo>
                  <a:lnTo>
                    <a:pt x="274" y="70"/>
                  </a:lnTo>
                  <a:lnTo>
                    <a:pt x="270" y="67"/>
                  </a:lnTo>
                  <a:lnTo>
                    <a:pt x="268" y="63"/>
                  </a:lnTo>
                  <a:lnTo>
                    <a:pt x="268" y="61"/>
                  </a:lnTo>
                  <a:lnTo>
                    <a:pt x="270" y="61"/>
                  </a:lnTo>
                  <a:lnTo>
                    <a:pt x="272" y="58"/>
                  </a:lnTo>
                  <a:lnTo>
                    <a:pt x="272" y="56"/>
                  </a:lnTo>
                  <a:lnTo>
                    <a:pt x="270" y="54"/>
                  </a:lnTo>
                  <a:lnTo>
                    <a:pt x="270" y="54"/>
                  </a:lnTo>
                  <a:lnTo>
                    <a:pt x="268" y="51"/>
                  </a:lnTo>
                  <a:lnTo>
                    <a:pt x="268" y="51"/>
                  </a:lnTo>
                  <a:lnTo>
                    <a:pt x="272" y="49"/>
                  </a:lnTo>
                  <a:lnTo>
                    <a:pt x="275" y="47"/>
                  </a:lnTo>
                  <a:lnTo>
                    <a:pt x="275" y="47"/>
                  </a:lnTo>
                  <a:lnTo>
                    <a:pt x="274" y="44"/>
                  </a:lnTo>
                  <a:lnTo>
                    <a:pt x="274" y="44"/>
                  </a:lnTo>
                  <a:lnTo>
                    <a:pt x="268" y="40"/>
                  </a:lnTo>
                  <a:lnTo>
                    <a:pt x="267" y="35"/>
                  </a:lnTo>
                  <a:lnTo>
                    <a:pt x="267" y="32"/>
                  </a:lnTo>
                  <a:lnTo>
                    <a:pt x="268" y="28"/>
                  </a:lnTo>
                  <a:lnTo>
                    <a:pt x="268" y="27"/>
                  </a:lnTo>
                  <a:lnTo>
                    <a:pt x="268" y="25"/>
                  </a:lnTo>
                  <a:lnTo>
                    <a:pt x="267" y="23"/>
                  </a:lnTo>
                  <a:lnTo>
                    <a:pt x="260" y="23"/>
                  </a:lnTo>
                  <a:lnTo>
                    <a:pt x="260" y="23"/>
                  </a:lnTo>
                  <a:lnTo>
                    <a:pt x="249" y="21"/>
                  </a:lnTo>
                  <a:lnTo>
                    <a:pt x="244" y="21"/>
                  </a:lnTo>
                  <a:lnTo>
                    <a:pt x="241" y="20"/>
                  </a:lnTo>
                  <a:lnTo>
                    <a:pt x="241" y="18"/>
                  </a:lnTo>
                  <a:lnTo>
                    <a:pt x="239" y="14"/>
                  </a:lnTo>
                  <a:lnTo>
                    <a:pt x="239" y="13"/>
                  </a:lnTo>
                  <a:lnTo>
                    <a:pt x="234" y="13"/>
                  </a:lnTo>
                  <a:lnTo>
                    <a:pt x="234" y="13"/>
                  </a:lnTo>
                  <a:lnTo>
                    <a:pt x="230" y="11"/>
                  </a:lnTo>
                  <a:lnTo>
                    <a:pt x="227" y="9"/>
                  </a:lnTo>
                  <a:lnTo>
                    <a:pt x="223" y="4"/>
                  </a:lnTo>
                  <a:lnTo>
                    <a:pt x="220" y="0"/>
                  </a:lnTo>
                  <a:lnTo>
                    <a:pt x="218" y="0"/>
                  </a:lnTo>
                  <a:lnTo>
                    <a:pt x="216" y="0"/>
                  </a:lnTo>
                  <a:lnTo>
                    <a:pt x="216" y="0"/>
                  </a:lnTo>
                  <a:lnTo>
                    <a:pt x="211" y="4"/>
                  </a:lnTo>
                  <a:lnTo>
                    <a:pt x="204" y="4"/>
                  </a:lnTo>
                  <a:lnTo>
                    <a:pt x="201" y="6"/>
                  </a:lnTo>
                  <a:lnTo>
                    <a:pt x="201" y="7"/>
                  </a:lnTo>
                  <a:lnTo>
                    <a:pt x="202" y="9"/>
                  </a:lnTo>
                  <a:lnTo>
                    <a:pt x="202" y="9"/>
                  </a:lnTo>
                  <a:lnTo>
                    <a:pt x="207" y="14"/>
                  </a:lnTo>
                  <a:lnTo>
                    <a:pt x="206" y="16"/>
                  </a:lnTo>
                  <a:lnTo>
                    <a:pt x="204" y="14"/>
                  </a:lnTo>
                  <a:lnTo>
                    <a:pt x="197" y="14"/>
                  </a:lnTo>
                  <a:lnTo>
                    <a:pt x="195" y="16"/>
                  </a:lnTo>
                  <a:lnTo>
                    <a:pt x="194" y="21"/>
                  </a:lnTo>
                  <a:lnTo>
                    <a:pt x="194" y="21"/>
                  </a:lnTo>
                  <a:lnTo>
                    <a:pt x="192" y="25"/>
                  </a:lnTo>
                  <a:lnTo>
                    <a:pt x="188" y="28"/>
                  </a:lnTo>
                  <a:lnTo>
                    <a:pt x="180" y="30"/>
                  </a:lnTo>
                  <a:lnTo>
                    <a:pt x="174" y="30"/>
                  </a:lnTo>
                  <a:lnTo>
                    <a:pt x="171" y="32"/>
                  </a:lnTo>
                  <a:lnTo>
                    <a:pt x="166" y="35"/>
                  </a:lnTo>
                  <a:lnTo>
                    <a:pt x="162" y="42"/>
                  </a:lnTo>
                  <a:lnTo>
                    <a:pt x="162" y="42"/>
                  </a:lnTo>
                  <a:lnTo>
                    <a:pt x="160" y="49"/>
                  </a:lnTo>
                  <a:lnTo>
                    <a:pt x="160" y="54"/>
                  </a:lnTo>
                  <a:lnTo>
                    <a:pt x="160" y="58"/>
                  </a:lnTo>
                  <a:lnTo>
                    <a:pt x="162" y="61"/>
                  </a:lnTo>
                  <a:lnTo>
                    <a:pt x="166" y="65"/>
                  </a:lnTo>
                  <a:lnTo>
                    <a:pt x="166" y="68"/>
                  </a:lnTo>
                  <a:lnTo>
                    <a:pt x="166" y="70"/>
                  </a:lnTo>
                  <a:lnTo>
                    <a:pt x="166" y="70"/>
                  </a:lnTo>
                  <a:lnTo>
                    <a:pt x="162" y="72"/>
                  </a:lnTo>
                  <a:lnTo>
                    <a:pt x="159" y="72"/>
                  </a:lnTo>
                  <a:lnTo>
                    <a:pt x="148" y="72"/>
                  </a:lnTo>
                  <a:lnTo>
                    <a:pt x="136" y="70"/>
                  </a:lnTo>
                  <a:lnTo>
                    <a:pt x="126" y="70"/>
                  </a:lnTo>
                  <a:lnTo>
                    <a:pt x="126" y="70"/>
                  </a:lnTo>
                  <a:lnTo>
                    <a:pt x="119" y="72"/>
                  </a:lnTo>
                  <a:lnTo>
                    <a:pt x="113" y="74"/>
                  </a:lnTo>
                  <a:lnTo>
                    <a:pt x="108" y="74"/>
                  </a:lnTo>
                  <a:lnTo>
                    <a:pt x="107" y="72"/>
                  </a:lnTo>
                  <a:lnTo>
                    <a:pt x="103" y="68"/>
                  </a:lnTo>
                  <a:lnTo>
                    <a:pt x="103" y="68"/>
                  </a:lnTo>
                  <a:lnTo>
                    <a:pt x="91" y="46"/>
                  </a:lnTo>
                  <a:lnTo>
                    <a:pt x="87" y="39"/>
                  </a:lnTo>
                  <a:lnTo>
                    <a:pt x="84" y="35"/>
                  </a:lnTo>
                  <a:lnTo>
                    <a:pt x="84" y="35"/>
                  </a:lnTo>
                  <a:lnTo>
                    <a:pt x="70" y="25"/>
                  </a:lnTo>
                  <a:lnTo>
                    <a:pt x="59" y="21"/>
                  </a:lnTo>
                  <a:lnTo>
                    <a:pt x="56" y="21"/>
                  </a:lnTo>
                  <a:lnTo>
                    <a:pt x="51" y="21"/>
                  </a:lnTo>
                  <a:lnTo>
                    <a:pt x="51" y="21"/>
                  </a:lnTo>
                  <a:lnTo>
                    <a:pt x="32" y="25"/>
                  </a:lnTo>
                  <a:lnTo>
                    <a:pt x="23" y="30"/>
                  </a:lnTo>
                  <a:lnTo>
                    <a:pt x="16" y="34"/>
                  </a:lnTo>
                  <a:lnTo>
                    <a:pt x="16" y="34"/>
                  </a:lnTo>
                  <a:lnTo>
                    <a:pt x="0" y="49"/>
                  </a:lnTo>
                  <a:lnTo>
                    <a:pt x="0" y="4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7" name="Freeform 2010">
              <a:extLst>
                <a:ext uri="{FF2B5EF4-FFF2-40B4-BE49-F238E27FC236}">
                  <a16:creationId xmlns:a16="http://schemas.microsoft.com/office/drawing/2014/main" id="{5CEA06AC-5A6D-4E95-A702-B1BED5352FC0}"/>
                </a:ext>
              </a:extLst>
            </p:cNvPr>
            <p:cNvSpPr>
              <a:spLocks/>
            </p:cNvSpPr>
            <p:nvPr/>
          </p:nvSpPr>
          <p:spPr bwMode="auto">
            <a:xfrm>
              <a:off x="6296721" y="2881928"/>
              <a:ext cx="484550" cy="325970"/>
            </a:xfrm>
            <a:custGeom>
              <a:avLst/>
              <a:gdLst/>
              <a:ahLst/>
              <a:cxnLst>
                <a:cxn ang="0">
                  <a:pos x="176" y="91"/>
                </a:cxn>
                <a:cxn ang="0">
                  <a:pos x="146" y="101"/>
                </a:cxn>
                <a:cxn ang="0">
                  <a:pos x="130" y="98"/>
                </a:cxn>
                <a:cxn ang="0">
                  <a:pos x="87" y="98"/>
                </a:cxn>
                <a:cxn ang="0">
                  <a:pos x="78" y="56"/>
                </a:cxn>
                <a:cxn ang="0">
                  <a:pos x="83" y="16"/>
                </a:cxn>
                <a:cxn ang="0">
                  <a:pos x="0" y="30"/>
                </a:cxn>
                <a:cxn ang="0">
                  <a:pos x="36" y="211"/>
                </a:cxn>
                <a:cxn ang="0">
                  <a:pos x="34" y="188"/>
                </a:cxn>
                <a:cxn ang="0">
                  <a:pos x="66" y="164"/>
                </a:cxn>
                <a:cxn ang="0">
                  <a:pos x="76" y="148"/>
                </a:cxn>
                <a:cxn ang="0">
                  <a:pos x="92" y="139"/>
                </a:cxn>
                <a:cxn ang="0">
                  <a:pos x="113" y="153"/>
                </a:cxn>
                <a:cxn ang="0">
                  <a:pos x="142" y="164"/>
                </a:cxn>
                <a:cxn ang="0">
                  <a:pos x="149" y="186"/>
                </a:cxn>
                <a:cxn ang="0">
                  <a:pos x="146" y="197"/>
                </a:cxn>
                <a:cxn ang="0">
                  <a:pos x="156" y="214"/>
                </a:cxn>
                <a:cxn ang="0">
                  <a:pos x="189" y="214"/>
                </a:cxn>
                <a:cxn ang="0">
                  <a:pos x="210" y="232"/>
                </a:cxn>
                <a:cxn ang="0">
                  <a:pos x="231" y="275"/>
                </a:cxn>
                <a:cxn ang="0">
                  <a:pos x="290" y="322"/>
                </a:cxn>
                <a:cxn ang="0">
                  <a:pos x="343" y="357"/>
                </a:cxn>
                <a:cxn ang="0">
                  <a:pos x="372" y="374"/>
                </a:cxn>
                <a:cxn ang="0">
                  <a:pos x="388" y="399"/>
                </a:cxn>
                <a:cxn ang="0">
                  <a:pos x="412" y="408"/>
                </a:cxn>
                <a:cxn ang="0">
                  <a:pos x="433" y="364"/>
                </a:cxn>
                <a:cxn ang="0">
                  <a:pos x="425" y="334"/>
                </a:cxn>
                <a:cxn ang="0">
                  <a:pos x="411" y="321"/>
                </a:cxn>
                <a:cxn ang="0">
                  <a:pos x="397" y="307"/>
                </a:cxn>
                <a:cxn ang="0">
                  <a:pos x="435" y="294"/>
                </a:cxn>
                <a:cxn ang="0">
                  <a:pos x="447" y="263"/>
                </a:cxn>
                <a:cxn ang="0">
                  <a:pos x="468" y="237"/>
                </a:cxn>
                <a:cxn ang="0">
                  <a:pos x="485" y="239"/>
                </a:cxn>
                <a:cxn ang="0">
                  <a:pos x="510" y="225"/>
                </a:cxn>
                <a:cxn ang="0">
                  <a:pos x="512" y="244"/>
                </a:cxn>
                <a:cxn ang="0">
                  <a:pos x="513" y="263"/>
                </a:cxn>
                <a:cxn ang="0">
                  <a:pos x="548" y="265"/>
                </a:cxn>
                <a:cxn ang="0">
                  <a:pos x="569" y="254"/>
                </a:cxn>
                <a:cxn ang="0">
                  <a:pos x="599" y="230"/>
                </a:cxn>
                <a:cxn ang="0">
                  <a:pos x="548" y="202"/>
                </a:cxn>
                <a:cxn ang="0">
                  <a:pos x="501" y="200"/>
                </a:cxn>
                <a:cxn ang="0">
                  <a:pos x="531" y="169"/>
                </a:cxn>
                <a:cxn ang="0">
                  <a:pos x="515" y="174"/>
                </a:cxn>
                <a:cxn ang="0">
                  <a:pos x="492" y="186"/>
                </a:cxn>
                <a:cxn ang="0">
                  <a:pos x="461" y="206"/>
                </a:cxn>
                <a:cxn ang="0">
                  <a:pos x="444" y="227"/>
                </a:cxn>
                <a:cxn ang="0">
                  <a:pos x="435" y="244"/>
                </a:cxn>
                <a:cxn ang="0">
                  <a:pos x="425" y="223"/>
                </a:cxn>
                <a:cxn ang="0">
                  <a:pos x="395" y="218"/>
                </a:cxn>
                <a:cxn ang="0">
                  <a:pos x="371" y="179"/>
                </a:cxn>
                <a:cxn ang="0">
                  <a:pos x="353" y="152"/>
                </a:cxn>
                <a:cxn ang="0">
                  <a:pos x="346" y="132"/>
                </a:cxn>
                <a:cxn ang="0">
                  <a:pos x="322" y="103"/>
                </a:cxn>
                <a:cxn ang="0">
                  <a:pos x="290" y="101"/>
                </a:cxn>
                <a:cxn ang="0">
                  <a:pos x="212" y="105"/>
                </a:cxn>
                <a:cxn ang="0">
                  <a:pos x="179" y="63"/>
                </a:cxn>
              </a:cxnLst>
              <a:rect l="0" t="0" r="r" b="b"/>
              <a:pathLst>
                <a:path w="602" h="408">
                  <a:moveTo>
                    <a:pt x="179" y="63"/>
                  </a:moveTo>
                  <a:lnTo>
                    <a:pt x="179" y="63"/>
                  </a:lnTo>
                  <a:lnTo>
                    <a:pt x="169" y="75"/>
                  </a:lnTo>
                  <a:lnTo>
                    <a:pt x="167" y="80"/>
                  </a:lnTo>
                  <a:lnTo>
                    <a:pt x="169" y="84"/>
                  </a:lnTo>
                  <a:lnTo>
                    <a:pt x="174" y="87"/>
                  </a:lnTo>
                  <a:lnTo>
                    <a:pt x="174" y="87"/>
                  </a:lnTo>
                  <a:lnTo>
                    <a:pt x="176" y="91"/>
                  </a:lnTo>
                  <a:lnTo>
                    <a:pt x="176" y="92"/>
                  </a:lnTo>
                  <a:lnTo>
                    <a:pt x="174" y="94"/>
                  </a:lnTo>
                  <a:lnTo>
                    <a:pt x="170" y="96"/>
                  </a:lnTo>
                  <a:lnTo>
                    <a:pt x="163" y="98"/>
                  </a:lnTo>
                  <a:lnTo>
                    <a:pt x="153" y="98"/>
                  </a:lnTo>
                  <a:lnTo>
                    <a:pt x="153" y="98"/>
                  </a:lnTo>
                  <a:lnTo>
                    <a:pt x="148" y="98"/>
                  </a:lnTo>
                  <a:lnTo>
                    <a:pt x="146" y="101"/>
                  </a:lnTo>
                  <a:lnTo>
                    <a:pt x="142" y="105"/>
                  </a:lnTo>
                  <a:lnTo>
                    <a:pt x="141" y="105"/>
                  </a:lnTo>
                  <a:lnTo>
                    <a:pt x="135" y="106"/>
                  </a:lnTo>
                  <a:lnTo>
                    <a:pt x="135" y="106"/>
                  </a:lnTo>
                  <a:lnTo>
                    <a:pt x="132" y="106"/>
                  </a:lnTo>
                  <a:lnTo>
                    <a:pt x="130" y="105"/>
                  </a:lnTo>
                  <a:lnTo>
                    <a:pt x="130" y="99"/>
                  </a:lnTo>
                  <a:lnTo>
                    <a:pt x="130" y="98"/>
                  </a:lnTo>
                  <a:lnTo>
                    <a:pt x="129" y="94"/>
                  </a:lnTo>
                  <a:lnTo>
                    <a:pt x="127" y="92"/>
                  </a:lnTo>
                  <a:lnTo>
                    <a:pt x="120" y="89"/>
                  </a:lnTo>
                  <a:lnTo>
                    <a:pt x="120" y="89"/>
                  </a:lnTo>
                  <a:lnTo>
                    <a:pt x="111" y="89"/>
                  </a:lnTo>
                  <a:lnTo>
                    <a:pt x="104" y="91"/>
                  </a:lnTo>
                  <a:lnTo>
                    <a:pt x="92" y="94"/>
                  </a:lnTo>
                  <a:lnTo>
                    <a:pt x="87" y="98"/>
                  </a:lnTo>
                  <a:lnTo>
                    <a:pt x="83" y="98"/>
                  </a:lnTo>
                  <a:lnTo>
                    <a:pt x="81" y="96"/>
                  </a:lnTo>
                  <a:lnTo>
                    <a:pt x="81" y="92"/>
                  </a:lnTo>
                  <a:lnTo>
                    <a:pt x="81" y="92"/>
                  </a:lnTo>
                  <a:lnTo>
                    <a:pt x="80" y="80"/>
                  </a:lnTo>
                  <a:lnTo>
                    <a:pt x="78" y="68"/>
                  </a:lnTo>
                  <a:lnTo>
                    <a:pt x="78" y="59"/>
                  </a:lnTo>
                  <a:lnTo>
                    <a:pt x="78" y="56"/>
                  </a:lnTo>
                  <a:lnTo>
                    <a:pt x="80" y="52"/>
                  </a:lnTo>
                  <a:lnTo>
                    <a:pt x="80" y="52"/>
                  </a:lnTo>
                  <a:lnTo>
                    <a:pt x="80" y="49"/>
                  </a:lnTo>
                  <a:lnTo>
                    <a:pt x="80" y="47"/>
                  </a:lnTo>
                  <a:lnTo>
                    <a:pt x="76" y="40"/>
                  </a:lnTo>
                  <a:lnTo>
                    <a:pt x="76" y="35"/>
                  </a:lnTo>
                  <a:lnTo>
                    <a:pt x="78" y="26"/>
                  </a:lnTo>
                  <a:lnTo>
                    <a:pt x="83" y="16"/>
                  </a:lnTo>
                  <a:lnTo>
                    <a:pt x="90" y="0"/>
                  </a:lnTo>
                  <a:lnTo>
                    <a:pt x="90" y="0"/>
                  </a:lnTo>
                  <a:lnTo>
                    <a:pt x="75" y="4"/>
                  </a:lnTo>
                  <a:lnTo>
                    <a:pt x="50" y="12"/>
                  </a:lnTo>
                  <a:lnTo>
                    <a:pt x="7" y="26"/>
                  </a:lnTo>
                  <a:lnTo>
                    <a:pt x="7" y="26"/>
                  </a:lnTo>
                  <a:lnTo>
                    <a:pt x="1" y="28"/>
                  </a:lnTo>
                  <a:lnTo>
                    <a:pt x="0" y="30"/>
                  </a:lnTo>
                  <a:lnTo>
                    <a:pt x="0" y="44"/>
                  </a:lnTo>
                  <a:lnTo>
                    <a:pt x="0" y="44"/>
                  </a:lnTo>
                  <a:lnTo>
                    <a:pt x="0" y="209"/>
                  </a:lnTo>
                  <a:lnTo>
                    <a:pt x="0" y="209"/>
                  </a:lnTo>
                  <a:lnTo>
                    <a:pt x="10" y="209"/>
                  </a:lnTo>
                  <a:lnTo>
                    <a:pt x="22" y="211"/>
                  </a:lnTo>
                  <a:lnTo>
                    <a:pt x="33" y="211"/>
                  </a:lnTo>
                  <a:lnTo>
                    <a:pt x="36" y="211"/>
                  </a:lnTo>
                  <a:lnTo>
                    <a:pt x="40" y="209"/>
                  </a:lnTo>
                  <a:lnTo>
                    <a:pt x="40" y="209"/>
                  </a:lnTo>
                  <a:lnTo>
                    <a:pt x="40" y="207"/>
                  </a:lnTo>
                  <a:lnTo>
                    <a:pt x="40" y="204"/>
                  </a:lnTo>
                  <a:lnTo>
                    <a:pt x="36" y="200"/>
                  </a:lnTo>
                  <a:lnTo>
                    <a:pt x="34" y="197"/>
                  </a:lnTo>
                  <a:lnTo>
                    <a:pt x="34" y="193"/>
                  </a:lnTo>
                  <a:lnTo>
                    <a:pt x="34" y="188"/>
                  </a:lnTo>
                  <a:lnTo>
                    <a:pt x="36" y="181"/>
                  </a:lnTo>
                  <a:lnTo>
                    <a:pt x="36" y="181"/>
                  </a:lnTo>
                  <a:lnTo>
                    <a:pt x="40" y="174"/>
                  </a:lnTo>
                  <a:lnTo>
                    <a:pt x="45" y="171"/>
                  </a:lnTo>
                  <a:lnTo>
                    <a:pt x="48" y="169"/>
                  </a:lnTo>
                  <a:lnTo>
                    <a:pt x="54" y="169"/>
                  </a:lnTo>
                  <a:lnTo>
                    <a:pt x="62" y="167"/>
                  </a:lnTo>
                  <a:lnTo>
                    <a:pt x="66" y="164"/>
                  </a:lnTo>
                  <a:lnTo>
                    <a:pt x="68" y="160"/>
                  </a:lnTo>
                  <a:lnTo>
                    <a:pt x="68" y="160"/>
                  </a:lnTo>
                  <a:lnTo>
                    <a:pt x="69" y="155"/>
                  </a:lnTo>
                  <a:lnTo>
                    <a:pt x="71" y="153"/>
                  </a:lnTo>
                  <a:lnTo>
                    <a:pt x="78" y="153"/>
                  </a:lnTo>
                  <a:lnTo>
                    <a:pt x="80" y="155"/>
                  </a:lnTo>
                  <a:lnTo>
                    <a:pt x="81" y="153"/>
                  </a:lnTo>
                  <a:lnTo>
                    <a:pt x="76" y="148"/>
                  </a:lnTo>
                  <a:lnTo>
                    <a:pt x="76" y="148"/>
                  </a:lnTo>
                  <a:lnTo>
                    <a:pt x="75" y="146"/>
                  </a:lnTo>
                  <a:lnTo>
                    <a:pt x="75" y="145"/>
                  </a:lnTo>
                  <a:lnTo>
                    <a:pt x="78" y="143"/>
                  </a:lnTo>
                  <a:lnTo>
                    <a:pt x="85" y="143"/>
                  </a:lnTo>
                  <a:lnTo>
                    <a:pt x="90" y="139"/>
                  </a:lnTo>
                  <a:lnTo>
                    <a:pt x="90" y="139"/>
                  </a:lnTo>
                  <a:lnTo>
                    <a:pt x="92" y="139"/>
                  </a:lnTo>
                  <a:lnTo>
                    <a:pt x="94" y="139"/>
                  </a:lnTo>
                  <a:lnTo>
                    <a:pt x="97" y="143"/>
                  </a:lnTo>
                  <a:lnTo>
                    <a:pt x="101" y="148"/>
                  </a:lnTo>
                  <a:lnTo>
                    <a:pt x="104" y="150"/>
                  </a:lnTo>
                  <a:lnTo>
                    <a:pt x="108" y="152"/>
                  </a:lnTo>
                  <a:lnTo>
                    <a:pt x="108" y="152"/>
                  </a:lnTo>
                  <a:lnTo>
                    <a:pt x="113" y="152"/>
                  </a:lnTo>
                  <a:lnTo>
                    <a:pt x="113" y="153"/>
                  </a:lnTo>
                  <a:lnTo>
                    <a:pt x="115" y="157"/>
                  </a:lnTo>
                  <a:lnTo>
                    <a:pt x="115" y="159"/>
                  </a:lnTo>
                  <a:lnTo>
                    <a:pt x="118" y="160"/>
                  </a:lnTo>
                  <a:lnTo>
                    <a:pt x="123" y="160"/>
                  </a:lnTo>
                  <a:lnTo>
                    <a:pt x="134" y="162"/>
                  </a:lnTo>
                  <a:lnTo>
                    <a:pt x="134" y="162"/>
                  </a:lnTo>
                  <a:lnTo>
                    <a:pt x="141" y="162"/>
                  </a:lnTo>
                  <a:lnTo>
                    <a:pt x="142" y="164"/>
                  </a:lnTo>
                  <a:lnTo>
                    <a:pt x="142" y="166"/>
                  </a:lnTo>
                  <a:lnTo>
                    <a:pt x="142" y="167"/>
                  </a:lnTo>
                  <a:lnTo>
                    <a:pt x="141" y="171"/>
                  </a:lnTo>
                  <a:lnTo>
                    <a:pt x="141" y="174"/>
                  </a:lnTo>
                  <a:lnTo>
                    <a:pt x="142" y="179"/>
                  </a:lnTo>
                  <a:lnTo>
                    <a:pt x="148" y="183"/>
                  </a:lnTo>
                  <a:lnTo>
                    <a:pt x="148" y="183"/>
                  </a:lnTo>
                  <a:lnTo>
                    <a:pt x="149" y="186"/>
                  </a:lnTo>
                  <a:lnTo>
                    <a:pt x="149" y="186"/>
                  </a:lnTo>
                  <a:lnTo>
                    <a:pt x="146" y="188"/>
                  </a:lnTo>
                  <a:lnTo>
                    <a:pt x="142" y="190"/>
                  </a:lnTo>
                  <a:lnTo>
                    <a:pt x="142" y="190"/>
                  </a:lnTo>
                  <a:lnTo>
                    <a:pt x="144" y="193"/>
                  </a:lnTo>
                  <a:lnTo>
                    <a:pt x="144" y="193"/>
                  </a:lnTo>
                  <a:lnTo>
                    <a:pt x="146" y="195"/>
                  </a:lnTo>
                  <a:lnTo>
                    <a:pt x="146" y="197"/>
                  </a:lnTo>
                  <a:lnTo>
                    <a:pt x="144" y="200"/>
                  </a:lnTo>
                  <a:lnTo>
                    <a:pt x="142" y="200"/>
                  </a:lnTo>
                  <a:lnTo>
                    <a:pt x="142" y="202"/>
                  </a:lnTo>
                  <a:lnTo>
                    <a:pt x="144" y="206"/>
                  </a:lnTo>
                  <a:lnTo>
                    <a:pt x="148" y="209"/>
                  </a:lnTo>
                  <a:lnTo>
                    <a:pt x="148" y="209"/>
                  </a:lnTo>
                  <a:lnTo>
                    <a:pt x="153" y="213"/>
                  </a:lnTo>
                  <a:lnTo>
                    <a:pt x="156" y="214"/>
                  </a:lnTo>
                  <a:lnTo>
                    <a:pt x="165" y="214"/>
                  </a:lnTo>
                  <a:lnTo>
                    <a:pt x="174" y="213"/>
                  </a:lnTo>
                  <a:lnTo>
                    <a:pt x="177" y="214"/>
                  </a:lnTo>
                  <a:lnTo>
                    <a:pt x="181" y="216"/>
                  </a:lnTo>
                  <a:lnTo>
                    <a:pt x="181" y="216"/>
                  </a:lnTo>
                  <a:lnTo>
                    <a:pt x="184" y="216"/>
                  </a:lnTo>
                  <a:lnTo>
                    <a:pt x="186" y="216"/>
                  </a:lnTo>
                  <a:lnTo>
                    <a:pt x="189" y="214"/>
                  </a:lnTo>
                  <a:lnTo>
                    <a:pt x="191" y="213"/>
                  </a:lnTo>
                  <a:lnTo>
                    <a:pt x="193" y="211"/>
                  </a:lnTo>
                  <a:lnTo>
                    <a:pt x="195" y="211"/>
                  </a:lnTo>
                  <a:lnTo>
                    <a:pt x="200" y="214"/>
                  </a:lnTo>
                  <a:lnTo>
                    <a:pt x="200" y="214"/>
                  </a:lnTo>
                  <a:lnTo>
                    <a:pt x="205" y="218"/>
                  </a:lnTo>
                  <a:lnTo>
                    <a:pt x="209" y="221"/>
                  </a:lnTo>
                  <a:lnTo>
                    <a:pt x="210" y="232"/>
                  </a:lnTo>
                  <a:lnTo>
                    <a:pt x="212" y="242"/>
                  </a:lnTo>
                  <a:lnTo>
                    <a:pt x="214" y="246"/>
                  </a:lnTo>
                  <a:lnTo>
                    <a:pt x="217" y="249"/>
                  </a:lnTo>
                  <a:lnTo>
                    <a:pt x="217" y="249"/>
                  </a:lnTo>
                  <a:lnTo>
                    <a:pt x="221" y="253"/>
                  </a:lnTo>
                  <a:lnTo>
                    <a:pt x="223" y="256"/>
                  </a:lnTo>
                  <a:lnTo>
                    <a:pt x="226" y="265"/>
                  </a:lnTo>
                  <a:lnTo>
                    <a:pt x="231" y="275"/>
                  </a:lnTo>
                  <a:lnTo>
                    <a:pt x="235" y="280"/>
                  </a:lnTo>
                  <a:lnTo>
                    <a:pt x="242" y="286"/>
                  </a:lnTo>
                  <a:lnTo>
                    <a:pt x="242" y="286"/>
                  </a:lnTo>
                  <a:lnTo>
                    <a:pt x="257" y="298"/>
                  </a:lnTo>
                  <a:lnTo>
                    <a:pt x="270" y="310"/>
                  </a:lnTo>
                  <a:lnTo>
                    <a:pt x="282" y="321"/>
                  </a:lnTo>
                  <a:lnTo>
                    <a:pt x="285" y="322"/>
                  </a:lnTo>
                  <a:lnTo>
                    <a:pt x="290" y="322"/>
                  </a:lnTo>
                  <a:lnTo>
                    <a:pt x="290" y="322"/>
                  </a:lnTo>
                  <a:lnTo>
                    <a:pt x="294" y="324"/>
                  </a:lnTo>
                  <a:lnTo>
                    <a:pt x="301" y="327"/>
                  </a:lnTo>
                  <a:lnTo>
                    <a:pt x="315" y="340"/>
                  </a:lnTo>
                  <a:lnTo>
                    <a:pt x="330" y="354"/>
                  </a:lnTo>
                  <a:lnTo>
                    <a:pt x="337" y="357"/>
                  </a:lnTo>
                  <a:lnTo>
                    <a:pt x="343" y="357"/>
                  </a:lnTo>
                  <a:lnTo>
                    <a:pt x="343" y="357"/>
                  </a:lnTo>
                  <a:lnTo>
                    <a:pt x="344" y="355"/>
                  </a:lnTo>
                  <a:lnTo>
                    <a:pt x="348" y="355"/>
                  </a:lnTo>
                  <a:lnTo>
                    <a:pt x="355" y="359"/>
                  </a:lnTo>
                  <a:lnTo>
                    <a:pt x="371" y="368"/>
                  </a:lnTo>
                  <a:lnTo>
                    <a:pt x="371" y="368"/>
                  </a:lnTo>
                  <a:lnTo>
                    <a:pt x="372" y="369"/>
                  </a:lnTo>
                  <a:lnTo>
                    <a:pt x="374" y="371"/>
                  </a:lnTo>
                  <a:lnTo>
                    <a:pt x="372" y="374"/>
                  </a:lnTo>
                  <a:lnTo>
                    <a:pt x="371" y="378"/>
                  </a:lnTo>
                  <a:lnTo>
                    <a:pt x="369" y="383"/>
                  </a:lnTo>
                  <a:lnTo>
                    <a:pt x="369" y="390"/>
                  </a:lnTo>
                  <a:lnTo>
                    <a:pt x="369" y="401"/>
                  </a:lnTo>
                  <a:lnTo>
                    <a:pt x="369" y="401"/>
                  </a:lnTo>
                  <a:lnTo>
                    <a:pt x="378" y="397"/>
                  </a:lnTo>
                  <a:lnTo>
                    <a:pt x="383" y="397"/>
                  </a:lnTo>
                  <a:lnTo>
                    <a:pt x="388" y="399"/>
                  </a:lnTo>
                  <a:lnTo>
                    <a:pt x="390" y="402"/>
                  </a:lnTo>
                  <a:lnTo>
                    <a:pt x="393" y="406"/>
                  </a:lnTo>
                  <a:lnTo>
                    <a:pt x="395" y="408"/>
                  </a:lnTo>
                  <a:lnTo>
                    <a:pt x="397" y="408"/>
                  </a:lnTo>
                  <a:lnTo>
                    <a:pt x="397" y="408"/>
                  </a:lnTo>
                  <a:lnTo>
                    <a:pt x="402" y="406"/>
                  </a:lnTo>
                  <a:lnTo>
                    <a:pt x="405" y="404"/>
                  </a:lnTo>
                  <a:lnTo>
                    <a:pt x="412" y="408"/>
                  </a:lnTo>
                  <a:lnTo>
                    <a:pt x="412" y="408"/>
                  </a:lnTo>
                  <a:lnTo>
                    <a:pt x="414" y="404"/>
                  </a:lnTo>
                  <a:lnTo>
                    <a:pt x="414" y="401"/>
                  </a:lnTo>
                  <a:lnTo>
                    <a:pt x="416" y="394"/>
                  </a:lnTo>
                  <a:lnTo>
                    <a:pt x="421" y="383"/>
                  </a:lnTo>
                  <a:lnTo>
                    <a:pt x="421" y="383"/>
                  </a:lnTo>
                  <a:lnTo>
                    <a:pt x="428" y="371"/>
                  </a:lnTo>
                  <a:lnTo>
                    <a:pt x="433" y="364"/>
                  </a:lnTo>
                  <a:lnTo>
                    <a:pt x="433" y="361"/>
                  </a:lnTo>
                  <a:lnTo>
                    <a:pt x="433" y="357"/>
                  </a:lnTo>
                  <a:lnTo>
                    <a:pt x="431" y="354"/>
                  </a:lnTo>
                  <a:lnTo>
                    <a:pt x="428" y="350"/>
                  </a:lnTo>
                  <a:lnTo>
                    <a:pt x="428" y="350"/>
                  </a:lnTo>
                  <a:lnTo>
                    <a:pt x="425" y="347"/>
                  </a:lnTo>
                  <a:lnTo>
                    <a:pt x="423" y="341"/>
                  </a:lnTo>
                  <a:lnTo>
                    <a:pt x="425" y="334"/>
                  </a:lnTo>
                  <a:lnTo>
                    <a:pt x="426" y="327"/>
                  </a:lnTo>
                  <a:lnTo>
                    <a:pt x="426" y="324"/>
                  </a:lnTo>
                  <a:lnTo>
                    <a:pt x="425" y="322"/>
                  </a:lnTo>
                  <a:lnTo>
                    <a:pt x="425" y="322"/>
                  </a:lnTo>
                  <a:lnTo>
                    <a:pt x="421" y="322"/>
                  </a:lnTo>
                  <a:lnTo>
                    <a:pt x="416" y="322"/>
                  </a:lnTo>
                  <a:lnTo>
                    <a:pt x="412" y="322"/>
                  </a:lnTo>
                  <a:lnTo>
                    <a:pt x="411" y="321"/>
                  </a:lnTo>
                  <a:lnTo>
                    <a:pt x="411" y="317"/>
                  </a:lnTo>
                  <a:lnTo>
                    <a:pt x="411" y="317"/>
                  </a:lnTo>
                  <a:lnTo>
                    <a:pt x="409" y="314"/>
                  </a:lnTo>
                  <a:lnTo>
                    <a:pt x="407" y="312"/>
                  </a:lnTo>
                  <a:lnTo>
                    <a:pt x="400" y="312"/>
                  </a:lnTo>
                  <a:lnTo>
                    <a:pt x="400" y="312"/>
                  </a:lnTo>
                  <a:lnTo>
                    <a:pt x="398" y="310"/>
                  </a:lnTo>
                  <a:lnTo>
                    <a:pt x="397" y="307"/>
                  </a:lnTo>
                  <a:lnTo>
                    <a:pt x="402" y="300"/>
                  </a:lnTo>
                  <a:lnTo>
                    <a:pt x="405" y="296"/>
                  </a:lnTo>
                  <a:lnTo>
                    <a:pt x="409" y="293"/>
                  </a:lnTo>
                  <a:lnTo>
                    <a:pt x="414" y="291"/>
                  </a:lnTo>
                  <a:lnTo>
                    <a:pt x="419" y="293"/>
                  </a:lnTo>
                  <a:lnTo>
                    <a:pt x="419" y="293"/>
                  </a:lnTo>
                  <a:lnTo>
                    <a:pt x="430" y="294"/>
                  </a:lnTo>
                  <a:lnTo>
                    <a:pt x="435" y="294"/>
                  </a:lnTo>
                  <a:lnTo>
                    <a:pt x="440" y="289"/>
                  </a:lnTo>
                  <a:lnTo>
                    <a:pt x="447" y="280"/>
                  </a:lnTo>
                  <a:lnTo>
                    <a:pt x="447" y="280"/>
                  </a:lnTo>
                  <a:lnTo>
                    <a:pt x="449" y="275"/>
                  </a:lnTo>
                  <a:lnTo>
                    <a:pt x="449" y="272"/>
                  </a:lnTo>
                  <a:lnTo>
                    <a:pt x="447" y="265"/>
                  </a:lnTo>
                  <a:lnTo>
                    <a:pt x="447" y="263"/>
                  </a:lnTo>
                  <a:lnTo>
                    <a:pt x="447" y="263"/>
                  </a:lnTo>
                  <a:lnTo>
                    <a:pt x="456" y="261"/>
                  </a:lnTo>
                  <a:lnTo>
                    <a:pt x="456" y="261"/>
                  </a:lnTo>
                  <a:lnTo>
                    <a:pt x="461" y="260"/>
                  </a:lnTo>
                  <a:lnTo>
                    <a:pt x="465" y="256"/>
                  </a:lnTo>
                  <a:lnTo>
                    <a:pt x="466" y="253"/>
                  </a:lnTo>
                  <a:lnTo>
                    <a:pt x="468" y="249"/>
                  </a:lnTo>
                  <a:lnTo>
                    <a:pt x="468" y="240"/>
                  </a:lnTo>
                  <a:lnTo>
                    <a:pt x="468" y="237"/>
                  </a:lnTo>
                  <a:lnTo>
                    <a:pt x="470" y="235"/>
                  </a:lnTo>
                  <a:lnTo>
                    <a:pt x="470" y="235"/>
                  </a:lnTo>
                  <a:lnTo>
                    <a:pt x="472" y="233"/>
                  </a:lnTo>
                  <a:lnTo>
                    <a:pt x="473" y="235"/>
                  </a:lnTo>
                  <a:lnTo>
                    <a:pt x="475" y="237"/>
                  </a:lnTo>
                  <a:lnTo>
                    <a:pt x="478" y="239"/>
                  </a:lnTo>
                  <a:lnTo>
                    <a:pt x="480" y="239"/>
                  </a:lnTo>
                  <a:lnTo>
                    <a:pt x="485" y="239"/>
                  </a:lnTo>
                  <a:lnTo>
                    <a:pt x="491" y="237"/>
                  </a:lnTo>
                  <a:lnTo>
                    <a:pt x="491" y="237"/>
                  </a:lnTo>
                  <a:lnTo>
                    <a:pt x="499" y="232"/>
                  </a:lnTo>
                  <a:lnTo>
                    <a:pt x="503" y="227"/>
                  </a:lnTo>
                  <a:lnTo>
                    <a:pt x="505" y="223"/>
                  </a:lnTo>
                  <a:lnTo>
                    <a:pt x="506" y="223"/>
                  </a:lnTo>
                  <a:lnTo>
                    <a:pt x="506" y="223"/>
                  </a:lnTo>
                  <a:lnTo>
                    <a:pt x="510" y="225"/>
                  </a:lnTo>
                  <a:lnTo>
                    <a:pt x="512" y="228"/>
                  </a:lnTo>
                  <a:lnTo>
                    <a:pt x="513" y="233"/>
                  </a:lnTo>
                  <a:lnTo>
                    <a:pt x="515" y="237"/>
                  </a:lnTo>
                  <a:lnTo>
                    <a:pt x="515" y="237"/>
                  </a:lnTo>
                  <a:lnTo>
                    <a:pt x="519" y="237"/>
                  </a:lnTo>
                  <a:lnTo>
                    <a:pt x="519" y="239"/>
                  </a:lnTo>
                  <a:lnTo>
                    <a:pt x="512" y="244"/>
                  </a:lnTo>
                  <a:lnTo>
                    <a:pt x="512" y="244"/>
                  </a:lnTo>
                  <a:lnTo>
                    <a:pt x="503" y="251"/>
                  </a:lnTo>
                  <a:lnTo>
                    <a:pt x="503" y="254"/>
                  </a:lnTo>
                  <a:lnTo>
                    <a:pt x="506" y="256"/>
                  </a:lnTo>
                  <a:lnTo>
                    <a:pt x="506" y="256"/>
                  </a:lnTo>
                  <a:lnTo>
                    <a:pt x="510" y="256"/>
                  </a:lnTo>
                  <a:lnTo>
                    <a:pt x="510" y="258"/>
                  </a:lnTo>
                  <a:lnTo>
                    <a:pt x="512" y="261"/>
                  </a:lnTo>
                  <a:lnTo>
                    <a:pt x="513" y="263"/>
                  </a:lnTo>
                  <a:lnTo>
                    <a:pt x="515" y="263"/>
                  </a:lnTo>
                  <a:lnTo>
                    <a:pt x="526" y="261"/>
                  </a:lnTo>
                  <a:lnTo>
                    <a:pt x="526" y="261"/>
                  </a:lnTo>
                  <a:lnTo>
                    <a:pt x="531" y="260"/>
                  </a:lnTo>
                  <a:lnTo>
                    <a:pt x="536" y="260"/>
                  </a:lnTo>
                  <a:lnTo>
                    <a:pt x="541" y="261"/>
                  </a:lnTo>
                  <a:lnTo>
                    <a:pt x="548" y="265"/>
                  </a:lnTo>
                  <a:lnTo>
                    <a:pt x="548" y="265"/>
                  </a:lnTo>
                  <a:lnTo>
                    <a:pt x="553" y="268"/>
                  </a:lnTo>
                  <a:lnTo>
                    <a:pt x="555" y="267"/>
                  </a:lnTo>
                  <a:lnTo>
                    <a:pt x="557" y="265"/>
                  </a:lnTo>
                  <a:lnTo>
                    <a:pt x="559" y="261"/>
                  </a:lnTo>
                  <a:lnTo>
                    <a:pt x="564" y="256"/>
                  </a:lnTo>
                  <a:lnTo>
                    <a:pt x="566" y="254"/>
                  </a:lnTo>
                  <a:lnTo>
                    <a:pt x="569" y="254"/>
                  </a:lnTo>
                  <a:lnTo>
                    <a:pt x="569" y="254"/>
                  </a:lnTo>
                  <a:lnTo>
                    <a:pt x="576" y="254"/>
                  </a:lnTo>
                  <a:lnTo>
                    <a:pt x="579" y="253"/>
                  </a:lnTo>
                  <a:lnTo>
                    <a:pt x="585" y="246"/>
                  </a:lnTo>
                  <a:lnTo>
                    <a:pt x="595" y="239"/>
                  </a:lnTo>
                  <a:lnTo>
                    <a:pt x="595" y="239"/>
                  </a:lnTo>
                  <a:lnTo>
                    <a:pt x="602" y="233"/>
                  </a:lnTo>
                  <a:lnTo>
                    <a:pt x="602" y="232"/>
                  </a:lnTo>
                  <a:lnTo>
                    <a:pt x="599" y="230"/>
                  </a:lnTo>
                  <a:lnTo>
                    <a:pt x="588" y="228"/>
                  </a:lnTo>
                  <a:lnTo>
                    <a:pt x="571" y="223"/>
                  </a:lnTo>
                  <a:lnTo>
                    <a:pt x="571" y="223"/>
                  </a:lnTo>
                  <a:lnTo>
                    <a:pt x="562" y="218"/>
                  </a:lnTo>
                  <a:lnTo>
                    <a:pt x="557" y="213"/>
                  </a:lnTo>
                  <a:lnTo>
                    <a:pt x="552" y="206"/>
                  </a:lnTo>
                  <a:lnTo>
                    <a:pt x="550" y="202"/>
                  </a:lnTo>
                  <a:lnTo>
                    <a:pt x="548" y="202"/>
                  </a:lnTo>
                  <a:lnTo>
                    <a:pt x="541" y="211"/>
                  </a:lnTo>
                  <a:lnTo>
                    <a:pt x="541" y="211"/>
                  </a:lnTo>
                  <a:lnTo>
                    <a:pt x="538" y="216"/>
                  </a:lnTo>
                  <a:lnTo>
                    <a:pt x="532" y="218"/>
                  </a:lnTo>
                  <a:lnTo>
                    <a:pt x="529" y="218"/>
                  </a:lnTo>
                  <a:lnTo>
                    <a:pt x="524" y="216"/>
                  </a:lnTo>
                  <a:lnTo>
                    <a:pt x="512" y="209"/>
                  </a:lnTo>
                  <a:lnTo>
                    <a:pt x="501" y="200"/>
                  </a:lnTo>
                  <a:lnTo>
                    <a:pt x="501" y="200"/>
                  </a:lnTo>
                  <a:lnTo>
                    <a:pt x="499" y="199"/>
                  </a:lnTo>
                  <a:lnTo>
                    <a:pt x="499" y="197"/>
                  </a:lnTo>
                  <a:lnTo>
                    <a:pt x="503" y="192"/>
                  </a:lnTo>
                  <a:lnTo>
                    <a:pt x="517" y="181"/>
                  </a:lnTo>
                  <a:lnTo>
                    <a:pt x="526" y="176"/>
                  </a:lnTo>
                  <a:lnTo>
                    <a:pt x="531" y="173"/>
                  </a:lnTo>
                  <a:lnTo>
                    <a:pt x="531" y="169"/>
                  </a:lnTo>
                  <a:lnTo>
                    <a:pt x="531" y="167"/>
                  </a:lnTo>
                  <a:lnTo>
                    <a:pt x="529" y="166"/>
                  </a:lnTo>
                  <a:lnTo>
                    <a:pt x="526" y="164"/>
                  </a:lnTo>
                  <a:lnTo>
                    <a:pt x="524" y="166"/>
                  </a:lnTo>
                  <a:lnTo>
                    <a:pt x="524" y="166"/>
                  </a:lnTo>
                  <a:lnTo>
                    <a:pt x="517" y="167"/>
                  </a:lnTo>
                  <a:lnTo>
                    <a:pt x="515" y="171"/>
                  </a:lnTo>
                  <a:lnTo>
                    <a:pt x="515" y="174"/>
                  </a:lnTo>
                  <a:lnTo>
                    <a:pt x="513" y="176"/>
                  </a:lnTo>
                  <a:lnTo>
                    <a:pt x="513" y="176"/>
                  </a:lnTo>
                  <a:lnTo>
                    <a:pt x="510" y="174"/>
                  </a:lnTo>
                  <a:lnTo>
                    <a:pt x="510" y="173"/>
                  </a:lnTo>
                  <a:lnTo>
                    <a:pt x="506" y="171"/>
                  </a:lnTo>
                  <a:lnTo>
                    <a:pt x="503" y="174"/>
                  </a:lnTo>
                  <a:lnTo>
                    <a:pt x="503" y="174"/>
                  </a:lnTo>
                  <a:lnTo>
                    <a:pt x="492" y="186"/>
                  </a:lnTo>
                  <a:lnTo>
                    <a:pt x="478" y="193"/>
                  </a:lnTo>
                  <a:lnTo>
                    <a:pt x="478" y="193"/>
                  </a:lnTo>
                  <a:lnTo>
                    <a:pt x="475" y="197"/>
                  </a:lnTo>
                  <a:lnTo>
                    <a:pt x="472" y="199"/>
                  </a:lnTo>
                  <a:lnTo>
                    <a:pt x="470" y="202"/>
                  </a:lnTo>
                  <a:lnTo>
                    <a:pt x="465" y="204"/>
                  </a:lnTo>
                  <a:lnTo>
                    <a:pt x="465" y="204"/>
                  </a:lnTo>
                  <a:lnTo>
                    <a:pt x="461" y="206"/>
                  </a:lnTo>
                  <a:lnTo>
                    <a:pt x="459" y="206"/>
                  </a:lnTo>
                  <a:lnTo>
                    <a:pt x="458" y="211"/>
                  </a:lnTo>
                  <a:lnTo>
                    <a:pt x="458" y="214"/>
                  </a:lnTo>
                  <a:lnTo>
                    <a:pt x="458" y="216"/>
                  </a:lnTo>
                  <a:lnTo>
                    <a:pt x="456" y="218"/>
                  </a:lnTo>
                  <a:lnTo>
                    <a:pt x="456" y="218"/>
                  </a:lnTo>
                  <a:lnTo>
                    <a:pt x="449" y="223"/>
                  </a:lnTo>
                  <a:lnTo>
                    <a:pt x="444" y="227"/>
                  </a:lnTo>
                  <a:lnTo>
                    <a:pt x="440" y="232"/>
                  </a:lnTo>
                  <a:lnTo>
                    <a:pt x="440" y="235"/>
                  </a:lnTo>
                  <a:lnTo>
                    <a:pt x="442" y="239"/>
                  </a:lnTo>
                  <a:lnTo>
                    <a:pt x="442" y="239"/>
                  </a:lnTo>
                  <a:lnTo>
                    <a:pt x="444" y="242"/>
                  </a:lnTo>
                  <a:lnTo>
                    <a:pt x="442" y="244"/>
                  </a:lnTo>
                  <a:lnTo>
                    <a:pt x="438" y="244"/>
                  </a:lnTo>
                  <a:lnTo>
                    <a:pt x="435" y="244"/>
                  </a:lnTo>
                  <a:lnTo>
                    <a:pt x="435" y="244"/>
                  </a:lnTo>
                  <a:lnTo>
                    <a:pt x="421" y="235"/>
                  </a:lnTo>
                  <a:lnTo>
                    <a:pt x="421" y="235"/>
                  </a:lnTo>
                  <a:lnTo>
                    <a:pt x="425" y="230"/>
                  </a:lnTo>
                  <a:lnTo>
                    <a:pt x="426" y="225"/>
                  </a:lnTo>
                  <a:lnTo>
                    <a:pt x="426" y="223"/>
                  </a:lnTo>
                  <a:lnTo>
                    <a:pt x="426" y="223"/>
                  </a:lnTo>
                  <a:lnTo>
                    <a:pt x="425" y="223"/>
                  </a:lnTo>
                  <a:lnTo>
                    <a:pt x="423" y="223"/>
                  </a:lnTo>
                  <a:lnTo>
                    <a:pt x="421" y="223"/>
                  </a:lnTo>
                  <a:lnTo>
                    <a:pt x="419" y="220"/>
                  </a:lnTo>
                  <a:lnTo>
                    <a:pt x="419" y="220"/>
                  </a:lnTo>
                  <a:lnTo>
                    <a:pt x="418" y="216"/>
                  </a:lnTo>
                  <a:lnTo>
                    <a:pt x="414" y="216"/>
                  </a:lnTo>
                  <a:lnTo>
                    <a:pt x="395" y="218"/>
                  </a:lnTo>
                  <a:lnTo>
                    <a:pt x="395" y="218"/>
                  </a:lnTo>
                  <a:lnTo>
                    <a:pt x="381" y="218"/>
                  </a:lnTo>
                  <a:lnTo>
                    <a:pt x="376" y="216"/>
                  </a:lnTo>
                  <a:lnTo>
                    <a:pt x="374" y="214"/>
                  </a:lnTo>
                  <a:lnTo>
                    <a:pt x="372" y="211"/>
                  </a:lnTo>
                  <a:lnTo>
                    <a:pt x="372" y="204"/>
                  </a:lnTo>
                  <a:lnTo>
                    <a:pt x="372" y="204"/>
                  </a:lnTo>
                  <a:lnTo>
                    <a:pt x="372" y="185"/>
                  </a:lnTo>
                  <a:lnTo>
                    <a:pt x="371" y="179"/>
                  </a:lnTo>
                  <a:lnTo>
                    <a:pt x="369" y="178"/>
                  </a:lnTo>
                  <a:lnTo>
                    <a:pt x="367" y="176"/>
                  </a:lnTo>
                  <a:lnTo>
                    <a:pt x="367" y="176"/>
                  </a:lnTo>
                  <a:lnTo>
                    <a:pt x="351" y="176"/>
                  </a:lnTo>
                  <a:lnTo>
                    <a:pt x="351" y="176"/>
                  </a:lnTo>
                  <a:lnTo>
                    <a:pt x="351" y="171"/>
                  </a:lnTo>
                  <a:lnTo>
                    <a:pt x="351" y="164"/>
                  </a:lnTo>
                  <a:lnTo>
                    <a:pt x="353" y="152"/>
                  </a:lnTo>
                  <a:lnTo>
                    <a:pt x="353" y="152"/>
                  </a:lnTo>
                  <a:lnTo>
                    <a:pt x="357" y="132"/>
                  </a:lnTo>
                  <a:lnTo>
                    <a:pt x="355" y="129"/>
                  </a:lnTo>
                  <a:lnTo>
                    <a:pt x="355" y="129"/>
                  </a:lnTo>
                  <a:lnTo>
                    <a:pt x="351" y="129"/>
                  </a:lnTo>
                  <a:lnTo>
                    <a:pt x="350" y="131"/>
                  </a:lnTo>
                  <a:lnTo>
                    <a:pt x="350" y="131"/>
                  </a:lnTo>
                  <a:lnTo>
                    <a:pt x="346" y="132"/>
                  </a:lnTo>
                  <a:lnTo>
                    <a:pt x="343" y="132"/>
                  </a:lnTo>
                  <a:lnTo>
                    <a:pt x="339" y="126"/>
                  </a:lnTo>
                  <a:lnTo>
                    <a:pt x="336" y="115"/>
                  </a:lnTo>
                  <a:lnTo>
                    <a:pt x="332" y="112"/>
                  </a:lnTo>
                  <a:lnTo>
                    <a:pt x="329" y="108"/>
                  </a:lnTo>
                  <a:lnTo>
                    <a:pt x="329" y="108"/>
                  </a:lnTo>
                  <a:lnTo>
                    <a:pt x="324" y="106"/>
                  </a:lnTo>
                  <a:lnTo>
                    <a:pt x="322" y="103"/>
                  </a:lnTo>
                  <a:lnTo>
                    <a:pt x="317" y="96"/>
                  </a:lnTo>
                  <a:lnTo>
                    <a:pt x="315" y="94"/>
                  </a:lnTo>
                  <a:lnTo>
                    <a:pt x="313" y="92"/>
                  </a:lnTo>
                  <a:lnTo>
                    <a:pt x="310" y="92"/>
                  </a:lnTo>
                  <a:lnTo>
                    <a:pt x="306" y="94"/>
                  </a:lnTo>
                  <a:lnTo>
                    <a:pt x="306" y="94"/>
                  </a:lnTo>
                  <a:lnTo>
                    <a:pt x="297" y="99"/>
                  </a:lnTo>
                  <a:lnTo>
                    <a:pt x="290" y="101"/>
                  </a:lnTo>
                  <a:lnTo>
                    <a:pt x="283" y="101"/>
                  </a:lnTo>
                  <a:lnTo>
                    <a:pt x="277" y="99"/>
                  </a:lnTo>
                  <a:lnTo>
                    <a:pt x="259" y="98"/>
                  </a:lnTo>
                  <a:lnTo>
                    <a:pt x="249" y="98"/>
                  </a:lnTo>
                  <a:lnTo>
                    <a:pt x="236" y="99"/>
                  </a:lnTo>
                  <a:lnTo>
                    <a:pt x="236" y="99"/>
                  </a:lnTo>
                  <a:lnTo>
                    <a:pt x="223" y="103"/>
                  </a:lnTo>
                  <a:lnTo>
                    <a:pt x="212" y="105"/>
                  </a:lnTo>
                  <a:lnTo>
                    <a:pt x="209" y="103"/>
                  </a:lnTo>
                  <a:lnTo>
                    <a:pt x="207" y="101"/>
                  </a:lnTo>
                  <a:lnTo>
                    <a:pt x="200" y="92"/>
                  </a:lnTo>
                  <a:lnTo>
                    <a:pt x="200" y="92"/>
                  </a:lnTo>
                  <a:lnTo>
                    <a:pt x="181" y="68"/>
                  </a:lnTo>
                  <a:lnTo>
                    <a:pt x="181" y="68"/>
                  </a:lnTo>
                  <a:lnTo>
                    <a:pt x="179" y="65"/>
                  </a:lnTo>
                  <a:lnTo>
                    <a:pt x="179" y="63"/>
                  </a:lnTo>
                  <a:lnTo>
                    <a:pt x="179" y="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8" name="Freeform 2011">
              <a:extLst>
                <a:ext uri="{FF2B5EF4-FFF2-40B4-BE49-F238E27FC236}">
                  <a16:creationId xmlns:a16="http://schemas.microsoft.com/office/drawing/2014/main" id="{32707875-FBAA-474C-8C94-0C1D6D82F12D}"/>
                </a:ext>
              </a:extLst>
            </p:cNvPr>
            <p:cNvSpPr>
              <a:spLocks/>
            </p:cNvSpPr>
            <p:nvPr/>
          </p:nvSpPr>
          <p:spPr bwMode="auto">
            <a:xfrm>
              <a:off x="6670265" y="2975312"/>
              <a:ext cx="311874" cy="155058"/>
            </a:xfrm>
            <a:custGeom>
              <a:avLst/>
              <a:gdLst/>
              <a:ahLst/>
              <a:cxnLst>
                <a:cxn ang="0">
                  <a:pos x="66" y="48"/>
                </a:cxn>
                <a:cxn ang="0">
                  <a:pos x="52" y="62"/>
                </a:cxn>
                <a:cxn ang="0">
                  <a:pos x="36" y="81"/>
                </a:cxn>
                <a:cxn ang="0">
                  <a:pos x="64" y="99"/>
                </a:cxn>
                <a:cxn ang="0">
                  <a:pos x="76" y="92"/>
                </a:cxn>
                <a:cxn ang="0">
                  <a:pos x="92" y="94"/>
                </a:cxn>
                <a:cxn ang="0">
                  <a:pos x="123" y="109"/>
                </a:cxn>
                <a:cxn ang="0">
                  <a:pos x="130" y="120"/>
                </a:cxn>
                <a:cxn ang="0">
                  <a:pos x="111" y="135"/>
                </a:cxn>
                <a:cxn ang="0">
                  <a:pos x="99" y="137"/>
                </a:cxn>
                <a:cxn ang="0">
                  <a:pos x="88" y="149"/>
                </a:cxn>
                <a:cxn ang="0">
                  <a:pos x="71" y="141"/>
                </a:cxn>
                <a:cxn ang="0">
                  <a:pos x="57" y="146"/>
                </a:cxn>
                <a:cxn ang="0">
                  <a:pos x="48" y="155"/>
                </a:cxn>
                <a:cxn ang="0">
                  <a:pos x="41" y="149"/>
                </a:cxn>
                <a:cxn ang="0">
                  <a:pos x="20" y="146"/>
                </a:cxn>
                <a:cxn ang="0">
                  <a:pos x="8" y="153"/>
                </a:cxn>
                <a:cxn ang="0">
                  <a:pos x="1" y="158"/>
                </a:cxn>
                <a:cxn ang="0">
                  <a:pos x="0" y="167"/>
                </a:cxn>
                <a:cxn ang="0">
                  <a:pos x="13" y="175"/>
                </a:cxn>
                <a:cxn ang="0">
                  <a:pos x="50" y="179"/>
                </a:cxn>
                <a:cxn ang="0">
                  <a:pos x="66" y="177"/>
                </a:cxn>
                <a:cxn ang="0">
                  <a:pos x="83" y="181"/>
                </a:cxn>
                <a:cxn ang="0">
                  <a:pos x="94" y="188"/>
                </a:cxn>
                <a:cxn ang="0">
                  <a:pos x="102" y="189"/>
                </a:cxn>
                <a:cxn ang="0">
                  <a:pos x="113" y="186"/>
                </a:cxn>
                <a:cxn ang="0">
                  <a:pos x="128" y="184"/>
                </a:cxn>
                <a:cxn ang="0">
                  <a:pos x="155" y="181"/>
                </a:cxn>
                <a:cxn ang="0">
                  <a:pos x="165" y="170"/>
                </a:cxn>
                <a:cxn ang="0">
                  <a:pos x="168" y="153"/>
                </a:cxn>
                <a:cxn ang="0">
                  <a:pos x="191" y="142"/>
                </a:cxn>
                <a:cxn ang="0">
                  <a:pos x="200" y="130"/>
                </a:cxn>
                <a:cxn ang="0">
                  <a:pos x="214" y="130"/>
                </a:cxn>
                <a:cxn ang="0">
                  <a:pos x="226" y="132"/>
                </a:cxn>
                <a:cxn ang="0">
                  <a:pos x="233" y="141"/>
                </a:cxn>
                <a:cxn ang="0">
                  <a:pos x="247" y="137"/>
                </a:cxn>
                <a:cxn ang="0">
                  <a:pos x="254" y="132"/>
                </a:cxn>
                <a:cxn ang="0">
                  <a:pos x="268" y="108"/>
                </a:cxn>
                <a:cxn ang="0">
                  <a:pos x="301" y="106"/>
                </a:cxn>
                <a:cxn ang="0">
                  <a:pos x="320" y="92"/>
                </a:cxn>
                <a:cxn ang="0">
                  <a:pos x="336" y="76"/>
                </a:cxn>
                <a:cxn ang="0">
                  <a:pos x="369" y="62"/>
                </a:cxn>
                <a:cxn ang="0">
                  <a:pos x="383" y="55"/>
                </a:cxn>
                <a:cxn ang="0">
                  <a:pos x="376" y="40"/>
                </a:cxn>
                <a:cxn ang="0">
                  <a:pos x="355" y="31"/>
                </a:cxn>
                <a:cxn ang="0">
                  <a:pos x="346" y="19"/>
                </a:cxn>
                <a:cxn ang="0">
                  <a:pos x="275" y="12"/>
                </a:cxn>
                <a:cxn ang="0">
                  <a:pos x="229" y="15"/>
                </a:cxn>
                <a:cxn ang="0">
                  <a:pos x="214" y="17"/>
                </a:cxn>
                <a:cxn ang="0">
                  <a:pos x="177" y="0"/>
                </a:cxn>
                <a:cxn ang="0">
                  <a:pos x="156" y="5"/>
                </a:cxn>
                <a:cxn ang="0">
                  <a:pos x="149" y="36"/>
                </a:cxn>
                <a:cxn ang="0">
                  <a:pos x="130" y="31"/>
                </a:cxn>
                <a:cxn ang="0">
                  <a:pos x="83" y="17"/>
                </a:cxn>
                <a:cxn ang="0">
                  <a:pos x="69" y="24"/>
                </a:cxn>
                <a:cxn ang="0">
                  <a:pos x="61" y="45"/>
                </a:cxn>
              </a:cxnLst>
              <a:rect l="0" t="0" r="r" b="b"/>
              <a:pathLst>
                <a:path w="388" h="191">
                  <a:moveTo>
                    <a:pt x="61" y="45"/>
                  </a:moveTo>
                  <a:lnTo>
                    <a:pt x="61" y="45"/>
                  </a:lnTo>
                  <a:lnTo>
                    <a:pt x="64" y="47"/>
                  </a:lnTo>
                  <a:lnTo>
                    <a:pt x="66" y="48"/>
                  </a:lnTo>
                  <a:lnTo>
                    <a:pt x="66" y="50"/>
                  </a:lnTo>
                  <a:lnTo>
                    <a:pt x="66" y="54"/>
                  </a:lnTo>
                  <a:lnTo>
                    <a:pt x="61" y="57"/>
                  </a:lnTo>
                  <a:lnTo>
                    <a:pt x="52" y="62"/>
                  </a:lnTo>
                  <a:lnTo>
                    <a:pt x="38" y="73"/>
                  </a:lnTo>
                  <a:lnTo>
                    <a:pt x="34" y="78"/>
                  </a:lnTo>
                  <a:lnTo>
                    <a:pt x="34" y="80"/>
                  </a:lnTo>
                  <a:lnTo>
                    <a:pt x="36" y="81"/>
                  </a:lnTo>
                  <a:lnTo>
                    <a:pt x="36" y="81"/>
                  </a:lnTo>
                  <a:lnTo>
                    <a:pt x="47" y="90"/>
                  </a:lnTo>
                  <a:lnTo>
                    <a:pt x="59" y="97"/>
                  </a:lnTo>
                  <a:lnTo>
                    <a:pt x="64" y="99"/>
                  </a:lnTo>
                  <a:lnTo>
                    <a:pt x="67" y="99"/>
                  </a:lnTo>
                  <a:lnTo>
                    <a:pt x="73" y="97"/>
                  </a:lnTo>
                  <a:lnTo>
                    <a:pt x="76" y="92"/>
                  </a:lnTo>
                  <a:lnTo>
                    <a:pt x="76" y="92"/>
                  </a:lnTo>
                  <a:lnTo>
                    <a:pt x="83" y="83"/>
                  </a:lnTo>
                  <a:lnTo>
                    <a:pt x="85" y="83"/>
                  </a:lnTo>
                  <a:lnTo>
                    <a:pt x="87" y="87"/>
                  </a:lnTo>
                  <a:lnTo>
                    <a:pt x="92" y="94"/>
                  </a:lnTo>
                  <a:lnTo>
                    <a:pt x="97" y="99"/>
                  </a:lnTo>
                  <a:lnTo>
                    <a:pt x="106" y="104"/>
                  </a:lnTo>
                  <a:lnTo>
                    <a:pt x="106" y="104"/>
                  </a:lnTo>
                  <a:lnTo>
                    <a:pt x="123" y="109"/>
                  </a:lnTo>
                  <a:lnTo>
                    <a:pt x="134" y="111"/>
                  </a:lnTo>
                  <a:lnTo>
                    <a:pt x="137" y="113"/>
                  </a:lnTo>
                  <a:lnTo>
                    <a:pt x="137" y="114"/>
                  </a:lnTo>
                  <a:lnTo>
                    <a:pt x="130" y="120"/>
                  </a:lnTo>
                  <a:lnTo>
                    <a:pt x="130" y="120"/>
                  </a:lnTo>
                  <a:lnTo>
                    <a:pt x="120" y="127"/>
                  </a:lnTo>
                  <a:lnTo>
                    <a:pt x="114" y="134"/>
                  </a:lnTo>
                  <a:lnTo>
                    <a:pt x="111" y="135"/>
                  </a:lnTo>
                  <a:lnTo>
                    <a:pt x="104" y="135"/>
                  </a:lnTo>
                  <a:lnTo>
                    <a:pt x="104" y="135"/>
                  </a:lnTo>
                  <a:lnTo>
                    <a:pt x="101" y="135"/>
                  </a:lnTo>
                  <a:lnTo>
                    <a:pt x="99" y="137"/>
                  </a:lnTo>
                  <a:lnTo>
                    <a:pt x="94" y="142"/>
                  </a:lnTo>
                  <a:lnTo>
                    <a:pt x="92" y="146"/>
                  </a:lnTo>
                  <a:lnTo>
                    <a:pt x="90" y="148"/>
                  </a:lnTo>
                  <a:lnTo>
                    <a:pt x="88" y="149"/>
                  </a:lnTo>
                  <a:lnTo>
                    <a:pt x="83" y="146"/>
                  </a:lnTo>
                  <a:lnTo>
                    <a:pt x="83" y="146"/>
                  </a:lnTo>
                  <a:lnTo>
                    <a:pt x="76" y="142"/>
                  </a:lnTo>
                  <a:lnTo>
                    <a:pt x="71" y="141"/>
                  </a:lnTo>
                  <a:lnTo>
                    <a:pt x="66" y="141"/>
                  </a:lnTo>
                  <a:lnTo>
                    <a:pt x="61" y="142"/>
                  </a:lnTo>
                  <a:lnTo>
                    <a:pt x="61" y="142"/>
                  </a:lnTo>
                  <a:lnTo>
                    <a:pt x="57" y="146"/>
                  </a:lnTo>
                  <a:lnTo>
                    <a:pt x="55" y="148"/>
                  </a:lnTo>
                  <a:lnTo>
                    <a:pt x="52" y="149"/>
                  </a:lnTo>
                  <a:lnTo>
                    <a:pt x="48" y="155"/>
                  </a:lnTo>
                  <a:lnTo>
                    <a:pt x="48" y="155"/>
                  </a:lnTo>
                  <a:lnTo>
                    <a:pt x="45" y="158"/>
                  </a:lnTo>
                  <a:lnTo>
                    <a:pt x="45" y="156"/>
                  </a:lnTo>
                  <a:lnTo>
                    <a:pt x="43" y="153"/>
                  </a:lnTo>
                  <a:lnTo>
                    <a:pt x="41" y="149"/>
                  </a:lnTo>
                  <a:lnTo>
                    <a:pt x="38" y="149"/>
                  </a:lnTo>
                  <a:lnTo>
                    <a:pt x="38" y="149"/>
                  </a:lnTo>
                  <a:lnTo>
                    <a:pt x="29" y="146"/>
                  </a:lnTo>
                  <a:lnTo>
                    <a:pt x="20" y="146"/>
                  </a:lnTo>
                  <a:lnTo>
                    <a:pt x="13" y="148"/>
                  </a:lnTo>
                  <a:lnTo>
                    <a:pt x="10" y="149"/>
                  </a:lnTo>
                  <a:lnTo>
                    <a:pt x="8" y="153"/>
                  </a:lnTo>
                  <a:lnTo>
                    <a:pt x="8" y="153"/>
                  </a:lnTo>
                  <a:lnTo>
                    <a:pt x="8" y="156"/>
                  </a:lnTo>
                  <a:lnTo>
                    <a:pt x="7" y="158"/>
                  </a:lnTo>
                  <a:lnTo>
                    <a:pt x="3" y="158"/>
                  </a:lnTo>
                  <a:lnTo>
                    <a:pt x="1" y="158"/>
                  </a:lnTo>
                  <a:lnTo>
                    <a:pt x="0" y="158"/>
                  </a:lnTo>
                  <a:lnTo>
                    <a:pt x="0" y="161"/>
                  </a:lnTo>
                  <a:lnTo>
                    <a:pt x="0" y="167"/>
                  </a:lnTo>
                  <a:lnTo>
                    <a:pt x="0" y="167"/>
                  </a:lnTo>
                  <a:lnTo>
                    <a:pt x="0" y="168"/>
                  </a:lnTo>
                  <a:lnTo>
                    <a:pt x="1" y="172"/>
                  </a:lnTo>
                  <a:lnTo>
                    <a:pt x="7" y="174"/>
                  </a:lnTo>
                  <a:lnTo>
                    <a:pt x="13" y="175"/>
                  </a:lnTo>
                  <a:lnTo>
                    <a:pt x="22" y="175"/>
                  </a:lnTo>
                  <a:lnTo>
                    <a:pt x="40" y="175"/>
                  </a:lnTo>
                  <a:lnTo>
                    <a:pt x="47" y="175"/>
                  </a:lnTo>
                  <a:lnTo>
                    <a:pt x="50" y="179"/>
                  </a:lnTo>
                  <a:lnTo>
                    <a:pt x="50" y="179"/>
                  </a:lnTo>
                  <a:lnTo>
                    <a:pt x="54" y="181"/>
                  </a:lnTo>
                  <a:lnTo>
                    <a:pt x="57" y="181"/>
                  </a:lnTo>
                  <a:lnTo>
                    <a:pt x="66" y="177"/>
                  </a:lnTo>
                  <a:lnTo>
                    <a:pt x="71" y="175"/>
                  </a:lnTo>
                  <a:lnTo>
                    <a:pt x="76" y="175"/>
                  </a:lnTo>
                  <a:lnTo>
                    <a:pt x="80" y="177"/>
                  </a:lnTo>
                  <a:lnTo>
                    <a:pt x="83" y="181"/>
                  </a:lnTo>
                  <a:lnTo>
                    <a:pt x="83" y="181"/>
                  </a:lnTo>
                  <a:lnTo>
                    <a:pt x="87" y="184"/>
                  </a:lnTo>
                  <a:lnTo>
                    <a:pt x="88" y="186"/>
                  </a:lnTo>
                  <a:lnTo>
                    <a:pt x="94" y="188"/>
                  </a:lnTo>
                  <a:lnTo>
                    <a:pt x="99" y="188"/>
                  </a:lnTo>
                  <a:lnTo>
                    <a:pt x="101" y="188"/>
                  </a:lnTo>
                  <a:lnTo>
                    <a:pt x="102" y="189"/>
                  </a:lnTo>
                  <a:lnTo>
                    <a:pt x="102" y="189"/>
                  </a:lnTo>
                  <a:lnTo>
                    <a:pt x="104" y="191"/>
                  </a:lnTo>
                  <a:lnTo>
                    <a:pt x="106" y="191"/>
                  </a:lnTo>
                  <a:lnTo>
                    <a:pt x="109" y="188"/>
                  </a:lnTo>
                  <a:lnTo>
                    <a:pt x="113" y="186"/>
                  </a:lnTo>
                  <a:lnTo>
                    <a:pt x="116" y="184"/>
                  </a:lnTo>
                  <a:lnTo>
                    <a:pt x="121" y="182"/>
                  </a:lnTo>
                  <a:lnTo>
                    <a:pt x="128" y="184"/>
                  </a:lnTo>
                  <a:lnTo>
                    <a:pt x="128" y="184"/>
                  </a:lnTo>
                  <a:lnTo>
                    <a:pt x="139" y="186"/>
                  </a:lnTo>
                  <a:lnTo>
                    <a:pt x="144" y="184"/>
                  </a:lnTo>
                  <a:lnTo>
                    <a:pt x="148" y="181"/>
                  </a:lnTo>
                  <a:lnTo>
                    <a:pt x="155" y="181"/>
                  </a:lnTo>
                  <a:lnTo>
                    <a:pt x="155" y="181"/>
                  </a:lnTo>
                  <a:lnTo>
                    <a:pt x="161" y="177"/>
                  </a:lnTo>
                  <a:lnTo>
                    <a:pt x="165" y="174"/>
                  </a:lnTo>
                  <a:lnTo>
                    <a:pt x="165" y="170"/>
                  </a:lnTo>
                  <a:lnTo>
                    <a:pt x="163" y="167"/>
                  </a:lnTo>
                  <a:lnTo>
                    <a:pt x="163" y="161"/>
                  </a:lnTo>
                  <a:lnTo>
                    <a:pt x="163" y="158"/>
                  </a:lnTo>
                  <a:lnTo>
                    <a:pt x="168" y="153"/>
                  </a:lnTo>
                  <a:lnTo>
                    <a:pt x="179" y="149"/>
                  </a:lnTo>
                  <a:lnTo>
                    <a:pt x="179" y="149"/>
                  </a:lnTo>
                  <a:lnTo>
                    <a:pt x="186" y="146"/>
                  </a:lnTo>
                  <a:lnTo>
                    <a:pt x="191" y="142"/>
                  </a:lnTo>
                  <a:lnTo>
                    <a:pt x="195" y="139"/>
                  </a:lnTo>
                  <a:lnTo>
                    <a:pt x="196" y="135"/>
                  </a:lnTo>
                  <a:lnTo>
                    <a:pt x="198" y="132"/>
                  </a:lnTo>
                  <a:lnTo>
                    <a:pt x="200" y="130"/>
                  </a:lnTo>
                  <a:lnTo>
                    <a:pt x="205" y="132"/>
                  </a:lnTo>
                  <a:lnTo>
                    <a:pt x="205" y="132"/>
                  </a:lnTo>
                  <a:lnTo>
                    <a:pt x="210" y="132"/>
                  </a:lnTo>
                  <a:lnTo>
                    <a:pt x="214" y="130"/>
                  </a:lnTo>
                  <a:lnTo>
                    <a:pt x="219" y="127"/>
                  </a:lnTo>
                  <a:lnTo>
                    <a:pt x="221" y="125"/>
                  </a:lnTo>
                  <a:lnTo>
                    <a:pt x="222" y="125"/>
                  </a:lnTo>
                  <a:lnTo>
                    <a:pt x="226" y="132"/>
                  </a:lnTo>
                  <a:lnTo>
                    <a:pt x="226" y="132"/>
                  </a:lnTo>
                  <a:lnTo>
                    <a:pt x="228" y="137"/>
                  </a:lnTo>
                  <a:lnTo>
                    <a:pt x="229" y="141"/>
                  </a:lnTo>
                  <a:lnTo>
                    <a:pt x="233" y="141"/>
                  </a:lnTo>
                  <a:lnTo>
                    <a:pt x="235" y="139"/>
                  </a:lnTo>
                  <a:lnTo>
                    <a:pt x="242" y="137"/>
                  </a:lnTo>
                  <a:lnTo>
                    <a:pt x="243" y="135"/>
                  </a:lnTo>
                  <a:lnTo>
                    <a:pt x="247" y="137"/>
                  </a:lnTo>
                  <a:lnTo>
                    <a:pt x="247" y="137"/>
                  </a:lnTo>
                  <a:lnTo>
                    <a:pt x="249" y="137"/>
                  </a:lnTo>
                  <a:lnTo>
                    <a:pt x="252" y="137"/>
                  </a:lnTo>
                  <a:lnTo>
                    <a:pt x="254" y="132"/>
                  </a:lnTo>
                  <a:lnTo>
                    <a:pt x="262" y="113"/>
                  </a:lnTo>
                  <a:lnTo>
                    <a:pt x="262" y="113"/>
                  </a:lnTo>
                  <a:lnTo>
                    <a:pt x="264" y="109"/>
                  </a:lnTo>
                  <a:lnTo>
                    <a:pt x="268" y="108"/>
                  </a:lnTo>
                  <a:lnTo>
                    <a:pt x="275" y="104"/>
                  </a:lnTo>
                  <a:lnTo>
                    <a:pt x="283" y="104"/>
                  </a:lnTo>
                  <a:lnTo>
                    <a:pt x="292" y="106"/>
                  </a:lnTo>
                  <a:lnTo>
                    <a:pt x="301" y="106"/>
                  </a:lnTo>
                  <a:lnTo>
                    <a:pt x="308" y="104"/>
                  </a:lnTo>
                  <a:lnTo>
                    <a:pt x="315" y="101"/>
                  </a:lnTo>
                  <a:lnTo>
                    <a:pt x="318" y="97"/>
                  </a:lnTo>
                  <a:lnTo>
                    <a:pt x="320" y="92"/>
                  </a:lnTo>
                  <a:lnTo>
                    <a:pt x="320" y="92"/>
                  </a:lnTo>
                  <a:lnTo>
                    <a:pt x="323" y="87"/>
                  </a:lnTo>
                  <a:lnTo>
                    <a:pt x="329" y="81"/>
                  </a:lnTo>
                  <a:lnTo>
                    <a:pt x="336" y="76"/>
                  </a:lnTo>
                  <a:lnTo>
                    <a:pt x="343" y="74"/>
                  </a:lnTo>
                  <a:lnTo>
                    <a:pt x="358" y="67"/>
                  </a:lnTo>
                  <a:lnTo>
                    <a:pt x="365" y="66"/>
                  </a:lnTo>
                  <a:lnTo>
                    <a:pt x="369" y="62"/>
                  </a:lnTo>
                  <a:lnTo>
                    <a:pt x="369" y="62"/>
                  </a:lnTo>
                  <a:lnTo>
                    <a:pt x="376" y="59"/>
                  </a:lnTo>
                  <a:lnTo>
                    <a:pt x="379" y="57"/>
                  </a:lnTo>
                  <a:lnTo>
                    <a:pt x="383" y="55"/>
                  </a:lnTo>
                  <a:lnTo>
                    <a:pt x="388" y="50"/>
                  </a:lnTo>
                  <a:lnTo>
                    <a:pt x="388" y="50"/>
                  </a:lnTo>
                  <a:lnTo>
                    <a:pt x="383" y="43"/>
                  </a:lnTo>
                  <a:lnTo>
                    <a:pt x="376" y="40"/>
                  </a:lnTo>
                  <a:lnTo>
                    <a:pt x="370" y="36"/>
                  </a:lnTo>
                  <a:lnTo>
                    <a:pt x="365" y="36"/>
                  </a:lnTo>
                  <a:lnTo>
                    <a:pt x="357" y="34"/>
                  </a:lnTo>
                  <a:lnTo>
                    <a:pt x="355" y="31"/>
                  </a:lnTo>
                  <a:lnTo>
                    <a:pt x="353" y="27"/>
                  </a:lnTo>
                  <a:lnTo>
                    <a:pt x="353" y="27"/>
                  </a:lnTo>
                  <a:lnTo>
                    <a:pt x="350" y="22"/>
                  </a:lnTo>
                  <a:lnTo>
                    <a:pt x="346" y="19"/>
                  </a:lnTo>
                  <a:lnTo>
                    <a:pt x="339" y="17"/>
                  </a:lnTo>
                  <a:lnTo>
                    <a:pt x="330" y="15"/>
                  </a:lnTo>
                  <a:lnTo>
                    <a:pt x="308" y="13"/>
                  </a:lnTo>
                  <a:lnTo>
                    <a:pt x="275" y="12"/>
                  </a:lnTo>
                  <a:lnTo>
                    <a:pt x="275" y="12"/>
                  </a:lnTo>
                  <a:lnTo>
                    <a:pt x="259" y="12"/>
                  </a:lnTo>
                  <a:lnTo>
                    <a:pt x="245" y="12"/>
                  </a:lnTo>
                  <a:lnTo>
                    <a:pt x="229" y="15"/>
                  </a:lnTo>
                  <a:lnTo>
                    <a:pt x="221" y="17"/>
                  </a:lnTo>
                  <a:lnTo>
                    <a:pt x="217" y="17"/>
                  </a:lnTo>
                  <a:lnTo>
                    <a:pt x="214" y="17"/>
                  </a:lnTo>
                  <a:lnTo>
                    <a:pt x="214" y="17"/>
                  </a:lnTo>
                  <a:lnTo>
                    <a:pt x="203" y="12"/>
                  </a:lnTo>
                  <a:lnTo>
                    <a:pt x="191" y="5"/>
                  </a:lnTo>
                  <a:lnTo>
                    <a:pt x="184" y="1"/>
                  </a:lnTo>
                  <a:lnTo>
                    <a:pt x="177" y="0"/>
                  </a:lnTo>
                  <a:lnTo>
                    <a:pt x="172" y="0"/>
                  </a:lnTo>
                  <a:lnTo>
                    <a:pt x="163" y="1"/>
                  </a:lnTo>
                  <a:lnTo>
                    <a:pt x="163" y="1"/>
                  </a:lnTo>
                  <a:lnTo>
                    <a:pt x="156" y="5"/>
                  </a:lnTo>
                  <a:lnTo>
                    <a:pt x="151" y="12"/>
                  </a:lnTo>
                  <a:lnTo>
                    <a:pt x="149" y="19"/>
                  </a:lnTo>
                  <a:lnTo>
                    <a:pt x="149" y="26"/>
                  </a:lnTo>
                  <a:lnTo>
                    <a:pt x="149" y="36"/>
                  </a:lnTo>
                  <a:lnTo>
                    <a:pt x="148" y="38"/>
                  </a:lnTo>
                  <a:lnTo>
                    <a:pt x="144" y="38"/>
                  </a:lnTo>
                  <a:lnTo>
                    <a:pt x="144" y="38"/>
                  </a:lnTo>
                  <a:lnTo>
                    <a:pt x="130" y="31"/>
                  </a:lnTo>
                  <a:lnTo>
                    <a:pt x="114" y="22"/>
                  </a:lnTo>
                  <a:lnTo>
                    <a:pt x="99" y="17"/>
                  </a:lnTo>
                  <a:lnTo>
                    <a:pt x="90" y="17"/>
                  </a:lnTo>
                  <a:lnTo>
                    <a:pt x="83" y="17"/>
                  </a:lnTo>
                  <a:lnTo>
                    <a:pt x="83" y="17"/>
                  </a:lnTo>
                  <a:lnTo>
                    <a:pt x="76" y="19"/>
                  </a:lnTo>
                  <a:lnTo>
                    <a:pt x="73" y="20"/>
                  </a:lnTo>
                  <a:lnTo>
                    <a:pt x="69" y="24"/>
                  </a:lnTo>
                  <a:lnTo>
                    <a:pt x="66" y="29"/>
                  </a:lnTo>
                  <a:lnTo>
                    <a:pt x="62" y="38"/>
                  </a:lnTo>
                  <a:lnTo>
                    <a:pt x="61" y="45"/>
                  </a:lnTo>
                  <a:lnTo>
                    <a:pt x="61"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9" name="Freeform 2012">
              <a:extLst>
                <a:ext uri="{FF2B5EF4-FFF2-40B4-BE49-F238E27FC236}">
                  <a16:creationId xmlns:a16="http://schemas.microsoft.com/office/drawing/2014/main" id="{F20C4F8A-AB79-42C3-B47A-88FC05E771D0}"/>
                </a:ext>
              </a:extLst>
            </p:cNvPr>
            <p:cNvSpPr>
              <a:spLocks/>
            </p:cNvSpPr>
            <p:nvPr/>
          </p:nvSpPr>
          <p:spPr bwMode="auto">
            <a:xfrm>
              <a:off x="6615645" y="3061653"/>
              <a:ext cx="220251" cy="163867"/>
            </a:xfrm>
            <a:custGeom>
              <a:avLst/>
              <a:gdLst/>
              <a:ahLst/>
              <a:cxnLst>
                <a:cxn ang="0">
                  <a:pos x="115" y="38"/>
                </a:cxn>
                <a:cxn ang="0">
                  <a:pos x="106" y="31"/>
                </a:cxn>
                <a:cxn ang="0">
                  <a:pos x="122" y="14"/>
                </a:cxn>
                <a:cxn ang="0">
                  <a:pos x="113" y="2"/>
                </a:cxn>
                <a:cxn ang="0">
                  <a:pos x="102" y="9"/>
                </a:cxn>
                <a:cxn ang="0">
                  <a:pos x="81" y="16"/>
                </a:cxn>
                <a:cxn ang="0">
                  <a:pos x="73" y="12"/>
                </a:cxn>
                <a:cxn ang="0">
                  <a:pos x="68" y="33"/>
                </a:cxn>
                <a:cxn ang="0">
                  <a:pos x="50" y="40"/>
                </a:cxn>
                <a:cxn ang="0">
                  <a:pos x="50" y="57"/>
                </a:cxn>
                <a:cxn ang="0">
                  <a:pos x="22" y="70"/>
                </a:cxn>
                <a:cxn ang="0">
                  <a:pos x="0" y="84"/>
                </a:cxn>
                <a:cxn ang="0">
                  <a:pos x="12" y="91"/>
                </a:cxn>
                <a:cxn ang="0">
                  <a:pos x="19" y="99"/>
                </a:cxn>
                <a:cxn ang="0">
                  <a:pos x="29" y="104"/>
                </a:cxn>
                <a:cxn ang="0">
                  <a:pos x="31" y="127"/>
                </a:cxn>
                <a:cxn ang="0">
                  <a:pos x="31" y="148"/>
                </a:cxn>
                <a:cxn ang="0">
                  <a:pos x="17" y="181"/>
                </a:cxn>
                <a:cxn ang="0">
                  <a:pos x="26" y="197"/>
                </a:cxn>
                <a:cxn ang="0">
                  <a:pos x="40" y="183"/>
                </a:cxn>
                <a:cxn ang="0">
                  <a:pos x="64" y="183"/>
                </a:cxn>
                <a:cxn ang="0">
                  <a:pos x="73" y="186"/>
                </a:cxn>
                <a:cxn ang="0">
                  <a:pos x="78" y="165"/>
                </a:cxn>
                <a:cxn ang="0">
                  <a:pos x="95" y="167"/>
                </a:cxn>
                <a:cxn ang="0">
                  <a:pos x="104" y="162"/>
                </a:cxn>
                <a:cxn ang="0">
                  <a:pos x="104" y="145"/>
                </a:cxn>
                <a:cxn ang="0">
                  <a:pos x="120" y="127"/>
                </a:cxn>
                <a:cxn ang="0">
                  <a:pos x="141" y="131"/>
                </a:cxn>
                <a:cxn ang="0">
                  <a:pos x="137" y="148"/>
                </a:cxn>
                <a:cxn ang="0">
                  <a:pos x="146" y="148"/>
                </a:cxn>
                <a:cxn ang="0">
                  <a:pos x="146" y="195"/>
                </a:cxn>
                <a:cxn ang="0">
                  <a:pos x="163" y="204"/>
                </a:cxn>
                <a:cxn ang="0">
                  <a:pos x="189" y="190"/>
                </a:cxn>
                <a:cxn ang="0">
                  <a:pos x="200" y="176"/>
                </a:cxn>
                <a:cxn ang="0">
                  <a:pos x="224" y="172"/>
                </a:cxn>
                <a:cxn ang="0">
                  <a:pos x="223" y="183"/>
                </a:cxn>
                <a:cxn ang="0">
                  <a:pos x="242" y="174"/>
                </a:cxn>
                <a:cxn ang="0">
                  <a:pos x="261" y="178"/>
                </a:cxn>
                <a:cxn ang="0">
                  <a:pos x="273" y="176"/>
                </a:cxn>
                <a:cxn ang="0">
                  <a:pos x="266" y="162"/>
                </a:cxn>
                <a:cxn ang="0">
                  <a:pos x="264" y="141"/>
                </a:cxn>
                <a:cxn ang="0">
                  <a:pos x="263" y="124"/>
                </a:cxn>
                <a:cxn ang="0">
                  <a:pos x="242" y="113"/>
                </a:cxn>
                <a:cxn ang="0">
                  <a:pos x="233" y="120"/>
                </a:cxn>
                <a:cxn ang="0">
                  <a:pos x="228" y="103"/>
                </a:cxn>
                <a:cxn ang="0">
                  <a:pos x="223" y="87"/>
                </a:cxn>
                <a:cxn ang="0">
                  <a:pos x="212" y="80"/>
                </a:cxn>
                <a:cxn ang="0">
                  <a:pos x="184" y="80"/>
                </a:cxn>
                <a:cxn ang="0">
                  <a:pos x="170" y="85"/>
                </a:cxn>
                <a:cxn ang="0">
                  <a:pos x="156" y="82"/>
                </a:cxn>
                <a:cxn ang="0">
                  <a:pos x="144" y="71"/>
                </a:cxn>
                <a:cxn ang="0">
                  <a:pos x="118" y="75"/>
                </a:cxn>
                <a:cxn ang="0">
                  <a:pos x="81" y="71"/>
                </a:cxn>
                <a:cxn ang="0">
                  <a:pos x="68" y="63"/>
                </a:cxn>
                <a:cxn ang="0">
                  <a:pos x="75" y="54"/>
                </a:cxn>
                <a:cxn ang="0">
                  <a:pos x="81" y="44"/>
                </a:cxn>
                <a:cxn ang="0">
                  <a:pos x="109" y="45"/>
                </a:cxn>
                <a:cxn ang="0">
                  <a:pos x="116" y="51"/>
                </a:cxn>
                <a:cxn ang="0">
                  <a:pos x="129" y="38"/>
                </a:cxn>
              </a:cxnLst>
              <a:rect l="0" t="0" r="r" b="b"/>
              <a:pathLst>
                <a:path w="273" h="207">
                  <a:moveTo>
                    <a:pt x="129" y="38"/>
                  </a:moveTo>
                  <a:lnTo>
                    <a:pt x="129" y="38"/>
                  </a:lnTo>
                  <a:lnTo>
                    <a:pt x="118" y="40"/>
                  </a:lnTo>
                  <a:lnTo>
                    <a:pt x="116" y="40"/>
                  </a:lnTo>
                  <a:lnTo>
                    <a:pt x="115" y="38"/>
                  </a:lnTo>
                  <a:lnTo>
                    <a:pt x="113" y="35"/>
                  </a:lnTo>
                  <a:lnTo>
                    <a:pt x="113" y="33"/>
                  </a:lnTo>
                  <a:lnTo>
                    <a:pt x="109" y="33"/>
                  </a:lnTo>
                  <a:lnTo>
                    <a:pt x="109" y="33"/>
                  </a:lnTo>
                  <a:lnTo>
                    <a:pt x="106" y="31"/>
                  </a:lnTo>
                  <a:lnTo>
                    <a:pt x="106" y="28"/>
                  </a:lnTo>
                  <a:lnTo>
                    <a:pt x="115" y="21"/>
                  </a:lnTo>
                  <a:lnTo>
                    <a:pt x="115" y="21"/>
                  </a:lnTo>
                  <a:lnTo>
                    <a:pt x="122" y="16"/>
                  </a:lnTo>
                  <a:lnTo>
                    <a:pt x="122" y="14"/>
                  </a:lnTo>
                  <a:lnTo>
                    <a:pt x="118" y="14"/>
                  </a:lnTo>
                  <a:lnTo>
                    <a:pt x="118" y="14"/>
                  </a:lnTo>
                  <a:lnTo>
                    <a:pt x="116" y="10"/>
                  </a:lnTo>
                  <a:lnTo>
                    <a:pt x="115" y="5"/>
                  </a:lnTo>
                  <a:lnTo>
                    <a:pt x="113" y="2"/>
                  </a:lnTo>
                  <a:lnTo>
                    <a:pt x="109" y="0"/>
                  </a:lnTo>
                  <a:lnTo>
                    <a:pt x="109" y="0"/>
                  </a:lnTo>
                  <a:lnTo>
                    <a:pt x="108" y="0"/>
                  </a:lnTo>
                  <a:lnTo>
                    <a:pt x="106" y="4"/>
                  </a:lnTo>
                  <a:lnTo>
                    <a:pt x="102" y="9"/>
                  </a:lnTo>
                  <a:lnTo>
                    <a:pt x="94" y="14"/>
                  </a:lnTo>
                  <a:lnTo>
                    <a:pt x="94" y="14"/>
                  </a:lnTo>
                  <a:lnTo>
                    <a:pt x="88" y="16"/>
                  </a:lnTo>
                  <a:lnTo>
                    <a:pt x="83" y="16"/>
                  </a:lnTo>
                  <a:lnTo>
                    <a:pt x="81" y="16"/>
                  </a:lnTo>
                  <a:lnTo>
                    <a:pt x="78" y="14"/>
                  </a:lnTo>
                  <a:lnTo>
                    <a:pt x="76" y="12"/>
                  </a:lnTo>
                  <a:lnTo>
                    <a:pt x="75" y="10"/>
                  </a:lnTo>
                  <a:lnTo>
                    <a:pt x="73" y="12"/>
                  </a:lnTo>
                  <a:lnTo>
                    <a:pt x="73" y="12"/>
                  </a:lnTo>
                  <a:lnTo>
                    <a:pt x="71" y="14"/>
                  </a:lnTo>
                  <a:lnTo>
                    <a:pt x="71" y="17"/>
                  </a:lnTo>
                  <a:lnTo>
                    <a:pt x="71" y="26"/>
                  </a:lnTo>
                  <a:lnTo>
                    <a:pt x="69" y="30"/>
                  </a:lnTo>
                  <a:lnTo>
                    <a:pt x="68" y="33"/>
                  </a:lnTo>
                  <a:lnTo>
                    <a:pt x="64" y="37"/>
                  </a:lnTo>
                  <a:lnTo>
                    <a:pt x="59" y="38"/>
                  </a:lnTo>
                  <a:lnTo>
                    <a:pt x="59" y="38"/>
                  </a:lnTo>
                  <a:lnTo>
                    <a:pt x="50" y="40"/>
                  </a:lnTo>
                  <a:lnTo>
                    <a:pt x="50" y="40"/>
                  </a:lnTo>
                  <a:lnTo>
                    <a:pt x="50" y="42"/>
                  </a:lnTo>
                  <a:lnTo>
                    <a:pt x="52" y="49"/>
                  </a:lnTo>
                  <a:lnTo>
                    <a:pt x="52" y="52"/>
                  </a:lnTo>
                  <a:lnTo>
                    <a:pt x="50" y="57"/>
                  </a:lnTo>
                  <a:lnTo>
                    <a:pt x="50" y="57"/>
                  </a:lnTo>
                  <a:lnTo>
                    <a:pt x="43" y="66"/>
                  </a:lnTo>
                  <a:lnTo>
                    <a:pt x="38" y="71"/>
                  </a:lnTo>
                  <a:lnTo>
                    <a:pt x="33" y="71"/>
                  </a:lnTo>
                  <a:lnTo>
                    <a:pt x="22" y="70"/>
                  </a:lnTo>
                  <a:lnTo>
                    <a:pt x="22" y="70"/>
                  </a:lnTo>
                  <a:lnTo>
                    <a:pt x="17" y="68"/>
                  </a:lnTo>
                  <a:lnTo>
                    <a:pt x="12" y="70"/>
                  </a:lnTo>
                  <a:lnTo>
                    <a:pt x="8" y="73"/>
                  </a:lnTo>
                  <a:lnTo>
                    <a:pt x="5" y="77"/>
                  </a:lnTo>
                  <a:lnTo>
                    <a:pt x="0" y="84"/>
                  </a:lnTo>
                  <a:lnTo>
                    <a:pt x="1" y="87"/>
                  </a:lnTo>
                  <a:lnTo>
                    <a:pt x="3" y="89"/>
                  </a:lnTo>
                  <a:lnTo>
                    <a:pt x="3" y="89"/>
                  </a:lnTo>
                  <a:lnTo>
                    <a:pt x="10" y="89"/>
                  </a:lnTo>
                  <a:lnTo>
                    <a:pt x="12" y="91"/>
                  </a:lnTo>
                  <a:lnTo>
                    <a:pt x="14" y="94"/>
                  </a:lnTo>
                  <a:lnTo>
                    <a:pt x="14" y="94"/>
                  </a:lnTo>
                  <a:lnTo>
                    <a:pt x="14" y="98"/>
                  </a:lnTo>
                  <a:lnTo>
                    <a:pt x="15" y="99"/>
                  </a:lnTo>
                  <a:lnTo>
                    <a:pt x="19" y="99"/>
                  </a:lnTo>
                  <a:lnTo>
                    <a:pt x="24" y="99"/>
                  </a:lnTo>
                  <a:lnTo>
                    <a:pt x="28" y="99"/>
                  </a:lnTo>
                  <a:lnTo>
                    <a:pt x="28" y="99"/>
                  </a:lnTo>
                  <a:lnTo>
                    <a:pt x="29" y="101"/>
                  </a:lnTo>
                  <a:lnTo>
                    <a:pt x="29" y="104"/>
                  </a:lnTo>
                  <a:lnTo>
                    <a:pt x="28" y="111"/>
                  </a:lnTo>
                  <a:lnTo>
                    <a:pt x="26" y="118"/>
                  </a:lnTo>
                  <a:lnTo>
                    <a:pt x="28" y="124"/>
                  </a:lnTo>
                  <a:lnTo>
                    <a:pt x="31" y="127"/>
                  </a:lnTo>
                  <a:lnTo>
                    <a:pt x="31" y="127"/>
                  </a:lnTo>
                  <a:lnTo>
                    <a:pt x="34" y="131"/>
                  </a:lnTo>
                  <a:lnTo>
                    <a:pt x="36" y="134"/>
                  </a:lnTo>
                  <a:lnTo>
                    <a:pt x="36" y="138"/>
                  </a:lnTo>
                  <a:lnTo>
                    <a:pt x="36" y="141"/>
                  </a:lnTo>
                  <a:lnTo>
                    <a:pt x="31" y="148"/>
                  </a:lnTo>
                  <a:lnTo>
                    <a:pt x="24" y="160"/>
                  </a:lnTo>
                  <a:lnTo>
                    <a:pt x="24" y="160"/>
                  </a:lnTo>
                  <a:lnTo>
                    <a:pt x="19" y="171"/>
                  </a:lnTo>
                  <a:lnTo>
                    <a:pt x="17" y="178"/>
                  </a:lnTo>
                  <a:lnTo>
                    <a:pt x="17" y="181"/>
                  </a:lnTo>
                  <a:lnTo>
                    <a:pt x="15" y="185"/>
                  </a:lnTo>
                  <a:lnTo>
                    <a:pt x="15" y="185"/>
                  </a:lnTo>
                  <a:lnTo>
                    <a:pt x="21" y="195"/>
                  </a:lnTo>
                  <a:lnTo>
                    <a:pt x="22" y="197"/>
                  </a:lnTo>
                  <a:lnTo>
                    <a:pt x="26" y="197"/>
                  </a:lnTo>
                  <a:lnTo>
                    <a:pt x="28" y="195"/>
                  </a:lnTo>
                  <a:lnTo>
                    <a:pt x="31" y="192"/>
                  </a:lnTo>
                  <a:lnTo>
                    <a:pt x="31" y="192"/>
                  </a:lnTo>
                  <a:lnTo>
                    <a:pt x="34" y="186"/>
                  </a:lnTo>
                  <a:lnTo>
                    <a:pt x="40" y="183"/>
                  </a:lnTo>
                  <a:lnTo>
                    <a:pt x="54" y="179"/>
                  </a:lnTo>
                  <a:lnTo>
                    <a:pt x="54" y="179"/>
                  </a:lnTo>
                  <a:lnTo>
                    <a:pt x="55" y="179"/>
                  </a:lnTo>
                  <a:lnTo>
                    <a:pt x="59" y="179"/>
                  </a:lnTo>
                  <a:lnTo>
                    <a:pt x="64" y="183"/>
                  </a:lnTo>
                  <a:lnTo>
                    <a:pt x="68" y="186"/>
                  </a:lnTo>
                  <a:lnTo>
                    <a:pt x="69" y="186"/>
                  </a:lnTo>
                  <a:lnTo>
                    <a:pt x="71" y="186"/>
                  </a:lnTo>
                  <a:lnTo>
                    <a:pt x="71" y="186"/>
                  </a:lnTo>
                  <a:lnTo>
                    <a:pt x="73" y="186"/>
                  </a:lnTo>
                  <a:lnTo>
                    <a:pt x="73" y="183"/>
                  </a:lnTo>
                  <a:lnTo>
                    <a:pt x="73" y="178"/>
                  </a:lnTo>
                  <a:lnTo>
                    <a:pt x="73" y="171"/>
                  </a:lnTo>
                  <a:lnTo>
                    <a:pt x="75" y="167"/>
                  </a:lnTo>
                  <a:lnTo>
                    <a:pt x="78" y="165"/>
                  </a:lnTo>
                  <a:lnTo>
                    <a:pt x="78" y="165"/>
                  </a:lnTo>
                  <a:lnTo>
                    <a:pt x="81" y="164"/>
                  </a:lnTo>
                  <a:lnTo>
                    <a:pt x="85" y="164"/>
                  </a:lnTo>
                  <a:lnTo>
                    <a:pt x="90" y="165"/>
                  </a:lnTo>
                  <a:lnTo>
                    <a:pt x="95" y="167"/>
                  </a:lnTo>
                  <a:lnTo>
                    <a:pt x="99" y="167"/>
                  </a:lnTo>
                  <a:lnTo>
                    <a:pt x="102" y="165"/>
                  </a:lnTo>
                  <a:lnTo>
                    <a:pt x="102" y="165"/>
                  </a:lnTo>
                  <a:lnTo>
                    <a:pt x="104" y="164"/>
                  </a:lnTo>
                  <a:lnTo>
                    <a:pt x="104" y="162"/>
                  </a:lnTo>
                  <a:lnTo>
                    <a:pt x="102" y="157"/>
                  </a:lnTo>
                  <a:lnTo>
                    <a:pt x="101" y="150"/>
                  </a:lnTo>
                  <a:lnTo>
                    <a:pt x="101" y="148"/>
                  </a:lnTo>
                  <a:lnTo>
                    <a:pt x="104" y="145"/>
                  </a:lnTo>
                  <a:lnTo>
                    <a:pt x="104" y="145"/>
                  </a:lnTo>
                  <a:lnTo>
                    <a:pt x="108" y="143"/>
                  </a:lnTo>
                  <a:lnTo>
                    <a:pt x="109" y="139"/>
                  </a:lnTo>
                  <a:lnTo>
                    <a:pt x="115" y="132"/>
                  </a:lnTo>
                  <a:lnTo>
                    <a:pt x="116" y="129"/>
                  </a:lnTo>
                  <a:lnTo>
                    <a:pt x="120" y="127"/>
                  </a:lnTo>
                  <a:lnTo>
                    <a:pt x="125" y="125"/>
                  </a:lnTo>
                  <a:lnTo>
                    <a:pt x="132" y="125"/>
                  </a:lnTo>
                  <a:lnTo>
                    <a:pt x="132" y="125"/>
                  </a:lnTo>
                  <a:lnTo>
                    <a:pt x="137" y="129"/>
                  </a:lnTo>
                  <a:lnTo>
                    <a:pt x="141" y="131"/>
                  </a:lnTo>
                  <a:lnTo>
                    <a:pt x="142" y="132"/>
                  </a:lnTo>
                  <a:lnTo>
                    <a:pt x="141" y="136"/>
                  </a:lnTo>
                  <a:lnTo>
                    <a:pt x="137" y="143"/>
                  </a:lnTo>
                  <a:lnTo>
                    <a:pt x="137" y="146"/>
                  </a:lnTo>
                  <a:lnTo>
                    <a:pt x="137" y="148"/>
                  </a:lnTo>
                  <a:lnTo>
                    <a:pt x="137" y="148"/>
                  </a:lnTo>
                  <a:lnTo>
                    <a:pt x="139" y="150"/>
                  </a:lnTo>
                  <a:lnTo>
                    <a:pt x="142" y="150"/>
                  </a:lnTo>
                  <a:lnTo>
                    <a:pt x="146" y="148"/>
                  </a:lnTo>
                  <a:lnTo>
                    <a:pt x="146" y="148"/>
                  </a:lnTo>
                  <a:lnTo>
                    <a:pt x="148" y="150"/>
                  </a:lnTo>
                  <a:lnTo>
                    <a:pt x="146" y="160"/>
                  </a:lnTo>
                  <a:lnTo>
                    <a:pt x="146" y="160"/>
                  </a:lnTo>
                  <a:lnTo>
                    <a:pt x="144" y="186"/>
                  </a:lnTo>
                  <a:lnTo>
                    <a:pt x="146" y="195"/>
                  </a:lnTo>
                  <a:lnTo>
                    <a:pt x="148" y="202"/>
                  </a:lnTo>
                  <a:lnTo>
                    <a:pt x="149" y="205"/>
                  </a:lnTo>
                  <a:lnTo>
                    <a:pt x="153" y="207"/>
                  </a:lnTo>
                  <a:lnTo>
                    <a:pt x="158" y="207"/>
                  </a:lnTo>
                  <a:lnTo>
                    <a:pt x="163" y="204"/>
                  </a:lnTo>
                  <a:lnTo>
                    <a:pt x="163" y="204"/>
                  </a:lnTo>
                  <a:lnTo>
                    <a:pt x="174" y="197"/>
                  </a:lnTo>
                  <a:lnTo>
                    <a:pt x="181" y="193"/>
                  </a:lnTo>
                  <a:lnTo>
                    <a:pt x="188" y="192"/>
                  </a:lnTo>
                  <a:lnTo>
                    <a:pt x="189" y="190"/>
                  </a:lnTo>
                  <a:lnTo>
                    <a:pt x="189" y="186"/>
                  </a:lnTo>
                  <a:lnTo>
                    <a:pt x="189" y="186"/>
                  </a:lnTo>
                  <a:lnTo>
                    <a:pt x="193" y="181"/>
                  </a:lnTo>
                  <a:lnTo>
                    <a:pt x="196" y="179"/>
                  </a:lnTo>
                  <a:lnTo>
                    <a:pt x="200" y="176"/>
                  </a:lnTo>
                  <a:lnTo>
                    <a:pt x="205" y="174"/>
                  </a:lnTo>
                  <a:lnTo>
                    <a:pt x="205" y="174"/>
                  </a:lnTo>
                  <a:lnTo>
                    <a:pt x="212" y="171"/>
                  </a:lnTo>
                  <a:lnTo>
                    <a:pt x="219" y="171"/>
                  </a:lnTo>
                  <a:lnTo>
                    <a:pt x="224" y="172"/>
                  </a:lnTo>
                  <a:lnTo>
                    <a:pt x="226" y="174"/>
                  </a:lnTo>
                  <a:lnTo>
                    <a:pt x="224" y="178"/>
                  </a:lnTo>
                  <a:lnTo>
                    <a:pt x="224" y="178"/>
                  </a:lnTo>
                  <a:lnTo>
                    <a:pt x="223" y="181"/>
                  </a:lnTo>
                  <a:lnTo>
                    <a:pt x="223" y="183"/>
                  </a:lnTo>
                  <a:lnTo>
                    <a:pt x="224" y="183"/>
                  </a:lnTo>
                  <a:lnTo>
                    <a:pt x="229" y="181"/>
                  </a:lnTo>
                  <a:lnTo>
                    <a:pt x="238" y="176"/>
                  </a:lnTo>
                  <a:lnTo>
                    <a:pt x="238" y="176"/>
                  </a:lnTo>
                  <a:lnTo>
                    <a:pt x="242" y="174"/>
                  </a:lnTo>
                  <a:lnTo>
                    <a:pt x="247" y="172"/>
                  </a:lnTo>
                  <a:lnTo>
                    <a:pt x="254" y="172"/>
                  </a:lnTo>
                  <a:lnTo>
                    <a:pt x="257" y="174"/>
                  </a:lnTo>
                  <a:lnTo>
                    <a:pt x="261" y="176"/>
                  </a:lnTo>
                  <a:lnTo>
                    <a:pt x="261" y="178"/>
                  </a:lnTo>
                  <a:lnTo>
                    <a:pt x="261" y="181"/>
                  </a:lnTo>
                  <a:lnTo>
                    <a:pt x="261" y="181"/>
                  </a:lnTo>
                  <a:lnTo>
                    <a:pt x="268" y="181"/>
                  </a:lnTo>
                  <a:lnTo>
                    <a:pt x="273" y="179"/>
                  </a:lnTo>
                  <a:lnTo>
                    <a:pt x="273" y="176"/>
                  </a:lnTo>
                  <a:lnTo>
                    <a:pt x="273" y="174"/>
                  </a:lnTo>
                  <a:lnTo>
                    <a:pt x="270" y="169"/>
                  </a:lnTo>
                  <a:lnTo>
                    <a:pt x="270" y="169"/>
                  </a:lnTo>
                  <a:lnTo>
                    <a:pt x="266" y="165"/>
                  </a:lnTo>
                  <a:lnTo>
                    <a:pt x="266" y="162"/>
                  </a:lnTo>
                  <a:lnTo>
                    <a:pt x="266" y="155"/>
                  </a:lnTo>
                  <a:lnTo>
                    <a:pt x="268" y="148"/>
                  </a:lnTo>
                  <a:lnTo>
                    <a:pt x="266" y="145"/>
                  </a:lnTo>
                  <a:lnTo>
                    <a:pt x="264" y="141"/>
                  </a:lnTo>
                  <a:lnTo>
                    <a:pt x="264" y="141"/>
                  </a:lnTo>
                  <a:lnTo>
                    <a:pt x="263" y="139"/>
                  </a:lnTo>
                  <a:lnTo>
                    <a:pt x="263" y="138"/>
                  </a:lnTo>
                  <a:lnTo>
                    <a:pt x="263" y="131"/>
                  </a:lnTo>
                  <a:lnTo>
                    <a:pt x="263" y="125"/>
                  </a:lnTo>
                  <a:lnTo>
                    <a:pt x="263" y="124"/>
                  </a:lnTo>
                  <a:lnTo>
                    <a:pt x="261" y="120"/>
                  </a:lnTo>
                  <a:lnTo>
                    <a:pt x="261" y="120"/>
                  </a:lnTo>
                  <a:lnTo>
                    <a:pt x="256" y="117"/>
                  </a:lnTo>
                  <a:lnTo>
                    <a:pt x="249" y="113"/>
                  </a:lnTo>
                  <a:lnTo>
                    <a:pt x="242" y="113"/>
                  </a:lnTo>
                  <a:lnTo>
                    <a:pt x="238" y="113"/>
                  </a:lnTo>
                  <a:lnTo>
                    <a:pt x="236" y="117"/>
                  </a:lnTo>
                  <a:lnTo>
                    <a:pt x="236" y="117"/>
                  </a:lnTo>
                  <a:lnTo>
                    <a:pt x="236" y="120"/>
                  </a:lnTo>
                  <a:lnTo>
                    <a:pt x="233" y="120"/>
                  </a:lnTo>
                  <a:lnTo>
                    <a:pt x="231" y="118"/>
                  </a:lnTo>
                  <a:lnTo>
                    <a:pt x="229" y="117"/>
                  </a:lnTo>
                  <a:lnTo>
                    <a:pt x="226" y="110"/>
                  </a:lnTo>
                  <a:lnTo>
                    <a:pt x="226" y="106"/>
                  </a:lnTo>
                  <a:lnTo>
                    <a:pt x="228" y="103"/>
                  </a:lnTo>
                  <a:lnTo>
                    <a:pt x="228" y="103"/>
                  </a:lnTo>
                  <a:lnTo>
                    <a:pt x="228" y="99"/>
                  </a:lnTo>
                  <a:lnTo>
                    <a:pt x="228" y="98"/>
                  </a:lnTo>
                  <a:lnTo>
                    <a:pt x="224" y="92"/>
                  </a:lnTo>
                  <a:lnTo>
                    <a:pt x="223" y="87"/>
                  </a:lnTo>
                  <a:lnTo>
                    <a:pt x="221" y="82"/>
                  </a:lnTo>
                  <a:lnTo>
                    <a:pt x="223" y="77"/>
                  </a:lnTo>
                  <a:lnTo>
                    <a:pt x="223" y="77"/>
                  </a:lnTo>
                  <a:lnTo>
                    <a:pt x="216" y="77"/>
                  </a:lnTo>
                  <a:lnTo>
                    <a:pt x="212" y="80"/>
                  </a:lnTo>
                  <a:lnTo>
                    <a:pt x="207" y="82"/>
                  </a:lnTo>
                  <a:lnTo>
                    <a:pt x="196" y="80"/>
                  </a:lnTo>
                  <a:lnTo>
                    <a:pt x="196" y="80"/>
                  </a:lnTo>
                  <a:lnTo>
                    <a:pt x="189" y="78"/>
                  </a:lnTo>
                  <a:lnTo>
                    <a:pt x="184" y="80"/>
                  </a:lnTo>
                  <a:lnTo>
                    <a:pt x="181" y="82"/>
                  </a:lnTo>
                  <a:lnTo>
                    <a:pt x="177" y="84"/>
                  </a:lnTo>
                  <a:lnTo>
                    <a:pt x="174" y="87"/>
                  </a:lnTo>
                  <a:lnTo>
                    <a:pt x="172" y="87"/>
                  </a:lnTo>
                  <a:lnTo>
                    <a:pt x="170" y="85"/>
                  </a:lnTo>
                  <a:lnTo>
                    <a:pt x="170" y="85"/>
                  </a:lnTo>
                  <a:lnTo>
                    <a:pt x="169" y="84"/>
                  </a:lnTo>
                  <a:lnTo>
                    <a:pt x="167" y="84"/>
                  </a:lnTo>
                  <a:lnTo>
                    <a:pt x="162" y="84"/>
                  </a:lnTo>
                  <a:lnTo>
                    <a:pt x="156" y="82"/>
                  </a:lnTo>
                  <a:lnTo>
                    <a:pt x="155" y="80"/>
                  </a:lnTo>
                  <a:lnTo>
                    <a:pt x="151" y="77"/>
                  </a:lnTo>
                  <a:lnTo>
                    <a:pt x="151" y="77"/>
                  </a:lnTo>
                  <a:lnTo>
                    <a:pt x="148" y="73"/>
                  </a:lnTo>
                  <a:lnTo>
                    <a:pt x="144" y="71"/>
                  </a:lnTo>
                  <a:lnTo>
                    <a:pt x="139" y="71"/>
                  </a:lnTo>
                  <a:lnTo>
                    <a:pt x="134" y="73"/>
                  </a:lnTo>
                  <a:lnTo>
                    <a:pt x="125" y="77"/>
                  </a:lnTo>
                  <a:lnTo>
                    <a:pt x="122" y="77"/>
                  </a:lnTo>
                  <a:lnTo>
                    <a:pt x="118" y="75"/>
                  </a:lnTo>
                  <a:lnTo>
                    <a:pt x="118" y="75"/>
                  </a:lnTo>
                  <a:lnTo>
                    <a:pt x="115" y="71"/>
                  </a:lnTo>
                  <a:lnTo>
                    <a:pt x="108" y="71"/>
                  </a:lnTo>
                  <a:lnTo>
                    <a:pt x="90" y="71"/>
                  </a:lnTo>
                  <a:lnTo>
                    <a:pt x="81" y="71"/>
                  </a:lnTo>
                  <a:lnTo>
                    <a:pt x="75" y="70"/>
                  </a:lnTo>
                  <a:lnTo>
                    <a:pt x="69" y="68"/>
                  </a:lnTo>
                  <a:lnTo>
                    <a:pt x="68" y="64"/>
                  </a:lnTo>
                  <a:lnTo>
                    <a:pt x="68" y="63"/>
                  </a:lnTo>
                  <a:lnTo>
                    <a:pt x="68" y="63"/>
                  </a:lnTo>
                  <a:lnTo>
                    <a:pt x="68" y="57"/>
                  </a:lnTo>
                  <a:lnTo>
                    <a:pt x="68" y="54"/>
                  </a:lnTo>
                  <a:lnTo>
                    <a:pt x="69" y="54"/>
                  </a:lnTo>
                  <a:lnTo>
                    <a:pt x="71" y="54"/>
                  </a:lnTo>
                  <a:lnTo>
                    <a:pt x="75" y="54"/>
                  </a:lnTo>
                  <a:lnTo>
                    <a:pt x="76" y="52"/>
                  </a:lnTo>
                  <a:lnTo>
                    <a:pt x="76" y="49"/>
                  </a:lnTo>
                  <a:lnTo>
                    <a:pt x="76" y="49"/>
                  </a:lnTo>
                  <a:lnTo>
                    <a:pt x="78" y="45"/>
                  </a:lnTo>
                  <a:lnTo>
                    <a:pt x="81" y="44"/>
                  </a:lnTo>
                  <a:lnTo>
                    <a:pt x="88" y="42"/>
                  </a:lnTo>
                  <a:lnTo>
                    <a:pt x="97" y="42"/>
                  </a:lnTo>
                  <a:lnTo>
                    <a:pt x="106" y="45"/>
                  </a:lnTo>
                  <a:lnTo>
                    <a:pt x="106" y="45"/>
                  </a:lnTo>
                  <a:lnTo>
                    <a:pt x="109" y="45"/>
                  </a:lnTo>
                  <a:lnTo>
                    <a:pt x="111" y="49"/>
                  </a:lnTo>
                  <a:lnTo>
                    <a:pt x="113" y="52"/>
                  </a:lnTo>
                  <a:lnTo>
                    <a:pt x="113" y="54"/>
                  </a:lnTo>
                  <a:lnTo>
                    <a:pt x="116" y="51"/>
                  </a:lnTo>
                  <a:lnTo>
                    <a:pt x="116" y="51"/>
                  </a:lnTo>
                  <a:lnTo>
                    <a:pt x="120" y="45"/>
                  </a:lnTo>
                  <a:lnTo>
                    <a:pt x="123" y="44"/>
                  </a:lnTo>
                  <a:lnTo>
                    <a:pt x="125" y="42"/>
                  </a:lnTo>
                  <a:lnTo>
                    <a:pt x="129" y="38"/>
                  </a:lnTo>
                  <a:lnTo>
                    <a:pt x="129"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0" name="Freeform 2013">
              <a:extLst>
                <a:ext uri="{FF2B5EF4-FFF2-40B4-BE49-F238E27FC236}">
                  <a16:creationId xmlns:a16="http://schemas.microsoft.com/office/drawing/2014/main" id="{F5C79FDF-9914-4959-8125-3262A055CB40}"/>
                </a:ext>
              </a:extLst>
            </p:cNvPr>
            <p:cNvSpPr>
              <a:spLocks/>
            </p:cNvSpPr>
            <p:nvPr/>
          </p:nvSpPr>
          <p:spPr bwMode="auto">
            <a:xfrm>
              <a:off x="8855144" y="2883689"/>
              <a:ext cx="56384" cy="44050"/>
            </a:xfrm>
            <a:custGeom>
              <a:avLst/>
              <a:gdLst/>
              <a:ahLst/>
              <a:cxnLst>
                <a:cxn ang="0">
                  <a:pos x="1" y="48"/>
                </a:cxn>
                <a:cxn ang="0">
                  <a:pos x="1" y="48"/>
                </a:cxn>
                <a:cxn ang="0">
                  <a:pos x="7" y="38"/>
                </a:cxn>
                <a:cxn ang="0">
                  <a:pos x="15" y="29"/>
                </a:cxn>
                <a:cxn ang="0">
                  <a:pos x="22" y="22"/>
                </a:cxn>
                <a:cxn ang="0">
                  <a:pos x="31" y="17"/>
                </a:cxn>
                <a:cxn ang="0">
                  <a:pos x="31" y="17"/>
                </a:cxn>
                <a:cxn ang="0">
                  <a:pos x="34" y="15"/>
                </a:cxn>
                <a:cxn ang="0">
                  <a:pos x="36" y="14"/>
                </a:cxn>
                <a:cxn ang="0">
                  <a:pos x="36" y="8"/>
                </a:cxn>
                <a:cxn ang="0">
                  <a:pos x="36" y="5"/>
                </a:cxn>
                <a:cxn ang="0">
                  <a:pos x="40" y="7"/>
                </a:cxn>
                <a:cxn ang="0">
                  <a:pos x="40" y="7"/>
                </a:cxn>
                <a:cxn ang="0">
                  <a:pos x="43" y="8"/>
                </a:cxn>
                <a:cxn ang="0">
                  <a:pos x="48" y="8"/>
                </a:cxn>
                <a:cxn ang="0">
                  <a:pos x="55" y="3"/>
                </a:cxn>
                <a:cxn ang="0">
                  <a:pos x="61" y="0"/>
                </a:cxn>
                <a:cxn ang="0">
                  <a:pos x="64" y="0"/>
                </a:cxn>
                <a:cxn ang="0">
                  <a:pos x="66" y="0"/>
                </a:cxn>
                <a:cxn ang="0">
                  <a:pos x="66" y="0"/>
                </a:cxn>
                <a:cxn ang="0">
                  <a:pos x="69" y="5"/>
                </a:cxn>
                <a:cxn ang="0">
                  <a:pos x="67" y="7"/>
                </a:cxn>
                <a:cxn ang="0">
                  <a:pos x="66" y="8"/>
                </a:cxn>
                <a:cxn ang="0">
                  <a:pos x="62" y="10"/>
                </a:cxn>
                <a:cxn ang="0">
                  <a:pos x="54" y="12"/>
                </a:cxn>
                <a:cxn ang="0">
                  <a:pos x="48" y="15"/>
                </a:cxn>
                <a:cxn ang="0">
                  <a:pos x="45" y="19"/>
                </a:cxn>
                <a:cxn ang="0">
                  <a:pos x="45" y="19"/>
                </a:cxn>
                <a:cxn ang="0">
                  <a:pos x="38" y="24"/>
                </a:cxn>
                <a:cxn ang="0">
                  <a:pos x="31" y="28"/>
                </a:cxn>
                <a:cxn ang="0">
                  <a:pos x="26" y="31"/>
                </a:cxn>
                <a:cxn ang="0">
                  <a:pos x="19" y="38"/>
                </a:cxn>
                <a:cxn ang="0">
                  <a:pos x="19" y="38"/>
                </a:cxn>
                <a:cxn ang="0">
                  <a:pos x="10" y="48"/>
                </a:cxn>
                <a:cxn ang="0">
                  <a:pos x="3" y="54"/>
                </a:cxn>
                <a:cxn ang="0">
                  <a:pos x="1" y="54"/>
                </a:cxn>
                <a:cxn ang="0">
                  <a:pos x="0" y="54"/>
                </a:cxn>
                <a:cxn ang="0">
                  <a:pos x="0" y="52"/>
                </a:cxn>
                <a:cxn ang="0">
                  <a:pos x="1" y="48"/>
                </a:cxn>
                <a:cxn ang="0">
                  <a:pos x="1" y="48"/>
                </a:cxn>
              </a:cxnLst>
              <a:rect l="0" t="0" r="r" b="b"/>
              <a:pathLst>
                <a:path w="69" h="54">
                  <a:moveTo>
                    <a:pt x="1" y="48"/>
                  </a:moveTo>
                  <a:lnTo>
                    <a:pt x="1" y="48"/>
                  </a:lnTo>
                  <a:lnTo>
                    <a:pt x="7" y="38"/>
                  </a:lnTo>
                  <a:lnTo>
                    <a:pt x="15" y="29"/>
                  </a:lnTo>
                  <a:lnTo>
                    <a:pt x="22" y="22"/>
                  </a:lnTo>
                  <a:lnTo>
                    <a:pt x="31" y="17"/>
                  </a:lnTo>
                  <a:lnTo>
                    <a:pt x="31" y="17"/>
                  </a:lnTo>
                  <a:lnTo>
                    <a:pt x="34" y="15"/>
                  </a:lnTo>
                  <a:lnTo>
                    <a:pt x="36" y="14"/>
                  </a:lnTo>
                  <a:lnTo>
                    <a:pt x="36" y="8"/>
                  </a:lnTo>
                  <a:lnTo>
                    <a:pt x="36" y="5"/>
                  </a:lnTo>
                  <a:lnTo>
                    <a:pt x="40" y="7"/>
                  </a:lnTo>
                  <a:lnTo>
                    <a:pt x="40" y="7"/>
                  </a:lnTo>
                  <a:lnTo>
                    <a:pt x="43" y="8"/>
                  </a:lnTo>
                  <a:lnTo>
                    <a:pt x="48" y="8"/>
                  </a:lnTo>
                  <a:lnTo>
                    <a:pt x="55" y="3"/>
                  </a:lnTo>
                  <a:lnTo>
                    <a:pt x="61" y="0"/>
                  </a:lnTo>
                  <a:lnTo>
                    <a:pt x="64" y="0"/>
                  </a:lnTo>
                  <a:lnTo>
                    <a:pt x="66" y="0"/>
                  </a:lnTo>
                  <a:lnTo>
                    <a:pt x="66" y="0"/>
                  </a:lnTo>
                  <a:lnTo>
                    <a:pt x="69" y="5"/>
                  </a:lnTo>
                  <a:lnTo>
                    <a:pt x="67" y="7"/>
                  </a:lnTo>
                  <a:lnTo>
                    <a:pt x="66" y="8"/>
                  </a:lnTo>
                  <a:lnTo>
                    <a:pt x="62" y="10"/>
                  </a:lnTo>
                  <a:lnTo>
                    <a:pt x="54" y="12"/>
                  </a:lnTo>
                  <a:lnTo>
                    <a:pt x="48" y="15"/>
                  </a:lnTo>
                  <a:lnTo>
                    <a:pt x="45" y="19"/>
                  </a:lnTo>
                  <a:lnTo>
                    <a:pt x="45" y="19"/>
                  </a:lnTo>
                  <a:lnTo>
                    <a:pt x="38" y="24"/>
                  </a:lnTo>
                  <a:lnTo>
                    <a:pt x="31" y="28"/>
                  </a:lnTo>
                  <a:lnTo>
                    <a:pt x="26" y="31"/>
                  </a:lnTo>
                  <a:lnTo>
                    <a:pt x="19" y="38"/>
                  </a:lnTo>
                  <a:lnTo>
                    <a:pt x="19" y="38"/>
                  </a:lnTo>
                  <a:lnTo>
                    <a:pt x="10" y="48"/>
                  </a:lnTo>
                  <a:lnTo>
                    <a:pt x="3" y="54"/>
                  </a:lnTo>
                  <a:lnTo>
                    <a:pt x="1" y="54"/>
                  </a:lnTo>
                  <a:lnTo>
                    <a:pt x="0" y="54"/>
                  </a:lnTo>
                  <a:lnTo>
                    <a:pt x="0" y="52"/>
                  </a:lnTo>
                  <a:lnTo>
                    <a:pt x="1" y="48"/>
                  </a:lnTo>
                  <a:lnTo>
                    <a:pt x="1" y="4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1" name="Freeform 2014">
              <a:extLst>
                <a:ext uri="{FF2B5EF4-FFF2-40B4-BE49-F238E27FC236}">
                  <a16:creationId xmlns:a16="http://schemas.microsoft.com/office/drawing/2014/main" id="{B0ED3C98-2D96-4A56-8B2F-F3F196F804B8}"/>
                </a:ext>
              </a:extLst>
            </p:cNvPr>
            <p:cNvSpPr>
              <a:spLocks/>
            </p:cNvSpPr>
            <p:nvPr/>
          </p:nvSpPr>
          <p:spPr bwMode="auto">
            <a:xfrm>
              <a:off x="8929149" y="2855494"/>
              <a:ext cx="26432" cy="26429"/>
            </a:xfrm>
            <a:custGeom>
              <a:avLst/>
              <a:gdLst/>
              <a:ahLst/>
              <a:cxnLst>
                <a:cxn ang="0">
                  <a:pos x="2" y="26"/>
                </a:cxn>
                <a:cxn ang="0">
                  <a:pos x="2" y="26"/>
                </a:cxn>
                <a:cxn ang="0">
                  <a:pos x="5" y="21"/>
                </a:cxn>
                <a:cxn ang="0">
                  <a:pos x="9" y="14"/>
                </a:cxn>
                <a:cxn ang="0">
                  <a:pos x="19" y="5"/>
                </a:cxn>
                <a:cxn ang="0">
                  <a:pos x="30" y="0"/>
                </a:cxn>
                <a:cxn ang="0">
                  <a:pos x="33" y="0"/>
                </a:cxn>
                <a:cxn ang="0">
                  <a:pos x="35" y="0"/>
                </a:cxn>
                <a:cxn ang="0">
                  <a:pos x="35" y="0"/>
                </a:cxn>
                <a:cxn ang="0">
                  <a:pos x="35" y="3"/>
                </a:cxn>
                <a:cxn ang="0">
                  <a:pos x="31" y="9"/>
                </a:cxn>
                <a:cxn ang="0">
                  <a:pos x="18" y="22"/>
                </a:cxn>
                <a:cxn ang="0">
                  <a:pos x="11" y="28"/>
                </a:cxn>
                <a:cxn ang="0">
                  <a:pos x="4" y="31"/>
                </a:cxn>
                <a:cxn ang="0">
                  <a:pos x="0" y="31"/>
                </a:cxn>
                <a:cxn ang="0">
                  <a:pos x="2" y="26"/>
                </a:cxn>
                <a:cxn ang="0">
                  <a:pos x="2" y="26"/>
                </a:cxn>
              </a:cxnLst>
              <a:rect l="0" t="0" r="r" b="b"/>
              <a:pathLst>
                <a:path w="35" h="31">
                  <a:moveTo>
                    <a:pt x="2" y="26"/>
                  </a:moveTo>
                  <a:lnTo>
                    <a:pt x="2" y="26"/>
                  </a:lnTo>
                  <a:lnTo>
                    <a:pt x="5" y="21"/>
                  </a:lnTo>
                  <a:lnTo>
                    <a:pt x="9" y="14"/>
                  </a:lnTo>
                  <a:lnTo>
                    <a:pt x="19" y="5"/>
                  </a:lnTo>
                  <a:lnTo>
                    <a:pt x="30" y="0"/>
                  </a:lnTo>
                  <a:lnTo>
                    <a:pt x="33" y="0"/>
                  </a:lnTo>
                  <a:lnTo>
                    <a:pt x="35" y="0"/>
                  </a:lnTo>
                  <a:lnTo>
                    <a:pt x="35" y="0"/>
                  </a:lnTo>
                  <a:lnTo>
                    <a:pt x="35" y="3"/>
                  </a:lnTo>
                  <a:lnTo>
                    <a:pt x="31" y="9"/>
                  </a:lnTo>
                  <a:lnTo>
                    <a:pt x="18" y="22"/>
                  </a:lnTo>
                  <a:lnTo>
                    <a:pt x="11" y="28"/>
                  </a:lnTo>
                  <a:lnTo>
                    <a:pt x="4" y="31"/>
                  </a:lnTo>
                  <a:lnTo>
                    <a:pt x="0" y="31"/>
                  </a:lnTo>
                  <a:lnTo>
                    <a:pt x="2" y="26"/>
                  </a:lnTo>
                  <a:lnTo>
                    <a:pt x="2" y="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2" name="Freeform 2015">
              <a:extLst>
                <a:ext uri="{FF2B5EF4-FFF2-40B4-BE49-F238E27FC236}">
                  <a16:creationId xmlns:a16="http://schemas.microsoft.com/office/drawing/2014/main" id="{34E029A2-99F6-40FE-8CC3-35418244ADD1}"/>
                </a:ext>
              </a:extLst>
            </p:cNvPr>
            <p:cNvSpPr>
              <a:spLocks/>
            </p:cNvSpPr>
            <p:nvPr/>
          </p:nvSpPr>
          <p:spPr bwMode="auto">
            <a:xfrm>
              <a:off x="9057777" y="2746253"/>
              <a:ext cx="5285" cy="8811"/>
            </a:xfrm>
            <a:custGeom>
              <a:avLst/>
              <a:gdLst/>
              <a:ahLst/>
              <a:cxnLst>
                <a:cxn ang="0">
                  <a:pos x="0" y="9"/>
                </a:cxn>
                <a:cxn ang="0">
                  <a:pos x="0" y="9"/>
                </a:cxn>
                <a:cxn ang="0">
                  <a:pos x="6" y="2"/>
                </a:cxn>
                <a:cxn ang="0">
                  <a:pos x="7" y="0"/>
                </a:cxn>
                <a:cxn ang="0">
                  <a:pos x="9" y="0"/>
                </a:cxn>
                <a:cxn ang="0">
                  <a:pos x="9" y="0"/>
                </a:cxn>
                <a:cxn ang="0">
                  <a:pos x="7" y="4"/>
                </a:cxn>
                <a:cxn ang="0">
                  <a:pos x="4" y="7"/>
                </a:cxn>
                <a:cxn ang="0">
                  <a:pos x="0" y="11"/>
                </a:cxn>
                <a:cxn ang="0">
                  <a:pos x="0" y="11"/>
                </a:cxn>
                <a:cxn ang="0">
                  <a:pos x="0" y="9"/>
                </a:cxn>
                <a:cxn ang="0">
                  <a:pos x="0" y="9"/>
                </a:cxn>
              </a:cxnLst>
              <a:rect l="0" t="0" r="r" b="b"/>
              <a:pathLst>
                <a:path w="9" h="11">
                  <a:moveTo>
                    <a:pt x="0" y="9"/>
                  </a:moveTo>
                  <a:lnTo>
                    <a:pt x="0" y="9"/>
                  </a:lnTo>
                  <a:lnTo>
                    <a:pt x="6" y="2"/>
                  </a:lnTo>
                  <a:lnTo>
                    <a:pt x="7" y="0"/>
                  </a:lnTo>
                  <a:lnTo>
                    <a:pt x="9" y="0"/>
                  </a:lnTo>
                  <a:lnTo>
                    <a:pt x="9" y="0"/>
                  </a:lnTo>
                  <a:lnTo>
                    <a:pt x="7" y="4"/>
                  </a:lnTo>
                  <a:lnTo>
                    <a:pt x="4" y="7"/>
                  </a:lnTo>
                  <a:lnTo>
                    <a:pt x="0" y="11"/>
                  </a:lnTo>
                  <a:lnTo>
                    <a:pt x="0" y="11"/>
                  </a:lnTo>
                  <a:lnTo>
                    <a:pt x="0" y="9"/>
                  </a:lnTo>
                  <a:lnTo>
                    <a:pt x="0" y="9"/>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3" name="Freeform 2016">
              <a:extLst>
                <a:ext uri="{FF2B5EF4-FFF2-40B4-BE49-F238E27FC236}">
                  <a16:creationId xmlns:a16="http://schemas.microsoft.com/office/drawing/2014/main" id="{C044ACDF-3664-4D13-8DFB-E5A197EC9E28}"/>
                </a:ext>
              </a:extLst>
            </p:cNvPr>
            <p:cNvSpPr>
              <a:spLocks/>
            </p:cNvSpPr>
            <p:nvPr/>
          </p:nvSpPr>
          <p:spPr bwMode="auto">
            <a:xfrm>
              <a:off x="8220827" y="2985883"/>
              <a:ext cx="177962" cy="202632"/>
            </a:xfrm>
            <a:custGeom>
              <a:avLst/>
              <a:gdLst/>
              <a:ahLst/>
              <a:cxnLst>
                <a:cxn ang="0">
                  <a:pos x="5" y="157"/>
                </a:cxn>
                <a:cxn ang="0">
                  <a:pos x="14" y="160"/>
                </a:cxn>
                <a:cxn ang="0">
                  <a:pos x="31" y="167"/>
                </a:cxn>
                <a:cxn ang="0">
                  <a:pos x="35" y="179"/>
                </a:cxn>
                <a:cxn ang="0">
                  <a:pos x="28" y="205"/>
                </a:cxn>
                <a:cxn ang="0">
                  <a:pos x="23" y="214"/>
                </a:cxn>
                <a:cxn ang="0">
                  <a:pos x="14" y="230"/>
                </a:cxn>
                <a:cxn ang="0">
                  <a:pos x="17" y="237"/>
                </a:cxn>
                <a:cxn ang="0">
                  <a:pos x="24" y="240"/>
                </a:cxn>
                <a:cxn ang="0">
                  <a:pos x="26" y="245"/>
                </a:cxn>
                <a:cxn ang="0">
                  <a:pos x="35" y="251"/>
                </a:cxn>
                <a:cxn ang="0">
                  <a:pos x="37" y="254"/>
                </a:cxn>
                <a:cxn ang="0">
                  <a:pos x="45" y="242"/>
                </a:cxn>
                <a:cxn ang="0">
                  <a:pos x="61" y="252"/>
                </a:cxn>
                <a:cxn ang="0">
                  <a:pos x="64" y="247"/>
                </a:cxn>
                <a:cxn ang="0">
                  <a:pos x="82" y="247"/>
                </a:cxn>
                <a:cxn ang="0">
                  <a:pos x="89" y="232"/>
                </a:cxn>
                <a:cxn ang="0">
                  <a:pos x="117" y="225"/>
                </a:cxn>
                <a:cxn ang="0">
                  <a:pos x="136" y="219"/>
                </a:cxn>
                <a:cxn ang="0">
                  <a:pos x="139" y="211"/>
                </a:cxn>
                <a:cxn ang="0">
                  <a:pos x="124" y="193"/>
                </a:cxn>
                <a:cxn ang="0">
                  <a:pos x="111" y="185"/>
                </a:cxn>
                <a:cxn ang="0">
                  <a:pos x="106" y="178"/>
                </a:cxn>
                <a:cxn ang="0">
                  <a:pos x="111" y="176"/>
                </a:cxn>
                <a:cxn ang="0">
                  <a:pos x="111" y="158"/>
                </a:cxn>
                <a:cxn ang="0">
                  <a:pos x="122" y="150"/>
                </a:cxn>
                <a:cxn ang="0">
                  <a:pos x="129" y="143"/>
                </a:cxn>
                <a:cxn ang="0">
                  <a:pos x="143" y="141"/>
                </a:cxn>
                <a:cxn ang="0">
                  <a:pos x="176" y="108"/>
                </a:cxn>
                <a:cxn ang="0">
                  <a:pos x="186" y="101"/>
                </a:cxn>
                <a:cxn ang="0">
                  <a:pos x="188" y="82"/>
                </a:cxn>
                <a:cxn ang="0">
                  <a:pos x="186" y="71"/>
                </a:cxn>
                <a:cxn ang="0">
                  <a:pos x="202" y="44"/>
                </a:cxn>
                <a:cxn ang="0">
                  <a:pos x="216" y="35"/>
                </a:cxn>
                <a:cxn ang="0">
                  <a:pos x="218" y="26"/>
                </a:cxn>
                <a:cxn ang="0">
                  <a:pos x="209" y="17"/>
                </a:cxn>
                <a:cxn ang="0">
                  <a:pos x="204" y="3"/>
                </a:cxn>
                <a:cxn ang="0">
                  <a:pos x="193" y="2"/>
                </a:cxn>
                <a:cxn ang="0">
                  <a:pos x="186" y="26"/>
                </a:cxn>
                <a:cxn ang="0">
                  <a:pos x="176" y="26"/>
                </a:cxn>
                <a:cxn ang="0">
                  <a:pos x="165" y="44"/>
                </a:cxn>
                <a:cxn ang="0">
                  <a:pos x="155" y="47"/>
                </a:cxn>
                <a:cxn ang="0">
                  <a:pos x="136" y="47"/>
                </a:cxn>
                <a:cxn ang="0">
                  <a:pos x="129" y="54"/>
                </a:cxn>
                <a:cxn ang="0">
                  <a:pos x="138" y="70"/>
                </a:cxn>
                <a:cxn ang="0">
                  <a:pos x="134" y="77"/>
                </a:cxn>
                <a:cxn ang="0">
                  <a:pos x="120" y="75"/>
                </a:cxn>
                <a:cxn ang="0">
                  <a:pos x="103" y="73"/>
                </a:cxn>
                <a:cxn ang="0">
                  <a:pos x="91" y="59"/>
                </a:cxn>
                <a:cxn ang="0">
                  <a:pos x="85" y="63"/>
                </a:cxn>
                <a:cxn ang="0">
                  <a:pos x="80" y="64"/>
                </a:cxn>
                <a:cxn ang="0">
                  <a:pos x="73" y="80"/>
                </a:cxn>
                <a:cxn ang="0">
                  <a:pos x="56" y="101"/>
                </a:cxn>
                <a:cxn ang="0">
                  <a:pos x="45" y="104"/>
                </a:cxn>
                <a:cxn ang="0">
                  <a:pos x="40" y="110"/>
                </a:cxn>
                <a:cxn ang="0">
                  <a:pos x="31" y="115"/>
                </a:cxn>
                <a:cxn ang="0">
                  <a:pos x="21" y="122"/>
                </a:cxn>
                <a:cxn ang="0">
                  <a:pos x="5" y="134"/>
                </a:cxn>
              </a:cxnLst>
              <a:rect l="0" t="0" r="r" b="b"/>
              <a:pathLst>
                <a:path w="223" h="254">
                  <a:moveTo>
                    <a:pt x="0" y="145"/>
                  </a:moveTo>
                  <a:lnTo>
                    <a:pt x="0" y="145"/>
                  </a:lnTo>
                  <a:lnTo>
                    <a:pt x="2" y="151"/>
                  </a:lnTo>
                  <a:lnTo>
                    <a:pt x="5" y="157"/>
                  </a:lnTo>
                  <a:lnTo>
                    <a:pt x="9" y="160"/>
                  </a:lnTo>
                  <a:lnTo>
                    <a:pt x="10" y="160"/>
                  </a:lnTo>
                  <a:lnTo>
                    <a:pt x="14" y="160"/>
                  </a:lnTo>
                  <a:lnTo>
                    <a:pt x="14" y="160"/>
                  </a:lnTo>
                  <a:lnTo>
                    <a:pt x="16" y="158"/>
                  </a:lnTo>
                  <a:lnTo>
                    <a:pt x="19" y="158"/>
                  </a:lnTo>
                  <a:lnTo>
                    <a:pt x="28" y="164"/>
                  </a:lnTo>
                  <a:lnTo>
                    <a:pt x="31" y="167"/>
                  </a:lnTo>
                  <a:lnTo>
                    <a:pt x="35" y="171"/>
                  </a:lnTo>
                  <a:lnTo>
                    <a:pt x="37" y="174"/>
                  </a:lnTo>
                  <a:lnTo>
                    <a:pt x="35" y="179"/>
                  </a:lnTo>
                  <a:lnTo>
                    <a:pt x="35" y="179"/>
                  </a:lnTo>
                  <a:lnTo>
                    <a:pt x="28" y="195"/>
                  </a:lnTo>
                  <a:lnTo>
                    <a:pt x="26" y="200"/>
                  </a:lnTo>
                  <a:lnTo>
                    <a:pt x="26" y="204"/>
                  </a:lnTo>
                  <a:lnTo>
                    <a:pt x="28" y="205"/>
                  </a:lnTo>
                  <a:lnTo>
                    <a:pt x="28" y="205"/>
                  </a:lnTo>
                  <a:lnTo>
                    <a:pt x="30" y="209"/>
                  </a:lnTo>
                  <a:lnTo>
                    <a:pt x="26" y="211"/>
                  </a:lnTo>
                  <a:lnTo>
                    <a:pt x="23" y="214"/>
                  </a:lnTo>
                  <a:lnTo>
                    <a:pt x="19" y="223"/>
                  </a:lnTo>
                  <a:lnTo>
                    <a:pt x="19" y="223"/>
                  </a:lnTo>
                  <a:lnTo>
                    <a:pt x="17" y="226"/>
                  </a:lnTo>
                  <a:lnTo>
                    <a:pt x="14" y="230"/>
                  </a:lnTo>
                  <a:lnTo>
                    <a:pt x="10" y="233"/>
                  </a:lnTo>
                  <a:lnTo>
                    <a:pt x="9" y="235"/>
                  </a:lnTo>
                  <a:lnTo>
                    <a:pt x="10" y="235"/>
                  </a:lnTo>
                  <a:lnTo>
                    <a:pt x="17" y="237"/>
                  </a:lnTo>
                  <a:lnTo>
                    <a:pt x="17" y="237"/>
                  </a:lnTo>
                  <a:lnTo>
                    <a:pt x="23" y="237"/>
                  </a:lnTo>
                  <a:lnTo>
                    <a:pt x="24" y="239"/>
                  </a:lnTo>
                  <a:lnTo>
                    <a:pt x="24" y="240"/>
                  </a:lnTo>
                  <a:lnTo>
                    <a:pt x="23" y="242"/>
                  </a:lnTo>
                  <a:lnTo>
                    <a:pt x="21" y="244"/>
                  </a:lnTo>
                  <a:lnTo>
                    <a:pt x="21" y="245"/>
                  </a:lnTo>
                  <a:lnTo>
                    <a:pt x="26" y="245"/>
                  </a:lnTo>
                  <a:lnTo>
                    <a:pt x="26" y="245"/>
                  </a:lnTo>
                  <a:lnTo>
                    <a:pt x="31" y="247"/>
                  </a:lnTo>
                  <a:lnTo>
                    <a:pt x="33" y="249"/>
                  </a:lnTo>
                  <a:lnTo>
                    <a:pt x="35" y="251"/>
                  </a:lnTo>
                  <a:lnTo>
                    <a:pt x="33" y="252"/>
                  </a:lnTo>
                  <a:lnTo>
                    <a:pt x="33" y="254"/>
                  </a:lnTo>
                  <a:lnTo>
                    <a:pt x="37" y="254"/>
                  </a:lnTo>
                  <a:lnTo>
                    <a:pt x="37" y="254"/>
                  </a:lnTo>
                  <a:lnTo>
                    <a:pt x="40" y="251"/>
                  </a:lnTo>
                  <a:lnTo>
                    <a:pt x="42" y="249"/>
                  </a:lnTo>
                  <a:lnTo>
                    <a:pt x="44" y="244"/>
                  </a:lnTo>
                  <a:lnTo>
                    <a:pt x="45" y="242"/>
                  </a:lnTo>
                  <a:lnTo>
                    <a:pt x="47" y="242"/>
                  </a:lnTo>
                  <a:lnTo>
                    <a:pt x="52" y="244"/>
                  </a:lnTo>
                  <a:lnTo>
                    <a:pt x="52" y="244"/>
                  </a:lnTo>
                  <a:lnTo>
                    <a:pt x="61" y="252"/>
                  </a:lnTo>
                  <a:lnTo>
                    <a:pt x="61" y="251"/>
                  </a:lnTo>
                  <a:lnTo>
                    <a:pt x="63" y="249"/>
                  </a:lnTo>
                  <a:lnTo>
                    <a:pt x="63" y="249"/>
                  </a:lnTo>
                  <a:lnTo>
                    <a:pt x="64" y="247"/>
                  </a:lnTo>
                  <a:lnTo>
                    <a:pt x="66" y="245"/>
                  </a:lnTo>
                  <a:lnTo>
                    <a:pt x="70" y="247"/>
                  </a:lnTo>
                  <a:lnTo>
                    <a:pt x="75" y="247"/>
                  </a:lnTo>
                  <a:lnTo>
                    <a:pt x="82" y="247"/>
                  </a:lnTo>
                  <a:lnTo>
                    <a:pt x="82" y="247"/>
                  </a:lnTo>
                  <a:lnTo>
                    <a:pt x="82" y="242"/>
                  </a:lnTo>
                  <a:lnTo>
                    <a:pt x="84" y="237"/>
                  </a:lnTo>
                  <a:lnTo>
                    <a:pt x="89" y="232"/>
                  </a:lnTo>
                  <a:lnTo>
                    <a:pt x="98" y="226"/>
                  </a:lnTo>
                  <a:lnTo>
                    <a:pt x="98" y="226"/>
                  </a:lnTo>
                  <a:lnTo>
                    <a:pt x="108" y="225"/>
                  </a:lnTo>
                  <a:lnTo>
                    <a:pt x="117" y="225"/>
                  </a:lnTo>
                  <a:lnTo>
                    <a:pt x="125" y="225"/>
                  </a:lnTo>
                  <a:lnTo>
                    <a:pt x="132" y="223"/>
                  </a:lnTo>
                  <a:lnTo>
                    <a:pt x="132" y="223"/>
                  </a:lnTo>
                  <a:lnTo>
                    <a:pt x="136" y="219"/>
                  </a:lnTo>
                  <a:lnTo>
                    <a:pt x="136" y="216"/>
                  </a:lnTo>
                  <a:lnTo>
                    <a:pt x="136" y="212"/>
                  </a:lnTo>
                  <a:lnTo>
                    <a:pt x="139" y="211"/>
                  </a:lnTo>
                  <a:lnTo>
                    <a:pt x="139" y="211"/>
                  </a:lnTo>
                  <a:lnTo>
                    <a:pt x="138" y="205"/>
                  </a:lnTo>
                  <a:lnTo>
                    <a:pt x="134" y="204"/>
                  </a:lnTo>
                  <a:lnTo>
                    <a:pt x="131" y="202"/>
                  </a:lnTo>
                  <a:lnTo>
                    <a:pt x="124" y="193"/>
                  </a:lnTo>
                  <a:lnTo>
                    <a:pt x="124" y="193"/>
                  </a:lnTo>
                  <a:lnTo>
                    <a:pt x="120" y="188"/>
                  </a:lnTo>
                  <a:lnTo>
                    <a:pt x="117" y="186"/>
                  </a:lnTo>
                  <a:lnTo>
                    <a:pt x="111" y="185"/>
                  </a:lnTo>
                  <a:lnTo>
                    <a:pt x="108" y="183"/>
                  </a:lnTo>
                  <a:lnTo>
                    <a:pt x="106" y="179"/>
                  </a:lnTo>
                  <a:lnTo>
                    <a:pt x="106" y="179"/>
                  </a:lnTo>
                  <a:lnTo>
                    <a:pt x="106" y="178"/>
                  </a:lnTo>
                  <a:lnTo>
                    <a:pt x="106" y="178"/>
                  </a:lnTo>
                  <a:lnTo>
                    <a:pt x="110" y="178"/>
                  </a:lnTo>
                  <a:lnTo>
                    <a:pt x="110" y="178"/>
                  </a:lnTo>
                  <a:lnTo>
                    <a:pt x="111" y="176"/>
                  </a:lnTo>
                  <a:lnTo>
                    <a:pt x="111" y="169"/>
                  </a:lnTo>
                  <a:lnTo>
                    <a:pt x="111" y="169"/>
                  </a:lnTo>
                  <a:lnTo>
                    <a:pt x="110" y="162"/>
                  </a:lnTo>
                  <a:lnTo>
                    <a:pt x="111" y="158"/>
                  </a:lnTo>
                  <a:lnTo>
                    <a:pt x="111" y="155"/>
                  </a:lnTo>
                  <a:lnTo>
                    <a:pt x="113" y="153"/>
                  </a:lnTo>
                  <a:lnTo>
                    <a:pt x="118" y="151"/>
                  </a:lnTo>
                  <a:lnTo>
                    <a:pt x="122" y="150"/>
                  </a:lnTo>
                  <a:lnTo>
                    <a:pt x="124" y="146"/>
                  </a:lnTo>
                  <a:lnTo>
                    <a:pt x="124" y="146"/>
                  </a:lnTo>
                  <a:lnTo>
                    <a:pt x="127" y="143"/>
                  </a:lnTo>
                  <a:lnTo>
                    <a:pt x="129" y="143"/>
                  </a:lnTo>
                  <a:lnTo>
                    <a:pt x="132" y="143"/>
                  </a:lnTo>
                  <a:lnTo>
                    <a:pt x="136" y="145"/>
                  </a:lnTo>
                  <a:lnTo>
                    <a:pt x="139" y="143"/>
                  </a:lnTo>
                  <a:lnTo>
                    <a:pt x="143" y="141"/>
                  </a:lnTo>
                  <a:lnTo>
                    <a:pt x="148" y="136"/>
                  </a:lnTo>
                  <a:lnTo>
                    <a:pt x="148" y="136"/>
                  </a:lnTo>
                  <a:lnTo>
                    <a:pt x="169" y="115"/>
                  </a:lnTo>
                  <a:lnTo>
                    <a:pt x="176" y="108"/>
                  </a:lnTo>
                  <a:lnTo>
                    <a:pt x="183" y="104"/>
                  </a:lnTo>
                  <a:lnTo>
                    <a:pt x="183" y="104"/>
                  </a:lnTo>
                  <a:lnTo>
                    <a:pt x="186" y="104"/>
                  </a:lnTo>
                  <a:lnTo>
                    <a:pt x="186" y="101"/>
                  </a:lnTo>
                  <a:lnTo>
                    <a:pt x="188" y="96"/>
                  </a:lnTo>
                  <a:lnTo>
                    <a:pt x="188" y="87"/>
                  </a:lnTo>
                  <a:lnTo>
                    <a:pt x="188" y="82"/>
                  </a:lnTo>
                  <a:lnTo>
                    <a:pt x="188" y="82"/>
                  </a:lnTo>
                  <a:lnTo>
                    <a:pt x="190" y="78"/>
                  </a:lnTo>
                  <a:lnTo>
                    <a:pt x="188" y="77"/>
                  </a:lnTo>
                  <a:lnTo>
                    <a:pt x="186" y="73"/>
                  </a:lnTo>
                  <a:lnTo>
                    <a:pt x="186" y="71"/>
                  </a:lnTo>
                  <a:lnTo>
                    <a:pt x="186" y="70"/>
                  </a:lnTo>
                  <a:lnTo>
                    <a:pt x="190" y="61"/>
                  </a:lnTo>
                  <a:lnTo>
                    <a:pt x="190" y="61"/>
                  </a:lnTo>
                  <a:lnTo>
                    <a:pt x="202" y="44"/>
                  </a:lnTo>
                  <a:lnTo>
                    <a:pt x="211" y="35"/>
                  </a:lnTo>
                  <a:lnTo>
                    <a:pt x="211" y="35"/>
                  </a:lnTo>
                  <a:lnTo>
                    <a:pt x="214" y="33"/>
                  </a:lnTo>
                  <a:lnTo>
                    <a:pt x="216" y="35"/>
                  </a:lnTo>
                  <a:lnTo>
                    <a:pt x="219" y="35"/>
                  </a:lnTo>
                  <a:lnTo>
                    <a:pt x="223" y="33"/>
                  </a:lnTo>
                  <a:lnTo>
                    <a:pt x="218" y="26"/>
                  </a:lnTo>
                  <a:lnTo>
                    <a:pt x="218" y="26"/>
                  </a:lnTo>
                  <a:lnTo>
                    <a:pt x="216" y="19"/>
                  </a:lnTo>
                  <a:lnTo>
                    <a:pt x="214" y="19"/>
                  </a:lnTo>
                  <a:lnTo>
                    <a:pt x="212" y="19"/>
                  </a:lnTo>
                  <a:lnTo>
                    <a:pt x="209" y="17"/>
                  </a:lnTo>
                  <a:lnTo>
                    <a:pt x="209" y="17"/>
                  </a:lnTo>
                  <a:lnTo>
                    <a:pt x="207" y="12"/>
                  </a:lnTo>
                  <a:lnTo>
                    <a:pt x="206" y="7"/>
                  </a:lnTo>
                  <a:lnTo>
                    <a:pt x="204" y="3"/>
                  </a:lnTo>
                  <a:lnTo>
                    <a:pt x="200" y="2"/>
                  </a:lnTo>
                  <a:lnTo>
                    <a:pt x="197" y="0"/>
                  </a:lnTo>
                  <a:lnTo>
                    <a:pt x="197" y="0"/>
                  </a:lnTo>
                  <a:lnTo>
                    <a:pt x="193" y="2"/>
                  </a:lnTo>
                  <a:lnTo>
                    <a:pt x="190" y="5"/>
                  </a:lnTo>
                  <a:lnTo>
                    <a:pt x="188" y="16"/>
                  </a:lnTo>
                  <a:lnTo>
                    <a:pt x="188" y="23"/>
                  </a:lnTo>
                  <a:lnTo>
                    <a:pt x="186" y="26"/>
                  </a:lnTo>
                  <a:lnTo>
                    <a:pt x="185" y="28"/>
                  </a:lnTo>
                  <a:lnTo>
                    <a:pt x="179" y="28"/>
                  </a:lnTo>
                  <a:lnTo>
                    <a:pt x="179" y="28"/>
                  </a:lnTo>
                  <a:lnTo>
                    <a:pt x="176" y="26"/>
                  </a:lnTo>
                  <a:lnTo>
                    <a:pt x="174" y="28"/>
                  </a:lnTo>
                  <a:lnTo>
                    <a:pt x="172" y="31"/>
                  </a:lnTo>
                  <a:lnTo>
                    <a:pt x="169" y="38"/>
                  </a:lnTo>
                  <a:lnTo>
                    <a:pt x="165" y="44"/>
                  </a:lnTo>
                  <a:lnTo>
                    <a:pt x="165" y="44"/>
                  </a:lnTo>
                  <a:lnTo>
                    <a:pt x="160" y="47"/>
                  </a:lnTo>
                  <a:lnTo>
                    <a:pt x="159" y="47"/>
                  </a:lnTo>
                  <a:lnTo>
                    <a:pt x="155" y="47"/>
                  </a:lnTo>
                  <a:lnTo>
                    <a:pt x="150" y="47"/>
                  </a:lnTo>
                  <a:lnTo>
                    <a:pt x="150" y="47"/>
                  </a:lnTo>
                  <a:lnTo>
                    <a:pt x="143" y="47"/>
                  </a:lnTo>
                  <a:lnTo>
                    <a:pt x="136" y="47"/>
                  </a:lnTo>
                  <a:lnTo>
                    <a:pt x="134" y="47"/>
                  </a:lnTo>
                  <a:lnTo>
                    <a:pt x="131" y="47"/>
                  </a:lnTo>
                  <a:lnTo>
                    <a:pt x="131" y="49"/>
                  </a:lnTo>
                  <a:lnTo>
                    <a:pt x="129" y="54"/>
                  </a:lnTo>
                  <a:lnTo>
                    <a:pt x="129" y="54"/>
                  </a:lnTo>
                  <a:lnTo>
                    <a:pt x="132" y="59"/>
                  </a:lnTo>
                  <a:lnTo>
                    <a:pt x="136" y="64"/>
                  </a:lnTo>
                  <a:lnTo>
                    <a:pt x="138" y="70"/>
                  </a:lnTo>
                  <a:lnTo>
                    <a:pt x="138" y="71"/>
                  </a:lnTo>
                  <a:lnTo>
                    <a:pt x="136" y="75"/>
                  </a:lnTo>
                  <a:lnTo>
                    <a:pt x="136" y="75"/>
                  </a:lnTo>
                  <a:lnTo>
                    <a:pt x="134" y="77"/>
                  </a:lnTo>
                  <a:lnTo>
                    <a:pt x="132" y="77"/>
                  </a:lnTo>
                  <a:lnTo>
                    <a:pt x="129" y="77"/>
                  </a:lnTo>
                  <a:lnTo>
                    <a:pt x="125" y="75"/>
                  </a:lnTo>
                  <a:lnTo>
                    <a:pt x="120" y="75"/>
                  </a:lnTo>
                  <a:lnTo>
                    <a:pt x="120" y="75"/>
                  </a:lnTo>
                  <a:lnTo>
                    <a:pt x="117" y="77"/>
                  </a:lnTo>
                  <a:lnTo>
                    <a:pt x="111" y="77"/>
                  </a:lnTo>
                  <a:lnTo>
                    <a:pt x="103" y="73"/>
                  </a:lnTo>
                  <a:lnTo>
                    <a:pt x="103" y="73"/>
                  </a:lnTo>
                  <a:lnTo>
                    <a:pt x="98" y="70"/>
                  </a:lnTo>
                  <a:lnTo>
                    <a:pt x="94" y="64"/>
                  </a:lnTo>
                  <a:lnTo>
                    <a:pt x="91" y="59"/>
                  </a:lnTo>
                  <a:lnTo>
                    <a:pt x="89" y="59"/>
                  </a:lnTo>
                  <a:lnTo>
                    <a:pt x="87" y="59"/>
                  </a:lnTo>
                  <a:lnTo>
                    <a:pt x="87" y="59"/>
                  </a:lnTo>
                  <a:lnTo>
                    <a:pt x="85" y="63"/>
                  </a:lnTo>
                  <a:lnTo>
                    <a:pt x="84" y="63"/>
                  </a:lnTo>
                  <a:lnTo>
                    <a:pt x="82" y="61"/>
                  </a:lnTo>
                  <a:lnTo>
                    <a:pt x="80" y="64"/>
                  </a:lnTo>
                  <a:lnTo>
                    <a:pt x="80" y="64"/>
                  </a:lnTo>
                  <a:lnTo>
                    <a:pt x="77" y="70"/>
                  </a:lnTo>
                  <a:lnTo>
                    <a:pt x="77" y="73"/>
                  </a:lnTo>
                  <a:lnTo>
                    <a:pt x="77" y="77"/>
                  </a:lnTo>
                  <a:lnTo>
                    <a:pt x="73" y="80"/>
                  </a:lnTo>
                  <a:lnTo>
                    <a:pt x="73" y="80"/>
                  </a:lnTo>
                  <a:lnTo>
                    <a:pt x="64" y="94"/>
                  </a:lnTo>
                  <a:lnTo>
                    <a:pt x="59" y="99"/>
                  </a:lnTo>
                  <a:lnTo>
                    <a:pt x="56" y="101"/>
                  </a:lnTo>
                  <a:lnTo>
                    <a:pt x="52" y="101"/>
                  </a:lnTo>
                  <a:lnTo>
                    <a:pt x="52" y="101"/>
                  </a:lnTo>
                  <a:lnTo>
                    <a:pt x="47" y="103"/>
                  </a:lnTo>
                  <a:lnTo>
                    <a:pt x="45" y="104"/>
                  </a:lnTo>
                  <a:lnTo>
                    <a:pt x="45" y="106"/>
                  </a:lnTo>
                  <a:lnTo>
                    <a:pt x="44" y="108"/>
                  </a:lnTo>
                  <a:lnTo>
                    <a:pt x="44" y="108"/>
                  </a:lnTo>
                  <a:lnTo>
                    <a:pt x="40" y="110"/>
                  </a:lnTo>
                  <a:lnTo>
                    <a:pt x="38" y="111"/>
                  </a:lnTo>
                  <a:lnTo>
                    <a:pt x="37" y="113"/>
                  </a:lnTo>
                  <a:lnTo>
                    <a:pt x="31" y="115"/>
                  </a:lnTo>
                  <a:lnTo>
                    <a:pt x="31" y="115"/>
                  </a:lnTo>
                  <a:lnTo>
                    <a:pt x="26" y="117"/>
                  </a:lnTo>
                  <a:lnTo>
                    <a:pt x="24" y="118"/>
                  </a:lnTo>
                  <a:lnTo>
                    <a:pt x="23" y="120"/>
                  </a:lnTo>
                  <a:lnTo>
                    <a:pt x="21" y="122"/>
                  </a:lnTo>
                  <a:lnTo>
                    <a:pt x="21" y="122"/>
                  </a:lnTo>
                  <a:lnTo>
                    <a:pt x="16" y="124"/>
                  </a:lnTo>
                  <a:lnTo>
                    <a:pt x="10" y="127"/>
                  </a:lnTo>
                  <a:lnTo>
                    <a:pt x="5" y="134"/>
                  </a:lnTo>
                  <a:lnTo>
                    <a:pt x="0" y="143"/>
                  </a:lnTo>
                  <a:lnTo>
                    <a:pt x="0" y="1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4" name="Freeform 2017">
              <a:extLst>
                <a:ext uri="{FF2B5EF4-FFF2-40B4-BE49-F238E27FC236}">
                  <a16:creationId xmlns:a16="http://schemas.microsoft.com/office/drawing/2014/main" id="{21F12753-0917-4715-B234-FC6A39F1B419}"/>
                </a:ext>
              </a:extLst>
            </p:cNvPr>
            <p:cNvSpPr>
              <a:spLocks/>
            </p:cNvSpPr>
            <p:nvPr/>
          </p:nvSpPr>
          <p:spPr bwMode="auto">
            <a:xfrm>
              <a:off x="8270162" y="3153277"/>
              <a:ext cx="96911" cy="162105"/>
            </a:xfrm>
            <a:custGeom>
              <a:avLst/>
              <a:gdLst/>
              <a:ahLst/>
              <a:cxnLst>
                <a:cxn ang="0">
                  <a:pos x="21" y="41"/>
                </a:cxn>
                <a:cxn ang="0">
                  <a:pos x="16" y="43"/>
                </a:cxn>
                <a:cxn ang="0">
                  <a:pos x="19" y="54"/>
                </a:cxn>
                <a:cxn ang="0">
                  <a:pos x="21" y="64"/>
                </a:cxn>
                <a:cxn ang="0">
                  <a:pos x="19" y="68"/>
                </a:cxn>
                <a:cxn ang="0">
                  <a:pos x="28" y="78"/>
                </a:cxn>
                <a:cxn ang="0">
                  <a:pos x="26" y="83"/>
                </a:cxn>
                <a:cxn ang="0">
                  <a:pos x="21" y="76"/>
                </a:cxn>
                <a:cxn ang="0">
                  <a:pos x="9" y="75"/>
                </a:cxn>
                <a:cxn ang="0">
                  <a:pos x="9" y="78"/>
                </a:cxn>
                <a:cxn ang="0">
                  <a:pos x="7" y="83"/>
                </a:cxn>
                <a:cxn ang="0">
                  <a:pos x="3" y="82"/>
                </a:cxn>
                <a:cxn ang="0">
                  <a:pos x="2" y="92"/>
                </a:cxn>
                <a:cxn ang="0">
                  <a:pos x="9" y="92"/>
                </a:cxn>
                <a:cxn ang="0">
                  <a:pos x="14" y="95"/>
                </a:cxn>
                <a:cxn ang="0">
                  <a:pos x="16" y="118"/>
                </a:cxn>
                <a:cxn ang="0">
                  <a:pos x="19" y="123"/>
                </a:cxn>
                <a:cxn ang="0">
                  <a:pos x="19" y="129"/>
                </a:cxn>
                <a:cxn ang="0">
                  <a:pos x="16" y="139"/>
                </a:cxn>
                <a:cxn ang="0">
                  <a:pos x="7" y="160"/>
                </a:cxn>
                <a:cxn ang="0">
                  <a:pos x="5" y="167"/>
                </a:cxn>
                <a:cxn ang="0">
                  <a:pos x="9" y="176"/>
                </a:cxn>
                <a:cxn ang="0">
                  <a:pos x="10" y="181"/>
                </a:cxn>
                <a:cxn ang="0">
                  <a:pos x="5" y="186"/>
                </a:cxn>
                <a:cxn ang="0">
                  <a:pos x="9" y="189"/>
                </a:cxn>
                <a:cxn ang="0">
                  <a:pos x="12" y="193"/>
                </a:cxn>
                <a:cxn ang="0">
                  <a:pos x="17" y="200"/>
                </a:cxn>
                <a:cxn ang="0">
                  <a:pos x="24" y="189"/>
                </a:cxn>
                <a:cxn ang="0">
                  <a:pos x="24" y="195"/>
                </a:cxn>
                <a:cxn ang="0">
                  <a:pos x="28" y="195"/>
                </a:cxn>
                <a:cxn ang="0">
                  <a:pos x="35" y="184"/>
                </a:cxn>
                <a:cxn ang="0">
                  <a:pos x="42" y="181"/>
                </a:cxn>
                <a:cxn ang="0">
                  <a:pos x="38" y="186"/>
                </a:cxn>
                <a:cxn ang="0">
                  <a:pos x="42" y="195"/>
                </a:cxn>
                <a:cxn ang="0">
                  <a:pos x="47" y="191"/>
                </a:cxn>
                <a:cxn ang="0">
                  <a:pos x="47" y="182"/>
                </a:cxn>
                <a:cxn ang="0">
                  <a:pos x="49" y="177"/>
                </a:cxn>
                <a:cxn ang="0">
                  <a:pos x="52" y="186"/>
                </a:cxn>
                <a:cxn ang="0">
                  <a:pos x="56" y="182"/>
                </a:cxn>
                <a:cxn ang="0">
                  <a:pos x="54" y="176"/>
                </a:cxn>
                <a:cxn ang="0">
                  <a:pos x="56" y="172"/>
                </a:cxn>
                <a:cxn ang="0">
                  <a:pos x="77" y="176"/>
                </a:cxn>
                <a:cxn ang="0">
                  <a:pos x="82" y="174"/>
                </a:cxn>
                <a:cxn ang="0">
                  <a:pos x="85" y="167"/>
                </a:cxn>
                <a:cxn ang="0">
                  <a:pos x="98" y="165"/>
                </a:cxn>
                <a:cxn ang="0">
                  <a:pos x="104" y="165"/>
                </a:cxn>
                <a:cxn ang="0">
                  <a:pos x="118" y="137"/>
                </a:cxn>
                <a:cxn ang="0">
                  <a:pos x="120" y="122"/>
                </a:cxn>
                <a:cxn ang="0">
                  <a:pos x="115" y="115"/>
                </a:cxn>
                <a:cxn ang="0">
                  <a:pos x="117" y="101"/>
                </a:cxn>
                <a:cxn ang="0">
                  <a:pos x="117" y="82"/>
                </a:cxn>
                <a:cxn ang="0">
                  <a:pos x="101" y="41"/>
                </a:cxn>
                <a:cxn ang="0">
                  <a:pos x="87" y="21"/>
                </a:cxn>
                <a:cxn ang="0">
                  <a:pos x="78" y="0"/>
                </a:cxn>
                <a:cxn ang="0">
                  <a:pos x="75" y="8"/>
                </a:cxn>
                <a:cxn ang="0">
                  <a:pos x="64" y="14"/>
                </a:cxn>
                <a:cxn ang="0">
                  <a:pos x="37" y="15"/>
                </a:cxn>
                <a:cxn ang="0">
                  <a:pos x="23" y="26"/>
                </a:cxn>
                <a:cxn ang="0">
                  <a:pos x="21" y="36"/>
                </a:cxn>
              </a:cxnLst>
              <a:rect l="0" t="0" r="r" b="b"/>
              <a:pathLst>
                <a:path w="120" h="202">
                  <a:moveTo>
                    <a:pt x="21" y="36"/>
                  </a:moveTo>
                  <a:lnTo>
                    <a:pt x="21" y="36"/>
                  </a:lnTo>
                  <a:lnTo>
                    <a:pt x="21" y="41"/>
                  </a:lnTo>
                  <a:lnTo>
                    <a:pt x="19" y="41"/>
                  </a:lnTo>
                  <a:lnTo>
                    <a:pt x="17" y="41"/>
                  </a:lnTo>
                  <a:lnTo>
                    <a:pt x="16" y="43"/>
                  </a:lnTo>
                  <a:lnTo>
                    <a:pt x="16" y="43"/>
                  </a:lnTo>
                  <a:lnTo>
                    <a:pt x="17" y="48"/>
                  </a:lnTo>
                  <a:lnTo>
                    <a:pt x="19" y="54"/>
                  </a:lnTo>
                  <a:lnTo>
                    <a:pt x="21" y="59"/>
                  </a:lnTo>
                  <a:lnTo>
                    <a:pt x="21" y="61"/>
                  </a:lnTo>
                  <a:lnTo>
                    <a:pt x="21" y="64"/>
                  </a:lnTo>
                  <a:lnTo>
                    <a:pt x="21" y="64"/>
                  </a:lnTo>
                  <a:lnTo>
                    <a:pt x="19" y="66"/>
                  </a:lnTo>
                  <a:lnTo>
                    <a:pt x="19" y="68"/>
                  </a:lnTo>
                  <a:lnTo>
                    <a:pt x="23" y="71"/>
                  </a:lnTo>
                  <a:lnTo>
                    <a:pt x="26" y="76"/>
                  </a:lnTo>
                  <a:lnTo>
                    <a:pt x="28" y="78"/>
                  </a:lnTo>
                  <a:lnTo>
                    <a:pt x="28" y="82"/>
                  </a:lnTo>
                  <a:lnTo>
                    <a:pt x="28" y="82"/>
                  </a:lnTo>
                  <a:lnTo>
                    <a:pt x="26" y="83"/>
                  </a:lnTo>
                  <a:lnTo>
                    <a:pt x="26" y="82"/>
                  </a:lnTo>
                  <a:lnTo>
                    <a:pt x="23" y="78"/>
                  </a:lnTo>
                  <a:lnTo>
                    <a:pt x="21" y="76"/>
                  </a:lnTo>
                  <a:lnTo>
                    <a:pt x="17" y="76"/>
                  </a:lnTo>
                  <a:lnTo>
                    <a:pt x="17" y="76"/>
                  </a:lnTo>
                  <a:lnTo>
                    <a:pt x="9" y="75"/>
                  </a:lnTo>
                  <a:lnTo>
                    <a:pt x="7" y="76"/>
                  </a:lnTo>
                  <a:lnTo>
                    <a:pt x="9" y="78"/>
                  </a:lnTo>
                  <a:lnTo>
                    <a:pt x="9" y="78"/>
                  </a:lnTo>
                  <a:lnTo>
                    <a:pt x="9" y="82"/>
                  </a:lnTo>
                  <a:lnTo>
                    <a:pt x="9" y="83"/>
                  </a:lnTo>
                  <a:lnTo>
                    <a:pt x="7" y="83"/>
                  </a:lnTo>
                  <a:lnTo>
                    <a:pt x="5" y="82"/>
                  </a:lnTo>
                  <a:lnTo>
                    <a:pt x="5" y="82"/>
                  </a:lnTo>
                  <a:lnTo>
                    <a:pt x="3" y="82"/>
                  </a:lnTo>
                  <a:lnTo>
                    <a:pt x="2" y="83"/>
                  </a:lnTo>
                  <a:lnTo>
                    <a:pt x="0" y="88"/>
                  </a:lnTo>
                  <a:lnTo>
                    <a:pt x="2" y="92"/>
                  </a:lnTo>
                  <a:lnTo>
                    <a:pt x="2" y="92"/>
                  </a:lnTo>
                  <a:lnTo>
                    <a:pt x="7" y="92"/>
                  </a:lnTo>
                  <a:lnTo>
                    <a:pt x="9" y="92"/>
                  </a:lnTo>
                  <a:lnTo>
                    <a:pt x="12" y="92"/>
                  </a:lnTo>
                  <a:lnTo>
                    <a:pt x="14" y="95"/>
                  </a:lnTo>
                  <a:lnTo>
                    <a:pt x="14" y="95"/>
                  </a:lnTo>
                  <a:lnTo>
                    <a:pt x="14" y="109"/>
                  </a:lnTo>
                  <a:lnTo>
                    <a:pt x="14" y="115"/>
                  </a:lnTo>
                  <a:lnTo>
                    <a:pt x="16" y="118"/>
                  </a:lnTo>
                  <a:lnTo>
                    <a:pt x="16" y="118"/>
                  </a:lnTo>
                  <a:lnTo>
                    <a:pt x="19" y="122"/>
                  </a:lnTo>
                  <a:lnTo>
                    <a:pt x="19" y="123"/>
                  </a:lnTo>
                  <a:lnTo>
                    <a:pt x="19" y="125"/>
                  </a:lnTo>
                  <a:lnTo>
                    <a:pt x="19" y="129"/>
                  </a:lnTo>
                  <a:lnTo>
                    <a:pt x="19" y="129"/>
                  </a:lnTo>
                  <a:lnTo>
                    <a:pt x="23" y="132"/>
                  </a:lnTo>
                  <a:lnTo>
                    <a:pt x="19" y="134"/>
                  </a:lnTo>
                  <a:lnTo>
                    <a:pt x="16" y="139"/>
                  </a:lnTo>
                  <a:lnTo>
                    <a:pt x="12" y="144"/>
                  </a:lnTo>
                  <a:lnTo>
                    <a:pt x="12" y="144"/>
                  </a:lnTo>
                  <a:lnTo>
                    <a:pt x="7" y="160"/>
                  </a:lnTo>
                  <a:lnTo>
                    <a:pt x="5" y="163"/>
                  </a:lnTo>
                  <a:lnTo>
                    <a:pt x="5" y="167"/>
                  </a:lnTo>
                  <a:lnTo>
                    <a:pt x="5" y="167"/>
                  </a:lnTo>
                  <a:lnTo>
                    <a:pt x="7" y="169"/>
                  </a:lnTo>
                  <a:lnTo>
                    <a:pt x="9" y="172"/>
                  </a:lnTo>
                  <a:lnTo>
                    <a:pt x="9" y="176"/>
                  </a:lnTo>
                  <a:lnTo>
                    <a:pt x="9" y="179"/>
                  </a:lnTo>
                  <a:lnTo>
                    <a:pt x="9" y="179"/>
                  </a:lnTo>
                  <a:lnTo>
                    <a:pt x="10" y="181"/>
                  </a:lnTo>
                  <a:lnTo>
                    <a:pt x="9" y="182"/>
                  </a:lnTo>
                  <a:lnTo>
                    <a:pt x="5" y="182"/>
                  </a:lnTo>
                  <a:lnTo>
                    <a:pt x="5" y="186"/>
                  </a:lnTo>
                  <a:lnTo>
                    <a:pt x="5" y="186"/>
                  </a:lnTo>
                  <a:lnTo>
                    <a:pt x="7" y="189"/>
                  </a:lnTo>
                  <a:lnTo>
                    <a:pt x="9" y="189"/>
                  </a:lnTo>
                  <a:lnTo>
                    <a:pt x="12" y="189"/>
                  </a:lnTo>
                  <a:lnTo>
                    <a:pt x="12" y="193"/>
                  </a:lnTo>
                  <a:lnTo>
                    <a:pt x="12" y="193"/>
                  </a:lnTo>
                  <a:lnTo>
                    <a:pt x="12" y="198"/>
                  </a:lnTo>
                  <a:lnTo>
                    <a:pt x="14" y="202"/>
                  </a:lnTo>
                  <a:lnTo>
                    <a:pt x="17" y="200"/>
                  </a:lnTo>
                  <a:lnTo>
                    <a:pt x="21" y="195"/>
                  </a:lnTo>
                  <a:lnTo>
                    <a:pt x="21" y="195"/>
                  </a:lnTo>
                  <a:lnTo>
                    <a:pt x="24" y="189"/>
                  </a:lnTo>
                  <a:lnTo>
                    <a:pt x="24" y="189"/>
                  </a:lnTo>
                  <a:lnTo>
                    <a:pt x="24" y="191"/>
                  </a:lnTo>
                  <a:lnTo>
                    <a:pt x="24" y="195"/>
                  </a:lnTo>
                  <a:lnTo>
                    <a:pt x="26" y="196"/>
                  </a:lnTo>
                  <a:lnTo>
                    <a:pt x="26" y="196"/>
                  </a:lnTo>
                  <a:lnTo>
                    <a:pt x="28" y="195"/>
                  </a:lnTo>
                  <a:lnTo>
                    <a:pt x="30" y="191"/>
                  </a:lnTo>
                  <a:lnTo>
                    <a:pt x="31" y="188"/>
                  </a:lnTo>
                  <a:lnTo>
                    <a:pt x="35" y="184"/>
                  </a:lnTo>
                  <a:lnTo>
                    <a:pt x="35" y="184"/>
                  </a:lnTo>
                  <a:lnTo>
                    <a:pt x="38" y="181"/>
                  </a:lnTo>
                  <a:lnTo>
                    <a:pt x="42" y="181"/>
                  </a:lnTo>
                  <a:lnTo>
                    <a:pt x="42" y="182"/>
                  </a:lnTo>
                  <a:lnTo>
                    <a:pt x="38" y="186"/>
                  </a:lnTo>
                  <a:lnTo>
                    <a:pt x="38" y="186"/>
                  </a:lnTo>
                  <a:lnTo>
                    <a:pt x="37" y="189"/>
                  </a:lnTo>
                  <a:lnTo>
                    <a:pt x="38" y="193"/>
                  </a:lnTo>
                  <a:lnTo>
                    <a:pt x="42" y="195"/>
                  </a:lnTo>
                  <a:lnTo>
                    <a:pt x="45" y="193"/>
                  </a:lnTo>
                  <a:lnTo>
                    <a:pt x="45" y="193"/>
                  </a:lnTo>
                  <a:lnTo>
                    <a:pt x="47" y="191"/>
                  </a:lnTo>
                  <a:lnTo>
                    <a:pt x="49" y="188"/>
                  </a:lnTo>
                  <a:lnTo>
                    <a:pt x="47" y="182"/>
                  </a:lnTo>
                  <a:lnTo>
                    <a:pt x="47" y="182"/>
                  </a:lnTo>
                  <a:lnTo>
                    <a:pt x="45" y="179"/>
                  </a:lnTo>
                  <a:lnTo>
                    <a:pt x="47" y="177"/>
                  </a:lnTo>
                  <a:lnTo>
                    <a:pt x="49" y="177"/>
                  </a:lnTo>
                  <a:lnTo>
                    <a:pt x="49" y="181"/>
                  </a:lnTo>
                  <a:lnTo>
                    <a:pt x="49" y="181"/>
                  </a:lnTo>
                  <a:lnTo>
                    <a:pt x="52" y="186"/>
                  </a:lnTo>
                  <a:lnTo>
                    <a:pt x="52" y="186"/>
                  </a:lnTo>
                  <a:lnTo>
                    <a:pt x="56" y="182"/>
                  </a:lnTo>
                  <a:lnTo>
                    <a:pt x="56" y="182"/>
                  </a:lnTo>
                  <a:lnTo>
                    <a:pt x="57" y="181"/>
                  </a:lnTo>
                  <a:lnTo>
                    <a:pt x="57" y="179"/>
                  </a:lnTo>
                  <a:lnTo>
                    <a:pt x="54" y="176"/>
                  </a:lnTo>
                  <a:lnTo>
                    <a:pt x="52" y="174"/>
                  </a:lnTo>
                  <a:lnTo>
                    <a:pt x="56" y="172"/>
                  </a:lnTo>
                  <a:lnTo>
                    <a:pt x="56" y="172"/>
                  </a:lnTo>
                  <a:lnTo>
                    <a:pt x="64" y="172"/>
                  </a:lnTo>
                  <a:lnTo>
                    <a:pt x="71" y="174"/>
                  </a:lnTo>
                  <a:lnTo>
                    <a:pt x="77" y="176"/>
                  </a:lnTo>
                  <a:lnTo>
                    <a:pt x="80" y="176"/>
                  </a:lnTo>
                  <a:lnTo>
                    <a:pt x="80" y="176"/>
                  </a:lnTo>
                  <a:lnTo>
                    <a:pt x="82" y="174"/>
                  </a:lnTo>
                  <a:lnTo>
                    <a:pt x="82" y="172"/>
                  </a:lnTo>
                  <a:lnTo>
                    <a:pt x="82" y="169"/>
                  </a:lnTo>
                  <a:lnTo>
                    <a:pt x="85" y="167"/>
                  </a:lnTo>
                  <a:lnTo>
                    <a:pt x="85" y="167"/>
                  </a:lnTo>
                  <a:lnTo>
                    <a:pt x="92" y="165"/>
                  </a:lnTo>
                  <a:lnTo>
                    <a:pt x="98" y="165"/>
                  </a:lnTo>
                  <a:lnTo>
                    <a:pt x="101" y="167"/>
                  </a:lnTo>
                  <a:lnTo>
                    <a:pt x="104" y="165"/>
                  </a:lnTo>
                  <a:lnTo>
                    <a:pt x="104" y="165"/>
                  </a:lnTo>
                  <a:lnTo>
                    <a:pt x="110" y="158"/>
                  </a:lnTo>
                  <a:lnTo>
                    <a:pt x="115" y="149"/>
                  </a:lnTo>
                  <a:lnTo>
                    <a:pt x="118" y="137"/>
                  </a:lnTo>
                  <a:lnTo>
                    <a:pt x="120" y="127"/>
                  </a:lnTo>
                  <a:lnTo>
                    <a:pt x="120" y="127"/>
                  </a:lnTo>
                  <a:lnTo>
                    <a:pt x="120" y="122"/>
                  </a:lnTo>
                  <a:lnTo>
                    <a:pt x="118" y="122"/>
                  </a:lnTo>
                  <a:lnTo>
                    <a:pt x="115" y="122"/>
                  </a:lnTo>
                  <a:lnTo>
                    <a:pt x="115" y="115"/>
                  </a:lnTo>
                  <a:lnTo>
                    <a:pt x="115" y="115"/>
                  </a:lnTo>
                  <a:lnTo>
                    <a:pt x="115" y="106"/>
                  </a:lnTo>
                  <a:lnTo>
                    <a:pt x="117" y="101"/>
                  </a:lnTo>
                  <a:lnTo>
                    <a:pt x="117" y="92"/>
                  </a:lnTo>
                  <a:lnTo>
                    <a:pt x="117" y="82"/>
                  </a:lnTo>
                  <a:lnTo>
                    <a:pt x="117" y="82"/>
                  </a:lnTo>
                  <a:lnTo>
                    <a:pt x="113" y="68"/>
                  </a:lnTo>
                  <a:lnTo>
                    <a:pt x="108" y="54"/>
                  </a:lnTo>
                  <a:lnTo>
                    <a:pt x="101" y="41"/>
                  </a:lnTo>
                  <a:lnTo>
                    <a:pt x="94" y="31"/>
                  </a:lnTo>
                  <a:lnTo>
                    <a:pt x="94" y="31"/>
                  </a:lnTo>
                  <a:lnTo>
                    <a:pt x="87" y="21"/>
                  </a:lnTo>
                  <a:lnTo>
                    <a:pt x="84" y="12"/>
                  </a:lnTo>
                  <a:lnTo>
                    <a:pt x="78" y="0"/>
                  </a:lnTo>
                  <a:lnTo>
                    <a:pt x="78" y="0"/>
                  </a:lnTo>
                  <a:lnTo>
                    <a:pt x="75" y="1"/>
                  </a:lnTo>
                  <a:lnTo>
                    <a:pt x="75" y="5"/>
                  </a:lnTo>
                  <a:lnTo>
                    <a:pt x="75" y="8"/>
                  </a:lnTo>
                  <a:lnTo>
                    <a:pt x="71" y="12"/>
                  </a:lnTo>
                  <a:lnTo>
                    <a:pt x="71" y="12"/>
                  </a:lnTo>
                  <a:lnTo>
                    <a:pt x="64" y="14"/>
                  </a:lnTo>
                  <a:lnTo>
                    <a:pt x="56" y="14"/>
                  </a:lnTo>
                  <a:lnTo>
                    <a:pt x="47" y="14"/>
                  </a:lnTo>
                  <a:lnTo>
                    <a:pt x="37" y="15"/>
                  </a:lnTo>
                  <a:lnTo>
                    <a:pt x="37" y="15"/>
                  </a:lnTo>
                  <a:lnTo>
                    <a:pt x="28" y="21"/>
                  </a:lnTo>
                  <a:lnTo>
                    <a:pt x="23" y="26"/>
                  </a:lnTo>
                  <a:lnTo>
                    <a:pt x="21" y="31"/>
                  </a:lnTo>
                  <a:lnTo>
                    <a:pt x="21" y="36"/>
                  </a:lnTo>
                  <a:lnTo>
                    <a:pt x="21" y="3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5" name="Freeform 2018">
              <a:extLst>
                <a:ext uri="{FF2B5EF4-FFF2-40B4-BE49-F238E27FC236}">
                  <a16:creationId xmlns:a16="http://schemas.microsoft.com/office/drawing/2014/main" id="{2E47E147-96DE-4D4A-AF83-EC496CBD1A3E}"/>
                </a:ext>
              </a:extLst>
            </p:cNvPr>
            <p:cNvSpPr>
              <a:spLocks/>
            </p:cNvSpPr>
            <p:nvPr/>
          </p:nvSpPr>
          <p:spPr bwMode="auto">
            <a:xfrm>
              <a:off x="8270161" y="3341809"/>
              <a:ext cx="21144" cy="15858"/>
            </a:xfrm>
            <a:custGeom>
              <a:avLst/>
              <a:gdLst/>
              <a:ahLst/>
              <a:cxnLst>
                <a:cxn ang="0">
                  <a:pos x="0" y="15"/>
                </a:cxn>
                <a:cxn ang="0">
                  <a:pos x="0" y="15"/>
                </a:cxn>
                <a:cxn ang="0">
                  <a:pos x="0" y="12"/>
                </a:cxn>
                <a:cxn ang="0">
                  <a:pos x="2" y="8"/>
                </a:cxn>
                <a:cxn ang="0">
                  <a:pos x="7" y="5"/>
                </a:cxn>
                <a:cxn ang="0">
                  <a:pos x="12" y="3"/>
                </a:cxn>
                <a:cxn ang="0">
                  <a:pos x="17" y="1"/>
                </a:cxn>
                <a:cxn ang="0">
                  <a:pos x="23" y="0"/>
                </a:cxn>
                <a:cxn ang="0">
                  <a:pos x="26" y="1"/>
                </a:cxn>
                <a:cxn ang="0">
                  <a:pos x="28" y="3"/>
                </a:cxn>
                <a:cxn ang="0">
                  <a:pos x="28" y="3"/>
                </a:cxn>
                <a:cxn ang="0">
                  <a:pos x="28" y="7"/>
                </a:cxn>
                <a:cxn ang="0">
                  <a:pos x="26" y="10"/>
                </a:cxn>
                <a:cxn ang="0">
                  <a:pos x="17" y="15"/>
                </a:cxn>
                <a:cxn ang="0">
                  <a:pos x="7" y="19"/>
                </a:cxn>
                <a:cxn ang="0">
                  <a:pos x="3" y="17"/>
                </a:cxn>
                <a:cxn ang="0">
                  <a:pos x="0" y="15"/>
                </a:cxn>
                <a:cxn ang="0">
                  <a:pos x="0" y="15"/>
                </a:cxn>
              </a:cxnLst>
              <a:rect l="0" t="0" r="r" b="b"/>
              <a:pathLst>
                <a:path w="28" h="19">
                  <a:moveTo>
                    <a:pt x="0" y="15"/>
                  </a:moveTo>
                  <a:lnTo>
                    <a:pt x="0" y="15"/>
                  </a:lnTo>
                  <a:lnTo>
                    <a:pt x="0" y="12"/>
                  </a:lnTo>
                  <a:lnTo>
                    <a:pt x="2" y="8"/>
                  </a:lnTo>
                  <a:lnTo>
                    <a:pt x="7" y="5"/>
                  </a:lnTo>
                  <a:lnTo>
                    <a:pt x="12" y="3"/>
                  </a:lnTo>
                  <a:lnTo>
                    <a:pt x="17" y="1"/>
                  </a:lnTo>
                  <a:lnTo>
                    <a:pt x="23" y="0"/>
                  </a:lnTo>
                  <a:lnTo>
                    <a:pt x="26" y="1"/>
                  </a:lnTo>
                  <a:lnTo>
                    <a:pt x="28" y="3"/>
                  </a:lnTo>
                  <a:lnTo>
                    <a:pt x="28" y="3"/>
                  </a:lnTo>
                  <a:lnTo>
                    <a:pt x="28" y="7"/>
                  </a:lnTo>
                  <a:lnTo>
                    <a:pt x="26" y="10"/>
                  </a:lnTo>
                  <a:lnTo>
                    <a:pt x="17" y="15"/>
                  </a:lnTo>
                  <a:lnTo>
                    <a:pt x="7" y="19"/>
                  </a:lnTo>
                  <a:lnTo>
                    <a:pt x="3" y="17"/>
                  </a:lnTo>
                  <a:lnTo>
                    <a:pt x="0" y="15"/>
                  </a:lnTo>
                  <a:lnTo>
                    <a:pt x="0" y="1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6" name="Freeform 2019">
              <a:extLst>
                <a:ext uri="{FF2B5EF4-FFF2-40B4-BE49-F238E27FC236}">
                  <a16:creationId xmlns:a16="http://schemas.microsoft.com/office/drawing/2014/main" id="{3B20B0E3-B5D6-4FBE-AC52-1A295148725B}"/>
                </a:ext>
              </a:extLst>
            </p:cNvPr>
            <p:cNvSpPr>
              <a:spLocks/>
            </p:cNvSpPr>
            <p:nvPr/>
          </p:nvSpPr>
          <p:spPr bwMode="auto">
            <a:xfrm>
              <a:off x="7316923" y="3528581"/>
              <a:ext cx="251964" cy="648418"/>
            </a:xfrm>
            <a:custGeom>
              <a:avLst/>
              <a:gdLst/>
              <a:ahLst/>
              <a:cxnLst>
                <a:cxn ang="0">
                  <a:pos x="33" y="385"/>
                </a:cxn>
                <a:cxn ang="0">
                  <a:pos x="50" y="389"/>
                </a:cxn>
                <a:cxn ang="0">
                  <a:pos x="52" y="408"/>
                </a:cxn>
                <a:cxn ang="0">
                  <a:pos x="55" y="427"/>
                </a:cxn>
                <a:cxn ang="0">
                  <a:pos x="69" y="441"/>
                </a:cxn>
                <a:cxn ang="0">
                  <a:pos x="68" y="552"/>
                </a:cxn>
                <a:cxn ang="0">
                  <a:pos x="85" y="538"/>
                </a:cxn>
                <a:cxn ang="0">
                  <a:pos x="92" y="559"/>
                </a:cxn>
                <a:cxn ang="0">
                  <a:pos x="116" y="559"/>
                </a:cxn>
                <a:cxn ang="0">
                  <a:pos x="162" y="517"/>
                </a:cxn>
                <a:cxn ang="0">
                  <a:pos x="172" y="503"/>
                </a:cxn>
                <a:cxn ang="0">
                  <a:pos x="191" y="526"/>
                </a:cxn>
                <a:cxn ang="0">
                  <a:pos x="190" y="554"/>
                </a:cxn>
                <a:cxn ang="0">
                  <a:pos x="205" y="653"/>
                </a:cxn>
                <a:cxn ang="0">
                  <a:pos x="221" y="685"/>
                </a:cxn>
                <a:cxn ang="0">
                  <a:pos x="224" y="719"/>
                </a:cxn>
                <a:cxn ang="0">
                  <a:pos x="230" y="744"/>
                </a:cxn>
                <a:cxn ang="0">
                  <a:pos x="221" y="808"/>
                </a:cxn>
                <a:cxn ang="0">
                  <a:pos x="238" y="768"/>
                </a:cxn>
                <a:cxn ang="0">
                  <a:pos x="259" y="723"/>
                </a:cxn>
                <a:cxn ang="0">
                  <a:pos x="249" y="690"/>
                </a:cxn>
                <a:cxn ang="0">
                  <a:pos x="226" y="624"/>
                </a:cxn>
                <a:cxn ang="0">
                  <a:pos x="214" y="584"/>
                </a:cxn>
                <a:cxn ang="0">
                  <a:pos x="223" y="566"/>
                </a:cxn>
                <a:cxn ang="0">
                  <a:pos x="233" y="533"/>
                </a:cxn>
                <a:cxn ang="0">
                  <a:pos x="219" y="516"/>
                </a:cxn>
                <a:cxn ang="0">
                  <a:pos x="191" y="460"/>
                </a:cxn>
                <a:cxn ang="0">
                  <a:pos x="181" y="446"/>
                </a:cxn>
                <a:cxn ang="0">
                  <a:pos x="191" y="427"/>
                </a:cxn>
                <a:cxn ang="0">
                  <a:pos x="197" y="401"/>
                </a:cxn>
                <a:cxn ang="0">
                  <a:pos x="217" y="392"/>
                </a:cxn>
                <a:cxn ang="0">
                  <a:pos x="249" y="375"/>
                </a:cxn>
                <a:cxn ang="0">
                  <a:pos x="259" y="362"/>
                </a:cxn>
                <a:cxn ang="0">
                  <a:pos x="282" y="345"/>
                </a:cxn>
                <a:cxn ang="0">
                  <a:pos x="308" y="315"/>
                </a:cxn>
                <a:cxn ang="0">
                  <a:pos x="296" y="312"/>
                </a:cxn>
                <a:cxn ang="0">
                  <a:pos x="278" y="315"/>
                </a:cxn>
                <a:cxn ang="0">
                  <a:pos x="266" y="288"/>
                </a:cxn>
                <a:cxn ang="0">
                  <a:pos x="250" y="263"/>
                </a:cxn>
                <a:cxn ang="0">
                  <a:pos x="245" y="241"/>
                </a:cxn>
                <a:cxn ang="0">
                  <a:pos x="228" y="213"/>
                </a:cxn>
                <a:cxn ang="0">
                  <a:pos x="214" y="197"/>
                </a:cxn>
                <a:cxn ang="0">
                  <a:pos x="193" y="195"/>
                </a:cxn>
                <a:cxn ang="0">
                  <a:pos x="191" y="167"/>
                </a:cxn>
                <a:cxn ang="0">
                  <a:pos x="203" y="143"/>
                </a:cxn>
                <a:cxn ang="0">
                  <a:pos x="219" y="124"/>
                </a:cxn>
                <a:cxn ang="0">
                  <a:pos x="228" y="91"/>
                </a:cxn>
                <a:cxn ang="0">
                  <a:pos x="228" y="54"/>
                </a:cxn>
                <a:cxn ang="0">
                  <a:pos x="212" y="40"/>
                </a:cxn>
                <a:cxn ang="0">
                  <a:pos x="186" y="0"/>
                </a:cxn>
                <a:cxn ang="0">
                  <a:pos x="169" y="39"/>
                </a:cxn>
                <a:cxn ang="0">
                  <a:pos x="167" y="63"/>
                </a:cxn>
                <a:cxn ang="0">
                  <a:pos x="120" y="75"/>
                </a:cxn>
                <a:cxn ang="0">
                  <a:pos x="101" y="96"/>
                </a:cxn>
                <a:cxn ang="0">
                  <a:pos x="85" y="140"/>
                </a:cxn>
                <a:cxn ang="0">
                  <a:pos x="78" y="174"/>
                </a:cxn>
                <a:cxn ang="0">
                  <a:pos x="52" y="202"/>
                </a:cxn>
                <a:cxn ang="0">
                  <a:pos x="42" y="242"/>
                </a:cxn>
                <a:cxn ang="0">
                  <a:pos x="33" y="272"/>
                </a:cxn>
                <a:cxn ang="0">
                  <a:pos x="19" y="284"/>
                </a:cxn>
                <a:cxn ang="0">
                  <a:pos x="5" y="315"/>
                </a:cxn>
              </a:cxnLst>
              <a:rect l="0" t="0" r="r" b="b"/>
              <a:pathLst>
                <a:path w="313" h="810">
                  <a:moveTo>
                    <a:pt x="0" y="329"/>
                  </a:moveTo>
                  <a:lnTo>
                    <a:pt x="0" y="329"/>
                  </a:lnTo>
                  <a:lnTo>
                    <a:pt x="1" y="335"/>
                  </a:lnTo>
                  <a:lnTo>
                    <a:pt x="5" y="343"/>
                  </a:lnTo>
                  <a:lnTo>
                    <a:pt x="8" y="352"/>
                  </a:lnTo>
                  <a:lnTo>
                    <a:pt x="14" y="362"/>
                  </a:lnTo>
                  <a:lnTo>
                    <a:pt x="14" y="362"/>
                  </a:lnTo>
                  <a:lnTo>
                    <a:pt x="29" y="383"/>
                  </a:lnTo>
                  <a:lnTo>
                    <a:pt x="33" y="385"/>
                  </a:lnTo>
                  <a:lnTo>
                    <a:pt x="33" y="380"/>
                  </a:lnTo>
                  <a:lnTo>
                    <a:pt x="33" y="380"/>
                  </a:lnTo>
                  <a:lnTo>
                    <a:pt x="35" y="376"/>
                  </a:lnTo>
                  <a:lnTo>
                    <a:pt x="36" y="375"/>
                  </a:lnTo>
                  <a:lnTo>
                    <a:pt x="38" y="375"/>
                  </a:lnTo>
                  <a:lnTo>
                    <a:pt x="42" y="376"/>
                  </a:lnTo>
                  <a:lnTo>
                    <a:pt x="47" y="382"/>
                  </a:lnTo>
                  <a:lnTo>
                    <a:pt x="50" y="389"/>
                  </a:lnTo>
                  <a:lnTo>
                    <a:pt x="50" y="389"/>
                  </a:lnTo>
                  <a:lnTo>
                    <a:pt x="55" y="396"/>
                  </a:lnTo>
                  <a:lnTo>
                    <a:pt x="59" y="401"/>
                  </a:lnTo>
                  <a:lnTo>
                    <a:pt x="62" y="404"/>
                  </a:lnTo>
                  <a:lnTo>
                    <a:pt x="62" y="406"/>
                  </a:lnTo>
                  <a:lnTo>
                    <a:pt x="61" y="408"/>
                  </a:lnTo>
                  <a:lnTo>
                    <a:pt x="61" y="408"/>
                  </a:lnTo>
                  <a:lnTo>
                    <a:pt x="57" y="409"/>
                  </a:lnTo>
                  <a:lnTo>
                    <a:pt x="55" y="409"/>
                  </a:lnTo>
                  <a:lnTo>
                    <a:pt x="52" y="408"/>
                  </a:lnTo>
                  <a:lnTo>
                    <a:pt x="49" y="404"/>
                  </a:lnTo>
                  <a:lnTo>
                    <a:pt x="47" y="404"/>
                  </a:lnTo>
                  <a:lnTo>
                    <a:pt x="45" y="404"/>
                  </a:lnTo>
                  <a:lnTo>
                    <a:pt x="45" y="404"/>
                  </a:lnTo>
                  <a:lnTo>
                    <a:pt x="43" y="408"/>
                  </a:lnTo>
                  <a:lnTo>
                    <a:pt x="45" y="411"/>
                  </a:lnTo>
                  <a:lnTo>
                    <a:pt x="49" y="420"/>
                  </a:lnTo>
                  <a:lnTo>
                    <a:pt x="54" y="425"/>
                  </a:lnTo>
                  <a:lnTo>
                    <a:pt x="55" y="427"/>
                  </a:lnTo>
                  <a:lnTo>
                    <a:pt x="55" y="425"/>
                  </a:lnTo>
                  <a:lnTo>
                    <a:pt x="55" y="425"/>
                  </a:lnTo>
                  <a:lnTo>
                    <a:pt x="57" y="420"/>
                  </a:lnTo>
                  <a:lnTo>
                    <a:pt x="59" y="416"/>
                  </a:lnTo>
                  <a:lnTo>
                    <a:pt x="61" y="415"/>
                  </a:lnTo>
                  <a:lnTo>
                    <a:pt x="62" y="416"/>
                  </a:lnTo>
                  <a:lnTo>
                    <a:pt x="64" y="425"/>
                  </a:lnTo>
                  <a:lnTo>
                    <a:pt x="64" y="425"/>
                  </a:lnTo>
                  <a:lnTo>
                    <a:pt x="69" y="441"/>
                  </a:lnTo>
                  <a:lnTo>
                    <a:pt x="78" y="460"/>
                  </a:lnTo>
                  <a:lnTo>
                    <a:pt x="82" y="469"/>
                  </a:lnTo>
                  <a:lnTo>
                    <a:pt x="83" y="477"/>
                  </a:lnTo>
                  <a:lnTo>
                    <a:pt x="83" y="488"/>
                  </a:lnTo>
                  <a:lnTo>
                    <a:pt x="82" y="496"/>
                  </a:lnTo>
                  <a:lnTo>
                    <a:pt x="82" y="496"/>
                  </a:lnTo>
                  <a:lnTo>
                    <a:pt x="71" y="533"/>
                  </a:lnTo>
                  <a:lnTo>
                    <a:pt x="68" y="547"/>
                  </a:lnTo>
                  <a:lnTo>
                    <a:pt x="68" y="552"/>
                  </a:lnTo>
                  <a:lnTo>
                    <a:pt x="71" y="554"/>
                  </a:lnTo>
                  <a:lnTo>
                    <a:pt x="71" y="554"/>
                  </a:lnTo>
                  <a:lnTo>
                    <a:pt x="73" y="554"/>
                  </a:lnTo>
                  <a:lnTo>
                    <a:pt x="75" y="552"/>
                  </a:lnTo>
                  <a:lnTo>
                    <a:pt x="78" y="547"/>
                  </a:lnTo>
                  <a:lnTo>
                    <a:pt x="80" y="542"/>
                  </a:lnTo>
                  <a:lnTo>
                    <a:pt x="82" y="540"/>
                  </a:lnTo>
                  <a:lnTo>
                    <a:pt x="85" y="538"/>
                  </a:lnTo>
                  <a:lnTo>
                    <a:pt x="85" y="538"/>
                  </a:lnTo>
                  <a:lnTo>
                    <a:pt x="87" y="540"/>
                  </a:lnTo>
                  <a:lnTo>
                    <a:pt x="87" y="542"/>
                  </a:lnTo>
                  <a:lnTo>
                    <a:pt x="85" y="545"/>
                  </a:lnTo>
                  <a:lnTo>
                    <a:pt x="83" y="549"/>
                  </a:lnTo>
                  <a:lnTo>
                    <a:pt x="83" y="552"/>
                  </a:lnTo>
                  <a:lnTo>
                    <a:pt x="87" y="556"/>
                  </a:lnTo>
                  <a:lnTo>
                    <a:pt x="87" y="556"/>
                  </a:lnTo>
                  <a:lnTo>
                    <a:pt x="90" y="559"/>
                  </a:lnTo>
                  <a:lnTo>
                    <a:pt x="92" y="559"/>
                  </a:lnTo>
                  <a:lnTo>
                    <a:pt x="96" y="557"/>
                  </a:lnTo>
                  <a:lnTo>
                    <a:pt x="97" y="556"/>
                  </a:lnTo>
                  <a:lnTo>
                    <a:pt x="99" y="556"/>
                  </a:lnTo>
                  <a:lnTo>
                    <a:pt x="101" y="557"/>
                  </a:lnTo>
                  <a:lnTo>
                    <a:pt x="104" y="561"/>
                  </a:lnTo>
                  <a:lnTo>
                    <a:pt x="104" y="561"/>
                  </a:lnTo>
                  <a:lnTo>
                    <a:pt x="109" y="563"/>
                  </a:lnTo>
                  <a:lnTo>
                    <a:pt x="113" y="563"/>
                  </a:lnTo>
                  <a:lnTo>
                    <a:pt x="116" y="559"/>
                  </a:lnTo>
                  <a:lnTo>
                    <a:pt x="118" y="556"/>
                  </a:lnTo>
                  <a:lnTo>
                    <a:pt x="127" y="544"/>
                  </a:lnTo>
                  <a:lnTo>
                    <a:pt x="130" y="540"/>
                  </a:lnTo>
                  <a:lnTo>
                    <a:pt x="136" y="537"/>
                  </a:lnTo>
                  <a:lnTo>
                    <a:pt x="136" y="537"/>
                  </a:lnTo>
                  <a:lnTo>
                    <a:pt x="148" y="531"/>
                  </a:lnTo>
                  <a:lnTo>
                    <a:pt x="153" y="528"/>
                  </a:lnTo>
                  <a:lnTo>
                    <a:pt x="158" y="523"/>
                  </a:lnTo>
                  <a:lnTo>
                    <a:pt x="162" y="517"/>
                  </a:lnTo>
                  <a:lnTo>
                    <a:pt x="165" y="510"/>
                  </a:lnTo>
                  <a:lnTo>
                    <a:pt x="165" y="502"/>
                  </a:lnTo>
                  <a:lnTo>
                    <a:pt x="163" y="490"/>
                  </a:lnTo>
                  <a:lnTo>
                    <a:pt x="163" y="490"/>
                  </a:lnTo>
                  <a:lnTo>
                    <a:pt x="167" y="495"/>
                  </a:lnTo>
                  <a:lnTo>
                    <a:pt x="169" y="496"/>
                  </a:lnTo>
                  <a:lnTo>
                    <a:pt x="170" y="500"/>
                  </a:lnTo>
                  <a:lnTo>
                    <a:pt x="170" y="500"/>
                  </a:lnTo>
                  <a:lnTo>
                    <a:pt x="172" y="503"/>
                  </a:lnTo>
                  <a:lnTo>
                    <a:pt x="174" y="507"/>
                  </a:lnTo>
                  <a:lnTo>
                    <a:pt x="176" y="510"/>
                  </a:lnTo>
                  <a:lnTo>
                    <a:pt x="177" y="519"/>
                  </a:lnTo>
                  <a:lnTo>
                    <a:pt x="177" y="519"/>
                  </a:lnTo>
                  <a:lnTo>
                    <a:pt x="181" y="528"/>
                  </a:lnTo>
                  <a:lnTo>
                    <a:pt x="183" y="530"/>
                  </a:lnTo>
                  <a:lnTo>
                    <a:pt x="184" y="530"/>
                  </a:lnTo>
                  <a:lnTo>
                    <a:pt x="188" y="528"/>
                  </a:lnTo>
                  <a:lnTo>
                    <a:pt x="191" y="526"/>
                  </a:lnTo>
                  <a:lnTo>
                    <a:pt x="191" y="526"/>
                  </a:lnTo>
                  <a:lnTo>
                    <a:pt x="193" y="526"/>
                  </a:lnTo>
                  <a:lnTo>
                    <a:pt x="193" y="528"/>
                  </a:lnTo>
                  <a:lnTo>
                    <a:pt x="191" y="531"/>
                  </a:lnTo>
                  <a:lnTo>
                    <a:pt x="188" y="537"/>
                  </a:lnTo>
                  <a:lnTo>
                    <a:pt x="186" y="544"/>
                  </a:lnTo>
                  <a:lnTo>
                    <a:pt x="186" y="544"/>
                  </a:lnTo>
                  <a:lnTo>
                    <a:pt x="188" y="549"/>
                  </a:lnTo>
                  <a:lnTo>
                    <a:pt x="190" y="554"/>
                  </a:lnTo>
                  <a:lnTo>
                    <a:pt x="193" y="564"/>
                  </a:lnTo>
                  <a:lnTo>
                    <a:pt x="193" y="582"/>
                  </a:lnTo>
                  <a:lnTo>
                    <a:pt x="193" y="582"/>
                  </a:lnTo>
                  <a:lnTo>
                    <a:pt x="195" y="601"/>
                  </a:lnTo>
                  <a:lnTo>
                    <a:pt x="198" y="615"/>
                  </a:lnTo>
                  <a:lnTo>
                    <a:pt x="203" y="625"/>
                  </a:lnTo>
                  <a:lnTo>
                    <a:pt x="205" y="638"/>
                  </a:lnTo>
                  <a:lnTo>
                    <a:pt x="205" y="638"/>
                  </a:lnTo>
                  <a:lnTo>
                    <a:pt x="205" y="653"/>
                  </a:lnTo>
                  <a:lnTo>
                    <a:pt x="207" y="653"/>
                  </a:lnTo>
                  <a:lnTo>
                    <a:pt x="207" y="651"/>
                  </a:lnTo>
                  <a:lnTo>
                    <a:pt x="209" y="648"/>
                  </a:lnTo>
                  <a:lnTo>
                    <a:pt x="210" y="648"/>
                  </a:lnTo>
                  <a:lnTo>
                    <a:pt x="212" y="653"/>
                  </a:lnTo>
                  <a:lnTo>
                    <a:pt x="212" y="653"/>
                  </a:lnTo>
                  <a:lnTo>
                    <a:pt x="217" y="664"/>
                  </a:lnTo>
                  <a:lnTo>
                    <a:pt x="219" y="676"/>
                  </a:lnTo>
                  <a:lnTo>
                    <a:pt x="221" y="685"/>
                  </a:lnTo>
                  <a:lnTo>
                    <a:pt x="223" y="691"/>
                  </a:lnTo>
                  <a:lnTo>
                    <a:pt x="223" y="691"/>
                  </a:lnTo>
                  <a:lnTo>
                    <a:pt x="224" y="698"/>
                  </a:lnTo>
                  <a:lnTo>
                    <a:pt x="223" y="705"/>
                  </a:lnTo>
                  <a:lnTo>
                    <a:pt x="223" y="712"/>
                  </a:lnTo>
                  <a:lnTo>
                    <a:pt x="223" y="714"/>
                  </a:lnTo>
                  <a:lnTo>
                    <a:pt x="224" y="716"/>
                  </a:lnTo>
                  <a:lnTo>
                    <a:pt x="224" y="716"/>
                  </a:lnTo>
                  <a:lnTo>
                    <a:pt x="224" y="719"/>
                  </a:lnTo>
                  <a:lnTo>
                    <a:pt x="224" y="721"/>
                  </a:lnTo>
                  <a:lnTo>
                    <a:pt x="223" y="728"/>
                  </a:lnTo>
                  <a:lnTo>
                    <a:pt x="223" y="733"/>
                  </a:lnTo>
                  <a:lnTo>
                    <a:pt x="223" y="735"/>
                  </a:lnTo>
                  <a:lnTo>
                    <a:pt x="226" y="737"/>
                  </a:lnTo>
                  <a:lnTo>
                    <a:pt x="226" y="737"/>
                  </a:lnTo>
                  <a:lnTo>
                    <a:pt x="230" y="737"/>
                  </a:lnTo>
                  <a:lnTo>
                    <a:pt x="230" y="739"/>
                  </a:lnTo>
                  <a:lnTo>
                    <a:pt x="230" y="744"/>
                  </a:lnTo>
                  <a:lnTo>
                    <a:pt x="226" y="752"/>
                  </a:lnTo>
                  <a:lnTo>
                    <a:pt x="226" y="761"/>
                  </a:lnTo>
                  <a:lnTo>
                    <a:pt x="226" y="761"/>
                  </a:lnTo>
                  <a:lnTo>
                    <a:pt x="226" y="768"/>
                  </a:lnTo>
                  <a:lnTo>
                    <a:pt x="223" y="773"/>
                  </a:lnTo>
                  <a:lnTo>
                    <a:pt x="221" y="782"/>
                  </a:lnTo>
                  <a:lnTo>
                    <a:pt x="219" y="801"/>
                  </a:lnTo>
                  <a:lnTo>
                    <a:pt x="219" y="801"/>
                  </a:lnTo>
                  <a:lnTo>
                    <a:pt x="221" y="808"/>
                  </a:lnTo>
                  <a:lnTo>
                    <a:pt x="221" y="810"/>
                  </a:lnTo>
                  <a:lnTo>
                    <a:pt x="221" y="810"/>
                  </a:lnTo>
                  <a:lnTo>
                    <a:pt x="228" y="796"/>
                  </a:lnTo>
                  <a:lnTo>
                    <a:pt x="228" y="796"/>
                  </a:lnTo>
                  <a:lnTo>
                    <a:pt x="230" y="789"/>
                  </a:lnTo>
                  <a:lnTo>
                    <a:pt x="231" y="782"/>
                  </a:lnTo>
                  <a:lnTo>
                    <a:pt x="231" y="777"/>
                  </a:lnTo>
                  <a:lnTo>
                    <a:pt x="238" y="768"/>
                  </a:lnTo>
                  <a:lnTo>
                    <a:pt x="238" y="768"/>
                  </a:lnTo>
                  <a:lnTo>
                    <a:pt x="247" y="758"/>
                  </a:lnTo>
                  <a:lnTo>
                    <a:pt x="250" y="751"/>
                  </a:lnTo>
                  <a:lnTo>
                    <a:pt x="252" y="745"/>
                  </a:lnTo>
                  <a:lnTo>
                    <a:pt x="257" y="739"/>
                  </a:lnTo>
                  <a:lnTo>
                    <a:pt x="257" y="739"/>
                  </a:lnTo>
                  <a:lnTo>
                    <a:pt x="261" y="733"/>
                  </a:lnTo>
                  <a:lnTo>
                    <a:pt x="261" y="732"/>
                  </a:lnTo>
                  <a:lnTo>
                    <a:pt x="259" y="728"/>
                  </a:lnTo>
                  <a:lnTo>
                    <a:pt x="259" y="723"/>
                  </a:lnTo>
                  <a:lnTo>
                    <a:pt x="259" y="723"/>
                  </a:lnTo>
                  <a:lnTo>
                    <a:pt x="257" y="719"/>
                  </a:lnTo>
                  <a:lnTo>
                    <a:pt x="257" y="718"/>
                  </a:lnTo>
                  <a:lnTo>
                    <a:pt x="254" y="718"/>
                  </a:lnTo>
                  <a:lnTo>
                    <a:pt x="254" y="714"/>
                  </a:lnTo>
                  <a:lnTo>
                    <a:pt x="254" y="714"/>
                  </a:lnTo>
                  <a:lnTo>
                    <a:pt x="252" y="709"/>
                  </a:lnTo>
                  <a:lnTo>
                    <a:pt x="252" y="702"/>
                  </a:lnTo>
                  <a:lnTo>
                    <a:pt x="249" y="690"/>
                  </a:lnTo>
                  <a:lnTo>
                    <a:pt x="240" y="676"/>
                  </a:lnTo>
                  <a:lnTo>
                    <a:pt x="240" y="676"/>
                  </a:lnTo>
                  <a:lnTo>
                    <a:pt x="244" y="669"/>
                  </a:lnTo>
                  <a:lnTo>
                    <a:pt x="245" y="662"/>
                  </a:lnTo>
                  <a:lnTo>
                    <a:pt x="245" y="657"/>
                  </a:lnTo>
                  <a:lnTo>
                    <a:pt x="244" y="650"/>
                  </a:lnTo>
                  <a:lnTo>
                    <a:pt x="242" y="644"/>
                  </a:lnTo>
                  <a:lnTo>
                    <a:pt x="238" y="638"/>
                  </a:lnTo>
                  <a:lnTo>
                    <a:pt x="226" y="624"/>
                  </a:lnTo>
                  <a:lnTo>
                    <a:pt x="226" y="624"/>
                  </a:lnTo>
                  <a:lnTo>
                    <a:pt x="219" y="617"/>
                  </a:lnTo>
                  <a:lnTo>
                    <a:pt x="216" y="610"/>
                  </a:lnTo>
                  <a:lnTo>
                    <a:pt x="212" y="601"/>
                  </a:lnTo>
                  <a:lnTo>
                    <a:pt x="210" y="596"/>
                  </a:lnTo>
                  <a:lnTo>
                    <a:pt x="210" y="589"/>
                  </a:lnTo>
                  <a:lnTo>
                    <a:pt x="210" y="585"/>
                  </a:lnTo>
                  <a:lnTo>
                    <a:pt x="212" y="584"/>
                  </a:lnTo>
                  <a:lnTo>
                    <a:pt x="214" y="584"/>
                  </a:lnTo>
                  <a:lnTo>
                    <a:pt x="214" y="584"/>
                  </a:lnTo>
                  <a:lnTo>
                    <a:pt x="217" y="584"/>
                  </a:lnTo>
                  <a:lnTo>
                    <a:pt x="217" y="582"/>
                  </a:lnTo>
                  <a:lnTo>
                    <a:pt x="217" y="580"/>
                  </a:lnTo>
                  <a:lnTo>
                    <a:pt x="221" y="580"/>
                  </a:lnTo>
                  <a:lnTo>
                    <a:pt x="221" y="580"/>
                  </a:lnTo>
                  <a:lnTo>
                    <a:pt x="223" y="578"/>
                  </a:lnTo>
                  <a:lnTo>
                    <a:pt x="224" y="577"/>
                  </a:lnTo>
                  <a:lnTo>
                    <a:pt x="223" y="566"/>
                  </a:lnTo>
                  <a:lnTo>
                    <a:pt x="223" y="554"/>
                  </a:lnTo>
                  <a:lnTo>
                    <a:pt x="224" y="550"/>
                  </a:lnTo>
                  <a:lnTo>
                    <a:pt x="228" y="547"/>
                  </a:lnTo>
                  <a:lnTo>
                    <a:pt x="228" y="547"/>
                  </a:lnTo>
                  <a:lnTo>
                    <a:pt x="231" y="545"/>
                  </a:lnTo>
                  <a:lnTo>
                    <a:pt x="233" y="542"/>
                  </a:lnTo>
                  <a:lnTo>
                    <a:pt x="235" y="535"/>
                  </a:lnTo>
                  <a:lnTo>
                    <a:pt x="233" y="533"/>
                  </a:lnTo>
                  <a:lnTo>
                    <a:pt x="233" y="533"/>
                  </a:lnTo>
                  <a:lnTo>
                    <a:pt x="230" y="533"/>
                  </a:lnTo>
                  <a:lnTo>
                    <a:pt x="228" y="538"/>
                  </a:lnTo>
                  <a:lnTo>
                    <a:pt x="228" y="538"/>
                  </a:lnTo>
                  <a:lnTo>
                    <a:pt x="226" y="540"/>
                  </a:lnTo>
                  <a:lnTo>
                    <a:pt x="226" y="540"/>
                  </a:lnTo>
                  <a:lnTo>
                    <a:pt x="223" y="535"/>
                  </a:lnTo>
                  <a:lnTo>
                    <a:pt x="221" y="526"/>
                  </a:lnTo>
                  <a:lnTo>
                    <a:pt x="219" y="516"/>
                  </a:lnTo>
                  <a:lnTo>
                    <a:pt x="219" y="516"/>
                  </a:lnTo>
                  <a:lnTo>
                    <a:pt x="219" y="510"/>
                  </a:lnTo>
                  <a:lnTo>
                    <a:pt x="219" y="507"/>
                  </a:lnTo>
                  <a:lnTo>
                    <a:pt x="216" y="505"/>
                  </a:lnTo>
                  <a:lnTo>
                    <a:pt x="210" y="500"/>
                  </a:lnTo>
                  <a:lnTo>
                    <a:pt x="210" y="500"/>
                  </a:lnTo>
                  <a:lnTo>
                    <a:pt x="203" y="491"/>
                  </a:lnTo>
                  <a:lnTo>
                    <a:pt x="198" y="483"/>
                  </a:lnTo>
                  <a:lnTo>
                    <a:pt x="193" y="472"/>
                  </a:lnTo>
                  <a:lnTo>
                    <a:pt x="191" y="460"/>
                  </a:lnTo>
                  <a:lnTo>
                    <a:pt x="191" y="460"/>
                  </a:lnTo>
                  <a:lnTo>
                    <a:pt x="190" y="453"/>
                  </a:lnTo>
                  <a:lnTo>
                    <a:pt x="190" y="453"/>
                  </a:lnTo>
                  <a:lnTo>
                    <a:pt x="188" y="453"/>
                  </a:lnTo>
                  <a:lnTo>
                    <a:pt x="186" y="453"/>
                  </a:lnTo>
                  <a:lnTo>
                    <a:pt x="184" y="453"/>
                  </a:lnTo>
                  <a:lnTo>
                    <a:pt x="183" y="451"/>
                  </a:lnTo>
                  <a:lnTo>
                    <a:pt x="181" y="446"/>
                  </a:lnTo>
                  <a:lnTo>
                    <a:pt x="181" y="446"/>
                  </a:lnTo>
                  <a:lnTo>
                    <a:pt x="181" y="443"/>
                  </a:lnTo>
                  <a:lnTo>
                    <a:pt x="183" y="441"/>
                  </a:lnTo>
                  <a:lnTo>
                    <a:pt x="188" y="441"/>
                  </a:lnTo>
                  <a:lnTo>
                    <a:pt x="191" y="441"/>
                  </a:lnTo>
                  <a:lnTo>
                    <a:pt x="193" y="441"/>
                  </a:lnTo>
                  <a:lnTo>
                    <a:pt x="195" y="437"/>
                  </a:lnTo>
                  <a:lnTo>
                    <a:pt x="193" y="432"/>
                  </a:lnTo>
                  <a:lnTo>
                    <a:pt x="193" y="432"/>
                  </a:lnTo>
                  <a:lnTo>
                    <a:pt x="191" y="427"/>
                  </a:lnTo>
                  <a:lnTo>
                    <a:pt x="191" y="423"/>
                  </a:lnTo>
                  <a:lnTo>
                    <a:pt x="193" y="422"/>
                  </a:lnTo>
                  <a:lnTo>
                    <a:pt x="195" y="420"/>
                  </a:lnTo>
                  <a:lnTo>
                    <a:pt x="198" y="416"/>
                  </a:lnTo>
                  <a:lnTo>
                    <a:pt x="198" y="415"/>
                  </a:lnTo>
                  <a:lnTo>
                    <a:pt x="197" y="411"/>
                  </a:lnTo>
                  <a:lnTo>
                    <a:pt x="197" y="411"/>
                  </a:lnTo>
                  <a:lnTo>
                    <a:pt x="195" y="404"/>
                  </a:lnTo>
                  <a:lnTo>
                    <a:pt x="197" y="401"/>
                  </a:lnTo>
                  <a:lnTo>
                    <a:pt x="200" y="397"/>
                  </a:lnTo>
                  <a:lnTo>
                    <a:pt x="203" y="390"/>
                  </a:lnTo>
                  <a:lnTo>
                    <a:pt x="203" y="390"/>
                  </a:lnTo>
                  <a:lnTo>
                    <a:pt x="205" y="387"/>
                  </a:lnTo>
                  <a:lnTo>
                    <a:pt x="209" y="389"/>
                  </a:lnTo>
                  <a:lnTo>
                    <a:pt x="212" y="392"/>
                  </a:lnTo>
                  <a:lnTo>
                    <a:pt x="214" y="392"/>
                  </a:lnTo>
                  <a:lnTo>
                    <a:pt x="217" y="392"/>
                  </a:lnTo>
                  <a:lnTo>
                    <a:pt x="217" y="392"/>
                  </a:lnTo>
                  <a:lnTo>
                    <a:pt x="228" y="389"/>
                  </a:lnTo>
                  <a:lnTo>
                    <a:pt x="233" y="387"/>
                  </a:lnTo>
                  <a:lnTo>
                    <a:pt x="237" y="387"/>
                  </a:lnTo>
                  <a:lnTo>
                    <a:pt x="238" y="382"/>
                  </a:lnTo>
                  <a:lnTo>
                    <a:pt x="238" y="382"/>
                  </a:lnTo>
                  <a:lnTo>
                    <a:pt x="242" y="373"/>
                  </a:lnTo>
                  <a:lnTo>
                    <a:pt x="244" y="371"/>
                  </a:lnTo>
                  <a:lnTo>
                    <a:pt x="245" y="373"/>
                  </a:lnTo>
                  <a:lnTo>
                    <a:pt x="249" y="375"/>
                  </a:lnTo>
                  <a:lnTo>
                    <a:pt x="250" y="375"/>
                  </a:lnTo>
                  <a:lnTo>
                    <a:pt x="252" y="373"/>
                  </a:lnTo>
                  <a:lnTo>
                    <a:pt x="252" y="373"/>
                  </a:lnTo>
                  <a:lnTo>
                    <a:pt x="254" y="373"/>
                  </a:lnTo>
                  <a:lnTo>
                    <a:pt x="256" y="369"/>
                  </a:lnTo>
                  <a:lnTo>
                    <a:pt x="254" y="366"/>
                  </a:lnTo>
                  <a:lnTo>
                    <a:pt x="254" y="362"/>
                  </a:lnTo>
                  <a:lnTo>
                    <a:pt x="256" y="362"/>
                  </a:lnTo>
                  <a:lnTo>
                    <a:pt x="259" y="362"/>
                  </a:lnTo>
                  <a:lnTo>
                    <a:pt x="259" y="362"/>
                  </a:lnTo>
                  <a:lnTo>
                    <a:pt x="266" y="362"/>
                  </a:lnTo>
                  <a:lnTo>
                    <a:pt x="268" y="361"/>
                  </a:lnTo>
                  <a:lnTo>
                    <a:pt x="271" y="359"/>
                  </a:lnTo>
                  <a:lnTo>
                    <a:pt x="277" y="361"/>
                  </a:lnTo>
                  <a:lnTo>
                    <a:pt x="277" y="361"/>
                  </a:lnTo>
                  <a:lnTo>
                    <a:pt x="278" y="352"/>
                  </a:lnTo>
                  <a:lnTo>
                    <a:pt x="280" y="349"/>
                  </a:lnTo>
                  <a:lnTo>
                    <a:pt x="282" y="345"/>
                  </a:lnTo>
                  <a:lnTo>
                    <a:pt x="285" y="343"/>
                  </a:lnTo>
                  <a:lnTo>
                    <a:pt x="289" y="340"/>
                  </a:lnTo>
                  <a:lnTo>
                    <a:pt x="291" y="336"/>
                  </a:lnTo>
                  <a:lnTo>
                    <a:pt x="292" y="329"/>
                  </a:lnTo>
                  <a:lnTo>
                    <a:pt x="292" y="329"/>
                  </a:lnTo>
                  <a:lnTo>
                    <a:pt x="294" y="324"/>
                  </a:lnTo>
                  <a:lnTo>
                    <a:pt x="296" y="321"/>
                  </a:lnTo>
                  <a:lnTo>
                    <a:pt x="301" y="317"/>
                  </a:lnTo>
                  <a:lnTo>
                    <a:pt x="308" y="315"/>
                  </a:lnTo>
                  <a:lnTo>
                    <a:pt x="313" y="312"/>
                  </a:lnTo>
                  <a:lnTo>
                    <a:pt x="313" y="312"/>
                  </a:lnTo>
                  <a:lnTo>
                    <a:pt x="313" y="305"/>
                  </a:lnTo>
                  <a:lnTo>
                    <a:pt x="311" y="301"/>
                  </a:lnTo>
                  <a:lnTo>
                    <a:pt x="310" y="300"/>
                  </a:lnTo>
                  <a:lnTo>
                    <a:pt x="306" y="301"/>
                  </a:lnTo>
                  <a:lnTo>
                    <a:pt x="299" y="308"/>
                  </a:lnTo>
                  <a:lnTo>
                    <a:pt x="299" y="308"/>
                  </a:lnTo>
                  <a:lnTo>
                    <a:pt x="296" y="312"/>
                  </a:lnTo>
                  <a:lnTo>
                    <a:pt x="292" y="314"/>
                  </a:lnTo>
                  <a:lnTo>
                    <a:pt x="291" y="315"/>
                  </a:lnTo>
                  <a:lnTo>
                    <a:pt x="289" y="315"/>
                  </a:lnTo>
                  <a:lnTo>
                    <a:pt x="285" y="314"/>
                  </a:lnTo>
                  <a:lnTo>
                    <a:pt x="284" y="314"/>
                  </a:lnTo>
                  <a:lnTo>
                    <a:pt x="282" y="314"/>
                  </a:lnTo>
                  <a:lnTo>
                    <a:pt x="282" y="314"/>
                  </a:lnTo>
                  <a:lnTo>
                    <a:pt x="280" y="315"/>
                  </a:lnTo>
                  <a:lnTo>
                    <a:pt x="278" y="315"/>
                  </a:lnTo>
                  <a:lnTo>
                    <a:pt x="277" y="312"/>
                  </a:lnTo>
                  <a:lnTo>
                    <a:pt x="277" y="307"/>
                  </a:lnTo>
                  <a:lnTo>
                    <a:pt x="273" y="303"/>
                  </a:lnTo>
                  <a:lnTo>
                    <a:pt x="273" y="303"/>
                  </a:lnTo>
                  <a:lnTo>
                    <a:pt x="271" y="300"/>
                  </a:lnTo>
                  <a:lnTo>
                    <a:pt x="271" y="296"/>
                  </a:lnTo>
                  <a:lnTo>
                    <a:pt x="271" y="291"/>
                  </a:lnTo>
                  <a:lnTo>
                    <a:pt x="266" y="288"/>
                  </a:lnTo>
                  <a:lnTo>
                    <a:pt x="266" y="288"/>
                  </a:lnTo>
                  <a:lnTo>
                    <a:pt x="257" y="286"/>
                  </a:lnTo>
                  <a:lnTo>
                    <a:pt x="249" y="284"/>
                  </a:lnTo>
                  <a:lnTo>
                    <a:pt x="245" y="284"/>
                  </a:lnTo>
                  <a:lnTo>
                    <a:pt x="244" y="282"/>
                  </a:lnTo>
                  <a:lnTo>
                    <a:pt x="244" y="279"/>
                  </a:lnTo>
                  <a:lnTo>
                    <a:pt x="245" y="275"/>
                  </a:lnTo>
                  <a:lnTo>
                    <a:pt x="245" y="275"/>
                  </a:lnTo>
                  <a:lnTo>
                    <a:pt x="250" y="267"/>
                  </a:lnTo>
                  <a:lnTo>
                    <a:pt x="250" y="263"/>
                  </a:lnTo>
                  <a:lnTo>
                    <a:pt x="249" y="260"/>
                  </a:lnTo>
                  <a:lnTo>
                    <a:pt x="249" y="254"/>
                  </a:lnTo>
                  <a:lnTo>
                    <a:pt x="249" y="254"/>
                  </a:lnTo>
                  <a:lnTo>
                    <a:pt x="250" y="251"/>
                  </a:lnTo>
                  <a:lnTo>
                    <a:pt x="252" y="249"/>
                  </a:lnTo>
                  <a:lnTo>
                    <a:pt x="257" y="244"/>
                  </a:lnTo>
                  <a:lnTo>
                    <a:pt x="257" y="242"/>
                  </a:lnTo>
                  <a:lnTo>
                    <a:pt x="256" y="242"/>
                  </a:lnTo>
                  <a:lnTo>
                    <a:pt x="245" y="241"/>
                  </a:lnTo>
                  <a:lnTo>
                    <a:pt x="245" y="241"/>
                  </a:lnTo>
                  <a:lnTo>
                    <a:pt x="240" y="241"/>
                  </a:lnTo>
                  <a:lnTo>
                    <a:pt x="237" y="239"/>
                  </a:lnTo>
                  <a:lnTo>
                    <a:pt x="233" y="237"/>
                  </a:lnTo>
                  <a:lnTo>
                    <a:pt x="233" y="234"/>
                  </a:lnTo>
                  <a:lnTo>
                    <a:pt x="231" y="227"/>
                  </a:lnTo>
                  <a:lnTo>
                    <a:pt x="228" y="218"/>
                  </a:lnTo>
                  <a:lnTo>
                    <a:pt x="228" y="218"/>
                  </a:lnTo>
                  <a:lnTo>
                    <a:pt x="228" y="213"/>
                  </a:lnTo>
                  <a:lnTo>
                    <a:pt x="228" y="209"/>
                  </a:lnTo>
                  <a:lnTo>
                    <a:pt x="230" y="201"/>
                  </a:lnTo>
                  <a:lnTo>
                    <a:pt x="231" y="197"/>
                  </a:lnTo>
                  <a:lnTo>
                    <a:pt x="231" y="195"/>
                  </a:lnTo>
                  <a:lnTo>
                    <a:pt x="228" y="197"/>
                  </a:lnTo>
                  <a:lnTo>
                    <a:pt x="228" y="197"/>
                  </a:lnTo>
                  <a:lnTo>
                    <a:pt x="224" y="199"/>
                  </a:lnTo>
                  <a:lnTo>
                    <a:pt x="221" y="199"/>
                  </a:lnTo>
                  <a:lnTo>
                    <a:pt x="214" y="197"/>
                  </a:lnTo>
                  <a:lnTo>
                    <a:pt x="207" y="197"/>
                  </a:lnTo>
                  <a:lnTo>
                    <a:pt x="203" y="199"/>
                  </a:lnTo>
                  <a:lnTo>
                    <a:pt x="198" y="202"/>
                  </a:lnTo>
                  <a:lnTo>
                    <a:pt x="198" y="202"/>
                  </a:lnTo>
                  <a:lnTo>
                    <a:pt x="191" y="207"/>
                  </a:lnTo>
                  <a:lnTo>
                    <a:pt x="190" y="207"/>
                  </a:lnTo>
                  <a:lnTo>
                    <a:pt x="188" y="206"/>
                  </a:lnTo>
                  <a:lnTo>
                    <a:pt x="188" y="202"/>
                  </a:lnTo>
                  <a:lnTo>
                    <a:pt x="193" y="195"/>
                  </a:lnTo>
                  <a:lnTo>
                    <a:pt x="193" y="195"/>
                  </a:lnTo>
                  <a:lnTo>
                    <a:pt x="193" y="192"/>
                  </a:lnTo>
                  <a:lnTo>
                    <a:pt x="193" y="188"/>
                  </a:lnTo>
                  <a:lnTo>
                    <a:pt x="188" y="181"/>
                  </a:lnTo>
                  <a:lnTo>
                    <a:pt x="186" y="176"/>
                  </a:lnTo>
                  <a:lnTo>
                    <a:pt x="184" y="173"/>
                  </a:lnTo>
                  <a:lnTo>
                    <a:pt x="186" y="169"/>
                  </a:lnTo>
                  <a:lnTo>
                    <a:pt x="191" y="167"/>
                  </a:lnTo>
                  <a:lnTo>
                    <a:pt x="191" y="167"/>
                  </a:lnTo>
                  <a:lnTo>
                    <a:pt x="193" y="166"/>
                  </a:lnTo>
                  <a:lnTo>
                    <a:pt x="195" y="162"/>
                  </a:lnTo>
                  <a:lnTo>
                    <a:pt x="193" y="157"/>
                  </a:lnTo>
                  <a:lnTo>
                    <a:pt x="193" y="150"/>
                  </a:lnTo>
                  <a:lnTo>
                    <a:pt x="195" y="148"/>
                  </a:lnTo>
                  <a:lnTo>
                    <a:pt x="198" y="147"/>
                  </a:lnTo>
                  <a:lnTo>
                    <a:pt x="198" y="147"/>
                  </a:lnTo>
                  <a:lnTo>
                    <a:pt x="202" y="145"/>
                  </a:lnTo>
                  <a:lnTo>
                    <a:pt x="203" y="143"/>
                  </a:lnTo>
                  <a:lnTo>
                    <a:pt x="207" y="138"/>
                  </a:lnTo>
                  <a:lnTo>
                    <a:pt x="209" y="133"/>
                  </a:lnTo>
                  <a:lnTo>
                    <a:pt x="210" y="133"/>
                  </a:lnTo>
                  <a:lnTo>
                    <a:pt x="212" y="133"/>
                  </a:lnTo>
                  <a:lnTo>
                    <a:pt x="212" y="133"/>
                  </a:lnTo>
                  <a:lnTo>
                    <a:pt x="216" y="133"/>
                  </a:lnTo>
                  <a:lnTo>
                    <a:pt x="217" y="133"/>
                  </a:lnTo>
                  <a:lnTo>
                    <a:pt x="219" y="129"/>
                  </a:lnTo>
                  <a:lnTo>
                    <a:pt x="219" y="124"/>
                  </a:lnTo>
                  <a:lnTo>
                    <a:pt x="221" y="122"/>
                  </a:lnTo>
                  <a:lnTo>
                    <a:pt x="224" y="122"/>
                  </a:lnTo>
                  <a:lnTo>
                    <a:pt x="224" y="122"/>
                  </a:lnTo>
                  <a:lnTo>
                    <a:pt x="228" y="120"/>
                  </a:lnTo>
                  <a:lnTo>
                    <a:pt x="228" y="119"/>
                  </a:lnTo>
                  <a:lnTo>
                    <a:pt x="228" y="113"/>
                  </a:lnTo>
                  <a:lnTo>
                    <a:pt x="226" y="105"/>
                  </a:lnTo>
                  <a:lnTo>
                    <a:pt x="226" y="98"/>
                  </a:lnTo>
                  <a:lnTo>
                    <a:pt x="228" y="91"/>
                  </a:lnTo>
                  <a:lnTo>
                    <a:pt x="228" y="91"/>
                  </a:lnTo>
                  <a:lnTo>
                    <a:pt x="230" y="84"/>
                  </a:lnTo>
                  <a:lnTo>
                    <a:pt x="230" y="77"/>
                  </a:lnTo>
                  <a:lnTo>
                    <a:pt x="228" y="68"/>
                  </a:lnTo>
                  <a:lnTo>
                    <a:pt x="226" y="63"/>
                  </a:lnTo>
                  <a:lnTo>
                    <a:pt x="226" y="61"/>
                  </a:lnTo>
                  <a:lnTo>
                    <a:pt x="226" y="58"/>
                  </a:lnTo>
                  <a:lnTo>
                    <a:pt x="226" y="58"/>
                  </a:lnTo>
                  <a:lnTo>
                    <a:pt x="228" y="54"/>
                  </a:lnTo>
                  <a:lnTo>
                    <a:pt x="230" y="51"/>
                  </a:lnTo>
                  <a:lnTo>
                    <a:pt x="228" y="42"/>
                  </a:lnTo>
                  <a:lnTo>
                    <a:pt x="224" y="40"/>
                  </a:lnTo>
                  <a:lnTo>
                    <a:pt x="223" y="39"/>
                  </a:lnTo>
                  <a:lnTo>
                    <a:pt x="219" y="39"/>
                  </a:lnTo>
                  <a:lnTo>
                    <a:pt x="216" y="40"/>
                  </a:lnTo>
                  <a:lnTo>
                    <a:pt x="216" y="40"/>
                  </a:lnTo>
                  <a:lnTo>
                    <a:pt x="214" y="40"/>
                  </a:lnTo>
                  <a:lnTo>
                    <a:pt x="212" y="40"/>
                  </a:lnTo>
                  <a:lnTo>
                    <a:pt x="210" y="32"/>
                  </a:lnTo>
                  <a:lnTo>
                    <a:pt x="209" y="25"/>
                  </a:lnTo>
                  <a:lnTo>
                    <a:pt x="207" y="19"/>
                  </a:lnTo>
                  <a:lnTo>
                    <a:pt x="203" y="12"/>
                  </a:lnTo>
                  <a:lnTo>
                    <a:pt x="198" y="6"/>
                  </a:lnTo>
                  <a:lnTo>
                    <a:pt x="198" y="6"/>
                  </a:lnTo>
                  <a:lnTo>
                    <a:pt x="193" y="2"/>
                  </a:lnTo>
                  <a:lnTo>
                    <a:pt x="190" y="0"/>
                  </a:lnTo>
                  <a:lnTo>
                    <a:pt x="186" y="0"/>
                  </a:lnTo>
                  <a:lnTo>
                    <a:pt x="184" y="2"/>
                  </a:lnTo>
                  <a:lnTo>
                    <a:pt x="183" y="7"/>
                  </a:lnTo>
                  <a:lnTo>
                    <a:pt x="179" y="14"/>
                  </a:lnTo>
                  <a:lnTo>
                    <a:pt x="179" y="14"/>
                  </a:lnTo>
                  <a:lnTo>
                    <a:pt x="179" y="21"/>
                  </a:lnTo>
                  <a:lnTo>
                    <a:pt x="177" y="26"/>
                  </a:lnTo>
                  <a:lnTo>
                    <a:pt x="174" y="32"/>
                  </a:lnTo>
                  <a:lnTo>
                    <a:pt x="170" y="35"/>
                  </a:lnTo>
                  <a:lnTo>
                    <a:pt x="169" y="39"/>
                  </a:lnTo>
                  <a:lnTo>
                    <a:pt x="165" y="42"/>
                  </a:lnTo>
                  <a:lnTo>
                    <a:pt x="165" y="46"/>
                  </a:lnTo>
                  <a:lnTo>
                    <a:pt x="167" y="51"/>
                  </a:lnTo>
                  <a:lnTo>
                    <a:pt x="167" y="51"/>
                  </a:lnTo>
                  <a:lnTo>
                    <a:pt x="170" y="61"/>
                  </a:lnTo>
                  <a:lnTo>
                    <a:pt x="170" y="63"/>
                  </a:lnTo>
                  <a:lnTo>
                    <a:pt x="170" y="65"/>
                  </a:lnTo>
                  <a:lnTo>
                    <a:pt x="169" y="65"/>
                  </a:lnTo>
                  <a:lnTo>
                    <a:pt x="167" y="63"/>
                  </a:lnTo>
                  <a:lnTo>
                    <a:pt x="162" y="58"/>
                  </a:lnTo>
                  <a:lnTo>
                    <a:pt x="162" y="58"/>
                  </a:lnTo>
                  <a:lnTo>
                    <a:pt x="158" y="53"/>
                  </a:lnTo>
                  <a:lnTo>
                    <a:pt x="153" y="53"/>
                  </a:lnTo>
                  <a:lnTo>
                    <a:pt x="146" y="53"/>
                  </a:lnTo>
                  <a:lnTo>
                    <a:pt x="141" y="56"/>
                  </a:lnTo>
                  <a:lnTo>
                    <a:pt x="129" y="65"/>
                  </a:lnTo>
                  <a:lnTo>
                    <a:pt x="120" y="75"/>
                  </a:lnTo>
                  <a:lnTo>
                    <a:pt x="120" y="75"/>
                  </a:lnTo>
                  <a:lnTo>
                    <a:pt x="115" y="80"/>
                  </a:lnTo>
                  <a:lnTo>
                    <a:pt x="111" y="82"/>
                  </a:lnTo>
                  <a:lnTo>
                    <a:pt x="109" y="84"/>
                  </a:lnTo>
                  <a:lnTo>
                    <a:pt x="108" y="84"/>
                  </a:lnTo>
                  <a:lnTo>
                    <a:pt x="104" y="84"/>
                  </a:lnTo>
                  <a:lnTo>
                    <a:pt x="101" y="89"/>
                  </a:lnTo>
                  <a:lnTo>
                    <a:pt x="101" y="89"/>
                  </a:lnTo>
                  <a:lnTo>
                    <a:pt x="99" y="93"/>
                  </a:lnTo>
                  <a:lnTo>
                    <a:pt x="101" y="96"/>
                  </a:lnTo>
                  <a:lnTo>
                    <a:pt x="102" y="101"/>
                  </a:lnTo>
                  <a:lnTo>
                    <a:pt x="104" y="103"/>
                  </a:lnTo>
                  <a:lnTo>
                    <a:pt x="104" y="106"/>
                  </a:lnTo>
                  <a:lnTo>
                    <a:pt x="104" y="112"/>
                  </a:lnTo>
                  <a:lnTo>
                    <a:pt x="101" y="120"/>
                  </a:lnTo>
                  <a:lnTo>
                    <a:pt x="101" y="120"/>
                  </a:lnTo>
                  <a:lnTo>
                    <a:pt x="97" y="127"/>
                  </a:lnTo>
                  <a:lnTo>
                    <a:pt x="94" y="133"/>
                  </a:lnTo>
                  <a:lnTo>
                    <a:pt x="85" y="140"/>
                  </a:lnTo>
                  <a:lnTo>
                    <a:pt x="83" y="143"/>
                  </a:lnTo>
                  <a:lnTo>
                    <a:pt x="82" y="145"/>
                  </a:lnTo>
                  <a:lnTo>
                    <a:pt x="83" y="147"/>
                  </a:lnTo>
                  <a:lnTo>
                    <a:pt x="85" y="150"/>
                  </a:lnTo>
                  <a:lnTo>
                    <a:pt x="85" y="150"/>
                  </a:lnTo>
                  <a:lnTo>
                    <a:pt x="89" y="154"/>
                  </a:lnTo>
                  <a:lnTo>
                    <a:pt x="89" y="157"/>
                  </a:lnTo>
                  <a:lnTo>
                    <a:pt x="85" y="164"/>
                  </a:lnTo>
                  <a:lnTo>
                    <a:pt x="78" y="174"/>
                  </a:lnTo>
                  <a:lnTo>
                    <a:pt x="75" y="181"/>
                  </a:lnTo>
                  <a:lnTo>
                    <a:pt x="71" y="192"/>
                  </a:lnTo>
                  <a:lnTo>
                    <a:pt x="71" y="192"/>
                  </a:lnTo>
                  <a:lnTo>
                    <a:pt x="68" y="206"/>
                  </a:lnTo>
                  <a:lnTo>
                    <a:pt x="66" y="209"/>
                  </a:lnTo>
                  <a:lnTo>
                    <a:pt x="64" y="209"/>
                  </a:lnTo>
                  <a:lnTo>
                    <a:pt x="61" y="207"/>
                  </a:lnTo>
                  <a:lnTo>
                    <a:pt x="57" y="204"/>
                  </a:lnTo>
                  <a:lnTo>
                    <a:pt x="52" y="202"/>
                  </a:lnTo>
                  <a:lnTo>
                    <a:pt x="52" y="202"/>
                  </a:lnTo>
                  <a:lnTo>
                    <a:pt x="43" y="199"/>
                  </a:lnTo>
                  <a:lnTo>
                    <a:pt x="38" y="197"/>
                  </a:lnTo>
                  <a:lnTo>
                    <a:pt x="38" y="199"/>
                  </a:lnTo>
                  <a:lnTo>
                    <a:pt x="38" y="202"/>
                  </a:lnTo>
                  <a:lnTo>
                    <a:pt x="40" y="218"/>
                  </a:lnTo>
                  <a:lnTo>
                    <a:pt x="40" y="218"/>
                  </a:lnTo>
                  <a:lnTo>
                    <a:pt x="42" y="234"/>
                  </a:lnTo>
                  <a:lnTo>
                    <a:pt x="42" y="242"/>
                  </a:lnTo>
                  <a:lnTo>
                    <a:pt x="40" y="246"/>
                  </a:lnTo>
                  <a:lnTo>
                    <a:pt x="36" y="246"/>
                  </a:lnTo>
                  <a:lnTo>
                    <a:pt x="35" y="246"/>
                  </a:lnTo>
                  <a:lnTo>
                    <a:pt x="31" y="246"/>
                  </a:lnTo>
                  <a:lnTo>
                    <a:pt x="29" y="251"/>
                  </a:lnTo>
                  <a:lnTo>
                    <a:pt x="29" y="261"/>
                  </a:lnTo>
                  <a:lnTo>
                    <a:pt x="29" y="261"/>
                  </a:lnTo>
                  <a:lnTo>
                    <a:pt x="31" y="267"/>
                  </a:lnTo>
                  <a:lnTo>
                    <a:pt x="33" y="272"/>
                  </a:lnTo>
                  <a:lnTo>
                    <a:pt x="33" y="277"/>
                  </a:lnTo>
                  <a:lnTo>
                    <a:pt x="29" y="288"/>
                  </a:lnTo>
                  <a:lnTo>
                    <a:pt x="29" y="288"/>
                  </a:lnTo>
                  <a:lnTo>
                    <a:pt x="26" y="291"/>
                  </a:lnTo>
                  <a:lnTo>
                    <a:pt x="24" y="293"/>
                  </a:lnTo>
                  <a:lnTo>
                    <a:pt x="22" y="291"/>
                  </a:lnTo>
                  <a:lnTo>
                    <a:pt x="21" y="288"/>
                  </a:lnTo>
                  <a:lnTo>
                    <a:pt x="19" y="286"/>
                  </a:lnTo>
                  <a:lnTo>
                    <a:pt x="19" y="284"/>
                  </a:lnTo>
                  <a:lnTo>
                    <a:pt x="15" y="286"/>
                  </a:lnTo>
                  <a:lnTo>
                    <a:pt x="14" y="291"/>
                  </a:lnTo>
                  <a:lnTo>
                    <a:pt x="14" y="291"/>
                  </a:lnTo>
                  <a:lnTo>
                    <a:pt x="14" y="310"/>
                  </a:lnTo>
                  <a:lnTo>
                    <a:pt x="14" y="321"/>
                  </a:lnTo>
                  <a:lnTo>
                    <a:pt x="14" y="322"/>
                  </a:lnTo>
                  <a:lnTo>
                    <a:pt x="12" y="322"/>
                  </a:lnTo>
                  <a:lnTo>
                    <a:pt x="8" y="319"/>
                  </a:lnTo>
                  <a:lnTo>
                    <a:pt x="5" y="315"/>
                  </a:lnTo>
                  <a:lnTo>
                    <a:pt x="3" y="315"/>
                  </a:lnTo>
                  <a:lnTo>
                    <a:pt x="1" y="315"/>
                  </a:lnTo>
                  <a:lnTo>
                    <a:pt x="1" y="319"/>
                  </a:lnTo>
                  <a:lnTo>
                    <a:pt x="0" y="329"/>
                  </a:lnTo>
                  <a:lnTo>
                    <a:pt x="0" y="32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7" name="Freeform 2020">
              <a:extLst>
                <a:ext uri="{FF2B5EF4-FFF2-40B4-BE49-F238E27FC236}">
                  <a16:creationId xmlns:a16="http://schemas.microsoft.com/office/drawing/2014/main" id="{2E67F496-0C2F-4547-8C32-FA734D7AE066}"/>
                </a:ext>
              </a:extLst>
            </p:cNvPr>
            <p:cNvSpPr>
              <a:spLocks/>
            </p:cNvSpPr>
            <p:nvPr/>
          </p:nvSpPr>
          <p:spPr bwMode="auto">
            <a:xfrm>
              <a:off x="7538935" y="3743547"/>
              <a:ext cx="213202" cy="299541"/>
            </a:xfrm>
            <a:custGeom>
              <a:avLst/>
              <a:gdLst/>
              <a:ahLst/>
              <a:cxnLst>
                <a:cxn ang="0">
                  <a:pos x="7" y="92"/>
                </a:cxn>
                <a:cxn ang="0">
                  <a:pos x="15" y="105"/>
                </a:cxn>
                <a:cxn ang="0">
                  <a:pos x="15" y="129"/>
                </a:cxn>
                <a:cxn ang="0">
                  <a:pos x="34" y="124"/>
                </a:cxn>
                <a:cxn ang="0">
                  <a:pos x="38" y="138"/>
                </a:cxn>
                <a:cxn ang="0">
                  <a:pos x="43" y="153"/>
                </a:cxn>
                <a:cxn ang="0">
                  <a:pos x="34" y="179"/>
                </a:cxn>
                <a:cxn ang="0">
                  <a:pos x="29" y="213"/>
                </a:cxn>
                <a:cxn ang="0">
                  <a:pos x="45" y="211"/>
                </a:cxn>
                <a:cxn ang="0">
                  <a:pos x="69" y="186"/>
                </a:cxn>
                <a:cxn ang="0">
                  <a:pos x="81" y="195"/>
                </a:cxn>
                <a:cxn ang="0">
                  <a:pos x="92" y="200"/>
                </a:cxn>
                <a:cxn ang="0">
                  <a:pos x="109" y="179"/>
                </a:cxn>
                <a:cxn ang="0">
                  <a:pos x="125" y="181"/>
                </a:cxn>
                <a:cxn ang="0">
                  <a:pos x="142" y="192"/>
                </a:cxn>
                <a:cxn ang="0">
                  <a:pos x="162" y="218"/>
                </a:cxn>
                <a:cxn ang="0">
                  <a:pos x="162" y="253"/>
                </a:cxn>
                <a:cxn ang="0">
                  <a:pos x="184" y="282"/>
                </a:cxn>
                <a:cxn ang="0">
                  <a:pos x="189" y="294"/>
                </a:cxn>
                <a:cxn ang="0">
                  <a:pos x="189" y="331"/>
                </a:cxn>
                <a:cxn ang="0">
                  <a:pos x="179" y="355"/>
                </a:cxn>
                <a:cxn ang="0">
                  <a:pos x="195" y="362"/>
                </a:cxn>
                <a:cxn ang="0">
                  <a:pos x="205" y="371"/>
                </a:cxn>
                <a:cxn ang="0">
                  <a:pos x="210" y="362"/>
                </a:cxn>
                <a:cxn ang="0">
                  <a:pos x="209" y="352"/>
                </a:cxn>
                <a:cxn ang="0">
                  <a:pos x="226" y="343"/>
                </a:cxn>
                <a:cxn ang="0">
                  <a:pos x="238" y="354"/>
                </a:cxn>
                <a:cxn ang="0">
                  <a:pos x="254" y="341"/>
                </a:cxn>
                <a:cxn ang="0">
                  <a:pos x="259" y="340"/>
                </a:cxn>
                <a:cxn ang="0">
                  <a:pos x="264" y="312"/>
                </a:cxn>
                <a:cxn ang="0">
                  <a:pos x="249" y="291"/>
                </a:cxn>
                <a:cxn ang="0">
                  <a:pos x="257" y="282"/>
                </a:cxn>
                <a:cxn ang="0">
                  <a:pos x="252" y="279"/>
                </a:cxn>
                <a:cxn ang="0">
                  <a:pos x="235" y="261"/>
                </a:cxn>
                <a:cxn ang="0">
                  <a:pos x="222" y="233"/>
                </a:cxn>
                <a:cxn ang="0">
                  <a:pos x="202" y="214"/>
                </a:cxn>
                <a:cxn ang="0">
                  <a:pos x="184" y="185"/>
                </a:cxn>
                <a:cxn ang="0">
                  <a:pos x="177" y="171"/>
                </a:cxn>
                <a:cxn ang="0">
                  <a:pos x="167" y="160"/>
                </a:cxn>
                <a:cxn ang="0">
                  <a:pos x="135" y="139"/>
                </a:cxn>
                <a:cxn ang="0">
                  <a:pos x="139" y="127"/>
                </a:cxn>
                <a:cxn ang="0">
                  <a:pos x="156" y="124"/>
                </a:cxn>
                <a:cxn ang="0">
                  <a:pos x="165" y="112"/>
                </a:cxn>
                <a:cxn ang="0">
                  <a:pos x="170" y="101"/>
                </a:cxn>
                <a:cxn ang="0">
                  <a:pos x="160" y="96"/>
                </a:cxn>
                <a:cxn ang="0">
                  <a:pos x="153" y="87"/>
                </a:cxn>
                <a:cxn ang="0">
                  <a:pos x="151" y="72"/>
                </a:cxn>
                <a:cxn ang="0">
                  <a:pos x="134" y="65"/>
                </a:cxn>
                <a:cxn ang="0">
                  <a:pos x="123" y="77"/>
                </a:cxn>
                <a:cxn ang="0">
                  <a:pos x="111" y="72"/>
                </a:cxn>
                <a:cxn ang="0">
                  <a:pos x="97" y="56"/>
                </a:cxn>
                <a:cxn ang="0">
                  <a:pos x="99" y="45"/>
                </a:cxn>
                <a:cxn ang="0">
                  <a:pos x="102" y="35"/>
                </a:cxn>
                <a:cxn ang="0">
                  <a:pos x="95" y="30"/>
                </a:cxn>
                <a:cxn ang="0">
                  <a:pos x="88" y="30"/>
                </a:cxn>
                <a:cxn ang="0">
                  <a:pos x="62" y="0"/>
                </a:cxn>
                <a:cxn ang="0">
                  <a:pos x="52" y="12"/>
                </a:cxn>
                <a:cxn ang="0">
                  <a:pos x="57" y="44"/>
                </a:cxn>
                <a:cxn ang="0">
                  <a:pos x="57" y="58"/>
                </a:cxn>
                <a:cxn ang="0">
                  <a:pos x="43" y="56"/>
                </a:cxn>
                <a:cxn ang="0">
                  <a:pos x="36" y="42"/>
                </a:cxn>
                <a:cxn ang="0">
                  <a:pos x="15" y="59"/>
                </a:cxn>
                <a:cxn ang="0">
                  <a:pos x="5" y="75"/>
                </a:cxn>
              </a:cxnLst>
              <a:rect l="0" t="0" r="r" b="b"/>
              <a:pathLst>
                <a:path w="264" h="371">
                  <a:moveTo>
                    <a:pt x="0" y="91"/>
                  </a:moveTo>
                  <a:lnTo>
                    <a:pt x="0" y="91"/>
                  </a:lnTo>
                  <a:lnTo>
                    <a:pt x="0" y="96"/>
                  </a:lnTo>
                  <a:lnTo>
                    <a:pt x="3" y="94"/>
                  </a:lnTo>
                  <a:lnTo>
                    <a:pt x="7" y="92"/>
                  </a:lnTo>
                  <a:lnTo>
                    <a:pt x="8" y="92"/>
                  </a:lnTo>
                  <a:lnTo>
                    <a:pt x="12" y="96"/>
                  </a:lnTo>
                  <a:lnTo>
                    <a:pt x="12" y="96"/>
                  </a:lnTo>
                  <a:lnTo>
                    <a:pt x="15" y="99"/>
                  </a:lnTo>
                  <a:lnTo>
                    <a:pt x="15" y="105"/>
                  </a:lnTo>
                  <a:lnTo>
                    <a:pt x="12" y="117"/>
                  </a:lnTo>
                  <a:lnTo>
                    <a:pt x="10" y="120"/>
                  </a:lnTo>
                  <a:lnTo>
                    <a:pt x="10" y="126"/>
                  </a:lnTo>
                  <a:lnTo>
                    <a:pt x="12" y="127"/>
                  </a:lnTo>
                  <a:lnTo>
                    <a:pt x="15" y="129"/>
                  </a:lnTo>
                  <a:lnTo>
                    <a:pt x="15" y="129"/>
                  </a:lnTo>
                  <a:lnTo>
                    <a:pt x="24" y="129"/>
                  </a:lnTo>
                  <a:lnTo>
                    <a:pt x="26" y="126"/>
                  </a:lnTo>
                  <a:lnTo>
                    <a:pt x="29" y="124"/>
                  </a:lnTo>
                  <a:lnTo>
                    <a:pt x="34" y="124"/>
                  </a:lnTo>
                  <a:lnTo>
                    <a:pt x="34" y="124"/>
                  </a:lnTo>
                  <a:lnTo>
                    <a:pt x="38" y="126"/>
                  </a:lnTo>
                  <a:lnTo>
                    <a:pt x="40" y="127"/>
                  </a:lnTo>
                  <a:lnTo>
                    <a:pt x="40" y="131"/>
                  </a:lnTo>
                  <a:lnTo>
                    <a:pt x="38" y="138"/>
                  </a:lnTo>
                  <a:lnTo>
                    <a:pt x="40" y="141"/>
                  </a:lnTo>
                  <a:lnTo>
                    <a:pt x="41" y="145"/>
                  </a:lnTo>
                  <a:lnTo>
                    <a:pt x="41" y="145"/>
                  </a:lnTo>
                  <a:lnTo>
                    <a:pt x="43" y="150"/>
                  </a:lnTo>
                  <a:lnTo>
                    <a:pt x="43" y="153"/>
                  </a:lnTo>
                  <a:lnTo>
                    <a:pt x="38" y="166"/>
                  </a:lnTo>
                  <a:lnTo>
                    <a:pt x="34" y="174"/>
                  </a:lnTo>
                  <a:lnTo>
                    <a:pt x="33" y="178"/>
                  </a:lnTo>
                  <a:lnTo>
                    <a:pt x="34" y="179"/>
                  </a:lnTo>
                  <a:lnTo>
                    <a:pt x="34" y="179"/>
                  </a:lnTo>
                  <a:lnTo>
                    <a:pt x="38" y="183"/>
                  </a:lnTo>
                  <a:lnTo>
                    <a:pt x="38" y="188"/>
                  </a:lnTo>
                  <a:lnTo>
                    <a:pt x="34" y="199"/>
                  </a:lnTo>
                  <a:lnTo>
                    <a:pt x="29" y="209"/>
                  </a:lnTo>
                  <a:lnTo>
                    <a:pt x="29" y="213"/>
                  </a:lnTo>
                  <a:lnTo>
                    <a:pt x="29" y="214"/>
                  </a:lnTo>
                  <a:lnTo>
                    <a:pt x="29" y="214"/>
                  </a:lnTo>
                  <a:lnTo>
                    <a:pt x="34" y="216"/>
                  </a:lnTo>
                  <a:lnTo>
                    <a:pt x="38" y="216"/>
                  </a:lnTo>
                  <a:lnTo>
                    <a:pt x="45" y="211"/>
                  </a:lnTo>
                  <a:lnTo>
                    <a:pt x="55" y="197"/>
                  </a:lnTo>
                  <a:lnTo>
                    <a:pt x="55" y="197"/>
                  </a:lnTo>
                  <a:lnTo>
                    <a:pt x="62" y="192"/>
                  </a:lnTo>
                  <a:lnTo>
                    <a:pt x="66" y="188"/>
                  </a:lnTo>
                  <a:lnTo>
                    <a:pt x="69" y="186"/>
                  </a:lnTo>
                  <a:lnTo>
                    <a:pt x="73" y="188"/>
                  </a:lnTo>
                  <a:lnTo>
                    <a:pt x="76" y="192"/>
                  </a:lnTo>
                  <a:lnTo>
                    <a:pt x="78" y="195"/>
                  </a:lnTo>
                  <a:lnTo>
                    <a:pt x="81" y="195"/>
                  </a:lnTo>
                  <a:lnTo>
                    <a:pt x="81" y="195"/>
                  </a:lnTo>
                  <a:lnTo>
                    <a:pt x="83" y="195"/>
                  </a:lnTo>
                  <a:lnTo>
                    <a:pt x="85" y="197"/>
                  </a:lnTo>
                  <a:lnTo>
                    <a:pt x="87" y="200"/>
                  </a:lnTo>
                  <a:lnTo>
                    <a:pt x="87" y="202"/>
                  </a:lnTo>
                  <a:lnTo>
                    <a:pt x="92" y="200"/>
                  </a:lnTo>
                  <a:lnTo>
                    <a:pt x="92" y="200"/>
                  </a:lnTo>
                  <a:lnTo>
                    <a:pt x="97" y="197"/>
                  </a:lnTo>
                  <a:lnTo>
                    <a:pt x="102" y="192"/>
                  </a:lnTo>
                  <a:lnTo>
                    <a:pt x="108" y="183"/>
                  </a:lnTo>
                  <a:lnTo>
                    <a:pt x="109" y="179"/>
                  </a:lnTo>
                  <a:lnTo>
                    <a:pt x="113" y="178"/>
                  </a:lnTo>
                  <a:lnTo>
                    <a:pt x="116" y="178"/>
                  </a:lnTo>
                  <a:lnTo>
                    <a:pt x="120" y="178"/>
                  </a:lnTo>
                  <a:lnTo>
                    <a:pt x="120" y="178"/>
                  </a:lnTo>
                  <a:lnTo>
                    <a:pt x="125" y="181"/>
                  </a:lnTo>
                  <a:lnTo>
                    <a:pt x="128" y="181"/>
                  </a:lnTo>
                  <a:lnTo>
                    <a:pt x="134" y="181"/>
                  </a:lnTo>
                  <a:lnTo>
                    <a:pt x="137" y="181"/>
                  </a:lnTo>
                  <a:lnTo>
                    <a:pt x="139" y="183"/>
                  </a:lnTo>
                  <a:lnTo>
                    <a:pt x="142" y="192"/>
                  </a:lnTo>
                  <a:lnTo>
                    <a:pt x="142" y="192"/>
                  </a:lnTo>
                  <a:lnTo>
                    <a:pt x="146" y="200"/>
                  </a:lnTo>
                  <a:lnTo>
                    <a:pt x="151" y="206"/>
                  </a:lnTo>
                  <a:lnTo>
                    <a:pt x="158" y="213"/>
                  </a:lnTo>
                  <a:lnTo>
                    <a:pt x="162" y="218"/>
                  </a:lnTo>
                  <a:lnTo>
                    <a:pt x="163" y="223"/>
                  </a:lnTo>
                  <a:lnTo>
                    <a:pt x="165" y="230"/>
                  </a:lnTo>
                  <a:lnTo>
                    <a:pt x="163" y="242"/>
                  </a:lnTo>
                  <a:lnTo>
                    <a:pt x="163" y="242"/>
                  </a:lnTo>
                  <a:lnTo>
                    <a:pt x="162" y="253"/>
                  </a:lnTo>
                  <a:lnTo>
                    <a:pt x="163" y="261"/>
                  </a:lnTo>
                  <a:lnTo>
                    <a:pt x="168" y="268"/>
                  </a:lnTo>
                  <a:lnTo>
                    <a:pt x="172" y="274"/>
                  </a:lnTo>
                  <a:lnTo>
                    <a:pt x="181" y="279"/>
                  </a:lnTo>
                  <a:lnTo>
                    <a:pt x="184" y="282"/>
                  </a:lnTo>
                  <a:lnTo>
                    <a:pt x="184" y="284"/>
                  </a:lnTo>
                  <a:lnTo>
                    <a:pt x="184" y="284"/>
                  </a:lnTo>
                  <a:lnTo>
                    <a:pt x="184" y="286"/>
                  </a:lnTo>
                  <a:lnTo>
                    <a:pt x="186" y="289"/>
                  </a:lnTo>
                  <a:lnTo>
                    <a:pt x="189" y="294"/>
                  </a:lnTo>
                  <a:lnTo>
                    <a:pt x="191" y="300"/>
                  </a:lnTo>
                  <a:lnTo>
                    <a:pt x="193" y="307"/>
                  </a:lnTo>
                  <a:lnTo>
                    <a:pt x="193" y="317"/>
                  </a:lnTo>
                  <a:lnTo>
                    <a:pt x="189" y="331"/>
                  </a:lnTo>
                  <a:lnTo>
                    <a:pt x="189" y="331"/>
                  </a:lnTo>
                  <a:lnTo>
                    <a:pt x="189" y="336"/>
                  </a:lnTo>
                  <a:lnTo>
                    <a:pt x="189" y="341"/>
                  </a:lnTo>
                  <a:lnTo>
                    <a:pt x="188" y="347"/>
                  </a:lnTo>
                  <a:lnTo>
                    <a:pt x="179" y="355"/>
                  </a:lnTo>
                  <a:lnTo>
                    <a:pt x="179" y="355"/>
                  </a:lnTo>
                  <a:lnTo>
                    <a:pt x="181" y="359"/>
                  </a:lnTo>
                  <a:lnTo>
                    <a:pt x="184" y="362"/>
                  </a:lnTo>
                  <a:lnTo>
                    <a:pt x="186" y="362"/>
                  </a:lnTo>
                  <a:lnTo>
                    <a:pt x="189" y="362"/>
                  </a:lnTo>
                  <a:lnTo>
                    <a:pt x="195" y="362"/>
                  </a:lnTo>
                  <a:lnTo>
                    <a:pt x="196" y="362"/>
                  </a:lnTo>
                  <a:lnTo>
                    <a:pt x="200" y="366"/>
                  </a:lnTo>
                  <a:lnTo>
                    <a:pt x="200" y="366"/>
                  </a:lnTo>
                  <a:lnTo>
                    <a:pt x="202" y="369"/>
                  </a:lnTo>
                  <a:lnTo>
                    <a:pt x="205" y="371"/>
                  </a:lnTo>
                  <a:lnTo>
                    <a:pt x="209" y="371"/>
                  </a:lnTo>
                  <a:lnTo>
                    <a:pt x="210" y="371"/>
                  </a:lnTo>
                  <a:lnTo>
                    <a:pt x="210" y="369"/>
                  </a:lnTo>
                  <a:lnTo>
                    <a:pt x="212" y="366"/>
                  </a:lnTo>
                  <a:lnTo>
                    <a:pt x="210" y="362"/>
                  </a:lnTo>
                  <a:lnTo>
                    <a:pt x="209" y="359"/>
                  </a:lnTo>
                  <a:lnTo>
                    <a:pt x="209" y="359"/>
                  </a:lnTo>
                  <a:lnTo>
                    <a:pt x="207" y="355"/>
                  </a:lnTo>
                  <a:lnTo>
                    <a:pt x="207" y="354"/>
                  </a:lnTo>
                  <a:lnTo>
                    <a:pt x="209" y="352"/>
                  </a:lnTo>
                  <a:lnTo>
                    <a:pt x="210" y="350"/>
                  </a:lnTo>
                  <a:lnTo>
                    <a:pt x="217" y="348"/>
                  </a:lnTo>
                  <a:lnTo>
                    <a:pt x="222" y="345"/>
                  </a:lnTo>
                  <a:lnTo>
                    <a:pt x="222" y="345"/>
                  </a:lnTo>
                  <a:lnTo>
                    <a:pt x="226" y="343"/>
                  </a:lnTo>
                  <a:lnTo>
                    <a:pt x="228" y="343"/>
                  </a:lnTo>
                  <a:lnTo>
                    <a:pt x="231" y="348"/>
                  </a:lnTo>
                  <a:lnTo>
                    <a:pt x="233" y="352"/>
                  </a:lnTo>
                  <a:lnTo>
                    <a:pt x="235" y="354"/>
                  </a:lnTo>
                  <a:lnTo>
                    <a:pt x="238" y="354"/>
                  </a:lnTo>
                  <a:lnTo>
                    <a:pt x="238" y="354"/>
                  </a:lnTo>
                  <a:lnTo>
                    <a:pt x="243" y="350"/>
                  </a:lnTo>
                  <a:lnTo>
                    <a:pt x="247" y="345"/>
                  </a:lnTo>
                  <a:lnTo>
                    <a:pt x="250" y="343"/>
                  </a:lnTo>
                  <a:lnTo>
                    <a:pt x="254" y="341"/>
                  </a:lnTo>
                  <a:lnTo>
                    <a:pt x="254" y="341"/>
                  </a:lnTo>
                  <a:lnTo>
                    <a:pt x="256" y="343"/>
                  </a:lnTo>
                  <a:lnTo>
                    <a:pt x="257" y="343"/>
                  </a:lnTo>
                  <a:lnTo>
                    <a:pt x="259" y="340"/>
                  </a:lnTo>
                  <a:lnTo>
                    <a:pt x="259" y="340"/>
                  </a:lnTo>
                  <a:lnTo>
                    <a:pt x="259" y="334"/>
                  </a:lnTo>
                  <a:lnTo>
                    <a:pt x="261" y="329"/>
                  </a:lnTo>
                  <a:lnTo>
                    <a:pt x="264" y="321"/>
                  </a:lnTo>
                  <a:lnTo>
                    <a:pt x="264" y="317"/>
                  </a:lnTo>
                  <a:lnTo>
                    <a:pt x="264" y="312"/>
                  </a:lnTo>
                  <a:lnTo>
                    <a:pt x="264" y="308"/>
                  </a:lnTo>
                  <a:lnTo>
                    <a:pt x="259" y="305"/>
                  </a:lnTo>
                  <a:lnTo>
                    <a:pt x="259" y="305"/>
                  </a:lnTo>
                  <a:lnTo>
                    <a:pt x="252" y="296"/>
                  </a:lnTo>
                  <a:lnTo>
                    <a:pt x="249" y="291"/>
                  </a:lnTo>
                  <a:lnTo>
                    <a:pt x="249" y="289"/>
                  </a:lnTo>
                  <a:lnTo>
                    <a:pt x="249" y="287"/>
                  </a:lnTo>
                  <a:lnTo>
                    <a:pt x="254" y="286"/>
                  </a:lnTo>
                  <a:lnTo>
                    <a:pt x="254" y="286"/>
                  </a:lnTo>
                  <a:lnTo>
                    <a:pt x="257" y="282"/>
                  </a:lnTo>
                  <a:lnTo>
                    <a:pt x="259" y="280"/>
                  </a:lnTo>
                  <a:lnTo>
                    <a:pt x="257" y="279"/>
                  </a:lnTo>
                  <a:lnTo>
                    <a:pt x="254" y="279"/>
                  </a:lnTo>
                  <a:lnTo>
                    <a:pt x="254" y="279"/>
                  </a:lnTo>
                  <a:lnTo>
                    <a:pt x="252" y="279"/>
                  </a:lnTo>
                  <a:lnTo>
                    <a:pt x="250" y="277"/>
                  </a:lnTo>
                  <a:lnTo>
                    <a:pt x="245" y="270"/>
                  </a:lnTo>
                  <a:lnTo>
                    <a:pt x="240" y="263"/>
                  </a:lnTo>
                  <a:lnTo>
                    <a:pt x="236" y="261"/>
                  </a:lnTo>
                  <a:lnTo>
                    <a:pt x="235" y="261"/>
                  </a:lnTo>
                  <a:lnTo>
                    <a:pt x="235" y="261"/>
                  </a:lnTo>
                  <a:lnTo>
                    <a:pt x="231" y="261"/>
                  </a:lnTo>
                  <a:lnTo>
                    <a:pt x="229" y="260"/>
                  </a:lnTo>
                  <a:lnTo>
                    <a:pt x="226" y="247"/>
                  </a:lnTo>
                  <a:lnTo>
                    <a:pt x="222" y="233"/>
                  </a:lnTo>
                  <a:lnTo>
                    <a:pt x="219" y="228"/>
                  </a:lnTo>
                  <a:lnTo>
                    <a:pt x="216" y="226"/>
                  </a:lnTo>
                  <a:lnTo>
                    <a:pt x="216" y="226"/>
                  </a:lnTo>
                  <a:lnTo>
                    <a:pt x="209" y="223"/>
                  </a:lnTo>
                  <a:lnTo>
                    <a:pt x="202" y="214"/>
                  </a:lnTo>
                  <a:lnTo>
                    <a:pt x="195" y="204"/>
                  </a:lnTo>
                  <a:lnTo>
                    <a:pt x="191" y="193"/>
                  </a:lnTo>
                  <a:lnTo>
                    <a:pt x="191" y="193"/>
                  </a:lnTo>
                  <a:lnTo>
                    <a:pt x="188" y="186"/>
                  </a:lnTo>
                  <a:lnTo>
                    <a:pt x="184" y="185"/>
                  </a:lnTo>
                  <a:lnTo>
                    <a:pt x="181" y="183"/>
                  </a:lnTo>
                  <a:lnTo>
                    <a:pt x="177" y="179"/>
                  </a:lnTo>
                  <a:lnTo>
                    <a:pt x="177" y="179"/>
                  </a:lnTo>
                  <a:lnTo>
                    <a:pt x="175" y="174"/>
                  </a:lnTo>
                  <a:lnTo>
                    <a:pt x="177" y="171"/>
                  </a:lnTo>
                  <a:lnTo>
                    <a:pt x="177" y="169"/>
                  </a:lnTo>
                  <a:lnTo>
                    <a:pt x="177" y="166"/>
                  </a:lnTo>
                  <a:lnTo>
                    <a:pt x="177" y="166"/>
                  </a:lnTo>
                  <a:lnTo>
                    <a:pt x="174" y="162"/>
                  </a:lnTo>
                  <a:lnTo>
                    <a:pt x="167" y="160"/>
                  </a:lnTo>
                  <a:lnTo>
                    <a:pt x="156" y="157"/>
                  </a:lnTo>
                  <a:lnTo>
                    <a:pt x="146" y="150"/>
                  </a:lnTo>
                  <a:lnTo>
                    <a:pt x="146" y="150"/>
                  </a:lnTo>
                  <a:lnTo>
                    <a:pt x="139" y="143"/>
                  </a:lnTo>
                  <a:lnTo>
                    <a:pt x="135" y="139"/>
                  </a:lnTo>
                  <a:lnTo>
                    <a:pt x="134" y="136"/>
                  </a:lnTo>
                  <a:lnTo>
                    <a:pt x="135" y="134"/>
                  </a:lnTo>
                  <a:lnTo>
                    <a:pt x="137" y="131"/>
                  </a:lnTo>
                  <a:lnTo>
                    <a:pt x="139" y="129"/>
                  </a:lnTo>
                  <a:lnTo>
                    <a:pt x="139" y="127"/>
                  </a:lnTo>
                  <a:lnTo>
                    <a:pt x="139" y="127"/>
                  </a:lnTo>
                  <a:lnTo>
                    <a:pt x="137" y="122"/>
                  </a:lnTo>
                  <a:lnTo>
                    <a:pt x="139" y="120"/>
                  </a:lnTo>
                  <a:lnTo>
                    <a:pt x="148" y="122"/>
                  </a:lnTo>
                  <a:lnTo>
                    <a:pt x="156" y="124"/>
                  </a:lnTo>
                  <a:lnTo>
                    <a:pt x="160" y="122"/>
                  </a:lnTo>
                  <a:lnTo>
                    <a:pt x="162" y="119"/>
                  </a:lnTo>
                  <a:lnTo>
                    <a:pt x="162" y="119"/>
                  </a:lnTo>
                  <a:lnTo>
                    <a:pt x="163" y="115"/>
                  </a:lnTo>
                  <a:lnTo>
                    <a:pt x="165" y="112"/>
                  </a:lnTo>
                  <a:lnTo>
                    <a:pt x="168" y="108"/>
                  </a:lnTo>
                  <a:lnTo>
                    <a:pt x="170" y="106"/>
                  </a:lnTo>
                  <a:lnTo>
                    <a:pt x="172" y="105"/>
                  </a:lnTo>
                  <a:lnTo>
                    <a:pt x="170" y="101"/>
                  </a:lnTo>
                  <a:lnTo>
                    <a:pt x="170" y="101"/>
                  </a:lnTo>
                  <a:lnTo>
                    <a:pt x="167" y="99"/>
                  </a:lnTo>
                  <a:lnTo>
                    <a:pt x="163" y="99"/>
                  </a:lnTo>
                  <a:lnTo>
                    <a:pt x="162" y="99"/>
                  </a:lnTo>
                  <a:lnTo>
                    <a:pt x="160" y="96"/>
                  </a:lnTo>
                  <a:lnTo>
                    <a:pt x="160" y="96"/>
                  </a:lnTo>
                  <a:lnTo>
                    <a:pt x="160" y="92"/>
                  </a:lnTo>
                  <a:lnTo>
                    <a:pt x="158" y="91"/>
                  </a:lnTo>
                  <a:lnTo>
                    <a:pt x="153" y="91"/>
                  </a:lnTo>
                  <a:lnTo>
                    <a:pt x="151" y="89"/>
                  </a:lnTo>
                  <a:lnTo>
                    <a:pt x="153" y="87"/>
                  </a:lnTo>
                  <a:lnTo>
                    <a:pt x="153" y="87"/>
                  </a:lnTo>
                  <a:lnTo>
                    <a:pt x="158" y="82"/>
                  </a:lnTo>
                  <a:lnTo>
                    <a:pt x="160" y="79"/>
                  </a:lnTo>
                  <a:lnTo>
                    <a:pt x="156" y="77"/>
                  </a:lnTo>
                  <a:lnTo>
                    <a:pt x="151" y="72"/>
                  </a:lnTo>
                  <a:lnTo>
                    <a:pt x="151" y="72"/>
                  </a:lnTo>
                  <a:lnTo>
                    <a:pt x="142" y="68"/>
                  </a:lnTo>
                  <a:lnTo>
                    <a:pt x="137" y="65"/>
                  </a:lnTo>
                  <a:lnTo>
                    <a:pt x="135" y="65"/>
                  </a:lnTo>
                  <a:lnTo>
                    <a:pt x="134" y="65"/>
                  </a:lnTo>
                  <a:lnTo>
                    <a:pt x="130" y="70"/>
                  </a:lnTo>
                  <a:lnTo>
                    <a:pt x="130" y="70"/>
                  </a:lnTo>
                  <a:lnTo>
                    <a:pt x="128" y="75"/>
                  </a:lnTo>
                  <a:lnTo>
                    <a:pt x="127" y="77"/>
                  </a:lnTo>
                  <a:lnTo>
                    <a:pt x="123" y="77"/>
                  </a:lnTo>
                  <a:lnTo>
                    <a:pt x="121" y="77"/>
                  </a:lnTo>
                  <a:lnTo>
                    <a:pt x="116" y="72"/>
                  </a:lnTo>
                  <a:lnTo>
                    <a:pt x="115" y="72"/>
                  </a:lnTo>
                  <a:lnTo>
                    <a:pt x="111" y="72"/>
                  </a:lnTo>
                  <a:lnTo>
                    <a:pt x="111" y="72"/>
                  </a:lnTo>
                  <a:lnTo>
                    <a:pt x="108" y="72"/>
                  </a:lnTo>
                  <a:lnTo>
                    <a:pt x="106" y="70"/>
                  </a:lnTo>
                  <a:lnTo>
                    <a:pt x="102" y="66"/>
                  </a:lnTo>
                  <a:lnTo>
                    <a:pt x="101" y="61"/>
                  </a:lnTo>
                  <a:lnTo>
                    <a:pt x="97" y="56"/>
                  </a:lnTo>
                  <a:lnTo>
                    <a:pt x="97" y="56"/>
                  </a:lnTo>
                  <a:lnTo>
                    <a:pt x="97" y="52"/>
                  </a:lnTo>
                  <a:lnTo>
                    <a:pt x="99" y="49"/>
                  </a:lnTo>
                  <a:lnTo>
                    <a:pt x="99" y="47"/>
                  </a:lnTo>
                  <a:lnTo>
                    <a:pt x="99" y="45"/>
                  </a:lnTo>
                  <a:lnTo>
                    <a:pt x="99" y="45"/>
                  </a:lnTo>
                  <a:lnTo>
                    <a:pt x="97" y="44"/>
                  </a:lnTo>
                  <a:lnTo>
                    <a:pt x="99" y="42"/>
                  </a:lnTo>
                  <a:lnTo>
                    <a:pt x="101" y="38"/>
                  </a:lnTo>
                  <a:lnTo>
                    <a:pt x="102" y="35"/>
                  </a:lnTo>
                  <a:lnTo>
                    <a:pt x="101" y="33"/>
                  </a:lnTo>
                  <a:lnTo>
                    <a:pt x="101" y="33"/>
                  </a:lnTo>
                  <a:lnTo>
                    <a:pt x="101" y="33"/>
                  </a:lnTo>
                  <a:lnTo>
                    <a:pt x="97" y="31"/>
                  </a:lnTo>
                  <a:lnTo>
                    <a:pt x="95" y="30"/>
                  </a:lnTo>
                  <a:lnTo>
                    <a:pt x="95" y="28"/>
                  </a:lnTo>
                  <a:lnTo>
                    <a:pt x="92" y="31"/>
                  </a:lnTo>
                  <a:lnTo>
                    <a:pt x="92" y="31"/>
                  </a:lnTo>
                  <a:lnTo>
                    <a:pt x="90" y="35"/>
                  </a:lnTo>
                  <a:lnTo>
                    <a:pt x="88" y="30"/>
                  </a:lnTo>
                  <a:lnTo>
                    <a:pt x="83" y="19"/>
                  </a:lnTo>
                  <a:lnTo>
                    <a:pt x="78" y="12"/>
                  </a:lnTo>
                  <a:lnTo>
                    <a:pt x="71" y="4"/>
                  </a:lnTo>
                  <a:lnTo>
                    <a:pt x="71" y="4"/>
                  </a:lnTo>
                  <a:lnTo>
                    <a:pt x="62" y="0"/>
                  </a:lnTo>
                  <a:lnTo>
                    <a:pt x="59" y="2"/>
                  </a:lnTo>
                  <a:lnTo>
                    <a:pt x="55" y="2"/>
                  </a:lnTo>
                  <a:lnTo>
                    <a:pt x="52" y="5"/>
                  </a:lnTo>
                  <a:lnTo>
                    <a:pt x="52" y="9"/>
                  </a:lnTo>
                  <a:lnTo>
                    <a:pt x="52" y="12"/>
                  </a:lnTo>
                  <a:lnTo>
                    <a:pt x="54" y="19"/>
                  </a:lnTo>
                  <a:lnTo>
                    <a:pt x="54" y="19"/>
                  </a:lnTo>
                  <a:lnTo>
                    <a:pt x="59" y="33"/>
                  </a:lnTo>
                  <a:lnTo>
                    <a:pt x="59" y="40"/>
                  </a:lnTo>
                  <a:lnTo>
                    <a:pt x="57" y="44"/>
                  </a:lnTo>
                  <a:lnTo>
                    <a:pt x="57" y="47"/>
                  </a:lnTo>
                  <a:lnTo>
                    <a:pt x="57" y="47"/>
                  </a:lnTo>
                  <a:lnTo>
                    <a:pt x="61" y="54"/>
                  </a:lnTo>
                  <a:lnTo>
                    <a:pt x="59" y="56"/>
                  </a:lnTo>
                  <a:lnTo>
                    <a:pt x="57" y="58"/>
                  </a:lnTo>
                  <a:lnTo>
                    <a:pt x="54" y="54"/>
                  </a:lnTo>
                  <a:lnTo>
                    <a:pt x="54" y="54"/>
                  </a:lnTo>
                  <a:lnTo>
                    <a:pt x="50" y="52"/>
                  </a:lnTo>
                  <a:lnTo>
                    <a:pt x="48" y="54"/>
                  </a:lnTo>
                  <a:lnTo>
                    <a:pt x="43" y="56"/>
                  </a:lnTo>
                  <a:lnTo>
                    <a:pt x="41" y="56"/>
                  </a:lnTo>
                  <a:lnTo>
                    <a:pt x="40" y="54"/>
                  </a:lnTo>
                  <a:lnTo>
                    <a:pt x="38" y="49"/>
                  </a:lnTo>
                  <a:lnTo>
                    <a:pt x="36" y="42"/>
                  </a:lnTo>
                  <a:lnTo>
                    <a:pt x="36" y="42"/>
                  </a:lnTo>
                  <a:lnTo>
                    <a:pt x="31" y="45"/>
                  </a:lnTo>
                  <a:lnTo>
                    <a:pt x="24" y="47"/>
                  </a:lnTo>
                  <a:lnTo>
                    <a:pt x="19" y="51"/>
                  </a:lnTo>
                  <a:lnTo>
                    <a:pt x="17" y="54"/>
                  </a:lnTo>
                  <a:lnTo>
                    <a:pt x="15" y="59"/>
                  </a:lnTo>
                  <a:lnTo>
                    <a:pt x="15" y="59"/>
                  </a:lnTo>
                  <a:lnTo>
                    <a:pt x="14" y="66"/>
                  </a:lnTo>
                  <a:lnTo>
                    <a:pt x="12" y="70"/>
                  </a:lnTo>
                  <a:lnTo>
                    <a:pt x="8" y="73"/>
                  </a:lnTo>
                  <a:lnTo>
                    <a:pt x="5" y="75"/>
                  </a:lnTo>
                  <a:lnTo>
                    <a:pt x="3" y="79"/>
                  </a:lnTo>
                  <a:lnTo>
                    <a:pt x="1" y="82"/>
                  </a:lnTo>
                  <a:lnTo>
                    <a:pt x="0" y="91"/>
                  </a:lnTo>
                  <a:lnTo>
                    <a:pt x="0" y="9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8" name="Freeform 2021">
              <a:extLst>
                <a:ext uri="{FF2B5EF4-FFF2-40B4-BE49-F238E27FC236}">
                  <a16:creationId xmlns:a16="http://schemas.microsoft.com/office/drawing/2014/main" id="{96B91E1B-81C0-4939-A9AF-508E5E5D74AD}"/>
                </a:ext>
              </a:extLst>
            </p:cNvPr>
            <p:cNvSpPr>
              <a:spLocks/>
            </p:cNvSpPr>
            <p:nvPr/>
          </p:nvSpPr>
          <p:spPr bwMode="auto">
            <a:xfrm>
              <a:off x="7600602" y="4016660"/>
              <a:ext cx="149772" cy="146247"/>
            </a:xfrm>
            <a:custGeom>
              <a:avLst/>
              <a:gdLst/>
              <a:ahLst/>
              <a:cxnLst>
                <a:cxn ang="0">
                  <a:pos x="180" y="15"/>
                </a:cxn>
                <a:cxn ang="0">
                  <a:pos x="180" y="28"/>
                </a:cxn>
                <a:cxn ang="0">
                  <a:pos x="185" y="43"/>
                </a:cxn>
                <a:cxn ang="0">
                  <a:pos x="185" y="61"/>
                </a:cxn>
                <a:cxn ang="0">
                  <a:pos x="183" y="78"/>
                </a:cxn>
                <a:cxn ang="0">
                  <a:pos x="183" y="101"/>
                </a:cxn>
                <a:cxn ang="0">
                  <a:pos x="174" y="102"/>
                </a:cxn>
                <a:cxn ang="0">
                  <a:pos x="159" y="115"/>
                </a:cxn>
                <a:cxn ang="0">
                  <a:pos x="146" y="116"/>
                </a:cxn>
                <a:cxn ang="0">
                  <a:pos x="146" y="129"/>
                </a:cxn>
                <a:cxn ang="0">
                  <a:pos x="136" y="123"/>
                </a:cxn>
                <a:cxn ang="0">
                  <a:pos x="126" y="130"/>
                </a:cxn>
                <a:cxn ang="0">
                  <a:pos x="127" y="142"/>
                </a:cxn>
                <a:cxn ang="0">
                  <a:pos x="136" y="156"/>
                </a:cxn>
                <a:cxn ang="0">
                  <a:pos x="133" y="165"/>
                </a:cxn>
                <a:cxn ang="0">
                  <a:pos x="124" y="160"/>
                </a:cxn>
                <a:cxn ang="0">
                  <a:pos x="108" y="162"/>
                </a:cxn>
                <a:cxn ang="0">
                  <a:pos x="99" y="158"/>
                </a:cxn>
                <a:cxn ang="0">
                  <a:pos x="98" y="170"/>
                </a:cxn>
                <a:cxn ang="0">
                  <a:pos x="82" y="177"/>
                </a:cxn>
                <a:cxn ang="0">
                  <a:pos x="72" y="179"/>
                </a:cxn>
                <a:cxn ang="0">
                  <a:pos x="58" y="174"/>
                </a:cxn>
                <a:cxn ang="0">
                  <a:pos x="52" y="176"/>
                </a:cxn>
                <a:cxn ang="0">
                  <a:pos x="45" y="176"/>
                </a:cxn>
                <a:cxn ang="0">
                  <a:pos x="51" y="162"/>
                </a:cxn>
                <a:cxn ang="0">
                  <a:pos x="44" y="151"/>
                </a:cxn>
                <a:cxn ang="0">
                  <a:pos x="40" y="158"/>
                </a:cxn>
                <a:cxn ang="0">
                  <a:pos x="35" y="162"/>
                </a:cxn>
                <a:cxn ang="0">
                  <a:pos x="28" y="155"/>
                </a:cxn>
                <a:cxn ang="0">
                  <a:pos x="28" y="137"/>
                </a:cxn>
                <a:cxn ang="0">
                  <a:pos x="18" y="113"/>
                </a:cxn>
                <a:cxn ang="0">
                  <a:pos x="14" y="90"/>
                </a:cxn>
                <a:cxn ang="0">
                  <a:pos x="7" y="71"/>
                </a:cxn>
                <a:cxn ang="0">
                  <a:pos x="0" y="48"/>
                </a:cxn>
                <a:cxn ang="0">
                  <a:pos x="9" y="45"/>
                </a:cxn>
                <a:cxn ang="0">
                  <a:pos x="11" y="41"/>
                </a:cxn>
                <a:cxn ang="0">
                  <a:pos x="23" y="19"/>
                </a:cxn>
                <a:cxn ang="0">
                  <a:pos x="65" y="10"/>
                </a:cxn>
                <a:cxn ang="0">
                  <a:pos x="92" y="10"/>
                </a:cxn>
                <a:cxn ang="0">
                  <a:pos x="99" y="17"/>
                </a:cxn>
                <a:cxn ang="0">
                  <a:pos x="108" y="22"/>
                </a:cxn>
                <a:cxn ang="0">
                  <a:pos x="120" y="22"/>
                </a:cxn>
                <a:cxn ang="0">
                  <a:pos x="129" y="31"/>
                </a:cxn>
                <a:cxn ang="0">
                  <a:pos x="136" y="26"/>
                </a:cxn>
                <a:cxn ang="0">
                  <a:pos x="131" y="15"/>
                </a:cxn>
                <a:cxn ang="0">
                  <a:pos x="141" y="8"/>
                </a:cxn>
                <a:cxn ang="0">
                  <a:pos x="152" y="3"/>
                </a:cxn>
                <a:cxn ang="0">
                  <a:pos x="162" y="14"/>
                </a:cxn>
                <a:cxn ang="0">
                  <a:pos x="174" y="3"/>
                </a:cxn>
                <a:cxn ang="0">
                  <a:pos x="181" y="3"/>
                </a:cxn>
              </a:cxnLst>
              <a:rect l="0" t="0" r="r" b="b"/>
              <a:pathLst>
                <a:path w="187" h="182">
                  <a:moveTo>
                    <a:pt x="183" y="0"/>
                  </a:moveTo>
                  <a:lnTo>
                    <a:pt x="183" y="0"/>
                  </a:lnTo>
                  <a:lnTo>
                    <a:pt x="183" y="7"/>
                  </a:lnTo>
                  <a:lnTo>
                    <a:pt x="180" y="15"/>
                  </a:lnTo>
                  <a:lnTo>
                    <a:pt x="178" y="22"/>
                  </a:lnTo>
                  <a:lnTo>
                    <a:pt x="178" y="26"/>
                  </a:lnTo>
                  <a:lnTo>
                    <a:pt x="180" y="28"/>
                  </a:lnTo>
                  <a:lnTo>
                    <a:pt x="180" y="28"/>
                  </a:lnTo>
                  <a:lnTo>
                    <a:pt x="181" y="29"/>
                  </a:lnTo>
                  <a:lnTo>
                    <a:pt x="181" y="33"/>
                  </a:lnTo>
                  <a:lnTo>
                    <a:pt x="183" y="36"/>
                  </a:lnTo>
                  <a:lnTo>
                    <a:pt x="185" y="43"/>
                  </a:lnTo>
                  <a:lnTo>
                    <a:pt x="185" y="43"/>
                  </a:lnTo>
                  <a:lnTo>
                    <a:pt x="187" y="48"/>
                  </a:lnTo>
                  <a:lnTo>
                    <a:pt x="187" y="52"/>
                  </a:lnTo>
                  <a:lnTo>
                    <a:pt x="185" y="61"/>
                  </a:lnTo>
                  <a:lnTo>
                    <a:pt x="183" y="69"/>
                  </a:lnTo>
                  <a:lnTo>
                    <a:pt x="183" y="73"/>
                  </a:lnTo>
                  <a:lnTo>
                    <a:pt x="183" y="78"/>
                  </a:lnTo>
                  <a:lnTo>
                    <a:pt x="183" y="78"/>
                  </a:lnTo>
                  <a:lnTo>
                    <a:pt x="187" y="88"/>
                  </a:lnTo>
                  <a:lnTo>
                    <a:pt x="187" y="95"/>
                  </a:lnTo>
                  <a:lnTo>
                    <a:pt x="185" y="99"/>
                  </a:lnTo>
                  <a:lnTo>
                    <a:pt x="183" y="101"/>
                  </a:lnTo>
                  <a:lnTo>
                    <a:pt x="181" y="102"/>
                  </a:lnTo>
                  <a:lnTo>
                    <a:pt x="178" y="102"/>
                  </a:lnTo>
                  <a:lnTo>
                    <a:pt x="178" y="102"/>
                  </a:lnTo>
                  <a:lnTo>
                    <a:pt x="174" y="102"/>
                  </a:lnTo>
                  <a:lnTo>
                    <a:pt x="171" y="102"/>
                  </a:lnTo>
                  <a:lnTo>
                    <a:pt x="167" y="108"/>
                  </a:lnTo>
                  <a:lnTo>
                    <a:pt x="162" y="113"/>
                  </a:lnTo>
                  <a:lnTo>
                    <a:pt x="159" y="115"/>
                  </a:lnTo>
                  <a:lnTo>
                    <a:pt x="153" y="115"/>
                  </a:lnTo>
                  <a:lnTo>
                    <a:pt x="153" y="115"/>
                  </a:lnTo>
                  <a:lnTo>
                    <a:pt x="148" y="115"/>
                  </a:lnTo>
                  <a:lnTo>
                    <a:pt x="146" y="116"/>
                  </a:lnTo>
                  <a:lnTo>
                    <a:pt x="146" y="120"/>
                  </a:lnTo>
                  <a:lnTo>
                    <a:pt x="146" y="123"/>
                  </a:lnTo>
                  <a:lnTo>
                    <a:pt x="146" y="127"/>
                  </a:lnTo>
                  <a:lnTo>
                    <a:pt x="146" y="129"/>
                  </a:lnTo>
                  <a:lnTo>
                    <a:pt x="145" y="129"/>
                  </a:lnTo>
                  <a:lnTo>
                    <a:pt x="140" y="125"/>
                  </a:lnTo>
                  <a:lnTo>
                    <a:pt x="140" y="125"/>
                  </a:lnTo>
                  <a:lnTo>
                    <a:pt x="136" y="123"/>
                  </a:lnTo>
                  <a:lnTo>
                    <a:pt x="133" y="123"/>
                  </a:lnTo>
                  <a:lnTo>
                    <a:pt x="129" y="123"/>
                  </a:lnTo>
                  <a:lnTo>
                    <a:pt x="127" y="125"/>
                  </a:lnTo>
                  <a:lnTo>
                    <a:pt x="126" y="130"/>
                  </a:lnTo>
                  <a:lnTo>
                    <a:pt x="126" y="135"/>
                  </a:lnTo>
                  <a:lnTo>
                    <a:pt x="126" y="135"/>
                  </a:lnTo>
                  <a:lnTo>
                    <a:pt x="127" y="139"/>
                  </a:lnTo>
                  <a:lnTo>
                    <a:pt x="127" y="142"/>
                  </a:lnTo>
                  <a:lnTo>
                    <a:pt x="127" y="146"/>
                  </a:lnTo>
                  <a:lnTo>
                    <a:pt x="131" y="151"/>
                  </a:lnTo>
                  <a:lnTo>
                    <a:pt x="131" y="151"/>
                  </a:lnTo>
                  <a:lnTo>
                    <a:pt x="136" y="156"/>
                  </a:lnTo>
                  <a:lnTo>
                    <a:pt x="140" y="160"/>
                  </a:lnTo>
                  <a:lnTo>
                    <a:pt x="138" y="163"/>
                  </a:lnTo>
                  <a:lnTo>
                    <a:pt x="136" y="165"/>
                  </a:lnTo>
                  <a:lnTo>
                    <a:pt x="133" y="165"/>
                  </a:lnTo>
                  <a:lnTo>
                    <a:pt x="129" y="165"/>
                  </a:lnTo>
                  <a:lnTo>
                    <a:pt x="126" y="162"/>
                  </a:lnTo>
                  <a:lnTo>
                    <a:pt x="124" y="160"/>
                  </a:lnTo>
                  <a:lnTo>
                    <a:pt x="124" y="160"/>
                  </a:lnTo>
                  <a:lnTo>
                    <a:pt x="122" y="156"/>
                  </a:lnTo>
                  <a:lnTo>
                    <a:pt x="119" y="156"/>
                  </a:lnTo>
                  <a:lnTo>
                    <a:pt x="113" y="158"/>
                  </a:lnTo>
                  <a:lnTo>
                    <a:pt x="108" y="162"/>
                  </a:lnTo>
                  <a:lnTo>
                    <a:pt x="106" y="162"/>
                  </a:lnTo>
                  <a:lnTo>
                    <a:pt x="103" y="160"/>
                  </a:lnTo>
                  <a:lnTo>
                    <a:pt x="103" y="160"/>
                  </a:lnTo>
                  <a:lnTo>
                    <a:pt x="99" y="158"/>
                  </a:lnTo>
                  <a:lnTo>
                    <a:pt x="98" y="160"/>
                  </a:lnTo>
                  <a:lnTo>
                    <a:pt x="98" y="167"/>
                  </a:lnTo>
                  <a:lnTo>
                    <a:pt x="98" y="167"/>
                  </a:lnTo>
                  <a:lnTo>
                    <a:pt x="98" y="170"/>
                  </a:lnTo>
                  <a:lnTo>
                    <a:pt x="96" y="174"/>
                  </a:lnTo>
                  <a:lnTo>
                    <a:pt x="94" y="176"/>
                  </a:lnTo>
                  <a:lnTo>
                    <a:pt x="91" y="176"/>
                  </a:lnTo>
                  <a:lnTo>
                    <a:pt x="82" y="177"/>
                  </a:lnTo>
                  <a:lnTo>
                    <a:pt x="79" y="179"/>
                  </a:lnTo>
                  <a:lnTo>
                    <a:pt x="75" y="182"/>
                  </a:lnTo>
                  <a:lnTo>
                    <a:pt x="75" y="182"/>
                  </a:lnTo>
                  <a:lnTo>
                    <a:pt x="72" y="179"/>
                  </a:lnTo>
                  <a:lnTo>
                    <a:pt x="70" y="177"/>
                  </a:lnTo>
                  <a:lnTo>
                    <a:pt x="65" y="176"/>
                  </a:lnTo>
                  <a:lnTo>
                    <a:pt x="61" y="176"/>
                  </a:lnTo>
                  <a:lnTo>
                    <a:pt x="58" y="174"/>
                  </a:lnTo>
                  <a:lnTo>
                    <a:pt x="58" y="174"/>
                  </a:lnTo>
                  <a:lnTo>
                    <a:pt x="56" y="172"/>
                  </a:lnTo>
                  <a:lnTo>
                    <a:pt x="54" y="172"/>
                  </a:lnTo>
                  <a:lnTo>
                    <a:pt x="52" y="176"/>
                  </a:lnTo>
                  <a:lnTo>
                    <a:pt x="49" y="177"/>
                  </a:lnTo>
                  <a:lnTo>
                    <a:pt x="47" y="177"/>
                  </a:lnTo>
                  <a:lnTo>
                    <a:pt x="45" y="176"/>
                  </a:lnTo>
                  <a:lnTo>
                    <a:pt x="45" y="176"/>
                  </a:lnTo>
                  <a:lnTo>
                    <a:pt x="44" y="174"/>
                  </a:lnTo>
                  <a:lnTo>
                    <a:pt x="44" y="170"/>
                  </a:lnTo>
                  <a:lnTo>
                    <a:pt x="47" y="167"/>
                  </a:lnTo>
                  <a:lnTo>
                    <a:pt x="51" y="162"/>
                  </a:lnTo>
                  <a:lnTo>
                    <a:pt x="49" y="158"/>
                  </a:lnTo>
                  <a:lnTo>
                    <a:pt x="47" y="155"/>
                  </a:lnTo>
                  <a:lnTo>
                    <a:pt x="47" y="155"/>
                  </a:lnTo>
                  <a:lnTo>
                    <a:pt x="44" y="151"/>
                  </a:lnTo>
                  <a:lnTo>
                    <a:pt x="42" y="149"/>
                  </a:lnTo>
                  <a:lnTo>
                    <a:pt x="40" y="151"/>
                  </a:lnTo>
                  <a:lnTo>
                    <a:pt x="40" y="153"/>
                  </a:lnTo>
                  <a:lnTo>
                    <a:pt x="40" y="158"/>
                  </a:lnTo>
                  <a:lnTo>
                    <a:pt x="40" y="160"/>
                  </a:lnTo>
                  <a:lnTo>
                    <a:pt x="39" y="162"/>
                  </a:lnTo>
                  <a:lnTo>
                    <a:pt x="39" y="162"/>
                  </a:lnTo>
                  <a:lnTo>
                    <a:pt x="35" y="162"/>
                  </a:lnTo>
                  <a:lnTo>
                    <a:pt x="32" y="163"/>
                  </a:lnTo>
                  <a:lnTo>
                    <a:pt x="30" y="163"/>
                  </a:lnTo>
                  <a:lnTo>
                    <a:pt x="30" y="162"/>
                  </a:lnTo>
                  <a:lnTo>
                    <a:pt x="28" y="155"/>
                  </a:lnTo>
                  <a:lnTo>
                    <a:pt x="28" y="155"/>
                  </a:lnTo>
                  <a:lnTo>
                    <a:pt x="28" y="146"/>
                  </a:lnTo>
                  <a:lnTo>
                    <a:pt x="30" y="142"/>
                  </a:lnTo>
                  <a:lnTo>
                    <a:pt x="28" y="137"/>
                  </a:lnTo>
                  <a:lnTo>
                    <a:pt x="23" y="127"/>
                  </a:lnTo>
                  <a:lnTo>
                    <a:pt x="23" y="127"/>
                  </a:lnTo>
                  <a:lnTo>
                    <a:pt x="19" y="118"/>
                  </a:lnTo>
                  <a:lnTo>
                    <a:pt x="18" y="113"/>
                  </a:lnTo>
                  <a:lnTo>
                    <a:pt x="18" y="102"/>
                  </a:lnTo>
                  <a:lnTo>
                    <a:pt x="18" y="97"/>
                  </a:lnTo>
                  <a:lnTo>
                    <a:pt x="16" y="94"/>
                  </a:lnTo>
                  <a:lnTo>
                    <a:pt x="14" y="90"/>
                  </a:lnTo>
                  <a:lnTo>
                    <a:pt x="14" y="90"/>
                  </a:lnTo>
                  <a:lnTo>
                    <a:pt x="9" y="85"/>
                  </a:lnTo>
                  <a:lnTo>
                    <a:pt x="7" y="80"/>
                  </a:lnTo>
                  <a:lnTo>
                    <a:pt x="7" y="71"/>
                  </a:lnTo>
                  <a:lnTo>
                    <a:pt x="4" y="59"/>
                  </a:lnTo>
                  <a:lnTo>
                    <a:pt x="4" y="59"/>
                  </a:lnTo>
                  <a:lnTo>
                    <a:pt x="0" y="52"/>
                  </a:lnTo>
                  <a:lnTo>
                    <a:pt x="0" y="48"/>
                  </a:lnTo>
                  <a:lnTo>
                    <a:pt x="2" y="47"/>
                  </a:lnTo>
                  <a:lnTo>
                    <a:pt x="4" y="47"/>
                  </a:lnTo>
                  <a:lnTo>
                    <a:pt x="7" y="47"/>
                  </a:lnTo>
                  <a:lnTo>
                    <a:pt x="9" y="45"/>
                  </a:lnTo>
                  <a:lnTo>
                    <a:pt x="9" y="43"/>
                  </a:lnTo>
                  <a:lnTo>
                    <a:pt x="9" y="43"/>
                  </a:lnTo>
                  <a:lnTo>
                    <a:pt x="9" y="41"/>
                  </a:lnTo>
                  <a:lnTo>
                    <a:pt x="11" y="41"/>
                  </a:lnTo>
                  <a:lnTo>
                    <a:pt x="14" y="36"/>
                  </a:lnTo>
                  <a:lnTo>
                    <a:pt x="19" y="26"/>
                  </a:lnTo>
                  <a:lnTo>
                    <a:pt x="19" y="26"/>
                  </a:lnTo>
                  <a:lnTo>
                    <a:pt x="23" y="19"/>
                  </a:lnTo>
                  <a:lnTo>
                    <a:pt x="30" y="14"/>
                  </a:lnTo>
                  <a:lnTo>
                    <a:pt x="37" y="12"/>
                  </a:lnTo>
                  <a:lnTo>
                    <a:pt x="45" y="10"/>
                  </a:lnTo>
                  <a:lnTo>
                    <a:pt x="65" y="10"/>
                  </a:lnTo>
                  <a:lnTo>
                    <a:pt x="82" y="8"/>
                  </a:lnTo>
                  <a:lnTo>
                    <a:pt x="82" y="8"/>
                  </a:lnTo>
                  <a:lnTo>
                    <a:pt x="87" y="8"/>
                  </a:lnTo>
                  <a:lnTo>
                    <a:pt x="92" y="10"/>
                  </a:lnTo>
                  <a:lnTo>
                    <a:pt x="94" y="12"/>
                  </a:lnTo>
                  <a:lnTo>
                    <a:pt x="96" y="14"/>
                  </a:lnTo>
                  <a:lnTo>
                    <a:pt x="98" y="17"/>
                  </a:lnTo>
                  <a:lnTo>
                    <a:pt x="99" y="17"/>
                  </a:lnTo>
                  <a:lnTo>
                    <a:pt x="103" y="15"/>
                  </a:lnTo>
                  <a:lnTo>
                    <a:pt x="103" y="15"/>
                  </a:lnTo>
                  <a:lnTo>
                    <a:pt x="105" y="19"/>
                  </a:lnTo>
                  <a:lnTo>
                    <a:pt x="108" y="22"/>
                  </a:lnTo>
                  <a:lnTo>
                    <a:pt x="110" y="22"/>
                  </a:lnTo>
                  <a:lnTo>
                    <a:pt x="113" y="22"/>
                  </a:lnTo>
                  <a:lnTo>
                    <a:pt x="119" y="22"/>
                  </a:lnTo>
                  <a:lnTo>
                    <a:pt x="120" y="22"/>
                  </a:lnTo>
                  <a:lnTo>
                    <a:pt x="124" y="26"/>
                  </a:lnTo>
                  <a:lnTo>
                    <a:pt x="124" y="26"/>
                  </a:lnTo>
                  <a:lnTo>
                    <a:pt x="126" y="29"/>
                  </a:lnTo>
                  <a:lnTo>
                    <a:pt x="129" y="31"/>
                  </a:lnTo>
                  <a:lnTo>
                    <a:pt x="133" y="31"/>
                  </a:lnTo>
                  <a:lnTo>
                    <a:pt x="134" y="31"/>
                  </a:lnTo>
                  <a:lnTo>
                    <a:pt x="134" y="29"/>
                  </a:lnTo>
                  <a:lnTo>
                    <a:pt x="136" y="26"/>
                  </a:lnTo>
                  <a:lnTo>
                    <a:pt x="134" y="22"/>
                  </a:lnTo>
                  <a:lnTo>
                    <a:pt x="133" y="19"/>
                  </a:lnTo>
                  <a:lnTo>
                    <a:pt x="133" y="19"/>
                  </a:lnTo>
                  <a:lnTo>
                    <a:pt x="131" y="15"/>
                  </a:lnTo>
                  <a:lnTo>
                    <a:pt x="131" y="14"/>
                  </a:lnTo>
                  <a:lnTo>
                    <a:pt x="133" y="12"/>
                  </a:lnTo>
                  <a:lnTo>
                    <a:pt x="134" y="10"/>
                  </a:lnTo>
                  <a:lnTo>
                    <a:pt x="141" y="8"/>
                  </a:lnTo>
                  <a:lnTo>
                    <a:pt x="146" y="5"/>
                  </a:lnTo>
                  <a:lnTo>
                    <a:pt x="146" y="5"/>
                  </a:lnTo>
                  <a:lnTo>
                    <a:pt x="150" y="3"/>
                  </a:lnTo>
                  <a:lnTo>
                    <a:pt x="152" y="3"/>
                  </a:lnTo>
                  <a:lnTo>
                    <a:pt x="155" y="8"/>
                  </a:lnTo>
                  <a:lnTo>
                    <a:pt x="157" y="12"/>
                  </a:lnTo>
                  <a:lnTo>
                    <a:pt x="159" y="14"/>
                  </a:lnTo>
                  <a:lnTo>
                    <a:pt x="162" y="14"/>
                  </a:lnTo>
                  <a:lnTo>
                    <a:pt x="162" y="14"/>
                  </a:lnTo>
                  <a:lnTo>
                    <a:pt x="167" y="10"/>
                  </a:lnTo>
                  <a:lnTo>
                    <a:pt x="171" y="5"/>
                  </a:lnTo>
                  <a:lnTo>
                    <a:pt x="174" y="3"/>
                  </a:lnTo>
                  <a:lnTo>
                    <a:pt x="178" y="1"/>
                  </a:lnTo>
                  <a:lnTo>
                    <a:pt x="178" y="1"/>
                  </a:lnTo>
                  <a:lnTo>
                    <a:pt x="180" y="3"/>
                  </a:lnTo>
                  <a:lnTo>
                    <a:pt x="181" y="3"/>
                  </a:lnTo>
                  <a:lnTo>
                    <a:pt x="183" y="0"/>
                  </a:lnTo>
                  <a:lnTo>
                    <a:pt x="18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9" name="Freeform 2022">
              <a:extLst>
                <a:ext uri="{FF2B5EF4-FFF2-40B4-BE49-F238E27FC236}">
                  <a16:creationId xmlns:a16="http://schemas.microsoft.com/office/drawing/2014/main" id="{4059EC18-5AE4-4717-8E72-D8493187DD58}"/>
                </a:ext>
              </a:extLst>
            </p:cNvPr>
            <p:cNvSpPr>
              <a:spLocks/>
            </p:cNvSpPr>
            <p:nvPr/>
          </p:nvSpPr>
          <p:spPr bwMode="auto">
            <a:xfrm>
              <a:off x="4932934" y="3202614"/>
              <a:ext cx="116292" cy="262538"/>
            </a:xfrm>
            <a:custGeom>
              <a:avLst/>
              <a:gdLst/>
              <a:ahLst/>
              <a:cxnLst>
                <a:cxn ang="0">
                  <a:pos x="38" y="22"/>
                </a:cxn>
                <a:cxn ang="0">
                  <a:pos x="24" y="36"/>
                </a:cxn>
                <a:cxn ang="0">
                  <a:pos x="26" y="40"/>
                </a:cxn>
                <a:cxn ang="0">
                  <a:pos x="27" y="54"/>
                </a:cxn>
                <a:cxn ang="0">
                  <a:pos x="27" y="80"/>
                </a:cxn>
                <a:cxn ang="0">
                  <a:pos x="33" y="102"/>
                </a:cxn>
                <a:cxn ang="0">
                  <a:pos x="27" y="115"/>
                </a:cxn>
                <a:cxn ang="0">
                  <a:pos x="26" y="123"/>
                </a:cxn>
                <a:cxn ang="0">
                  <a:pos x="5" y="146"/>
                </a:cxn>
                <a:cxn ang="0">
                  <a:pos x="0" y="156"/>
                </a:cxn>
                <a:cxn ang="0">
                  <a:pos x="12" y="184"/>
                </a:cxn>
                <a:cxn ang="0">
                  <a:pos x="27" y="212"/>
                </a:cxn>
                <a:cxn ang="0">
                  <a:pos x="38" y="229"/>
                </a:cxn>
                <a:cxn ang="0">
                  <a:pos x="57" y="247"/>
                </a:cxn>
                <a:cxn ang="0">
                  <a:pos x="73" y="327"/>
                </a:cxn>
                <a:cxn ang="0">
                  <a:pos x="87" y="316"/>
                </a:cxn>
                <a:cxn ang="0">
                  <a:pos x="97" y="297"/>
                </a:cxn>
                <a:cxn ang="0">
                  <a:pos x="92" y="266"/>
                </a:cxn>
                <a:cxn ang="0">
                  <a:pos x="97" y="259"/>
                </a:cxn>
                <a:cxn ang="0">
                  <a:pos x="137" y="229"/>
                </a:cxn>
                <a:cxn ang="0">
                  <a:pos x="142" y="226"/>
                </a:cxn>
                <a:cxn ang="0">
                  <a:pos x="139" y="210"/>
                </a:cxn>
                <a:cxn ang="0">
                  <a:pos x="144" y="195"/>
                </a:cxn>
                <a:cxn ang="0">
                  <a:pos x="128" y="179"/>
                </a:cxn>
                <a:cxn ang="0">
                  <a:pos x="125" y="172"/>
                </a:cxn>
                <a:cxn ang="0">
                  <a:pos x="118" y="172"/>
                </a:cxn>
                <a:cxn ang="0">
                  <a:pos x="109" y="170"/>
                </a:cxn>
                <a:cxn ang="0">
                  <a:pos x="94" y="165"/>
                </a:cxn>
                <a:cxn ang="0">
                  <a:pos x="88" y="153"/>
                </a:cxn>
                <a:cxn ang="0">
                  <a:pos x="111" y="123"/>
                </a:cxn>
                <a:cxn ang="0">
                  <a:pos x="128" y="101"/>
                </a:cxn>
                <a:cxn ang="0">
                  <a:pos x="127" y="95"/>
                </a:cxn>
                <a:cxn ang="0">
                  <a:pos x="125" y="83"/>
                </a:cxn>
                <a:cxn ang="0">
                  <a:pos x="120" y="74"/>
                </a:cxn>
                <a:cxn ang="0">
                  <a:pos x="109" y="68"/>
                </a:cxn>
                <a:cxn ang="0">
                  <a:pos x="102" y="52"/>
                </a:cxn>
                <a:cxn ang="0">
                  <a:pos x="107" y="41"/>
                </a:cxn>
                <a:cxn ang="0">
                  <a:pos x="123" y="29"/>
                </a:cxn>
                <a:cxn ang="0">
                  <a:pos x="127" y="14"/>
                </a:cxn>
                <a:cxn ang="0">
                  <a:pos x="121" y="12"/>
                </a:cxn>
                <a:cxn ang="0">
                  <a:pos x="104" y="26"/>
                </a:cxn>
                <a:cxn ang="0">
                  <a:pos x="99" y="26"/>
                </a:cxn>
                <a:cxn ang="0">
                  <a:pos x="95" y="7"/>
                </a:cxn>
                <a:cxn ang="0">
                  <a:pos x="88" y="1"/>
                </a:cxn>
                <a:cxn ang="0">
                  <a:pos x="64" y="1"/>
                </a:cxn>
                <a:cxn ang="0">
                  <a:pos x="45" y="17"/>
                </a:cxn>
                <a:cxn ang="0">
                  <a:pos x="40" y="19"/>
                </a:cxn>
              </a:cxnLst>
              <a:rect l="0" t="0" r="r" b="b"/>
              <a:pathLst>
                <a:path w="144" h="327">
                  <a:moveTo>
                    <a:pt x="40" y="19"/>
                  </a:moveTo>
                  <a:lnTo>
                    <a:pt x="40" y="19"/>
                  </a:lnTo>
                  <a:lnTo>
                    <a:pt x="38" y="22"/>
                  </a:lnTo>
                  <a:lnTo>
                    <a:pt x="34" y="26"/>
                  </a:lnTo>
                  <a:lnTo>
                    <a:pt x="29" y="31"/>
                  </a:lnTo>
                  <a:lnTo>
                    <a:pt x="24" y="36"/>
                  </a:lnTo>
                  <a:lnTo>
                    <a:pt x="24" y="38"/>
                  </a:lnTo>
                  <a:lnTo>
                    <a:pt x="26" y="40"/>
                  </a:lnTo>
                  <a:lnTo>
                    <a:pt x="26" y="40"/>
                  </a:lnTo>
                  <a:lnTo>
                    <a:pt x="29" y="41"/>
                  </a:lnTo>
                  <a:lnTo>
                    <a:pt x="29" y="45"/>
                  </a:lnTo>
                  <a:lnTo>
                    <a:pt x="27" y="54"/>
                  </a:lnTo>
                  <a:lnTo>
                    <a:pt x="26" y="64"/>
                  </a:lnTo>
                  <a:lnTo>
                    <a:pt x="26" y="71"/>
                  </a:lnTo>
                  <a:lnTo>
                    <a:pt x="27" y="80"/>
                  </a:lnTo>
                  <a:lnTo>
                    <a:pt x="27" y="80"/>
                  </a:lnTo>
                  <a:lnTo>
                    <a:pt x="33" y="97"/>
                  </a:lnTo>
                  <a:lnTo>
                    <a:pt x="33" y="102"/>
                  </a:lnTo>
                  <a:lnTo>
                    <a:pt x="31" y="104"/>
                  </a:lnTo>
                  <a:lnTo>
                    <a:pt x="27" y="109"/>
                  </a:lnTo>
                  <a:lnTo>
                    <a:pt x="27" y="115"/>
                  </a:lnTo>
                  <a:lnTo>
                    <a:pt x="27" y="120"/>
                  </a:lnTo>
                  <a:lnTo>
                    <a:pt x="27" y="120"/>
                  </a:lnTo>
                  <a:lnTo>
                    <a:pt x="26" y="123"/>
                  </a:lnTo>
                  <a:lnTo>
                    <a:pt x="24" y="128"/>
                  </a:lnTo>
                  <a:lnTo>
                    <a:pt x="15" y="137"/>
                  </a:lnTo>
                  <a:lnTo>
                    <a:pt x="5" y="146"/>
                  </a:lnTo>
                  <a:lnTo>
                    <a:pt x="1" y="151"/>
                  </a:lnTo>
                  <a:lnTo>
                    <a:pt x="0" y="156"/>
                  </a:lnTo>
                  <a:lnTo>
                    <a:pt x="0" y="156"/>
                  </a:lnTo>
                  <a:lnTo>
                    <a:pt x="1" y="162"/>
                  </a:lnTo>
                  <a:lnTo>
                    <a:pt x="3" y="168"/>
                  </a:lnTo>
                  <a:lnTo>
                    <a:pt x="12" y="184"/>
                  </a:lnTo>
                  <a:lnTo>
                    <a:pt x="20" y="198"/>
                  </a:lnTo>
                  <a:lnTo>
                    <a:pt x="26" y="205"/>
                  </a:lnTo>
                  <a:lnTo>
                    <a:pt x="27" y="212"/>
                  </a:lnTo>
                  <a:lnTo>
                    <a:pt x="27" y="212"/>
                  </a:lnTo>
                  <a:lnTo>
                    <a:pt x="33" y="222"/>
                  </a:lnTo>
                  <a:lnTo>
                    <a:pt x="38" y="229"/>
                  </a:lnTo>
                  <a:lnTo>
                    <a:pt x="43" y="233"/>
                  </a:lnTo>
                  <a:lnTo>
                    <a:pt x="50" y="238"/>
                  </a:lnTo>
                  <a:lnTo>
                    <a:pt x="57" y="247"/>
                  </a:lnTo>
                  <a:lnTo>
                    <a:pt x="62" y="264"/>
                  </a:lnTo>
                  <a:lnTo>
                    <a:pt x="67" y="289"/>
                  </a:lnTo>
                  <a:lnTo>
                    <a:pt x="73" y="327"/>
                  </a:lnTo>
                  <a:lnTo>
                    <a:pt x="73" y="327"/>
                  </a:lnTo>
                  <a:lnTo>
                    <a:pt x="81" y="322"/>
                  </a:lnTo>
                  <a:lnTo>
                    <a:pt x="87" y="316"/>
                  </a:lnTo>
                  <a:lnTo>
                    <a:pt x="92" y="311"/>
                  </a:lnTo>
                  <a:lnTo>
                    <a:pt x="94" y="308"/>
                  </a:lnTo>
                  <a:lnTo>
                    <a:pt x="97" y="297"/>
                  </a:lnTo>
                  <a:lnTo>
                    <a:pt x="95" y="289"/>
                  </a:lnTo>
                  <a:lnTo>
                    <a:pt x="92" y="273"/>
                  </a:lnTo>
                  <a:lnTo>
                    <a:pt x="92" y="266"/>
                  </a:lnTo>
                  <a:lnTo>
                    <a:pt x="94" y="263"/>
                  </a:lnTo>
                  <a:lnTo>
                    <a:pt x="97" y="259"/>
                  </a:lnTo>
                  <a:lnTo>
                    <a:pt x="97" y="259"/>
                  </a:lnTo>
                  <a:lnTo>
                    <a:pt x="118" y="242"/>
                  </a:lnTo>
                  <a:lnTo>
                    <a:pt x="128" y="235"/>
                  </a:lnTo>
                  <a:lnTo>
                    <a:pt x="137" y="229"/>
                  </a:lnTo>
                  <a:lnTo>
                    <a:pt x="137" y="229"/>
                  </a:lnTo>
                  <a:lnTo>
                    <a:pt x="141" y="228"/>
                  </a:lnTo>
                  <a:lnTo>
                    <a:pt x="142" y="226"/>
                  </a:lnTo>
                  <a:lnTo>
                    <a:pt x="141" y="221"/>
                  </a:lnTo>
                  <a:lnTo>
                    <a:pt x="141" y="216"/>
                  </a:lnTo>
                  <a:lnTo>
                    <a:pt x="139" y="210"/>
                  </a:lnTo>
                  <a:lnTo>
                    <a:pt x="141" y="203"/>
                  </a:lnTo>
                  <a:lnTo>
                    <a:pt x="144" y="195"/>
                  </a:lnTo>
                  <a:lnTo>
                    <a:pt x="144" y="195"/>
                  </a:lnTo>
                  <a:lnTo>
                    <a:pt x="134" y="189"/>
                  </a:lnTo>
                  <a:lnTo>
                    <a:pt x="130" y="186"/>
                  </a:lnTo>
                  <a:lnTo>
                    <a:pt x="128" y="179"/>
                  </a:lnTo>
                  <a:lnTo>
                    <a:pt x="128" y="179"/>
                  </a:lnTo>
                  <a:lnTo>
                    <a:pt x="127" y="172"/>
                  </a:lnTo>
                  <a:lnTo>
                    <a:pt x="125" y="172"/>
                  </a:lnTo>
                  <a:lnTo>
                    <a:pt x="123" y="172"/>
                  </a:lnTo>
                  <a:lnTo>
                    <a:pt x="120" y="172"/>
                  </a:lnTo>
                  <a:lnTo>
                    <a:pt x="118" y="172"/>
                  </a:lnTo>
                  <a:lnTo>
                    <a:pt x="116" y="172"/>
                  </a:lnTo>
                  <a:lnTo>
                    <a:pt x="116" y="172"/>
                  </a:lnTo>
                  <a:lnTo>
                    <a:pt x="109" y="170"/>
                  </a:lnTo>
                  <a:lnTo>
                    <a:pt x="102" y="168"/>
                  </a:lnTo>
                  <a:lnTo>
                    <a:pt x="97" y="167"/>
                  </a:lnTo>
                  <a:lnTo>
                    <a:pt x="94" y="165"/>
                  </a:lnTo>
                  <a:lnTo>
                    <a:pt x="92" y="160"/>
                  </a:lnTo>
                  <a:lnTo>
                    <a:pt x="88" y="153"/>
                  </a:lnTo>
                  <a:lnTo>
                    <a:pt x="88" y="153"/>
                  </a:lnTo>
                  <a:lnTo>
                    <a:pt x="90" y="148"/>
                  </a:lnTo>
                  <a:lnTo>
                    <a:pt x="95" y="141"/>
                  </a:lnTo>
                  <a:lnTo>
                    <a:pt x="111" y="123"/>
                  </a:lnTo>
                  <a:lnTo>
                    <a:pt x="120" y="116"/>
                  </a:lnTo>
                  <a:lnTo>
                    <a:pt x="125" y="108"/>
                  </a:lnTo>
                  <a:lnTo>
                    <a:pt x="128" y="101"/>
                  </a:lnTo>
                  <a:lnTo>
                    <a:pt x="128" y="97"/>
                  </a:lnTo>
                  <a:lnTo>
                    <a:pt x="127" y="95"/>
                  </a:lnTo>
                  <a:lnTo>
                    <a:pt x="127" y="95"/>
                  </a:lnTo>
                  <a:lnTo>
                    <a:pt x="125" y="92"/>
                  </a:lnTo>
                  <a:lnTo>
                    <a:pt x="125" y="88"/>
                  </a:lnTo>
                  <a:lnTo>
                    <a:pt x="125" y="83"/>
                  </a:lnTo>
                  <a:lnTo>
                    <a:pt x="123" y="80"/>
                  </a:lnTo>
                  <a:lnTo>
                    <a:pt x="121" y="76"/>
                  </a:lnTo>
                  <a:lnTo>
                    <a:pt x="120" y="74"/>
                  </a:lnTo>
                  <a:lnTo>
                    <a:pt x="113" y="69"/>
                  </a:lnTo>
                  <a:lnTo>
                    <a:pt x="113" y="69"/>
                  </a:lnTo>
                  <a:lnTo>
                    <a:pt x="109" y="68"/>
                  </a:lnTo>
                  <a:lnTo>
                    <a:pt x="106" y="64"/>
                  </a:lnTo>
                  <a:lnTo>
                    <a:pt x="102" y="55"/>
                  </a:lnTo>
                  <a:lnTo>
                    <a:pt x="102" y="52"/>
                  </a:lnTo>
                  <a:lnTo>
                    <a:pt x="102" y="48"/>
                  </a:lnTo>
                  <a:lnTo>
                    <a:pt x="104" y="45"/>
                  </a:lnTo>
                  <a:lnTo>
                    <a:pt x="107" y="41"/>
                  </a:lnTo>
                  <a:lnTo>
                    <a:pt x="107" y="41"/>
                  </a:lnTo>
                  <a:lnTo>
                    <a:pt x="116" y="36"/>
                  </a:lnTo>
                  <a:lnTo>
                    <a:pt x="123" y="29"/>
                  </a:lnTo>
                  <a:lnTo>
                    <a:pt x="127" y="21"/>
                  </a:lnTo>
                  <a:lnTo>
                    <a:pt x="127" y="17"/>
                  </a:lnTo>
                  <a:lnTo>
                    <a:pt x="127" y="14"/>
                  </a:lnTo>
                  <a:lnTo>
                    <a:pt x="127" y="14"/>
                  </a:lnTo>
                  <a:lnTo>
                    <a:pt x="123" y="12"/>
                  </a:lnTo>
                  <a:lnTo>
                    <a:pt x="121" y="12"/>
                  </a:lnTo>
                  <a:lnTo>
                    <a:pt x="114" y="17"/>
                  </a:lnTo>
                  <a:lnTo>
                    <a:pt x="106" y="24"/>
                  </a:lnTo>
                  <a:lnTo>
                    <a:pt x="104" y="26"/>
                  </a:lnTo>
                  <a:lnTo>
                    <a:pt x="100" y="27"/>
                  </a:lnTo>
                  <a:lnTo>
                    <a:pt x="100" y="27"/>
                  </a:lnTo>
                  <a:lnTo>
                    <a:pt x="99" y="26"/>
                  </a:lnTo>
                  <a:lnTo>
                    <a:pt x="99" y="22"/>
                  </a:lnTo>
                  <a:lnTo>
                    <a:pt x="97" y="15"/>
                  </a:lnTo>
                  <a:lnTo>
                    <a:pt x="95" y="7"/>
                  </a:lnTo>
                  <a:lnTo>
                    <a:pt x="92" y="5"/>
                  </a:lnTo>
                  <a:lnTo>
                    <a:pt x="88" y="1"/>
                  </a:lnTo>
                  <a:lnTo>
                    <a:pt x="88" y="1"/>
                  </a:lnTo>
                  <a:lnTo>
                    <a:pt x="80" y="0"/>
                  </a:lnTo>
                  <a:lnTo>
                    <a:pt x="71" y="0"/>
                  </a:lnTo>
                  <a:lnTo>
                    <a:pt x="64" y="1"/>
                  </a:lnTo>
                  <a:lnTo>
                    <a:pt x="59" y="5"/>
                  </a:lnTo>
                  <a:lnTo>
                    <a:pt x="50" y="12"/>
                  </a:lnTo>
                  <a:lnTo>
                    <a:pt x="45" y="17"/>
                  </a:lnTo>
                  <a:lnTo>
                    <a:pt x="45" y="17"/>
                  </a:lnTo>
                  <a:lnTo>
                    <a:pt x="40" y="19"/>
                  </a:lnTo>
                  <a:lnTo>
                    <a:pt x="40" y="1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0" name="Freeform 2023">
              <a:extLst>
                <a:ext uri="{FF2B5EF4-FFF2-40B4-BE49-F238E27FC236}">
                  <a16:creationId xmlns:a16="http://schemas.microsoft.com/office/drawing/2014/main" id="{346F24F8-B6EF-4B0B-863D-D3C794BDC242}"/>
                </a:ext>
              </a:extLst>
            </p:cNvPr>
            <p:cNvSpPr>
              <a:spLocks/>
            </p:cNvSpPr>
            <p:nvPr/>
          </p:nvSpPr>
          <p:spPr bwMode="auto">
            <a:xfrm>
              <a:off x="5724071" y="3202614"/>
              <a:ext cx="188535" cy="186773"/>
            </a:xfrm>
            <a:custGeom>
              <a:avLst/>
              <a:gdLst/>
              <a:ahLst/>
              <a:cxnLst>
                <a:cxn ang="0">
                  <a:pos x="17" y="125"/>
                </a:cxn>
                <a:cxn ang="0">
                  <a:pos x="24" y="123"/>
                </a:cxn>
                <a:cxn ang="0">
                  <a:pos x="28" y="127"/>
                </a:cxn>
                <a:cxn ang="0">
                  <a:pos x="26" y="130"/>
                </a:cxn>
                <a:cxn ang="0">
                  <a:pos x="35" y="139"/>
                </a:cxn>
                <a:cxn ang="0">
                  <a:pos x="35" y="149"/>
                </a:cxn>
                <a:cxn ang="0">
                  <a:pos x="24" y="158"/>
                </a:cxn>
                <a:cxn ang="0">
                  <a:pos x="26" y="162"/>
                </a:cxn>
                <a:cxn ang="0">
                  <a:pos x="23" y="163"/>
                </a:cxn>
                <a:cxn ang="0">
                  <a:pos x="16" y="165"/>
                </a:cxn>
                <a:cxn ang="0">
                  <a:pos x="12" y="170"/>
                </a:cxn>
                <a:cxn ang="0">
                  <a:pos x="16" y="174"/>
                </a:cxn>
                <a:cxn ang="0">
                  <a:pos x="4" y="188"/>
                </a:cxn>
                <a:cxn ang="0">
                  <a:pos x="0" y="191"/>
                </a:cxn>
                <a:cxn ang="0">
                  <a:pos x="4" y="191"/>
                </a:cxn>
                <a:cxn ang="0">
                  <a:pos x="4" y="195"/>
                </a:cxn>
                <a:cxn ang="0">
                  <a:pos x="4" y="207"/>
                </a:cxn>
                <a:cxn ang="0">
                  <a:pos x="2" y="212"/>
                </a:cxn>
                <a:cxn ang="0">
                  <a:pos x="5" y="214"/>
                </a:cxn>
                <a:cxn ang="0">
                  <a:pos x="12" y="216"/>
                </a:cxn>
                <a:cxn ang="0">
                  <a:pos x="17" y="222"/>
                </a:cxn>
                <a:cxn ang="0">
                  <a:pos x="44" y="233"/>
                </a:cxn>
                <a:cxn ang="0">
                  <a:pos x="61" y="221"/>
                </a:cxn>
                <a:cxn ang="0">
                  <a:pos x="111" y="184"/>
                </a:cxn>
                <a:cxn ang="0">
                  <a:pos x="157" y="155"/>
                </a:cxn>
                <a:cxn ang="0">
                  <a:pos x="190" y="135"/>
                </a:cxn>
                <a:cxn ang="0">
                  <a:pos x="197" y="118"/>
                </a:cxn>
                <a:cxn ang="0">
                  <a:pos x="197" y="116"/>
                </a:cxn>
                <a:cxn ang="0">
                  <a:pos x="197" y="99"/>
                </a:cxn>
                <a:cxn ang="0">
                  <a:pos x="200" y="85"/>
                </a:cxn>
                <a:cxn ang="0">
                  <a:pos x="202" y="69"/>
                </a:cxn>
                <a:cxn ang="0">
                  <a:pos x="199" y="45"/>
                </a:cxn>
                <a:cxn ang="0">
                  <a:pos x="207" y="36"/>
                </a:cxn>
                <a:cxn ang="0">
                  <a:pos x="218" y="33"/>
                </a:cxn>
                <a:cxn ang="0">
                  <a:pos x="233" y="17"/>
                </a:cxn>
                <a:cxn ang="0">
                  <a:pos x="237" y="7"/>
                </a:cxn>
                <a:cxn ang="0">
                  <a:pos x="233" y="1"/>
                </a:cxn>
                <a:cxn ang="0">
                  <a:pos x="232" y="0"/>
                </a:cxn>
                <a:cxn ang="0">
                  <a:pos x="211" y="10"/>
                </a:cxn>
                <a:cxn ang="0">
                  <a:pos x="188" y="8"/>
                </a:cxn>
                <a:cxn ang="0">
                  <a:pos x="167" y="14"/>
                </a:cxn>
                <a:cxn ang="0">
                  <a:pos x="134" y="29"/>
                </a:cxn>
                <a:cxn ang="0">
                  <a:pos x="117" y="29"/>
                </a:cxn>
                <a:cxn ang="0">
                  <a:pos x="98" y="19"/>
                </a:cxn>
                <a:cxn ang="0">
                  <a:pos x="89" y="19"/>
                </a:cxn>
                <a:cxn ang="0">
                  <a:pos x="64" y="33"/>
                </a:cxn>
                <a:cxn ang="0">
                  <a:pos x="56" y="31"/>
                </a:cxn>
                <a:cxn ang="0">
                  <a:pos x="45" y="26"/>
                </a:cxn>
                <a:cxn ang="0">
                  <a:pos x="35" y="26"/>
                </a:cxn>
                <a:cxn ang="0">
                  <a:pos x="35" y="43"/>
                </a:cxn>
                <a:cxn ang="0">
                  <a:pos x="38" y="50"/>
                </a:cxn>
                <a:cxn ang="0">
                  <a:pos x="33" y="52"/>
                </a:cxn>
                <a:cxn ang="0">
                  <a:pos x="23" y="61"/>
                </a:cxn>
                <a:cxn ang="0">
                  <a:pos x="19" y="71"/>
                </a:cxn>
                <a:cxn ang="0">
                  <a:pos x="12" y="66"/>
                </a:cxn>
                <a:cxn ang="0">
                  <a:pos x="5" y="74"/>
                </a:cxn>
                <a:cxn ang="0">
                  <a:pos x="7" y="87"/>
                </a:cxn>
                <a:cxn ang="0">
                  <a:pos x="10" y="111"/>
                </a:cxn>
              </a:cxnLst>
              <a:rect l="0" t="0" r="r" b="b"/>
              <a:pathLst>
                <a:path w="237" h="233">
                  <a:moveTo>
                    <a:pt x="12" y="123"/>
                  </a:moveTo>
                  <a:lnTo>
                    <a:pt x="12" y="123"/>
                  </a:lnTo>
                  <a:lnTo>
                    <a:pt x="17" y="125"/>
                  </a:lnTo>
                  <a:lnTo>
                    <a:pt x="21" y="125"/>
                  </a:lnTo>
                  <a:lnTo>
                    <a:pt x="21" y="125"/>
                  </a:lnTo>
                  <a:lnTo>
                    <a:pt x="24" y="123"/>
                  </a:lnTo>
                  <a:lnTo>
                    <a:pt x="26" y="123"/>
                  </a:lnTo>
                  <a:lnTo>
                    <a:pt x="26" y="123"/>
                  </a:lnTo>
                  <a:lnTo>
                    <a:pt x="28" y="127"/>
                  </a:lnTo>
                  <a:lnTo>
                    <a:pt x="28" y="128"/>
                  </a:lnTo>
                  <a:lnTo>
                    <a:pt x="26" y="128"/>
                  </a:lnTo>
                  <a:lnTo>
                    <a:pt x="26" y="130"/>
                  </a:lnTo>
                  <a:lnTo>
                    <a:pt x="26" y="130"/>
                  </a:lnTo>
                  <a:lnTo>
                    <a:pt x="31" y="135"/>
                  </a:lnTo>
                  <a:lnTo>
                    <a:pt x="35" y="139"/>
                  </a:lnTo>
                  <a:lnTo>
                    <a:pt x="37" y="146"/>
                  </a:lnTo>
                  <a:lnTo>
                    <a:pt x="37" y="146"/>
                  </a:lnTo>
                  <a:lnTo>
                    <a:pt x="35" y="149"/>
                  </a:lnTo>
                  <a:lnTo>
                    <a:pt x="30" y="151"/>
                  </a:lnTo>
                  <a:lnTo>
                    <a:pt x="26" y="155"/>
                  </a:lnTo>
                  <a:lnTo>
                    <a:pt x="24" y="158"/>
                  </a:lnTo>
                  <a:lnTo>
                    <a:pt x="24" y="158"/>
                  </a:lnTo>
                  <a:lnTo>
                    <a:pt x="26" y="160"/>
                  </a:lnTo>
                  <a:lnTo>
                    <a:pt x="26" y="162"/>
                  </a:lnTo>
                  <a:lnTo>
                    <a:pt x="28" y="163"/>
                  </a:lnTo>
                  <a:lnTo>
                    <a:pt x="28" y="163"/>
                  </a:lnTo>
                  <a:lnTo>
                    <a:pt x="23" y="163"/>
                  </a:lnTo>
                  <a:lnTo>
                    <a:pt x="17" y="163"/>
                  </a:lnTo>
                  <a:lnTo>
                    <a:pt x="17" y="163"/>
                  </a:lnTo>
                  <a:lnTo>
                    <a:pt x="16" y="165"/>
                  </a:lnTo>
                  <a:lnTo>
                    <a:pt x="12" y="168"/>
                  </a:lnTo>
                  <a:lnTo>
                    <a:pt x="12" y="168"/>
                  </a:lnTo>
                  <a:lnTo>
                    <a:pt x="12" y="170"/>
                  </a:lnTo>
                  <a:lnTo>
                    <a:pt x="14" y="172"/>
                  </a:lnTo>
                  <a:lnTo>
                    <a:pt x="16" y="174"/>
                  </a:lnTo>
                  <a:lnTo>
                    <a:pt x="16" y="174"/>
                  </a:lnTo>
                  <a:lnTo>
                    <a:pt x="16" y="174"/>
                  </a:lnTo>
                  <a:lnTo>
                    <a:pt x="9" y="182"/>
                  </a:lnTo>
                  <a:lnTo>
                    <a:pt x="4" y="188"/>
                  </a:lnTo>
                  <a:lnTo>
                    <a:pt x="0" y="189"/>
                  </a:lnTo>
                  <a:lnTo>
                    <a:pt x="0" y="189"/>
                  </a:lnTo>
                  <a:lnTo>
                    <a:pt x="0" y="191"/>
                  </a:lnTo>
                  <a:lnTo>
                    <a:pt x="2" y="191"/>
                  </a:lnTo>
                  <a:lnTo>
                    <a:pt x="2" y="191"/>
                  </a:lnTo>
                  <a:lnTo>
                    <a:pt x="4" y="191"/>
                  </a:lnTo>
                  <a:lnTo>
                    <a:pt x="4" y="191"/>
                  </a:lnTo>
                  <a:lnTo>
                    <a:pt x="4" y="195"/>
                  </a:lnTo>
                  <a:lnTo>
                    <a:pt x="4" y="195"/>
                  </a:lnTo>
                  <a:lnTo>
                    <a:pt x="4" y="196"/>
                  </a:lnTo>
                  <a:lnTo>
                    <a:pt x="4" y="200"/>
                  </a:lnTo>
                  <a:lnTo>
                    <a:pt x="4" y="207"/>
                  </a:lnTo>
                  <a:lnTo>
                    <a:pt x="4" y="207"/>
                  </a:lnTo>
                  <a:lnTo>
                    <a:pt x="4" y="209"/>
                  </a:lnTo>
                  <a:lnTo>
                    <a:pt x="2" y="212"/>
                  </a:lnTo>
                  <a:lnTo>
                    <a:pt x="2" y="212"/>
                  </a:lnTo>
                  <a:lnTo>
                    <a:pt x="4" y="214"/>
                  </a:lnTo>
                  <a:lnTo>
                    <a:pt x="5" y="214"/>
                  </a:lnTo>
                  <a:lnTo>
                    <a:pt x="9" y="214"/>
                  </a:lnTo>
                  <a:lnTo>
                    <a:pt x="12" y="216"/>
                  </a:lnTo>
                  <a:lnTo>
                    <a:pt x="12" y="216"/>
                  </a:lnTo>
                  <a:lnTo>
                    <a:pt x="14" y="219"/>
                  </a:lnTo>
                  <a:lnTo>
                    <a:pt x="17" y="222"/>
                  </a:lnTo>
                  <a:lnTo>
                    <a:pt x="17" y="222"/>
                  </a:lnTo>
                  <a:lnTo>
                    <a:pt x="30" y="229"/>
                  </a:lnTo>
                  <a:lnTo>
                    <a:pt x="37" y="233"/>
                  </a:lnTo>
                  <a:lnTo>
                    <a:pt x="44" y="233"/>
                  </a:lnTo>
                  <a:lnTo>
                    <a:pt x="44" y="233"/>
                  </a:lnTo>
                  <a:lnTo>
                    <a:pt x="51" y="228"/>
                  </a:lnTo>
                  <a:lnTo>
                    <a:pt x="61" y="221"/>
                  </a:lnTo>
                  <a:lnTo>
                    <a:pt x="80" y="205"/>
                  </a:lnTo>
                  <a:lnTo>
                    <a:pt x="80" y="205"/>
                  </a:lnTo>
                  <a:lnTo>
                    <a:pt x="111" y="184"/>
                  </a:lnTo>
                  <a:lnTo>
                    <a:pt x="111" y="184"/>
                  </a:lnTo>
                  <a:lnTo>
                    <a:pt x="157" y="155"/>
                  </a:lnTo>
                  <a:lnTo>
                    <a:pt x="157" y="155"/>
                  </a:lnTo>
                  <a:lnTo>
                    <a:pt x="174" y="146"/>
                  </a:lnTo>
                  <a:lnTo>
                    <a:pt x="183" y="141"/>
                  </a:lnTo>
                  <a:lnTo>
                    <a:pt x="190" y="135"/>
                  </a:lnTo>
                  <a:lnTo>
                    <a:pt x="190" y="135"/>
                  </a:lnTo>
                  <a:lnTo>
                    <a:pt x="193" y="127"/>
                  </a:lnTo>
                  <a:lnTo>
                    <a:pt x="197" y="118"/>
                  </a:lnTo>
                  <a:lnTo>
                    <a:pt x="197" y="118"/>
                  </a:lnTo>
                  <a:lnTo>
                    <a:pt x="197" y="116"/>
                  </a:lnTo>
                  <a:lnTo>
                    <a:pt x="197" y="116"/>
                  </a:lnTo>
                  <a:lnTo>
                    <a:pt x="197" y="113"/>
                  </a:lnTo>
                  <a:lnTo>
                    <a:pt x="197" y="113"/>
                  </a:lnTo>
                  <a:lnTo>
                    <a:pt x="197" y="99"/>
                  </a:lnTo>
                  <a:lnTo>
                    <a:pt x="197" y="99"/>
                  </a:lnTo>
                  <a:lnTo>
                    <a:pt x="199" y="92"/>
                  </a:lnTo>
                  <a:lnTo>
                    <a:pt x="200" y="85"/>
                  </a:lnTo>
                  <a:lnTo>
                    <a:pt x="202" y="76"/>
                  </a:lnTo>
                  <a:lnTo>
                    <a:pt x="202" y="69"/>
                  </a:lnTo>
                  <a:lnTo>
                    <a:pt x="202" y="69"/>
                  </a:lnTo>
                  <a:lnTo>
                    <a:pt x="199" y="57"/>
                  </a:lnTo>
                  <a:lnTo>
                    <a:pt x="199" y="52"/>
                  </a:lnTo>
                  <a:lnTo>
                    <a:pt x="199" y="45"/>
                  </a:lnTo>
                  <a:lnTo>
                    <a:pt x="199" y="45"/>
                  </a:lnTo>
                  <a:lnTo>
                    <a:pt x="202" y="40"/>
                  </a:lnTo>
                  <a:lnTo>
                    <a:pt x="207" y="36"/>
                  </a:lnTo>
                  <a:lnTo>
                    <a:pt x="212" y="36"/>
                  </a:lnTo>
                  <a:lnTo>
                    <a:pt x="218" y="33"/>
                  </a:lnTo>
                  <a:lnTo>
                    <a:pt x="218" y="33"/>
                  </a:lnTo>
                  <a:lnTo>
                    <a:pt x="223" y="29"/>
                  </a:lnTo>
                  <a:lnTo>
                    <a:pt x="228" y="24"/>
                  </a:lnTo>
                  <a:lnTo>
                    <a:pt x="233" y="17"/>
                  </a:lnTo>
                  <a:lnTo>
                    <a:pt x="237" y="10"/>
                  </a:lnTo>
                  <a:lnTo>
                    <a:pt x="237" y="10"/>
                  </a:lnTo>
                  <a:lnTo>
                    <a:pt x="237" y="7"/>
                  </a:lnTo>
                  <a:lnTo>
                    <a:pt x="237" y="3"/>
                  </a:lnTo>
                  <a:lnTo>
                    <a:pt x="237" y="3"/>
                  </a:lnTo>
                  <a:lnTo>
                    <a:pt x="233" y="1"/>
                  </a:lnTo>
                  <a:lnTo>
                    <a:pt x="233" y="0"/>
                  </a:lnTo>
                  <a:lnTo>
                    <a:pt x="232" y="0"/>
                  </a:lnTo>
                  <a:lnTo>
                    <a:pt x="232" y="0"/>
                  </a:lnTo>
                  <a:lnTo>
                    <a:pt x="223" y="7"/>
                  </a:lnTo>
                  <a:lnTo>
                    <a:pt x="211" y="10"/>
                  </a:lnTo>
                  <a:lnTo>
                    <a:pt x="211" y="10"/>
                  </a:lnTo>
                  <a:lnTo>
                    <a:pt x="204" y="10"/>
                  </a:lnTo>
                  <a:lnTo>
                    <a:pt x="197" y="10"/>
                  </a:lnTo>
                  <a:lnTo>
                    <a:pt x="188" y="8"/>
                  </a:lnTo>
                  <a:lnTo>
                    <a:pt x="181" y="10"/>
                  </a:lnTo>
                  <a:lnTo>
                    <a:pt x="181" y="10"/>
                  </a:lnTo>
                  <a:lnTo>
                    <a:pt x="167" y="14"/>
                  </a:lnTo>
                  <a:lnTo>
                    <a:pt x="155" y="21"/>
                  </a:lnTo>
                  <a:lnTo>
                    <a:pt x="141" y="27"/>
                  </a:lnTo>
                  <a:lnTo>
                    <a:pt x="134" y="29"/>
                  </a:lnTo>
                  <a:lnTo>
                    <a:pt x="125" y="31"/>
                  </a:lnTo>
                  <a:lnTo>
                    <a:pt x="125" y="31"/>
                  </a:lnTo>
                  <a:lnTo>
                    <a:pt x="117" y="29"/>
                  </a:lnTo>
                  <a:lnTo>
                    <a:pt x="110" y="27"/>
                  </a:lnTo>
                  <a:lnTo>
                    <a:pt x="104" y="22"/>
                  </a:lnTo>
                  <a:lnTo>
                    <a:pt x="98" y="19"/>
                  </a:lnTo>
                  <a:lnTo>
                    <a:pt x="98" y="19"/>
                  </a:lnTo>
                  <a:lnTo>
                    <a:pt x="94" y="19"/>
                  </a:lnTo>
                  <a:lnTo>
                    <a:pt x="89" y="19"/>
                  </a:lnTo>
                  <a:lnTo>
                    <a:pt x="80" y="24"/>
                  </a:lnTo>
                  <a:lnTo>
                    <a:pt x="71" y="29"/>
                  </a:lnTo>
                  <a:lnTo>
                    <a:pt x="64" y="33"/>
                  </a:lnTo>
                  <a:lnTo>
                    <a:pt x="64" y="33"/>
                  </a:lnTo>
                  <a:lnTo>
                    <a:pt x="59" y="31"/>
                  </a:lnTo>
                  <a:lnTo>
                    <a:pt x="56" y="31"/>
                  </a:lnTo>
                  <a:lnTo>
                    <a:pt x="54" y="31"/>
                  </a:lnTo>
                  <a:lnTo>
                    <a:pt x="54" y="31"/>
                  </a:lnTo>
                  <a:lnTo>
                    <a:pt x="45" y="26"/>
                  </a:lnTo>
                  <a:lnTo>
                    <a:pt x="37" y="22"/>
                  </a:lnTo>
                  <a:lnTo>
                    <a:pt x="37" y="22"/>
                  </a:lnTo>
                  <a:lnTo>
                    <a:pt x="35" y="26"/>
                  </a:lnTo>
                  <a:lnTo>
                    <a:pt x="33" y="33"/>
                  </a:lnTo>
                  <a:lnTo>
                    <a:pt x="35" y="43"/>
                  </a:lnTo>
                  <a:lnTo>
                    <a:pt x="35" y="43"/>
                  </a:lnTo>
                  <a:lnTo>
                    <a:pt x="37" y="47"/>
                  </a:lnTo>
                  <a:lnTo>
                    <a:pt x="38" y="48"/>
                  </a:lnTo>
                  <a:lnTo>
                    <a:pt x="38" y="50"/>
                  </a:lnTo>
                  <a:lnTo>
                    <a:pt x="38" y="50"/>
                  </a:lnTo>
                  <a:lnTo>
                    <a:pt x="37" y="52"/>
                  </a:lnTo>
                  <a:lnTo>
                    <a:pt x="33" y="52"/>
                  </a:lnTo>
                  <a:lnTo>
                    <a:pt x="28" y="52"/>
                  </a:lnTo>
                  <a:lnTo>
                    <a:pt x="28" y="52"/>
                  </a:lnTo>
                  <a:lnTo>
                    <a:pt x="23" y="61"/>
                  </a:lnTo>
                  <a:lnTo>
                    <a:pt x="21" y="68"/>
                  </a:lnTo>
                  <a:lnTo>
                    <a:pt x="19" y="71"/>
                  </a:lnTo>
                  <a:lnTo>
                    <a:pt x="19" y="71"/>
                  </a:lnTo>
                  <a:lnTo>
                    <a:pt x="17" y="69"/>
                  </a:lnTo>
                  <a:lnTo>
                    <a:pt x="16" y="68"/>
                  </a:lnTo>
                  <a:lnTo>
                    <a:pt x="12" y="66"/>
                  </a:lnTo>
                  <a:lnTo>
                    <a:pt x="12" y="66"/>
                  </a:lnTo>
                  <a:lnTo>
                    <a:pt x="9" y="69"/>
                  </a:lnTo>
                  <a:lnTo>
                    <a:pt x="5" y="74"/>
                  </a:lnTo>
                  <a:lnTo>
                    <a:pt x="4" y="80"/>
                  </a:lnTo>
                  <a:lnTo>
                    <a:pt x="7" y="87"/>
                  </a:lnTo>
                  <a:lnTo>
                    <a:pt x="7" y="87"/>
                  </a:lnTo>
                  <a:lnTo>
                    <a:pt x="10" y="94"/>
                  </a:lnTo>
                  <a:lnTo>
                    <a:pt x="10" y="101"/>
                  </a:lnTo>
                  <a:lnTo>
                    <a:pt x="10" y="111"/>
                  </a:lnTo>
                  <a:lnTo>
                    <a:pt x="12" y="123"/>
                  </a:lnTo>
                  <a:lnTo>
                    <a:pt x="12" y="1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1" name="Freeform 2024">
              <a:extLst>
                <a:ext uri="{FF2B5EF4-FFF2-40B4-BE49-F238E27FC236}">
                  <a16:creationId xmlns:a16="http://schemas.microsoft.com/office/drawing/2014/main" id="{6FCF3C86-5D0D-4FEA-A0F8-769C9D72E924}"/>
                </a:ext>
              </a:extLst>
            </p:cNvPr>
            <p:cNvSpPr>
              <a:spLocks/>
            </p:cNvSpPr>
            <p:nvPr/>
          </p:nvSpPr>
          <p:spPr bwMode="auto">
            <a:xfrm>
              <a:off x="5748740" y="3900367"/>
              <a:ext cx="185009" cy="193821"/>
            </a:xfrm>
            <a:custGeom>
              <a:avLst/>
              <a:gdLst/>
              <a:ahLst/>
              <a:cxnLst>
                <a:cxn ang="0">
                  <a:pos x="13" y="162"/>
                </a:cxn>
                <a:cxn ang="0">
                  <a:pos x="25" y="155"/>
                </a:cxn>
                <a:cxn ang="0">
                  <a:pos x="30" y="154"/>
                </a:cxn>
                <a:cxn ang="0">
                  <a:pos x="37" y="164"/>
                </a:cxn>
                <a:cxn ang="0">
                  <a:pos x="44" y="159"/>
                </a:cxn>
                <a:cxn ang="0">
                  <a:pos x="51" y="140"/>
                </a:cxn>
                <a:cxn ang="0">
                  <a:pos x="58" y="141"/>
                </a:cxn>
                <a:cxn ang="0">
                  <a:pos x="73" y="155"/>
                </a:cxn>
                <a:cxn ang="0">
                  <a:pos x="89" y="148"/>
                </a:cxn>
                <a:cxn ang="0">
                  <a:pos x="96" y="150"/>
                </a:cxn>
                <a:cxn ang="0">
                  <a:pos x="105" y="152"/>
                </a:cxn>
                <a:cxn ang="0">
                  <a:pos x="115" y="152"/>
                </a:cxn>
                <a:cxn ang="0">
                  <a:pos x="141" y="162"/>
                </a:cxn>
                <a:cxn ang="0">
                  <a:pos x="152" y="168"/>
                </a:cxn>
                <a:cxn ang="0">
                  <a:pos x="171" y="192"/>
                </a:cxn>
                <a:cxn ang="0">
                  <a:pos x="183" y="204"/>
                </a:cxn>
                <a:cxn ang="0">
                  <a:pos x="197" y="227"/>
                </a:cxn>
                <a:cxn ang="0">
                  <a:pos x="208" y="237"/>
                </a:cxn>
                <a:cxn ang="0">
                  <a:pos x="216" y="241"/>
                </a:cxn>
                <a:cxn ang="0">
                  <a:pos x="227" y="235"/>
                </a:cxn>
                <a:cxn ang="0">
                  <a:pos x="230" y="225"/>
                </a:cxn>
                <a:cxn ang="0">
                  <a:pos x="216" y="215"/>
                </a:cxn>
                <a:cxn ang="0">
                  <a:pos x="211" y="208"/>
                </a:cxn>
                <a:cxn ang="0">
                  <a:pos x="206" y="197"/>
                </a:cxn>
                <a:cxn ang="0">
                  <a:pos x="199" y="188"/>
                </a:cxn>
                <a:cxn ang="0">
                  <a:pos x="195" y="183"/>
                </a:cxn>
                <a:cxn ang="0">
                  <a:pos x="187" y="178"/>
                </a:cxn>
                <a:cxn ang="0">
                  <a:pos x="178" y="169"/>
                </a:cxn>
                <a:cxn ang="0">
                  <a:pos x="168" y="150"/>
                </a:cxn>
                <a:cxn ang="0">
                  <a:pos x="159" y="145"/>
                </a:cxn>
                <a:cxn ang="0">
                  <a:pos x="152" y="143"/>
                </a:cxn>
                <a:cxn ang="0">
                  <a:pos x="145" y="133"/>
                </a:cxn>
                <a:cxn ang="0">
                  <a:pos x="138" y="134"/>
                </a:cxn>
                <a:cxn ang="0">
                  <a:pos x="129" y="128"/>
                </a:cxn>
                <a:cxn ang="0">
                  <a:pos x="121" y="110"/>
                </a:cxn>
                <a:cxn ang="0">
                  <a:pos x="117" y="114"/>
                </a:cxn>
                <a:cxn ang="0">
                  <a:pos x="115" y="128"/>
                </a:cxn>
                <a:cxn ang="0">
                  <a:pos x="112" y="121"/>
                </a:cxn>
                <a:cxn ang="0">
                  <a:pos x="101" y="98"/>
                </a:cxn>
                <a:cxn ang="0">
                  <a:pos x="93" y="51"/>
                </a:cxn>
                <a:cxn ang="0">
                  <a:pos x="82" y="11"/>
                </a:cxn>
                <a:cxn ang="0">
                  <a:pos x="68" y="11"/>
                </a:cxn>
                <a:cxn ang="0">
                  <a:pos x="53" y="25"/>
                </a:cxn>
                <a:cxn ang="0">
                  <a:pos x="39" y="32"/>
                </a:cxn>
                <a:cxn ang="0">
                  <a:pos x="30" y="44"/>
                </a:cxn>
                <a:cxn ang="0">
                  <a:pos x="20" y="40"/>
                </a:cxn>
                <a:cxn ang="0">
                  <a:pos x="18" y="53"/>
                </a:cxn>
                <a:cxn ang="0">
                  <a:pos x="16" y="77"/>
                </a:cxn>
                <a:cxn ang="0">
                  <a:pos x="2" y="122"/>
                </a:cxn>
                <a:cxn ang="0">
                  <a:pos x="0" y="131"/>
                </a:cxn>
                <a:cxn ang="0">
                  <a:pos x="4" y="161"/>
                </a:cxn>
              </a:cxnLst>
              <a:rect l="0" t="0" r="r" b="b"/>
              <a:pathLst>
                <a:path w="232" h="242">
                  <a:moveTo>
                    <a:pt x="4" y="161"/>
                  </a:moveTo>
                  <a:lnTo>
                    <a:pt x="4" y="161"/>
                  </a:lnTo>
                  <a:lnTo>
                    <a:pt x="13" y="162"/>
                  </a:lnTo>
                  <a:lnTo>
                    <a:pt x="18" y="161"/>
                  </a:lnTo>
                  <a:lnTo>
                    <a:pt x="21" y="159"/>
                  </a:lnTo>
                  <a:lnTo>
                    <a:pt x="25" y="155"/>
                  </a:lnTo>
                  <a:lnTo>
                    <a:pt x="26" y="154"/>
                  </a:lnTo>
                  <a:lnTo>
                    <a:pt x="28" y="152"/>
                  </a:lnTo>
                  <a:lnTo>
                    <a:pt x="30" y="154"/>
                  </a:lnTo>
                  <a:lnTo>
                    <a:pt x="33" y="161"/>
                  </a:lnTo>
                  <a:lnTo>
                    <a:pt x="33" y="161"/>
                  </a:lnTo>
                  <a:lnTo>
                    <a:pt x="37" y="164"/>
                  </a:lnTo>
                  <a:lnTo>
                    <a:pt x="39" y="164"/>
                  </a:lnTo>
                  <a:lnTo>
                    <a:pt x="40" y="164"/>
                  </a:lnTo>
                  <a:lnTo>
                    <a:pt x="44" y="159"/>
                  </a:lnTo>
                  <a:lnTo>
                    <a:pt x="46" y="152"/>
                  </a:lnTo>
                  <a:lnTo>
                    <a:pt x="47" y="145"/>
                  </a:lnTo>
                  <a:lnTo>
                    <a:pt x="51" y="140"/>
                  </a:lnTo>
                  <a:lnTo>
                    <a:pt x="54" y="138"/>
                  </a:lnTo>
                  <a:lnTo>
                    <a:pt x="56" y="138"/>
                  </a:lnTo>
                  <a:lnTo>
                    <a:pt x="58" y="141"/>
                  </a:lnTo>
                  <a:lnTo>
                    <a:pt x="58" y="141"/>
                  </a:lnTo>
                  <a:lnTo>
                    <a:pt x="67" y="150"/>
                  </a:lnTo>
                  <a:lnTo>
                    <a:pt x="73" y="155"/>
                  </a:lnTo>
                  <a:lnTo>
                    <a:pt x="79" y="155"/>
                  </a:lnTo>
                  <a:lnTo>
                    <a:pt x="84" y="154"/>
                  </a:lnTo>
                  <a:lnTo>
                    <a:pt x="89" y="148"/>
                  </a:lnTo>
                  <a:lnTo>
                    <a:pt x="93" y="148"/>
                  </a:lnTo>
                  <a:lnTo>
                    <a:pt x="96" y="150"/>
                  </a:lnTo>
                  <a:lnTo>
                    <a:pt x="96" y="150"/>
                  </a:lnTo>
                  <a:lnTo>
                    <a:pt x="100" y="155"/>
                  </a:lnTo>
                  <a:lnTo>
                    <a:pt x="101" y="154"/>
                  </a:lnTo>
                  <a:lnTo>
                    <a:pt x="105" y="152"/>
                  </a:lnTo>
                  <a:lnTo>
                    <a:pt x="110" y="150"/>
                  </a:lnTo>
                  <a:lnTo>
                    <a:pt x="115" y="152"/>
                  </a:lnTo>
                  <a:lnTo>
                    <a:pt x="115" y="152"/>
                  </a:lnTo>
                  <a:lnTo>
                    <a:pt x="127" y="154"/>
                  </a:lnTo>
                  <a:lnTo>
                    <a:pt x="134" y="159"/>
                  </a:lnTo>
                  <a:lnTo>
                    <a:pt x="141" y="162"/>
                  </a:lnTo>
                  <a:lnTo>
                    <a:pt x="148" y="166"/>
                  </a:lnTo>
                  <a:lnTo>
                    <a:pt x="148" y="166"/>
                  </a:lnTo>
                  <a:lnTo>
                    <a:pt x="152" y="168"/>
                  </a:lnTo>
                  <a:lnTo>
                    <a:pt x="155" y="171"/>
                  </a:lnTo>
                  <a:lnTo>
                    <a:pt x="162" y="180"/>
                  </a:lnTo>
                  <a:lnTo>
                    <a:pt x="171" y="192"/>
                  </a:lnTo>
                  <a:lnTo>
                    <a:pt x="180" y="201"/>
                  </a:lnTo>
                  <a:lnTo>
                    <a:pt x="180" y="201"/>
                  </a:lnTo>
                  <a:lnTo>
                    <a:pt x="183" y="204"/>
                  </a:lnTo>
                  <a:lnTo>
                    <a:pt x="187" y="208"/>
                  </a:lnTo>
                  <a:lnTo>
                    <a:pt x="192" y="218"/>
                  </a:lnTo>
                  <a:lnTo>
                    <a:pt x="197" y="227"/>
                  </a:lnTo>
                  <a:lnTo>
                    <a:pt x="201" y="232"/>
                  </a:lnTo>
                  <a:lnTo>
                    <a:pt x="208" y="237"/>
                  </a:lnTo>
                  <a:lnTo>
                    <a:pt x="208" y="237"/>
                  </a:lnTo>
                  <a:lnTo>
                    <a:pt x="209" y="237"/>
                  </a:lnTo>
                  <a:lnTo>
                    <a:pt x="211" y="239"/>
                  </a:lnTo>
                  <a:lnTo>
                    <a:pt x="216" y="241"/>
                  </a:lnTo>
                  <a:lnTo>
                    <a:pt x="218" y="242"/>
                  </a:lnTo>
                  <a:lnTo>
                    <a:pt x="222" y="241"/>
                  </a:lnTo>
                  <a:lnTo>
                    <a:pt x="227" y="235"/>
                  </a:lnTo>
                  <a:lnTo>
                    <a:pt x="232" y="228"/>
                  </a:lnTo>
                  <a:lnTo>
                    <a:pt x="232" y="228"/>
                  </a:lnTo>
                  <a:lnTo>
                    <a:pt x="230" y="225"/>
                  </a:lnTo>
                  <a:lnTo>
                    <a:pt x="225" y="223"/>
                  </a:lnTo>
                  <a:lnTo>
                    <a:pt x="222" y="222"/>
                  </a:lnTo>
                  <a:lnTo>
                    <a:pt x="216" y="215"/>
                  </a:lnTo>
                  <a:lnTo>
                    <a:pt x="216" y="215"/>
                  </a:lnTo>
                  <a:lnTo>
                    <a:pt x="215" y="209"/>
                  </a:lnTo>
                  <a:lnTo>
                    <a:pt x="211" y="208"/>
                  </a:lnTo>
                  <a:lnTo>
                    <a:pt x="209" y="204"/>
                  </a:lnTo>
                  <a:lnTo>
                    <a:pt x="206" y="197"/>
                  </a:lnTo>
                  <a:lnTo>
                    <a:pt x="206" y="197"/>
                  </a:lnTo>
                  <a:lnTo>
                    <a:pt x="201" y="188"/>
                  </a:lnTo>
                  <a:lnTo>
                    <a:pt x="201" y="187"/>
                  </a:lnTo>
                  <a:lnTo>
                    <a:pt x="199" y="188"/>
                  </a:lnTo>
                  <a:lnTo>
                    <a:pt x="199" y="188"/>
                  </a:lnTo>
                  <a:lnTo>
                    <a:pt x="195" y="183"/>
                  </a:lnTo>
                  <a:lnTo>
                    <a:pt x="195" y="183"/>
                  </a:lnTo>
                  <a:lnTo>
                    <a:pt x="192" y="180"/>
                  </a:lnTo>
                  <a:lnTo>
                    <a:pt x="190" y="178"/>
                  </a:lnTo>
                  <a:lnTo>
                    <a:pt x="187" y="178"/>
                  </a:lnTo>
                  <a:lnTo>
                    <a:pt x="185" y="176"/>
                  </a:lnTo>
                  <a:lnTo>
                    <a:pt x="181" y="175"/>
                  </a:lnTo>
                  <a:lnTo>
                    <a:pt x="178" y="169"/>
                  </a:lnTo>
                  <a:lnTo>
                    <a:pt x="173" y="161"/>
                  </a:lnTo>
                  <a:lnTo>
                    <a:pt x="173" y="161"/>
                  </a:lnTo>
                  <a:lnTo>
                    <a:pt x="168" y="150"/>
                  </a:lnTo>
                  <a:lnTo>
                    <a:pt x="164" y="147"/>
                  </a:lnTo>
                  <a:lnTo>
                    <a:pt x="161" y="145"/>
                  </a:lnTo>
                  <a:lnTo>
                    <a:pt x="159" y="145"/>
                  </a:lnTo>
                  <a:lnTo>
                    <a:pt x="157" y="145"/>
                  </a:lnTo>
                  <a:lnTo>
                    <a:pt x="155" y="145"/>
                  </a:lnTo>
                  <a:lnTo>
                    <a:pt x="152" y="143"/>
                  </a:lnTo>
                  <a:lnTo>
                    <a:pt x="148" y="138"/>
                  </a:lnTo>
                  <a:lnTo>
                    <a:pt x="148" y="138"/>
                  </a:lnTo>
                  <a:lnTo>
                    <a:pt x="145" y="133"/>
                  </a:lnTo>
                  <a:lnTo>
                    <a:pt x="143" y="131"/>
                  </a:lnTo>
                  <a:lnTo>
                    <a:pt x="141" y="133"/>
                  </a:lnTo>
                  <a:lnTo>
                    <a:pt x="138" y="134"/>
                  </a:lnTo>
                  <a:lnTo>
                    <a:pt x="136" y="134"/>
                  </a:lnTo>
                  <a:lnTo>
                    <a:pt x="134" y="133"/>
                  </a:lnTo>
                  <a:lnTo>
                    <a:pt x="129" y="128"/>
                  </a:lnTo>
                  <a:lnTo>
                    <a:pt x="124" y="117"/>
                  </a:lnTo>
                  <a:lnTo>
                    <a:pt x="124" y="117"/>
                  </a:lnTo>
                  <a:lnTo>
                    <a:pt x="121" y="110"/>
                  </a:lnTo>
                  <a:lnTo>
                    <a:pt x="119" y="108"/>
                  </a:lnTo>
                  <a:lnTo>
                    <a:pt x="119" y="108"/>
                  </a:lnTo>
                  <a:lnTo>
                    <a:pt x="117" y="114"/>
                  </a:lnTo>
                  <a:lnTo>
                    <a:pt x="117" y="124"/>
                  </a:lnTo>
                  <a:lnTo>
                    <a:pt x="117" y="128"/>
                  </a:lnTo>
                  <a:lnTo>
                    <a:pt x="115" y="128"/>
                  </a:lnTo>
                  <a:lnTo>
                    <a:pt x="115" y="128"/>
                  </a:lnTo>
                  <a:lnTo>
                    <a:pt x="114" y="126"/>
                  </a:lnTo>
                  <a:lnTo>
                    <a:pt x="112" y="121"/>
                  </a:lnTo>
                  <a:lnTo>
                    <a:pt x="108" y="112"/>
                  </a:lnTo>
                  <a:lnTo>
                    <a:pt x="101" y="98"/>
                  </a:lnTo>
                  <a:lnTo>
                    <a:pt x="101" y="98"/>
                  </a:lnTo>
                  <a:lnTo>
                    <a:pt x="100" y="87"/>
                  </a:lnTo>
                  <a:lnTo>
                    <a:pt x="96" y="77"/>
                  </a:lnTo>
                  <a:lnTo>
                    <a:pt x="93" y="51"/>
                  </a:lnTo>
                  <a:lnTo>
                    <a:pt x="89" y="37"/>
                  </a:lnTo>
                  <a:lnTo>
                    <a:pt x="86" y="25"/>
                  </a:lnTo>
                  <a:lnTo>
                    <a:pt x="82" y="11"/>
                  </a:lnTo>
                  <a:lnTo>
                    <a:pt x="75" y="0"/>
                  </a:lnTo>
                  <a:lnTo>
                    <a:pt x="75" y="0"/>
                  </a:lnTo>
                  <a:lnTo>
                    <a:pt x="68" y="11"/>
                  </a:lnTo>
                  <a:lnTo>
                    <a:pt x="63" y="20"/>
                  </a:lnTo>
                  <a:lnTo>
                    <a:pt x="58" y="23"/>
                  </a:lnTo>
                  <a:lnTo>
                    <a:pt x="53" y="25"/>
                  </a:lnTo>
                  <a:lnTo>
                    <a:pt x="44" y="25"/>
                  </a:lnTo>
                  <a:lnTo>
                    <a:pt x="40" y="28"/>
                  </a:lnTo>
                  <a:lnTo>
                    <a:pt x="39" y="32"/>
                  </a:lnTo>
                  <a:lnTo>
                    <a:pt x="39" y="32"/>
                  </a:lnTo>
                  <a:lnTo>
                    <a:pt x="33" y="40"/>
                  </a:lnTo>
                  <a:lnTo>
                    <a:pt x="30" y="44"/>
                  </a:lnTo>
                  <a:lnTo>
                    <a:pt x="26" y="44"/>
                  </a:lnTo>
                  <a:lnTo>
                    <a:pt x="23" y="42"/>
                  </a:lnTo>
                  <a:lnTo>
                    <a:pt x="20" y="40"/>
                  </a:lnTo>
                  <a:lnTo>
                    <a:pt x="18" y="42"/>
                  </a:lnTo>
                  <a:lnTo>
                    <a:pt x="18" y="46"/>
                  </a:lnTo>
                  <a:lnTo>
                    <a:pt x="18" y="53"/>
                  </a:lnTo>
                  <a:lnTo>
                    <a:pt x="18" y="53"/>
                  </a:lnTo>
                  <a:lnTo>
                    <a:pt x="18" y="67"/>
                  </a:lnTo>
                  <a:lnTo>
                    <a:pt x="16" y="77"/>
                  </a:lnTo>
                  <a:lnTo>
                    <a:pt x="13" y="96"/>
                  </a:lnTo>
                  <a:lnTo>
                    <a:pt x="7" y="110"/>
                  </a:lnTo>
                  <a:lnTo>
                    <a:pt x="2" y="122"/>
                  </a:lnTo>
                  <a:lnTo>
                    <a:pt x="2" y="122"/>
                  </a:lnTo>
                  <a:lnTo>
                    <a:pt x="0" y="126"/>
                  </a:lnTo>
                  <a:lnTo>
                    <a:pt x="0" y="131"/>
                  </a:lnTo>
                  <a:lnTo>
                    <a:pt x="0" y="140"/>
                  </a:lnTo>
                  <a:lnTo>
                    <a:pt x="4" y="150"/>
                  </a:lnTo>
                  <a:lnTo>
                    <a:pt x="4" y="161"/>
                  </a:lnTo>
                  <a:lnTo>
                    <a:pt x="4" y="1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2" name="Freeform 2025">
              <a:extLst>
                <a:ext uri="{FF2B5EF4-FFF2-40B4-BE49-F238E27FC236}">
                  <a16:creationId xmlns:a16="http://schemas.microsoft.com/office/drawing/2014/main" id="{56EF30EC-5A40-4D4B-82EC-6E14C1CA94E7}"/>
                </a:ext>
              </a:extLst>
            </p:cNvPr>
            <p:cNvSpPr>
              <a:spLocks/>
            </p:cNvSpPr>
            <p:nvPr/>
          </p:nvSpPr>
          <p:spPr bwMode="auto">
            <a:xfrm>
              <a:off x="5554921" y="4372584"/>
              <a:ext cx="151532" cy="193821"/>
            </a:xfrm>
            <a:custGeom>
              <a:avLst/>
              <a:gdLst/>
              <a:ahLst/>
              <a:cxnLst>
                <a:cxn ang="0">
                  <a:pos x="44" y="31"/>
                </a:cxn>
                <a:cxn ang="0">
                  <a:pos x="38" y="66"/>
                </a:cxn>
                <a:cxn ang="0">
                  <a:pos x="40" y="75"/>
                </a:cxn>
                <a:cxn ang="0">
                  <a:pos x="51" y="81"/>
                </a:cxn>
                <a:cxn ang="0">
                  <a:pos x="56" y="85"/>
                </a:cxn>
                <a:cxn ang="0">
                  <a:pos x="56" y="95"/>
                </a:cxn>
                <a:cxn ang="0">
                  <a:pos x="38" y="115"/>
                </a:cxn>
                <a:cxn ang="0">
                  <a:pos x="24" y="128"/>
                </a:cxn>
                <a:cxn ang="0">
                  <a:pos x="14" y="148"/>
                </a:cxn>
                <a:cxn ang="0">
                  <a:pos x="7" y="174"/>
                </a:cxn>
                <a:cxn ang="0">
                  <a:pos x="0" y="236"/>
                </a:cxn>
                <a:cxn ang="0">
                  <a:pos x="5" y="235"/>
                </a:cxn>
                <a:cxn ang="0">
                  <a:pos x="9" y="235"/>
                </a:cxn>
                <a:cxn ang="0">
                  <a:pos x="11" y="240"/>
                </a:cxn>
                <a:cxn ang="0">
                  <a:pos x="14" y="240"/>
                </a:cxn>
                <a:cxn ang="0">
                  <a:pos x="17" y="236"/>
                </a:cxn>
                <a:cxn ang="0">
                  <a:pos x="26" y="226"/>
                </a:cxn>
                <a:cxn ang="0">
                  <a:pos x="30" y="223"/>
                </a:cxn>
                <a:cxn ang="0">
                  <a:pos x="87" y="221"/>
                </a:cxn>
                <a:cxn ang="0">
                  <a:pos x="152" y="221"/>
                </a:cxn>
                <a:cxn ang="0">
                  <a:pos x="153" y="175"/>
                </a:cxn>
                <a:cxn ang="0">
                  <a:pos x="157" y="156"/>
                </a:cxn>
                <a:cxn ang="0">
                  <a:pos x="171" y="139"/>
                </a:cxn>
                <a:cxn ang="0">
                  <a:pos x="178" y="128"/>
                </a:cxn>
                <a:cxn ang="0">
                  <a:pos x="188" y="108"/>
                </a:cxn>
                <a:cxn ang="0">
                  <a:pos x="188" y="87"/>
                </a:cxn>
                <a:cxn ang="0">
                  <a:pos x="183" y="68"/>
                </a:cxn>
                <a:cxn ang="0">
                  <a:pos x="178" y="59"/>
                </a:cxn>
                <a:cxn ang="0">
                  <a:pos x="171" y="45"/>
                </a:cxn>
                <a:cxn ang="0">
                  <a:pos x="167" y="26"/>
                </a:cxn>
                <a:cxn ang="0">
                  <a:pos x="162" y="10"/>
                </a:cxn>
                <a:cxn ang="0">
                  <a:pos x="153" y="0"/>
                </a:cxn>
                <a:cxn ang="0">
                  <a:pos x="138" y="19"/>
                </a:cxn>
                <a:cxn ang="0">
                  <a:pos x="131" y="21"/>
                </a:cxn>
                <a:cxn ang="0">
                  <a:pos x="125" y="19"/>
                </a:cxn>
                <a:cxn ang="0">
                  <a:pos x="122" y="15"/>
                </a:cxn>
                <a:cxn ang="0">
                  <a:pos x="115" y="14"/>
                </a:cxn>
                <a:cxn ang="0">
                  <a:pos x="105" y="19"/>
                </a:cxn>
                <a:cxn ang="0">
                  <a:pos x="92" y="29"/>
                </a:cxn>
                <a:cxn ang="0">
                  <a:pos x="85" y="28"/>
                </a:cxn>
                <a:cxn ang="0">
                  <a:pos x="78" y="17"/>
                </a:cxn>
                <a:cxn ang="0">
                  <a:pos x="73" y="21"/>
                </a:cxn>
                <a:cxn ang="0">
                  <a:pos x="70" y="24"/>
                </a:cxn>
                <a:cxn ang="0">
                  <a:pos x="59" y="19"/>
                </a:cxn>
                <a:cxn ang="0">
                  <a:pos x="52" y="17"/>
                </a:cxn>
                <a:cxn ang="0">
                  <a:pos x="44" y="31"/>
                </a:cxn>
              </a:cxnLst>
              <a:rect l="0" t="0" r="r" b="b"/>
              <a:pathLst>
                <a:path w="188" h="240">
                  <a:moveTo>
                    <a:pt x="44" y="31"/>
                  </a:moveTo>
                  <a:lnTo>
                    <a:pt x="44" y="31"/>
                  </a:lnTo>
                  <a:lnTo>
                    <a:pt x="40" y="50"/>
                  </a:lnTo>
                  <a:lnTo>
                    <a:pt x="38" y="66"/>
                  </a:lnTo>
                  <a:lnTo>
                    <a:pt x="38" y="71"/>
                  </a:lnTo>
                  <a:lnTo>
                    <a:pt x="40" y="75"/>
                  </a:lnTo>
                  <a:lnTo>
                    <a:pt x="44" y="78"/>
                  </a:lnTo>
                  <a:lnTo>
                    <a:pt x="51" y="81"/>
                  </a:lnTo>
                  <a:lnTo>
                    <a:pt x="51" y="81"/>
                  </a:lnTo>
                  <a:lnTo>
                    <a:pt x="56" y="85"/>
                  </a:lnTo>
                  <a:lnTo>
                    <a:pt x="58" y="90"/>
                  </a:lnTo>
                  <a:lnTo>
                    <a:pt x="56" y="95"/>
                  </a:lnTo>
                  <a:lnTo>
                    <a:pt x="52" y="101"/>
                  </a:lnTo>
                  <a:lnTo>
                    <a:pt x="38" y="115"/>
                  </a:lnTo>
                  <a:lnTo>
                    <a:pt x="24" y="128"/>
                  </a:lnTo>
                  <a:lnTo>
                    <a:pt x="24" y="128"/>
                  </a:lnTo>
                  <a:lnTo>
                    <a:pt x="17" y="137"/>
                  </a:lnTo>
                  <a:lnTo>
                    <a:pt x="14" y="148"/>
                  </a:lnTo>
                  <a:lnTo>
                    <a:pt x="9" y="160"/>
                  </a:lnTo>
                  <a:lnTo>
                    <a:pt x="7" y="174"/>
                  </a:lnTo>
                  <a:lnTo>
                    <a:pt x="4" y="205"/>
                  </a:lnTo>
                  <a:lnTo>
                    <a:pt x="0" y="236"/>
                  </a:lnTo>
                  <a:lnTo>
                    <a:pt x="0" y="236"/>
                  </a:lnTo>
                  <a:lnTo>
                    <a:pt x="5" y="235"/>
                  </a:lnTo>
                  <a:lnTo>
                    <a:pt x="7" y="235"/>
                  </a:lnTo>
                  <a:lnTo>
                    <a:pt x="9" y="235"/>
                  </a:lnTo>
                  <a:lnTo>
                    <a:pt x="11" y="236"/>
                  </a:lnTo>
                  <a:lnTo>
                    <a:pt x="11" y="240"/>
                  </a:lnTo>
                  <a:lnTo>
                    <a:pt x="12" y="240"/>
                  </a:lnTo>
                  <a:lnTo>
                    <a:pt x="14" y="240"/>
                  </a:lnTo>
                  <a:lnTo>
                    <a:pt x="14" y="240"/>
                  </a:lnTo>
                  <a:lnTo>
                    <a:pt x="17" y="236"/>
                  </a:lnTo>
                  <a:lnTo>
                    <a:pt x="23" y="231"/>
                  </a:lnTo>
                  <a:lnTo>
                    <a:pt x="26" y="226"/>
                  </a:lnTo>
                  <a:lnTo>
                    <a:pt x="30" y="223"/>
                  </a:lnTo>
                  <a:lnTo>
                    <a:pt x="30" y="223"/>
                  </a:lnTo>
                  <a:lnTo>
                    <a:pt x="51" y="221"/>
                  </a:lnTo>
                  <a:lnTo>
                    <a:pt x="87" y="221"/>
                  </a:lnTo>
                  <a:lnTo>
                    <a:pt x="152" y="221"/>
                  </a:lnTo>
                  <a:lnTo>
                    <a:pt x="152" y="221"/>
                  </a:lnTo>
                  <a:lnTo>
                    <a:pt x="152" y="196"/>
                  </a:lnTo>
                  <a:lnTo>
                    <a:pt x="153" y="175"/>
                  </a:lnTo>
                  <a:lnTo>
                    <a:pt x="155" y="167"/>
                  </a:lnTo>
                  <a:lnTo>
                    <a:pt x="157" y="156"/>
                  </a:lnTo>
                  <a:lnTo>
                    <a:pt x="162" y="148"/>
                  </a:lnTo>
                  <a:lnTo>
                    <a:pt x="171" y="139"/>
                  </a:lnTo>
                  <a:lnTo>
                    <a:pt x="171" y="139"/>
                  </a:lnTo>
                  <a:lnTo>
                    <a:pt x="178" y="128"/>
                  </a:lnTo>
                  <a:lnTo>
                    <a:pt x="185" y="118"/>
                  </a:lnTo>
                  <a:lnTo>
                    <a:pt x="188" y="108"/>
                  </a:lnTo>
                  <a:lnTo>
                    <a:pt x="188" y="97"/>
                  </a:lnTo>
                  <a:lnTo>
                    <a:pt x="188" y="87"/>
                  </a:lnTo>
                  <a:lnTo>
                    <a:pt x="186" y="76"/>
                  </a:lnTo>
                  <a:lnTo>
                    <a:pt x="183" y="68"/>
                  </a:lnTo>
                  <a:lnTo>
                    <a:pt x="178" y="59"/>
                  </a:lnTo>
                  <a:lnTo>
                    <a:pt x="178" y="59"/>
                  </a:lnTo>
                  <a:lnTo>
                    <a:pt x="172" y="52"/>
                  </a:lnTo>
                  <a:lnTo>
                    <a:pt x="171" y="45"/>
                  </a:lnTo>
                  <a:lnTo>
                    <a:pt x="169" y="33"/>
                  </a:lnTo>
                  <a:lnTo>
                    <a:pt x="167" y="26"/>
                  </a:lnTo>
                  <a:lnTo>
                    <a:pt x="165" y="19"/>
                  </a:lnTo>
                  <a:lnTo>
                    <a:pt x="162" y="10"/>
                  </a:lnTo>
                  <a:lnTo>
                    <a:pt x="153" y="0"/>
                  </a:lnTo>
                  <a:lnTo>
                    <a:pt x="153" y="0"/>
                  </a:lnTo>
                  <a:lnTo>
                    <a:pt x="143" y="15"/>
                  </a:lnTo>
                  <a:lnTo>
                    <a:pt x="138" y="19"/>
                  </a:lnTo>
                  <a:lnTo>
                    <a:pt x="131" y="21"/>
                  </a:lnTo>
                  <a:lnTo>
                    <a:pt x="131" y="21"/>
                  </a:lnTo>
                  <a:lnTo>
                    <a:pt x="125" y="21"/>
                  </a:lnTo>
                  <a:lnTo>
                    <a:pt x="125" y="19"/>
                  </a:lnTo>
                  <a:lnTo>
                    <a:pt x="125" y="17"/>
                  </a:lnTo>
                  <a:lnTo>
                    <a:pt x="122" y="15"/>
                  </a:lnTo>
                  <a:lnTo>
                    <a:pt x="122" y="15"/>
                  </a:lnTo>
                  <a:lnTo>
                    <a:pt x="115" y="14"/>
                  </a:lnTo>
                  <a:lnTo>
                    <a:pt x="110" y="15"/>
                  </a:lnTo>
                  <a:lnTo>
                    <a:pt x="105" y="19"/>
                  </a:lnTo>
                  <a:lnTo>
                    <a:pt x="99" y="22"/>
                  </a:lnTo>
                  <a:lnTo>
                    <a:pt x="92" y="29"/>
                  </a:lnTo>
                  <a:lnTo>
                    <a:pt x="89" y="29"/>
                  </a:lnTo>
                  <a:lnTo>
                    <a:pt x="85" y="28"/>
                  </a:lnTo>
                  <a:lnTo>
                    <a:pt x="85" y="28"/>
                  </a:lnTo>
                  <a:lnTo>
                    <a:pt x="78" y="17"/>
                  </a:lnTo>
                  <a:lnTo>
                    <a:pt x="75" y="17"/>
                  </a:lnTo>
                  <a:lnTo>
                    <a:pt x="73" y="21"/>
                  </a:lnTo>
                  <a:lnTo>
                    <a:pt x="73" y="21"/>
                  </a:lnTo>
                  <a:lnTo>
                    <a:pt x="70" y="24"/>
                  </a:lnTo>
                  <a:lnTo>
                    <a:pt x="66" y="24"/>
                  </a:lnTo>
                  <a:lnTo>
                    <a:pt x="59" y="19"/>
                  </a:lnTo>
                  <a:lnTo>
                    <a:pt x="56" y="17"/>
                  </a:lnTo>
                  <a:lnTo>
                    <a:pt x="52" y="17"/>
                  </a:lnTo>
                  <a:lnTo>
                    <a:pt x="49" y="21"/>
                  </a:lnTo>
                  <a:lnTo>
                    <a:pt x="44" y="31"/>
                  </a:lnTo>
                  <a:lnTo>
                    <a:pt x="44" y="3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3" name="Freeform 2026">
              <a:extLst>
                <a:ext uri="{FF2B5EF4-FFF2-40B4-BE49-F238E27FC236}">
                  <a16:creationId xmlns:a16="http://schemas.microsoft.com/office/drawing/2014/main" id="{7F6C6603-EBC0-4943-AD80-47CF7F5EDF99}"/>
                </a:ext>
              </a:extLst>
            </p:cNvPr>
            <p:cNvSpPr>
              <a:spLocks/>
            </p:cNvSpPr>
            <p:nvPr/>
          </p:nvSpPr>
          <p:spPr bwMode="auto">
            <a:xfrm>
              <a:off x="5643021" y="4835990"/>
              <a:ext cx="89862" cy="267825"/>
            </a:xfrm>
            <a:custGeom>
              <a:avLst/>
              <a:gdLst/>
              <a:ahLst/>
              <a:cxnLst>
                <a:cxn ang="0">
                  <a:pos x="26" y="212"/>
                </a:cxn>
                <a:cxn ang="0">
                  <a:pos x="36" y="217"/>
                </a:cxn>
                <a:cxn ang="0">
                  <a:pos x="52" y="216"/>
                </a:cxn>
                <a:cxn ang="0">
                  <a:pos x="64" y="224"/>
                </a:cxn>
                <a:cxn ang="0">
                  <a:pos x="64" y="247"/>
                </a:cxn>
                <a:cxn ang="0">
                  <a:pos x="54" y="270"/>
                </a:cxn>
                <a:cxn ang="0">
                  <a:pos x="55" y="285"/>
                </a:cxn>
                <a:cxn ang="0">
                  <a:pos x="73" y="308"/>
                </a:cxn>
                <a:cxn ang="0">
                  <a:pos x="83" y="330"/>
                </a:cxn>
                <a:cxn ang="0">
                  <a:pos x="87" y="332"/>
                </a:cxn>
                <a:cxn ang="0">
                  <a:pos x="85" y="310"/>
                </a:cxn>
                <a:cxn ang="0">
                  <a:pos x="85" y="303"/>
                </a:cxn>
                <a:cxn ang="0">
                  <a:pos x="101" y="287"/>
                </a:cxn>
                <a:cxn ang="0">
                  <a:pos x="104" y="285"/>
                </a:cxn>
                <a:cxn ang="0">
                  <a:pos x="108" y="256"/>
                </a:cxn>
                <a:cxn ang="0">
                  <a:pos x="111" y="230"/>
                </a:cxn>
                <a:cxn ang="0">
                  <a:pos x="104" y="210"/>
                </a:cxn>
                <a:cxn ang="0">
                  <a:pos x="83" y="188"/>
                </a:cxn>
                <a:cxn ang="0">
                  <a:pos x="64" y="165"/>
                </a:cxn>
                <a:cxn ang="0">
                  <a:pos x="59" y="132"/>
                </a:cxn>
                <a:cxn ang="0">
                  <a:pos x="62" y="109"/>
                </a:cxn>
                <a:cxn ang="0">
                  <a:pos x="64" y="102"/>
                </a:cxn>
                <a:cxn ang="0">
                  <a:pos x="66" y="92"/>
                </a:cxn>
                <a:cxn ang="0">
                  <a:pos x="64" y="83"/>
                </a:cxn>
                <a:cxn ang="0">
                  <a:pos x="62" y="57"/>
                </a:cxn>
                <a:cxn ang="0">
                  <a:pos x="61" y="45"/>
                </a:cxn>
                <a:cxn ang="0">
                  <a:pos x="47" y="14"/>
                </a:cxn>
                <a:cxn ang="0">
                  <a:pos x="21" y="3"/>
                </a:cxn>
                <a:cxn ang="0">
                  <a:pos x="8" y="7"/>
                </a:cxn>
                <a:cxn ang="0">
                  <a:pos x="14" y="8"/>
                </a:cxn>
                <a:cxn ang="0">
                  <a:pos x="17" y="12"/>
                </a:cxn>
                <a:cxn ang="0">
                  <a:pos x="21" y="26"/>
                </a:cxn>
                <a:cxn ang="0">
                  <a:pos x="29" y="40"/>
                </a:cxn>
                <a:cxn ang="0">
                  <a:pos x="31" y="52"/>
                </a:cxn>
                <a:cxn ang="0">
                  <a:pos x="22" y="61"/>
                </a:cxn>
                <a:cxn ang="0">
                  <a:pos x="22" y="75"/>
                </a:cxn>
                <a:cxn ang="0">
                  <a:pos x="19" y="82"/>
                </a:cxn>
                <a:cxn ang="0">
                  <a:pos x="17" y="92"/>
                </a:cxn>
                <a:cxn ang="0">
                  <a:pos x="19" y="108"/>
                </a:cxn>
                <a:cxn ang="0">
                  <a:pos x="19" y="120"/>
                </a:cxn>
                <a:cxn ang="0">
                  <a:pos x="24" y="134"/>
                </a:cxn>
                <a:cxn ang="0">
                  <a:pos x="17" y="135"/>
                </a:cxn>
                <a:cxn ang="0">
                  <a:pos x="7" y="144"/>
                </a:cxn>
                <a:cxn ang="0">
                  <a:pos x="7" y="169"/>
                </a:cxn>
                <a:cxn ang="0">
                  <a:pos x="2" y="177"/>
                </a:cxn>
                <a:cxn ang="0">
                  <a:pos x="3" y="186"/>
                </a:cxn>
              </a:cxnLst>
              <a:rect l="0" t="0" r="r" b="b"/>
              <a:pathLst>
                <a:path w="111" h="332">
                  <a:moveTo>
                    <a:pt x="17" y="196"/>
                  </a:moveTo>
                  <a:lnTo>
                    <a:pt x="17" y="196"/>
                  </a:lnTo>
                  <a:lnTo>
                    <a:pt x="26" y="212"/>
                  </a:lnTo>
                  <a:lnTo>
                    <a:pt x="29" y="217"/>
                  </a:lnTo>
                  <a:lnTo>
                    <a:pt x="33" y="219"/>
                  </a:lnTo>
                  <a:lnTo>
                    <a:pt x="36" y="217"/>
                  </a:lnTo>
                  <a:lnTo>
                    <a:pt x="36" y="217"/>
                  </a:lnTo>
                  <a:lnTo>
                    <a:pt x="45" y="216"/>
                  </a:lnTo>
                  <a:lnTo>
                    <a:pt x="52" y="216"/>
                  </a:lnTo>
                  <a:lnTo>
                    <a:pt x="57" y="217"/>
                  </a:lnTo>
                  <a:lnTo>
                    <a:pt x="62" y="219"/>
                  </a:lnTo>
                  <a:lnTo>
                    <a:pt x="64" y="224"/>
                  </a:lnTo>
                  <a:lnTo>
                    <a:pt x="66" y="230"/>
                  </a:lnTo>
                  <a:lnTo>
                    <a:pt x="64" y="247"/>
                  </a:lnTo>
                  <a:lnTo>
                    <a:pt x="64" y="247"/>
                  </a:lnTo>
                  <a:lnTo>
                    <a:pt x="62" y="256"/>
                  </a:lnTo>
                  <a:lnTo>
                    <a:pt x="61" y="261"/>
                  </a:lnTo>
                  <a:lnTo>
                    <a:pt x="54" y="270"/>
                  </a:lnTo>
                  <a:lnTo>
                    <a:pt x="52" y="275"/>
                  </a:lnTo>
                  <a:lnTo>
                    <a:pt x="52" y="278"/>
                  </a:lnTo>
                  <a:lnTo>
                    <a:pt x="55" y="285"/>
                  </a:lnTo>
                  <a:lnTo>
                    <a:pt x="61" y="292"/>
                  </a:lnTo>
                  <a:lnTo>
                    <a:pt x="61" y="292"/>
                  </a:lnTo>
                  <a:lnTo>
                    <a:pt x="73" y="308"/>
                  </a:lnTo>
                  <a:lnTo>
                    <a:pt x="78" y="320"/>
                  </a:lnTo>
                  <a:lnTo>
                    <a:pt x="82" y="327"/>
                  </a:lnTo>
                  <a:lnTo>
                    <a:pt x="83" y="330"/>
                  </a:lnTo>
                  <a:lnTo>
                    <a:pt x="83" y="330"/>
                  </a:lnTo>
                  <a:lnTo>
                    <a:pt x="85" y="332"/>
                  </a:lnTo>
                  <a:lnTo>
                    <a:pt x="87" y="332"/>
                  </a:lnTo>
                  <a:lnTo>
                    <a:pt x="89" y="327"/>
                  </a:lnTo>
                  <a:lnTo>
                    <a:pt x="89" y="318"/>
                  </a:lnTo>
                  <a:lnTo>
                    <a:pt x="85" y="310"/>
                  </a:lnTo>
                  <a:lnTo>
                    <a:pt x="85" y="310"/>
                  </a:lnTo>
                  <a:lnTo>
                    <a:pt x="83" y="306"/>
                  </a:lnTo>
                  <a:lnTo>
                    <a:pt x="85" y="303"/>
                  </a:lnTo>
                  <a:lnTo>
                    <a:pt x="89" y="296"/>
                  </a:lnTo>
                  <a:lnTo>
                    <a:pt x="94" y="290"/>
                  </a:lnTo>
                  <a:lnTo>
                    <a:pt x="101" y="287"/>
                  </a:lnTo>
                  <a:lnTo>
                    <a:pt x="101" y="287"/>
                  </a:lnTo>
                  <a:lnTo>
                    <a:pt x="103" y="287"/>
                  </a:lnTo>
                  <a:lnTo>
                    <a:pt x="104" y="285"/>
                  </a:lnTo>
                  <a:lnTo>
                    <a:pt x="108" y="278"/>
                  </a:lnTo>
                  <a:lnTo>
                    <a:pt x="108" y="268"/>
                  </a:lnTo>
                  <a:lnTo>
                    <a:pt x="108" y="256"/>
                  </a:lnTo>
                  <a:lnTo>
                    <a:pt x="108" y="256"/>
                  </a:lnTo>
                  <a:lnTo>
                    <a:pt x="109" y="242"/>
                  </a:lnTo>
                  <a:lnTo>
                    <a:pt x="111" y="230"/>
                  </a:lnTo>
                  <a:lnTo>
                    <a:pt x="109" y="224"/>
                  </a:lnTo>
                  <a:lnTo>
                    <a:pt x="108" y="217"/>
                  </a:lnTo>
                  <a:lnTo>
                    <a:pt x="104" y="210"/>
                  </a:lnTo>
                  <a:lnTo>
                    <a:pt x="97" y="202"/>
                  </a:lnTo>
                  <a:lnTo>
                    <a:pt x="97" y="202"/>
                  </a:lnTo>
                  <a:lnTo>
                    <a:pt x="83" y="188"/>
                  </a:lnTo>
                  <a:lnTo>
                    <a:pt x="73" y="179"/>
                  </a:lnTo>
                  <a:lnTo>
                    <a:pt x="66" y="170"/>
                  </a:lnTo>
                  <a:lnTo>
                    <a:pt x="64" y="165"/>
                  </a:lnTo>
                  <a:lnTo>
                    <a:pt x="62" y="160"/>
                  </a:lnTo>
                  <a:lnTo>
                    <a:pt x="62" y="160"/>
                  </a:lnTo>
                  <a:lnTo>
                    <a:pt x="59" y="132"/>
                  </a:lnTo>
                  <a:lnTo>
                    <a:pt x="59" y="118"/>
                  </a:lnTo>
                  <a:lnTo>
                    <a:pt x="59" y="113"/>
                  </a:lnTo>
                  <a:lnTo>
                    <a:pt x="62" y="109"/>
                  </a:lnTo>
                  <a:lnTo>
                    <a:pt x="62" y="109"/>
                  </a:lnTo>
                  <a:lnTo>
                    <a:pt x="64" y="106"/>
                  </a:lnTo>
                  <a:lnTo>
                    <a:pt x="64" y="102"/>
                  </a:lnTo>
                  <a:lnTo>
                    <a:pt x="64" y="97"/>
                  </a:lnTo>
                  <a:lnTo>
                    <a:pt x="66" y="94"/>
                  </a:lnTo>
                  <a:lnTo>
                    <a:pt x="66" y="92"/>
                  </a:lnTo>
                  <a:lnTo>
                    <a:pt x="68" y="90"/>
                  </a:lnTo>
                  <a:lnTo>
                    <a:pt x="68" y="90"/>
                  </a:lnTo>
                  <a:lnTo>
                    <a:pt x="64" y="83"/>
                  </a:lnTo>
                  <a:lnTo>
                    <a:pt x="62" y="76"/>
                  </a:lnTo>
                  <a:lnTo>
                    <a:pt x="61" y="68"/>
                  </a:lnTo>
                  <a:lnTo>
                    <a:pt x="62" y="57"/>
                  </a:lnTo>
                  <a:lnTo>
                    <a:pt x="62" y="52"/>
                  </a:lnTo>
                  <a:lnTo>
                    <a:pt x="61" y="45"/>
                  </a:lnTo>
                  <a:lnTo>
                    <a:pt x="61" y="45"/>
                  </a:lnTo>
                  <a:lnTo>
                    <a:pt x="55" y="31"/>
                  </a:lnTo>
                  <a:lnTo>
                    <a:pt x="52" y="21"/>
                  </a:lnTo>
                  <a:lnTo>
                    <a:pt x="47" y="14"/>
                  </a:lnTo>
                  <a:lnTo>
                    <a:pt x="38" y="8"/>
                  </a:lnTo>
                  <a:lnTo>
                    <a:pt x="38" y="8"/>
                  </a:lnTo>
                  <a:lnTo>
                    <a:pt x="21" y="3"/>
                  </a:lnTo>
                  <a:lnTo>
                    <a:pt x="7" y="0"/>
                  </a:lnTo>
                  <a:lnTo>
                    <a:pt x="7" y="0"/>
                  </a:lnTo>
                  <a:lnTo>
                    <a:pt x="8" y="7"/>
                  </a:lnTo>
                  <a:lnTo>
                    <a:pt x="8" y="8"/>
                  </a:lnTo>
                  <a:lnTo>
                    <a:pt x="10" y="8"/>
                  </a:lnTo>
                  <a:lnTo>
                    <a:pt x="14" y="8"/>
                  </a:lnTo>
                  <a:lnTo>
                    <a:pt x="15" y="8"/>
                  </a:lnTo>
                  <a:lnTo>
                    <a:pt x="17" y="12"/>
                  </a:lnTo>
                  <a:lnTo>
                    <a:pt x="17" y="12"/>
                  </a:lnTo>
                  <a:lnTo>
                    <a:pt x="21" y="17"/>
                  </a:lnTo>
                  <a:lnTo>
                    <a:pt x="21" y="21"/>
                  </a:lnTo>
                  <a:lnTo>
                    <a:pt x="21" y="26"/>
                  </a:lnTo>
                  <a:lnTo>
                    <a:pt x="24" y="33"/>
                  </a:lnTo>
                  <a:lnTo>
                    <a:pt x="24" y="33"/>
                  </a:lnTo>
                  <a:lnTo>
                    <a:pt x="29" y="40"/>
                  </a:lnTo>
                  <a:lnTo>
                    <a:pt x="31" y="45"/>
                  </a:lnTo>
                  <a:lnTo>
                    <a:pt x="31" y="48"/>
                  </a:lnTo>
                  <a:lnTo>
                    <a:pt x="31" y="52"/>
                  </a:lnTo>
                  <a:lnTo>
                    <a:pt x="24" y="57"/>
                  </a:lnTo>
                  <a:lnTo>
                    <a:pt x="24" y="57"/>
                  </a:lnTo>
                  <a:lnTo>
                    <a:pt x="22" y="61"/>
                  </a:lnTo>
                  <a:lnTo>
                    <a:pt x="21" y="64"/>
                  </a:lnTo>
                  <a:lnTo>
                    <a:pt x="21" y="69"/>
                  </a:lnTo>
                  <a:lnTo>
                    <a:pt x="22" y="75"/>
                  </a:lnTo>
                  <a:lnTo>
                    <a:pt x="21" y="78"/>
                  </a:lnTo>
                  <a:lnTo>
                    <a:pt x="19" y="82"/>
                  </a:lnTo>
                  <a:lnTo>
                    <a:pt x="19" y="82"/>
                  </a:lnTo>
                  <a:lnTo>
                    <a:pt x="17" y="85"/>
                  </a:lnTo>
                  <a:lnTo>
                    <a:pt x="17" y="87"/>
                  </a:lnTo>
                  <a:lnTo>
                    <a:pt x="17" y="92"/>
                  </a:lnTo>
                  <a:lnTo>
                    <a:pt x="21" y="99"/>
                  </a:lnTo>
                  <a:lnTo>
                    <a:pt x="21" y="102"/>
                  </a:lnTo>
                  <a:lnTo>
                    <a:pt x="19" y="108"/>
                  </a:lnTo>
                  <a:lnTo>
                    <a:pt x="19" y="108"/>
                  </a:lnTo>
                  <a:lnTo>
                    <a:pt x="19" y="115"/>
                  </a:lnTo>
                  <a:lnTo>
                    <a:pt x="19" y="120"/>
                  </a:lnTo>
                  <a:lnTo>
                    <a:pt x="24" y="129"/>
                  </a:lnTo>
                  <a:lnTo>
                    <a:pt x="24" y="132"/>
                  </a:lnTo>
                  <a:lnTo>
                    <a:pt x="24" y="134"/>
                  </a:lnTo>
                  <a:lnTo>
                    <a:pt x="22" y="135"/>
                  </a:lnTo>
                  <a:lnTo>
                    <a:pt x="17" y="135"/>
                  </a:lnTo>
                  <a:lnTo>
                    <a:pt x="17" y="135"/>
                  </a:lnTo>
                  <a:lnTo>
                    <a:pt x="12" y="135"/>
                  </a:lnTo>
                  <a:lnTo>
                    <a:pt x="8" y="139"/>
                  </a:lnTo>
                  <a:lnTo>
                    <a:pt x="7" y="144"/>
                  </a:lnTo>
                  <a:lnTo>
                    <a:pt x="7" y="149"/>
                  </a:lnTo>
                  <a:lnTo>
                    <a:pt x="7" y="163"/>
                  </a:lnTo>
                  <a:lnTo>
                    <a:pt x="7" y="169"/>
                  </a:lnTo>
                  <a:lnTo>
                    <a:pt x="3" y="174"/>
                  </a:lnTo>
                  <a:lnTo>
                    <a:pt x="3" y="174"/>
                  </a:lnTo>
                  <a:lnTo>
                    <a:pt x="2" y="177"/>
                  </a:lnTo>
                  <a:lnTo>
                    <a:pt x="0" y="181"/>
                  </a:lnTo>
                  <a:lnTo>
                    <a:pt x="2" y="182"/>
                  </a:lnTo>
                  <a:lnTo>
                    <a:pt x="3" y="186"/>
                  </a:lnTo>
                  <a:lnTo>
                    <a:pt x="17" y="196"/>
                  </a:lnTo>
                  <a:lnTo>
                    <a:pt x="17" y="19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4" name="Freeform 2027">
              <a:extLst>
                <a:ext uri="{FF2B5EF4-FFF2-40B4-BE49-F238E27FC236}">
                  <a16:creationId xmlns:a16="http://schemas.microsoft.com/office/drawing/2014/main" id="{29F6362F-0F26-40BB-8E66-40B6D6185591}"/>
                </a:ext>
              </a:extLst>
            </p:cNvPr>
            <p:cNvSpPr>
              <a:spLocks/>
            </p:cNvSpPr>
            <p:nvPr/>
          </p:nvSpPr>
          <p:spPr bwMode="auto">
            <a:xfrm>
              <a:off x="4985795" y="4437776"/>
              <a:ext cx="56384" cy="45812"/>
            </a:xfrm>
            <a:custGeom>
              <a:avLst/>
              <a:gdLst/>
              <a:ahLst/>
              <a:cxnLst>
                <a:cxn ang="0">
                  <a:pos x="15" y="0"/>
                </a:cxn>
                <a:cxn ang="0">
                  <a:pos x="15" y="0"/>
                </a:cxn>
                <a:cxn ang="0">
                  <a:pos x="24" y="5"/>
                </a:cxn>
                <a:cxn ang="0">
                  <a:pos x="33" y="7"/>
                </a:cxn>
                <a:cxn ang="0">
                  <a:pos x="47" y="7"/>
                </a:cxn>
                <a:cxn ang="0">
                  <a:pos x="69" y="7"/>
                </a:cxn>
                <a:cxn ang="0">
                  <a:pos x="69" y="57"/>
                </a:cxn>
                <a:cxn ang="0">
                  <a:pos x="69" y="57"/>
                </a:cxn>
                <a:cxn ang="0">
                  <a:pos x="54" y="57"/>
                </a:cxn>
                <a:cxn ang="0">
                  <a:pos x="41" y="55"/>
                </a:cxn>
                <a:cxn ang="0">
                  <a:pos x="28" y="55"/>
                </a:cxn>
                <a:cxn ang="0">
                  <a:pos x="8" y="55"/>
                </a:cxn>
                <a:cxn ang="0">
                  <a:pos x="8" y="55"/>
                </a:cxn>
                <a:cxn ang="0">
                  <a:pos x="8" y="52"/>
                </a:cxn>
                <a:cxn ang="0">
                  <a:pos x="7" y="52"/>
                </a:cxn>
                <a:cxn ang="0">
                  <a:pos x="1" y="52"/>
                </a:cxn>
                <a:cxn ang="0">
                  <a:pos x="0" y="50"/>
                </a:cxn>
                <a:cxn ang="0">
                  <a:pos x="0" y="48"/>
                </a:cxn>
                <a:cxn ang="0">
                  <a:pos x="0" y="48"/>
                </a:cxn>
                <a:cxn ang="0">
                  <a:pos x="0" y="43"/>
                </a:cxn>
                <a:cxn ang="0">
                  <a:pos x="1" y="40"/>
                </a:cxn>
                <a:cxn ang="0">
                  <a:pos x="7" y="31"/>
                </a:cxn>
                <a:cxn ang="0">
                  <a:pos x="10" y="26"/>
                </a:cxn>
                <a:cxn ang="0">
                  <a:pos x="14" y="19"/>
                </a:cxn>
                <a:cxn ang="0">
                  <a:pos x="15" y="10"/>
                </a:cxn>
                <a:cxn ang="0">
                  <a:pos x="15" y="0"/>
                </a:cxn>
                <a:cxn ang="0">
                  <a:pos x="15" y="0"/>
                </a:cxn>
              </a:cxnLst>
              <a:rect l="0" t="0" r="r" b="b"/>
              <a:pathLst>
                <a:path w="69" h="57">
                  <a:moveTo>
                    <a:pt x="15" y="0"/>
                  </a:moveTo>
                  <a:lnTo>
                    <a:pt x="15" y="0"/>
                  </a:lnTo>
                  <a:lnTo>
                    <a:pt x="24" y="5"/>
                  </a:lnTo>
                  <a:lnTo>
                    <a:pt x="33" y="7"/>
                  </a:lnTo>
                  <a:lnTo>
                    <a:pt x="47" y="7"/>
                  </a:lnTo>
                  <a:lnTo>
                    <a:pt x="69" y="7"/>
                  </a:lnTo>
                  <a:lnTo>
                    <a:pt x="69" y="57"/>
                  </a:lnTo>
                  <a:lnTo>
                    <a:pt x="69" y="57"/>
                  </a:lnTo>
                  <a:lnTo>
                    <a:pt x="54" y="57"/>
                  </a:lnTo>
                  <a:lnTo>
                    <a:pt x="41" y="55"/>
                  </a:lnTo>
                  <a:lnTo>
                    <a:pt x="28" y="55"/>
                  </a:lnTo>
                  <a:lnTo>
                    <a:pt x="8" y="55"/>
                  </a:lnTo>
                  <a:lnTo>
                    <a:pt x="8" y="55"/>
                  </a:lnTo>
                  <a:lnTo>
                    <a:pt x="8" y="52"/>
                  </a:lnTo>
                  <a:lnTo>
                    <a:pt x="7" y="52"/>
                  </a:lnTo>
                  <a:lnTo>
                    <a:pt x="1" y="52"/>
                  </a:lnTo>
                  <a:lnTo>
                    <a:pt x="0" y="50"/>
                  </a:lnTo>
                  <a:lnTo>
                    <a:pt x="0" y="48"/>
                  </a:lnTo>
                  <a:lnTo>
                    <a:pt x="0" y="48"/>
                  </a:lnTo>
                  <a:lnTo>
                    <a:pt x="0" y="43"/>
                  </a:lnTo>
                  <a:lnTo>
                    <a:pt x="1" y="40"/>
                  </a:lnTo>
                  <a:lnTo>
                    <a:pt x="7" y="31"/>
                  </a:lnTo>
                  <a:lnTo>
                    <a:pt x="10" y="26"/>
                  </a:lnTo>
                  <a:lnTo>
                    <a:pt x="14" y="19"/>
                  </a:lnTo>
                  <a:lnTo>
                    <a:pt x="15" y="10"/>
                  </a:lnTo>
                  <a:lnTo>
                    <a:pt x="15" y="0"/>
                  </a:lnTo>
                  <a:lnTo>
                    <a:pt x="15"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5" name="Freeform 2028">
              <a:extLst>
                <a:ext uri="{FF2B5EF4-FFF2-40B4-BE49-F238E27FC236}">
                  <a16:creationId xmlns:a16="http://schemas.microsoft.com/office/drawing/2014/main" id="{A5FA9C27-B4A0-45AE-BD76-90EA893FBCB7}"/>
                </a:ext>
              </a:extLst>
            </p:cNvPr>
            <p:cNvSpPr>
              <a:spLocks/>
            </p:cNvSpPr>
            <p:nvPr/>
          </p:nvSpPr>
          <p:spPr bwMode="auto">
            <a:xfrm>
              <a:off x="5539063" y="4594599"/>
              <a:ext cx="51099" cy="74004"/>
            </a:xfrm>
            <a:custGeom>
              <a:avLst/>
              <a:gdLst/>
              <a:ahLst/>
              <a:cxnLst>
                <a:cxn ang="0">
                  <a:pos x="54" y="2"/>
                </a:cxn>
                <a:cxn ang="0">
                  <a:pos x="54" y="2"/>
                </a:cxn>
                <a:cxn ang="0">
                  <a:pos x="54" y="7"/>
                </a:cxn>
                <a:cxn ang="0">
                  <a:pos x="52" y="13"/>
                </a:cxn>
                <a:cxn ang="0">
                  <a:pos x="51" y="16"/>
                </a:cxn>
                <a:cxn ang="0">
                  <a:pos x="51" y="21"/>
                </a:cxn>
                <a:cxn ang="0">
                  <a:pos x="51" y="21"/>
                </a:cxn>
                <a:cxn ang="0">
                  <a:pos x="51" y="23"/>
                </a:cxn>
                <a:cxn ang="0">
                  <a:pos x="54" y="25"/>
                </a:cxn>
                <a:cxn ang="0">
                  <a:pos x="61" y="28"/>
                </a:cxn>
                <a:cxn ang="0">
                  <a:pos x="65" y="30"/>
                </a:cxn>
                <a:cxn ang="0">
                  <a:pos x="65" y="34"/>
                </a:cxn>
                <a:cxn ang="0">
                  <a:pos x="63" y="39"/>
                </a:cxn>
                <a:cxn ang="0">
                  <a:pos x="58" y="46"/>
                </a:cxn>
                <a:cxn ang="0">
                  <a:pos x="58" y="46"/>
                </a:cxn>
                <a:cxn ang="0">
                  <a:pos x="51" y="53"/>
                </a:cxn>
                <a:cxn ang="0">
                  <a:pos x="47" y="60"/>
                </a:cxn>
                <a:cxn ang="0">
                  <a:pos x="40" y="74"/>
                </a:cxn>
                <a:cxn ang="0">
                  <a:pos x="37" y="81"/>
                </a:cxn>
                <a:cxn ang="0">
                  <a:pos x="32" y="86"/>
                </a:cxn>
                <a:cxn ang="0">
                  <a:pos x="25" y="89"/>
                </a:cxn>
                <a:cxn ang="0">
                  <a:pos x="14" y="91"/>
                </a:cxn>
                <a:cxn ang="0">
                  <a:pos x="14" y="91"/>
                </a:cxn>
                <a:cxn ang="0">
                  <a:pos x="12" y="81"/>
                </a:cxn>
                <a:cxn ang="0">
                  <a:pos x="11" y="72"/>
                </a:cxn>
                <a:cxn ang="0">
                  <a:pos x="7" y="63"/>
                </a:cxn>
                <a:cxn ang="0">
                  <a:pos x="7" y="51"/>
                </a:cxn>
                <a:cxn ang="0">
                  <a:pos x="7" y="51"/>
                </a:cxn>
                <a:cxn ang="0">
                  <a:pos x="7" y="39"/>
                </a:cxn>
                <a:cxn ang="0">
                  <a:pos x="5" y="30"/>
                </a:cxn>
                <a:cxn ang="0">
                  <a:pos x="2" y="25"/>
                </a:cxn>
                <a:cxn ang="0">
                  <a:pos x="0" y="18"/>
                </a:cxn>
                <a:cxn ang="0">
                  <a:pos x="0" y="18"/>
                </a:cxn>
                <a:cxn ang="0">
                  <a:pos x="4" y="13"/>
                </a:cxn>
                <a:cxn ang="0">
                  <a:pos x="7" y="13"/>
                </a:cxn>
                <a:cxn ang="0">
                  <a:pos x="11" y="14"/>
                </a:cxn>
                <a:cxn ang="0">
                  <a:pos x="12" y="18"/>
                </a:cxn>
                <a:cxn ang="0">
                  <a:pos x="12" y="18"/>
                </a:cxn>
                <a:cxn ang="0">
                  <a:pos x="12" y="20"/>
                </a:cxn>
                <a:cxn ang="0">
                  <a:pos x="14" y="21"/>
                </a:cxn>
                <a:cxn ang="0">
                  <a:pos x="21" y="23"/>
                </a:cxn>
                <a:cxn ang="0">
                  <a:pos x="23" y="21"/>
                </a:cxn>
                <a:cxn ang="0">
                  <a:pos x="26" y="20"/>
                </a:cxn>
                <a:cxn ang="0">
                  <a:pos x="30" y="16"/>
                </a:cxn>
                <a:cxn ang="0">
                  <a:pos x="30" y="13"/>
                </a:cxn>
                <a:cxn ang="0">
                  <a:pos x="30" y="13"/>
                </a:cxn>
                <a:cxn ang="0">
                  <a:pos x="32" y="4"/>
                </a:cxn>
                <a:cxn ang="0">
                  <a:pos x="33" y="0"/>
                </a:cxn>
                <a:cxn ang="0">
                  <a:pos x="35" y="0"/>
                </a:cxn>
                <a:cxn ang="0">
                  <a:pos x="37" y="4"/>
                </a:cxn>
                <a:cxn ang="0">
                  <a:pos x="37" y="4"/>
                </a:cxn>
                <a:cxn ang="0">
                  <a:pos x="40" y="6"/>
                </a:cxn>
                <a:cxn ang="0">
                  <a:pos x="42" y="4"/>
                </a:cxn>
                <a:cxn ang="0">
                  <a:pos x="47" y="2"/>
                </a:cxn>
                <a:cxn ang="0">
                  <a:pos x="54" y="2"/>
                </a:cxn>
                <a:cxn ang="0">
                  <a:pos x="54" y="2"/>
                </a:cxn>
              </a:cxnLst>
              <a:rect l="0" t="0" r="r" b="b"/>
              <a:pathLst>
                <a:path w="65" h="91">
                  <a:moveTo>
                    <a:pt x="54" y="2"/>
                  </a:moveTo>
                  <a:lnTo>
                    <a:pt x="54" y="2"/>
                  </a:lnTo>
                  <a:lnTo>
                    <a:pt x="54" y="7"/>
                  </a:lnTo>
                  <a:lnTo>
                    <a:pt x="52" y="13"/>
                  </a:lnTo>
                  <a:lnTo>
                    <a:pt x="51" y="16"/>
                  </a:lnTo>
                  <a:lnTo>
                    <a:pt x="51" y="21"/>
                  </a:lnTo>
                  <a:lnTo>
                    <a:pt x="51" y="21"/>
                  </a:lnTo>
                  <a:lnTo>
                    <a:pt x="51" y="23"/>
                  </a:lnTo>
                  <a:lnTo>
                    <a:pt x="54" y="25"/>
                  </a:lnTo>
                  <a:lnTo>
                    <a:pt x="61" y="28"/>
                  </a:lnTo>
                  <a:lnTo>
                    <a:pt x="65" y="30"/>
                  </a:lnTo>
                  <a:lnTo>
                    <a:pt x="65" y="34"/>
                  </a:lnTo>
                  <a:lnTo>
                    <a:pt x="63" y="39"/>
                  </a:lnTo>
                  <a:lnTo>
                    <a:pt x="58" y="46"/>
                  </a:lnTo>
                  <a:lnTo>
                    <a:pt x="58" y="46"/>
                  </a:lnTo>
                  <a:lnTo>
                    <a:pt x="51" y="53"/>
                  </a:lnTo>
                  <a:lnTo>
                    <a:pt x="47" y="60"/>
                  </a:lnTo>
                  <a:lnTo>
                    <a:pt x="40" y="74"/>
                  </a:lnTo>
                  <a:lnTo>
                    <a:pt x="37" y="81"/>
                  </a:lnTo>
                  <a:lnTo>
                    <a:pt x="32" y="86"/>
                  </a:lnTo>
                  <a:lnTo>
                    <a:pt x="25" y="89"/>
                  </a:lnTo>
                  <a:lnTo>
                    <a:pt x="14" y="91"/>
                  </a:lnTo>
                  <a:lnTo>
                    <a:pt x="14" y="91"/>
                  </a:lnTo>
                  <a:lnTo>
                    <a:pt x="12" y="81"/>
                  </a:lnTo>
                  <a:lnTo>
                    <a:pt x="11" y="72"/>
                  </a:lnTo>
                  <a:lnTo>
                    <a:pt x="7" y="63"/>
                  </a:lnTo>
                  <a:lnTo>
                    <a:pt x="7" y="51"/>
                  </a:lnTo>
                  <a:lnTo>
                    <a:pt x="7" y="51"/>
                  </a:lnTo>
                  <a:lnTo>
                    <a:pt x="7" y="39"/>
                  </a:lnTo>
                  <a:lnTo>
                    <a:pt x="5" y="30"/>
                  </a:lnTo>
                  <a:lnTo>
                    <a:pt x="2" y="25"/>
                  </a:lnTo>
                  <a:lnTo>
                    <a:pt x="0" y="18"/>
                  </a:lnTo>
                  <a:lnTo>
                    <a:pt x="0" y="18"/>
                  </a:lnTo>
                  <a:lnTo>
                    <a:pt x="4" y="13"/>
                  </a:lnTo>
                  <a:lnTo>
                    <a:pt x="7" y="13"/>
                  </a:lnTo>
                  <a:lnTo>
                    <a:pt x="11" y="14"/>
                  </a:lnTo>
                  <a:lnTo>
                    <a:pt x="12" y="18"/>
                  </a:lnTo>
                  <a:lnTo>
                    <a:pt x="12" y="18"/>
                  </a:lnTo>
                  <a:lnTo>
                    <a:pt x="12" y="20"/>
                  </a:lnTo>
                  <a:lnTo>
                    <a:pt x="14" y="21"/>
                  </a:lnTo>
                  <a:lnTo>
                    <a:pt x="21" y="23"/>
                  </a:lnTo>
                  <a:lnTo>
                    <a:pt x="23" y="21"/>
                  </a:lnTo>
                  <a:lnTo>
                    <a:pt x="26" y="20"/>
                  </a:lnTo>
                  <a:lnTo>
                    <a:pt x="30" y="16"/>
                  </a:lnTo>
                  <a:lnTo>
                    <a:pt x="30" y="13"/>
                  </a:lnTo>
                  <a:lnTo>
                    <a:pt x="30" y="13"/>
                  </a:lnTo>
                  <a:lnTo>
                    <a:pt x="32" y="4"/>
                  </a:lnTo>
                  <a:lnTo>
                    <a:pt x="33" y="0"/>
                  </a:lnTo>
                  <a:lnTo>
                    <a:pt x="35" y="0"/>
                  </a:lnTo>
                  <a:lnTo>
                    <a:pt x="37" y="4"/>
                  </a:lnTo>
                  <a:lnTo>
                    <a:pt x="37" y="4"/>
                  </a:lnTo>
                  <a:lnTo>
                    <a:pt x="40" y="6"/>
                  </a:lnTo>
                  <a:lnTo>
                    <a:pt x="42" y="4"/>
                  </a:lnTo>
                  <a:lnTo>
                    <a:pt x="47" y="2"/>
                  </a:lnTo>
                  <a:lnTo>
                    <a:pt x="54" y="2"/>
                  </a:lnTo>
                  <a:lnTo>
                    <a:pt x="5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6" name="Freeform 2029">
              <a:extLst>
                <a:ext uri="{FF2B5EF4-FFF2-40B4-BE49-F238E27FC236}">
                  <a16:creationId xmlns:a16="http://schemas.microsoft.com/office/drawing/2014/main" id="{9CCB919D-8F53-4DE0-93CD-58DB0D5E66E6}"/>
                </a:ext>
              </a:extLst>
            </p:cNvPr>
            <p:cNvSpPr>
              <a:spLocks/>
            </p:cNvSpPr>
            <p:nvPr/>
          </p:nvSpPr>
          <p:spPr bwMode="auto">
            <a:xfrm>
              <a:off x="4744401" y="4094188"/>
              <a:ext cx="86338" cy="207917"/>
            </a:xfrm>
            <a:custGeom>
              <a:avLst/>
              <a:gdLst/>
              <a:ahLst/>
              <a:cxnLst>
                <a:cxn ang="0">
                  <a:pos x="58" y="23"/>
                </a:cxn>
                <a:cxn ang="0">
                  <a:pos x="46" y="39"/>
                </a:cxn>
                <a:cxn ang="0">
                  <a:pos x="34" y="42"/>
                </a:cxn>
                <a:cxn ang="0">
                  <a:pos x="21" y="46"/>
                </a:cxn>
                <a:cxn ang="0">
                  <a:pos x="6" y="61"/>
                </a:cxn>
                <a:cxn ang="0">
                  <a:pos x="2" y="77"/>
                </a:cxn>
                <a:cxn ang="0">
                  <a:pos x="2" y="86"/>
                </a:cxn>
                <a:cxn ang="0">
                  <a:pos x="7" y="93"/>
                </a:cxn>
                <a:cxn ang="0">
                  <a:pos x="16" y="96"/>
                </a:cxn>
                <a:cxn ang="0">
                  <a:pos x="21" y="105"/>
                </a:cxn>
                <a:cxn ang="0">
                  <a:pos x="23" y="128"/>
                </a:cxn>
                <a:cxn ang="0">
                  <a:pos x="27" y="134"/>
                </a:cxn>
                <a:cxn ang="0">
                  <a:pos x="28" y="134"/>
                </a:cxn>
                <a:cxn ang="0">
                  <a:pos x="32" y="147"/>
                </a:cxn>
                <a:cxn ang="0">
                  <a:pos x="32" y="223"/>
                </a:cxn>
                <a:cxn ang="0">
                  <a:pos x="30" y="229"/>
                </a:cxn>
                <a:cxn ang="0">
                  <a:pos x="28" y="230"/>
                </a:cxn>
                <a:cxn ang="0">
                  <a:pos x="28" y="234"/>
                </a:cxn>
                <a:cxn ang="0">
                  <a:pos x="32" y="248"/>
                </a:cxn>
                <a:cxn ang="0">
                  <a:pos x="34" y="262"/>
                </a:cxn>
                <a:cxn ang="0">
                  <a:pos x="54" y="260"/>
                </a:cxn>
                <a:cxn ang="0">
                  <a:pos x="68" y="258"/>
                </a:cxn>
                <a:cxn ang="0">
                  <a:pos x="72" y="213"/>
                </a:cxn>
                <a:cxn ang="0">
                  <a:pos x="70" y="166"/>
                </a:cxn>
                <a:cxn ang="0">
                  <a:pos x="72" y="148"/>
                </a:cxn>
                <a:cxn ang="0">
                  <a:pos x="75" y="143"/>
                </a:cxn>
                <a:cxn ang="0">
                  <a:pos x="82" y="138"/>
                </a:cxn>
                <a:cxn ang="0">
                  <a:pos x="84" y="131"/>
                </a:cxn>
                <a:cxn ang="0">
                  <a:pos x="93" y="114"/>
                </a:cxn>
                <a:cxn ang="0">
                  <a:pos x="107" y="86"/>
                </a:cxn>
                <a:cxn ang="0">
                  <a:pos x="108" y="75"/>
                </a:cxn>
                <a:cxn ang="0">
                  <a:pos x="107" y="61"/>
                </a:cxn>
                <a:cxn ang="0">
                  <a:pos x="101" y="49"/>
                </a:cxn>
                <a:cxn ang="0">
                  <a:pos x="98" y="39"/>
                </a:cxn>
                <a:cxn ang="0">
                  <a:pos x="100" y="30"/>
                </a:cxn>
                <a:cxn ang="0">
                  <a:pos x="81" y="7"/>
                </a:cxn>
                <a:cxn ang="0">
                  <a:pos x="74" y="0"/>
                </a:cxn>
                <a:cxn ang="0">
                  <a:pos x="70" y="0"/>
                </a:cxn>
                <a:cxn ang="0">
                  <a:pos x="67" y="6"/>
                </a:cxn>
                <a:cxn ang="0">
                  <a:pos x="63" y="7"/>
                </a:cxn>
                <a:cxn ang="0">
                  <a:pos x="58" y="7"/>
                </a:cxn>
                <a:cxn ang="0">
                  <a:pos x="60" y="16"/>
                </a:cxn>
                <a:cxn ang="0">
                  <a:pos x="58" y="23"/>
                </a:cxn>
              </a:cxnLst>
              <a:rect l="0" t="0" r="r" b="b"/>
              <a:pathLst>
                <a:path w="108" h="262">
                  <a:moveTo>
                    <a:pt x="58" y="23"/>
                  </a:moveTo>
                  <a:lnTo>
                    <a:pt x="58" y="23"/>
                  </a:lnTo>
                  <a:lnTo>
                    <a:pt x="51" y="32"/>
                  </a:lnTo>
                  <a:lnTo>
                    <a:pt x="46" y="39"/>
                  </a:lnTo>
                  <a:lnTo>
                    <a:pt x="39" y="40"/>
                  </a:lnTo>
                  <a:lnTo>
                    <a:pt x="34" y="42"/>
                  </a:lnTo>
                  <a:lnTo>
                    <a:pt x="28" y="44"/>
                  </a:lnTo>
                  <a:lnTo>
                    <a:pt x="21" y="46"/>
                  </a:lnTo>
                  <a:lnTo>
                    <a:pt x="14" y="51"/>
                  </a:lnTo>
                  <a:lnTo>
                    <a:pt x="6" y="61"/>
                  </a:lnTo>
                  <a:lnTo>
                    <a:pt x="6" y="61"/>
                  </a:lnTo>
                  <a:lnTo>
                    <a:pt x="2" y="77"/>
                  </a:lnTo>
                  <a:lnTo>
                    <a:pt x="0" y="82"/>
                  </a:lnTo>
                  <a:lnTo>
                    <a:pt x="2" y="86"/>
                  </a:lnTo>
                  <a:lnTo>
                    <a:pt x="4" y="89"/>
                  </a:lnTo>
                  <a:lnTo>
                    <a:pt x="7" y="93"/>
                  </a:lnTo>
                  <a:lnTo>
                    <a:pt x="16" y="96"/>
                  </a:lnTo>
                  <a:lnTo>
                    <a:pt x="16" y="96"/>
                  </a:lnTo>
                  <a:lnTo>
                    <a:pt x="20" y="100"/>
                  </a:lnTo>
                  <a:lnTo>
                    <a:pt x="21" y="105"/>
                  </a:lnTo>
                  <a:lnTo>
                    <a:pt x="23" y="115"/>
                  </a:lnTo>
                  <a:lnTo>
                    <a:pt x="23" y="128"/>
                  </a:lnTo>
                  <a:lnTo>
                    <a:pt x="25" y="131"/>
                  </a:lnTo>
                  <a:lnTo>
                    <a:pt x="27" y="134"/>
                  </a:lnTo>
                  <a:lnTo>
                    <a:pt x="27" y="134"/>
                  </a:lnTo>
                  <a:lnTo>
                    <a:pt x="28" y="134"/>
                  </a:lnTo>
                  <a:lnTo>
                    <a:pt x="30" y="138"/>
                  </a:lnTo>
                  <a:lnTo>
                    <a:pt x="32" y="147"/>
                  </a:lnTo>
                  <a:lnTo>
                    <a:pt x="32" y="175"/>
                  </a:lnTo>
                  <a:lnTo>
                    <a:pt x="32" y="223"/>
                  </a:lnTo>
                  <a:lnTo>
                    <a:pt x="32" y="223"/>
                  </a:lnTo>
                  <a:lnTo>
                    <a:pt x="30" y="229"/>
                  </a:lnTo>
                  <a:lnTo>
                    <a:pt x="30" y="230"/>
                  </a:lnTo>
                  <a:lnTo>
                    <a:pt x="28" y="230"/>
                  </a:lnTo>
                  <a:lnTo>
                    <a:pt x="28" y="234"/>
                  </a:lnTo>
                  <a:lnTo>
                    <a:pt x="28" y="234"/>
                  </a:lnTo>
                  <a:lnTo>
                    <a:pt x="30" y="241"/>
                  </a:lnTo>
                  <a:lnTo>
                    <a:pt x="32" y="248"/>
                  </a:lnTo>
                  <a:lnTo>
                    <a:pt x="34" y="255"/>
                  </a:lnTo>
                  <a:lnTo>
                    <a:pt x="34" y="262"/>
                  </a:lnTo>
                  <a:lnTo>
                    <a:pt x="34" y="262"/>
                  </a:lnTo>
                  <a:lnTo>
                    <a:pt x="54" y="260"/>
                  </a:lnTo>
                  <a:lnTo>
                    <a:pt x="68" y="258"/>
                  </a:lnTo>
                  <a:lnTo>
                    <a:pt x="68" y="258"/>
                  </a:lnTo>
                  <a:lnTo>
                    <a:pt x="72" y="234"/>
                  </a:lnTo>
                  <a:lnTo>
                    <a:pt x="72" y="213"/>
                  </a:lnTo>
                  <a:lnTo>
                    <a:pt x="70" y="166"/>
                  </a:lnTo>
                  <a:lnTo>
                    <a:pt x="70" y="166"/>
                  </a:lnTo>
                  <a:lnTo>
                    <a:pt x="70" y="155"/>
                  </a:lnTo>
                  <a:lnTo>
                    <a:pt x="72" y="148"/>
                  </a:lnTo>
                  <a:lnTo>
                    <a:pt x="74" y="145"/>
                  </a:lnTo>
                  <a:lnTo>
                    <a:pt x="75" y="143"/>
                  </a:lnTo>
                  <a:lnTo>
                    <a:pt x="81" y="140"/>
                  </a:lnTo>
                  <a:lnTo>
                    <a:pt x="82" y="138"/>
                  </a:lnTo>
                  <a:lnTo>
                    <a:pt x="84" y="131"/>
                  </a:lnTo>
                  <a:lnTo>
                    <a:pt x="84" y="131"/>
                  </a:lnTo>
                  <a:lnTo>
                    <a:pt x="87" y="121"/>
                  </a:lnTo>
                  <a:lnTo>
                    <a:pt x="93" y="114"/>
                  </a:lnTo>
                  <a:lnTo>
                    <a:pt x="98" y="103"/>
                  </a:lnTo>
                  <a:lnTo>
                    <a:pt x="107" y="86"/>
                  </a:lnTo>
                  <a:lnTo>
                    <a:pt x="107" y="86"/>
                  </a:lnTo>
                  <a:lnTo>
                    <a:pt x="108" y="75"/>
                  </a:lnTo>
                  <a:lnTo>
                    <a:pt x="108" y="67"/>
                  </a:lnTo>
                  <a:lnTo>
                    <a:pt x="107" y="61"/>
                  </a:lnTo>
                  <a:lnTo>
                    <a:pt x="105" y="54"/>
                  </a:lnTo>
                  <a:lnTo>
                    <a:pt x="101" y="49"/>
                  </a:lnTo>
                  <a:lnTo>
                    <a:pt x="98" y="44"/>
                  </a:lnTo>
                  <a:lnTo>
                    <a:pt x="98" y="39"/>
                  </a:lnTo>
                  <a:lnTo>
                    <a:pt x="100" y="30"/>
                  </a:lnTo>
                  <a:lnTo>
                    <a:pt x="100" y="30"/>
                  </a:lnTo>
                  <a:lnTo>
                    <a:pt x="91" y="20"/>
                  </a:lnTo>
                  <a:lnTo>
                    <a:pt x="81" y="7"/>
                  </a:lnTo>
                  <a:lnTo>
                    <a:pt x="81" y="7"/>
                  </a:lnTo>
                  <a:lnTo>
                    <a:pt x="74" y="0"/>
                  </a:lnTo>
                  <a:lnTo>
                    <a:pt x="72" y="0"/>
                  </a:lnTo>
                  <a:lnTo>
                    <a:pt x="70" y="0"/>
                  </a:lnTo>
                  <a:lnTo>
                    <a:pt x="68" y="4"/>
                  </a:lnTo>
                  <a:lnTo>
                    <a:pt x="67" y="6"/>
                  </a:lnTo>
                  <a:lnTo>
                    <a:pt x="63" y="7"/>
                  </a:lnTo>
                  <a:lnTo>
                    <a:pt x="63" y="7"/>
                  </a:lnTo>
                  <a:lnTo>
                    <a:pt x="60" y="7"/>
                  </a:lnTo>
                  <a:lnTo>
                    <a:pt x="58" y="7"/>
                  </a:lnTo>
                  <a:lnTo>
                    <a:pt x="58" y="11"/>
                  </a:lnTo>
                  <a:lnTo>
                    <a:pt x="60" y="16"/>
                  </a:lnTo>
                  <a:lnTo>
                    <a:pt x="60" y="20"/>
                  </a:lnTo>
                  <a:lnTo>
                    <a:pt x="58" y="23"/>
                  </a:lnTo>
                  <a:lnTo>
                    <a:pt x="58"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7" name="Freeform 2030">
              <a:extLst>
                <a:ext uri="{FF2B5EF4-FFF2-40B4-BE49-F238E27FC236}">
                  <a16:creationId xmlns:a16="http://schemas.microsoft.com/office/drawing/2014/main" id="{92DBB032-33ED-498D-B2B8-D8AF1F0839FC}"/>
                </a:ext>
              </a:extLst>
            </p:cNvPr>
            <p:cNvSpPr>
              <a:spLocks/>
            </p:cNvSpPr>
            <p:nvPr/>
          </p:nvSpPr>
          <p:spPr bwMode="auto">
            <a:xfrm>
              <a:off x="4719732" y="4136477"/>
              <a:ext cx="51098" cy="172676"/>
            </a:xfrm>
            <a:custGeom>
              <a:avLst/>
              <a:gdLst/>
              <a:ahLst/>
              <a:cxnLst>
                <a:cxn ang="0">
                  <a:pos x="0" y="0"/>
                </a:cxn>
                <a:cxn ang="0">
                  <a:pos x="19" y="6"/>
                </a:cxn>
                <a:cxn ang="0">
                  <a:pos x="23" y="9"/>
                </a:cxn>
                <a:cxn ang="0">
                  <a:pos x="30" y="7"/>
                </a:cxn>
                <a:cxn ang="0">
                  <a:pos x="37" y="7"/>
                </a:cxn>
                <a:cxn ang="0">
                  <a:pos x="33" y="23"/>
                </a:cxn>
                <a:cxn ang="0">
                  <a:pos x="33" y="32"/>
                </a:cxn>
                <a:cxn ang="0">
                  <a:pos x="38" y="39"/>
                </a:cxn>
                <a:cxn ang="0">
                  <a:pos x="47" y="42"/>
                </a:cxn>
                <a:cxn ang="0">
                  <a:pos x="52" y="51"/>
                </a:cxn>
                <a:cxn ang="0">
                  <a:pos x="54" y="74"/>
                </a:cxn>
                <a:cxn ang="0">
                  <a:pos x="58" y="80"/>
                </a:cxn>
                <a:cxn ang="0">
                  <a:pos x="59" y="80"/>
                </a:cxn>
                <a:cxn ang="0">
                  <a:pos x="63" y="93"/>
                </a:cxn>
                <a:cxn ang="0">
                  <a:pos x="63" y="169"/>
                </a:cxn>
                <a:cxn ang="0">
                  <a:pos x="61" y="175"/>
                </a:cxn>
                <a:cxn ang="0">
                  <a:pos x="59" y="176"/>
                </a:cxn>
                <a:cxn ang="0">
                  <a:pos x="59" y="180"/>
                </a:cxn>
                <a:cxn ang="0">
                  <a:pos x="63" y="194"/>
                </a:cxn>
                <a:cxn ang="0">
                  <a:pos x="65" y="208"/>
                </a:cxn>
                <a:cxn ang="0">
                  <a:pos x="52" y="211"/>
                </a:cxn>
                <a:cxn ang="0">
                  <a:pos x="47" y="215"/>
                </a:cxn>
                <a:cxn ang="0">
                  <a:pos x="30" y="195"/>
                </a:cxn>
                <a:cxn ang="0">
                  <a:pos x="26" y="185"/>
                </a:cxn>
                <a:cxn ang="0">
                  <a:pos x="26" y="171"/>
                </a:cxn>
                <a:cxn ang="0">
                  <a:pos x="28" y="164"/>
                </a:cxn>
                <a:cxn ang="0">
                  <a:pos x="26" y="161"/>
                </a:cxn>
                <a:cxn ang="0">
                  <a:pos x="23" y="161"/>
                </a:cxn>
                <a:cxn ang="0">
                  <a:pos x="23" y="150"/>
                </a:cxn>
                <a:cxn ang="0">
                  <a:pos x="26" y="140"/>
                </a:cxn>
                <a:cxn ang="0">
                  <a:pos x="30" y="121"/>
                </a:cxn>
                <a:cxn ang="0">
                  <a:pos x="26" y="112"/>
                </a:cxn>
                <a:cxn ang="0">
                  <a:pos x="21" y="105"/>
                </a:cxn>
                <a:cxn ang="0">
                  <a:pos x="21" y="89"/>
                </a:cxn>
                <a:cxn ang="0">
                  <a:pos x="23" y="80"/>
                </a:cxn>
                <a:cxn ang="0">
                  <a:pos x="21" y="74"/>
                </a:cxn>
                <a:cxn ang="0">
                  <a:pos x="18" y="74"/>
                </a:cxn>
                <a:cxn ang="0">
                  <a:pos x="16" y="67"/>
                </a:cxn>
                <a:cxn ang="0">
                  <a:pos x="16" y="56"/>
                </a:cxn>
                <a:cxn ang="0">
                  <a:pos x="16" y="37"/>
                </a:cxn>
                <a:cxn ang="0">
                  <a:pos x="11" y="28"/>
                </a:cxn>
                <a:cxn ang="0">
                  <a:pos x="4" y="20"/>
                </a:cxn>
                <a:cxn ang="0">
                  <a:pos x="0" y="0"/>
                </a:cxn>
              </a:cxnLst>
              <a:rect l="0" t="0" r="r" b="b"/>
              <a:pathLst>
                <a:path w="65" h="215">
                  <a:moveTo>
                    <a:pt x="0" y="0"/>
                  </a:moveTo>
                  <a:lnTo>
                    <a:pt x="0" y="0"/>
                  </a:lnTo>
                  <a:lnTo>
                    <a:pt x="12" y="2"/>
                  </a:lnTo>
                  <a:lnTo>
                    <a:pt x="19" y="6"/>
                  </a:lnTo>
                  <a:lnTo>
                    <a:pt x="21" y="7"/>
                  </a:lnTo>
                  <a:lnTo>
                    <a:pt x="23" y="9"/>
                  </a:lnTo>
                  <a:lnTo>
                    <a:pt x="23" y="9"/>
                  </a:lnTo>
                  <a:lnTo>
                    <a:pt x="30" y="7"/>
                  </a:lnTo>
                  <a:lnTo>
                    <a:pt x="33" y="7"/>
                  </a:lnTo>
                  <a:lnTo>
                    <a:pt x="37" y="7"/>
                  </a:lnTo>
                  <a:lnTo>
                    <a:pt x="37" y="7"/>
                  </a:lnTo>
                  <a:lnTo>
                    <a:pt x="33" y="23"/>
                  </a:lnTo>
                  <a:lnTo>
                    <a:pt x="31" y="28"/>
                  </a:lnTo>
                  <a:lnTo>
                    <a:pt x="33" y="32"/>
                  </a:lnTo>
                  <a:lnTo>
                    <a:pt x="35" y="35"/>
                  </a:lnTo>
                  <a:lnTo>
                    <a:pt x="38" y="39"/>
                  </a:lnTo>
                  <a:lnTo>
                    <a:pt x="47" y="42"/>
                  </a:lnTo>
                  <a:lnTo>
                    <a:pt x="47" y="42"/>
                  </a:lnTo>
                  <a:lnTo>
                    <a:pt x="51" y="46"/>
                  </a:lnTo>
                  <a:lnTo>
                    <a:pt x="52" y="51"/>
                  </a:lnTo>
                  <a:lnTo>
                    <a:pt x="54" y="61"/>
                  </a:lnTo>
                  <a:lnTo>
                    <a:pt x="54" y="74"/>
                  </a:lnTo>
                  <a:lnTo>
                    <a:pt x="56" y="77"/>
                  </a:lnTo>
                  <a:lnTo>
                    <a:pt x="58" y="80"/>
                  </a:lnTo>
                  <a:lnTo>
                    <a:pt x="58" y="80"/>
                  </a:lnTo>
                  <a:lnTo>
                    <a:pt x="59" y="80"/>
                  </a:lnTo>
                  <a:lnTo>
                    <a:pt x="61" y="84"/>
                  </a:lnTo>
                  <a:lnTo>
                    <a:pt x="63" y="93"/>
                  </a:lnTo>
                  <a:lnTo>
                    <a:pt x="63" y="121"/>
                  </a:lnTo>
                  <a:lnTo>
                    <a:pt x="63" y="169"/>
                  </a:lnTo>
                  <a:lnTo>
                    <a:pt x="63" y="169"/>
                  </a:lnTo>
                  <a:lnTo>
                    <a:pt x="61" y="175"/>
                  </a:lnTo>
                  <a:lnTo>
                    <a:pt x="61" y="176"/>
                  </a:lnTo>
                  <a:lnTo>
                    <a:pt x="59" y="176"/>
                  </a:lnTo>
                  <a:lnTo>
                    <a:pt x="59" y="180"/>
                  </a:lnTo>
                  <a:lnTo>
                    <a:pt x="59" y="180"/>
                  </a:lnTo>
                  <a:lnTo>
                    <a:pt x="61" y="187"/>
                  </a:lnTo>
                  <a:lnTo>
                    <a:pt x="63" y="194"/>
                  </a:lnTo>
                  <a:lnTo>
                    <a:pt x="65" y="201"/>
                  </a:lnTo>
                  <a:lnTo>
                    <a:pt x="65" y="208"/>
                  </a:lnTo>
                  <a:lnTo>
                    <a:pt x="65" y="208"/>
                  </a:lnTo>
                  <a:lnTo>
                    <a:pt x="52" y="211"/>
                  </a:lnTo>
                  <a:lnTo>
                    <a:pt x="47" y="215"/>
                  </a:lnTo>
                  <a:lnTo>
                    <a:pt x="47" y="215"/>
                  </a:lnTo>
                  <a:lnTo>
                    <a:pt x="37" y="204"/>
                  </a:lnTo>
                  <a:lnTo>
                    <a:pt x="30" y="195"/>
                  </a:lnTo>
                  <a:lnTo>
                    <a:pt x="26" y="190"/>
                  </a:lnTo>
                  <a:lnTo>
                    <a:pt x="26" y="185"/>
                  </a:lnTo>
                  <a:lnTo>
                    <a:pt x="24" y="178"/>
                  </a:lnTo>
                  <a:lnTo>
                    <a:pt x="26" y="171"/>
                  </a:lnTo>
                  <a:lnTo>
                    <a:pt x="26" y="171"/>
                  </a:lnTo>
                  <a:lnTo>
                    <a:pt x="28" y="164"/>
                  </a:lnTo>
                  <a:lnTo>
                    <a:pt x="26" y="161"/>
                  </a:lnTo>
                  <a:lnTo>
                    <a:pt x="26" y="161"/>
                  </a:lnTo>
                  <a:lnTo>
                    <a:pt x="23" y="161"/>
                  </a:lnTo>
                  <a:lnTo>
                    <a:pt x="23" y="161"/>
                  </a:lnTo>
                  <a:lnTo>
                    <a:pt x="21" y="157"/>
                  </a:lnTo>
                  <a:lnTo>
                    <a:pt x="23" y="150"/>
                  </a:lnTo>
                  <a:lnTo>
                    <a:pt x="26" y="140"/>
                  </a:lnTo>
                  <a:lnTo>
                    <a:pt x="26" y="140"/>
                  </a:lnTo>
                  <a:lnTo>
                    <a:pt x="28" y="127"/>
                  </a:lnTo>
                  <a:lnTo>
                    <a:pt x="30" y="121"/>
                  </a:lnTo>
                  <a:lnTo>
                    <a:pt x="28" y="115"/>
                  </a:lnTo>
                  <a:lnTo>
                    <a:pt x="26" y="112"/>
                  </a:lnTo>
                  <a:lnTo>
                    <a:pt x="23" y="108"/>
                  </a:lnTo>
                  <a:lnTo>
                    <a:pt x="21" y="105"/>
                  </a:lnTo>
                  <a:lnTo>
                    <a:pt x="21" y="100"/>
                  </a:lnTo>
                  <a:lnTo>
                    <a:pt x="21" y="89"/>
                  </a:lnTo>
                  <a:lnTo>
                    <a:pt x="21" y="89"/>
                  </a:lnTo>
                  <a:lnTo>
                    <a:pt x="23" y="80"/>
                  </a:lnTo>
                  <a:lnTo>
                    <a:pt x="21" y="75"/>
                  </a:lnTo>
                  <a:lnTo>
                    <a:pt x="21" y="74"/>
                  </a:lnTo>
                  <a:lnTo>
                    <a:pt x="19" y="74"/>
                  </a:lnTo>
                  <a:lnTo>
                    <a:pt x="18" y="74"/>
                  </a:lnTo>
                  <a:lnTo>
                    <a:pt x="16" y="72"/>
                  </a:lnTo>
                  <a:lnTo>
                    <a:pt x="16" y="67"/>
                  </a:lnTo>
                  <a:lnTo>
                    <a:pt x="16" y="56"/>
                  </a:lnTo>
                  <a:lnTo>
                    <a:pt x="16" y="56"/>
                  </a:lnTo>
                  <a:lnTo>
                    <a:pt x="18" y="46"/>
                  </a:lnTo>
                  <a:lnTo>
                    <a:pt x="16" y="37"/>
                  </a:lnTo>
                  <a:lnTo>
                    <a:pt x="14" y="32"/>
                  </a:lnTo>
                  <a:lnTo>
                    <a:pt x="11" y="28"/>
                  </a:lnTo>
                  <a:lnTo>
                    <a:pt x="5" y="25"/>
                  </a:lnTo>
                  <a:lnTo>
                    <a:pt x="4" y="20"/>
                  </a:lnTo>
                  <a:lnTo>
                    <a:pt x="0" y="11"/>
                  </a:lnTo>
                  <a:lnTo>
                    <a:pt x="0" y="0"/>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8" name="Freeform 2031">
              <a:extLst>
                <a:ext uri="{FF2B5EF4-FFF2-40B4-BE49-F238E27FC236}">
                  <a16:creationId xmlns:a16="http://schemas.microsoft.com/office/drawing/2014/main" id="{BE54880F-C1F6-4B2E-A6A4-B76CEBF6AD27}"/>
                </a:ext>
              </a:extLst>
            </p:cNvPr>
            <p:cNvSpPr>
              <a:spLocks/>
            </p:cNvSpPr>
            <p:nvPr/>
          </p:nvSpPr>
          <p:spPr bwMode="auto">
            <a:xfrm>
              <a:off x="4399050" y="4224575"/>
              <a:ext cx="114530" cy="142722"/>
            </a:xfrm>
            <a:custGeom>
              <a:avLst/>
              <a:gdLst/>
              <a:ahLst/>
              <a:cxnLst>
                <a:cxn ang="0">
                  <a:pos x="44" y="2"/>
                </a:cxn>
                <a:cxn ang="0">
                  <a:pos x="61" y="0"/>
                </a:cxn>
                <a:cxn ang="0">
                  <a:pos x="70" y="3"/>
                </a:cxn>
                <a:cxn ang="0">
                  <a:pos x="72" y="10"/>
                </a:cxn>
                <a:cxn ang="0">
                  <a:pos x="70" y="17"/>
                </a:cxn>
                <a:cxn ang="0">
                  <a:pos x="73" y="31"/>
                </a:cxn>
                <a:cxn ang="0">
                  <a:pos x="73" y="42"/>
                </a:cxn>
                <a:cxn ang="0">
                  <a:pos x="75" y="49"/>
                </a:cxn>
                <a:cxn ang="0">
                  <a:pos x="80" y="50"/>
                </a:cxn>
                <a:cxn ang="0">
                  <a:pos x="82" y="54"/>
                </a:cxn>
                <a:cxn ang="0">
                  <a:pos x="89" y="56"/>
                </a:cxn>
                <a:cxn ang="0">
                  <a:pos x="94" y="47"/>
                </a:cxn>
                <a:cxn ang="0">
                  <a:pos x="103" y="36"/>
                </a:cxn>
                <a:cxn ang="0">
                  <a:pos x="105" y="36"/>
                </a:cxn>
                <a:cxn ang="0">
                  <a:pos x="112" y="59"/>
                </a:cxn>
                <a:cxn ang="0">
                  <a:pos x="110" y="73"/>
                </a:cxn>
                <a:cxn ang="0">
                  <a:pos x="105" y="80"/>
                </a:cxn>
                <a:cxn ang="0">
                  <a:pos x="105" y="87"/>
                </a:cxn>
                <a:cxn ang="0">
                  <a:pos x="124" y="94"/>
                </a:cxn>
                <a:cxn ang="0">
                  <a:pos x="131" y="101"/>
                </a:cxn>
                <a:cxn ang="0">
                  <a:pos x="133" y="106"/>
                </a:cxn>
                <a:cxn ang="0">
                  <a:pos x="140" y="110"/>
                </a:cxn>
                <a:cxn ang="0">
                  <a:pos x="143" y="113"/>
                </a:cxn>
                <a:cxn ang="0">
                  <a:pos x="145" y="122"/>
                </a:cxn>
                <a:cxn ang="0">
                  <a:pos x="141" y="148"/>
                </a:cxn>
                <a:cxn ang="0">
                  <a:pos x="141" y="177"/>
                </a:cxn>
                <a:cxn ang="0">
                  <a:pos x="134" y="177"/>
                </a:cxn>
                <a:cxn ang="0">
                  <a:pos x="129" y="172"/>
                </a:cxn>
                <a:cxn ang="0">
                  <a:pos x="121" y="169"/>
                </a:cxn>
                <a:cxn ang="0">
                  <a:pos x="93" y="153"/>
                </a:cxn>
                <a:cxn ang="0">
                  <a:pos x="60" y="122"/>
                </a:cxn>
                <a:cxn ang="0">
                  <a:pos x="53" y="113"/>
                </a:cxn>
                <a:cxn ang="0">
                  <a:pos x="35" y="101"/>
                </a:cxn>
                <a:cxn ang="0">
                  <a:pos x="28" y="96"/>
                </a:cxn>
                <a:cxn ang="0">
                  <a:pos x="26" y="92"/>
                </a:cxn>
                <a:cxn ang="0">
                  <a:pos x="23" y="87"/>
                </a:cxn>
                <a:cxn ang="0">
                  <a:pos x="9" y="76"/>
                </a:cxn>
                <a:cxn ang="0">
                  <a:pos x="0" y="68"/>
                </a:cxn>
                <a:cxn ang="0">
                  <a:pos x="16" y="47"/>
                </a:cxn>
                <a:cxn ang="0">
                  <a:pos x="32" y="31"/>
                </a:cxn>
                <a:cxn ang="0">
                  <a:pos x="33" y="24"/>
                </a:cxn>
                <a:cxn ang="0">
                  <a:pos x="33" y="21"/>
                </a:cxn>
                <a:cxn ang="0">
                  <a:pos x="39" y="17"/>
                </a:cxn>
                <a:cxn ang="0">
                  <a:pos x="44" y="12"/>
                </a:cxn>
                <a:cxn ang="0">
                  <a:pos x="44" y="2"/>
                </a:cxn>
              </a:cxnLst>
              <a:rect l="0" t="0" r="r" b="b"/>
              <a:pathLst>
                <a:path w="145" h="177">
                  <a:moveTo>
                    <a:pt x="44" y="2"/>
                  </a:moveTo>
                  <a:lnTo>
                    <a:pt x="44" y="2"/>
                  </a:lnTo>
                  <a:lnTo>
                    <a:pt x="53" y="0"/>
                  </a:lnTo>
                  <a:lnTo>
                    <a:pt x="61" y="0"/>
                  </a:lnTo>
                  <a:lnTo>
                    <a:pt x="67" y="2"/>
                  </a:lnTo>
                  <a:lnTo>
                    <a:pt x="70" y="3"/>
                  </a:lnTo>
                  <a:lnTo>
                    <a:pt x="72" y="7"/>
                  </a:lnTo>
                  <a:lnTo>
                    <a:pt x="72" y="10"/>
                  </a:lnTo>
                  <a:lnTo>
                    <a:pt x="72" y="10"/>
                  </a:lnTo>
                  <a:lnTo>
                    <a:pt x="70" y="17"/>
                  </a:lnTo>
                  <a:lnTo>
                    <a:pt x="72" y="24"/>
                  </a:lnTo>
                  <a:lnTo>
                    <a:pt x="73" y="31"/>
                  </a:lnTo>
                  <a:lnTo>
                    <a:pt x="73" y="42"/>
                  </a:lnTo>
                  <a:lnTo>
                    <a:pt x="73" y="42"/>
                  </a:lnTo>
                  <a:lnTo>
                    <a:pt x="73" y="47"/>
                  </a:lnTo>
                  <a:lnTo>
                    <a:pt x="75" y="49"/>
                  </a:lnTo>
                  <a:lnTo>
                    <a:pt x="79" y="49"/>
                  </a:lnTo>
                  <a:lnTo>
                    <a:pt x="80" y="50"/>
                  </a:lnTo>
                  <a:lnTo>
                    <a:pt x="82" y="54"/>
                  </a:lnTo>
                  <a:lnTo>
                    <a:pt x="82" y="54"/>
                  </a:lnTo>
                  <a:lnTo>
                    <a:pt x="86" y="56"/>
                  </a:lnTo>
                  <a:lnTo>
                    <a:pt x="89" y="56"/>
                  </a:lnTo>
                  <a:lnTo>
                    <a:pt x="93" y="52"/>
                  </a:lnTo>
                  <a:lnTo>
                    <a:pt x="94" y="47"/>
                  </a:lnTo>
                  <a:lnTo>
                    <a:pt x="100" y="38"/>
                  </a:lnTo>
                  <a:lnTo>
                    <a:pt x="103" y="36"/>
                  </a:lnTo>
                  <a:lnTo>
                    <a:pt x="105" y="36"/>
                  </a:lnTo>
                  <a:lnTo>
                    <a:pt x="105" y="36"/>
                  </a:lnTo>
                  <a:lnTo>
                    <a:pt x="112" y="52"/>
                  </a:lnTo>
                  <a:lnTo>
                    <a:pt x="112" y="59"/>
                  </a:lnTo>
                  <a:lnTo>
                    <a:pt x="112" y="64"/>
                  </a:lnTo>
                  <a:lnTo>
                    <a:pt x="110" y="73"/>
                  </a:lnTo>
                  <a:lnTo>
                    <a:pt x="105" y="80"/>
                  </a:lnTo>
                  <a:lnTo>
                    <a:pt x="105" y="80"/>
                  </a:lnTo>
                  <a:lnTo>
                    <a:pt x="103" y="83"/>
                  </a:lnTo>
                  <a:lnTo>
                    <a:pt x="105" y="87"/>
                  </a:lnTo>
                  <a:lnTo>
                    <a:pt x="114" y="90"/>
                  </a:lnTo>
                  <a:lnTo>
                    <a:pt x="124" y="94"/>
                  </a:lnTo>
                  <a:lnTo>
                    <a:pt x="129" y="97"/>
                  </a:lnTo>
                  <a:lnTo>
                    <a:pt x="131" y="101"/>
                  </a:lnTo>
                  <a:lnTo>
                    <a:pt x="131" y="101"/>
                  </a:lnTo>
                  <a:lnTo>
                    <a:pt x="133" y="106"/>
                  </a:lnTo>
                  <a:lnTo>
                    <a:pt x="134" y="108"/>
                  </a:lnTo>
                  <a:lnTo>
                    <a:pt x="140" y="110"/>
                  </a:lnTo>
                  <a:lnTo>
                    <a:pt x="141" y="111"/>
                  </a:lnTo>
                  <a:lnTo>
                    <a:pt x="143" y="113"/>
                  </a:lnTo>
                  <a:lnTo>
                    <a:pt x="145" y="116"/>
                  </a:lnTo>
                  <a:lnTo>
                    <a:pt x="145" y="122"/>
                  </a:lnTo>
                  <a:lnTo>
                    <a:pt x="145" y="122"/>
                  </a:lnTo>
                  <a:lnTo>
                    <a:pt x="141" y="148"/>
                  </a:lnTo>
                  <a:lnTo>
                    <a:pt x="140" y="163"/>
                  </a:lnTo>
                  <a:lnTo>
                    <a:pt x="141" y="177"/>
                  </a:lnTo>
                  <a:lnTo>
                    <a:pt x="141" y="177"/>
                  </a:lnTo>
                  <a:lnTo>
                    <a:pt x="134" y="177"/>
                  </a:lnTo>
                  <a:lnTo>
                    <a:pt x="131" y="176"/>
                  </a:lnTo>
                  <a:lnTo>
                    <a:pt x="129" y="172"/>
                  </a:lnTo>
                  <a:lnTo>
                    <a:pt x="121" y="169"/>
                  </a:lnTo>
                  <a:lnTo>
                    <a:pt x="121" y="169"/>
                  </a:lnTo>
                  <a:lnTo>
                    <a:pt x="107" y="163"/>
                  </a:lnTo>
                  <a:lnTo>
                    <a:pt x="93" y="153"/>
                  </a:lnTo>
                  <a:lnTo>
                    <a:pt x="75" y="139"/>
                  </a:lnTo>
                  <a:lnTo>
                    <a:pt x="60" y="122"/>
                  </a:lnTo>
                  <a:lnTo>
                    <a:pt x="60" y="122"/>
                  </a:lnTo>
                  <a:lnTo>
                    <a:pt x="53" y="113"/>
                  </a:lnTo>
                  <a:lnTo>
                    <a:pt x="46" y="106"/>
                  </a:lnTo>
                  <a:lnTo>
                    <a:pt x="35" y="101"/>
                  </a:lnTo>
                  <a:lnTo>
                    <a:pt x="30" y="97"/>
                  </a:lnTo>
                  <a:lnTo>
                    <a:pt x="28" y="96"/>
                  </a:lnTo>
                  <a:lnTo>
                    <a:pt x="26" y="92"/>
                  </a:lnTo>
                  <a:lnTo>
                    <a:pt x="26" y="92"/>
                  </a:lnTo>
                  <a:lnTo>
                    <a:pt x="26" y="89"/>
                  </a:lnTo>
                  <a:lnTo>
                    <a:pt x="23" y="87"/>
                  </a:lnTo>
                  <a:lnTo>
                    <a:pt x="16" y="83"/>
                  </a:lnTo>
                  <a:lnTo>
                    <a:pt x="9" y="76"/>
                  </a:lnTo>
                  <a:lnTo>
                    <a:pt x="4" y="73"/>
                  </a:lnTo>
                  <a:lnTo>
                    <a:pt x="0" y="68"/>
                  </a:lnTo>
                  <a:lnTo>
                    <a:pt x="0" y="68"/>
                  </a:lnTo>
                  <a:lnTo>
                    <a:pt x="16" y="47"/>
                  </a:lnTo>
                  <a:lnTo>
                    <a:pt x="25" y="38"/>
                  </a:lnTo>
                  <a:lnTo>
                    <a:pt x="32" y="31"/>
                  </a:lnTo>
                  <a:lnTo>
                    <a:pt x="32" y="29"/>
                  </a:lnTo>
                  <a:lnTo>
                    <a:pt x="33" y="24"/>
                  </a:lnTo>
                  <a:lnTo>
                    <a:pt x="33" y="24"/>
                  </a:lnTo>
                  <a:lnTo>
                    <a:pt x="33" y="21"/>
                  </a:lnTo>
                  <a:lnTo>
                    <a:pt x="35" y="19"/>
                  </a:lnTo>
                  <a:lnTo>
                    <a:pt x="39" y="17"/>
                  </a:lnTo>
                  <a:lnTo>
                    <a:pt x="42" y="15"/>
                  </a:lnTo>
                  <a:lnTo>
                    <a:pt x="44" y="12"/>
                  </a:lnTo>
                  <a:lnTo>
                    <a:pt x="44" y="9"/>
                  </a:lnTo>
                  <a:lnTo>
                    <a:pt x="44" y="2"/>
                  </a:lnTo>
                  <a:lnTo>
                    <a:pt x="4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9" name="Freeform 2032">
              <a:extLst>
                <a:ext uri="{FF2B5EF4-FFF2-40B4-BE49-F238E27FC236}">
                  <a16:creationId xmlns:a16="http://schemas.microsoft.com/office/drawing/2014/main" id="{DF005B56-4C70-4B4F-A79C-DDB07246E023}"/>
                </a:ext>
              </a:extLst>
            </p:cNvPr>
            <p:cNvSpPr>
              <a:spLocks/>
            </p:cNvSpPr>
            <p:nvPr/>
          </p:nvSpPr>
          <p:spPr bwMode="auto">
            <a:xfrm>
              <a:off x="4349714" y="4173477"/>
              <a:ext cx="84576" cy="105721"/>
            </a:xfrm>
            <a:custGeom>
              <a:avLst/>
              <a:gdLst/>
              <a:ahLst/>
              <a:cxnLst>
                <a:cxn ang="0">
                  <a:pos x="62" y="133"/>
                </a:cxn>
                <a:cxn ang="0">
                  <a:pos x="87" y="103"/>
                </a:cxn>
                <a:cxn ang="0">
                  <a:pos x="94" y="94"/>
                </a:cxn>
                <a:cxn ang="0">
                  <a:pos x="95" y="89"/>
                </a:cxn>
                <a:cxn ang="0">
                  <a:pos x="97" y="84"/>
                </a:cxn>
                <a:cxn ang="0">
                  <a:pos x="104" y="80"/>
                </a:cxn>
                <a:cxn ang="0">
                  <a:pos x="106" y="74"/>
                </a:cxn>
                <a:cxn ang="0">
                  <a:pos x="106" y="67"/>
                </a:cxn>
                <a:cxn ang="0">
                  <a:pos x="95" y="74"/>
                </a:cxn>
                <a:cxn ang="0">
                  <a:pos x="95" y="68"/>
                </a:cxn>
                <a:cxn ang="0">
                  <a:pos x="97" y="54"/>
                </a:cxn>
                <a:cxn ang="0">
                  <a:pos x="95" y="49"/>
                </a:cxn>
                <a:cxn ang="0">
                  <a:pos x="92" y="35"/>
                </a:cxn>
                <a:cxn ang="0">
                  <a:pos x="92" y="30"/>
                </a:cxn>
                <a:cxn ang="0">
                  <a:pos x="87" y="23"/>
                </a:cxn>
                <a:cxn ang="0">
                  <a:pos x="80" y="13"/>
                </a:cxn>
                <a:cxn ang="0">
                  <a:pos x="73" y="4"/>
                </a:cxn>
                <a:cxn ang="0">
                  <a:pos x="61" y="0"/>
                </a:cxn>
                <a:cxn ang="0">
                  <a:pos x="47" y="4"/>
                </a:cxn>
                <a:cxn ang="0">
                  <a:pos x="45" y="6"/>
                </a:cxn>
                <a:cxn ang="0">
                  <a:pos x="43" y="7"/>
                </a:cxn>
                <a:cxn ang="0">
                  <a:pos x="34" y="4"/>
                </a:cxn>
                <a:cxn ang="0">
                  <a:pos x="29" y="7"/>
                </a:cxn>
                <a:cxn ang="0">
                  <a:pos x="28" y="13"/>
                </a:cxn>
                <a:cxn ang="0">
                  <a:pos x="15" y="32"/>
                </a:cxn>
                <a:cxn ang="0">
                  <a:pos x="0" y="44"/>
                </a:cxn>
                <a:cxn ang="0">
                  <a:pos x="5" y="49"/>
                </a:cxn>
                <a:cxn ang="0">
                  <a:pos x="5" y="51"/>
                </a:cxn>
                <a:cxn ang="0">
                  <a:pos x="1" y="54"/>
                </a:cxn>
                <a:cxn ang="0">
                  <a:pos x="1" y="56"/>
                </a:cxn>
                <a:cxn ang="0">
                  <a:pos x="5" y="61"/>
                </a:cxn>
                <a:cxn ang="0">
                  <a:pos x="14" y="63"/>
                </a:cxn>
                <a:cxn ang="0">
                  <a:pos x="10" y="67"/>
                </a:cxn>
                <a:cxn ang="0">
                  <a:pos x="3" y="67"/>
                </a:cxn>
                <a:cxn ang="0">
                  <a:pos x="0" y="70"/>
                </a:cxn>
                <a:cxn ang="0">
                  <a:pos x="5" y="77"/>
                </a:cxn>
                <a:cxn ang="0">
                  <a:pos x="10" y="79"/>
                </a:cxn>
                <a:cxn ang="0">
                  <a:pos x="14" y="82"/>
                </a:cxn>
                <a:cxn ang="0">
                  <a:pos x="12" y="89"/>
                </a:cxn>
                <a:cxn ang="0">
                  <a:pos x="10" y="93"/>
                </a:cxn>
                <a:cxn ang="0">
                  <a:pos x="14" y="94"/>
                </a:cxn>
                <a:cxn ang="0">
                  <a:pos x="24" y="100"/>
                </a:cxn>
                <a:cxn ang="0">
                  <a:pos x="28" y="103"/>
                </a:cxn>
                <a:cxn ang="0">
                  <a:pos x="29" y="107"/>
                </a:cxn>
                <a:cxn ang="0">
                  <a:pos x="28" y="110"/>
                </a:cxn>
                <a:cxn ang="0">
                  <a:pos x="33" y="115"/>
                </a:cxn>
                <a:cxn ang="0">
                  <a:pos x="50" y="122"/>
                </a:cxn>
                <a:cxn ang="0">
                  <a:pos x="62" y="133"/>
                </a:cxn>
              </a:cxnLst>
              <a:rect l="0" t="0" r="r" b="b"/>
              <a:pathLst>
                <a:path w="106" h="133">
                  <a:moveTo>
                    <a:pt x="62" y="133"/>
                  </a:moveTo>
                  <a:lnTo>
                    <a:pt x="62" y="133"/>
                  </a:lnTo>
                  <a:lnTo>
                    <a:pt x="78" y="112"/>
                  </a:lnTo>
                  <a:lnTo>
                    <a:pt x="87" y="103"/>
                  </a:lnTo>
                  <a:lnTo>
                    <a:pt x="94" y="96"/>
                  </a:lnTo>
                  <a:lnTo>
                    <a:pt x="94" y="94"/>
                  </a:lnTo>
                  <a:lnTo>
                    <a:pt x="95" y="89"/>
                  </a:lnTo>
                  <a:lnTo>
                    <a:pt x="95" y="89"/>
                  </a:lnTo>
                  <a:lnTo>
                    <a:pt x="95" y="86"/>
                  </a:lnTo>
                  <a:lnTo>
                    <a:pt x="97" y="84"/>
                  </a:lnTo>
                  <a:lnTo>
                    <a:pt x="101" y="82"/>
                  </a:lnTo>
                  <a:lnTo>
                    <a:pt x="104" y="80"/>
                  </a:lnTo>
                  <a:lnTo>
                    <a:pt x="106" y="77"/>
                  </a:lnTo>
                  <a:lnTo>
                    <a:pt x="106" y="74"/>
                  </a:lnTo>
                  <a:lnTo>
                    <a:pt x="106" y="67"/>
                  </a:lnTo>
                  <a:lnTo>
                    <a:pt x="106" y="67"/>
                  </a:lnTo>
                  <a:lnTo>
                    <a:pt x="99" y="72"/>
                  </a:lnTo>
                  <a:lnTo>
                    <a:pt x="95" y="74"/>
                  </a:lnTo>
                  <a:lnTo>
                    <a:pt x="94" y="72"/>
                  </a:lnTo>
                  <a:lnTo>
                    <a:pt x="95" y="68"/>
                  </a:lnTo>
                  <a:lnTo>
                    <a:pt x="97" y="60"/>
                  </a:lnTo>
                  <a:lnTo>
                    <a:pt x="97" y="54"/>
                  </a:lnTo>
                  <a:lnTo>
                    <a:pt x="95" y="49"/>
                  </a:lnTo>
                  <a:lnTo>
                    <a:pt x="95" y="49"/>
                  </a:lnTo>
                  <a:lnTo>
                    <a:pt x="90" y="40"/>
                  </a:lnTo>
                  <a:lnTo>
                    <a:pt x="92" y="35"/>
                  </a:lnTo>
                  <a:lnTo>
                    <a:pt x="92" y="35"/>
                  </a:lnTo>
                  <a:lnTo>
                    <a:pt x="92" y="30"/>
                  </a:lnTo>
                  <a:lnTo>
                    <a:pt x="90" y="28"/>
                  </a:lnTo>
                  <a:lnTo>
                    <a:pt x="87" y="23"/>
                  </a:lnTo>
                  <a:lnTo>
                    <a:pt x="80" y="13"/>
                  </a:lnTo>
                  <a:lnTo>
                    <a:pt x="80" y="13"/>
                  </a:lnTo>
                  <a:lnTo>
                    <a:pt x="78" y="7"/>
                  </a:lnTo>
                  <a:lnTo>
                    <a:pt x="73" y="4"/>
                  </a:lnTo>
                  <a:lnTo>
                    <a:pt x="68" y="2"/>
                  </a:lnTo>
                  <a:lnTo>
                    <a:pt x="61" y="0"/>
                  </a:lnTo>
                  <a:lnTo>
                    <a:pt x="50" y="2"/>
                  </a:lnTo>
                  <a:lnTo>
                    <a:pt x="47" y="4"/>
                  </a:lnTo>
                  <a:lnTo>
                    <a:pt x="45" y="6"/>
                  </a:lnTo>
                  <a:lnTo>
                    <a:pt x="45" y="6"/>
                  </a:lnTo>
                  <a:lnTo>
                    <a:pt x="45" y="7"/>
                  </a:lnTo>
                  <a:lnTo>
                    <a:pt x="43" y="7"/>
                  </a:lnTo>
                  <a:lnTo>
                    <a:pt x="38" y="6"/>
                  </a:lnTo>
                  <a:lnTo>
                    <a:pt x="34" y="4"/>
                  </a:lnTo>
                  <a:lnTo>
                    <a:pt x="31" y="6"/>
                  </a:lnTo>
                  <a:lnTo>
                    <a:pt x="29" y="7"/>
                  </a:lnTo>
                  <a:lnTo>
                    <a:pt x="28" y="13"/>
                  </a:lnTo>
                  <a:lnTo>
                    <a:pt x="28" y="13"/>
                  </a:lnTo>
                  <a:lnTo>
                    <a:pt x="22" y="23"/>
                  </a:lnTo>
                  <a:lnTo>
                    <a:pt x="15" y="32"/>
                  </a:lnTo>
                  <a:lnTo>
                    <a:pt x="8" y="39"/>
                  </a:lnTo>
                  <a:lnTo>
                    <a:pt x="0" y="44"/>
                  </a:lnTo>
                  <a:lnTo>
                    <a:pt x="0" y="44"/>
                  </a:lnTo>
                  <a:lnTo>
                    <a:pt x="5" y="49"/>
                  </a:lnTo>
                  <a:lnTo>
                    <a:pt x="5" y="49"/>
                  </a:lnTo>
                  <a:lnTo>
                    <a:pt x="5" y="51"/>
                  </a:lnTo>
                  <a:lnTo>
                    <a:pt x="1" y="53"/>
                  </a:lnTo>
                  <a:lnTo>
                    <a:pt x="1" y="54"/>
                  </a:lnTo>
                  <a:lnTo>
                    <a:pt x="1" y="56"/>
                  </a:lnTo>
                  <a:lnTo>
                    <a:pt x="1" y="56"/>
                  </a:lnTo>
                  <a:lnTo>
                    <a:pt x="3" y="61"/>
                  </a:lnTo>
                  <a:lnTo>
                    <a:pt x="5" y="61"/>
                  </a:lnTo>
                  <a:lnTo>
                    <a:pt x="8" y="61"/>
                  </a:lnTo>
                  <a:lnTo>
                    <a:pt x="14" y="63"/>
                  </a:lnTo>
                  <a:lnTo>
                    <a:pt x="14" y="63"/>
                  </a:lnTo>
                  <a:lnTo>
                    <a:pt x="10" y="67"/>
                  </a:lnTo>
                  <a:lnTo>
                    <a:pt x="7" y="67"/>
                  </a:lnTo>
                  <a:lnTo>
                    <a:pt x="3" y="67"/>
                  </a:lnTo>
                  <a:lnTo>
                    <a:pt x="0" y="67"/>
                  </a:lnTo>
                  <a:lnTo>
                    <a:pt x="0" y="70"/>
                  </a:lnTo>
                  <a:lnTo>
                    <a:pt x="0" y="70"/>
                  </a:lnTo>
                  <a:lnTo>
                    <a:pt x="5" y="77"/>
                  </a:lnTo>
                  <a:lnTo>
                    <a:pt x="8" y="79"/>
                  </a:lnTo>
                  <a:lnTo>
                    <a:pt x="10" y="79"/>
                  </a:lnTo>
                  <a:lnTo>
                    <a:pt x="14" y="82"/>
                  </a:lnTo>
                  <a:lnTo>
                    <a:pt x="14" y="82"/>
                  </a:lnTo>
                  <a:lnTo>
                    <a:pt x="14" y="87"/>
                  </a:lnTo>
                  <a:lnTo>
                    <a:pt x="12" y="89"/>
                  </a:lnTo>
                  <a:lnTo>
                    <a:pt x="10" y="89"/>
                  </a:lnTo>
                  <a:lnTo>
                    <a:pt x="10" y="93"/>
                  </a:lnTo>
                  <a:lnTo>
                    <a:pt x="10" y="93"/>
                  </a:lnTo>
                  <a:lnTo>
                    <a:pt x="14" y="94"/>
                  </a:lnTo>
                  <a:lnTo>
                    <a:pt x="19" y="96"/>
                  </a:lnTo>
                  <a:lnTo>
                    <a:pt x="24" y="100"/>
                  </a:lnTo>
                  <a:lnTo>
                    <a:pt x="28" y="103"/>
                  </a:lnTo>
                  <a:lnTo>
                    <a:pt x="28" y="103"/>
                  </a:lnTo>
                  <a:lnTo>
                    <a:pt x="29" y="105"/>
                  </a:lnTo>
                  <a:lnTo>
                    <a:pt x="29" y="107"/>
                  </a:lnTo>
                  <a:lnTo>
                    <a:pt x="28" y="110"/>
                  </a:lnTo>
                  <a:lnTo>
                    <a:pt x="28" y="110"/>
                  </a:lnTo>
                  <a:lnTo>
                    <a:pt x="28" y="112"/>
                  </a:lnTo>
                  <a:lnTo>
                    <a:pt x="33" y="115"/>
                  </a:lnTo>
                  <a:lnTo>
                    <a:pt x="33" y="115"/>
                  </a:lnTo>
                  <a:lnTo>
                    <a:pt x="50" y="122"/>
                  </a:lnTo>
                  <a:lnTo>
                    <a:pt x="57" y="128"/>
                  </a:lnTo>
                  <a:lnTo>
                    <a:pt x="62" y="133"/>
                  </a:lnTo>
                  <a:lnTo>
                    <a:pt x="62" y="1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0" name="Freeform 2033">
              <a:extLst>
                <a:ext uri="{FF2B5EF4-FFF2-40B4-BE49-F238E27FC236}">
                  <a16:creationId xmlns:a16="http://schemas.microsoft.com/office/drawing/2014/main" id="{5ADD7D16-A1B8-4D09-B2E3-E7198E171699}"/>
                </a:ext>
              </a:extLst>
            </p:cNvPr>
            <p:cNvSpPr>
              <a:spLocks/>
            </p:cNvSpPr>
            <p:nvPr/>
          </p:nvSpPr>
          <p:spPr bwMode="auto">
            <a:xfrm>
              <a:off x="4256327" y="4083617"/>
              <a:ext cx="82814" cy="59909"/>
            </a:xfrm>
            <a:custGeom>
              <a:avLst/>
              <a:gdLst/>
              <a:ahLst/>
              <a:cxnLst>
                <a:cxn ang="0">
                  <a:pos x="54" y="75"/>
                </a:cxn>
                <a:cxn ang="0">
                  <a:pos x="66" y="52"/>
                </a:cxn>
                <a:cxn ang="0">
                  <a:pos x="73" y="49"/>
                </a:cxn>
                <a:cxn ang="0">
                  <a:pos x="76" y="47"/>
                </a:cxn>
                <a:cxn ang="0">
                  <a:pos x="78" y="44"/>
                </a:cxn>
                <a:cxn ang="0">
                  <a:pos x="85" y="44"/>
                </a:cxn>
                <a:cxn ang="0">
                  <a:pos x="92" y="46"/>
                </a:cxn>
                <a:cxn ang="0">
                  <a:pos x="96" y="46"/>
                </a:cxn>
                <a:cxn ang="0">
                  <a:pos x="101" y="40"/>
                </a:cxn>
                <a:cxn ang="0">
                  <a:pos x="101" y="30"/>
                </a:cxn>
                <a:cxn ang="0">
                  <a:pos x="96" y="25"/>
                </a:cxn>
                <a:cxn ang="0">
                  <a:pos x="94" y="21"/>
                </a:cxn>
                <a:cxn ang="0">
                  <a:pos x="101" y="16"/>
                </a:cxn>
                <a:cxn ang="0">
                  <a:pos x="102" y="7"/>
                </a:cxn>
                <a:cxn ang="0">
                  <a:pos x="101" y="0"/>
                </a:cxn>
                <a:cxn ang="0">
                  <a:pos x="59" y="0"/>
                </a:cxn>
                <a:cxn ang="0">
                  <a:pos x="47" y="0"/>
                </a:cxn>
                <a:cxn ang="0">
                  <a:pos x="40" y="4"/>
                </a:cxn>
                <a:cxn ang="0">
                  <a:pos x="43" y="5"/>
                </a:cxn>
                <a:cxn ang="0">
                  <a:pos x="40" y="9"/>
                </a:cxn>
                <a:cxn ang="0">
                  <a:pos x="29" y="11"/>
                </a:cxn>
                <a:cxn ang="0">
                  <a:pos x="8" y="12"/>
                </a:cxn>
                <a:cxn ang="0">
                  <a:pos x="0" y="18"/>
                </a:cxn>
                <a:cxn ang="0">
                  <a:pos x="1" y="19"/>
                </a:cxn>
                <a:cxn ang="0">
                  <a:pos x="8" y="19"/>
                </a:cxn>
                <a:cxn ang="0">
                  <a:pos x="10" y="25"/>
                </a:cxn>
                <a:cxn ang="0">
                  <a:pos x="8" y="30"/>
                </a:cxn>
                <a:cxn ang="0">
                  <a:pos x="10" y="33"/>
                </a:cxn>
                <a:cxn ang="0">
                  <a:pos x="19" y="32"/>
                </a:cxn>
                <a:cxn ang="0">
                  <a:pos x="22" y="32"/>
                </a:cxn>
                <a:cxn ang="0">
                  <a:pos x="22" y="39"/>
                </a:cxn>
                <a:cxn ang="0">
                  <a:pos x="24" y="44"/>
                </a:cxn>
                <a:cxn ang="0">
                  <a:pos x="28" y="40"/>
                </a:cxn>
                <a:cxn ang="0">
                  <a:pos x="42" y="33"/>
                </a:cxn>
                <a:cxn ang="0">
                  <a:pos x="43" y="33"/>
                </a:cxn>
                <a:cxn ang="0">
                  <a:pos x="40" y="37"/>
                </a:cxn>
                <a:cxn ang="0">
                  <a:pos x="36" y="40"/>
                </a:cxn>
                <a:cxn ang="0">
                  <a:pos x="40" y="49"/>
                </a:cxn>
                <a:cxn ang="0">
                  <a:pos x="38" y="52"/>
                </a:cxn>
                <a:cxn ang="0">
                  <a:pos x="38" y="56"/>
                </a:cxn>
                <a:cxn ang="0">
                  <a:pos x="40" y="58"/>
                </a:cxn>
                <a:cxn ang="0">
                  <a:pos x="42" y="61"/>
                </a:cxn>
                <a:cxn ang="0">
                  <a:pos x="43" y="65"/>
                </a:cxn>
                <a:cxn ang="0">
                  <a:pos x="47" y="70"/>
                </a:cxn>
                <a:cxn ang="0">
                  <a:pos x="47" y="72"/>
                </a:cxn>
                <a:cxn ang="0">
                  <a:pos x="54" y="65"/>
                </a:cxn>
                <a:cxn ang="0">
                  <a:pos x="52" y="72"/>
                </a:cxn>
                <a:cxn ang="0">
                  <a:pos x="54" y="75"/>
                </a:cxn>
              </a:cxnLst>
              <a:rect l="0" t="0" r="r" b="b"/>
              <a:pathLst>
                <a:path w="102" h="75">
                  <a:moveTo>
                    <a:pt x="54" y="75"/>
                  </a:moveTo>
                  <a:lnTo>
                    <a:pt x="54" y="75"/>
                  </a:lnTo>
                  <a:lnTo>
                    <a:pt x="62" y="56"/>
                  </a:lnTo>
                  <a:lnTo>
                    <a:pt x="66" y="52"/>
                  </a:lnTo>
                  <a:lnTo>
                    <a:pt x="68" y="51"/>
                  </a:lnTo>
                  <a:lnTo>
                    <a:pt x="73" y="49"/>
                  </a:lnTo>
                  <a:lnTo>
                    <a:pt x="75" y="49"/>
                  </a:lnTo>
                  <a:lnTo>
                    <a:pt x="76" y="47"/>
                  </a:lnTo>
                  <a:lnTo>
                    <a:pt x="76" y="47"/>
                  </a:lnTo>
                  <a:lnTo>
                    <a:pt x="78" y="44"/>
                  </a:lnTo>
                  <a:lnTo>
                    <a:pt x="82" y="44"/>
                  </a:lnTo>
                  <a:lnTo>
                    <a:pt x="85" y="44"/>
                  </a:lnTo>
                  <a:lnTo>
                    <a:pt x="89" y="46"/>
                  </a:lnTo>
                  <a:lnTo>
                    <a:pt x="92" y="46"/>
                  </a:lnTo>
                  <a:lnTo>
                    <a:pt x="96" y="46"/>
                  </a:lnTo>
                  <a:lnTo>
                    <a:pt x="96" y="46"/>
                  </a:lnTo>
                  <a:lnTo>
                    <a:pt x="99" y="44"/>
                  </a:lnTo>
                  <a:lnTo>
                    <a:pt x="101" y="40"/>
                  </a:lnTo>
                  <a:lnTo>
                    <a:pt x="102" y="35"/>
                  </a:lnTo>
                  <a:lnTo>
                    <a:pt x="101" y="30"/>
                  </a:lnTo>
                  <a:lnTo>
                    <a:pt x="96" y="25"/>
                  </a:lnTo>
                  <a:lnTo>
                    <a:pt x="96" y="25"/>
                  </a:lnTo>
                  <a:lnTo>
                    <a:pt x="94" y="23"/>
                  </a:lnTo>
                  <a:lnTo>
                    <a:pt x="94" y="21"/>
                  </a:lnTo>
                  <a:lnTo>
                    <a:pt x="99" y="19"/>
                  </a:lnTo>
                  <a:lnTo>
                    <a:pt x="101" y="16"/>
                  </a:lnTo>
                  <a:lnTo>
                    <a:pt x="102" y="12"/>
                  </a:lnTo>
                  <a:lnTo>
                    <a:pt x="102" y="7"/>
                  </a:lnTo>
                  <a:lnTo>
                    <a:pt x="101" y="0"/>
                  </a:lnTo>
                  <a:lnTo>
                    <a:pt x="101" y="0"/>
                  </a:lnTo>
                  <a:lnTo>
                    <a:pt x="73" y="0"/>
                  </a:lnTo>
                  <a:lnTo>
                    <a:pt x="59" y="0"/>
                  </a:lnTo>
                  <a:lnTo>
                    <a:pt x="47" y="0"/>
                  </a:lnTo>
                  <a:lnTo>
                    <a:pt x="47" y="0"/>
                  </a:lnTo>
                  <a:lnTo>
                    <a:pt x="38" y="4"/>
                  </a:lnTo>
                  <a:lnTo>
                    <a:pt x="40" y="4"/>
                  </a:lnTo>
                  <a:lnTo>
                    <a:pt x="40" y="5"/>
                  </a:lnTo>
                  <a:lnTo>
                    <a:pt x="43" y="5"/>
                  </a:lnTo>
                  <a:lnTo>
                    <a:pt x="43" y="7"/>
                  </a:lnTo>
                  <a:lnTo>
                    <a:pt x="40" y="9"/>
                  </a:lnTo>
                  <a:lnTo>
                    <a:pt x="40" y="9"/>
                  </a:lnTo>
                  <a:lnTo>
                    <a:pt x="29" y="11"/>
                  </a:lnTo>
                  <a:lnTo>
                    <a:pt x="19" y="12"/>
                  </a:lnTo>
                  <a:lnTo>
                    <a:pt x="8" y="12"/>
                  </a:lnTo>
                  <a:lnTo>
                    <a:pt x="3" y="16"/>
                  </a:lnTo>
                  <a:lnTo>
                    <a:pt x="0" y="18"/>
                  </a:lnTo>
                  <a:lnTo>
                    <a:pt x="0" y="18"/>
                  </a:lnTo>
                  <a:lnTo>
                    <a:pt x="1" y="19"/>
                  </a:lnTo>
                  <a:lnTo>
                    <a:pt x="3" y="21"/>
                  </a:lnTo>
                  <a:lnTo>
                    <a:pt x="8" y="19"/>
                  </a:lnTo>
                  <a:lnTo>
                    <a:pt x="12" y="19"/>
                  </a:lnTo>
                  <a:lnTo>
                    <a:pt x="10" y="25"/>
                  </a:lnTo>
                  <a:lnTo>
                    <a:pt x="10" y="25"/>
                  </a:lnTo>
                  <a:lnTo>
                    <a:pt x="8" y="30"/>
                  </a:lnTo>
                  <a:lnTo>
                    <a:pt x="8" y="32"/>
                  </a:lnTo>
                  <a:lnTo>
                    <a:pt x="10" y="33"/>
                  </a:lnTo>
                  <a:lnTo>
                    <a:pt x="14" y="33"/>
                  </a:lnTo>
                  <a:lnTo>
                    <a:pt x="19" y="32"/>
                  </a:lnTo>
                  <a:lnTo>
                    <a:pt x="19" y="32"/>
                  </a:lnTo>
                  <a:lnTo>
                    <a:pt x="22" y="32"/>
                  </a:lnTo>
                  <a:lnTo>
                    <a:pt x="24" y="33"/>
                  </a:lnTo>
                  <a:lnTo>
                    <a:pt x="22" y="39"/>
                  </a:lnTo>
                  <a:lnTo>
                    <a:pt x="22" y="44"/>
                  </a:lnTo>
                  <a:lnTo>
                    <a:pt x="24" y="44"/>
                  </a:lnTo>
                  <a:lnTo>
                    <a:pt x="28" y="40"/>
                  </a:lnTo>
                  <a:lnTo>
                    <a:pt x="28" y="40"/>
                  </a:lnTo>
                  <a:lnTo>
                    <a:pt x="36" y="35"/>
                  </a:lnTo>
                  <a:lnTo>
                    <a:pt x="42" y="33"/>
                  </a:lnTo>
                  <a:lnTo>
                    <a:pt x="43" y="33"/>
                  </a:lnTo>
                  <a:lnTo>
                    <a:pt x="43" y="33"/>
                  </a:lnTo>
                  <a:lnTo>
                    <a:pt x="40" y="37"/>
                  </a:lnTo>
                  <a:lnTo>
                    <a:pt x="40" y="37"/>
                  </a:lnTo>
                  <a:lnTo>
                    <a:pt x="36" y="39"/>
                  </a:lnTo>
                  <a:lnTo>
                    <a:pt x="36" y="40"/>
                  </a:lnTo>
                  <a:lnTo>
                    <a:pt x="36" y="44"/>
                  </a:lnTo>
                  <a:lnTo>
                    <a:pt x="40" y="49"/>
                  </a:lnTo>
                  <a:lnTo>
                    <a:pt x="40" y="51"/>
                  </a:lnTo>
                  <a:lnTo>
                    <a:pt x="38" y="52"/>
                  </a:lnTo>
                  <a:lnTo>
                    <a:pt x="38" y="52"/>
                  </a:lnTo>
                  <a:lnTo>
                    <a:pt x="38" y="56"/>
                  </a:lnTo>
                  <a:lnTo>
                    <a:pt x="38" y="58"/>
                  </a:lnTo>
                  <a:lnTo>
                    <a:pt x="40" y="58"/>
                  </a:lnTo>
                  <a:lnTo>
                    <a:pt x="42" y="61"/>
                  </a:lnTo>
                  <a:lnTo>
                    <a:pt x="42" y="61"/>
                  </a:lnTo>
                  <a:lnTo>
                    <a:pt x="42" y="65"/>
                  </a:lnTo>
                  <a:lnTo>
                    <a:pt x="43" y="65"/>
                  </a:lnTo>
                  <a:lnTo>
                    <a:pt x="45" y="66"/>
                  </a:lnTo>
                  <a:lnTo>
                    <a:pt x="47" y="70"/>
                  </a:lnTo>
                  <a:lnTo>
                    <a:pt x="47" y="70"/>
                  </a:lnTo>
                  <a:lnTo>
                    <a:pt x="47" y="72"/>
                  </a:lnTo>
                  <a:lnTo>
                    <a:pt x="49" y="72"/>
                  </a:lnTo>
                  <a:lnTo>
                    <a:pt x="54" y="65"/>
                  </a:lnTo>
                  <a:lnTo>
                    <a:pt x="54" y="65"/>
                  </a:lnTo>
                  <a:lnTo>
                    <a:pt x="52" y="72"/>
                  </a:lnTo>
                  <a:lnTo>
                    <a:pt x="54" y="75"/>
                  </a:lnTo>
                  <a:lnTo>
                    <a:pt x="54" y="7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1" name="Freeform 2034">
              <a:extLst>
                <a:ext uri="{FF2B5EF4-FFF2-40B4-BE49-F238E27FC236}">
                  <a16:creationId xmlns:a16="http://schemas.microsoft.com/office/drawing/2014/main" id="{BFE54D5B-C56C-4551-AD34-D01B623CDEB3}"/>
                </a:ext>
              </a:extLst>
            </p:cNvPr>
            <p:cNvSpPr>
              <a:spLocks/>
            </p:cNvSpPr>
            <p:nvPr/>
          </p:nvSpPr>
          <p:spPr bwMode="auto">
            <a:xfrm>
              <a:off x="5470347" y="2763870"/>
              <a:ext cx="96911" cy="123341"/>
            </a:xfrm>
            <a:custGeom>
              <a:avLst/>
              <a:gdLst/>
              <a:ahLst/>
              <a:cxnLst>
                <a:cxn ang="0">
                  <a:pos x="56" y="153"/>
                </a:cxn>
                <a:cxn ang="0">
                  <a:pos x="52" y="144"/>
                </a:cxn>
                <a:cxn ang="0">
                  <a:pos x="52" y="130"/>
                </a:cxn>
                <a:cxn ang="0">
                  <a:pos x="52" y="125"/>
                </a:cxn>
                <a:cxn ang="0">
                  <a:pos x="56" y="104"/>
                </a:cxn>
                <a:cxn ang="0">
                  <a:pos x="56" y="90"/>
                </a:cxn>
                <a:cxn ang="0">
                  <a:pos x="50" y="78"/>
                </a:cxn>
                <a:cxn ang="0">
                  <a:pos x="38" y="64"/>
                </a:cxn>
                <a:cxn ang="0">
                  <a:pos x="33" y="54"/>
                </a:cxn>
                <a:cxn ang="0">
                  <a:pos x="31" y="52"/>
                </a:cxn>
                <a:cxn ang="0">
                  <a:pos x="26" y="42"/>
                </a:cxn>
                <a:cxn ang="0">
                  <a:pos x="16" y="21"/>
                </a:cxn>
                <a:cxn ang="0">
                  <a:pos x="7" y="12"/>
                </a:cxn>
                <a:cxn ang="0">
                  <a:pos x="0" y="12"/>
                </a:cxn>
                <a:cxn ang="0">
                  <a:pos x="5" y="7"/>
                </a:cxn>
                <a:cxn ang="0">
                  <a:pos x="23" y="3"/>
                </a:cxn>
                <a:cxn ang="0">
                  <a:pos x="29" y="2"/>
                </a:cxn>
                <a:cxn ang="0">
                  <a:pos x="33" y="0"/>
                </a:cxn>
                <a:cxn ang="0">
                  <a:pos x="49" y="7"/>
                </a:cxn>
                <a:cxn ang="0">
                  <a:pos x="64" y="16"/>
                </a:cxn>
                <a:cxn ang="0">
                  <a:pos x="68" y="16"/>
                </a:cxn>
                <a:cxn ang="0">
                  <a:pos x="75" y="17"/>
                </a:cxn>
                <a:cxn ang="0">
                  <a:pos x="82" y="26"/>
                </a:cxn>
                <a:cxn ang="0">
                  <a:pos x="85" y="26"/>
                </a:cxn>
                <a:cxn ang="0">
                  <a:pos x="89" y="24"/>
                </a:cxn>
                <a:cxn ang="0">
                  <a:pos x="92" y="30"/>
                </a:cxn>
                <a:cxn ang="0">
                  <a:pos x="89" y="42"/>
                </a:cxn>
                <a:cxn ang="0">
                  <a:pos x="89" y="47"/>
                </a:cxn>
                <a:cxn ang="0">
                  <a:pos x="94" y="57"/>
                </a:cxn>
                <a:cxn ang="0">
                  <a:pos x="99" y="57"/>
                </a:cxn>
                <a:cxn ang="0">
                  <a:pos x="101" y="57"/>
                </a:cxn>
                <a:cxn ang="0">
                  <a:pos x="103" y="66"/>
                </a:cxn>
                <a:cxn ang="0">
                  <a:pos x="106" y="78"/>
                </a:cxn>
                <a:cxn ang="0">
                  <a:pos x="110" y="80"/>
                </a:cxn>
                <a:cxn ang="0">
                  <a:pos x="115" y="87"/>
                </a:cxn>
                <a:cxn ang="0">
                  <a:pos x="115" y="97"/>
                </a:cxn>
                <a:cxn ang="0">
                  <a:pos x="118" y="103"/>
                </a:cxn>
                <a:cxn ang="0">
                  <a:pos x="122" y="106"/>
                </a:cxn>
                <a:cxn ang="0">
                  <a:pos x="117" y="108"/>
                </a:cxn>
                <a:cxn ang="0">
                  <a:pos x="113" y="106"/>
                </a:cxn>
                <a:cxn ang="0">
                  <a:pos x="103" y="106"/>
                </a:cxn>
                <a:cxn ang="0">
                  <a:pos x="94" y="104"/>
                </a:cxn>
                <a:cxn ang="0">
                  <a:pos x="92" y="103"/>
                </a:cxn>
                <a:cxn ang="0">
                  <a:pos x="87" y="101"/>
                </a:cxn>
                <a:cxn ang="0">
                  <a:pos x="80" y="106"/>
                </a:cxn>
                <a:cxn ang="0">
                  <a:pos x="82" y="111"/>
                </a:cxn>
                <a:cxn ang="0">
                  <a:pos x="83" y="117"/>
                </a:cxn>
                <a:cxn ang="0">
                  <a:pos x="80" y="125"/>
                </a:cxn>
                <a:cxn ang="0">
                  <a:pos x="70" y="137"/>
                </a:cxn>
                <a:cxn ang="0">
                  <a:pos x="66" y="144"/>
                </a:cxn>
                <a:cxn ang="0">
                  <a:pos x="66" y="150"/>
                </a:cxn>
                <a:cxn ang="0">
                  <a:pos x="59" y="151"/>
                </a:cxn>
                <a:cxn ang="0">
                  <a:pos x="56" y="153"/>
                </a:cxn>
              </a:cxnLst>
              <a:rect l="0" t="0" r="r" b="b"/>
              <a:pathLst>
                <a:path w="122" h="153">
                  <a:moveTo>
                    <a:pt x="56" y="153"/>
                  </a:moveTo>
                  <a:lnTo>
                    <a:pt x="56" y="153"/>
                  </a:lnTo>
                  <a:lnTo>
                    <a:pt x="52" y="148"/>
                  </a:lnTo>
                  <a:lnTo>
                    <a:pt x="52" y="144"/>
                  </a:lnTo>
                  <a:lnTo>
                    <a:pt x="54" y="139"/>
                  </a:lnTo>
                  <a:lnTo>
                    <a:pt x="52" y="130"/>
                  </a:lnTo>
                  <a:lnTo>
                    <a:pt x="52" y="130"/>
                  </a:lnTo>
                  <a:lnTo>
                    <a:pt x="52" y="125"/>
                  </a:lnTo>
                  <a:lnTo>
                    <a:pt x="52" y="118"/>
                  </a:lnTo>
                  <a:lnTo>
                    <a:pt x="56" y="104"/>
                  </a:lnTo>
                  <a:lnTo>
                    <a:pt x="56" y="97"/>
                  </a:lnTo>
                  <a:lnTo>
                    <a:pt x="56" y="90"/>
                  </a:lnTo>
                  <a:lnTo>
                    <a:pt x="54" y="83"/>
                  </a:lnTo>
                  <a:lnTo>
                    <a:pt x="50" y="78"/>
                  </a:lnTo>
                  <a:lnTo>
                    <a:pt x="50" y="78"/>
                  </a:lnTo>
                  <a:lnTo>
                    <a:pt x="38" y="64"/>
                  </a:lnTo>
                  <a:lnTo>
                    <a:pt x="35" y="57"/>
                  </a:lnTo>
                  <a:lnTo>
                    <a:pt x="33" y="54"/>
                  </a:lnTo>
                  <a:lnTo>
                    <a:pt x="31" y="52"/>
                  </a:lnTo>
                  <a:lnTo>
                    <a:pt x="31" y="52"/>
                  </a:lnTo>
                  <a:lnTo>
                    <a:pt x="28" y="49"/>
                  </a:lnTo>
                  <a:lnTo>
                    <a:pt x="26" y="42"/>
                  </a:lnTo>
                  <a:lnTo>
                    <a:pt x="19" y="28"/>
                  </a:lnTo>
                  <a:lnTo>
                    <a:pt x="16" y="21"/>
                  </a:lnTo>
                  <a:lnTo>
                    <a:pt x="10" y="16"/>
                  </a:lnTo>
                  <a:lnTo>
                    <a:pt x="7" y="12"/>
                  </a:lnTo>
                  <a:lnTo>
                    <a:pt x="0" y="12"/>
                  </a:lnTo>
                  <a:lnTo>
                    <a:pt x="0" y="12"/>
                  </a:lnTo>
                  <a:lnTo>
                    <a:pt x="2" y="9"/>
                  </a:lnTo>
                  <a:lnTo>
                    <a:pt x="5" y="7"/>
                  </a:lnTo>
                  <a:lnTo>
                    <a:pt x="14" y="5"/>
                  </a:lnTo>
                  <a:lnTo>
                    <a:pt x="23" y="3"/>
                  </a:lnTo>
                  <a:lnTo>
                    <a:pt x="26" y="3"/>
                  </a:lnTo>
                  <a:lnTo>
                    <a:pt x="29" y="2"/>
                  </a:lnTo>
                  <a:lnTo>
                    <a:pt x="29" y="2"/>
                  </a:lnTo>
                  <a:lnTo>
                    <a:pt x="33" y="0"/>
                  </a:lnTo>
                  <a:lnTo>
                    <a:pt x="38" y="2"/>
                  </a:lnTo>
                  <a:lnTo>
                    <a:pt x="49" y="7"/>
                  </a:lnTo>
                  <a:lnTo>
                    <a:pt x="59" y="14"/>
                  </a:lnTo>
                  <a:lnTo>
                    <a:pt x="64" y="16"/>
                  </a:lnTo>
                  <a:lnTo>
                    <a:pt x="68" y="16"/>
                  </a:lnTo>
                  <a:lnTo>
                    <a:pt x="68" y="16"/>
                  </a:lnTo>
                  <a:lnTo>
                    <a:pt x="71" y="16"/>
                  </a:lnTo>
                  <a:lnTo>
                    <a:pt x="75" y="17"/>
                  </a:lnTo>
                  <a:lnTo>
                    <a:pt x="78" y="21"/>
                  </a:lnTo>
                  <a:lnTo>
                    <a:pt x="82" y="26"/>
                  </a:lnTo>
                  <a:lnTo>
                    <a:pt x="83" y="26"/>
                  </a:lnTo>
                  <a:lnTo>
                    <a:pt x="85" y="26"/>
                  </a:lnTo>
                  <a:lnTo>
                    <a:pt x="85" y="26"/>
                  </a:lnTo>
                  <a:lnTo>
                    <a:pt x="89" y="24"/>
                  </a:lnTo>
                  <a:lnTo>
                    <a:pt x="90" y="26"/>
                  </a:lnTo>
                  <a:lnTo>
                    <a:pt x="92" y="30"/>
                  </a:lnTo>
                  <a:lnTo>
                    <a:pt x="90" y="35"/>
                  </a:lnTo>
                  <a:lnTo>
                    <a:pt x="89" y="42"/>
                  </a:lnTo>
                  <a:lnTo>
                    <a:pt x="89" y="42"/>
                  </a:lnTo>
                  <a:lnTo>
                    <a:pt x="89" y="47"/>
                  </a:lnTo>
                  <a:lnTo>
                    <a:pt x="90" y="54"/>
                  </a:lnTo>
                  <a:lnTo>
                    <a:pt x="94" y="57"/>
                  </a:lnTo>
                  <a:lnTo>
                    <a:pt x="97" y="57"/>
                  </a:lnTo>
                  <a:lnTo>
                    <a:pt x="99" y="57"/>
                  </a:lnTo>
                  <a:lnTo>
                    <a:pt x="99" y="57"/>
                  </a:lnTo>
                  <a:lnTo>
                    <a:pt x="101" y="57"/>
                  </a:lnTo>
                  <a:lnTo>
                    <a:pt x="103" y="59"/>
                  </a:lnTo>
                  <a:lnTo>
                    <a:pt x="103" y="66"/>
                  </a:lnTo>
                  <a:lnTo>
                    <a:pt x="104" y="75"/>
                  </a:lnTo>
                  <a:lnTo>
                    <a:pt x="106" y="78"/>
                  </a:lnTo>
                  <a:lnTo>
                    <a:pt x="110" y="80"/>
                  </a:lnTo>
                  <a:lnTo>
                    <a:pt x="110" y="80"/>
                  </a:lnTo>
                  <a:lnTo>
                    <a:pt x="113" y="83"/>
                  </a:lnTo>
                  <a:lnTo>
                    <a:pt x="115" y="87"/>
                  </a:lnTo>
                  <a:lnTo>
                    <a:pt x="115" y="92"/>
                  </a:lnTo>
                  <a:lnTo>
                    <a:pt x="115" y="97"/>
                  </a:lnTo>
                  <a:lnTo>
                    <a:pt x="117" y="99"/>
                  </a:lnTo>
                  <a:lnTo>
                    <a:pt x="118" y="103"/>
                  </a:lnTo>
                  <a:lnTo>
                    <a:pt x="118" y="103"/>
                  </a:lnTo>
                  <a:lnTo>
                    <a:pt x="122" y="106"/>
                  </a:lnTo>
                  <a:lnTo>
                    <a:pt x="120" y="108"/>
                  </a:lnTo>
                  <a:lnTo>
                    <a:pt x="117" y="108"/>
                  </a:lnTo>
                  <a:lnTo>
                    <a:pt x="113" y="106"/>
                  </a:lnTo>
                  <a:lnTo>
                    <a:pt x="113" y="106"/>
                  </a:lnTo>
                  <a:lnTo>
                    <a:pt x="108" y="104"/>
                  </a:lnTo>
                  <a:lnTo>
                    <a:pt x="103" y="106"/>
                  </a:lnTo>
                  <a:lnTo>
                    <a:pt x="96" y="106"/>
                  </a:lnTo>
                  <a:lnTo>
                    <a:pt x="94" y="104"/>
                  </a:lnTo>
                  <a:lnTo>
                    <a:pt x="92" y="103"/>
                  </a:lnTo>
                  <a:lnTo>
                    <a:pt x="92" y="103"/>
                  </a:lnTo>
                  <a:lnTo>
                    <a:pt x="89" y="101"/>
                  </a:lnTo>
                  <a:lnTo>
                    <a:pt x="87" y="101"/>
                  </a:lnTo>
                  <a:lnTo>
                    <a:pt x="82" y="103"/>
                  </a:lnTo>
                  <a:lnTo>
                    <a:pt x="80" y="106"/>
                  </a:lnTo>
                  <a:lnTo>
                    <a:pt x="80" y="110"/>
                  </a:lnTo>
                  <a:lnTo>
                    <a:pt x="82" y="111"/>
                  </a:lnTo>
                  <a:lnTo>
                    <a:pt x="82" y="111"/>
                  </a:lnTo>
                  <a:lnTo>
                    <a:pt x="83" y="117"/>
                  </a:lnTo>
                  <a:lnTo>
                    <a:pt x="83" y="120"/>
                  </a:lnTo>
                  <a:lnTo>
                    <a:pt x="80" y="125"/>
                  </a:lnTo>
                  <a:lnTo>
                    <a:pt x="76" y="129"/>
                  </a:lnTo>
                  <a:lnTo>
                    <a:pt x="70" y="137"/>
                  </a:lnTo>
                  <a:lnTo>
                    <a:pt x="68" y="141"/>
                  </a:lnTo>
                  <a:lnTo>
                    <a:pt x="66" y="144"/>
                  </a:lnTo>
                  <a:lnTo>
                    <a:pt x="66" y="144"/>
                  </a:lnTo>
                  <a:lnTo>
                    <a:pt x="66" y="150"/>
                  </a:lnTo>
                  <a:lnTo>
                    <a:pt x="63" y="151"/>
                  </a:lnTo>
                  <a:lnTo>
                    <a:pt x="59" y="151"/>
                  </a:lnTo>
                  <a:lnTo>
                    <a:pt x="56" y="153"/>
                  </a:lnTo>
                  <a:lnTo>
                    <a:pt x="56" y="15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2" name="Freeform 2035">
              <a:extLst>
                <a:ext uri="{FF2B5EF4-FFF2-40B4-BE49-F238E27FC236}">
                  <a16:creationId xmlns:a16="http://schemas.microsoft.com/office/drawing/2014/main" id="{17ED1DC7-75ED-4E84-B5CF-9910183239C3}"/>
                </a:ext>
              </a:extLst>
            </p:cNvPr>
            <p:cNvSpPr>
              <a:spLocks/>
            </p:cNvSpPr>
            <p:nvPr/>
          </p:nvSpPr>
          <p:spPr bwMode="auto">
            <a:xfrm>
              <a:off x="5311766" y="2355088"/>
              <a:ext cx="202630" cy="107483"/>
            </a:xfrm>
            <a:custGeom>
              <a:avLst/>
              <a:gdLst/>
              <a:ahLst/>
              <a:cxnLst>
                <a:cxn ang="0">
                  <a:pos x="21" y="99"/>
                </a:cxn>
                <a:cxn ang="0">
                  <a:pos x="68" y="94"/>
                </a:cxn>
                <a:cxn ang="0">
                  <a:pos x="103" y="96"/>
                </a:cxn>
                <a:cxn ang="0">
                  <a:pos x="121" y="101"/>
                </a:cxn>
                <a:cxn ang="0">
                  <a:pos x="131" y="96"/>
                </a:cxn>
                <a:cxn ang="0">
                  <a:pos x="140" y="90"/>
                </a:cxn>
                <a:cxn ang="0">
                  <a:pos x="143" y="94"/>
                </a:cxn>
                <a:cxn ang="0">
                  <a:pos x="147" y="104"/>
                </a:cxn>
                <a:cxn ang="0">
                  <a:pos x="155" y="106"/>
                </a:cxn>
                <a:cxn ang="0">
                  <a:pos x="176" y="116"/>
                </a:cxn>
                <a:cxn ang="0">
                  <a:pos x="199" y="134"/>
                </a:cxn>
                <a:cxn ang="0">
                  <a:pos x="211" y="125"/>
                </a:cxn>
                <a:cxn ang="0">
                  <a:pos x="228" y="125"/>
                </a:cxn>
                <a:cxn ang="0">
                  <a:pos x="234" y="122"/>
                </a:cxn>
                <a:cxn ang="0">
                  <a:pos x="253" y="108"/>
                </a:cxn>
                <a:cxn ang="0">
                  <a:pos x="255" y="99"/>
                </a:cxn>
                <a:cxn ang="0">
                  <a:pos x="249" y="83"/>
                </a:cxn>
                <a:cxn ang="0">
                  <a:pos x="244" y="71"/>
                </a:cxn>
                <a:cxn ang="0">
                  <a:pos x="241" y="69"/>
                </a:cxn>
                <a:cxn ang="0">
                  <a:pos x="237" y="61"/>
                </a:cxn>
                <a:cxn ang="0">
                  <a:pos x="241" y="50"/>
                </a:cxn>
                <a:cxn ang="0">
                  <a:pos x="242" y="43"/>
                </a:cxn>
                <a:cxn ang="0">
                  <a:pos x="225" y="29"/>
                </a:cxn>
                <a:cxn ang="0">
                  <a:pos x="220" y="31"/>
                </a:cxn>
                <a:cxn ang="0">
                  <a:pos x="208" y="28"/>
                </a:cxn>
                <a:cxn ang="0">
                  <a:pos x="197" y="31"/>
                </a:cxn>
                <a:cxn ang="0">
                  <a:pos x="187" y="24"/>
                </a:cxn>
                <a:cxn ang="0">
                  <a:pos x="176" y="14"/>
                </a:cxn>
                <a:cxn ang="0">
                  <a:pos x="162" y="7"/>
                </a:cxn>
                <a:cxn ang="0">
                  <a:pos x="150" y="0"/>
                </a:cxn>
                <a:cxn ang="0">
                  <a:pos x="131" y="8"/>
                </a:cxn>
                <a:cxn ang="0">
                  <a:pos x="117" y="19"/>
                </a:cxn>
                <a:cxn ang="0">
                  <a:pos x="122" y="43"/>
                </a:cxn>
                <a:cxn ang="0">
                  <a:pos x="108" y="57"/>
                </a:cxn>
                <a:cxn ang="0">
                  <a:pos x="89" y="59"/>
                </a:cxn>
                <a:cxn ang="0">
                  <a:pos x="75" y="42"/>
                </a:cxn>
                <a:cxn ang="0">
                  <a:pos x="67" y="33"/>
                </a:cxn>
                <a:cxn ang="0">
                  <a:pos x="58" y="24"/>
                </a:cxn>
                <a:cxn ang="0">
                  <a:pos x="56" y="19"/>
                </a:cxn>
                <a:cxn ang="0">
                  <a:pos x="30" y="28"/>
                </a:cxn>
                <a:cxn ang="0">
                  <a:pos x="21" y="35"/>
                </a:cxn>
                <a:cxn ang="0">
                  <a:pos x="16" y="52"/>
                </a:cxn>
                <a:cxn ang="0">
                  <a:pos x="16" y="57"/>
                </a:cxn>
                <a:cxn ang="0">
                  <a:pos x="4" y="69"/>
                </a:cxn>
                <a:cxn ang="0">
                  <a:pos x="0" y="83"/>
                </a:cxn>
                <a:cxn ang="0">
                  <a:pos x="0" y="111"/>
                </a:cxn>
              </a:cxnLst>
              <a:rect l="0" t="0" r="r" b="b"/>
              <a:pathLst>
                <a:path w="255" h="134">
                  <a:moveTo>
                    <a:pt x="0" y="111"/>
                  </a:moveTo>
                  <a:lnTo>
                    <a:pt x="0" y="111"/>
                  </a:lnTo>
                  <a:lnTo>
                    <a:pt x="21" y="99"/>
                  </a:lnTo>
                  <a:lnTo>
                    <a:pt x="37" y="94"/>
                  </a:lnTo>
                  <a:lnTo>
                    <a:pt x="51" y="92"/>
                  </a:lnTo>
                  <a:lnTo>
                    <a:pt x="68" y="94"/>
                  </a:lnTo>
                  <a:lnTo>
                    <a:pt x="68" y="94"/>
                  </a:lnTo>
                  <a:lnTo>
                    <a:pt x="94" y="96"/>
                  </a:lnTo>
                  <a:lnTo>
                    <a:pt x="103" y="96"/>
                  </a:lnTo>
                  <a:lnTo>
                    <a:pt x="115" y="99"/>
                  </a:lnTo>
                  <a:lnTo>
                    <a:pt x="115" y="99"/>
                  </a:lnTo>
                  <a:lnTo>
                    <a:pt x="121" y="101"/>
                  </a:lnTo>
                  <a:lnTo>
                    <a:pt x="126" y="99"/>
                  </a:lnTo>
                  <a:lnTo>
                    <a:pt x="129" y="99"/>
                  </a:lnTo>
                  <a:lnTo>
                    <a:pt x="131" y="96"/>
                  </a:lnTo>
                  <a:lnTo>
                    <a:pt x="134" y="92"/>
                  </a:lnTo>
                  <a:lnTo>
                    <a:pt x="136" y="90"/>
                  </a:lnTo>
                  <a:lnTo>
                    <a:pt x="140" y="90"/>
                  </a:lnTo>
                  <a:lnTo>
                    <a:pt x="140" y="90"/>
                  </a:lnTo>
                  <a:lnTo>
                    <a:pt x="141" y="92"/>
                  </a:lnTo>
                  <a:lnTo>
                    <a:pt x="143" y="94"/>
                  </a:lnTo>
                  <a:lnTo>
                    <a:pt x="143" y="99"/>
                  </a:lnTo>
                  <a:lnTo>
                    <a:pt x="145" y="101"/>
                  </a:lnTo>
                  <a:lnTo>
                    <a:pt x="147" y="104"/>
                  </a:lnTo>
                  <a:lnTo>
                    <a:pt x="150" y="104"/>
                  </a:lnTo>
                  <a:lnTo>
                    <a:pt x="155" y="106"/>
                  </a:lnTo>
                  <a:lnTo>
                    <a:pt x="155" y="106"/>
                  </a:lnTo>
                  <a:lnTo>
                    <a:pt x="162" y="106"/>
                  </a:lnTo>
                  <a:lnTo>
                    <a:pt x="168" y="108"/>
                  </a:lnTo>
                  <a:lnTo>
                    <a:pt x="176" y="116"/>
                  </a:lnTo>
                  <a:lnTo>
                    <a:pt x="187" y="125"/>
                  </a:lnTo>
                  <a:lnTo>
                    <a:pt x="192" y="129"/>
                  </a:lnTo>
                  <a:lnTo>
                    <a:pt x="199" y="134"/>
                  </a:lnTo>
                  <a:lnTo>
                    <a:pt x="199" y="134"/>
                  </a:lnTo>
                  <a:lnTo>
                    <a:pt x="206" y="129"/>
                  </a:lnTo>
                  <a:lnTo>
                    <a:pt x="211" y="125"/>
                  </a:lnTo>
                  <a:lnTo>
                    <a:pt x="216" y="125"/>
                  </a:lnTo>
                  <a:lnTo>
                    <a:pt x="222" y="125"/>
                  </a:lnTo>
                  <a:lnTo>
                    <a:pt x="228" y="125"/>
                  </a:lnTo>
                  <a:lnTo>
                    <a:pt x="232" y="125"/>
                  </a:lnTo>
                  <a:lnTo>
                    <a:pt x="234" y="122"/>
                  </a:lnTo>
                  <a:lnTo>
                    <a:pt x="234" y="122"/>
                  </a:lnTo>
                  <a:lnTo>
                    <a:pt x="241" y="113"/>
                  </a:lnTo>
                  <a:lnTo>
                    <a:pt x="246" y="109"/>
                  </a:lnTo>
                  <a:lnTo>
                    <a:pt x="253" y="108"/>
                  </a:lnTo>
                  <a:lnTo>
                    <a:pt x="253" y="108"/>
                  </a:lnTo>
                  <a:lnTo>
                    <a:pt x="253" y="104"/>
                  </a:lnTo>
                  <a:lnTo>
                    <a:pt x="255" y="99"/>
                  </a:lnTo>
                  <a:lnTo>
                    <a:pt x="255" y="92"/>
                  </a:lnTo>
                  <a:lnTo>
                    <a:pt x="253" y="87"/>
                  </a:lnTo>
                  <a:lnTo>
                    <a:pt x="249" y="83"/>
                  </a:lnTo>
                  <a:lnTo>
                    <a:pt x="249" y="83"/>
                  </a:lnTo>
                  <a:lnTo>
                    <a:pt x="244" y="76"/>
                  </a:lnTo>
                  <a:lnTo>
                    <a:pt x="244" y="71"/>
                  </a:lnTo>
                  <a:lnTo>
                    <a:pt x="244" y="69"/>
                  </a:lnTo>
                  <a:lnTo>
                    <a:pt x="241" y="69"/>
                  </a:lnTo>
                  <a:lnTo>
                    <a:pt x="241" y="69"/>
                  </a:lnTo>
                  <a:lnTo>
                    <a:pt x="239" y="68"/>
                  </a:lnTo>
                  <a:lnTo>
                    <a:pt x="237" y="68"/>
                  </a:lnTo>
                  <a:lnTo>
                    <a:pt x="237" y="61"/>
                  </a:lnTo>
                  <a:lnTo>
                    <a:pt x="239" y="55"/>
                  </a:lnTo>
                  <a:lnTo>
                    <a:pt x="241" y="50"/>
                  </a:lnTo>
                  <a:lnTo>
                    <a:pt x="241" y="50"/>
                  </a:lnTo>
                  <a:lnTo>
                    <a:pt x="244" y="49"/>
                  </a:lnTo>
                  <a:lnTo>
                    <a:pt x="244" y="45"/>
                  </a:lnTo>
                  <a:lnTo>
                    <a:pt x="242" y="43"/>
                  </a:lnTo>
                  <a:lnTo>
                    <a:pt x="241" y="42"/>
                  </a:lnTo>
                  <a:lnTo>
                    <a:pt x="234" y="36"/>
                  </a:lnTo>
                  <a:lnTo>
                    <a:pt x="225" y="29"/>
                  </a:lnTo>
                  <a:lnTo>
                    <a:pt x="225" y="29"/>
                  </a:lnTo>
                  <a:lnTo>
                    <a:pt x="222" y="31"/>
                  </a:lnTo>
                  <a:lnTo>
                    <a:pt x="220" y="31"/>
                  </a:lnTo>
                  <a:lnTo>
                    <a:pt x="216" y="29"/>
                  </a:lnTo>
                  <a:lnTo>
                    <a:pt x="211" y="28"/>
                  </a:lnTo>
                  <a:lnTo>
                    <a:pt x="208" y="28"/>
                  </a:lnTo>
                  <a:lnTo>
                    <a:pt x="202" y="29"/>
                  </a:lnTo>
                  <a:lnTo>
                    <a:pt x="202" y="29"/>
                  </a:lnTo>
                  <a:lnTo>
                    <a:pt x="197" y="31"/>
                  </a:lnTo>
                  <a:lnTo>
                    <a:pt x="194" y="29"/>
                  </a:lnTo>
                  <a:lnTo>
                    <a:pt x="190" y="28"/>
                  </a:lnTo>
                  <a:lnTo>
                    <a:pt x="187" y="24"/>
                  </a:lnTo>
                  <a:lnTo>
                    <a:pt x="181" y="17"/>
                  </a:lnTo>
                  <a:lnTo>
                    <a:pt x="178" y="15"/>
                  </a:lnTo>
                  <a:lnTo>
                    <a:pt x="176" y="14"/>
                  </a:lnTo>
                  <a:lnTo>
                    <a:pt x="176" y="14"/>
                  </a:lnTo>
                  <a:lnTo>
                    <a:pt x="168" y="12"/>
                  </a:lnTo>
                  <a:lnTo>
                    <a:pt x="162" y="7"/>
                  </a:lnTo>
                  <a:lnTo>
                    <a:pt x="157" y="3"/>
                  </a:lnTo>
                  <a:lnTo>
                    <a:pt x="150" y="0"/>
                  </a:lnTo>
                  <a:lnTo>
                    <a:pt x="150" y="0"/>
                  </a:lnTo>
                  <a:lnTo>
                    <a:pt x="143" y="0"/>
                  </a:lnTo>
                  <a:lnTo>
                    <a:pt x="138" y="3"/>
                  </a:lnTo>
                  <a:lnTo>
                    <a:pt x="131" y="8"/>
                  </a:lnTo>
                  <a:lnTo>
                    <a:pt x="117" y="12"/>
                  </a:lnTo>
                  <a:lnTo>
                    <a:pt x="117" y="12"/>
                  </a:lnTo>
                  <a:lnTo>
                    <a:pt x="117" y="19"/>
                  </a:lnTo>
                  <a:lnTo>
                    <a:pt x="119" y="26"/>
                  </a:lnTo>
                  <a:lnTo>
                    <a:pt x="122" y="38"/>
                  </a:lnTo>
                  <a:lnTo>
                    <a:pt x="122" y="43"/>
                  </a:lnTo>
                  <a:lnTo>
                    <a:pt x="121" y="49"/>
                  </a:lnTo>
                  <a:lnTo>
                    <a:pt x="117" y="54"/>
                  </a:lnTo>
                  <a:lnTo>
                    <a:pt x="108" y="57"/>
                  </a:lnTo>
                  <a:lnTo>
                    <a:pt x="108" y="57"/>
                  </a:lnTo>
                  <a:lnTo>
                    <a:pt x="98" y="61"/>
                  </a:lnTo>
                  <a:lnTo>
                    <a:pt x="89" y="59"/>
                  </a:lnTo>
                  <a:lnTo>
                    <a:pt x="84" y="57"/>
                  </a:lnTo>
                  <a:lnTo>
                    <a:pt x="80" y="52"/>
                  </a:lnTo>
                  <a:lnTo>
                    <a:pt x="75" y="42"/>
                  </a:lnTo>
                  <a:lnTo>
                    <a:pt x="72" y="36"/>
                  </a:lnTo>
                  <a:lnTo>
                    <a:pt x="67" y="33"/>
                  </a:lnTo>
                  <a:lnTo>
                    <a:pt x="67" y="33"/>
                  </a:lnTo>
                  <a:lnTo>
                    <a:pt x="61" y="29"/>
                  </a:lnTo>
                  <a:lnTo>
                    <a:pt x="58" y="28"/>
                  </a:lnTo>
                  <a:lnTo>
                    <a:pt x="58" y="24"/>
                  </a:lnTo>
                  <a:lnTo>
                    <a:pt x="58" y="22"/>
                  </a:lnTo>
                  <a:lnTo>
                    <a:pt x="58" y="21"/>
                  </a:lnTo>
                  <a:lnTo>
                    <a:pt x="56" y="19"/>
                  </a:lnTo>
                  <a:lnTo>
                    <a:pt x="51" y="21"/>
                  </a:lnTo>
                  <a:lnTo>
                    <a:pt x="51" y="21"/>
                  </a:lnTo>
                  <a:lnTo>
                    <a:pt x="30" y="28"/>
                  </a:lnTo>
                  <a:lnTo>
                    <a:pt x="25" y="31"/>
                  </a:lnTo>
                  <a:lnTo>
                    <a:pt x="21" y="35"/>
                  </a:lnTo>
                  <a:lnTo>
                    <a:pt x="21" y="35"/>
                  </a:lnTo>
                  <a:lnTo>
                    <a:pt x="16" y="43"/>
                  </a:lnTo>
                  <a:lnTo>
                    <a:pt x="14" y="47"/>
                  </a:lnTo>
                  <a:lnTo>
                    <a:pt x="16" y="52"/>
                  </a:lnTo>
                  <a:lnTo>
                    <a:pt x="16" y="52"/>
                  </a:lnTo>
                  <a:lnTo>
                    <a:pt x="16" y="55"/>
                  </a:lnTo>
                  <a:lnTo>
                    <a:pt x="16" y="57"/>
                  </a:lnTo>
                  <a:lnTo>
                    <a:pt x="13" y="61"/>
                  </a:lnTo>
                  <a:lnTo>
                    <a:pt x="7" y="66"/>
                  </a:lnTo>
                  <a:lnTo>
                    <a:pt x="4" y="69"/>
                  </a:lnTo>
                  <a:lnTo>
                    <a:pt x="2" y="73"/>
                  </a:lnTo>
                  <a:lnTo>
                    <a:pt x="2" y="73"/>
                  </a:lnTo>
                  <a:lnTo>
                    <a:pt x="0" y="83"/>
                  </a:lnTo>
                  <a:lnTo>
                    <a:pt x="0" y="94"/>
                  </a:lnTo>
                  <a:lnTo>
                    <a:pt x="0" y="111"/>
                  </a:lnTo>
                  <a:lnTo>
                    <a:pt x="0" y="1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3" name="Freeform 2036">
              <a:extLst>
                <a:ext uri="{FF2B5EF4-FFF2-40B4-BE49-F238E27FC236}">
                  <a16:creationId xmlns:a16="http://schemas.microsoft.com/office/drawing/2014/main" id="{5E0BB400-562B-445C-AAD1-39C09022187C}"/>
                </a:ext>
              </a:extLst>
            </p:cNvPr>
            <p:cNvSpPr>
              <a:spLocks/>
            </p:cNvSpPr>
            <p:nvPr/>
          </p:nvSpPr>
          <p:spPr bwMode="auto">
            <a:xfrm>
              <a:off x="5273004" y="2476664"/>
              <a:ext cx="89862" cy="44050"/>
            </a:xfrm>
            <a:custGeom>
              <a:avLst/>
              <a:gdLst/>
              <a:ahLst/>
              <a:cxnLst>
                <a:cxn ang="0">
                  <a:pos x="0" y="44"/>
                </a:cxn>
                <a:cxn ang="0">
                  <a:pos x="0" y="44"/>
                </a:cxn>
                <a:cxn ang="0">
                  <a:pos x="33" y="49"/>
                </a:cxn>
                <a:cxn ang="0">
                  <a:pos x="63" y="52"/>
                </a:cxn>
                <a:cxn ang="0">
                  <a:pos x="89" y="52"/>
                </a:cxn>
                <a:cxn ang="0">
                  <a:pos x="101" y="50"/>
                </a:cxn>
                <a:cxn ang="0">
                  <a:pos x="110" y="49"/>
                </a:cxn>
                <a:cxn ang="0">
                  <a:pos x="110" y="49"/>
                </a:cxn>
                <a:cxn ang="0">
                  <a:pos x="110" y="42"/>
                </a:cxn>
                <a:cxn ang="0">
                  <a:pos x="110" y="37"/>
                </a:cxn>
                <a:cxn ang="0">
                  <a:pos x="112" y="28"/>
                </a:cxn>
                <a:cxn ang="0">
                  <a:pos x="112" y="23"/>
                </a:cxn>
                <a:cxn ang="0">
                  <a:pos x="112" y="21"/>
                </a:cxn>
                <a:cxn ang="0">
                  <a:pos x="108" y="17"/>
                </a:cxn>
                <a:cxn ang="0">
                  <a:pos x="108" y="17"/>
                </a:cxn>
                <a:cxn ang="0">
                  <a:pos x="103" y="14"/>
                </a:cxn>
                <a:cxn ang="0">
                  <a:pos x="100" y="12"/>
                </a:cxn>
                <a:cxn ang="0">
                  <a:pos x="94" y="12"/>
                </a:cxn>
                <a:cxn ang="0">
                  <a:pos x="89" y="12"/>
                </a:cxn>
                <a:cxn ang="0">
                  <a:pos x="84" y="12"/>
                </a:cxn>
                <a:cxn ang="0">
                  <a:pos x="73" y="9"/>
                </a:cxn>
                <a:cxn ang="0">
                  <a:pos x="58" y="2"/>
                </a:cxn>
                <a:cxn ang="0">
                  <a:pos x="58" y="2"/>
                </a:cxn>
                <a:cxn ang="0">
                  <a:pos x="58" y="5"/>
                </a:cxn>
                <a:cxn ang="0">
                  <a:pos x="56" y="5"/>
                </a:cxn>
                <a:cxn ang="0">
                  <a:pos x="54" y="7"/>
                </a:cxn>
                <a:cxn ang="0">
                  <a:pos x="56" y="14"/>
                </a:cxn>
                <a:cxn ang="0">
                  <a:pos x="56" y="14"/>
                </a:cxn>
                <a:cxn ang="0">
                  <a:pos x="56" y="16"/>
                </a:cxn>
                <a:cxn ang="0">
                  <a:pos x="54" y="17"/>
                </a:cxn>
                <a:cxn ang="0">
                  <a:pos x="51" y="21"/>
                </a:cxn>
                <a:cxn ang="0">
                  <a:pos x="44" y="21"/>
                </a:cxn>
                <a:cxn ang="0">
                  <a:pos x="39" y="21"/>
                </a:cxn>
                <a:cxn ang="0">
                  <a:pos x="39" y="21"/>
                </a:cxn>
                <a:cxn ang="0">
                  <a:pos x="39" y="19"/>
                </a:cxn>
                <a:cxn ang="0">
                  <a:pos x="37" y="19"/>
                </a:cxn>
                <a:cxn ang="0">
                  <a:pos x="39" y="14"/>
                </a:cxn>
                <a:cxn ang="0">
                  <a:pos x="47" y="3"/>
                </a:cxn>
                <a:cxn ang="0">
                  <a:pos x="47" y="3"/>
                </a:cxn>
                <a:cxn ang="0">
                  <a:pos x="49" y="0"/>
                </a:cxn>
                <a:cxn ang="0">
                  <a:pos x="47" y="0"/>
                </a:cxn>
                <a:cxn ang="0">
                  <a:pos x="37" y="10"/>
                </a:cxn>
                <a:cxn ang="0">
                  <a:pos x="37" y="10"/>
                </a:cxn>
                <a:cxn ang="0">
                  <a:pos x="32" y="17"/>
                </a:cxn>
                <a:cxn ang="0">
                  <a:pos x="28" y="17"/>
                </a:cxn>
                <a:cxn ang="0">
                  <a:pos x="23" y="17"/>
                </a:cxn>
                <a:cxn ang="0">
                  <a:pos x="16" y="17"/>
                </a:cxn>
                <a:cxn ang="0">
                  <a:pos x="16" y="17"/>
                </a:cxn>
                <a:cxn ang="0">
                  <a:pos x="13" y="19"/>
                </a:cxn>
                <a:cxn ang="0">
                  <a:pos x="11" y="21"/>
                </a:cxn>
                <a:cxn ang="0">
                  <a:pos x="9" y="26"/>
                </a:cxn>
                <a:cxn ang="0">
                  <a:pos x="9" y="30"/>
                </a:cxn>
                <a:cxn ang="0">
                  <a:pos x="9" y="35"/>
                </a:cxn>
                <a:cxn ang="0">
                  <a:pos x="6" y="40"/>
                </a:cxn>
                <a:cxn ang="0">
                  <a:pos x="0" y="44"/>
                </a:cxn>
                <a:cxn ang="0">
                  <a:pos x="0" y="44"/>
                </a:cxn>
              </a:cxnLst>
              <a:rect l="0" t="0" r="r" b="b"/>
              <a:pathLst>
                <a:path w="112" h="52">
                  <a:moveTo>
                    <a:pt x="0" y="44"/>
                  </a:moveTo>
                  <a:lnTo>
                    <a:pt x="0" y="44"/>
                  </a:lnTo>
                  <a:lnTo>
                    <a:pt x="33" y="49"/>
                  </a:lnTo>
                  <a:lnTo>
                    <a:pt x="63" y="52"/>
                  </a:lnTo>
                  <a:lnTo>
                    <a:pt x="89" y="52"/>
                  </a:lnTo>
                  <a:lnTo>
                    <a:pt x="101" y="50"/>
                  </a:lnTo>
                  <a:lnTo>
                    <a:pt x="110" y="49"/>
                  </a:lnTo>
                  <a:lnTo>
                    <a:pt x="110" y="49"/>
                  </a:lnTo>
                  <a:lnTo>
                    <a:pt x="110" y="42"/>
                  </a:lnTo>
                  <a:lnTo>
                    <a:pt x="110" y="37"/>
                  </a:lnTo>
                  <a:lnTo>
                    <a:pt x="112" y="28"/>
                  </a:lnTo>
                  <a:lnTo>
                    <a:pt x="112" y="23"/>
                  </a:lnTo>
                  <a:lnTo>
                    <a:pt x="112" y="21"/>
                  </a:lnTo>
                  <a:lnTo>
                    <a:pt x="108" y="17"/>
                  </a:lnTo>
                  <a:lnTo>
                    <a:pt x="108" y="17"/>
                  </a:lnTo>
                  <a:lnTo>
                    <a:pt x="103" y="14"/>
                  </a:lnTo>
                  <a:lnTo>
                    <a:pt x="100" y="12"/>
                  </a:lnTo>
                  <a:lnTo>
                    <a:pt x="94" y="12"/>
                  </a:lnTo>
                  <a:lnTo>
                    <a:pt x="89" y="12"/>
                  </a:lnTo>
                  <a:lnTo>
                    <a:pt x="84" y="12"/>
                  </a:lnTo>
                  <a:lnTo>
                    <a:pt x="73" y="9"/>
                  </a:lnTo>
                  <a:lnTo>
                    <a:pt x="58" y="2"/>
                  </a:lnTo>
                  <a:lnTo>
                    <a:pt x="58" y="2"/>
                  </a:lnTo>
                  <a:lnTo>
                    <a:pt x="58" y="5"/>
                  </a:lnTo>
                  <a:lnTo>
                    <a:pt x="56" y="5"/>
                  </a:lnTo>
                  <a:lnTo>
                    <a:pt x="54" y="7"/>
                  </a:lnTo>
                  <a:lnTo>
                    <a:pt x="56" y="14"/>
                  </a:lnTo>
                  <a:lnTo>
                    <a:pt x="56" y="14"/>
                  </a:lnTo>
                  <a:lnTo>
                    <a:pt x="56" y="16"/>
                  </a:lnTo>
                  <a:lnTo>
                    <a:pt x="54" y="17"/>
                  </a:lnTo>
                  <a:lnTo>
                    <a:pt x="51" y="21"/>
                  </a:lnTo>
                  <a:lnTo>
                    <a:pt x="44" y="21"/>
                  </a:lnTo>
                  <a:lnTo>
                    <a:pt x="39" y="21"/>
                  </a:lnTo>
                  <a:lnTo>
                    <a:pt x="39" y="21"/>
                  </a:lnTo>
                  <a:lnTo>
                    <a:pt x="39" y="19"/>
                  </a:lnTo>
                  <a:lnTo>
                    <a:pt x="37" y="19"/>
                  </a:lnTo>
                  <a:lnTo>
                    <a:pt x="39" y="14"/>
                  </a:lnTo>
                  <a:lnTo>
                    <a:pt x="47" y="3"/>
                  </a:lnTo>
                  <a:lnTo>
                    <a:pt x="47" y="3"/>
                  </a:lnTo>
                  <a:lnTo>
                    <a:pt x="49" y="0"/>
                  </a:lnTo>
                  <a:lnTo>
                    <a:pt x="47" y="0"/>
                  </a:lnTo>
                  <a:lnTo>
                    <a:pt x="37" y="10"/>
                  </a:lnTo>
                  <a:lnTo>
                    <a:pt x="37" y="10"/>
                  </a:lnTo>
                  <a:lnTo>
                    <a:pt x="32" y="17"/>
                  </a:lnTo>
                  <a:lnTo>
                    <a:pt x="28" y="17"/>
                  </a:lnTo>
                  <a:lnTo>
                    <a:pt x="23" y="17"/>
                  </a:lnTo>
                  <a:lnTo>
                    <a:pt x="16" y="17"/>
                  </a:lnTo>
                  <a:lnTo>
                    <a:pt x="16" y="17"/>
                  </a:lnTo>
                  <a:lnTo>
                    <a:pt x="13" y="19"/>
                  </a:lnTo>
                  <a:lnTo>
                    <a:pt x="11" y="21"/>
                  </a:lnTo>
                  <a:lnTo>
                    <a:pt x="9" y="26"/>
                  </a:lnTo>
                  <a:lnTo>
                    <a:pt x="9" y="30"/>
                  </a:lnTo>
                  <a:lnTo>
                    <a:pt x="9" y="35"/>
                  </a:lnTo>
                  <a:lnTo>
                    <a:pt x="6" y="40"/>
                  </a:lnTo>
                  <a:lnTo>
                    <a:pt x="0" y="44"/>
                  </a:lnTo>
                  <a:lnTo>
                    <a:pt x="0" y="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4" name="Freeform 2037">
              <a:extLst>
                <a:ext uri="{FF2B5EF4-FFF2-40B4-BE49-F238E27FC236}">
                  <a16:creationId xmlns:a16="http://schemas.microsoft.com/office/drawing/2014/main" id="{DA594A3A-094A-4956-A983-EF87119856EF}"/>
                </a:ext>
              </a:extLst>
            </p:cNvPr>
            <p:cNvSpPr>
              <a:spLocks/>
            </p:cNvSpPr>
            <p:nvPr/>
          </p:nvSpPr>
          <p:spPr bwMode="auto">
            <a:xfrm>
              <a:off x="4451909" y="3017602"/>
              <a:ext cx="95148" cy="197345"/>
            </a:xfrm>
            <a:custGeom>
              <a:avLst/>
              <a:gdLst/>
              <a:ahLst/>
              <a:cxnLst>
                <a:cxn ang="0">
                  <a:pos x="34" y="5"/>
                </a:cxn>
                <a:cxn ang="0">
                  <a:pos x="48" y="2"/>
                </a:cxn>
                <a:cxn ang="0">
                  <a:pos x="50" y="4"/>
                </a:cxn>
                <a:cxn ang="0">
                  <a:pos x="45" y="12"/>
                </a:cxn>
                <a:cxn ang="0">
                  <a:pos x="48" y="16"/>
                </a:cxn>
                <a:cxn ang="0">
                  <a:pos x="59" y="10"/>
                </a:cxn>
                <a:cxn ang="0">
                  <a:pos x="67" y="12"/>
                </a:cxn>
                <a:cxn ang="0">
                  <a:pos x="78" y="12"/>
                </a:cxn>
                <a:cxn ang="0">
                  <a:pos x="94" y="9"/>
                </a:cxn>
                <a:cxn ang="0">
                  <a:pos x="102" y="12"/>
                </a:cxn>
                <a:cxn ang="0">
                  <a:pos x="104" y="19"/>
                </a:cxn>
                <a:cxn ang="0">
                  <a:pos x="111" y="23"/>
                </a:cxn>
                <a:cxn ang="0">
                  <a:pos x="113" y="33"/>
                </a:cxn>
                <a:cxn ang="0">
                  <a:pos x="95" y="56"/>
                </a:cxn>
                <a:cxn ang="0">
                  <a:pos x="95" y="71"/>
                </a:cxn>
                <a:cxn ang="0">
                  <a:pos x="88" y="94"/>
                </a:cxn>
                <a:cxn ang="0">
                  <a:pos x="90" y="101"/>
                </a:cxn>
                <a:cxn ang="0">
                  <a:pos x="87" y="117"/>
                </a:cxn>
                <a:cxn ang="0">
                  <a:pos x="73" y="120"/>
                </a:cxn>
                <a:cxn ang="0">
                  <a:pos x="76" y="129"/>
                </a:cxn>
                <a:cxn ang="0">
                  <a:pos x="80" y="143"/>
                </a:cxn>
                <a:cxn ang="0">
                  <a:pos x="90" y="148"/>
                </a:cxn>
                <a:cxn ang="0">
                  <a:pos x="85" y="158"/>
                </a:cxn>
                <a:cxn ang="0">
                  <a:pos x="76" y="176"/>
                </a:cxn>
                <a:cxn ang="0">
                  <a:pos x="80" y="185"/>
                </a:cxn>
                <a:cxn ang="0">
                  <a:pos x="88" y="190"/>
                </a:cxn>
                <a:cxn ang="0">
                  <a:pos x="81" y="200"/>
                </a:cxn>
                <a:cxn ang="0">
                  <a:pos x="74" y="209"/>
                </a:cxn>
                <a:cxn ang="0">
                  <a:pos x="74" y="239"/>
                </a:cxn>
                <a:cxn ang="0">
                  <a:pos x="62" y="246"/>
                </a:cxn>
                <a:cxn ang="0">
                  <a:pos x="48" y="246"/>
                </a:cxn>
                <a:cxn ang="0">
                  <a:pos x="26" y="244"/>
                </a:cxn>
                <a:cxn ang="0">
                  <a:pos x="20" y="247"/>
                </a:cxn>
                <a:cxn ang="0">
                  <a:pos x="22" y="235"/>
                </a:cxn>
                <a:cxn ang="0">
                  <a:pos x="22" y="200"/>
                </a:cxn>
                <a:cxn ang="0">
                  <a:pos x="26" y="186"/>
                </a:cxn>
                <a:cxn ang="0">
                  <a:pos x="22" y="178"/>
                </a:cxn>
                <a:cxn ang="0">
                  <a:pos x="13" y="179"/>
                </a:cxn>
                <a:cxn ang="0">
                  <a:pos x="10" y="174"/>
                </a:cxn>
                <a:cxn ang="0">
                  <a:pos x="10" y="169"/>
                </a:cxn>
                <a:cxn ang="0">
                  <a:pos x="12" y="165"/>
                </a:cxn>
                <a:cxn ang="0">
                  <a:pos x="1" y="165"/>
                </a:cxn>
                <a:cxn ang="0">
                  <a:pos x="1" y="155"/>
                </a:cxn>
                <a:cxn ang="0">
                  <a:pos x="5" y="138"/>
                </a:cxn>
                <a:cxn ang="0">
                  <a:pos x="6" y="132"/>
                </a:cxn>
                <a:cxn ang="0">
                  <a:pos x="15" y="118"/>
                </a:cxn>
                <a:cxn ang="0">
                  <a:pos x="22" y="99"/>
                </a:cxn>
                <a:cxn ang="0">
                  <a:pos x="22" y="92"/>
                </a:cxn>
                <a:cxn ang="0">
                  <a:pos x="31" y="58"/>
                </a:cxn>
                <a:cxn ang="0">
                  <a:pos x="31" y="47"/>
                </a:cxn>
                <a:cxn ang="0">
                  <a:pos x="26" y="26"/>
                </a:cxn>
                <a:cxn ang="0">
                  <a:pos x="24" y="21"/>
                </a:cxn>
                <a:cxn ang="0">
                  <a:pos x="26" y="14"/>
                </a:cxn>
              </a:cxnLst>
              <a:rect l="0" t="0" r="r" b="b"/>
              <a:pathLst>
                <a:path w="116" h="247">
                  <a:moveTo>
                    <a:pt x="26" y="14"/>
                  </a:moveTo>
                  <a:lnTo>
                    <a:pt x="26" y="14"/>
                  </a:lnTo>
                  <a:lnTo>
                    <a:pt x="34" y="5"/>
                  </a:lnTo>
                  <a:lnTo>
                    <a:pt x="41" y="0"/>
                  </a:lnTo>
                  <a:lnTo>
                    <a:pt x="45" y="0"/>
                  </a:lnTo>
                  <a:lnTo>
                    <a:pt x="48" y="2"/>
                  </a:lnTo>
                  <a:lnTo>
                    <a:pt x="48" y="2"/>
                  </a:lnTo>
                  <a:lnTo>
                    <a:pt x="50" y="4"/>
                  </a:lnTo>
                  <a:lnTo>
                    <a:pt x="50" y="4"/>
                  </a:lnTo>
                  <a:lnTo>
                    <a:pt x="48" y="9"/>
                  </a:lnTo>
                  <a:lnTo>
                    <a:pt x="45" y="12"/>
                  </a:lnTo>
                  <a:lnTo>
                    <a:pt x="45" y="12"/>
                  </a:lnTo>
                  <a:lnTo>
                    <a:pt x="47" y="14"/>
                  </a:lnTo>
                  <a:lnTo>
                    <a:pt x="47" y="14"/>
                  </a:lnTo>
                  <a:lnTo>
                    <a:pt x="48" y="16"/>
                  </a:lnTo>
                  <a:lnTo>
                    <a:pt x="50" y="16"/>
                  </a:lnTo>
                  <a:lnTo>
                    <a:pt x="54" y="12"/>
                  </a:lnTo>
                  <a:lnTo>
                    <a:pt x="59" y="10"/>
                  </a:lnTo>
                  <a:lnTo>
                    <a:pt x="62" y="10"/>
                  </a:lnTo>
                  <a:lnTo>
                    <a:pt x="67" y="12"/>
                  </a:lnTo>
                  <a:lnTo>
                    <a:pt x="67" y="12"/>
                  </a:lnTo>
                  <a:lnTo>
                    <a:pt x="74" y="16"/>
                  </a:lnTo>
                  <a:lnTo>
                    <a:pt x="76" y="14"/>
                  </a:lnTo>
                  <a:lnTo>
                    <a:pt x="78" y="12"/>
                  </a:lnTo>
                  <a:lnTo>
                    <a:pt x="81" y="9"/>
                  </a:lnTo>
                  <a:lnTo>
                    <a:pt x="87" y="9"/>
                  </a:lnTo>
                  <a:lnTo>
                    <a:pt x="94" y="9"/>
                  </a:lnTo>
                  <a:lnTo>
                    <a:pt x="94" y="9"/>
                  </a:lnTo>
                  <a:lnTo>
                    <a:pt x="99" y="10"/>
                  </a:lnTo>
                  <a:lnTo>
                    <a:pt x="102" y="12"/>
                  </a:lnTo>
                  <a:lnTo>
                    <a:pt x="104" y="14"/>
                  </a:lnTo>
                  <a:lnTo>
                    <a:pt x="104" y="16"/>
                  </a:lnTo>
                  <a:lnTo>
                    <a:pt x="104" y="19"/>
                  </a:lnTo>
                  <a:lnTo>
                    <a:pt x="106" y="21"/>
                  </a:lnTo>
                  <a:lnTo>
                    <a:pt x="111" y="23"/>
                  </a:lnTo>
                  <a:lnTo>
                    <a:pt x="111" y="23"/>
                  </a:lnTo>
                  <a:lnTo>
                    <a:pt x="114" y="24"/>
                  </a:lnTo>
                  <a:lnTo>
                    <a:pt x="116" y="30"/>
                  </a:lnTo>
                  <a:lnTo>
                    <a:pt x="113" y="33"/>
                  </a:lnTo>
                  <a:lnTo>
                    <a:pt x="109" y="40"/>
                  </a:lnTo>
                  <a:lnTo>
                    <a:pt x="99" y="51"/>
                  </a:lnTo>
                  <a:lnTo>
                    <a:pt x="95" y="56"/>
                  </a:lnTo>
                  <a:lnTo>
                    <a:pt x="94" y="61"/>
                  </a:lnTo>
                  <a:lnTo>
                    <a:pt x="94" y="61"/>
                  </a:lnTo>
                  <a:lnTo>
                    <a:pt x="95" y="71"/>
                  </a:lnTo>
                  <a:lnTo>
                    <a:pt x="94" y="78"/>
                  </a:lnTo>
                  <a:lnTo>
                    <a:pt x="92" y="87"/>
                  </a:lnTo>
                  <a:lnTo>
                    <a:pt x="88" y="94"/>
                  </a:lnTo>
                  <a:lnTo>
                    <a:pt x="88" y="98"/>
                  </a:lnTo>
                  <a:lnTo>
                    <a:pt x="90" y="101"/>
                  </a:lnTo>
                  <a:lnTo>
                    <a:pt x="90" y="101"/>
                  </a:lnTo>
                  <a:lnTo>
                    <a:pt x="92" y="108"/>
                  </a:lnTo>
                  <a:lnTo>
                    <a:pt x="92" y="113"/>
                  </a:lnTo>
                  <a:lnTo>
                    <a:pt x="87" y="117"/>
                  </a:lnTo>
                  <a:lnTo>
                    <a:pt x="78" y="118"/>
                  </a:lnTo>
                  <a:lnTo>
                    <a:pt x="78" y="118"/>
                  </a:lnTo>
                  <a:lnTo>
                    <a:pt x="73" y="120"/>
                  </a:lnTo>
                  <a:lnTo>
                    <a:pt x="71" y="122"/>
                  </a:lnTo>
                  <a:lnTo>
                    <a:pt x="73" y="124"/>
                  </a:lnTo>
                  <a:lnTo>
                    <a:pt x="76" y="129"/>
                  </a:lnTo>
                  <a:lnTo>
                    <a:pt x="78" y="138"/>
                  </a:lnTo>
                  <a:lnTo>
                    <a:pt x="78" y="138"/>
                  </a:lnTo>
                  <a:lnTo>
                    <a:pt x="80" y="143"/>
                  </a:lnTo>
                  <a:lnTo>
                    <a:pt x="83" y="145"/>
                  </a:lnTo>
                  <a:lnTo>
                    <a:pt x="88" y="146"/>
                  </a:lnTo>
                  <a:lnTo>
                    <a:pt x="90" y="148"/>
                  </a:lnTo>
                  <a:lnTo>
                    <a:pt x="90" y="150"/>
                  </a:lnTo>
                  <a:lnTo>
                    <a:pt x="85" y="158"/>
                  </a:lnTo>
                  <a:lnTo>
                    <a:pt x="85" y="158"/>
                  </a:lnTo>
                  <a:lnTo>
                    <a:pt x="80" y="165"/>
                  </a:lnTo>
                  <a:lnTo>
                    <a:pt x="78" y="171"/>
                  </a:lnTo>
                  <a:lnTo>
                    <a:pt x="76" y="176"/>
                  </a:lnTo>
                  <a:lnTo>
                    <a:pt x="76" y="179"/>
                  </a:lnTo>
                  <a:lnTo>
                    <a:pt x="78" y="183"/>
                  </a:lnTo>
                  <a:lnTo>
                    <a:pt x="80" y="185"/>
                  </a:lnTo>
                  <a:lnTo>
                    <a:pt x="85" y="188"/>
                  </a:lnTo>
                  <a:lnTo>
                    <a:pt x="85" y="188"/>
                  </a:lnTo>
                  <a:lnTo>
                    <a:pt x="88" y="190"/>
                  </a:lnTo>
                  <a:lnTo>
                    <a:pt x="90" y="190"/>
                  </a:lnTo>
                  <a:lnTo>
                    <a:pt x="88" y="193"/>
                  </a:lnTo>
                  <a:lnTo>
                    <a:pt x="81" y="200"/>
                  </a:lnTo>
                  <a:lnTo>
                    <a:pt x="81" y="200"/>
                  </a:lnTo>
                  <a:lnTo>
                    <a:pt x="78" y="204"/>
                  </a:lnTo>
                  <a:lnTo>
                    <a:pt x="74" y="209"/>
                  </a:lnTo>
                  <a:lnTo>
                    <a:pt x="73" y="219"/>
                  </a:lnTo>
                  <a:lnTo>
                    <a:pt x="73" y="230"/>
                  </a:lnTo>
                  <a:lnTo>
                    <a:pt x="74" y="239"/>
                  </a:lnTo>
                  <a:lnTo>
                    <a:pt x="74" y="239"/>
                  </a:lnTo>
                  <a:lnTo>
                    <a:pt x="66" y="242"/>
                  </a:lnTo>
                  <a:lnTo>
                    <a:pt x="62" y="246"/>
                  </a:lnTo>
                  <a:lnTo>
                    <a:pt x="57" y="247"/>
                  </a:lnTo>
                  <a:lnTo>
                    <a:pt x="48" y="246"/>
                  </a:lnTo>
                  <a:lnTo>
                    <a:pt x="48" y="246"/>
                  </a:lnTo>
                  <a:lnTo>
                    <a:pt x="36" y="242"/>
                  </a:lnTo>
                  <a:lnTo>
                    <a:pt x="29" y="242"/>
                  </a:lnTo>
                  <a:lnTo>
                    <a:pt x="26" y="244"/>
                  </a:lnTo>
                  <a:lnTo>
                    <a:pt x="22" y="246"/>
                  </a:lnTo>
                  <a:lnTo>
                    <a:pt x="22" y="246"/>
                  </a:lnTo>
                  <a:lnTo>
                    <a:pt x="20" y="247"/>
                  </a:lnTo>
                  <a:lnTo>
                    <a:pt x="19" y="247"/>
                  </a:lnTo>
                  <a:lnTo>
                    <a:pt x="22" y="235"/>
                  </a:lnTo>
                  <a:lnTo>
                    <a:pt x="22" y="235"/>
                  </a:lnTo>
                  <a:lnTo>
                    <a:pt x="24" y="216"/>
                  </a:lnTo>
                  <a:lnTo>
                    <a:pt x="24" y="205"/>
                  </a:lnTo>
                  <a:lnTo>
                    <a:pt x="22" y="200"/>
                  </a:lnTo>
                  <a:lnTo>
                    <a:pt x="24" y="192"/>
                  </a:lnTo>
                  <a:lnTo>
                    <a:pt x="24" y="192"/>
                  </a:lnTo>
                  <a:lnTo>
                    <a:pt x="26" y="186"/>
                  </a:lnTo>
                  <a:lnTo>
                    <a:pt x="26" y="183"/>
                  </a:lnTo>
                  <a:lnTo>
                    <a:pt x="24" y="179"/>
                  </a:lnTo>
                  <a:lnTo>
                    <a:pt x="22" y="178"/>
                  </a:lnTo>
                  <a:lnTo>
                    <a:pt x="17" y="178"/>
                  </a:lnTo>
                  <a:lnTo>
                    <a:pt x="13" y="179"/>
                  </a:lnTo>
                  <a:lnTo>
                    <a:pt x="13" y="179"/>
                  </a:lnTo>
                  <a:lnTo>
                    <a:pt x="10" y="179"/>
                  </a:lnTo>
                  <a:lnTo>
                    <a:pt x="10" y="178"/>
                  </a:lnTo>
                  <a:lnTo>
                    <a:pt x="10" y="174"/>
                  </a:lnTo>
                  <a:lnTo>
                    <a:pt x="10" y="171"/>
                  </a:lnTo>
                  <a:lnTo>
                    <a:pt x="10" y="171"/>
                  </a:lnTo>
                  <a:lnTo>
                    <a:pt x="10" y="169"/>
                  </a:lnTo>
                  <a:lnTo>
                    <a:pt x="12" y="167"/>
                  </a:lnTo>
                  <a:lnTo>
                    <a:pt x="12" y="165"/>
                  </a:lnTo>
                  <a:lnTo>
                    <a:pt x="12" y="165"/>
                  </a:lnTo>
                  <a:lnTo>
                    <a:pt x="5" y="165"/>
                  </a:lnTo>
                  <a:lnTo>
                    <a:pt x="5" y="165"/>
                  </a:lnTo>
                  <a:lnTo>
                    <a:pt x="1" y="165"/>
                  </a:lnTo>
                  <a:lnTo>
                    <a:pt x="0" y="164"/>
                  </a:lnTo>
                  <a:lnTo>
                    <a:pt x="0" y="160"/>
                  </a:lnTo>
                  <a:lnTo>
                    <a:pt x="1" y="155"/>
                  </a:lnTo>
                  <a:lnTo>
                    <a:pt x="5" y="146"/>
                  </a:lnTo>
                  <a:lnTo>
                    <a:pt x="5" y="141"/>
                  </a:lnTo>
                  <a:lnTo>
                    <a:pt x="5" y="138"/>
                  </a:lnTo>
                  <a:lnTo>
                    <a:pt x="5" y="138"/>
                  </a:lnTo>
                  <a:lnTo>
                    <a:pt x="5" y="134"/>
                  </a:lnTo>
                  <a:lnTo>
                    <a:pt x="6" y="132"/>
                  </a:lnTo>
                  <a:lnTo>
                    <a:pt x="10" y="129"/>
                  </a:lnTo>
                  <a:lnTo>
                    <a:pt x="13" y="124"/>
                  </a:lnTo>
                  <a:lnTo>
                    <a:pt x="15" y="118"/>
                  </a:lnTo>
                  <a:lnTo>
                    <a:pt x="15" y="118"/>
                  </a:lnTo>
                  <a:lnTo>
                    <a:pt x="19" y="106"/>
                  </a:lnTo>
                  <a:lnTo>
                    <a:pt x="22" y="99"/>
                  </a:lnTo>
                  <a:lnTo>
                    <a:pt x="24" y="96"/>
                  </a:lnTo>
                  <a:lnTo>
                    <a:pt x="22" y="92"/>
                  </a:lnTo>
                  <a:lnTo>
                    <a:pt x="22" y="92"/>
                  </a:lnTo>
                  <a:lnTo>
                    <a:pt x="24" y="84"/>
                  </a:lnTo>
                  <a:lnTo>
                    <a:pt x="29" y="71"/>
                  </a:lnTo>
                  <a:lnTo>
                    <a:pt x="31" y="58"/>
                  </a:lnTo>
                  <a:lnTo>
                    <a:pt x="33" y="52"/>
                  </a:lnTo>
                  <a:lnTo>
                    <a:pt x="31" y="47"/>
                  </a:lnTo>
                  <a:lnTo>
                    <a:pt x="31" y="47"/>
                  </a:lnTo>
                  <a:lnTo>
                    <a:pt x="26" y="35"/>
                  </a:lnTo>
                  <a:lnTo>
                    <a:pt x="24" y="30"/>
                  </a:lnTo>
                  <a:lnTo>
                    <a:pt x="26" y="26"/>
                  </a:lnTo>
                  <a:lnTo>
                    <a:pt x="26" y="26"/>
                  </a:lnTo>
                  <a:lnTo>
                    <a:pt x="26" y="23"/>
                  </a:lnTo>
                  <a:lnTo>
                    <a:pt x="24" y="21"/>
                  </a:lnTo>
                  <a:lnTo>
                    <a:pt x="24" y="17"/>
                  </a:lnTo>
                  <a:lnTo>
                    <a:pt x="26" y="14"/>
                  </a:lnTo>
                  <a:lnTo>
                    <a:pt x="26"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5" name="Freeform 2038">
              <a:extLst>
                <a:ext uri="{FF2B5EF4-FFF2-40B4-BE49-F238E27FC236}">
                  <a16:creationId xmlns:a16="http://schemas.microsoft.com/office/drawing/2014/main" id="{C8BB8DE8-E078-4DAD-822C-A33FBBEBEB7E}"/>
                </a:ext>
              </a:extLst>
            </p:cNvPr>
            <p:cNvSpPr>
              <a:spLocks/>
            </p:cNvSpPr>
            <p:nvPr/>
          </p:nvSpPr>
          <p:spPr bwMode="auto">
            <a:xfrm>
              <a:off x="4962892" y="2984125"/>
              <a:ext cx="26429" cy="63432"/>
            </a:xfrm>
            <a:custGeom>
              <a:avLst/>
              <a:gdLst/>
              <a:ahLst/>
              <a:cxnLst>
                <a:cxn ang="0">
                  <a:pos x="29" y="0"/>
                </a:cxn>
                <a:cxn ang="0">
                  <a:pos x="26" y="2"/>
                </a:cxn>
                <a:cxn ang="0">
                  <a:pos x="24" y="14"/>
                </a:cxn>
                <a:cxn ang="0">
                  <a:pos x="22" y="16"/>
                </a:cxn>
                <a:cxn ang="0">
                  <a:pos x="19" y="16"/>
                </a:cxn>
                <a:cxn ang="0">
                  <a:pos x="12" y="18"/>
                </a:cxn>
                <a:cxn ang="0">
                  <a:pos x="5" y="23"/>
                </a:cxn>
                <a:cxn ang="0">
                  <a:pos x="3" y="23"/>
                </a:cxn>
                <a:cxn ang="0">
                  <a:pos x="0" y="39"/>
                </a:cxn>
                <a:cxn ang="0">
                  <a:pos x="0" y="52"/>
                </a:cxn>
                <a:cxn ang="0">
                  <a:pos x="2" y="54"/>
                </a:cxn>
                <a:cxn ang="0">
                  <a:pos x="5" y="56"/>
                </a:cxn>
                <a:cxn ang="0">
                  <a:pos x="3" y="59"/>
                </a:cxn>
                <a:cxn ang="0">
                  <a:pos x="2" y="61"/>
                </a:cxn>
                <a:cxn ang="0">
                  <a:pos x="7" y="63"/>
                </a:cxn>
                <a:cxn ang="0">
                  <a:pos x="9" y="65"/>
                </a:cxn>
                <a:cxn ang="0">
                  <a:pos x="5" y="70"/>
                </a:cxn>
                <a:cxn ang="0">
                  <a:pos x="9" y="72"/>
                </a:cxn>
                <a:cxn ang="0">
                  <a:pos x="14" y="77"/>
                </a:cxn>
                <a:cxn ang="0">
                  <a:pos x="17" y="80"/>
                </a:cxn>
                <a:cxn ang="0">
                  <a:pos x="19" y="80"/>
                </a:cxn>
                <a:cxn ang="0">
                  <a:pos x="22" y="77"/>
                </a:cxn>
                <a:cxn ang="0">
                  <a:pos x="22" y="72"/>
                </a:cxn>
                <a:cxn ang="0">
                  <a:pos x="26" y="70"/>
                </a:cxn>
                <a:cxn ang="0">
                  <a:pos x="28" y="56"/>
                </a:cxn>
                <a:cxn ang="0">
                  <a:pos x="29" y="51"/>
                </a:cxn>
                <a:cxn ang="0">
                  <a:pos x="33" y="42"/>
                </a:cxn>
                <a:cxn ang="0">
                  <a:pos x="33" y="33"/>
                </a:cxn>
                <a:cxn ang="0">
                  <a:pos x="31" y="19"/>
                </a:cxn>
                <a:cxn ang="0">
                  <a:pos x="29" y="14"/>
                </a:cxn>
                <a:cxn ang="0">
                  <a:pos x="31" y="5"/>
                </a:cxn>
                <a:cxn ang="0">
                  <a:pos x="29" y="0"/>
                </a:cxn>
              </a:cxnLst>
              <a:rect l="0" t="0" r="r" b="b"/>
              <a:pathLst>
                <a:path w="33" h="80">
                  <a:moveTo>
                    <a:pt x="29" y="0"/>
                  </a:moveTo>
                  <a:lnTo>
                    <a:pt x="29" y="0"/>
                  </a:lnTo>
                  <a:lnTo>
                    <a:pt x="26" y="0"/>
                  </a:lnTo>
                  <a:lnTo>
                    <a:pt x="26" y="2"/>
                  </a:lnTo>
                  <a:lnTo>
                    <a:pt x="26" y="9"/>
                  </a:lnTo>
                  <a:lnTo>
                    <a:pt x="24" y="14"/>
                  </a:lnTo>
                  <a:lnTo>
                    <a:pt x="24" y="16"/>
                  </a:lnTo>
                  <a:lnTo>
                    <a:pt x="22" y="16"/>
                  </a:lnTo>
                  <a:lnTo>
                    <a:pt x="22" y="16"/>
                  </a:lnTo>
                  <a:lnTo>
                    <a:pt x="19" y="16"/>
                  </a:lnTo>
                  <a:lnTo>
                    <a:pt x="15" y="16"/>
                  </a:lnTo>
                  <a:lnTo>
                    <a:pt x="12" y="18"/>
                  </a:lnTo>
                  <a:lnTo>
                    <a:pt x="9" y="21"/>
                  </a:lnTo>
                  <a:lnTo>
                    <a:pt x="5" y="23"/>
                  </a:lnTo>
                  <a:lnTo>
                    <a:pt x="5" y="23"/>
                  </a:lnTo>
                  <a:lnTo>
                    <a:pt x="3" y="23"/>
                  </a:lnTo>
                  <a:lnTo>
                    <a:pt x="2" y="26"/>
                  </a:lnTo>
                  <a:lnTo>
                    <a:pt x="0" y="39"/>
                  </a:lnTo>
                  <a:lnTo>
                    <a:pt x="0" y="49"/>
                  </a:lnTo>
                  <a:lnTo>
                    <a:pt x="0" y="52"/>
                  </a:lnTo>
                  <a:lnTo>
                    <a:pt x="2" y="54"/>
                  </a:lnTo>
                  <a:lnTo>
                    <a:pt x="2" y="54"/>
                  </a:lnTo>
                  <a:lnTo>
                    <a:pt x="5" y="54"/>
                  </a:lnTo>
                  <a:lnTo>
                    <a:pt x="5" y="56"/>
                  </a:lnTo>
                  <a:lnTo>
                    <a:pt x="3" y="59"/>
                  </a:lnTo>
                  <a:lnTo>
                    <a:pt x="3" y="59"/>
                  </a:lnTo>
                  <a:lnTo>
                    <a:pt x="2" y="61"/>
                  </a:lnTo>
                  <a:lnTo>
                    <a:pt x="2" y="61"/>
                  </a:lnTo>
                  <a:lnTo>
                    <a:pt x="7" y="63"/>
                  </a:lnTo>
                  <a:lnTo>
                    <a:pt x="7" y="63"/>
                  </a:lnTo>
                  <a:lnTo>
                    <a:pt x="9" y="65"/>
                  </a:lnTo>
                  <a:lnTo>
                    <a:pt x="9" y="65"/>
                  </a:lnTo>
                  <a:lnTo>
                    <a:pt x="7" y="66"/>
                  </a:lnTo>
                  <a:lnTo>
                    <a:pt x="5" y="70"/>
                  </a:lnTo>
                  <a:lnTo>
                    <a:pt x="5" y="72"/>
                  </a:lnTo>
                  <a:lnTo>
                    <a:pt x="9" y="72"/>
                  </a:lnTo>
                  <a:lnTo>
                    <a:pt x="9" y="72"/>
                  </a:lnTo>
                  <a:lnTo>
                    <a:pt x="14" y="77"/>
                  </a:lnTo>
                  <a:lnTo>
                    <a:pt x="17" y="79"/>
                  </a:lnTo>
                  <a:lnTo>
                    <a:pt x="17" y="80"/>
                  </a:lnTo>
                  <a:lnTo>
                    <a:pt x="19" y="80"/>
                  </a:lnTo>
                  <a:lnTo>
                    <a:pt x="19" y="80"/>
                  </a:lnTo>
                  <a:lnTo>
                    <a:pt x="22" y="80"/>
                  </a:lnTo>
                  <a:lnTo>
                    <a:pt x="22" y="77"/>
                  </a:lnTo>
                  <a:lnTo>
                    <a:pt x="22" y="73"/>
                  </a:lnTo>
                  <a:lnTo>
                    <a:pt x="22" y="72"/>
                  </a:lnTo>
                  <a:lnTo>
                    <a:pt x="22" y="72"/>
                  </a:lnTo>
                  <a:lnTo>
                    <a:pt x="26" y="70"/>
                  </a:lnTo>
                  <a:lnTo>
                    <a:pt x="28" y="66"/>
                  </a:lnTo>
                  <a:lnTo>
                    <a:pt x="28" y="56"/>
                  </a:lnTo>
                  <a:lnTo>
                    <a:pt x="28" y="56"/>
                  </a:lnTo>
                  <a:lnTo>
                    <a:pt x="29" y="51"/>
                  </a:lnTo>
                  <a:lnTo>
                    <a:pt x="31" y="47"/>
                  </a:lnTo>
                  <a:lnTo>
                    <a:pt x="33" y="42"/>
                  </a:lnTo>
                  <a:lnTo>
                    <a:pt x="33" y="33"/>
                  </a:lnTo>
                  <a:lnTo>
                    <a:pt x="33" y="33"/>
                  </a:lnTo>
                  <a:lnTo>
                    <a:pt x="31" y="25"/>
                  </a:lnTo>
                  <a:lnTo>
                    <a:pt x="31" y="19"/>
                  </a:lnTo>
                  <a:lnTo>
                    <a:pt x="29" y="16"/>
                  </a:lnTo>
                  <a:lnTo>
                    <a:pt x="29" y="14"/>
                  </a:lnTo>
                  <a:lnTo>
                    <a:pt x="29" y="14"/>
                  </a:lnTo>
                  <a:lnTo>
                    <a:pt x="31" y="5"/>
                  </a:lnTo>
                  <a:lnTo>
                    <a:pt x="29" y="2"/>
                  </a:lnTo>
                  <a:lnTo>
                    <a:pt x="29" y="0"/>
                  </a:lnTo>
                  <a:lnTo>
                    <a:pt x="29" y="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6" name="Freeform 2039">
              <a:extLst>
                <a:ext uri="{FF2B5EF4-FFF2-40B4-BE49-F238E27FC236}">
                  <a16:creationId xmlns:a16="http://schemas.microsoft.com/office/drawing/2014/main" id="{D675138D-CDAE-4ECC-9AFF-896E789FBF52}"/>
                </a:ext>
              </a:extLst>
            </p:cNvPr>
            <p:cNvSpPr>
              <a:spLocks/>
            </p:cNvSpPr>
            <p:nvPr/>
          </p:nvSpPr>
          <p:spPr bwMode="auto">
            <a:xfrm>
              <a:off x="5072134" y="3165608"/>
              <a:ext cx="88102" cy="61670"/>
            </a:xfrm>
            <a:custGeom>
              <a:avLst/>
              <a:gdLst/>
              <a:ahLst/>
              <a:cxnLst>
                <a:cxn ang="0">
                  <a:pos x="0" y="26"/>
                </a:cxn>
                <a:cxn ang="0">
                  <a:pos x="0" y="26"/>
                </a:cxn>
                <a:cxn ang="0">
                  <a:pos x="0" y="15"/>
                </a:cxn>
                <a:cxn ang="0">
                  <a:pos x="3" y="8"/>
                </a:cxn>
                <a:cxn ang="0">
                  <a:pos x="8" y="7"/>
                </a:cxn>
                <a:cxn ang="0">
                  <a:pos x="10" y="7"/>
                </a:cxn>
                <a:cxn ang="0">
                  <a:pos x="10" y="8"/>
                </a:cxn>
                <a:cxn ang="0">
                  <a:pos x="10" y="8"/>
                </a:cxn>
                <a:cxn ang="0">
                  <a:pos x="14" y="12"/>
                </a:cxn>
                <a:cxn ang="0">
                  <a:pos x="15" y="14"/>
                </a:cxn>
                <a:cxn ang="0">
                  <a:pos x="19" y="8"/>
                </a:cxn>
                <a:cxn ang="0">
                  <a:pos x="21" y="5"/>
                </a:cxn>
                <a:cxn ang="0">
                  <a:pos x="24" y="5"/>
                </a:cxn>
                <a:cxn ang="0">
                  <a:pos x="29" y="5"/>
                </a:cxn>
                <a:cxn ang="0">
                  <a:pos x="36" y="10"/>
                </a:cxn>
                <a:cxn ang="0">
                  <a:pos x="36" y="10"/>
                </a:cxn>
                <a:cxn ang="0">
                  <a:pos x="41" y="14"/>
                </a:cxn>
                <a:cxn ang="0">
                  <a:pos x="48" y="15"/>
                </a:cxn>
                <a:cxn ang="0">
                  <a:pos x="55" y="15"/>
                </a:cxn>
                <a:cxn ang="0">
                  <a:pos x="62" y="14"/>
                </a:cxn>
                <a:cxn ang="0">
                  <a:pos x="74" y="8"/>
                </a:cxn>
                <a:cxn ang="0">
                  <a:pos x="80" y="7"/>
                </a:cxn>
                <a:cxn ang="0">
                  <a:pos x="83" y="7"/>
                </a:cxn>
                <a:cxn ang="0">
                  <a:pos x="83" y="7"/>
                </a:cxn>
                <a:cxn ang="0">
                  <a:pos x="88" y="7"/>
                </a:cxn>
                <a:cxn ang="0">
                  <a:pos x="92" y="7"/>
                </a:cxn>
                <a:cxn ang="0">
                  <a:pos x="102" y="3"/>
                </a:cxn>
                <a:cxn ang="0">
                  <a:pos x="108" y="0"/>
                </a:cxn>
                <a:cxn ang="0">
                  <a:pos x="109" y="0"/>
                </a:cxn>
                <a:cxn ang="0">
                  <a:pos x="109" y="1"/>
                </a:cxn>
                <a:cxn ang="0">
                  <a:pos x="109" y="1"/>
                </a:cxn>
                <a:cxn ang="0">
                  <a:pos x="95" y="24"/>
                </a:cxn>
                <a:cxn ang="0">
                  <a:pos x="92" y="38"/>
                </a:cxn>
                <a:cxn ang="0">
                  <a:pos x="90" y="43"/>
                </a:cxn>
                <a:cxn ang="0">
                  <a:pos x="92" y="45"/>
                </a:cxn>
                <a:cxn ang="0">
                  <a:pos x="92" y="45"/>
                </a:cxn>
                <a:cxn ang="0">
                  <a:pos x="95" y="48"/>
                </a:cxn>
                <a:cxn ang="0">
                  <a:pos x="95" y="52"/>
                </a:cxn>
                <a:cxn ang="0">
                  <a:pos x="95" y="59"/>
                </a:cxn>
                <a:cxn ang="0">
                  <a:pos x="94" y="66"/>
                </a:cxn>
                <a:cxn ang="0">
                  <a:pos x="92" y="73"/>
                </a:cxn>
                <a:cxn ang="0">
                  <a:pos x="92" y="73"/>
                </a:cxn>
                <a:cxn ang="0">
                  <a:pos x="92" y="76"/>
                </a:cxn>
                <a:cxn ang="0">
                  <a:pos x="90" y="78"/>
                </a:cxn>
                <a:cxn ang="0">
                  <a:pos x="80" y="73"/>
                </a:cxn>
                <a:cxn ang="0">
                  <a:pos x="80" y="73"/>
                </a:cxn>
                <a:cxn ang="0">
                  <a:pos x="71" y="69"/>
                </a:cxn>
                <a:cxn ang="0">
                  <a:pos x="64" y="64"/>
                </a:cxn>
                <a:cxn ang="0">
                  <a:pos x="59" y="59"/>
                </a:cxn>
                <a:cxn ang="0">
                  <a:pos x="52" y="57"/>
                </a:cxn>
                <a:cxn ang="0">
                  <a:pos x="52" y="57"/>
                </a:cxn>
                <a:cxn ang="0">
                  <a:pos x="48" y="55"/>
                </a:cxn>
                <a:cxn ang="0">
                  <a:pos x="43" y="54"/>
                </a:cxn>
                <a:cxn ang="0">
                  <a:pos x="34" y="48"/>
                </a:cxn>
                <a:cxn ang="0">
                  <a:pos x="26" y="41"/>
                </a:cxn>
                <a:cxn ang="0">
                  <a:pos x="15" y="36"/>
                </a:cxn>
                <a:cxn ang="0">
                  <a:pos x="15" y="36"/>
                </a:cxn>
                <a:cxn ang="0">
                  <a:pos x="3" y="33"/>
                </a:cxn>
                <a:cxn ang="0">
                  <a:pos x="0" y="29"/>
                </a:cxn>
                <a:cxn ang="0">
                  <a:pos x="0" y="26"/>
                </a:cxn>
                <a:cxn ang="0">
                  <a:pos x="0" y="26"/>
                </a:cxn>
              </a:cxnLst>
              <a:rect l="0" t="0" r="r" b="b"/>
              <a:pathLst>
                <a:path w="109" h="78">
                  <a:moveTo>
                    <a:pt x="0" y="26"/>
                  </a:moveTo>
                  <a:lnTo>
                    <a:pt x="0" y="26"/>
                  </a:lnTo>
                  <a:lnTo>
                    <a:pt x="0" y="15"/>
                  </a:lnTo>
                  <a:lnTo>
                    <a:pt x="3" y="8"/>
                  </a:lnTo>
                  <a:lnTo>
                    <a:pt x="8" y="7"/>
                  </a:lnTo>
                  <a:lnTo>
                    <a:pt x="10" y="7"/>
                  </a:lnTo>
                  <a:lnTo>
                    <a:pt x="10" y="8"/>
                  </a:lnTo>
                  <a:lnTo>
                    <a:pt x="10" y="8"/>
                  </a:lnTo>
                  <a:lnTo>
                    <a:pt x="14" y="12"/>
                  </a:lnTo>
                  <a:lnTo>
                    <a:pt x="15" y="14"/>
                  </a:lnTo>
                  <a:lnTo>
                    <a:pt x="19" y="8"/>
                  </a:lnTo>
                  <a:lnTo>
                    <a:pt x="21" y="5"/>
                  </a:lnTo>
                  <a:lnTo>
                    <a:pt x="24" y="5"/>
                  </a:lnTo>
                  <a:lnTo>
                    <a:pt x="29" y="5"/>
                  </a:lnTo>
                  <a:lnTo>
                    <a:pt x="36" y="10"/>
                  </a:lnTo>
                  <a:lnTo>
                    <a:pt x="36" y="10"/>
                  </a:lnTo>
                  <a:lnTo>
                    <a:pt x="41" y="14"/>
                  </a:lnTo>
                  <a:lnTo>
                    <a:pt x="48" y="15"/>
                  </a:lnTo>
                  <a:lnTo>
                    <a:pt x="55" y="15"/>
                  </a:lnTo>
                  <a:lnTo>
                    <a:pt x="62" y="14"/>
                  </a:lnTo>
                  <a:lnTo>
                    <a:pt x="74" y="8"/>
                  </a:lnTo>
                  <a:lnTo>
                    <a:pt x="80" y="7"/>
                  </a:lnTo>
                  <a:lnTo>
                    <a:pt x="83" y="7"/>
                  </a:lnTo>
                  <a:lnTo>
                    <a:pt x="83" y="7"/>
                  </a:lnTo>
                  <a:lnTo>
                    <a:pt x="88" y="7"/>
                  </a:lnTo>
                  <a:lnTo>
                    <a:pt x="92" y="7"/>
                  </a:lnTo>
                  <a:lnTo>
                    <a:pt x="102" y="3"/>
                  </a:lnTo>
                  <a:lnTo>
                    <a:pt x="108" y="0"/>
                  </a:lnTo>
                  <a:lnTo>
                    <a:pt x="109" y="0"/>
                  </a:lnTo>
                  <a:lnTo>
                    <a:pt x="109" y="1"/>
                  </a:lnTo>
                  <a:lnTo>
                    <a:pt x="109" y="1"/>
                  </a:lnTo>
                  <a:lnTo>
                    <a:pt x="95" y="24"/>
                  </a:lnTo>
                  <a:lnTo>
                    <a:pt x="92" y="38"/>
                  </a:lnTo>
                  <a:lnTo>
                    <a:pt x="90" y="43"/>
                  </a:lnTo>
                  <a:lnTo>
                    <a:pt x="92" y="45"/>
                  </a:lnTo>
                  <a:lnTo>
                    <a:pt x="92" y="45"/>
                  </a:lnTo>
                  <a:lnTo>
                    <a:pt x="95" y="48"/>
                  </a:lnTo>
                  <a:lnTo>
                    <a:pt x="95" y="52"/>
                  </a:lnTo>
                  <a:lnTo>
                    <a:pt x="95" y="59"/>
                  </a:lnTo>
                  <a:lnTo>
                    <a:pt x="94" y="66"/>
                  </a:lnTo>
                  <a:lnTo>
                    <a:pt x="92" y="73"/>
                  </a:lnTo>
                  <a:lnTo>
                    <a:pt x="92" y="73"/>
                  </a:lnTo>
                  <a:lnTo>
                    <a:pt x="92" y="76"/>
                  </a:lnTo>
                  <a:lnTo>
                    <a:pt x="90" y="78"/>
                  </a:lnTo>
                  <a:lnTo>
                    <a:pt x="80" y="73"/>
                  </a:lnTo>
                  <a:lnTo>
                    <a:pt x="80" y="73"/>
                  </a:lnTo>
                  <a:lnTo>
                    <a:pt x="71" y="69"/>
                  </a:lnTo>
                  <a:lnTo>
                    <a:pt x="64" y="64"/>
                  </a:lnTo>
                  <a:lnTo>
                    <a:pt x="59" y="59"/>
                  </a:lnTo>
                  <a:lnTo>
                    <a:pt x="52" y="57"/>
                  </a:lnTo>
                  <a:lnTo>
                    <a:pt x="52" y="57"/>
                  </a:lnTo>
                  <a:lnTo>
                    <a:pt x="48" y="55"/>
                  </a:lnTo>
                  <a:lnTo>
                    <a:pt x="43" y="54"/>
                  </a:lnTo>
                  <a:lnTo>
                    <a:pt x="34" y="48"/>
                  </a:lnTo>
                  <a:lnTo>
                    <a:pt x="26" y="41"/>
                  </a:lnTo>
                  <a:lnTo>
                    <a:pt x="15" y="36"/>
                  </a:lnTo>
                  <a:lnTo>
                    <a:pt x="15" y="36"/>
                  </a:lnTo>
                  <a:lnTo>
                    <a:pt x="3" y="33"/>
                  </a:lnTo>
                  <a:lnTo>
                    <a:pt x="0" y="29"/>
                  </a:lnTo>
                  <a:lnTo>
                    <a:pt x="0" y="26"/>
                  </a:lnTo>
                  <a:lnTo>
                    <a:pt x="0" y="26"/>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7" name="Freeform 2040">
              <a:extLst>
                <a:ext uri="{FF2B5EF4-FFF2-40B4-BE49-F238E27FC236}">
                  <a16:creationId xmlns:a16="http://schemas.microsoft.com/office/drawing/2014/main" id="{2BA70057-F0D5-457C-8C6C-C9D8EBEBF9F3}"/>
                </a:ext>
              </a:extLst>
            </p:cNvPr>
            <p:cNvSpPr>
              <a:spLocks/>
            </p:cNvSpPr>
            <p:nvPr/>
          </p:nvSpPr>
          <p:spPr bwMode="auto">
            <a:xfrm>
              <a:off x="4887123" y="2792062"/>
              <a:ext cx="128627" cy="79291"/>
            </a:xfrm>
            <a:custGeom>
              <a:avLst/>
              <a:gdLst/>
              <a:ahLst/>
              <a:cxnLst>
                <a:cxn ang="0">
                  <a:pos x="130" y="17"/>
                </a:cxn>
                <a:cxn ang="0">
                  <a:pos x="123" y="36"/>
                </a:cxn>
                <a:cxn ang="0">
                  <a:pos x="127" y="38"/>
                </a:cxn>
                <a:cxn ang="0">
                  <a:pos x="141" y="40"/>
                </a:cxn>
                <a:cxn ang="0">
                  <a:pos x="143" y="47"/>
                </a:cxn>
                <a:cxn ang="0">
                  <a:pos x="148" y="47"/>
                </a:cxn>
                <a:cxn ang="0">
                  <a:pos x="156" y="40"/>
                </a:cxn>
                <a:cxn ang="0">
                  <a:pos x="158" y="47"/>
                </a:cxn>
                <a:cxn ang="0">
                  <a:pos x="158" y="59"/>
                </a:cxn>
                <a:cxn ang="0">
                  <a:pos x="160" y="64"/>
                </a:cxn>
                <a:cxn ang="0">
                  <a:pos x="156" y="66"/>
                </a:cxn>
                <a:cxn ang="0">
                  <a:pos x="148" y="59"/>
                </a:cxn>
                <a:cxn ang="0">
                  <a:pos x="146" y="64"/>
                </a:cxn>
                <a:cxn ang="0">
                  <a:pos x="148" y="78"/>
                </a:cxn>
                <a:cxn ang="0">
                  <a:pos x="144" y="78"/>
                </a:cxn>
                <a:cxn ang="0">
                  <a:pos x="137" y="73"/>
                </a:cxn>
                <a:cxn ang="0">
                  <a:pos x="132" y="75"/>
                </a:cxn>
                <a:cxn ang="0">
                  <a:pos x="127" y="71"/>
                </a:cxn>
                <a:cxn ang="0">
                  <a:pos x="120" y="66"/>
                </a:cxn>
                <a:cxn ang="0">
                  <a:pos x="118" y="68"/>
                </a:cxn>
                <a:cxn ang="0">
                  <a:pos x="115" y="80"/>
                </a:cxn>
                <a:cxn ang="0">
                  <a:pos x="109" y="87"/>
                </a:cxn>
                <a:cxn ang="0">
                  <a:pos x="111" y="97"/>
                </a:cxn>
                <a:cxn ang="0">
                  <a:pos x="109" y="99"/>
                </a:cxn>
                <a:cxn ang="0">
                  <a:pos x="103" y="94"/>
                </a:cxn>
                <a:cxn ang="0">
                  <a:pos x="94" y="83"/>
                </a:cxn>
                <a:cxn ang="0">
                  <a:pos x="89" y="68"/>
                </a:cxn>
                <a:cxn ang="0">
                  <a:pos x="85" y="68"/>
                </a:cxn>
                <a:cxn ang="0">
                  <a:pos x="78" y="75"/>
                </a:cxn>
                <a:cxn ang="0">
                  <a:pos x="78" y="80"/>
                </a:cxn>
                <a:cxn ang="0">
                  <a:pos x="76" y="87"/>
                </a:cxn>
                <a:cxn ang="0">
                  <a:pos x="66" y="94"/>
                </a:cxn>
                <a:cxn ang="0">
                  <a:pos x="52" y="94"/>
                </a:cxn>
                <a:cxn ang="0">
                  <a:pos x="42" y="97"/>
                </a:cxn>
                <a:cxn ang="0">
                  <a:pos x="35" y="87"/>
                </a:cxn>
                <a:cxn ang="0">
                  <a:pos x="28" y="83"/>
                </a:cxn>
                <a:cxn ang="0">
                  <a:pos x="31" y="73"/>
                </a:cxn>
                <a:cxn ang="0">
                  <a:pos x="26" y="68"/>
                </a:cxn>
                <a:cxn ang="0">
                  <a:pos x="17" y="69"/>
                </a:cxn>
                <a:cxn ang="0">
                  <a:pos x="12" y="80"/>
                </a:cxn>
                <a:cxn ang="0">
                  <a:pos x="8" y="83"/>
                </a:cxn>
                <a:cxn ang="0">
                  <a:pos x="0" y="82"/>
                </a:cxn>
                <a:cxn ang="0">
                  <a:pos x="5" y="75"/>
                </a:cxn>
                <a:cxn ang="0">
                  <a:pos x="7" y="62"/>
                </a:cxn>
                <a:cxn ang="0">
                  <a:pos x="10" y="57"/>
                </a:cxn>
                <a:cxn ang="0">
                  <a:pos x="17" y="48"/>
                </a:cxn>
                <a:cxn ang="0">
                  <a:pos x="22" y="40"/>
                </a:cxn>
                <a:cxn ang="0">
                  <a:pos x="28" y="35"/>
                </a:cxn>
                <a:cxn ang="0">
                  <a:pos x="33" y="28"/>
                </a:cxn>
                <a:cxn ang="0">
                  <a:pos x="35" y="21"/>
                </a:cxn>
                <a:cxn ang="0">
                  <a:pos x="42" y="15"/>
                </a:cxn>
                <a:cxn ang="0">
                  <a:pos x="57" y="10"/>
                </a:cxn>
                <a:cxn ang="0">
                  <a:pos x="69" y="12"/>
                </a:cxn>
                <a:cxn ang="0">
                  <a:pos x="82" y="10"/>
                </a:cxn>
                <a:cxn ang="0">
                  <a:pos x="89" y="5"/>
                </a:cxn>
                <a:cxn ang="0">
                  <a:pos x="92" y="1"/>
                </a:cxn>
                <a:cxn ang="0">
                  <a:pos x="101" y="3"/>
                </a:cxn>
                <a:cxn ang="0">
                  <a:pos x="108" y="7"/>
                </a:cxn>
                <a:cxn ang="0">
                  <a:pos x="120" y="8"/>
                </a:cxn>
              </a:cxnLst>
              <a:rect l="0" t="0" r="r" b="b"/>
              <a:pathLst>
                <a:path w="160" h="99">
                  <a:moveTo>
                    <a:pt x="127" y="14"/>
                  </a:moveTo>
                  <a:lnTo>
                    <a:pt x="127" y="14"/>
                  </a:lnTo>
                  <a:lnTo>
                    <a:pt x="130" y="17"/>
                  </a:lnTo>
                  <a:lnTo>
                    <a:pt x="130" y="22"/>
                  </a:lnTo>
                  <a:lnTo>
                    <a:pt x="127" y="29"/>
                  </a:lnTo>
                  <a:lnTo>
                    <a:pt x="123" y="36"/>
                  </a:lnTo>
                  <a:lnTo>
                    <a:pt x="125" y="38"/>
                  </a:lnTo>
                  <a:lnTo>
                    <a:pt x="127" y="38"/>
                  </a:lnTo>
                  <a:lnTo>
                    <a:pt x="127" y="38"/>
                  </a:lnTo>
                  <a:lnTo>
                    <a:pt x="134" y="38"/>
                  </a:lnTo>
                  <a:lnTo>
                    <a:pt x="137" y="38"/>
                  </a:lnTo>
                  <a:lnTo>
                    <a:pt x="141" y="40"/>
                  </a:lnTo>
                  <a:lnTo>
                    <a:pt x="141" y="42"/>
                  </a:lnTo>
                  <a:lnTo>
                    <a:pt x="143" y="45"/>
                  </a:lnTo>
                  <a:lnTo>
                    <a:pt x="143" y="47"/>
                  </a:lnTo>
                  <a:lnTo>
                    <a:pt x="146" y="47"/>
                  </a:lnTo>
                  <a:lnTo>
                    <a:pt x="146" y="47"/>
                  </a:lnTo>
                  <a:lnTo>
                    <a:pt x="148" y="47"/>
                  </a:lnTo>
                  <a:lnTo>
                    <a:pt x="151" y="45"/>
                  </a:lnTo>
                  <a:lnTo>
                    <a:pt x="155" y="42"/>
                  </a:lnTo>
                  <a:lnTo>
                    <a:pt x="156" y="40"/>
                  </a:lnTo>
                  <a:lnTo>
                    <a:pt x="156" y="42"/>
                  </a:lnTo>
                  <a:lnTo>
                    <a:pt x="158" y="47"/>
                  </a:lnTo>
                  <a:lnTo>
                    <a:pt x="158" y="47"/>
                  </a:lnTo>
                  <a:lnTo>
                    <a:pt x="156" y="50"/>
                  </a:lnTo>
                  <a:lnTo>
                    <a:pt x="156" y="54"/>
                  </a:lnTo>
                  <a:lnTo>
                    <a:pt x="158" y="59"/>
                  </a:lnTo>
                  <a:lnTo>
                    <a:pt x="160" y="62"/>
                  </a:lnTo>
                  <a:lnTo>
                    <a:pt x="160" y="62"/>
                  </a:lnTo>
                  <a:lnTo>
                    <a:pt x="160" y="64"/>
                  </a:lnTo>
                  <a:lnTo>
                    <a:pt x="160" y="64"/>
                  </a:lnTo>
                  <a:lnTo>
                    <a:pt x="158" y="66"/>
                  </a:lnTo>
                  <a:lnTo>
                    <a:pt x="156" y="66"/>
                  </a:lnTo>
                  <a:lnTo>
                    <a:pt x="151" y="62"/>
                  </a:lnTo>
                  <a:lnTo>
                    <a:pt x="148" y="61"/>
                  </a:lnTo>
                  <a:lnTo>
                    <a:pt x="148" y="59"/>
                  </a:lnTo>
                  <a:lnTo>
                    <a:pt x="146" y="61"/>
                  </a:lnTo>
                  <a:lnTo>
                    <a:pt x="146" y="61"/>
                  </a:lnTo>
                  <a:lnTo>
                    <a:pt x="146" y="64"/>
                  </a:lnTo>
                  <a:lnTo>
                    <a:pt x="148" y="69"/>
                  </a:lnTo>
                  <a:lnTo>
                    <a:pt x="148" y="75"/>
                  </a:lnTo>
                  <a:lnTo>
                    <a:pt x="148" y="78"/>
                  </a:lnTo>
                  <a:lnTo>
                    <a:pt x="146" y="78"/>
                  </a:lnTo>
                  <a:lnTo>
                    <a:pt x="146" y="78"/>
                  </a:lnTo>
                  <a:lnTo>
                    <a:pt x="144" y="78"/>
                  </a:lnTo>
                  <a:lnTo>
                    <a:pt x="144" y="78"/>
                  </a:lnTo>
                  <a:lnTo>
                    <a:pt x="141" y="75"/>
                  </a:lnTo>
                  <a:lnTo>
                    <a:pt x="137" y="73"/>
                  </a:lnTo>
                  <a:lnTo>
                    <a:pt x="136" y="73"/>
                  </a:lnTo>
                  <a:lnTo>
                    <a:pt x="132" y="75"/>
                  </a:lnTo>
                  <a:lnTo>
                    <a:pt x="132" y="75"/>
                  </a:lnTo>
                  <a:lnTo>
                    <a:pt x="130" y="75"/>
                  </a:lnTo>
                  <a:lnTo>
                    <a:pt x="129" y="75"/>
                  </a:lnTo>
                  <a:lnTo>
                    <a:pt x="127" y="71"/>
                  </a:lnTo>
                  <a:lnTo>
                    <a:pt x="123" y="68"/>
                  </a:lnTo>
                  <a:lnTo>
                    <a:pt x="122" y="66"/>
                  </a:lnTo>
                  <a:lnTo>
                    <a:pt x="120" y="66"/>
                  </a:lnTo>
                  <a:lnTo>
                    <a:pt x="120" y="66"/>
                  </a:lnTo>
                  <a:lnTo>
                    <a:pt x="118" y="66"/>
                  </a:lnTo>
                  <a:lnTo>
                    <a:pt x="118" y="68"/>
                  </a:lnTo>
                  <a:lnTo>
                    <a:pt x="118" y="71"/>
                  </a:lnTo>
                  <a:lnTo>
                    <a:pt x="116" y="78"/>
                  </a:lnTo>
                  <a:lnTo>
                    <a:pt x="115" y="80"/>
                  </a:lnTo>
                  <a:lnTo>
                    <a:pt x="113" y="83"/>
                  </a:lnTo>
                  <a:lnTo>
                    <a:pt x="113" y="83"/>
                  </a:lnTo>
                  <a:lnTo>
                    <a:pt x="109" y="87"/>
                  </a:lnTo>
                  <a:lnTo>
                    <a:pt x="109" y="89"/>
                  </a:lnTo>
                  <a:lnTo>
                    <a:pt x="109" y="94"/>
                  </a:lnTo>
                  <a:lnTo>
                    <a:pt x="111" y="97"/>
                  </a:lnTo>
                  <a:lnTo>
                    <a:pt x="111" y="99"/>
                  </a:lnTo>
                  <a:lnTo>
                    <a:pt x="109" y="99"/>
                  </a:lnTo>
                  <a:lnTo>
                    <a:pt x="109" y="99"/>
                  </a:lnTo>
                  <a:lnTo>
                    <a:pt x="108" y="99"/>
                  </a:lnTo>
                  <a:lnTo>
                    <a:pt x="106" y="99"/>
                  </a:lnTo>
                  <a:lnTo>
                    <a:pt x="103" y="94"/>
                  </a:lnTo>
                  <a:lnTo>
                    <a:pt x="99" y="89"/>
                  </a:lnTo>
                  <a:lnTo>
                    <a:pt x="94" y="83"/>
                  </a:lnTo>
                  <a:lnTo>
                    <a:pt x="94" y="83"/>
                  </a:lnTo>
                  <a:lnTo>
                    <a:pt x="90" y="80"/>
                  </a:lnTo>
                  <a:lnTo>
                    <a:pt x="89" y="76"/>
                  </a:lnTo>
                  <a:lnTo>
                    <a:pt x="89" y="68"/>
                  </a:lnTo>
                  <a:lnTo>
                    <a:pt x="89" y="68"/>
                  </a:lnTo>
                  <a:lnTo>
                    <a:pt x="87" y="66"/>
                  </a:lnTo>
                  <a:lnTo>
                    <a:pt x="85" y="68"/>
                  </a:lnTo>
                  <a:lnTo>
                    <a:pt x="82" y="71"/>
                  </a:lnTo>
                  <a:lnTo>
                    <a:pt x="78" y="75"/>
                  </a:lnTo>
                  <a:lnTo>
                    <a:pt x="78" y="75"/>
                  </a:lnTo>
                  <a:lnTo>
                    <a:pt x="76" y="75"/>
                  </a:lnTo>
                  <a:lnTo>
                    <a:pt x="76" y="76"/>
                  </a:lnTo>
                  <a:lnTo>
                    <a:pt x="78" y="80"/>
                  </a:lnTo>
                  <a:lnTo>
                    <a:pt x="78" y="82"/>
                  </a:lnTo>
                  <a:lnTo>
                    <a:pt x="78" y="83"/>
                  </a:lnTo>
                  <a:lnTo>
                    <a:pt x="76" y="87"/>
                  </a:lnTo>
                  <a:lnTo>
                    <a:pt x="73" y="89"/>
                  </a:lnTo>
                  <a:lnTo>
                    <a:pt x="73" y="89"/>
                  </a:lnTo>
                  <a:lnTo>
                    <a:pt x="66" y="94"/>
                  </a:lnTo>
                  <a:lnTo>
                    <a:pt x="62" y="92"/>
                  </a:lnTo>
                  <a:lnTo>
                    <a:pt x="57" y="92"/>
                  </a:lnTo>
                  <a:lnTo>
                    <a:pt x="52" y="94"/>
                  </a:lnTo>
                  <a:lnTo>
                    <a:pt x="52" y="94"/>
                  </a:lnTo>
                  <a:lnTo>
                    <a:pt x="47" y="97"/>
                  </a:lnTo>
                  <a:lnTo>
                    <a:pt x="42" y="97"/>
                  </a:lnTo>
                  <a:lnTo>
                    <a:pt x="36" y="94"/>
                  </a:lnTo>
                  <a:lnTo>
                    <a:pt x="36" y="94"/>
                  </a:lnTo>
                  <a:lnTo>
                    <a:pt x="35" y="87"/>
                  </a:lnTo>
                  <a:lnTo>
                    <a:pt x="31" y="85"/>
                  </a:lnTo>
                  <a:lnTo>
                    <a:pt x="28" y="85"/>
                  </a:lnTo>
                  <a:lnTo>
                    <a:pt x="28" y="83"/>
                  </a:lnTo>
                  <a:lnTo>
                    <a:pt x="28" y="83"/>
                  </a:lnTo>
                  <a:lnTo>
                    <a:pt x="29" y="78"/>
                  </a:lnTo>
                  <a:lnTo>
                    <a:pt x="31" y="73"/>
                  </a:lnTo>
                  <a:lnTo>
                    <a:pt x="29" y="71"/>
                  </a:lnTo>
                  <a:lnTo>
                    <a:pt x="28" y="69"/>
                  </a:lnTo>
                  <a:lnTo>
                    <a:pt x="26" y="68"/>
                  </a:lnTo>
                  <a:lnTo>
                    <a:pt x="21" y="68"/>
                  </a:lnTo>
                  <a:lnTo>
                    <a:pt x="21" y="68"/>
                  </a:lnTo>
                  <a:lnTo>
                    <a:pt x="17" y="69"/>
                  </a:lnTo>
                  <a:lnTo>
                    <a:pt x="14" y="71"/>
                  </a:lnTo>
                  <a:lnTo>
                    <a:pt x="12" y="75"/>
                  </a:lnTo>
                  <a:lnTo>
                    <a:pt x="12" y="80"/>
                  </a:lnTo>
                  <a:lnTo>
                    <a:pt x="10" y="82"/>
                  </a:lnTo>
                  <a:lnTo>
                    <a:pt x="8" y="83"/>
                  </a:lnTo>
                  <a:lnTo>
                    <a:pt x="8" y="83"/>
                  </a:lnTo>
                  <a:lnTo>
                    <a:pt x="3" y="85"/>
                  </a:lnTo>
                  <a:lnTo>
                    <a:pt x="0" y="83"/>
                  </a:lnTo>
                  <a:lnTo>
                    <a:pt x="0" y="82"/>
                  </a:lnTo>
                  <a:lnTo>
                    <a:pt x="3" y="78"/>
                  </a:lnTo>
                  <a:lnTo>
                    <a:pt x="3" y="78"/>
                  </a:lnTo>
                  <a:lnTo>
                    <a:pt x="5" y="75"/>
                  </a:lnTo>
                  <a:lnTo>
                    <a:pt x="7" y="73"/>
                  </a:lnTo>
                  <a:lnTo>
                    <a:pt x="7" y="68"/>
                  </a:lnTo>
                  <a:lnTo>
                    <a:pt x="7" y="62"/>
                  </a:lnTo>
                  <a:lnTo>
                    <a:pt x="8" y="59"/>
                  </a:lnTo>
                  <a:lnTo>
                    <a:pt x="10" y="57"/>
                  </a:lnTo>
                  <a:lnTo>
                    <a:pt x="10" y="57"/>
                  </a:lnTo>
                  <a:lnTo>
                    <a:pt x="15" y="55"/>
                  </a:lnTo>
                  <a:lnTo>
                    <a:pt x="17" y="52"/>
                  </a:lnTo>
                  <a:lnTo>
                    <a:pt x="17" y="48"/>
                  </a:lnTo>
                  <a:lnTo>
                    <a:pt x="17" y="43"/>
                  </a:lnTo>
                  <a:lnTo>
                    <a:pt x="19" y="42"/>
                  </a:lnTo>
                  <a:lnTo>
                    <a:pt x="22" y="40"/>
                  </a:lnTo>
                  <a:lnTo>
                    <a:pt x="22" y="40"/>
                  </a:lnTo>
                  <a:lnTo>
                    <a:pt x="28" y="38"/>
                  </a:lnTo>
                  <a:lnTo>
                    <a:pt x="28" y="35"/>
                  </a:lnTo>
                  <a:lnTo>
                    <a:pt x="29" y="31"/>
                  </a:lnTo>
                  <a:lnTo>
                    <a:pt x="33" y="28"/>
                  </a:lnTo>
                  <a:lnTo>
                    <a:pt x="33" y="28"/>
                  </a:lnTo>
                  <a:lnTo>
                    <a:pt x="36" y="24"/>
                  </a:lnTo>
                  <a:lnTo>
                    <a:pt x="36" y="22"/>
                  </a:lnTo>
                  <a:lnTo>
                    <a:pt x="35" y="21"/>
                  </a:lnTo>
                  <a:lnTo>
                    <a:pt x="36" y="17"/>
                  </a:lnTo>
                  <a:lnTo>
                    <a:pt x="36" y="17"/>
                  </a:lnTo>
                  <a:lnTo>
                    <a:pt x="42" y="15"/>
                  </a:lnTo>
                  <a:lnTo>
                    <a:pt x="45" y="15"/>
                  </a:lnTo>
                  <a:lnTo>
                    <a:pt x="50" y="15"/>
                  </a:lnTo>
                  <a:lnTo>
                    <a:pt x="57" y="10"/>
                  </a:lnTo>
                  <a:lnTo>
                    <a:pt x="57" y="10"/>
                  </a:lnTo>
                  <a:lnTo>
                    <a:pt x="64" y="12"/>
                  </a:lnTo>
                  <a:lnTo>
                    <a:pt x="69" y="12"/>
                  </a:lnTo>
                  <a:lnTo>
                    <a:pt x="73" y="10"/>
                  </a:lnTo>
                  <a:lnTo>
                    <a:pt x="82" y="10"/>
                  </a:lnTo>
                  <a:lnTo>
                    <a:pt x="82" y="10"/>
                  </a:lnTo>
                  <a:lnTo>
                    <a:pt x="87" y="10"/>
                  </a:lnTo>
                  <a:lnTo>
                    <a:pt x="87" y="8"/>
                  </a:lnTo>
                  <a:lnTo>
                    <a:pt x="89" y="5"/>
                  </a:lnTo>
                  <a:lnTo>
                    <a:pt x="89" y="3"/>
                  </a:lnTo>
                  <a:lnTo>
                    <a:pt x="92" y="1"/>
                  </a:lnTo>
                  <a:lnTo>
                    <a:pt x="92" y="1"/>
                  </a:lnTo>
                  <a:lnTo>
                    <a:pt x="96" y="0"/>
                  </a:lnTo>
                  <a:lnTo>
                    <a:pt x="97" y="0"/>
                  </a:lnTo>
                  <a:lnTo>
                    <a:pt x="101" y="3"/>
                  </a:lnTo>
                  <a:lnTo>
                    <a:pt x="103" y="7"/>
                  </a:lnTo>
                  <a:lnTo>
                    <a:pt x="106" y="7"/>
                  </a:lnTo>
                  <a:lnTo>
                    <a:pt x="108" y="7"/>
                  </a:lnTo>
                  <a:lnTo>
                    <a:pt x="108" y="7"/>
                  </a:lnTo>
                  <a:lnTo>
                    <a:pt x="115" y="7"/>
                  </a:lnTo>
                  <a:lnTo>
                    <a:pt x="120" y="8"/>
                  </a:lnTo>
                  <a:lnTo>
                    <a:pt x="127" y="14"/>
                  </a:lnTo>
                  <a:lnTo>
                    <a:pt x="127" y="14"/>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8" name="Freeform 2041">
              <a:extLst>
                <a:ext uri="{FF2B5EF4-FFF2-40B4-BE49-F238E27FC236}">
                  <a16:creationId xmlns:a16="http://schemas.microsoft.com/office/drawing/2014/main" id="{7ED7C77C-FEC8-44D3-8CCA-87F6D06AADA0}"/>
                </a:ext>
              </a:extLst>
            </p:cNvPr>
            <p:cNvSpPr>
              <a:spLocks/>
            </p:cNvSpPr>
            <p:nvPr/>
          </p:nvSpPr>
          <p:spPr bwMode="auto">
            <a:xfrm>
              <a:off x="5065084" y="2659915"/>
              <a:ext cx="185009" cy="100433"/>
            </a:xfrm>
            <a:custGeom>
              <a:avLst/>
              <a:gdLst/>
              <a:ahLst/>
              <a:cxnLst>
                <a:cxn ang="0">
                  <a:pos x="61" y="119"/>
                </a:cxn>
                <a:cxn ang="0">
                  <a:pos x="65" y="126"/>
                </a:cxn>
                <a:cxn ang="0">
                  <a:pos x="73" y="126"/>
                </a:cxn>
                <a:cxn ang="0">
                  <a:pos x="96" y="117"/>
                </a:cxn>
                <a:cxn ang="0">
                  <a:pos x="98" y="110"/>
                </a:cxn>
                <a:cxn ang="0">
                  <a:pos x="101" y="105"/>
                </a:cxn>
                <a:cxn ang="0">
                  <a:pos x="110" y="108"/>
                </a:cxn>
                <a:cxn ang="0">
                  <a:pos x="119" y="110"/>
                </a:cxn>
                <a:cxn ang="0">
                  <a:pos x="143" y="119"/>
                </a:cxn>
                <a:cxn ang="0">
                  <a:pos x="150" y="115"/>
                </a:cxn>
                <a:cxn ang="0">
                  <a:pos x="167" y="122"/>
                </a:cxn>
                <a:cxn ang="0">
                  <a:pos x="174" y="113"/>
                </a:cxn>
                <a:cxn ang="0">
                  <a:pos x="188" y="113"/>
                </a:cxn>
                <a:cxn ang="0">
                  <a:pos x="197" y="110"/>
                </a:cxn>
                <a:cxn ang="0">
                  <a:pos x="209" y="96"/>
                </a:cxn>
                <a:cxn ang="0">
                  <a:pos x="223" y="82"/>
                </a:cxn>
                <a:cxn ang="0">
                  <a:pos x="232" y="72"/>
                </a:cxn>
                <a:cxn ang="0">
                  <a:pos x="213" y="53"/>
                </a:cxn>
                <a:cxn ang="0">
                  <a:pos x="200" y="53"/>
                </a:cxn>
                <a:cxn ang="0">
                  <a:pos x="195" y="51"/>
                </a:cxn>
                <a:cxn ang="0">
                  <a:pos x="192" y="40"/>
                </a:cxn>
                <a:cxn ang="0">
                  <a:pos x="171" y="33"/>
                </a:cxn>
                <a:cxn ang="0">
                  <a:pos x="166" y="35"/>
                </a:cxn>
                <a:cxn ang="0">
                  <a:pos x="167" y="40"/>
                </a:cxn>
                <a:cxn ang="0">
                  <a:pos x="162" y="47"/>
                </a:cxn>
                <a:cxn ang="0">
                  <a:pos x="148" y="39"/>
                </a:cxn>
                <a:cxn ang="0">
                  <a:pos x="143" y="30"/>
                </a:cxn>
                <a:cxn ang="0">
                  <a:pos x="148" y="25"/>
                </a:cxn>
                <a:cxn ang="0">
                  <a:pos x="150" y="21"/>
                </a:cxn>
                <a:cxn ang="0">
                  <a:pos x="134" y="18"/>
                </a:cxn>
                <a:cxn ang="0">
                  <a:pos x="115" y="9"/>
                </a:cxn>
                <a:cxn ang="0">
                  <a:pos x="105" y="0"/>
                </a:cxn>
                <a:cxn ang="0">
                  <a:pos x="94" y="6"/>
                </a:cxn>
                <a:cxn ang="0">
                  <a:pos x="82" y="4"/>
                </a:cxn>
                <a:cxn ang="0">
                  <a:pos x="75" y="0"/>
                </a:cxn>
                <a:cxn ang="0">
                  <a:pos x="73" y="2"/>
                </a:cxn>
                <a:cxn ang="0">
                  <a:pos x="72" y="9"/>
                </a:cxn>
                <a:cxn ang="0">
                  <a:pos x="49" y="16"/>
                </a:cxn>
                <a:cxn ang="0">
                  <a:pos x="19" y="33"/>
                </a:cxn>
                <a:cxn ang="0">
                  <a:pos x="2" y="40"/>
                </a:cxn>
                <a:cxn ang="0">
                  <a:pos x="5" y="53"/>
                </a:cxn>
                <a:cxn ang="0">
                  <a:pos x="11" y="61"/>
                </a:cxn>
                <a:cxn ang="0">
                  <a:pos x="9" y="75"/>
                </a:cxn>
                <a:cxn ang="0">
                  <a:pos x="21" y="84"/>
                </a:cxn>
                <a:cxn ang="0">
                  <a:pos x="45" y="105"/>
                </a:cxn>
              </a:cxnLst>
              <a:rect l="0" t="0" r="r" b="b"/>
              <a:pathLst>
                <a:path w="233" h="127">
                  <a:moveTo>
                    <a:pt x="58" y="117"/>
                  </a:moveTo>
                  <a:lnTo>
                    <a:pt x="58" y="117"/>
                  </a:lnTo>
                  <a:lnTo>
                    <a:pt x="61" y="119"/>
                  </a:lnTo>
                  <a:lnTo>
                    <a:pt x="63" y="120"/>
                  </a:lnTo>
                  <a:lnTo>
                    <a:pt x="65" y="124"/>
                  </a:lnTo>
                  <a:lnTo>
                    <a:pt x="65" y="126"/>
                  </a:lnTo>
                  <a:lnTo>
                    <a:pt x="66" y="127"/>
                  </a:lnTo>
                  <a:lnTo>
                    <a:pt x="73" y="126"/>
                  </a:lnTo>
                  <a:lnTo>
                    <a:pt x="73" y="126"/>
                  </a:lnTo>
                  <a:lnTo>
                    <a:pt x="91" y="120"/>
                  </a:lnTo>
                  <a:lnTo>
                    <a:pt x="94" y="119"/>
                  </a:lnTo>
                  <a:lnTo>
                    <a:pt x="96" y="117"/>
                  </a:lnTo>
                  <a:lnTo>
                    <a:pt x="98" y="113"/>
                  </a:lnTo>
                  <a:lnTo>
                    <a:pt x="98" y="110"/>
                  </a:lnTo>
                  <a:lnTo>
                    <a:pt x="98" y="110"/>
                  </a:lnTo>
                  <a:lnTo>
                    <a:pt x="99" y="103"/>
                  </a:lnTo>
                  <a:lnTo>
                    <a:pt x="99" y="103"/>
                  </a:lnTo>
                  <a:lnTo>
                    <a:pt x="101" y="105"/>
                  </a:lnTo>
                  <a:lnTo>
                    <a:pt x="105" y="107"/>
                  </a:lnTo>
                  <a:lnTo>
                    <a:pt x="106" y="108"/>
                  </a:lnTo>
                  <a:lnTo>
                    <a:pt x="110" y="108"/>
                  </a:lnTo>
                  <a:lnTo>
                    <a:pt x="110" y="108"/>
                  </a:lnTo>
                  <a:lnTo>
                    <a:pt x="115" y="108"/>
                  </a:lnTo>
                  <a:lnTo>
                    <a:pt x="119" y="110"/>
                  </a:lnTo>
                  <a:lnTo>
                    <a:pt x="129" y="113"/>
                  </a:lnTo>
                  <a:lnTo>
                    <a:pt x="138" y="117"/>
                  </a:lnTo>
                  <a:lnTo>
                    <a:pt x="143" y="119"/>
                  </a:lnTo>
                  <a:lnTo>
                    <a:pt x="146" y="117"/>
                  </a:lnTo>
                  <a:lnTo>
                    <a:pt x="146" y="117"/>
                  </a:lnTo>
                  <a:lnTo>
                    <a:pt x="150" y="115"/>
                  </a:lnTo>
                  <a:lnTo>
                    <a:pt x="153" y="115"/>
                  </a:lnTo>
                  <a:lnTo>
                    <a:pt x="160" y="117"/>
                  </a:lnTo>
                  <a:lnTo>
                    <a:pt x="167" y="122"/>
                  </a:lnTo>
                  <a:lnTo>
                    <a:pt x="167" y="122"/>
                  </a:lnTo>
                  <a:lnTo>
                    <a:pt x="171" y="117"/>
                  </a:lnTo>
                  <a:lnTo>
                    <a:pt x="174" y="113"/>
                  </a:lnTo>
                  <a:lnTo>
                    <a:pt x="178" y="112"/>
                  </a:lnTo>
                  <a:lnTo>
                    <a:pt x="181" y="112"/>
                  </a:lnTo>
                  <a:lnTo>
                    <a:pt x="188" y="113"/>
                  </a:lnTo>
                  <a:lnTo>
                    <a:pt x="193" y="112"/>
                  </a:lnTo>
                  <a:lnTo>
                    <a:pt x="197" y="110"/>
                  </a:lnTo>
                  <a:lnTo>
                    <a:pt x="197" y="110"/>
                  </a:lnTo>
                  <a:lnTo>
                    <a:pt x="202" y="107"/>
                  </a:lnTo>
                  <a:lnTo>
                    <a:pt x="206" y="103"/>
                  </a:lnTo>
                  <a:lnTo>
                    <a:pt x="209" y="96"/>
                  </a:lnTo>
                  <a:lnTo>
                    <a:pt x="211" y="93"/>
                  </a:lnTo>
                  <a:lnTo>
                    <a:pt x="216" y="87"/>
                  </a:lnTo>
                  <a:lnTo>
                    <a:pt x="223" y="82"/>
                  </a:lnTo>
                  <a:lnTo>
                    <a:pt x="233" y="79"/>
                  </a:lnTo>
                  <a:lnTo>
                    <a:pt x="233" y="79"/>
                  </a:lnTo>
                  <a:lnTo>
                    <a:pt x="232" y="72"/>
                  </a:lnTo>
                  <a:lnTo>
                    <a:pt x="228" y="65"/>
                  </a:lnTo>
                  <a:lnTo>
                    <a:pt x="223" y="58"/>
                  </a:lnTo>
                  <a:lnTo>
                    <a:pt x="213" y="53"/>
                  </a:lnTo>
                  <a:lnTo>
                    <a:pt x="213" y="53"/>
                  </a:lnTo>
                  <a:lnTo>
                    <a:pt x="206" y="51"/>
                  </a:lnTo>
                  <a:lnTo>
                    <a:pt x="200" y="53"/>
                  </a:lnTo>
                  <a:lnTo>
                    <a:pt x="199" y="53"/>
                  </a:lnTo>
                  <a:lnTo>
                    <a:pt x="195" y="51"/>
                  </a:lnTo>
                  <a:lnTo>
                    <a:pt x="195" y="51"/>
                  </a:lnTo>
                  <a:lnTo>
                    <a:pt x="192" y="46"/>
                  </a:lnTo>
                  <a:lnTo>
                    <a:pt x="192" y="42"/>
                  </a:lnTo>
                  <a:lnTo>
                    <a:pt x="192" y="40"/>
                  </a:lnTo>
                  <a:lnTo>
                    <a:pt x="186" y="39"/>
                  </a:lnTo>
                  <a:lnTo>
                    <a:pt x="186" y="39"/>
                  </a:lnTo>
                  <a:lnTo>
                    <a:pt x="171" y="33"/>
                  </a:lnTo>
                  <a:lnTo>
                    <a:pt x="166" y="32"/>
                  </a:lnTo>
                  <a:lnTo>
                    <a:pt x="166" y="33"/>
                  </a:lnTo>
                  <a:lnTo>
                    <a:pt x="166" y="35"/>
                  </a:lnTo>
                  <a:lnTo>
                    <a:pt x="166" y="35"/>
                  </a:lnTo>
                  <a:lnTo>
                    <a:pt x="167" y="39"/>
                  </a:lnTo>
                  <a:lnTo>
                    <a:pt x="167" y="40"/>
                  </a:lnTo>
                  <a:lnTo>
                    <a:pt x="167" y="44"/>
                  </a:lnTo>
                  <a:lnTo>
                    <a:pt x="166" y="46"/>
                  </a:lnTo>
                  <a:lnTo>
                    <a:pt x="162" y="47"/>
                  </a:lnTo>
                  <a:lnTo>
                    <a:pt x="159" y="47"/>
                  </a:lnTo>
                  <a:lnTo>
                    <a:pt x="153" y="44"/>
                  </a:lnTo>
                  <a:lnTo>
                    <a:pt x="148" y="39"/>
                  </a:lnTo>
                  <a:lnTo>
                    <a:pt x="148" y="39"/>
                  </a:lnTo>
                  <a:lnTo>
                    <a:pt x="145" y="33"/>
                  </a:lnTo>
                  <a:lnTo>
                    <a:pt x="143" y="30"/>
                  </a:lnTo>
                  <a:lnTo>
                    <a:pt x="143" y="26"/>
                  </a:lnTo>
                  <a:lnTo>
                    <a:pt x="145" y="26"/>
                  </a:lnTo>
                  <a:lnTo>
                    <a:pt x="148" y="25"/>
                  </a:lnTo>
                  <a:lnTo>
                    <a:pt x="150" y="23"/>
                  </a:lnTo>
                  <a:lnTo>
                    <a:pt x="150" y="21"/>
                  </a:lnTo>
                  <a:lnTo>
                    <a:pt x="150" y="21"/>
                  </a:lnTo>
                  <a:lnTo>
                    <a:pt x="146" y="18"/>
                  </a:lnTo>
                  <a:lnTo>
                    <a:pt x="143" y="18"/>
                  </a:lnTo>
                  <a:lnTo>
                    <a:pt x="134" y="18"/>
                  </a:lnTo>
                  <a:lnTo>
                    <a:pt x="122" y="14"/>
                  </a:lnTo>
                  <a:lnTo>
                    <a:pt x="122" y="14"/>
                  </a:lnTo>
                  <a:lnTo>
                    <a:pt x="115" y="9"/>
                  </a:lnTo>
                  <a:lnTo>
                    <a:pt x="110" y="7"/>
                  </a:lnTo>
                  <a:lnTo>
                    <a:pt x="106" y="2"/>
                  </a:lnTo>
                  <a:lnTo>
                    <a:pt x="105" y="0"/>
                  </a:lnTo>
                  <a:lnTo>
                    <a:pt x="103" y="0"/>
                  </a:lnTo>
                  <a:lnTo>
                    <a:pt x="94" y="6"/>
                  </a:lnTo>
                  <a:lnTo>
                    <a:pt x="94" y="6"/>
                  </a:lnTo>
                  <a:lnTo>
                    <a:pt x="91" y="7"/>
                  </a:lnTo>
                  <a:lnTo>
                    <a:pt x="87" y="7"/>
                  </a:lnTo>
                  <a:lnTo>
                    <a:pt x="82" y="4"/>
                  </a:lnTo>
                  <a:lnTo>
                    <a:pt x="79" y="0"/>
                  </a:lnTo>
                  <a:lnTo>
                    <a:pt x="77" y="0"/>
                  </a:lnTo>
                  <a:lnTo>
                    <a:pt x="75" y="0"/>
                  </a:lnTo>
                  <a:lnTo>
                    <a:pt x="75" y="0"/>
                  </a:lnTo>
                  <a:lnTo>
                    <a:pt x="73" y="2"/>
                  </a:lnTo>
                  <a:lnTo>
                    <a:pt x="73" y="2"/>
                  </a:lnTo>
                  <a:lnTo>
                    <a:pt x="73" y="6"/>
                  </a:lnTo>
                  <a:lnTo>
                    <a:pt x="73" y="7"/>
                  </a:lnTo>
                  <a:lnTo>
                    <a:pt x="72" y="9"/>
                  </a:lnTo>
                  <a:lnTo>
                    <a:pt x="61" y="13"/>
                  </a:lnTo>
                  <a:lnTo>
                    <a:pt x="61" y="13"/>
                  </a:lnTo>
                  <a:lnTo>
                    <a:pt x="49" y="16"/>
                  </a:lnTo>
                  <a:lnTo>
                    <a:pt x="40" y="23"/>
                  </a:lnTo>
                  <a:lnTo>
                    <a:pt x="32" y="28"/>
                  </a:lnTo>
                  <a:lnTo>
                    <a:pt x="19" y="33"/>
                  </a:lnTo>
                  <a:lnTo>
                    <a:pt x="19" y="33"/>
                  </a:lnTo>
                  <a:lnTo>
                    <a:pt x="9" y="37"/>
                  </a:lnTo>
                  <a:lnTo>
                    <a:pt x="2" y="40"/>
                  </a:lnTo>
                  <a:lnTo>
                    <a:pt x="0" y="42"/>
                  </a:lnTo>
                  <a:lnTo>
                    <a:pt x="0" y="44"/>
                  </a:lnTo>
                  <a:lnTo>
                    <a:pt x="5" y="53"/>
                  </a:lnTo>
                  <a:lnTo>
                    <a:pt x="5" y="53"/>
                  </a:lnTo>
                  <a:lnTo>
                    <a:pt x="9" y="56"/>
                  </a:lnTo>
                  <a:lnTo>
                    <a:pt x="11" y="61"/>
                  </a:lnTo>
                  <a:lnTo>
                    <a:pt x="9" y="68"/>
                  </a:lnTo>
                  <a:lnTo>
                    <a:pt x="9" y="72"/>
                  </a:lnTo>
                  <a:lnTo>
                    <a:pt x="9" y="75"/>
                  </a:lnTo>
                  <a:lnTo>
                    <a:pt x="14" y="79"/>
                  </a:lnTo>
                  <a:lnTo>
                    <a:pt x="21" y="84"/>
                  </a:lnTo>
                  <a:lnTo>
                    <a:pt x="21" y="84"/>
                  </a:lnTo>
                  <a:lnTo>
                    <a:pt x="30" y="89"/>
                  </a:lnTo>
                  <a:lnTo>
                    <a:pt x="37" y="96"/>
                  </a:lnTo>
                  <a:lnTo>
                    <a:pt x="45" y="105"/>
                  </a:lnTo>
                  <a:lnTo>
                    <a:pt x="58" y="117"/>
                  </a:lnTo>
                  <a:lnTo>
                    <a:pt x="58" y="11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9" name="Freeform 2042">
              <a:extLst>
                <a:ext uri="{FF2B5EF4-FFF2-40B4-BE49-F238E27FC236}">
                  <a16:creationId xmlns:a16="http://schemas.microsoft.com/office/drawing/2014/main" id="{251740A0-D01E-419F-9ED2-EED8455552CE}"/>
                </a:ext>
              </a:extLst>
            </p:cNvPr>
            <p:cNvSpPr>
              <a:spLocks/>
            </p:cNvSpPr>
            <p:nvPr/>
          </p:nvSpPr>
          <p:spPr bwMode="auto">
            <a:xfrm>
              <a:off x="5350527" y="2934786"/>
              <a:ext cx="174438" cy="118055"/>
            </a:xfrm>
            <a:custGeom>
              <a:avLst/>
              <a:gdLst/>
              <a:ahLst/>
              <a:cxnLst>
                <a:cxn ang="0">
                  <a:pos x="5" y="103"/>
                </a:cxn>
                <a:cxn ang="0">
                  <a:pos x="19" y="115"/>
                </a:cxn>
                <a:cxn ang="0">
                  <a:pos x="21" y="131"/>
                </a:cxn>
                <a:cxn ang="0">
                  <a:pos x="21" y="141"/>
                </a:cxn>
                <a:cxn ang="0">
                  <a:pos x="33" y="140"/>
                </a:cxn>
                <a:cxn ang="0">
                  <a:pos x="40" y="140"/>
                </a:cxn>
                <a:cxn ang="0">
                  <a:pos x="58" y="136"/>
                </a:cxn>
                <a:cxn ang="0">
                  <a:pos x="68" y="133"/>
                </a:cxn>
                <a:cxn ang="0">
                  <a:pos x="72" y="134"/>
                </a:cxn>
                <a:cxn ang="0">
                  <a:pos x="80" y="136"/>
                </a:cxn>
                <a:cxn ang="0">
                  <a:pos x="85" y="140"/>
                </a:cxn>
                <a:cxn ang="0">
                  <a:pos x="92" y="140"/>
                </a:cxn>
                <a:cxn ang="0">
                  <a:pos x="99" y="145"/>
                </a:cxn>
                <a:cxn ang="0">
                  <a:pos x="115" y="145"/>
                </a:cxn>
                <a:cxn ang="0">
                  <a:pos x="131" y="143"/>
                </a:cxn>
                <a:cxn ang="0">
                  <a:pos x="132" y="131"/>
                </a:cxn>
                <a:cxn ang="0">
                  <a:pos x="134" y="122"/>
                </a:cxn>
                <a:cxn ang="0">
                  <a:pos x="141" y="120"/>
                </a:cxn>
                <a:cxn ang="0">
                  <a:pos x="148" y="115"/>
                </a:cxn>
                <a:cxn ang="0">
                  <a:pos x="150" y="110"/>
                </a:cxn>
                <a:cxn ang="0">
                  <a:pos x="160" y="112"/>
                </a:cxn>
                <a:cxn ang="0">
                  <a:pos x="167" y="107"/>
                </a:cxn>
                <a:cxn ang="0">
                  <a:pos x="181" y="113"/>
                </a:cxn>
                <a:cxn ang="0">
                  <a:pos x="186" y="115"/>
                </a:cxn>
                <a:cxn ang="0">
                  <a:pos x="195" y="112"/>
                </a:cxn>
                <a:cxn ang="0">
                  <a:pos x="199" y="108"/>
                </a:cxn>
                <a:cxn ang="0">
                  <a:pos x="190" y="101"/>
                </a:cxn>
                <a:cxn ang="0">
                  <a:pos x="188" y="96"/>
                </a:cxn>
                <a:cxn ang="0">
                  <a:pos x="179" y="89"/>
                </a:cxn>
                <a:cxn ang="0">
                  <a:pos x="185" y="80"/>
                </a:cxn>
                <a:cxn ang="0">
                  <a:pos x="193" y="73"/>
                </a:cxn>
                <a:cxn ang="0">
                  <a:pos x="193" y="60"/>
                </a:cxn>
                <a:cxn ang="0">
                  <a:pos x="197" y="49"/>
                </a:cxn>
                <a:cxn ang="0">
                  <a:pos x="211" y="44"/>
                </a:cxn>
                <a:cxn ang="0">
                  <a:pos x="218" y="35"/>
                </a:cxn>
                <a:cxn ang="0">
                  <a:pos x="207" y="25"/>
                </a:cxn>
                <a:cxn ang="0">
                  <a:pos x="197" y="18"/>
                </a:cxn>
                <a:cxn ang="0">
                  <a:pos x="185" y="13"/>
                </a:cxn>
                <a:cxn ang="0">
                  <a:pos x="174" y="11"/>
                </a:cxn>
                <a:cxn ang="0">
                  <a:pos x="164" y="6"/>
                </a:cxn>
                <a:cxn ang="0">
                  <a:pos x="134" y="16"/>
                </a:cxn>
                <a:cxn ang="0">
                  <a:pos x="117" y="28"/>
                </a:cxn>
                <a:cxn ang="0">
                  <a:pos x="99" y="30"/>
                </a:cxn>
                <a:cxn ang="0">
                  <a:pos x="80" y="23"/>
                </a:cxn>
                <a:cxn ang="0">
                  <a:pos x="58" y="28"/>
                </a:cxn>
                <a:cxn ang="0">
                  <a:pos x="47" y="23"/>
                </a:cxn>
                <a:cxn ang="0">
                  <a:pos x="30" y="21"/>
                </a:cxn>
                <a:cxn ang="0">
                  <a:pos x="18" y="21"/>
                </a:cxn>
                <a:cxn ang="0">
                  <a:pos x="18" y="16"/>
                </a:cxn>
                <a:cxn ang="0">
                  <a:pos x="23" y="7"/>
                </a:cxn>
                <a:cxn ang="0">
                  <a:pos x="11" y="0"/>
                </a:cxn>
                <a:cxn ang="0">
                  <a:pos x="4" y="13"/>
                </a:cxn>
                <a:cxn ang="0">
                  <a:pos x="0" y="19"/>
                </a:cxn>
                <a:cxn ang="0">
                  <a:pos x="5" y="33"/>
                </a:cxn>
                <a:cxn ang="0">
                  <a:pos x="21" y="49"/>
                </a:cxn>
                <a:cxn ang="0">
                  <a:pos x="19" y="60"/>
                </a:cxn>
                <a:cxn ang="0">
                  <a:pos x="12" y="66"/>
                </a:cxn>
                <a:cxn ang="0">
                  <a:pos x="2" y="70"/>
                </a:cxn>
                <a:cxn ang="0">
                  <a:pos x="4" y="80"/>
                </a:cxn>
                <a:cxn ang="0">
                  <a:pos x="7" y="91"/>
                </a:cxn>
              </a:cxnLst>
              <a:rect l="0" t="0" r="r" b="b"/>
              <a:pathLst>
                <a:path w="218" h="148">
                  <a:moveTo>
                    <a:pt x="0" y="94"/>
                  </a:moveTo>
                  <a:lnTo>
                    <a:pt x="0" y="94"/>
                  </a:lnTo>
                  <a:lnTo>
                    <a:pt x="5" y="103"/>
                  </a:lnTo>
                  <a:lnTo>
                    <a:pt x="11" y="107"/>
                  </a:lnTo>
                  <a:lnTo>
                    <a:pt x="16" y="110"/>
                  </a:lnTo>
                  <a:lnTo>
                    <a:pt x="19" y="115"/>
                  </a:lnTo>
                  <a:lnTo>
                    <a:pt x="19" y="115"/>
                  </a:lnTo>
                  <a:lnTo>
                    <a:pt x="21" y="124"/>
                  </a:lnTo>
                  <a:lnTo>
                    <a:pt x="21" y="131"/>
                  </a:lnTo>
                  <a:lnTo>
                    <a:pt x="21" y="136"/>
                  </a:lnTo>
                  <a:lnTo>
                    <a:pt x="21" y="141"/>
                  </a:lnTo>
                  <a:lnTo>
                    <a:pt x="21" y="141"/>
                  </a:lnTo>
                  <a:lnTo>
                    <a:pt x="26" y="145"/>
                  </a:lnTo>
                  <a:lnTo>
                    <a:pt x="30" y="143"/>
                  </a:lnTo>
                  <a:lnTo>
                    <a:pt x="33" y="140"/>
                  </a:lnTo>
                  <a:lnTo>
                    <a:pt x="35" y="140"/>
                  </a:lnTo>
                  <a:lnTo>
                    <a:pt x="40" y="140"/>
                  </a:lnTo>
                  <a:lnTo>
                    <a:pt x="40" y="140"/>
                  </a:lnTo>
                  <a:lnTo>
                    <a:pt x="45" y="140"/>
                  </a:lnTo>
                  <a:lnTo>
                    <a:pt x="51" y="140"/>
                  </a:lnTo>
                  <a:lnTo>
                    <a:pt x="58" y="136"/>
                  </a:lnTo>
                  <a:lnTo>
                    <a:pt x="65" y="133"/>
                  </a:lnTo>
                  <a:lnTo>
                    <a:pt x="66" y="133"/>
                  </a:lnTo>
                  <a:lnTo>
                    <a:pt x="68" y="133"/>
                  </a:lnTo>
                  <a:lnTo>
                    <a:pt x="68" y="133"/>
                  </a:lnTo>
                  <a:lnTo>
                    <a:pt x="70" y="134"/>
                  </a:lnTo>
                  <a:lnTo>
                    <a:pt x="72" y="134"/>
                  </a:lnTo>
                  <a:lnTo>
                    <a:pt x="75" y="133"/>
                  </a:lnTo>
                  <a:lnTo>
                    <a:pt x="77" y="133"/>
                  </a:lnTo>
                  <a:lnTo>
                    <a:pt x="80" y="136"/>
                  </a:lnTo>
                  <a:lnTo>
                    <a:pt x="80" y="136"/>
                  </a:lnTo>
                  <a:lnTo>
                    <a:pt x="84" y="140"/>
                  </a:lnTo>
                  <a:lnTo>
                    <a:pt x="85" y="140"/>
                  </a:lnTo>
                  <a:lnTo>
                    <a:pt x="87" y="140"/>
                  </a:lnTo>
                  <a:lnTo>
                    <a:pt x="91" y="138"/>
                  </a:lnTo>
                  <a:lnTo>
                    <a:pt x="92" y="140"/>
                  </a:lnTo>
                  <a:lnTo>
                    <a:pt x="96" y="141"/>
                  </a:lnTo>
                  <a:lnTo>
                    <a:pt x="96" y="141"/>
                  </a:lnTo>
                  <a:lnTo>
                    <a:pt x="99" y="145"/>
                  </a:lnTo>
                  <a:lnTo>
                    <a:pt x="101" y="147"/>
                  </a:lnTo>
                  <a:lnTo>
                    <a:pt x="108" y="148"/>
                  </a:lnTo>
                  <a:lnTo>
                    <a:pt x="115" y="145"/>
                  </a:lnTo>
                  <a:lnTo>
                    <a:pt x="125" y="143"/>
                  </a:lnTo>
                  <a:lnTo>
                    <a:pt x="125" y="143"/>
                  </a:lnTo>
                  <a:lnTo>
                    <a:pt x="131" y="143"/>
                  </a:lnTo>
                  <a:lnTo>
                    <a:pt x="132" y="140"/>
                  </a:lnTo>
                  <a:lnTo>
                    <a:pt x="132" y="134"/>
                  </a:lnTo>
                  <a:lnTo>
                    <a:pt x="132" y="131"/>
                  </a:lnTo>
                  <a:lnTo>
                    <a:pt x="131" y="127"/>
                  </a:lnTo>
                  <a:lnTo>
                    <a:pt x="132" y="124"/>
                  </a:lnTo>
                  <a:lnTo>
                    <a:pt x="134" y="122"/>
                  </a:lnTo>
                  <a:lnTo>
                    <a:pt x="139" y="124"/>
                  </a:lnTo>
                  <a:lnTo>
                    <a:pt x="139" y="124"/>
                  </a:lnTo>
                  <a:lnTo>
                    <a:pt x="141" y="120"/>
                  </a:lnTo>
                  <a:lnTo>
                    <a:pt x="143" y="119"/>
                  </a:lnTo>
                  <a:lnTo>
                    <a:pt x="146" y="119"/>
                  </a:lnTo>
                  <a:lnTo>
                    <a:pt x="148" y="115"/>
                  </a:lnTo>
                  <a:lnTo>
                    <a:pt x="148" y="115"/>
                  </a:lnTo>
                  <a:lnTo>
                    <a:pt x="150" y="112"/>
                  </a:lnTo>
                  <a:lnTo>
                    <a:pt x="150" y="110"/>
                  </a:lnTo>
                  <a:lnTo>
                    <a:pt x="153" y="112"/>
                  </a:lnTo>
                  <a:lnTo>
                    <a:pt x="159" y="112"/>
                  </a:lnTo>
                  <a:lnTo>
                    <a:pt x="160" y="112"/>
                  </a:lnTo>
                  <a:lnTo>
                    <a:pt x="164" y="110"/>
                  </a:lnTo>
                  <a:lnTo>
                    <a:pt x="164" y="110"/>
                  </a:lnTo>
                  <a:lnTo>
                    <a:pt x="167" y="107"/>
                  </a:lnTo>
                  <a:lnTo>
                    <a:pt x="171" y="107"/>
                  </a:lnTo>
                  <a:lnTo>
                    <a:pt x="176" y="108"/>
                  </a:lnTo>
                  <a:lnTo>
                    <a:pt x="181" y="113"/>
                  </a:lnTo>
                  <a:lnTo>
                    <a:pt x="183" y="115"/>
                  </a:lnTo>
                  <a:lnTo>
                    <a:pt x="186" y="115"/>
                  </a:lnTo>
                  <a:lnTo>
                    <a:pt x="186" y="115"/>
                  </a:lnTo>
                  <a:lnTo>
                    <a:pt x="190" y="115"/>
                  </a:lnTo>
                  <a:lnTo>
                    <a:pt x="192" y="113"/>
                  </a:lnTo>
                  <a:lnTo>
                    <a:pt x="195" y="112"/>
                  </a:lnTo>
                  <a:lnTo>
                    <a:pt x="199" y="112"/>
                  </a:lnTo>
                  <a:lnTo>
                    <a:pt x="199" y="112"/>
                  </a:lnTo>
                  <a:lnTo>
                    <a:pt x="199" y="108"/>
                  </a:lnTo>
                  <a:lnTo>
                    <a:pt x="197" y="105"/>
                  </a:lnTo>
                  <a:lnTo>
                    <a:pt x="193" y="103"/>
                  </a:lnTo>
                  <a:lnTo>
                    <a:pt x="190" y="101"/>
                  </a:lnTo>
                  <a:lnTo>
                    <a:pt x="188" y="100"/>
                  </a:lnTo>
                  <a:lnTo>
                    <a:pt x="188" y="96"/>
                  </a:lnTo>
                  <a:lnTo>
                    <a:pt x="188" y="96"/>
                  </a:lnTo>
                  <a:lnTo>
                    <a:pt x="188" y="93"/>
                  </a:lnTo>
                  <a:lnTo>
                    <a:pt x="186" y="91"/>
                  </a:lnTo>
                  <a:lnTo>
                    <a:pt x="179" y="89"/>
                  </a:lnTo>
                  <a:lnTo>
                    <a:pt x="178" y="87"/>
                  </a:lnTo>
                  <a:lnTo>
                    <a:pt x="178" y="87"/>
                  </a:lnTo>
                  <a:lnTo>
                    <a:pt x="185" y="80"/>
                  </a:lnTo>
                  <a:lnTo>
                    <a:pt x="185" y="80"/>
                  </a:lnTo>
                  <a:lnTo>
                    <a:pt x="190" y="77"/>
                  </a:lnTo>
                  <a:lnTo>
                    <a:pt x="193" y="73"/>
                  </a:lnTo>
                  <a:lnTo>
                    <a:pt x="195" y="70"/>
                  </a:lnTo>
                  <a:lnTo>
                    <a:pt x="195" y="66"/>
                  </a:lnTo>
                  <a:lnTo>
                    <a:pt x="193" y="60"/>
                  </a:lnTo>
                  <a:lnTo>
                    <a:pt x="195" y="54"/>
                  </a:lnTo>
                  <a:lnTo>
                    <a:pt x="197" y="49"/>
                  </a:lnTo>
                  <a:lnTo>
                    <a:pt x="197" y="49"/>
                  </a:lnTo>
                  <a:lnTo>
                    <a:pt x="202" y="44"/>
                  </a:lnTo>
                  <a:lnTo>
                    <a:pt x="206" y="42"/>
                  </a:lnTo>
                  <a:lnTo>
                    <a:pt x="211" y="44"/>
                  </a:lnTo>
                  <a:lnTo>
                    <a:pt x="214" y="44"/>
                  </a:lnTo>
                  <a:lnTo>
                    <a:pt x="216" y="40"/>
                  </a:lnTo>
                  <a:lnTo>
                    <a:pt x="218" y="35"/>
                  </a:lnTo>
                  <a:lnTo>
                    <a:pt x="218" y="26"/>
                  </a:lnTo>
                  <a:lnTo>
                    <a:pt x="218" y="26"/>
                  </a:lnTo>
                  <a:lnTo>
                    <a:pt x="207" y="25"/>
                  </a:lnTo>
                  <a:lnTo>
                    <a:pt x="202" y="23"/>
                  </a:lnTo>
                  <a:lnTo>
                    <a:pt x="197" y="18"/>
                  </a:lnTo>
                  <a:lnTo>
                    <a:pt x="197" y="18"/>
                  </a:lnTo>
                  <a:lnTo>
                    <a:pt x="193" y="14"/>
                  </a:lnTo>
                  <a:lnTo>
                    <a:pt x="190" y="13"/>
                  </a:lnTo>
                  <a:lnTo>
                    <a:pt x="185" y="13"/>
                  </a:lnTo>
                  <a:lnTo>
                    <a:pt x="179" y="13"/>
                  </a:lnTo>
                  <a:lnTo>
                    <a:pt x="176" y="13"/>
                  </a:lnTo>
                  <a:lnTo>
                    <a:pt x="174" y="11"/>
                  </a:lnTo>
                  <a:lnTo>
                    <a:pt x="174" y="11"/>
                  </a:lnTo>
                  <a:lnTo>
                    <a:pt x="169" y="7"/>
                  </a:lnTo>
                  <a:lnTo>
                    <a:pt x="164" y="6"/>
                  </a:lnTo>
                  <a:lnTo>
                    <a:pt x="157" y="7"/>
                  </a:lnTo>
                  <a:lnTo>
                    <a:pt x="150" y="9"/>
                  </a:lnTo>
                  <a:lnTo>
                    <a:pt x="134" y="16"/>
                  </a:lnTo>
                  <a:lnTo>
                    <a:pt x="122" y="23"/>
                  </a:lnTo>
                  <a:lnTo>
                    <a:pt x="122" y="23"/>
                  </a:lnTo>
                  <a:lnTo>
                    <a:pt x="117" y="28"/>
                  </a:lnTo>
                  <a:lnTo>
                    <a:pt x="110" y="30"/>
                  </a:lnTo>
                  <a:lnTo>
                    <a:pt x="105" y="30"/>
                  </a:lnTo>
                  <a:lnTo>
                    <a:pt x="99" y="30"/>
                  </a:lnTo>
                  <a:lnTo>
                    <a:pt x="91" y="26"/>
                  </a:lnTo>
                  <a:lnTo>
                    <a:pt x="80" y="23"/>
                  </a:lnTo>
                  <a:lnTo>
                    <a:pt x="80" y="23"/>
                  </a:lnTo>
                  <a:lnTo>
                    <a:pt x="73" y="25"/>
                  </a:lnTo>
                  <a:lnTo>
                    <a:pt x="66" y="26"/>
                  </a:lnTo>
                  <a:lnTo>
                    <a:pt x="58" y="28"/>
                  </a:lnTo>
                  <a:lnTo>
                    <a:pt x="54" y="26"/>
                  </a:lnTo>
                  <a:lnTo>
                    <a:pt x="47" y="23"/>
                  </a:lnTo>
                  <a:lnTo>
                    <a:pt x="47" y="23"/>
                  </a:lnTo>
                  <a:lnTo>
                    <a:pt x="42" y="21"/>
                  </a:lnTo>
                  <a:lnTo>
                    <a:pt x="38" y="19"/>
                  </a:lnTo>
                  <a:lnTo>
                    <a:pt x="30" y="21"/>
                  </a:lnTo>
                  <a:lnTo>
                    <a:pt x="24" y="23"/>
                  </a:lnTo>
                  <a:lnTo>
                    <a:pt x="21" y="23"/>
                  </a:lnTo>
                  <a:lnTo>
                    <a:pt x="18" y="21"/>
                  </a:lnTo>
                  <a:lnTo>
                    <a:pt x="18" y="21"/>
                  </a:lnTo>
                  <a:lnTo>
                    <a:pt x="16" y="18"/>
                  </a:lnTo>
                  <a:lnTo>
                    <a:pt x="18" y="16"/>
                  </a:lnTo>
                  <a:lnTo>
                    <a:pt x="21" y="13"/>
                  </a:lnTo>
                  <a:lnTo>
                    <a:pt x="23" y="11"/>
                  </a:lnTo>
                  <a:lnTo>
                    <a:pt x="23" y="7"/>
                  </a:lnTo>
                  <a:lnTo>
                    <a:pt x="19" y="6"/>
                  </a:lnTo>
                  <a:lnTo>
                    <a:pt x="11" y="0"/>
                  </a:lnTo>
                  <a:lnTo>
                    <a:pt x="11" y="0"/>
                  </a:lnTo>
                  <a:lnTo>
                    <a:pt x="11" y="6"/>
                  </a:lnTo>
                  <a:lnTo>
                    <a:pt x="9" y="9"/>
                  </a:lnTo>
                  <a:lnTo>
                    <a:pt x="4" y="13"/>
                  </a:lnTo>
                  <a:lnTo>
                    <a:pt x="2" y="14"/>
                  </a:lnTo>
                  <a:lnTo>
                    <a:pt x="0" y="16"/>
                  </a:lnTo>
                  <a:lnTo>
                    <a:pt x="0" y="19"/>
                  </a:lnTo>
                  <a:lnTo>
                    <a:pt x="2" y="25"/>
                  </a:lnTo>
                  <a:lnTo>
                    <a:pt x="2" y="25"/>
                  </a:lnTo>
                  <a:lnTo>
                    <a:pt x="5" y="33"/>
                  </a:lnTo>
                  <a:lnTo>
                    <a:pt x="9" y="40"/>
                  </a:lnTo>
                  <a:lnTo>
                    <a:pt x="18" y="47"/>
                  </a:lnTo>
                  <a:lnTo>
                    <a:pt x="21" y="49"/>
                  </a:lnTo>
                  <a:lnTo>
                    <a:pt x="23" y="53"/>
                  </a:lnTo>
                  <a:lnTo>
                    <a:pt x="23" y="56"/>
                  </a:lnTo>
                  <a:lnTo>
                    <a:pt x="19" y="60"/>
                  </a:lnTo>
                  <a:lnTo>
                    <a:pt x="19" y="60"/>
                  </a:lnTo>
                  <a:lnTo>
                    <a:pt x="16" y="65"/>
                  </a:lnTo>
                  <a:lnTo>
                    <a:pt x="12" y="66"/>
                  </a:lnTo>
                  <a:lnTo>
                    <a:pt x="7" y="68"/>
                  </a:lnTo>
                  <a:lnTo>
                    <a:pt x="4" y="68"/>
                  </a:lnTo>
                  <a:lnTo>
                    <a:pt x="2" y="70"/>
                  </a:lnTo>
                  <a:lnTo>
                    <a:pt x="2" y="73"/>
                  </a:lnTo>
                  <a:lnTo>
                    <a:pt x="2" y="73"/>
                  </a:lnTo>
                  <a:lnTo>
                    <a:pt x="4" y="80"/>
                  </a:lnTo>
                  <a:lnTo>
                    <a:pt x="7" y="86"/>
                  </a:lnTo>
                  <a:lnTo>
                    <a:pt x="7" y="87"/>
                  </a:lnTo>
                  <a:lnTo>
                    <a:pt x="7" y="91"/>
                  </a:lnTo>
                  <a:lnTo>
                    <a:pt x="0" y="94"/>
                  </a:lnTo>
                  <a:lnTo>
                    <a:pt x="0" y="9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0" name="Freeform 2043">
              <a:extLst>
                <a:ext uri="{FF2B5EF4-FFF2-40B4-BE49-F238E27FC236}">
                  <a16:creationId xmlns:a16="http://schemas.microsoft.com/office/drawing/2014/main" id="{8B07D10B-DB9E-43DF-9E1A-9CA92EEEE22D}"/>
                </a:ext>
              </a:extLst>
            </p:cNvPr>
            <p:cNvSpPr>
              <a:spLocks/>
            </p:cNvSpPr>
            <p:nvPr/>
          </p:nvSpPr>
          <p:spPr bwMode="auto">
            <a:xfrm>
              <a:off x="5248335" y="2857258"/>
              <a:ext cx="119816" cy="169153"/>
            </a:xfrm>
            <a:custGeom>
              <a:avLst/>
              <a:gdLst/>
              <a:ahLst/>
              <a:cxnLst>
                <a:cxn ang="0">
                  <a:pos x="49" y="181"/>
                </a:cxn>
                <a:cxn ang="0">
                  <a:pos x="55" y="191"/>
                </a:cxn>
                <a:cxn ang="0">
                  <a:pos x="62" y="200"/>
                </a:cxn>
                <a:cxn ang="0">
                  <a:pos x="66" y="212"/>
                </a:cxn>
                <a:cxn ang="0">
                  <a:pos x="69" y="203"/>
                </a:cxn>
                <a:cxn ang="0">
                  <a:pos x="76" y="198"/>
                </a:cxn>
                <a:cxn ang="0">
                  <a:pos x="92" y="193"/>
                </a:cxn>
                <a:cxn ang="0">
                  <a:pos x="106" y="193"/>
                </a:cxn>
                <a:cxn ang="0">
                  <a:pos x="125" y="189"/>
                </a:cxn>
                <a:cxn ang="0">
                  <a:pos x="132" y="182"/>
                </a:cxn>
                <a:cxn ang="0">
                  <a:pos x="127" y="168"/>
                </a:cxn>
                <a:cxn ang="0">
                  <a:pos x="129" y="163"/>
                </a:cxn>
                <a:cxn ang="0">
                  <a:pos x="141" y="160"/>
                </a:cxn>
                <a:cxn ang="0">
                  <a:pos x="148" y="151"/>
                </a:cxn>
                <a:cxn ang="0">
                  <a:pos x="143" y="142"/>
                </a:cxn>
                <a:cxn ang="0">
                  <a:pos x="127" y="120"/>
                </a:cxn>
                <a:cxn ang="0">
                  <a:pos x="125" y="111"/>
                </a:cxn>
                <a:cxn ang="0">
                  <a:pos x="134" y="104"/>
                </a:cxn>
                <a:cxn ang="0">
                  <a:pos x="136" y="95"/>
                </a:cxn>
                <a:cxn ang="0">
                  <a:pos x="132" y="83"/>
                </a:cxn>
                <a:cxn ang="0">
                  <a:pos x="139" y="80"/>
                </a:cxn>
                <a:cxn ang="0">
                  <a:pos x="130" y="74"/>
                </a:cxn>
                <a:cxn ang="0">
                  <a:pos x="123" y="76"/>
                </a:cxn>
                <a:cxn ang="0">
                  <a:pos x="118" y="81"/>
                </a:cxn>
                <a:cxn ang="0">
                  <a:pos x="102" y="76"/>
                </a:cxn>
                <a:cxn ang="0">
                  <a:pos x="92" y="57"/>
                </a:cxn>
                <a:cxn ang="0">
                  <a:pos x="96" y="50"/>
                </a:cxn>
                <a:cxn ang="0">
                  <a:pos x="78" y="41"/>
                </a:cxn>
                <a:cxn ang="0">
                  <a:pos x="69" y="26"/>
                </a:cxn>
                <a:cxn ang="0">
                  <a:pos x="69" y="20"/>
                </a:cxn>
                <a:cxn ang="0">
                  <a:pos x="52" y="3"/>
                </a:cxn>
                <a:cxn ang="0">
                  <a:pos x="28" y="0"/>
                </a:cxn>
                <a:cxn ang="0">
                  <a:pos x="19" y="5"/>
                </a:cxn>
                <a:cxn ang="0">
                  <a:pos x="0" y="13"/>
                </a:cxn>
                <a:cxn ang="0">
                  <a:pos x="5" y="27"/>
                </a:cxn>
                <a:cxn ang="0">
                  <a:pos x="8" y="41"/>
                </a:cxn>
                <a:cxn ang="0">
                  <a:pos x="22" y="47"/>
                </a:cxn>
                <a:cxn ang="0">
                  <a:pos x="19" y="50"/>
                </a:cxn>
                <a:cxn ang="0">
                  <a:pos x="8" y="59"/>
                </a:cxn>
                <a:cxn ang="0">
                  <a:pos x="17" y="62"/>
                </a:cxn>
                <a:cxn ang="0">
                  <a:pos x="17" y="71"/>
                </a:cxn>
                <a:cxn ang="0">
                  <a:pos x="10" y="88"/>
                </a:cxn>
                <a:cxn ang="0">
                  <a:pos x="28" y="104"/>
                </a:cxn>
                <a:cxn ang="0">
                  <a:pos x="28" y="109"/>
                </a:cxn>
                <a:cxn ang="0">
                  <a:pos x="17" y="108"/>
                </a:cxn>
                <a:cxn ang="0">
                  <a:pos x="22" y="116"/>
                </a:cxn>
                <a:cxn ang="0">
                  <a:pos x="26" y="128"/>
                </a:cxn>
                <a:cxn ang="0">
                  <a:pos x="22" y="128"/>
                </a:cxn>
                <a:cxn ang="0">
                  <a:pos x="15" y="132"/>
                </a:cxn>
                <a:cxn ang="0">
                  <a:pos x="38" y="151"/>
                </a:cxn>
                <a:cxn ang="0">
                  <a:pos x="55" y="163"/>
                </a:cxn>
                <a:cxn ang="0">
                  <a:pos x="52" y="167"/>
                </a:cxn>
                <a:cxn ang="0">
                  <a:pos x="42" y="172"/>
                </a:cxn>
                <a:cxn ang="0">
                  <a:pos x="45" y="174"/>
                </a:cxn>
                <a:cxn ang="0">
                  <a:pos x="45" y="177"/>
                </a:cxn>
              </a:cxnLst>
              <a:rect l="0" t="0" r="r" b="b"/>
              <a:pathLst>
                <a:path w="148" h="212">
                  <a:moveTo>
                    <a:pt x="45" y="177"/>
                  </a:moveTo>
                  <a:lnTo>
                    <a:pt x="45" y="177"/>
                  </a:lnTo>
                  <a:lnTo>
                    <a:pt x="49" y="181"/>
                  </a:lnTo>
                  <a:lnTo>
                    <a:pt x="49" y="184"/>
                  </a:lnTo>
                  <a:lnTo>
                    <a:pt x="50" y="188"/>
                  </a:lnTo>
                  <a:lnTo>
                    <a:pt x="55" y="191"/>
                  </a:lnTo>
                  <a:lnTo>
                    <a:pt x="55" y="191"/>
                  </a:lnTo>
                  <a:lnTo>
                    <a:pt x="61" y="195"/>
                  </a:lnTo>
                  <a:lnTo>
                    <a:pt x="62" y="200"/>
                  </a:lnTo>
                  <a:lnTo>
                    <a:pt x="62" y="210"/>
                  </a:lnTo>
                  <a:lnTo>
                    <a:pt x="62" y="210"/>
                  </a:lnTo>
                  <a:lnTo>
                    <a:pt x="66" y="212"/>
                  </a:lnTo>
                  <a:lnTo>
                    <a:pt x="68" y="210"/>
                  </a:lnTo>
                  <a:lnTo>
                    <a:pt x="68" y="207"/>
                  </a:lnTo>
                  <a:lnTo>
                    <a:pt x="69" y="203"/>
                  </a:lnTo>
                  <a:lnTo>
                    <a:pt x="73" y="202"/>
                  </a:lnTo>
                  <a:lnTo>
                    <a:pt x="76" y="198"/>
                  </a:lnTo>
                  <a:lnTo>
                    <a:pt x="76" y="198"/>
                  </a:lnTo>
                  <a:lnTo>
                    <a:pt x="85" y="196"/>
                  </a:lnTo>
                  <a:lnTo>
                    <a:pt x="89" y="193"/>
                  </a:lnTo>
                  <a:lnTo>
                    <a:pt x="92" y="193"/>
                  </a:lnTo>
                  <a:lnTo>
                    <a:pt x="99" y="193"/>
                  </a:lnTo>
                  <a:lnTo>
                    <a:pt x="99" y="193"/>
                  </a:lnTo>
                  <a:lnTo>
                    <a:pt x="106" y="193"/>
                  </a:lnTo>
                  <a:lnTo>
                    <a:pt x="113" y="191"/>
                  </a:lnTo>
                  <a:lnTo>
                    <a:pt x="118" y="189"/>
                  </a:lnTo>
                  <a:lnTo>
                    <a:pt x="125" y="189"/>
                  </a:lnTo>
                  <a:lnTo>
                    <a:pt x="125" y="189"/>
                  </a:lnTo>
                  <a:lnTo>
                    <a:pt x="132" y="186"/>
                  </a:lnTo>
                  <a:lnTo>
                    <a:pt x="132" y="182"/>
                  </a:lnTo>
                  <a:lnTo>
                    <a:pt x="132" y="181"/>
                  </a:lnTo>
                  <a:lnTo>
                    <a:pt x="129" y="175"/>
                  </a:lnTo>
                  <a:lnTo>
                    <a:pt x="127" y="168"/>
                  </a:lnTo>
                  <a:lnTo>
                    <a:pt x="127" y="168"/>
                  </a:lnTo>
                  <a:lnTo>
                    <a:pt x="127" y="165"/>
                  </a:lnTo>
                  <a:lnTo>
                    <a:pt x="129" y="163"/>
                  </a:lnTo>
                  <a:lnTo>
                    <a:pt x="132" y="163"/>
                  </a:lnTo>
                  <a:lnTo>
                    <a:pt x="137" y="161"/>
                  </a:lnTo>
                  <a:lnTo>
                    <a:pt x="141" y="160"/>
                  </a:lnTo>
                  <a:lnTo>
                    <a:pt x="144" y="155"/>
                  </a:lnTo>
                  <a:lnTo>
                    <a:pt x="144" y="155"/>
                  </a:lnTo>
                  <a:lnTo>
                    <a:pt x="148" y="151"/>
                  </a:lnTo>
                  <a:lnTo>
                    <a:pt x="148" y="148"/>
                  </a:lnTo>
                  <a:lnTo>
                    <a:pt x="146" y="144"/>
                  </a:lnTo>
                  <a:lnTo>
                    <a:pt x="143" y="142"/>
                  </a:lnTo>
                  <a:lnTo>
                    <a:pt x="134" y="135"/>
                  </a:lnTo>
                  <a:lnTo>
                    <a:pt x="130" y="128"/>
                  </a:lnTo>
                  <a:lnTo>
                    <a:pt x="127" y="120"/>
                  </a:lnTo>
                  <a:lnTo>
                    <a:pt x="127" y="120"/>
                  </a:lnTo>
                  <a:lnTo>
                    <a:pt x="125" y="114"/>
                  </a:lnTo>
                  <a:lnTo>
                    <a:pt x="125" y="111"/>
                  </a:lnTo>
                  <a:lnTo>
                    <a:pt x="127" y="109"/>
                  </a:lnTo>
                  <a:lnTo>
                    <a:pt x="129" y="108"/>
                  </a:lnTo>
                  <a:lnTo>
                    <a:pt x="134" y="104"/>
                  </a:lnTo>
                  <a:lnTo>
                    <a:pt x="136" y="101"/>
                  </a:lnTo>
                  <a:lnTo>
                    <a:pt x="136" y="95"/>
                  </a:lnTo>
                  <a:lnTo>
                    <a:pt x="136" y="95"/>
                  </a:lnTo>
                  <a:lnTo>
                    <a:pt x="130" y="90"/>
                  </a:lnTo>
                  <a:lnTo>
                    <a:pt x="130" y="87"/>
                  </a:lnTo>
                  <a:lnTo>
                    <a:pt x="132" y="83"/>
                  </a:lnTo>
                  <a:lnTo>
                    <a:pt x="136" y="83"/>
                  </a:lnTo>
                  <a:lnTo>
                    <a:pt x="137" y="81"/>
                  </a:lnTo>
                  <a:lnTo>
                    <a:pt x="139" y="80"/>
                  </a:lnTo>
                  <a:lnTo>
                    <a:pt x="137" y="78"/>
                  </a:lnTo>
                  <a:lnTo>
                    <a:pt x="130" y="74"/>
                  </a:lnTo>
                  <a:lnTo>
                    <a:pt x="130" y="74"/>
                  </a:lnTo>
                  <a:lnTo>
                    <a:pt x="127" y="73"/>
                  </a:lnTo>
                  <a:lnTo>
                    <a:pt x="125" y="73"/>
                  </a:lnTo>
                  <a:lnTo>
                    <a:pt x="123" y="76"/>
                  </a:lnTo>
                  <a:lnTo>
                    <a:pt x="123" y="80"/>
                  </a:lnTo>
                  <a:lnTo>
                    <a:pt x="122" y="81"/>
                  </a:lnTo>
                  <a:lnTo>
                    <a:pt x="118" y="81"/>
                  </a:lnTo>
                  <a:lnTo>
                    <a:pt x="113" y="81"/>
                  </a:lnTo>
                  <a:lnTo>
                    <a:pt x="113" y="81"/>
                  </a:lnTo>
                  <a:lnTo>
                    <a:pt x="102" y="76"/>
                  </a:lnTo>
                  <a:lnTo>
                    <a:pt x="96" y="69"/>
                  </a:lnTo>
                  <a:lnTo>
                    <a:pt x="92" y="61"/>
                  </a:lnTo>
                  <a:lnTo>
                    <a:pt x="92" y="57"/>
                  </a:lnTo>
                  <a:lnTo>
                    <a:pt x="94" y="55"/>
                  </a:lnTo>
                  <a:lnTo>
                    <a:pt x="94" y="55"/>
                  </a:lnTo>
                  <a:lnTo>
                    <a:pt x="96" y="50"/>
                  </a:lnTo>
                  <a:lnTo>
                    <a:pt x="94" y="48"/>
                  </a:lnTo>
                  <a:lnTo>
                    <a:pt x="83" y="43"/>
                  </a:lnTo>
                  <a:lnTo>
                    <a:pt x="78" y="41"/>
                  </a:lnTo>
                  <a:lnTo>
                    <a:pt x="73" y="38"/>
                  </a:lnTo>
                  <a:lnTo>
                    <a:pt x="69" y="33"/>
                  </a:lnTo>
                  <a:lnTo>
                    <a:pt x="69" y="26"/>
                  </a:lnTo>
                  <a:lnTo>
                    <a:pt x="69" y="26"/>
                  </a:lnTo>
                  <a:lnTo>
                    <a:pt x="69" y="24"/>
                  </a:lnTo>
                  <a:lnTo>
                    <a:pt x="69" y="20"/>
                  </a:lnTo>
                  <a:lnTo>
                    <a:pt x="64" y="17"/>
                  </a:lnTo>
                  <a:lnTo>
                    <a:pt x="59" y="12"/>
                  </a:lnTo>
                  <a:lnTo>
                    <a:pt x="52" y="3"/>
                  </a:lnTo>
                  <a:lnTo>
                    <a:pt x="52" y="3"/>
                  </a:lnTo>
                  <a:lnTo>
                    <a:pt x="36" y="1"/>
                  </a:lnTo>
                  <a:lnTo>
                    <a:pt x="28" y="0"/>
                  </a:lnTo>
                  <a:lnTo>
                    <a:pt x="28" y="0"/>
                  </a:lnTo>
                  <a:lnTo>
                    <a:pt x="22" y="1"/>
                  </a:lnTo>
                  <a:lnTo>
                    <a:pt x="19" y="5"/>
                  </a:lnTo>
                  <a:lnTo>
                    <a:pt x="10" y="8"/>
                  </a:lnTo>
                  <a:lnTo>
                    <a:pt x="0" y="13"/>
                  </a:lnTo>
                  <a:lnTo>
                    <a:pt x="0" y="13"/>
                  </a:lnTo>
                  <a:lnTo>
                    <a:pt x="3" y="15"/>
                  </a:lnTo>
                  <a:lnTo>
                    <a:pt x="3" y="19"/>
                  </a:lnTo>
                  <a:lnTo>
                    <a:pt x="5" y="27"/>
                  </a:lnTo>
                  <a:lnTo>
                    <a:pt x="7" y="36"/>
                  </a:lnTo>
                  <a:lnTo>
                    <a:pt x="8" y="41"/>
                  </a:lnTo>
                  <a:lnTo>
                    <a:pt x="8" y="41"/>
                  </a:lnTo>
                  <a:lnTo>
                    <a:pt x="15" y="45"/>
                  </a:lnTo>
                  <a:lnTo>
                    <a:pt x="19" y="47"/>
                  </a:lnTo>
                  <a:lnTo>
                    <a:pt x="22" y="47"/>
                  </a:lnTo>
                  <a:lnTo>
                    <a:pt x="21" y="48"/>
                  </a:lnTo>
                  <a:lnTo>
                    <a:pt x="21" y="48"/>
                  </a:lnTo>
                  <a:lnTo>
                    <a:pt x="19" y="50"/>
                  </a:lnTo>
                  <a:lnTo>
                    <a:pt x="15" y="52"/>
                  </a:lnTo>
                  <a:lnTo>
                    <a:pt x="10" y="55"/>
                  </a:lnTo>
                  <a:lnTo>
                    <a:pt x="8" y="59"/>
                  </a:lnTo>
                  <a:lnTo>
                    <a:pt x="8" y="64"/>
                  </a:lnTo>
                  <a:lnTo>
                    <a:pt x="8" y="64"/>
                  </a:lnTo>
                  <a:lnTo>
                    <a:pt x="17" y="62"/>
                  </a:lnTo>
                  <a:lnTo>
                    <a:pt x="19" y="62"/>
                  </a:lnTo>
                  <a:lnTo>
                    <a:pt x="19" y="64"/>
                  </a:lnTo>
                  <a:lnTo>
                    <a:pt x="17" y="71"/>
                  </a:lnTo>
                  <a:lnTo>
                    <a:pt x="10" y="85"/>
                  </a:lnTo>
                  <a:lnTo>
                    <a:pt x="10" y="85"/>
                  </a:lnTo>
                  <a:lnTo>
                    <a:pt x="10" y="88"/>
                  </a:lnTo>
                  <a:lnTo>
                    <a:pt x="14" y="92"/>
                  </a:lnTo>
                  <a:lnTo>
                    <a:pt x="21" y="99"/>
                  </a:lnTo>
                  <a:lnTo>
                    <a:pt x="28" y="104"/>
                  </a:lnTo>
                  <a:lnTo>
                    <a:pt x="29" y="108"/>
                  </a:lnTo>
                  <a:lnTo>
                    <a:pt x="28" y="109"/>
                  </a:lnTo>
                  <a:lnTo>
                    <a:pt x="28" y="109"/>
                  </a:lnTo>
                  <a:lnTo>
                    <a:pt x="24" y="109"/>
                  </a:lnTo>
                  <a:lnTo>
                    <a:pt x="21" y="109"/>
                  </a:lnTo>
                  <a:lnTo>
                    <a:pt x="17" y="108"/>
                  </a:lnTo>
                  <a:lnTo>
                    <a:pt x="15" y="108"/>
                  </a:lnTo>
                  <a:lnTo>
                    <a:pt x="15" y="108"/>
                  </a:lnTo>
                  <a:lnTo>
                    <a:pt x="22" y="116"/>
                  </a:lnTo>
                  <a:lnTo>
                    <a:pt x="26" y="123"/>
                  </a:lnTo>
                  <a:lnTo>
                    <a:pt x="26" y="127"/>
                  </a:lnTo>
                  <a:lnTo>
                    <a:pt x="26" y="128"/>
                  </a:lnTo>
                  <a:lnTo>
                    <a:pt x="26" y="128"/>
                  </a:lnTo>
                  <a:lnTo>
                    <a:pt x="24" y="128"/>
                  </a:lnTo>
                  <a:lnTo>
                    <a:pt x="22" y="128"/>
                  </a:lnTo>
                  <a:lnTo>
                    <a:pt x="19" y="127"/>
                  </a:lnTo>
                  <a:lnTo>
                    <a:pt x="15" y="132"/>
                  </a:lnTo>
                  <a:lnTo>
                    <a:pt x="15" y="132"/>
                  </a:lnTo>
                  <a:lnTo>
                    <a:pt x="21" y="137"/>
                  </a:lnTo>
                  <a:lnTo>
                    <a:pt x="26" y="142"/>
                  </a:lnTo>
                  <a:lnTo>
                    <a:pt x="38" y="151"/>
                  </a:lnTo>
                  <a:lnTo>
                    <a:pt x="50" y="158"/>
                  </a:lnTo>
                  <a:lnTo>
                    <a:pt x="54" y="161"/>
                  </a:lnTo>
                  <a:lnTo>
                    <a:pt x="55" y="163"/>
                  </a:lnTo>
                  <a:lnTo>
                    <a:pt x="55" y="163"/>
                  </a:lnTo>
                  <a:lnTo>
                    <a:pt x="55" y="165"/>
                  </a:lnTo>
                  <a:lnTo>
                    <a:pt x="52" y="167"/>
                  </a:lnTo>
                  <a:lnTo>
                    <a:pt x="47" y="168"/>
                  </a:lnTo>
                  <a:lnTo>
                    <a:pt x="42" y="170"/>
                  </a:lnTo>
                  <a:lnTo>
                    <a:pt x="42" y="172"/>
                  </a:lnTo>
                  <a:lnTo>
                    <a:pt x="43" y="172"/>
                  </a:lnTo>
                  <a:lnTo>
                    <a:pt x="43" y="172"/>
                  </a:lnTo>
                  <a:lnTo>
                    <a:pt x="45" y="174"/>
                  </a:lnTo>
                  <a:lnTo>
                    <a:pt x="45" y="175"/>
                  </a:lnTo>
                  <a:lnTo>
                    <a:pt x="43" y="175"/>
                  </a:lnTo>
                  <a:lnTo>
                    <a:pt x="45" y="177"/>
                  </a:lnTo>
                  <a:lnTo>
                    <a:pt x="45" y="1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1" name="Freeform 2044">
              <a:extLst>
                <a:ext uri="{FF2B5EF4-FFF2-40B4-BE49-F238E27FC236}">
                  <a16:creationId xmlns:a16="http://schemas.microsoft.com/office/drawing/2014/main" id="{FD03C626-2449-4979-95FC-F5966608A6BD}"/>
                </a:ext>
              </a:extLst>
            </p:cNvPr>
            <p:cNvSpPr>
              <a:spLocks/>
            </p:cNvSpPr>
            <p:nvPr/>
          </p:nvSpPr>
          <p:spPr bwMode="auto">
            <a:xfrm>
              <a:off x="5264190" y="2994697"/>
              <a:ext cx="49335" cy="119816"/>
            </a:xfrm>
            <a:custGeom>
              <a:avLst/>
              <a:gdLst/>
              <a:ahLst/>
              <a:cxnLst>
                <a:cxn ang="0">
                  <a:pos x="4" y="40"/>
                </a:cxn>
                <a:cxn ang="0">
                  <a:pos x="9" y="45"/>
                </a:cxn>
                <a:cxn ang="0">
                  <a:pos x="5" y="73"/>
                </a:cxn>
                <a:cxn ang="0">
                  <a:pos x="5" y="82"/>
                </a:cxn>
                <a:cxn ang="0">
                  <a:pos x="7" y="84"/>
                </a:cxn>
                <a:cxn ang="0">
                  <a:pos x="4" y="89"/>
                </a:cxn>
                <a:cxn ang="0">
                  <a:pos x="0" y="99"/>
                </a:cxn>
                <a:cxn ang="0">
                  <a:pos x="2" y="104"/>
                </a:cxn>
                <a:cxn ang="0">
                  <a:pos x="4" y="111"/>
                </a:cxn>
                <a:cxn ang="0">
                  <a:pos x="0" y="113"/>
                </a:cxn>
                <a:cxn ang="0">
                  <a:pos x="9" y="118"/>
                </a:cxn>
                <a:cxn ang="0">
                  <a:pos x="16" y="124"/>
                </a:cxn>
                <a:cxn ang="0">
                  <a:pos x="21" y="132"/>
                </a:cxn>
                <a:cxn ang="0">
                  <a:pos x="23" y="141"/>
                </a:cxn>
                <a:cxn ang="0">
                  <a:pos x="28" y="146"/>
                </a:cxn>
                <a:cxn ang="0">
                  <a:pos x="35" y="143"/>
                </a:cxn>
                <a:cxn ang="0">
                  <a:pos x="40" y="139"/>
                </a:cxn>
                <a:cxn ang="0">
                  <a:pos x="38" y="137"/>
                </a:cxn>
                <a:cxn ang="0">
                  <a:pos x="37" y="132"/>
                </a:cxn>
                <a:cxn ang="0">
                  <a:pos x="37" y="131"/>
                </a:cxn>
                <a:cxn ang="0">
                  <a:pos x="44" y="127"/>
                </a:cxn>
                <a:cxn ang="0">
                  <a:pos x="49" y="124"/>
                </a:cxn>
                <a:cxn ang="0">
                  <a:pos x="51" y="120"/>
                </a:cxn>
                <a:cxn ang="0">
                  <a:pos x="54" y="108"/>
                </a:cxn>
                <a:cxn ang="0">
                  <a:pos x="58" y="106"/>
                </a:cxn>
                <a:cxn ang="0">
                  <a:pos x="61" y="103"/>
                </a:cxn>
                <a:cxn ang="0">
                  <a:pos x="63" y="97"/>
                </a:cxn>
                <a:cxn ang="0">
                  <a:pos x="59" y="92"/>
                </a:cxn>
                <a:cxn ang="0">
                  <a:pos x="59" y="89"/>
                </a:cxn>
                <a:cxn ang="0">
                  <a:pos x="58" y="84"/>
                </a:cxn>
                <a:cxn ang="0">
                  <a:pos x="56" y="85"/>
                </a:cxn>
                <a:cxn ang="0">
                  <a:pos x="52" y="85"/>
                </a:cxn>
                <a:cxn ang="0">
                  <a:pos x="44" y="71"/>
                </a:cxn>
                <a:cxn ang="0">
                  <a:pos x="44" y="64"/>
                </a:cxn>
                <a:cxn ang="0">
                  <a:pos x="44" y="61"/>
                </a:cxn>
                <a:cxn ang="0">
                  <a:pos x="42" y="57"/>
                </a:cxn>
                <a:cxn ang="0">
                  <a:pos x="44" y="54"/>
                </a:cxn>
                <a:cxn ang="0">
                  <a:pos x="45" y="49"/>
                </a:cxn>
                <a:cxn ang="0">
                  <a:pos x="45" y="38"/>
                </a:cxn>
                <a:cxn ang="0">
                  <a:pos x="45" y="28"/>
                </a:cxn>
                <a:cxn ang="0">
                  <a:pos x="38" y="19"/>
                </a:cxn>
                <a:cxn ang="0">
                  <a:pos x="33" y="16"/>
                </a:cxn>
                <a:cxn ang="0">
                  <a:pos x="32" y="9"/>
                </a:cxn>
                <a:cxn ang="0">
                  <a:pos x="28" y="5"/>
                </a:cxn>
                <a:cxn ang="0">
                  <a:pos x="21" y="10"/>
                </a:cxn>
                <a:cxn ang="0">
                  <a:pos x="16" y="3"/>
                </a:cxn>
                <a:cxn ang="0">
                  <a:pos x="16" y="2"/>
                </a:cxn>
                <a:cxn ang="0">
                  <a:pos x="11" y="5"/>
                </a:cxn>
                <a:cxn ang="0">
                  <a:pos x="4" y="21"/>
                </a:cxn>
                <a:cxn ang="0">
                  <a:pos x="0" y="24"/>
                </a:cxn>
                <a:cxn ang="0">
                  <a:pos x="4" y="31"/>
                </a:cxn>
                <a:cxn ang="0">
                  <a:pos x="4" y="40"/>
                </a:cxn>
              </a:cxnLst>
              <a:rect l="0" t="0" r="r" b="b"/>
              <a:pathLst>
                <a:path w="63" h="146">
                  <a:moveTo>
                    <a:pt x="4" y="40"/>
                  </a:moveTo>
                  <a:lnTo>
                    <a:pt x="4" y="40"/>
                  </a:lnTo>
                  <a:lnTo>
                    <a:pt x="7" y="42"/>
                  </a:lnTo>
                  <a:lnTo>
                    <a:pt x="9" y="45"/>
                  </a:lnTo>
                  <a:lnTo>
                    <a:pt x="7" y="59"/>
                  </a:lnTo>
                  <a:lnTo>
                    <a:pt x="5" y="73"/>
                  </a:lnTo>
                  <a:lnTo>
                    <a:pt x="5" y="78"/>
                  </a:lnTo>
                  <a:lnTo>
                    <a:pt x="5" y="82"/>
                  </a:lnTo>
                  <a:lnTo>
                    <a:pt x="5" y="82"/>
                  </a:lnTo>
                  <a:lnTo>
                    <a:pt x="7" y="84"/>
                  </a:lnTo>
                  <a:lnTo>
                    <a:pt x="5" y="85"/>
                  </a:lnTo>
                  <a:lnTo>
                    <a:pt x="4" y="89"/>
                  </a:lnTo>
                  <a:lnTo>
                    <a:pt x="0" y="94"/>
                  </a:lnTo>
                  <a:lnTo>
                    <a:pt x="0" y="99"/>
                  </a:lnTo>
                  <a:lnTo>
                    <a:pt x="2" y="104"/>
                  </a:lnTo>
                  <a:lnTo>
                    <a:pt x="2" y="104"/>
                  </a:lnTo>
                  <a:lnTo>
                    <a:pt x="4" y="108"/>
                  </a:lnTo>
                  <a:lnTo>
                    <a:pt x="4" y="111"/>
                  </a:lnTo>
                  <a:lnTo>
                    <a:pt x="2" y="113"/>
                  </a:lnTo>
                  <a:lnTo>
                    <a:pt x="0" y="113"/>
                  </a:lnTo>
                  <a:lnTo>
                    <a:pt x="2" y="115"/>
                  </a:lnTo>
                  <a:lnTo>
                    <a:pt x="9" y="118"/>
                  </a:lnTo>
                  <a:lnTo>
                    <a:pt x="9" y="118"/>
                  </a:lnTo>
                  <a:lnTo>
                    <a:pt x="16" y="124"/>
                  </a:lnTo>
                  <a:lnTo>
                    <a:pt x="19" y="129"/>
                  </a:lnTo>
                  <a:lnTo>
                    <a:pt x="21" y="132"/>
                  </a:lnTo>
                  <a:lnTo>
                    <a:pt x="23" y="136"/>
                  </a:lnTo>
                  <a:lnTo>
                    <a:pt x="23" y="141"/>
                  </a:lnTo>
                  <a:lnTo>
                    <a:pt x="25" y="144"/>
                  </a:lnTo>
                  <a:lnTo>
                    <a:pt x="28" y="146"/>
                  </a:lnTo>
                  <a:lnTo>
                    <a:pt x="28" y="146"/>
                  </a:lnTo>
                  <a:lnTo>
                    <a:pt x="35" y="143"/>
                  </a:lnTo>
                  <a:lnTo>
                    <a:pt x="38" y="141"/>
                  </a:lnTo>
                  <a:lnTo>
                    <a:pt x="40" y="139"/>
                  </a:lnTo>
                  <a:lnTo>
                    <a:pt x="40" y="139"/>
                  </a:lnTo>
                  <a:lnTo>
                    <a:pt x="38" y="137"/>
                  </a:lnTo>
                  <a:lnTo>
                    <a:pt x="38" y="136"/>
                  </a:lnTo>
                  <a:lnTo>
                    <a:pt x="37" y="132"/>
                  </a:lnTo>
                  <a:lnTo>
                    <a:pt x="37" y="131"/>
                  </a:lnTo>
                  <a:lnTo>
                    <a:pt x="37" y="131"/>
                  </a:lnTo>
                  <a:lnTo>
                    <a:pt x="40" y="129"/>
                  </a:lnTo>
                  <a:lnTo>
                    <a:pt x="44" y="127"/>
                  </a:lnTo>
                  <a:lnTo>
                    <a:pt x="47" y="125"/>
                  </a:lnTo>
                  <a:lnTo>
                    <a:pt x="49" y="124"/>
                  </a:lnTo>
                  <a:lnTo>
                    <a:pt x="51" y="120"/>
                  </a:lnTo>
                  <a:lnTo>
                    <a:pt x="51" y="120"/>
                  </a:lnTo>
                  <a:lnTo>
                    <a:pt x="52" y="110"/>
                  </a:lnTo>
                  <a:lnTo>
                    <a:pt x="54" y="108"/>
                  </a:lnTo>
                  <a:lnTo>
                    <a:pt x="56" y="106"/>
                  </a:lnTo>
                  <a:lnTo>
                    <a:pt x="58" y="106"/>
                  </a:lnTo>
                  <a:lnTo>
                    <a:pt x="59" y="104"/>
                  </a:lnTo>
                  <a:lnTo>
                    <a:pt x="61" y="103"/>
                  </a:lnTo>
                  <a:lnTo>
                    <a:pt x="61" y="103"/>
                  </a:lnTo>
                  <a:lnTo>
                    <a:pt x="63" y="97"/>
                  </a:lnTo>
                  <a:lnTo>
                    <a:pt x="61" y="96"/>
                  </a:lnTo>
                  <a:lnTo>
                    <a:pt x="59" y="92"/>
                  </a:lnTo>
                  <a:lnTo>
                    <a:pt x="59" y="89"/>
                  </a:lnTo>
                  <a:lnTo>
                    <a:pt x="59" y="89"/>
                  </a:lnTo>
                  <a:lnTo>
                    <a:pt x="58" y="85"/>
                  </a:lnTo>
                  <a:lnTo>
                    <a:pt x="58" y="84"/>
                  </a:lnTo>
                  <a:lnTo>
                    <a:pt x="56" y="85"/>
                  </a:lnTo>
                  <a:lnTo>
                    <a:pt x="56" y="85"/>
                  </a:lnTo>
                  <a:lnTo>
                    <a:pt x="54" y="85"/>
                  </a:lnTo>
                  <a:lnTo>
                    <a:pt x="52" y="85"/>
                  </a:lnTo>
                  <a:lnTo>
                    <a:pt x="47" y="78"/>
                  </a:lnTo>
                  <a:lnTo>
                    <a:pt x="44" y="71"/>
                  </a:lnTo>
                  <a:lnTo>
                    <a:pt x="44" y="68"/>
                  </a:lnTo>
                  <a:lnTo>
                    <a:pt x="44" y="64"/>
                  </a:lnTo>
                  <a:lnTo>
                    <a:pt x="44" y="64"/>
                  </a:lnTo>
                  <a:lnTo>
                    <a:pt x="44" y="61"/>
                  </a:lnTo>
                  <a:lnTo>
                    <a:pt x="44" y="59"/>
                  </a:lnTo>
                  <a:lnTo>
                    <a:pt x="42" y="57"/>
                  </a:lnTo>
                  <a:lnTo>
                    <a:pt x="44" y="54"/>
                  </a:lnTo>
                  <a:lnTo>
                    <a:pt x="44" y="54"/>
                  </a:lnTo>
                  <a:lnTo>
                    <a:pt x="45" y="52"/>
                  </a:lnTo>
                  <a:lnTo>
                    <a:pt x="45" y="49"/>
                  </a:lnTo>
                  <a:lnTo>
                    <a:pt x="45" y="45"/>
                  </a:lnTo>
                  <a:lnTo>
                    <a:pt x="45" y="38"/>
                  </a:lnTo>
                  <a:lnTo>
                    <a:pt x="45" y="38"/>
                  </a:lnTo>
                  <a:lnTo>
                    <a:pt x="45" y="28"/>
                  </a:lnTo>
                  <a:lnTo>
                    <a:pt x="44" y="23"/>
                  </a:lnTo>
                  <a:lnTo>
                    <a:pt x="38" y="19"/>
                  </a:lnTo>
                  <a:lnTo>
                    <a:pt x="38" y="19"/>
                  </a:lnTo>
                  <a:lnTo>
                    <a:pt x="33" y="16"/>
                  </a:lnTo>
                  <a:lnTo>
                    <a:pt x="32" y="12"/>
                  </a:lnTo>
                  <a:lnTo>
                    <a:pt x="32" y="9"/>
                  </a:lnTo>
                  <a:lnTo>
                    <a:pt x="28" y="5"/>
                  </a:lnTo>
                  <a:lnTo>
                    <a:pt x="28" y="5"/>
                  </a:lnTo>
                  <a:lnTo>
                    <a:pt x="23" y="10"/>
                  </a:lnTo>
                  <a:lnTo>
                    <a:pt x="21" y="10"/>
                  </a:lnTo>
                  <a:lnTo>
                    <a:pt x="18" y="9"/>
                  </a:lnTo>
                  <a:lnTo>
                    <a:pt x="16" y="3"/>
                  </a:lnTo>
                  <a:lnTo>
                    <a:pt x="16" y="3"/>
                  </a:lnTo>
                  <a:lnTo>
                    <a:pt x="16" y="2"/>
                  </a:lnTo>
                  <a:lnTo>
                    <a:pt x="14" y="0"/>
                  </a:lnTo>
                  <a:lnTo>
                    <a:pt x="11" y="5"/>
                  </a:lnTo>
                  <a:lnTo>
                    <a:pt x="7" y="12"/>
                  </a:lnTo>
                  <a:lnTo>
                    <a:pt x="4" y="21"/>
                  </a:lnTo>
                  <a:lnTo>
                    <a:pt x="4" y="21"/>
                  </a:lnTo>
                  <a:lnTo>
                    <a:pt x="0" y="24"/>
                  </a:lnTo>
                  <a:lnTo>
                    <a:pt x="2" y="28"/>
                  </a:lnTo>
                  <a:lnTo>
                    <a:pt x="4" y="31"/>
                  </a:lnTo>
                  <a:lnTo>
                    <a:pt x="4" y="35"/>
                  </a:lnTo>
                  <a:lnTo>
                    <a:pt x="4" y="40"/>
                  </a:lnTo>
                  <a:lnTo>
                    <a:pt x="4"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2" name="Freeform 2045">
              <a:extLst>
                <a:ext uri="{FF2B5EF4-FFF2-40B4-BE49-F238E27FC236}">
                  <a16:creationId xmlns:a16="http://schemas.microsoft.com/office/drawing/2014/main" id="{47F63F19-EF0A-40C2-AB1F-5D2A1E29BD11}"/>
                </a:ext>
              </a:extLst>
            </p:cNvPr>
            <p:cNvSpPr>
              <a:spLocks/>
            </p:cNvSpPr>
            <p:nvPr/>
          </p:nvSpPr>
          <p:spPr bwMode="auto">
            <a:xfrm>
              <a:off x="5174331" y="2758586"/>
              <a:ext cx="192057" cy="118055"/>
            </a:xfrm>
            <a:custGeom>
              <a:avLst/>
              <a:gdLst/>
              <a:ahLst/>
              <a:cxnLst>
                <a:cxn ang="0">
                  <a:pos x="103" y="130"/>
                </a:cxn>
                <a:cxn ang="0">
                  <a:pos x="121" y="122"/>
                </a:cxn>
                <a:cxn ang="0">
                  <a:pos x="145" y="125"/>
                </a:cxn>
                <a:cxn ang="0">
                  <a:pos x="159" y="122"/>
                </a:cxn>
                <a:cxn ang="0">
                  <a:pos x="162" y="120"/>
                </a:cxn>
                <a:cxn ang="0">
                  <a:pos x="162" y="116"/>
                </a:cxn>
                <a:cxn ang="0">
                  <a:pos x="169" y="118"/>
                </a:cxn>
                <a:cxn ang="0">
                  <a:pos x="176" y="115"/>
                </a:cxn>
                <a:cxn ang="0">
                  <a:pos x="190" y="87"/>
                </a:cxn>
                <a:cxn ang="0">
                  <a:pos x="194" y="75"/>
                </a:cxn>
                <a:cxn ang="0">
                  <a:pos x="206" y="61"/>
                </a:cxn>
                <a:cxn ang="0">
                  <a:pos x="211" y="47"/>
                </a:cxn>
                <a:cxn ang="0">
                  <a:pos x="218" y="41"/>
                </a:cxn>
                <a:cxn ang="0">
                  <a:pos x="229" y="40"/>
                </a:cxn>
                <a:cxn ang="0">
                  <a:pos x="237" y="33"/>
                </a:cxn>
                <a:cxn ang="0">
                  <a:pos x="236" y="29"/>
                </a:cxn>
                <a:cxn ang="0">
                  <a:pos x="234" y="24"/>
                </a:cxn>
                <a:cxn ang="0">
                  <a:pos x="227" y="24"/>
                </a:cxn>
                <a:cxn ang="0">
                  <a:pos x="218" y="14"/>
                </a:cxn>
                <a:cxn ang="0">
                  <a:pos x="209" y="8"/>
                </a:cxn>
                <a:cxn ang="0">
                  <a:pos x="194" y="10"/>
                </a:cxn>
                <a:cxn ang="0">
                  <a:pos x="187" y="0"/>
                </a:cxn>
                <a:cxn ang="0">
                  <a:pos x="180" y="3"/>
                </a:cxn>
                <a:cxn ang="0">
                  <a:pos x="164" y="1"/>
                </a:cxn>
                <a:cxn ang="0">
                  <a:pos x="155" y="1"/>
                </a:cxn>
                <a:cxn ang="0">
                  <a:pos x="148" y="14"/>
                </a:cxn>
                <a:cxn ang="0">
                  <a:pos x="142" y="21"/>
                </a:cxn>
                <a:cxn ang="0">
                  <a:pos x="129" y="22"/>
                </a:cxn>
                <a:cxn ang="0">
                  <a:pos x="121" y="19"/>
                </a:cxn>
                <a:cxn ang="0">
                  <a:pos x="117" y="24"/>
                </a:cxn>
                <a:cxn ang="0">
                  <a:pos x="103" y="26"/>
                </a:cxn>
                <a:cxn ang="0">
                  <a:pos x="93" y="28"/>
                </a:cxn>
                <a:cxn ang="0">
                  <a:pos x="94" y="38"/>
                </a:cxn>
                <a:cxn ang="0">
                  <a:pos x="88" y="40"/>
                </a:cxn>
                <a:cxn ang="0">
                  <a:pos x="63" y="43"/>
                </a:cxn>
                <a:cxn ang="0">
                  <a:pos x="42" y="31"/>
                </a:cxn>
                <a:cxn ang="0">
                  <a:pos x="35" y="28"/>
                </a:cxn>
                <a:cxn ang="0">
                  <a:pos x="34" y="43"/>
                </a:cxn>
                <a:cxn ang="0">
                  <a:pos x="32" y="45"/>
                </a:cxn>
                <a:cxn ang="0">
                  <a:pos x="11" y="45"/>
                </a:cxn>
                <a:cxn ang="0">
                  <a:pos x="16" y="48"/>
                </a:cxn>
                <a:cxn ang="0">
                  <a:pos x="20" y="55"/>
                </a:cxn>
                <a:cxn ang="0">
                  <a:pos x="14" y="59"/>
                </a:cxn>
                <a:cxn ang="0">
                  <a:pos x="11" y="62"/>
                </a:cxn>
                <a:cxn ang="0">
                  <a:pos x="13" y="75"/>
                </a:cxn>
                <a:cxn ang="0">
                  <a:pos x="0" y="87"/>
                </a:cxn>
                <a:cxn ang="0">
                  <a:pos x="6" y="88"/>
                </a:cxn>
                <a:cxn ang="0">
                  <a:pos x="11" y="102"/>
                </a:cxn>
                <a:cxn ang="0">
                  <a:pos x="23" y="113"/>
                </a:cxn>
                <a:cxn ang="0">
                  <a:pos x="42" y="132"/>
                </a:cxn>
                <a:cxn ang="0">
                  <a:pos x="46" y="134"/>
                </a:cxn>
                <a:cxn ang="0">
                  <a:pos x="70" y="142"/>
                </a:cxn>
                <a:cxn ang="0">
                  <a:pos x="79" y="142"/>
                </a:cxn>
                <a:cxn ang="0">
                  <a:pos x="88" y="135"/>
                </a:cxn>
              </a:cxnLst>
              <a:rect l="0" t="0" r="r" b="b"/>
              <a:pathLst>
                <a:path w="237" h="144">
                  <a:moveTo>
                    <a:pt x="93" y="135"/>
                  </a:moveTo>
                  <a:lnTo>
                    <a:pt x="93" y="135"/>
                  </a:lnTo>
                  <a:lnTo>
                    <a:pt x="103" y="130"/>
                  </a:lnTo>
                  <a:lnTo>
                    <a:pt x="112" y="127"/>
                  </a:lnTo>
                  <a:lnTo>
                    <a:pt x="115" y="123"/>
                  </a:lnTo>
                  <a:lnTo>
                    <a:pt x="121" y="122"/>
                  </a:lnTo>
                  <a:lnTo>
                    <a:pt x="121" y="122"/>
                  </a:lnTo>
                  <a:lnTo>
                    <a:pt x="129" y="123"/>
                  </a:lnTo>
                  <a:lnTo>
                    <a:pt x="145" y="125"/>
                  </a:lnTo>
                  <a:lnTo>
                    <a:pt x="145" y="125"/>
                  </a:lnTo>
                  <a:lnTo>
                    <a:pt x="150" y="123"/>
                  </a:lnTo>
                  <a:lnTo>
                    <a:pt x="159" y="122"/>
                  </a:lnTo>
                  <a:lnTo>
                    <a:pt x="159" y="122"/>
                  </a:lnTo>
                  <a:lnTo>
                    <a:pt x="162" y="120"/>
                  </a:lnTo>
                  <a:lnTo>
                    <a:pt x="162" y="120"/>
                  </a:lnTo>
                  <a:lnTo>
                    <a:pt x="161" y="118"/>
                  </a:lnTo>
                  <a:lnTo>
                    <a:pt x="162" y="116"/>
                  </a:lnTo>
                  <a:lnTo>
                    <a:pt x="162" y="116"/>
                  </a:lnTo>
                  <a:lnTo>
                    <a:pt x="166" y="116"/>
                  </a:lnTo>
                  <a:lnTo>
                    <a:pt x="168" y="118"/>
                  </a:lnTo>
                  <a:lnTo>
                    <a:pt x="169" y="118"/>
                  </a:lnTo>
                  <a:lnTo>
                    <a:pt x="171" y="118"/>
                  </a:lnTo>
                  <a:lnTo>
                    <a:pt x="171" y="118"/>
                  </a:lnTo>
                  <a:lnTo>
                    <a:pt x="176" y="115"/>
                  </a:lnTo>
                  <a:lnTo>
                    <a:pt x="182" y="106"/>
                  </a:lnTo>
                  <a:lnTo>
                    <a:pt x="190" y="87"/>
                  </a:lnTo>
                  <a:lnTo>
                    <a:pt x="190" y="87"/>
                  </a:lnTo>
                  <a:lnTo>
                    <a:pt x="194" y="82"/>
                  </a:lnTo>
                  <a:lnTo>
                    <a:pt x="194" y="78"/>
                  </a:lnTo>
                  <a:lnTo>
                    <a:pt x="194" y="75"/>
                  </a:lnTo>
                  <a:lnTo>
                    <a:pt x="199" y="68"/>
                  </a:lnTo>
                  <a:lnTo>
                    <a:pt x="199" y="68"/>
                  </a:lnTo>
                  <a:lnTo>
                    <a:pt x="206" y="61"/>
                  </a:lnTo>
                  <a:lnTo>
                    <a:pt x="208" y="55"/>
                  </a:lnTo>
                  <a:lnTo>
                    <a:pt x="209" y="52"/>
                  </a:lnTo>
                  <a:lnTo>
                    <a:pt x="211" y="47"/>
                  </a:lnTo>
                  <a:lnTo>
                    <a:pt x="211" y="47"/>
                  </a:lnTo>
                  <a:lnTo>
                    <a:pt x="215" y="43"/>
                  </a:lnTo>
                  <a:lnTo>
                    <a:pt x="218" y="41"/>
                  </a:lnTo>
                  <a:lnTo>
                    <a:pt x="223" y="41"/>
                  </a:lnTo>
                  <a:lnTo>
                    <a:pt x="225" y="41"/>
                  </a:lnTo>
                  <a:lnTo>
                    <a:pt x="229" y="40"/>
                  </a:lnTo>
                  <a:lnTo>
                    <a:pt x="232" y="38"/>
                  </a:lnTo>
                  <a:lnTo>
                    <a:pt x="237" y="33"/>
                  </a:lnTo>
                  <a:lnTo>
                    <a:pt x="237" y="33"/>
                  </a:lnTo>
                  <a:lnTo>
                    <a:pt x="236" y="31"/>
                  </a:lnTo>
                  <a:lnTo>
                    <a:pt x="236" y="29"/>
                  </a:lnTo>
                  <a:lnTo>
                    <a:pt x="236" y="29"/>
                  </a:lnTo>
                  <a:lnTo>
                    <a:pt x="237" y="28"/>
                  </a:lnTo>
                  <a:lnTo>
                    <a:pt x="236" y="26"/>
                  </a:lnTo>
                  <a:lnTo>
                    <a:pt x="234" y="24"/>
                  </a:lnTo>
                  <a:lnTo>
                    <a:pt x="230" y="24"/>
                  </a:lnTo>
                  <a:lnTo>
                    <a:pt x="230" y="24"/>
                  </a:lnTo>
                  <a:lnTo>
                    <a:pt x="227" y="24"/>
                  </a:lnTo>
                  <a:lnTo>
                    <a:pt x="225" y="24"/>
                  </a:lnTo>
                  <a:lnTo>
                    <a:pt x="223" y="19"/>
                  </a:lnTo>
                  <a:lnTo>
                    <a:pt x="218" y="14"/>
                  </a:lnTo>
                  <a:lnTo>
                    <a:pt x="215" y="10"/>
                  </a:lnTo>
                  <a:lnTo>
                    <a:pt x="209" y="8"/>
                  </a:lnTo>
                  <a:lnTo>
                    <a:pt x="209" y="8"/>
                  </a:lnTo>
                  <a:lnTo>
                    <a:pt x="202" y="12"/>
                  </a:lnTo>
                  <a:lnTo>
                    <a:pt x="197" y="12"/>
                  </a:lnTo>
                  <a:lnTo>
                    <a:pt x="194" y="10"/>
                  </a:lnTo>
                  <a:lnTo>
                    <a:pt x="194" y="10"/>
                  </a:lnTo>
                  <a:lnTo>
                    <a:pt x="190" y="3"/>
                  </a:lnTo>
                  <a:lnTo>
                    <a:pt x="187" y="0"/>
                  </a:lnTo>
                  <a:lnTo>
                    <a:pt x="183" y="1"/>
                  </a:lnTo>
                  <a:lnTo>
                    <a:pt x="180" y="3"/>
                  </a:lnTo>
                  <a:lnTo>
                    <a:pt x="180" y="3"/>
                  </a:lnTo>
                  <a:lnTo>
                    <a:pt x="175" y="5"/>
                  </a:lnTo>
                  <a:lnTo>
                    <a:pt x="169" y="3"/>
                  </a:lnTo>
                  <a:lnTo>
                    <a:pt x="164" y="1"/>
                  </a:lnTo>
                  <a:lnTo>
                    <a:pt x="157" y="1"/>
                  </a:lnTo>
                  <a:lnTo>
                    <a:pt x="157" y="1"/>
                  </a:lnTo>
                  <a:lnTo>
                    <a:pt x="155" y="1"/>
                  </a:lnTo>
                  <a:lnTo>
                    <a:pt x="152" y="3"/>
                  </a:lnTo>
                  <a:lnTo>
                    <a:pt x="150" y="8"/>
                  </a:lnTo>
                  <a:lnTo>
                    <a:pt x="148" y="14"/>
                  </a:lnTo>
                  <a:lnTo>
                    <a:pt x="147" y="17"/>
                  </a:lnTo>
                  <a:lnTo>
                    <a:pt x="147" y="17"/>
                  </a:lnTo>
                  <a:lnTo>
                    <a:pt x="142" y="21"/>
                  </a:lnTo>
                  <a:lnTo>
                    <a:pt x="133" y="22"/>
                  </a:lnTo>
                  <a:lnTo>
                    <a:pt x="133" y="22"/>
                  </a:lnTo>
                  <a:lnTo>
                    <a:pt x="129" y="22"/>
                  </a:lnTo>
                  <a:lnTo>
                    <a:pt x="126" y="19"/>
                  </a:lnTo>
                  <a:lnTo>
                    <a:pt x="122" y="17"/>
                  </a:lnTo>
                  <a:lnTo>
                    <a:pt x="121" y="19"/>
                  </a:lnTo>
                  <a:lnTo>
                    <a:pt x="119" y="22"/>
                  </a:lnTo>
                  <a:lnTo>
                    <a:pt x="119" y="22"/>
                  </a:lnTo>
                  <a:lnTo>
                    <a:pt x="117" y="24"/>
                  </a:lnTo>
                  <a:lnTo>
                    <a:pt x="115" y="26"/>
                  </a:lnTo>
                  <a:lnTo>
                    <a:pt x="110" y="28"/>
                  </a:lnTo>
                  <a:lnTo>
                    <a:pt x="103" y="26"/>
                  </a:lnTo>
                  <a:lnTo>
                    <a:pt x="96" y="28"/>
                  </a:lnTo>
                  <a:lnTo>
                    <a:pt x="96" y="28"/>
                  </a:lnTo>
                  <a:lnTo>
                    <a:pt x="93" y="28"/>
                  </a:lnTo>
                  <a:lnTo>
                    <a:pt x="93" y="29"/>
                  </a:lnTo>
                  <a:lnTo>
                    <a:pt x="93" y="35"/>
                  </a:lnTo>
                  <a:lnTo>
                    <a:pt x="94" y="38"/>
                  </a:lnTo>
                  <a:lnTo>
                    <a:pt x="94" y="40"/>
                  </a:lnTo>
                  <a:lnTo>
                    <a:pt x="94" y="40"/>
                  </a:lnTo>
                  <a:lnTo>
                    <a:pt x="88" y="40"/>
                  </a:lnTo>
                  <a:lnTo>
                    <a:pt x="68" y="43"/>
                  </a:lnTo>
                  <a:lnTo>
                    <a:pt x="68" y="43"/>
                  </a:lnTo>
                  <a:lnTo>
                    <a:pt x="63" y="43"/>
                  </a:lnTo>
                  <a:lnTo>
                    <a:pt x="58" y="43"/>
                  </a:lnTo>
                  <a:lnTo>
                    <a:pt x="49" y="36"/>
                  </a:lnTo>
                  <a:lnTo>
                    <a:pt x="42" y="31"/>
                  </a:lnTo>
                  <a:lnTo>
                    <a:pt x="39" y="29"/>
                  </a:lnTo>
                  <a:lnTo>
                    <a:pt x="35" y="28"/>
                  </a:lnTo>
                  <a:lnTo>
                    <a:pt x="35" y="28"/>
                  </a:lnTo>
                  <a:lnTo>
                    <a:pt x="34" y="33"/>
                  </a:lnTo>
                  <a:lnTo>
                    <a:pt x="34" y="40"/>
                  </a:lnTo>
                  <a:lnTo>
                    <a:pt x="34" y="43"/>
                  </a:lnTo>
                  <a:lnTo>
                    <a:pt x="32" y="45"/>
                  </a:lnTo>
                  <a:lnTo>
                    <a:pt x="32" y="45"/>
                  </a:lnTo>
                  <a:lnTo>
                    <a:pt x="32" y="45"/>
                  </a:lnTo>
                  <a:lnTo>
                    <a:pt x="20" y="45"/>
                  </a:lnTo>
                  <a:lnTo>
                    <a:pt x="14" y="43"/>
                  </a:lnTo>
                  <a:lnTo>
                    <a:pt x="11" y="45"/>
                  </a:lnTo>
                  <a:lnTo>
                    <a:pt x="11" y="45"/>
                  </a:lnTo>
                  <a:lnTo>
                    <a:pt x="13" y="47"/>
                  </a:lnTo>
                  <a:lnTo>
                    <a:pt x="16" y="48"/>
                  </a:lnTo>
                  <a:lnTo>
                    <a:pt x="20" y="50"/>
                  </a:lnTo>
                  <a:lnTo>
                    <a:pt x="20" y="52"/>
                  </a:lnTo>
                  <a:lnTo>
                    <a:pt x="20" y="55"/>
                  </a:lnTo>
                  <a:lnTo>
                    <a:pt x="20" y="55"/>
                  </a:lnTo>
                  <a:lnTo>
                    <a:pt x="16" y="57"/>
                  </a:lnTo>
                  <a:lnTo>
                    <a:pt x="14" y="59"/>
                  </a:lnTo>
                  <a:lnTo>
                    <a:pt x="11" y="59"/>
                  </a:lnTo>
                  <a:lnTo>
                    <a:pt x="11" y="62"/>
                  </a:lnTo>
                  <a:lnTo>
                    <a:pt x="11" y="62"/>
                  </a:lnTo>
                  <a:lnTo>
                    <a:pt x="11" y="69"/>
                  </a:lnTo>
                  <a:lnTo>
                    <a:pt x="13" y="73"/>
                  </a:lnTo>
                  <a:lnTo>
                    <a:pt x="13" y="75"/>
                  </a:lnTo>
                  <a:lnTo>
                    <a:pt x="13" y="75"/>
                  </a:lnTo>
                  <a:lnTo>
                    <a:pt x="13" y="75"/>
                  </a:lnTo>
                  <a:lnTo>
                    <a:pt x="0" y="87"/>
                  </a:lnTo>
                  <a:lnTo>
                    <a:pt x="0" y="87"/>
                  </a:lnTo>
                  <a:lnTo>
                    <a:pt x="4" y="87"/>
                  </a:lnTo>
                  <a:lnTo>
                    <a:pt x="6" y="88"/>
                  </a:lnTo>
                  <a:lnTo>
                    <a:pt x="9" y="94"/>
                  </a:lnTo>
                  <a:lnTo>
                    <a:pt x="9" y="101"/>
                  </a:lnTo>
                  <a:lnTo>
                    <a:pt x="11" y="102"/>
                  </a:lnTo>
                  <a:lnTo>
                    <a:pt x="13" y="106"/>
                  </a:lnTo>
                  <a:lnTo>
                    <a:pt x="13" y="106"/>
                  </a:lnTo>
                  <a:lnTo>
                    <a:pt x="23" y="113"/>
                  </a:lnTo>
                  <a:lnTo>
                    <a:pt x="32" y="118"/>
                  </a:lnTo>
                  <a:lnTo>
                    <a:pt x="39" y="127"/>
                  </a:lnTo>
                  <a:lnTo>
                    <a:pt x="42" y="132"/>
                  </a:lnTo>
                  <a:lnTo>
                    <a:pt x="42" y="134"/>
                  </a:lnTo>
                  <a:lnTo>
                    <a:pt x="46" y="134"/>
                  </a:lnTo>
                  <a:lnTo>
                    <a:pt x="46" y="134"/>
                  </a:lnTo>
                  <a:lnTo>
                    <a:pt x="53" y="135"/>
                  </a:lnTo>
                  <a:lnTo>
                    <a:pt x="61" y="139"/>
                  </a:lnTo>
                  <a:lnTo>
                    <a:pt x="70" y="142"/>
                  </a:lnTo>
                  <a:lnTo>
                    <a:pt x="75" y="144"/>
                  </a:lnTo>
                  <a:lnTo>
                    <a:pt x="79" y="142"/>
                  </a:lnTo>
                  <a:lnTo>
                    <a:pt x="79" y="142"/>
                  </a:lnTo>
                  <a:lnTo>
                    <a:pt x="84" y="141"/>
                  </a:lnTo>
                  <a:lnTo>
                    <a:pt x="86" y="137"/>
                  </a:lnTo>
                  <a:lnTo>
                    <a:pt x="88" y="135"/>
                  </a:lnTo>
                  <a:lnTo>
                    <a:pt x="93" y="135"/>
                  </a:lnTo>
                  <a:lnTo>
                    <a:pt x="93" y="1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3" name="Freeform 2046">
              <a:extLst>
                <a:ext uri="{FF2B5EF4-FFF2-40B4-BE49-F238E27FC236}">
                  <a16:creationId xmlns:a16="http://schemas.microsoft.com/office/drawing/2014/main" id="{5AC6B1E3-A74E-4760-AE3C-B7A30565003E}"/>
                </a:ext>
              </a:extLst>
            </p:cNvPr>
            <p:cNvSpPr>
              <a:spLocks/>
            </p:cNvSpPr>
            <p:nvPr/>
          </p:nvSpPr>
          <p:spPr bwMode="auto">
            <a:xfrm>
              <a:off x="5193712" y="2719825"/>
              <a:ext cx="162103" cy="74004"/>
            </a:xfrm>
            <a:custGeom>
              <a:avLst/>
              <a:gdLst/>
              <a:ahLst/>
              <a:cxnLst>
                <a:cxn ang="0">
                  <a:pos x="200" y="26"/>
                </a:cxn>
                <a:cxn ang="0">
                  <a:pos x="181" y="18"/>
                </a:cxn>
                <a:cxn ang="0">
                  <a:pos x="177" y="12"/>
                </a:cxn>
                <a:cxn ang="0">
                  <a:pos x="162" y="9"/>
                </a:cxn>
                <a:cxn ang="0">
                  <a:pos x="125" y="9"/>
                </a:cxn>
                <a:cxn ang="0">
                  <a:pos x="123" y="9"/>
                </a:cxn>
                <a:cxn ang="0">
                  <a:pos x="117" y="16"/>
                </a:cxn>
                <a:cxn ang="0">
                  <a:pos x="113" y="21"/>
                </a:cxn>
                <a:cxn ang="0">
                  <a:pos x="111" y="19"/>
                </a:cxn>
                <a:cxn ang="0">
                  <a:pos x="104" y="19"/>
                </a:cxn>
                <a:cxn ang="0">
                  <a:pos x="103" y="16"/>
                </a:cxn>
                <a:cxn ang="0">
                  <a:pos x="104" y="11"/>
                </a:cxn>
                <a:cxn ang="0">
                  <a:pos x="101" y="4"/>
                </a:cxn>
                <a:cxn ang="0">
                  <a:pos x="94" y="0"/>
                </a:cxn>
                <a:cxn ang="0">
                  <a:pos x="87" y="2"/>
                </a:cxn>
                <a:cxn ang="0">
                  <a:pos x="85" y="4"/>
                </a:cxn>
                <a:cxn ang="0">
                  <a:pos x="76" y="11"/>
                </a:cxn>
                <a:cxn ang="0">
                  <a:pos x="75" y="7"/>
                </a:cxn>
                <a:cxn ang="0">
                  <a:pos x="75" y="5"/>
                </a:cxn>
                <a:cxn ang="0">
                  <a:pos x="69" y="4"/>
                </a:cxn>
                <a:cxn ang="0">
                  <a:pos x="59" y="7"/>
                </a:cxn>
                <a:cxn ang="0">
                  <a:pos x="47" y="18"/>
                </a:cxn>
                <a:cxn ang="0">
                  <a:pos x="42" y="28"/>
                </a:cxn>
                <a:cxn ang="0">
                  <a:pos x="33" y="35"/>
                </a:cxn>
                <a:cxn ang="0">
                  <a:pos x="29" y="37"/>
                </a:cxn>
                <a:cxn ang="0">
                  <a:pos x="17" y="37"/>
                </a:cxn>
                <a:cxn ang="0">
                  <a:pos x="10" y="38"/>
                </a:cxn>
                <a:cxn ang="0">
                  <a:pos x="3" y="47"/>
                </a:cxn>
                <a:cxn ang="0">
                  <a:pos x="2" y="54"/>
                </a:cxn>
                <a:cxn ang="0">
                  <a:pos x="0" y="63"/>
                </a:cxn>
                <a:cxn ang="0">
                  <a:pos x="10" y="79"/>
                </a:cxn>
                <a:cxn ang="0">
                  <a:pos x="14" y="80"/>
                </a:cxn>
                <a:cxn ang="0">
                  <a:pos x="24" y="87"/>
                </a:cxn>
                <a:cxn ang="0">
                  <a:pos x="38" y="94"/>
                </a:cxn>
                <a:cxn ang="0">
                  <a:pos x="43" y="94"/>
                </a:cxn>
                <a:cxn ang="0">
                  <a:pos x="69" y="91"/>
                </a:cxn>
                <a:cxn ang="0">
                  <a:pos x="69" y="89"/>
                </a:cxn>
                <a:cxn ang="0">
                  <a:pos x="68" y="80"/>
                </a:cxn>
                <a:cxn ang="0">
                  <a:pos x="71" y="79"/>
                </a:cxn>
                <a:cxn ang="0">
                  <a:pos x="78" y="77"/>
                </a:cxn>
                <a:cxn ang="0">
                  <a:pos x="90" y="77"/>
                </a:cxn>
                <a:cxn ang="0">
                  <a:pos x="94" y="73"/>
                </a:cxn>
                <a:cxn ang="0">
                  <a:pos x="96" y="70"/>
                </a:cxn>
                <a:cxn ang="0">
                  <a:pos x="101" y="70"/>
                </a:cxn>
                <a:cxn ang="0">
                  <a:pos x="108" y="73"/>
                </a:cxn>
                <a:cxn ang="0">
                  <a:pos x="117" y="72"/>
                </a:cxn>
                <a:cxn ang="0">
                  <a:pos x="122" y="68"/>
                </a:cxn>
                <a:cxn ang="0">
                  <a:pos x="125" y="59"/>
                </a:cxn>
                <a:cxn ang="0">
                  <a:pos x="130" y="52"/>
                </a:cxn>
                <a:cxn ang="0">
                  <a:pos x="132" y="52"/>
                </a:cxn>
                <a:cxn ang="0">
                  <a:pos x="144" y="54"/>
                </a:cxn>
                <a:cxn ang="0">
                  <a:pos x="155" y="54"/>
                </a:cxn>
                <a:cxn ang="0">
                  <a:pos x="158" y="52"/>
                </a:cxn>
                <a:cxn ang="0">
                  <a:pos x="165" y="54"/>
                </a:cxn>
                <a:cxn ang="0">
                  <a:pos x="169" y="61"/>
                </a:cxn>
                <a:cxn ang="0">
                  <a:pos x="177" y="63"/>
                </a:cxn>
                <a:cxn ang="0">
                  <a:pos x="184" y="59"/>
                </a:cxn>
                <a:cxn ang="0">
                  <a:pos x="190" y="45"/>
                </a:cxn>
                <a:cxn ang="0">
                  <a:pos x="195" y="38"/>
                </a:cxn>
                <a:cxn ang="0">
                  <a:pos x="198" y="32"/>
                </a:cxn>
                <a:cxn ang="0">
                  <a:pos x="200" y="26"/>
                </a:cxn>
              </a:cxnLst>
              <a:rect l="0" t="0" r="r" b="b"/>
              <a:pathLst>
                <a:path w="200" h="94">
                  <a:moveTo>
                    <a:pt x="200" y="26"/>
                  </a:moveTo>
                  <a:lnTo>
                    <a:pt x="200" y="26"/>
                  </a:lnTo>
                  <a:lnTo>
                    <a:pt x="186" y="21"/>
                  </a:lnTo>
                  <a:lnTo>
                    <a:pt x="181" y="18"/>
                  </a:lnTo>
                  <a:lnTo>
                    <a:pt x="179" y="14"/>
                  </a:lnTo>
                  <a:lnTo>
                    <a:pt x="177" y="12"/>
                  </a:lnTo>
                  <a:lnTo>
                    <a:pt x="177" y="12"/>
                  </a:lnTo>
                  <a:lnTo>
                    <a:pt x="162" y="9"/>
                  </a:lnTo>
                  <a:lnTo>
                    <a:pt x="146" y="9"/>
                  </a:lnTo>
                  <a:lnTo>
                    <a:pt x="125" y="9"/>
                  </a:lnTo>
                  <a:lnTo>
                    <a:pt x="125" y="9"/>
                  </a:lnTo>
                  <a:lnTo>
                    <a:pt x="123" y="9"/>
                  </a:lnTo>
                  <a:lnTo>
                    <a:pt x="122" y="11"/>
                  </a:lnTo>
                  <a:lnTo>
                    <a:pt x="117" y="16"/>
                  </a:lnTo>
                  <a:lnTo>
                    <a:pt x="113" y="19"/>
                  </a:lnTo>
                  <a:lnTo>
                    <a:pt x="113" y="21"/>
                  </a:lnTo>
                  <a:lnTo>
                    <a:pt x="111" y="19"/>
                  </a:lnTo>
                  <a:lnTo>
                    <a:pt x="111" y="19"/>
                  </a:lnTo>
                  <a:lnTo>
                    <a:pt x="108" y="19"/>
                  </a:lnTo>
                  <a:lnTo>
                    <a:pt x="104" y="19"/>
                  </a:lnTo>
                  <a:lnTo>
                    <a:pt x="103" y="18"/>
                  </a:lnTo>
                  <a:lnTo>
                    <a:pt x="103" y="16"/>
                  </a:lnTo>
                  <a:lnTo>
                    <a:pt x="103" y="16"/>
                  </a:lnTo>
                  <a:lnTo>
                    <a:pt x="104" y="11"/>
                  </a:lnTo>
                  <a:lnTo>
                    <a:pt x="103" y="7"/>
                  </a:lnTo>
                  <a:lnTo>
                    <a:pt x="101" y="4"/>
                  </a:lnTo>
                  <a:lnTo>
                    <a:pt x="97" y="2"/>
                  </a:lnTo>
                  <a:lnTo>
                    <a:pt x="94" y="0"/>
                  </a:lnTo>
                  <a:lnTo>
                    <a:pt x="90" y="0"/>
                  </a:lnTo>
                  <a:lnTo>
                    <a:pt x="87" y="2"/>
                  </a:lnTo>
                  <a:lnTo>
                    <a:pt x="85" y="4"/>
                  </a:lnTo>
                  <a:lnTo>
                    <a:pt x="85" y="4"/>
                  </a:lnTo>
                  <a:lnTo>
                    <a:pt x="80" y="9"/>
                  </a:lnTo>
                  <a:lnTo>
                    <a:pt x="76" y="11"/>
                  </a:lnTo>
                  <a:lnTo>
                    <a:pt x="75" y="11"/>
                  </a:lnTo>
                  <a:lnTo>
                    <a:pt x="75" y="7"/>
                  </a:lnTo>
                  <a:lnTo>
                    <a:pt x="75" y="7"/>
                  </a:lnTo>
                  <a:lnTo>
                    <a:pt x="75" y="5"/>
                  </a:lnTo>
                  <a:lnTo>
                    <a:pt x="73" y="4"/>
                  </a:lnTo>
                  <a:lnTo>
                    <a:pt x="69" y="4"/>
                  </a:lnTo>
                  <a:lnTo>
                    <a:pt x="69" y="4"/>
                  </a:lnTo>
                  <a:lnTo>
                    <a:pt x="59" y="7"/>
                  </a:lnTo>
                  <a:lnTo>
                    <a:pt x="52" y="12"/>
                  </a:lnTo>
                  <a:lnTo>
                    <a:pt x="47" y="18"/>
                  </a:lnTo>
                  <a:lnTo>
                    <a:pt x="45" y="21"/>
                  </a:lnTo>
                  <a:lnTo>
                    <a:pt x="42" y="28"/>
                  </a:lnTo>
                  <a:lnTo>
                    <a:pt x="38" y="32"/>
                  </a:lnTo>
                  <a:lnTo>
                    <a:pt x="33" y="35"/>
                  </a:lnTo>
                  <a:lnTo>
                    <a:pt x="33" y="35"/>
                  </a:lnTo>
                  <a:lnTo>
                    <a:pt x="29" y="37"/>
                  </a:lnTo>
                  <a:lnTo>
                    <a:pt x="24" y="38"/>
                  </a:lnTo>
                  <a:lnTo>
                    <a:pt x="17" y="37"/>
                  </a:lnTo>
                  <a:lnTo>
                    <a:pt x="14" y="37"/>
                  </a:lnTo>
                  <a:lnTo>
                    <a:pt x="10" y="38"/>
                  </a:lnTo>
                  <a:lnTo>
                    <a:pt x="7" y="42"/>
                  </a:lnTo>
                  <a:lnTo>
                    <a:pt x="3" y="47"/>
                  </a:lnTo>
                  <a:lnTo>
                    <a:pt x="3" y="47"/>
                  </a:lnTo>
                  <a:lnTo>
                    <a:pt x="2" y="54"/>
                  </a:lnTo>
                  <a:lnTo>
                    <a:pt x="0" y="59"/>
                  </a:lnTo>
                  <a:lnTo>
                    <a:pt x="0" y="63"/>
                  </a:lnTo>
                  <a:lnTo>
                    <a:pt x="2" y="66"/>
                  </a:lnTo>
                  <a:lnTo>
                    <a:pt x="10" y="79"/>
                  </a:lnTo>
                  <a:lnTo>
                    <a:pt x="10" y="79"/>
                  </a:lnTo>
                  <a:lnTo>
                    <a:pt x="14" y="80"/>
                  </a:lnTo>
                  <a:lnTo>
                    <a:pt x="17" y="82"/>
                  </a:lnTo>
                  <a:lnTo>
                    <a:pt x="24" y="87"/>
                  </a:lnTo>
                  <a:lnTo>
                    <a:pt x="33" y="94"/>
                  </a:lnTo>
                  <a:lnTo>
                    <a:pt x="38" y="94"/>
                  </a:lnTo>
                  <a:lnTo>
                    <a:pt x="43" y="94"/>
                  </a:lnTo>
                  <a:lnTo>
                    <a:pt x="43" y="94"/>
                  </a:lnTo>
                  <a:lnTo>
                    <a:pt x="63" y="91"/>
                  </a:lnTo>
                  <a:lnTo>
                    <a:pt x="69" y="91"/>
                  </a:lnTo>
                  <a:lnTo>
                    <a:pt x="69" y="91"/>
                  </a:lnTo>
                  <a:lnTo>
                    <a:pt x="69" y="89"/>
                  </a:lnTo>
                  <a:lnTo>
                    <a:pt x="68" y="86"/>
                  </a:lnTo>
                  <a:lnTo>
                    <a:pt x="68" y="80"/>
                  </a:lnTo>
                  <a:lnTo>
                    <a:pt x="68" y="79"/>
                  </a:lnTo>
                  <a:lnTo>
                    <a:pt x="71" y="79"/>
                  </a:lnTo>
                  <a:lnTo>
                    <a:pt x="71" y="79"/>
                  </a:lnTo>
                  <a:lnTo>
                    <a:pt x="78" y="77"/>
                  </a:lnTo>
                  <a:lnTo>
                    <a:pt x="85" y="79"/>
                  </a:lnTo>
                  <a:lnTo>
                    <a:pt x="90" y="77"/>
                  </a:lnTo>
                  <a:lnTo>
                    <a:pt x="92" y="75"/>
                  </a:lnTo>
                  <a:lnTo>
                    <a:pt x="94" y="73"/>
                  </a:lnTo>
                  <a:lnTo>
                    <a:pt x="94" y="73"/>
                  </a:lnTo>
                  <a:lnTo>
                    <a:pt x="96" y="70"/>
                  </a:lnTo>
                  <a:lnTo>
                    <a:pt x="97" y="68"/>
                  </a:lnTo>
                  <a:lnTo>
                    <a:pt x="101" y="70"/>
                  </a:lnTo>
                  <a:lnTo>
                    <a:pt x="104" y="73"/>
                  </a:lnTo>
                  <a:lnTo>
                    <a:pt x="108" y="73"/>
                  </a:lnTo>
                  <a:lnTo>
                    <a:pt x="108" y="73"/>
                  </a:lnTo>
                  <a:lnTo>
                    <a:pt x="117" y="72"/>
                  </a:lnTo>
                  <a:lnTo>
                    <a:pt x="122" y="68"/>
                  </a:lnTo>
                  <a:lnTo>
                    <a:pt x="122" y="68"/>
                  </a:lnTo>
                  <a:lnTo>
                    <a:pt x="123" y="65"/>
                  </a:lnTo>
                  <a:lnTo>
                    <a:pt x="125" y="59"/>
                  </a:lnTo>
                  <a:lnTo>
                    <a:pt x="127" y="54"/>
                  </a:lnTo>
                  <a:lnTo>
                    <a:pt x="130" y="52"/>
                  </a:lnTo>
                  <a:lnTo>
                    <a:pt x="132" y="52"/>
                  </a:lnTo>
                  <a:lnTo>
                    <a:pt x="132" y="52"/>
                  </a:lnTo>
                  <a:lnTo>
                    <a:pt x="139" y="52"/>
                  </a:lnTo>
                  <a:lnTo>
                    <a:pt x="144" y="54"/>
                  </a:lnTo>
                  <a:lnTo>
                    <a:pt x="150" y="56"/>
                  </a:lnTo>
                  <a:lnTo>
                    <a:pt x="155" y="54"/>
                  </a:lnTo>
                  <a:lnTo>
                    <a:pt x="155" y="54"/>
                  </a:lnTo>
                  <a:lnTo>
                    <a:pt x="158" y="52"/>
                  </a:lnTo>
                  <a:lnTo>
                    <a:pt x="162" y="51"/>
                  </a:lnTo>
                  <a:lnTo>
                    <a:pt x="165" y="54"/>
                  </a:lnTo>
                  <a:lnTo>
                    <a:pt x="169" y="61"/>
                  </a:lnTo>
                  <a:lnTo>
                    <a:pt x="169" y="61"/>
                  </a:lnTo>
                  <a:lnTo>
                    <a:pt x="172" y="63"/>
                  </a:lnTo>
                  <a:lnTo>
                    <a:pt x="177" y="63"/>
                  </a:lnTo>
                  <a:lnTo>
                    <a:pt x="184" y="59"/>
                  </a:lnTo>
                  <a:lnTo>
                    <a:pt x="184" y="59"/>
                  </a:lnTo>
                  <a:lnTo>
                    <a:pt x="186" y="51"/>
                  </a:lnTo>
                  <a:lnTo>
                    <a:pt x="190" y="45"/>
                  </a:lnTo>
                  <a:lnTo>
                    <a:pt x="193" y="42"/>
                  </a:lnTo>
                  <a:lnTo>
                    <a:pt x="195" y="38"/>
                  </a:lnTo>
                  <a:lnTo>
                    <a:pt x="195" y="38"/>
                  </a:lnTo>
                  <a:lnTo>
                    <a:pt x="198" y="32"/>
                  </a:lnTo>
                  <a:lnTo>
                    <a:pt x="200" y="26"/>
                  </a:lnTo>
                  <a:lnTo>
                    <a:pt x="200" y="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4" name="Freeform 2047">
              <a:extLst>
                <a:ext uri="{FF2B5EF4-FFF2-40B4-BE49-F238E27FC236}">
                  <a16:creationId xmlns:a16="http://schemas.microsoft.com/office/drawing/2014/main" id="{FEEC76F6-81F6-4C46-9D47-91648E5035E0}"/>
                </a:ext>
              </a:extLst>
            </p:cNvPr>
            <p:cNvSpPr>
              <a:spLocks/>
            </p:cNvSpPr>
            <p:nvPr/>
          </p:nvSpPr>
          <p:spPr bwMode="auto">
            <a:xfrm>
              <a:off x="5096801" y="2829068"/>
              <a:ext cx="88102" cy="58146"/>
            </a:xfrm>
            <a:custGeom>
              <a:avLst/>
              <a:gdLst/>
              <a:ahLst/>
              <a:cxnLst>
                <a:cxn ang="0">
                  <a:pos x="97" y="0"/>
                </a:cxn>
                <a:cxn ang="0">
                  <a:pos x="103" y="1"/>
                </a:cxn>
                <a:cxn ang="0">
                  <a:pos x="106" y="14"/>
                </a:cxn>
                <a:cxn ang="0">
                  <a:pos x="110" y="19"/>
                </a:cxn>
                <a:cxn ang="0">
                  <a:pos x="106" y="17"/>
                </a:cxn>
                <a:cxn ang="0">
                  <a:pos x="101" y="17"/>
                </a:cxn>
                <a:cxn ang="0">
                  <a:pos x="101" y="19"/>
                </a:cxn>
                <a:cxn ang="0">
                  <a:pos x="101" y="22"/>
                </a:cxn>
                <a:cxn ang="0">
                  <a:pos x="101" y="24"/>
                </a:cxn>
                <a:cxn ang="0">
                  <a:pos x="91" y="29"/>
                </a:cxn>
                <a:cxn ang="0">
                  <a:pos x="78" y="35"/>
                </a:cxn>
                <a:cxn ang="0">
                  <a:pos x="78" y="38"/>
                </a:cxn>
                <a:cxn ang="0">
                  <a:pos x="82" y="47"/>
                </a:cxn>
                <a:cxn ang="0">
                  <a:pos x="82" y="50"/>
                </a:cxn>
                <a:cxn ang="0">
                  <a:pos x="73" y="55"/>
                </a:cxn>
                <a:cxn ang="0">
                  <a:pos x="68" y="62"/>
                </a:cxn>
                <a:cxn ang="0">
                  <a:pos x="68" y="68"/>
                </a:cxn>
                <a:cxn ang="0">
                  <a:pos x="66" y="73"/>
                </a:cxn>
                <a:cxn ang="0">
                  <a:pos x="57" y="68"/>
                </a:cxn>
                <a:cxn ang="0">
                  <a:pos x="52" y="69"/>
                </a:cxn>
                <a:cxn ang="0">
                  <a:pos x="45" y="64"/>
                </a:cxn>
                <a:cxn ang="0">
                  <a:pos x="42" y="62"/>
                </a:cxn>
                <a:cxn ang="0">
                  <a:pos x="35" y="66"/>
                </a:cxn>
                <a:cxn ang="0">
                  <a:pos x="19" y="69"/>
                </a:cxn>
                <a:cxn ang="0">
                  <a:pos x="5" y="69"/>
                </a:cxn>
                <a:cxn ang="0">
                  <a:pos x="9" y="66"/>
                </a:cxn>
                <a:cxn ang="0">
                  <a:pos x="10" y="64"/>
                </a:cxn>
                <a:cxn ang="0">
                  <a:pos x="14" y="64"/>
                </a:cxn>
                <a:cxn ang="0">
                  <a:pos x="17" y="62"/>
                </a:cxn>
                <a:cxn ang="0">
                  <a:pos x="14" y="55"/>
                </a:cxn>
                <a:cxn ang="0">
                  <a:pos x="10" y="52"/>
                </a:cxn>
                <a:cxn ang="0">
                  <a:pos x="5" y="45"/>
                </a:cxn>
                <a:cxn ang="0">
                  <a:pos x="9" y="38"/>
                </a:cxn>
                <a:cxn ang="0">
                  <a:pos x="10" y="36"/>
                </a:cxn>
                <a:cxn ang="0">
                  <a:pos x="7" y="33"/>
                </a:cxn>
                <a:cxn ang="0">
                  <a:pos x="0" y="29"/>
                </a:cxn>
                <a:cxn ang="0">
                  <a:pos x="2" y="28"/>
                </a:cxn>
                <a:cxn ang="0">
                  <a:pos x="9" y="21"/>
                </a:cxn>
                <a:cxn ang="0">
                  <a:pos x="10" y="17"/>
                </a:cxn>
                <a:cxn ang="0">
                  <a:pos x="24" y="21"/>
                </a:cxn>
                <a:cxn ang="0">
                  <a:pos x="33" y="21"/>
                </a:cxn>
                <a:cxn ang="0">
                  <a:pos x="37" y="21"/>
                </a:cxn>
                <a:cxn ang="0">
                  <a:pos x="40" y="24"/>
                </a:cxn>
                <a:cxn ang="0">
                  <a:pos x="47" y="21"/>
                </a:cxn>
                <a:cxn ang="0">
                  <a:pos x="52" y="15"/>
                </a:cxn>
                <a:cxn ang="0">
                  <a:pos x="61" y="12"/>
                </a:cxn>
                <a:cxn ang="0">
                  <a:pos x="68" y="12"/>
                </a:cxn>
                <a:cxn ang="0">
                  <a:pos x="77" y="10"/>
                </a:cxn>
                <a:cxn ang="0">
                  <a:pos x="84" y="8"/>
                </a:cxn>
                <a:cxn ang="0">
                  <a:pos x="92" y="10"/>
                </a:cxn>
                <a:cxn ang="0">
                  <a:pos x="92" y="3"/>
                </a:cxn>
                <a:cxn ang="0">
                  <a:pos x="92" y="1"/>
                </a:cxn>
                <a:cxn ang="0">
                  <a:pos x="97" y="0"/>
                </a:cxn>
              </a:cxnLst>
              <a:rect l="0" t="0" r="r" b="b"/>
              <a:pathLst>
                <a:path w="110" h="73">
                  <a:moveTo>
                    <a:pt x="97" y="0"/>
                  </a:moveTo>
                  <a:lnTo>
                    <a:pt x="97" y="0"/>
                  </a:lnTo>
                  <a:lnTo>
                    <a:pt x="101" y="0"/>
                  </a:lnTo>
                  <a:lnTo>
                    <a:pt x="103" y="1"/>
                  </a:lnTo>
                  <a:lnTo>
                    <a:pt x="106" y="7"/>
                  </a:lnTo>
                  <a:lnTo>
                    <a:pt x="106" y="14"/>
                  </a:lnTo>
                  <a:lnTo>
                    <a:pt x="108" y="15"/>
                  </a:lnTo>
                  <a:lnTo>
                    <a:pt x="110" y="19"/>
                  </a:lnTo>
                  <a:lnTo>
                    <a:pt x="110" y="19"/>
                  </a:lnTo>
                  <a:lnTo>
                    <a:pt x="106" y="17"/>
                  </a:lnTo>
                  <a:lnTo>
                    <a:pt x="103" y="17"/>
                  </a:lnTo>
                  <a:lnTo>
                    <a:pt x="101" y="17"/>
                  </a:lnTo>
                  <a:lnTo>
                    <a:pt x="101" y="17"/>
                  </a:lnTo>
                  <a:lnTo>
                    <a:pt x="101" y="19"/>
                  </a:lnTo>
                  <a:lnTo>
                    <a:pt x="101" y="21"/>
                  </a:lnTo>
                  <a:lnTo>
                    <a:pt x="101" y="22"/>
                  </a:lnTo>
                  <a:lnTo>
                    <a:pt x="101" y="24"/>
                  </a:lnTo>
                  <a:lnTo>
                    <a:pt x="101" y="24"/>
                  </a:lnTo>
                  <a:lnTo>
                    <a:pt x="97" y="26"/>
                  </a:lnTo>
                  <a:lnTo>
                    <a:pt x="91" y="29"/>
                  </a:lnTo>
                  <a:lnTo>
                    <a:pt x="82" y="31"/>
                  </a:lnTo>
                  <a:lnTo>
                    <a:pt x="78" y="35"/>
                  </a:lnTo>
                  <a:lnTo>
                    <a:pt x="78" y="35"/>
                  </a:lnTo>
                  <a:lnTo>
                    <a:pt x="78" y="38"/>
                  </a:lnTo>
                  <a:lnTo>
                    <a:pt x="80" y="42"/>
                  </a:lnTo>
                  <a:lnTo>
                    <a:pt x="82" y="47"/>
                  </a:lnTo>
                  <a:lnTo>
                    <a:pt x="82" y="50"/>
                  </a:lnTo>
                  <a:lnTo>
                    <a:pt x="82" y="50"/>
                  </a:lnTo>
                  <a:lnTo>
                    <a:pt x="78" y="54"/>
                  </a:lnTo>
                  <a:lnTo>
                    <a:pt x="73" y="55"/>
                  </a:lnTo>
                  <a:lnTo>
                    <a:pt x="70" y="59"/>
                  </a:lnTo>
                  <a:lnTo>
                    <a:pt x="68" y="62"/>
                  </a:lnTo>
                  <a:lnTo>
                    <a:pt x="68" y="68"/>
                  </a:lnTo>
                  <a:lnTo>
                    <a:pt x="68" y="68"/>
                  </a:lnTo>
                  <a:lnTo>
                    <a:pt x="68" y="71"/>
                  </a:lnTo>
                  <a:lnTo>
                    <a:pt x="66" y="73"/>
                  </a:lnTo>
                  <a:lnTo>
                    <a:pt x="57" y="68"/>
                  </a:lnTo>
                  <a:lnTo>
                    <a:pt x="57" y="68"/>
                  </a:lnTo>
                  <a:lnTo>
                    <a:pt x="54" y="68"/>
                  </a:lnTo>
                  <a:lnTo>
                    <a:pt x="52" y="69"/>
                  </a:lnTo>
                  <a:lnTo>
                    <a:pt x="50" y="69"/>
                  </a:lnTo>
                  <a:lnTo>
                    <a:pt x="45" y="64"/>
                  </a:lnTo>
                  <a:lnTo>
                    <a:pt x="45" y="64"/>
                  </a:lnTo>
                  <a:lnTo>
                    <a:pt x="42" y="62"/>
                  </a:lnTo>
                  <a:lnTo>
                    <a:pt x="38" y="64"/>
                  </a:lnTo>
                  <a:lnTo>
                    <a:pt x="35" y="66"/>
                  </a:lnTo>
                  <a:lnTo>
                    <a:pt x="28" y="68"/>
                  </a:lnTo>
                  <a:lnTo>
                    <a:pt x="19" y="69"/>
                  </a:lnTo>
                  <a:lnTo>
                    <a:pt x="5" y="69"/>
                  </a:lnTo>
                  <a:lnTo>
                    <a:pt x="5" y="69"/>
                  </a:lnTo>
                  <a:lnTo>
                    <a:pt x="7" y="68"/>
                  </a:lnTo>
                  <a:lnTo>
                    <a:pt x="9" y="66"/>
                  </a:lnTo>
                  <a:lnTo>
                    <a:pt x="10" y="66"/>
                  </a:lnTo>
                  <a:lnTo>
                    <a:pt x="10" y="64"/>
                  </a:lnTo>
                  <a:lnTo>
                    <a:pt x="10" y="64"/>
                  </a:lnTo>
                  <a:lnTo>
                    <a:pt x="14" y="64"/>
                  </a:lnTo>
                  <a:lnTo>
                    <a:pt x="16" y="64"/>
                  </a:lnTo>
                  <a:lnTo>
                    <a:pt x="17" y="62"/>
                  </a:lnTo>
                  <a:lnTo>
                    <a:pt x="17" y="61"/>
                  </a:lnTo>
                  <a:lnTo>
                    <a:pt x="14" y="55"/>
                  </a:lnTo>
                  <a:lnTo>
                    <a:pt x="10" y="52"/>
                  </a:lnTo>
                  <a:lnTo>
                    <a:pt x="10" y="52"/>
                  </a:lnTo>
                  <a:lnTo>
                    <a:pt x="7" y="48"/>
                  </a:lnTo>
                  <a:lnTo>
                    <a:pt x="5" y="45"/>
                  </a:lnTo>
                  <a:lnTo>
                    <a:pt x="5" y="42"/>
                  </a:lnTo>
                  <a:lnTo>
                    <a:pt x="9" y="38"/>
                  </a:lnTo>
                  <a:lnTo>
                    <a:pt x="9" y="38"/>
                  </a:lnTo>
                  <a:lnTo>
                    <a:pt x="10" y="36"/>
                  </a:lnTo>
                  <a:lnTo>
                    <a:pt x="10" y="35"/>
                  </a:lnTo>
                  <a:lnTo>
                    <a:pt x="7" y="33"/>
                  </a:lnTo>
                  <a:lnTo>
                    <a:pt x="3" y="33"/>
                  </a:lnTo>
                  <a:lnTo>
                    <a:pt x="0" y="29"/>
                  </a:lnTo>
                  <a:lnTo>
                    <a:pt x="0" y="29"/>
                  </a:lnTo>
                  <a:lnTo>
                    <a:pt x="2" y="28"/>
                  </a:lnTo>
                  <a:lnTo>
                    <a:pt x="5" y="24"/>
                  </a:lnTo>
                  <a:lnTo>
                    <a:pt x="9" y="21"/>
                  </a:lnTo>
                  <a:lnTo>
                    <a:pt x="10" y="17"/>
                  </a:lnTo>
                  <a:lnTo>
                    <a:pt x="10" y="17"/>
                  </a:lnTo>
                  <a:lnTo>
                    <a:pt x="19" y="19"/>
                  </a:lnTo>
                  <a:lnTo>
                    <a:pt x="24" y="21"/>
                  </a:lnTo>
                  <a:lnTo>
                    <a:pt x="28" y="22"/>
                  </a:lnTo>
                  <a:lnTo>
                    <a:pt x="33" y="21"/>
                  </a:lnTo>
                  <a:lnTo>
                    <a:pt x="33" y="21"/>
                  </a:lnTo>
                  <a:lnTo>
                    <a:pt x="37" y="21"/>
                  </a:lnTo>
                  <a:lnTo>
                    <a:pt x="38" y="21"/>
                  </a:lnTo>
                  <a:lnTo>
                    <a:pt x="40" y="24"/>
                  </a:lnTo>
                  <a:lnTo>
                    <a:pt x="42" y="24"/>
                  </a:lnTo>
                  <a:lnTo>
                    <a:pt x="47" y="21"/>
                  </a:lnTo>
                  <a:lnTo>
                    <a:pt x="47" y="21"/>
                  </a:lnTo>
                  <a:lnTo>
                    <a:pt x="52" y="15"/>
                  </a:lnTo>
                  <a:lnTo>
                    <a:pt x="56" y="12"/>
                  </a:lnTo>
                  <a:lnTo>
                    <a:pt x="61" y="12"/>
                  </a:lnTo>
                  <a:lnTo>
                    <a:pt x="68" y="12"/>
                  </a:lnTo>
                  <a:lnTo>
                    <a:pt x="68" y="12"/>
                  </a:lnTo>
                  <a:lnTo>
                    <a:pt x="75" y="12"/>
                  </a:lnTo>
                  <a:lnTo>
                    <a:pt x="77" y="10"/>
                  </a:lnTo>
                  <a:lnTo>
                    <a:pt x="80" y="8"/>
                  </a:lnTo>
                  <a:lnTo>
                    <a:pt x="84" y="8"/>
                  </a:lnTo>
                  <a:lnTo>
                    <a:pt x="84" y="8"/>
                  </a:lnTo>
                  <a:lnTo>
                    <a:pt x="92" y="10"/>
                  </a:lnTo>
                  <a:lnTo>
                    <a:pt x="92" y="8"/>
                  </a:lnTo>
                  <a:lnTo>
                    <a:pt x="92" y="3"/>
                  </a:lnTo>
                  <a:lnTo>
                    <a:pt x="92" y="3"/>
                  </a:lnTo>
                  <a:lnTo>
                    <a:pt x="92" y="1"/>
                  </a:lnTo>
                  <a:lnTo>
                    <a:pt x="94" y="0"/>
                  </a:lnTo>
                  <a:lnTo>
                    <a:pt x="97" y="0"/>
                  </a:lnTo>
                  <a:lnTo>
                    <a:pt x="97"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5" name="Freeform 2048">
              <a:extLst>
                <a:ext uri="{FF2B5EF4-FFF2-40B4-BE49-F238E27FC236}">
                  <a16:creationId xmlns:a16="http://schemas.microsoft.com/office/drawing/2014/main" id="{9A6B633F-ABF9-4AC9-89C6-8661062D5C28}"/>
                </a:ext>
              </a:extLst>
            </p:cNvPr>
            <p:cNvSpPr>
              <a:spLocks/>
            </p:cNvSpPr>
            <p:nvPr/>
          </p:nvSpPr>
          <p:spPr bwMode="auto">
            <a:xfrm>
              <a:off x="4791974" y="2638770"/>
              <a:ext cx="109243" cy="84576"/>
            </a:xfrm>
            <a:custGeom>
              <a:avLst/>
              <a:gdLst/>
              <a:ahLst/>
              <a:cxnLst>
                <a:cxn ang="0">
                  <a:pos x="122" y="38"/>
                </a:cxn>
                <a:cxn ang="0">
                  <a:pos x="109" y="35"/>
                </a:cxn>
                <a:cxn ang="0">
                  <a:pos x="113" y="26"/>
                </a:cxn>
                <a:cxn ang="0">
                  <a:pos x="115" y="17"/>
                </a:cxn>
                <a:cxn ang="0">
                  <a:pos x="106" y="12"/>
                </a:cxn>
                <a:cxn ang="0">
                  <a:pos x="99" y="12"/>
                </a:cxn>
                <a:cxn ang="0">
                  <a:pos x="90" y="7"/>
                </a:cxn>
                <a:cxn ang="0">
                  <a:pos x="83" y="3"/>
                </a:cxn>
                <a:cxn ang="0">
                  <a:pos x="81" y="5"/>
                </a:cxn>
                <a:cxn ang="0">
                  <a:pos x="80" y="2"/>
                </a:cxn>
                <a:cxn ang="0">
                  <a:pos x="75" y="3"/>
                </a:cxn>
                <a:cxn ang="0">
                  <a:pos x="69" y="0"/>
                </a:cxn>
                <a:cxn ang="0">
                  <a:pos x="68" y="3"/>
                </a:cxn>
                <a:cxn ang="0">
                  <a:pos x="66" y="7"/>
                </a:cxn>
                <a:cxn ang="0">
                  <a:pos x="59" y="9"/>
                </a:cxn>
                <a:cxn ang="0">
                  <a:pos x="54" y="12"/>
                </a:cxn>
                <a:cxn ang="0">
                  <a:pos x="43" y="14"/>
                </a:cxn>
                <a:cxn ang="0">
                  <a:pos x="36" y="12"/>
                </a:cxn>
                <a:cxn ang="0">
                  <a:pos x="33" y="12"/>
                </a:cxn>
                <a:cxn ang="0">
                  <a:pos x="29" y="5"/>
                </a:cxn>
                <a:cxn ang="0">
                  <a:pos x="22" y="9"/>
                </a:cxn>
                <a:cxn ang="0">
                  <a:pos x="7" y="19"/>
                </a:cxn>
                <a:cxn ang="0">
                  <a:pos x="0" y="21"/>
                </a:cxn>
                <a:cxn ang="0">
                  <a:pos x="7" y="37"/>
                </a:cxn>
                <a:cxn ang="0">
                  <a:pos x="14" y="40"/>
                </a:cxn>
                <a:cxn ang="0">
                  <a:pos x="22" y="42"/>
                </a:cxn>
                <a:cxn ang="0">
                  <a:pos x="26" y="45"/>
                </a:cxn>
                <a:cxn ang="0">
                  <a:pos x="29" y="50"/>
                </a:cxn>
                <a:cxn ang="0">
                  <a:pos x="36" y="52"/>
                </a:cxn>
                <a:cxn ang="0">
                  <a:pos x="40" y="56"/>
                </a:cxn>
                <a:cxn ang="0">
                  <a:pos x="41" y="57"/>
                </a:cxn>
                <a:cxn ang="0">
                  <a:pos x="50" y="61"/>
                </a:cxn>
                <a:cxn ang="0">
                  <a:pos x="55" y="64"/>
                </a:cxn>
                <a:cxn ang="0">
                  <a:pos x="59" y="73"/>
                </a:cxn>
                <a:cxn ang="0">
                  <a:pos x="61" y="78"/>
                </a:cxn>
                <a:cxn ang="0">
                  <a:pos x="66" y="80"/>
                </a:cxn>
                <a:cxn ang="0">
                  <a:pos x="76" y="73"/>
                </a:cxn>
                <a:cxn ang="0">
                  <a:pos x="81" y="70"/>
                </a:cxn>
                <a:cxn ang="0">
                  <a:pos x="83" y="71"/>
                </a:cxn>
                <a:cxn ang="0">
                  <a:pos x="81" y="78"/>
                </a:cxn>
                <a:cxn ang="0">
                  <a:pos x="81" y="85"/>
                </a:cxn>
                <a:cxn ang="0">
                  <a:pos x="90" y="90"/>
                </a:cxn>
                <a:cxn ang="0">
                  <a:pos x="94" y="92"/>
                </a:cxn>
                <a:cxn ang="0">
                  <a:pos x="101" y="99"/>
                </a:cxn>
                <a:cxn ang="0">
                  <a:pos x="106" y="103"/>
                </a:cxn>
                <a:cxn ang="0">
                  <a:pos x="115" y="103"/>
                </a:cxn>
                <a:cxn ang="0">
                  <a:pos x="115" y="96"/>
                </a:cxn>
                <a:cxn ang="0">
                  <a:pos x="113" y="82"/>
                </a:cxn>
                <a:cxn ang="0">
                  <a:pos x="120" y="71"/>
                </a:cxn>
                <a:cxn ang="0">
                  <a:pos x="127" y="68"/>
                </a:cxn>
                <a:cxn ang="0">
                  <a:pos x="135" y="57"/>
                </a:cxn>
                <a:cxn ang="0">
                  <a:pos x="135" y="54"/>
                </a:cxn>
                <a:cxn ang="0">
                  <a:pos x="130" y="50"/>
                </a:cxn>
                <a:cxn ang="0">
                  <a:pos x="130" y="49"/>
                </a:cxn>
                <a:cxn ang="0">
                  <a:pos x="128" y="43"/>
                </a:cxn>
                <a:cxn ang="0">
                  <a:pos x="122" y="38"/>
                </a:cxn>
              </a:cxnLst>
              <a:rect l="0" t="0" r="r" b="b"/>
              <a:pathLst>
                <a:path w="135" h="104">
                  <a:moveTo>
                    <a:pt x="122" y="38"/>
                  </a:moveTo>
                  <a:lnTo>
                    <a:pt x="122" y="38"/>
                  </a:lnTo>
                  <a:lnTo>
                    <a:pt x="113" y="37"/>
                  </a:lnTo>
                  <a:lnTo>
                    <a:pt x="109" y="35"/>
                  </a:lnTo>
                  <a:lnTo>
                    <a:pt x="109" y="30"/>
                  </a:lnTo>
                  <a:lnTo>
                    <a:pt x="113" y="26"/>
                  </a:lnTo>
                  <a:lnTo>
                    <a:pt x="115" y="21"/>
                  </a:lnTo>
                  <a:lnTo>
                    <a:pt x="115" y="17"/>
                  </a:lnTo>
                  <a:lnTo>
                    <a:pt x="113" y="14"/>
                  </a:lnTo>
                  <a:lnTo>
                    <a:pt x="106" y="12"/>
                  </a:lnTo>
                  <a:lnTo>
                    <a:pt x="106" y="12"/>
                  </a:lnTo>
                  <a:lnTo>
                    <a:pt x="99" y="12"/>
                  </a:lnTo>
                  <a:lnTo>
                    <a:pt x="95" y="10"/>
                  </a:lnTo>
                  <a:lnTo>
                    <a:pt x="90" y="7"/>
                  </a:lnTo>
                  <a:lnTo>
                    <a:pt x="88" y="3"/>
                  </a:lnTo>
                  <a:lnTo>
                    <a:pt x="83" y="3"/>
                  </a:lnTo>
                  <a:lnTo>
                    <a:pt x="83" y="3"/>
                  </a:lnTo>
                  <a:lnTo>
                    <a:pt x="81" y="5"/>
                  </a:lnTo>
                  <a:lnTo>
                    <a:pt x="80" y="3"/>
                  </a:lnTo>
                  <a:lnTo>
                    <a:pt x="80" y="2"/>
                  </a:lnTo>
                  <a:lnTo>
                    <a:pt x="75" y="3"/>
                  </a:lnTo>
                  <a:lnTo>
                    <a:pt x="75" y="3"/>
                  </a:lnTo>
                  <a:lnTo>
                    <a:pt x="71" y="2"/>
                  </a:lnTo>
                  <a:lnTo>
                    <a:pt x="69" y="0"/>
                  </a:lnTo>
                  <a:lnTo>
                    <a:pt x="69" y="0"/>
                  </a:lnTo>
                  <a:lnTo>
                    <a:pt x="68" y="3"/>
                  </a:lnTo>
                  <a:lnTo>
                    <a:pt x="68" y="3"/>
                  </a:lnTo>
                  <a:lnTo>
                    <a:pt x="66" y="7"/>
                  </a:lnTo>
                  <a:lnTo>
                    <a:pt x="62" y="9"/>
                  </a:lnTo>
                  <a:lnTo>
                    <a:pt x="59" y="9"/>
                  </a:lnTo>
                  <a:lnTo>
                    <a:pt x="54" y="12"/>
                  </a:lnTo>
                  <a:lnTo>
                    <a:pt x="54" y="12"/>
                  </a:lnTo>
                  <a:lnTo>
                    <a:pt x="48" y="14"/>
                  </a:lnTo>
                  <a:lnTo>
                    <a:pt x="43" y="14"/>
                  </a:lnTo>
                  <a:lnTo>
                    <a:pt x="40" y="12"/>
                  </a:lnTo>
                  <a:lnTo>
                    <a:pt x="36" y="12"/>
                  </a:lnTo>
                  <a:lnTo>
                    <a:pt x="36" y="12"/>
                  </a:lnTo>
                  <a:lnTo>
                    <a:pt x="33" y="12"/>
                  </a:lnTo>
                  <a:lnTo>
                    <a:pt x="31" y="10"/>
                  </a:lnTo>
                  <a:lnTo>
                    <a:pt x="29" y="5"/>
                  </a:lnTo>
                  <a:lnTo>
                    <a:pt x="29" y="5"/>
                  </a:lnTo>
                  <a:lnTo>
                    <a:pt x="22" y="9"/>
                  </a:lnTo>
                  <a:lnTo>
                    <a:pt x="15" y="14"/>
                  </a:lnTo>
                  <a:lnTo>
                    <a:pt x="7" y="19"/>
                  </a:lnTo>
                  <a:lnTo>
                    <a:pt x="0" y="21"/>
                  </a:lnTo>
                  <a:lnTo>
                    <a:pt x="0" y="21"/>
                  </a:lnTo>
                  <a:lnTo>
                    <a:pt x="3" y="31"/>
                  </a:lnTo>
                  <a:lnTo>
                    <a:pt x="7" y="37"/>
                  </a:lnTo>
                  <a:lnTo>
                    <a:pt x="10" y="40"/>
                  </a:lnTo>
                  <a:lnTo>
                    <a:pt x="14" y="40"/>
                  </a:lnTo>
                  <a:lnTo>
                    <a:pt x="21" y="40"/>
                  </a:lnTo>
                  <a:lnTo>
                    <a:pt x="22" y="42"/>
                  </a:lnTo>
                  <a:lnTo>
                    <a:pt x="26" y="45"/>
                  </a:lnTo>
                  <a:lnTo>
                    <a:pt x="26" y="45"/>
                  </a:lnTo>
                  <a:lnTo>
                    <a:pt x="27" y="49"/>
                  </a:lnTo>
                  <a:lnTo>
                    <a:pt x="29" y="50"/>
                  </a:lnTo>
                  <a:lnTo>
                    <a:pt x="33" y="52"/>
                  </a:lnTo>
                  <a:lnTo>
                    <a:pt x="36" y="52"/>
                  </a:lnTo>
                  <a:lnTo>
                    <a:pt x="38" y="54"/>
                  </a:lnTo>
                  <a:lnTo>
                    <a:pt x="40" y="56"/>
                  </a:lnTo>
                  <a:lnTo>
                    <a:pt x="40" y="56"/>
                  </a:lnTo>
                  <a:lnTo>
                    <a:pt x="41" y="57"/>
                  </a:lnTo>
                  <a:lnTo>
                    <a:pt x="43" y="59"/>
                  </a:lnTo>
                  <a:lnTo>
                    <a:pt x="50" y="61"/>
                  </a:lnTo>
                  <a:lnTo>
                    <a:pt x="52" y="61"/>
                  </a:lnTo>
                  <a:lnTo>
                    <a:pt x="55" y="64"/>
                  </a:lnTo>
                  <a:lnTo>
                    <a:pt x="57" y="68"/>
                  </a:lnTo>
                  <a:lnTo>
                    <a:pt x="59" y="73"/>
                  </a:lnTo>
                  <a:lnTo>
                    <a:pt x="59" y="73"/>
                  </a:lnTo>
                  <a:lnTo>
                    <a:pt x="61" y="78"/>
                  </a:lnTo>
                  <a:lnTo>
                    <a:pt x="62" y="82"/>
                  </a:lnTo>
                  <a:lnTo>
                    <a:pt x="66" y="80"/>
                  </a:lnTo>
                  <a:lnTo>
                    <a:pt x="69" y="78"/>
                  </a:lnTo>
                  <a:lnTo>
                    <a:pt x="76" y="73"/>
                  </a:lnTo>
                  <a:lnTo>
                    <a:pt x="80" y="70"/>
                  </a:lnTo>
                  <a:lnTo>
                    <a:pt x="81" y="70"/>
                  </a:lnTo>
                  <a:lnTo>
                    <a:pt x="81" y="70"/>
                  </a:lnTo>
                  <a:lnTo>
                    <a:pt x="83" y="71"/>
                  </a:lnTo>
                  <a:lnTo>
                    <a:pt x="83" y="73"/>
                  </a:lnTo>
                  <a:lnTo>
                    <a:pt x="81" y="78"/>
                  </a:lnTo>
                  <a:lnTo>
                    <a:pt x="81" y="82"/>
                  </a:lnTo>
                  <a:lnTo>
                    <a:pt x="81" y="85"/>
                  </a:lnTo>
                  <a:lnTo>
                    <a:pt x="85" y="87"/>
                  </a:lnTo>
                  <a:lnTo>
                    <a:pt x="90" y="90"/>
                  </a:lnTo>
                  <a:lnTo>
                    <a:pt x="90" y="90"/>
                  </a:lnTo>
                  <a:lnTo>
                    <a:pt x="94" y="92"/>
                  </a:lnTo>
                  <a:lnTo>
                    <a:pt x="97" y="94"/>
                  </a:lnTo>
                  <a:lnTo>
                    <a:pt x="101" y="99"/>
                  </a:lnTo>
                  <a:lnTo>
                    <a:pt x="102" y="103"/>
                  </a:lnTo>
                  <a:lnTo>
                    <a:pt x="106" y="103"/>
                  </a:lnTo>
                  <a:lnTo>
                    <a:pt x="109" y="104"/>
                  </a:lnTo>
                  <a:lnTo>
                    <a:pt x="115" y="103"/>
                  </a:lnTo>
                  <a:lnTo>
                    <a:pt x="115" y="103"/>
                  </a:lnTo>
                  <a:lnTo>
                    <a:pt x="115" y="96"/>
                  </a:lnTo>
                  <a:lnTo>
                    <a:pt x="113" y="87"/>
                  </a:lnTo>
                  <a:lnTo>
                    <a:pt x="113" y="82"/>
                  </a:lnTo>
                  <a:lnTo>
                    <a:pt x="116" y="77"/>
                  </a:lnTo>
                  <a:lnTo>
                    <a:pt x="120" y="71"/>
                  </a:lnTo>
                  <a:lnTo>
                    <a:pt x="127" y="68"/>
                  </a:lnTo>
                  <a:lnTo>
                    <a:pt x="127" y="68"/>
                  </a:lnTo>
                  <a:lnTo>
                    <a:pt x="132" y="63"/>
                  </a:lnTo>
                  <a:lnTo>
                    <a:pt x="135" y="57"/>
                  </a:lnTo>
                  <a:lnTo>
                    <a:pt x="135" y="56"/>
                  </a:lnTo>
                  <a:lnTo>
                    <a:pt x="135" y="54"/>
                  </a:lnTo>
                  <a:lnTo>
                    <a:pt x="132" y="52"/>
                  </a:lnTo>
                  <a:lnTo>
                    <a:pt x="130" y="50"/>
                  </a:lnTo>
                  <a:lnTo>
                    <a:pt x="130" y="49"/>
                  </a:lnTo>
                  <a:lnTo>
                    <a:pt x="130" y="49"/>
                  </a:lnTo>
                  <a:lnTo>
                    <a:pt x="130" y="45"/>
                  </a:lnTo>
                  <a:lnTo>
                    <a:pt x="128" y="43"/>
                  </a:lnTo>
                  <a:lnTo>
                    <a:pt x="125" y="42"/>
                  </a:lnTo>
                  <a:lnTo>
                    <a:pt x="122" y="38"/>
                  </a:lnTo>
                  <a:lnTo>
                    <a:pt x="122"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6" name="Freeform 2049">
              <a:extLst>
                <a:ext uri="{FF2B5EF4-FFF2-40B4-BE49-F238E27FC236}">
                  <a16:creationId xmlns:a16="http://schemas.microsoft.com/office/drawing/2014/main" id="{132B7112-87BD-423E-8401-E959AB582CDB}"/>
                </a:ext>
              </a:extLst>
            </p:cNvPr>
            <p:cNvSpPr>
              <a:spLocks/>
            </p:cNvSpPr>
            <p:nvPr/>
          </p:nvSpPr>
          <p:spPr bwMode="auto">
            <a:xfrm>
              <a:off x="5228951" y="2358613"/>
              <a:ext cx="33478" cy="49335"/>
            </a:xfrm>
            <a:custGeom>
              <a:avLst/>
              <a:gdLst/>
              <a:ahLst/>
              <a:cxnLst>
                <a:cxn ang="0">
                  <a:pos x="6" y="61"/>
                </a:cxn>
                <a:cxn ang="0">
                  <a:pos x="6" y="61"/>
                </a:cxn>
                <a:cxn ang="0">
                  <a:pos x="4" y="61"/>
                </a:cxn>
                <a:cxn ang="0">
                  <a:pos x="2" y="61"/>
                </a:cxn>
                <a:cxn ang="0">
                  <a:pos x="2" y="57"/>
                </a:cxn>
                <a:cxn ang="0">
                  <a:pos x="4" y="50"/>
                </a:cxn>
                <a:cxn ang="0">
                  <a:pos x="4" y="49"/>
                </a:cxn>
                <a:cxn ang="0">
                  <a:pos x="2" y="45"/>
                </a:cxn>
                <a:cxn ang="0">
                  <a:pos x="2" y="45"/>
                </a:cxn>
                <a:cxn ang="0">
                  <a:pos x="0" y="38"/>
                </a:cxn>
                <a:cxn ang="0">
                  <a:pos x="0" y="31"/>
                </a:cxn>
                <a:cxn ang="0">
                  <a:pos x="4" y="23"/>
                </a:cxn>
                <a:cxn ang="0">
                  <a:pos x="11" y="12"/>
                </a:cxn>
                <a:cxn ang="0">
                  <a:pos x="11" y="12"/>
                </a:cxn>
                <a:cxn ang="0">
                  <a:pos x="20" y="7"/>
                </a:cxn>
                <a:cxn ang="0">
                  <a:pos x="21" y="7"/>
                </a:cxn>
                <a:cxn ang="0">
                  <a:pos x="25" y="9"/>
                </a:cxn>
                <a:cxn ang="0">
                  <a:pos x="32" y="5"/>
                </a:cxn>
                <a:cxn ang="0">
                  <a:pos x="32" y="5"/>
                </a:cxn>
                <a:cxn ang="0">
                  <a:pos x="39" y="0"/>
                </a:cxn>
                <a:cxn ang="0">
                  <a:pos x="40" y="0"/>
                </a:cxn>
                <a:cxn ang="0">
                  <a:pos x="40" y="2"/>
                </a:cxn>
                <a:cxn ang="0">
                  <a:pos x="37" y="5"/>
                </a:cxn>
                <a:cxn ang="0">
                  <a:pos x="30" y="14"/>
                </a:cxn>
                <a:cxn ang="0">
                  <a:pos x="30" y="14"/>
                </a:cxn>
                <a:cxn ang="0">
                  <a:pos x="26" y="17"/>
                </a:cxn>
                <a:cxn ang="0">
                  <a:pos x="25" y="21"/>
                </a:cxn>
                <a:cxn ang="0">
                  <a:pos x="25" y="24"/>
                </a:cxn>
                <a:cxn ang="0">
                  <a:pos x="26" y="26"/>
                </a:cxn>
                <a:cxn ang="0">
                  <a:pos x="28" y="31"/>
                </a:cxn>
                <a:cxn ang="0">
                  <a:pos x="26" y="35"/>
                </a:cxn>
                <a:cxn ang="0">
                  <a:pos x="25" y="38"/>
                </a:cxn>
                <a:cxn ang="0">
                  <a:pos x="25" y="38"/>
                </a:cxn>
                <a:cxn ang="0">
                  <a:pos x="18" y="45"/>
                </a:cxn>
                <a:cxn ang="0">
                  <a:pos x="13" y="52"/>
                </a:cxn>
                <a:cxn ang="0">
                  <a:pos x="9" y="57"/>
                </a:cxn>
                <a:cxn ang="0">
                  <a:pos x="6" y="61"/>
                </a:cxn>
                <a:cxn ang="0">
                  <a:pos x="6" y="61"/>
                </a:cxn>
              </a:cxnLst>
              <a:rect l="0" t="0" r="r" b="b"/>
              <a:pathLst>
                <a:path w="40" h="61">
                  <a:moveTo>
                    <a:pt x="6" y="61"/>
                  </a:moveTo>
                  <a:lnTo>
                    <a:pt x="6" y="61"/>
                  </a:lnTo>
                  <a:lnTo>
                    <a:pt x="4" y="61"/>
                  </a:lnTo>
                  <a:lnTo>
                    <a:pt x="2" y="61"/>
                  </a:lnTo>
                  <a:lnTo>
                    <a:pt x="2" y="57"/>
                  </a:lnTo>
                  <a:lnTo>
                    <a:pt x="4" y="50"/>
                  </a:lnTo>
                  <a:lnTo>
                    <a:pt x="4" y="49"/>
                  </a:lnTo>
                  <a:lnTo>
                    <a:pt x="2" y="45"/>
                  </a:lnTo>
                  <a:lnTo>
                    <a:pt x="2" y="45"/>
                  </a:lnTo>
                  <a:lnTo>
                    <a:pt x="0" y="38"/>
                  </a:lnTo>
                  <a:lnTo>
                    <a:pt x="0" y="31"/>
                  </a:lnTo>
                  <a:lnTo>
                    <a:pt x="4" y="23"/>
                  </a:lnTo>
                  <a:lnTo>
                    <a:pt x="11" y="12"/>
                  </a:lnTo>
                  <a:lnTo>
                    <a:pt x="11" y="12"/>
                  </a:lnTo>
                  <a:lnTo>
                    <a:pt x="20" y="7"/>
                  </a:lnTo>
                  <a:lnTo>
                    <a:pt x="21" y="7"/>
                  </a:lnTo>
                  <a:lnTo>
                    <a:pt x="25" y="9"/>
                  </a:lnTo>
                  <a:lnTo>
                    <a:pt x="32" y="5"/>
                  </a:lnTo>
                  <a:lnTo>
                    <a:pt x="32" y="5"/>
                  </a:lnTo>
                  <a:lnTo>
                    <a:pt x="39" y="0"/>
                  </a:lnTo>
                  <a:lnTo>
                    <a:pt x="40" y="0"/>
                  </a:lnTo>
                  <a:lnTo>
                    <a:pt x="40" y="2"/>
                  </a:lnTo>
                  <a:lnTo>
                    <a:pt x="37" y="5"/>
                  </a:lnTo>
                  <a:lnTo>
                    <a:pt x="30" y="14"/>
                  </a:lnTo>
                  <a:lnTo>
                    <a:pt x="30" y="14"/>
                  </a:lnTo>
                  <a:lnTo>
                    <a:pt x="26" y="17"/>
                  </a:lnTo>
                  <a:lnTo>
                    <a:pt x="25" y="21"/>
                  </a:lnTo>
                  <a:lnTo>
                    <a:pt x="25" y="24"/>
                  </a:lnTo>
                  <a:lnTo>
                    <a:pt x="26" y="26"/>
                  </a:lnTo>
                  <a:lnTo>
                    <a:pt x="28" y="31"/>
                  </a:lnTo>
                  <a:lnTo>
                    <a:pt x="26" y="35"/>
                  </a:lnTo>
                  <a:lnTo>
                    <a:pt x="25" y="38"/>
                  </a:lnTo>
                  <a:lnTo>
                    <a:pt x="25" y="38"/>
                  </a:lnTo>
                  <a:lnTo>
                    <a:pt x="18" y="45"/>
                  </a:lnTo>
                  <a:lnTo>
                    <a:pt x="13" y="52"/>
                  </a:lnTo>
                  <a:lnTo>
                    <a:pt x="9" y="57"/>
                  </a:lnTo>
                  <a:lnTo>
                    <a:pt x="6" y="61"/>
                  </a:lnTo>
                  <a:lnTo>
                    <a:pt x="6" y="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7" name="Freeform 2050">
              <a:extLst>
                <a:ext uri="{FF2B5EF4-FFF2-40B4-BE49-F238E27FC236}">
                  <a16:creationId xmlns:a16="http://schemas.microsoft.com/office/drawing/2014/main" id="{6FE867E4-3A1D-4D63-8200-83A280258940}"/>
                </a:ext>
              </a:extLst>
            </p:cNvPr>
            <p:cNvSpPr>
              <a:spLocks/>
            </p:cNvSpPr>
            <p:nvPr/>
          </p:nvSpPr>
          <p:spPr bwMode="auto">
            <a:xfrm>
              <a:off x="5988374" y="3024647"/>
              <a:ext cx="151532" cy="135675"/>
            </a:xfrm>
            <a:custGeom>
              <a:avLst/>
              <a:gdLst/>
              <a:ahLst/>
              <a:cxnLst>
                <a:cxn ang="0">
                  <a:pos x="125" y="169"/>
                </a:cxn>
                <a:cxn ang="0">
                  <a:pos x="122" y="161"/>
                </a:cxn>
                <a:cxn ang="0">
                  <a:pos x="115" y="161"/>
                </a:cxn>
                <a:cxn ang="0">
                  <a:pos x="113" y="155"/>
                </a:cxn>
                <a:cxn ang="0">
                  <a:pos x="106" y="150"/>
                </a:cxn>
                <a:cxn ang="0">
                  <a:pos x="106" y="145"/>
                </a:cxn>
                <a:cxn ang="0">
                  <a:pos x="115" y="140"/>
                </a:cxn>
                <a:cxn ang="0">
                  <a:pos x="108" y="129"/>
                </a:cxn>
                <a:cxn ang="0">
                  <a:pos x="115" y="126"/>
                </a:cxn>
                <a:cxn ang="0">
                  <a:pos x="103" y="108"/>
                </a:cxn>
                <a:cxn ang="0">
                  <a:pos x="82" y="121"/>
                </a:cxn>
                <a:cxn ang="0">
                  <a:pos x="63" y="135"/>
                </a:cxn>
                <a:cxn ang="0">
                  <a:pos x="52" y="148"/>
                </a:cxn>
                <a:cxn ang="0">
                  <a:pos x="52" y="140"/>
                </a:cxn>
                <a:cxn ang="0">
                  <a:pos x="49" y="133"/>
                </a:cxn>
                <a:cxn ang="0">
                  <a:pos x="54" y="129"/>
                </a:cxn>
                <a:cxn ang="0">
                  <a:pos x="47" y="121"/>
                </a:cxn>
                <a:cxn ang="0">
                  <a:pos x="54" y="115"/>
                </a:cxn>
                <a:cxn ang="0">
                  <a:pos x="42" y="114"/>
                </a:cxn>
                <a:cxn ang="0">
                  <a:pos x="29" y="101"/>
                </a:cxn>
                <a:cxn ang="0">
                  <a:pos x="21" y="95"/>
                </a:cxn>
                <a:cxn ang="0">
                  <a:pos x="31" y="89"/>
                </a:cxn>
                <a:cxn ang="0">
                  <a:pos x="16" y="68"/>
                </a:cxn>
                <a:cxn ang="0">
                  <a:pos x="14" y="60"/>
                </a:cxn>
                <a:cxn ang="0">
                  <a:pos x="21" y="53"/>
                </a:cxn>
                <a:cxn ang="0">
                  <a:pos x="0" y="32"/>
                </a:cxn>
                <a:cxn ang="0">
                  <a:pos x="10" y="23"/>
                </a:cxn>
                <a:cxn ang="0">
                  <a:pos x="26" y="28"/>
                </a:cxn>
                <a:cxn ang="0">
                  <a:pos x="31" y="37"/>
                </a:cxn>
                <a:cxn ang="0">
                  <a:pos x="42" y="37"/>
                </a:cxn>
                <a:cxn ang="0">
                  <a:pos x="57" y="39"/>
                </a:cxn>
                <a:cxn ang="0">
                  <a:pos x="54" y="27"/>
                </a:cxn>
                <a:cxn ang="0">
                  <a:pos x="42" y="16"/>
                </a:cxn>
                <a:cxn ang="0">
                  <a:pos x="47" y="4"/>
                </a:cxn>
                <a:cxn ang="0">
                  <a:pos x="54" y="6"/>
                </a:cxn>
                <a:cxn ang="0">
                  <a:pos x="63" y="6"/>
                </a:cxn>
                <a:cxn ang="0">
                  <a:pos x="66" y="14"/>
                </a:cxn>
                <a:cxn ang="0">
                  <a:pos x="78" y="27"/>
                </a:cxn>
                <a:cxn ang="0">
                  <a:pos x="87" y="35"/>
                </a:cxn>
                <a:cxn ang="0">
                  <a:pos x="103" y="34"/>
                </a:cxn>
                <a:cxn ang="0">
                  <a:pos x="113" y="20"/>
                </a:cxn>
                <a:cxn ang="0">
                  <a:pos x="130" y="13"/>
                </a:cxn>
                <a:cxn ang="0">
                  <a:pos x="146" y="41"/>
                </a:cxn>
                <a:cxn ang="0">
                  <a:pos x="158" y="58"/>
                </a:cxn>
                <a:cxn ang="0">
                  <a:pos x="162" y="67"/>
                </a:cxn>
                <a:cxn ang="0">
                  <a:pos x="188" y="77"/>
                </a:cxn>
                <a:cxn ang="0">
                  <a:pos x="183" y="79"/>
                </a:cxn>
                <a:cxn ang="0">
                  <a:pos x="167" y="79"/>
                </a:cxn>
                <a:cxn ang="0">
                  <a:pos x="155" y="95"/>
                </a:cxn>
                <a:cxn ang="0">
                  <a:pos x="151" y="112"/>
                </a:cxn>
                <a:cxn ang="0">
                  <a:pos x="151" y="124"/>
                </a:cxn>
                <a:cxn ang="0">
                  <a:pos x="148" y="133"/>
                </a:cxn>
                <a:cxn ang="0">
                  <a:pos x="144" y="143"/>
                </a:cxn>
                <a:cxn ang="0">
                  <a:pos x="139" y="133"/>
                </a:cxn>
                <a:cxn ang="0">
                  <a:pos x="134" y="157"/>
                </a:cxn>
              </a:cxnLst>
              <a:rect l="0" t="0" r="r" b="b"/>
              <a:pathLst>
                <a:path w="188" h="169">
                  <a:moveTo>
                    <a:pt x="134" y="169"/>
                  </a:moveTo>
                  <a:lnTo>
                    <a:pt x="134" y="169"/>
                  </a:lnTo>
                  <a:lnTo>
                    <a:pt x="129" y="169"/>
                  </a:lnTo>
                  <a:lnTo>
                    <a:pt x="125" y="169"/>
                  </a:lnTo>
                  <a:lnTo>
                    <a:pt x="123" y="169"/>
                  </a:lnTo>
                  <a:lnTo>
                    <a:pt x="123" y="168"/>
                  </a:lnTo>
                  <a:lnTo>
                    <a:pt x="122" y="162"/>
                  </a:lnTo>
                  <a:lnTo>
                    <a:pt x="122" y="161"/>
                  </a:lnTo>
                  <a:lnTo>
                    <a:pt x="118" y="159"/>
                  </a:lnTo>
                  <a:lnTo>
                    <a:pt x="118" y="159"/>
                  </a:lnTo>
                  <a:lnTo>
                    <a:pt x="117" y="161"/>
                  </a:lnTo>
                  <a:lnTo>
                    <a:pt x="115" y="161"/>
                  </a:lnTo>
                  <a:lnTo>
                    <a:pt x="115" y="161"/>
                  </a:lnTo>
                  <a:lnTo>
                    <a:pt x="115" y="161"/>
                  </a:lnTo>
                  <a:lnTo>
                    <a:pt x="113" y="159"/>
                  </a:lnTo>
                  <a:lnTo>
                    <a:pt x="113" y="155"/>
                  </a:lnTo>
                  <a:lnTo>
                    <a:pt x="113" y="155"/>
                  </a:lnTo>
                  <a:lnTo>
                    <a:pt x="110" y="152"/>
                  </a:lnTo>
                  <a:lnTo>
                    <a:pt x="106" y="150"/>
                  </a:lnTo>
                  <a:lnTo>
                    <a:pt x="106" y="150"/>
                  </a:lnTo>
                  <a:lnTo>
                    <a:pt x="104" y="148"/>
                  </a:lnTo>
                  <a:lnTo>
                    <a:pt x="104" y="147"/>
                  </a:lnTo>
                  <a:lnTo>
                    <a:pt x="104" y="147"/>
                  </a:lnTo>
                  <a:lnTo>
                    <a:pt x="106" y="145"/>
                  </a:lnTo>
                  <a:lnTo>
                    <a:pt x="110" y="143"/>
                  </a:lnTo>
                  <a:lnTo>
                    <a:pt x="113" y="143"/>
                  </a:lnTo>
                  <a:lnTo>
                    <a:pt x="115" y="140"/>
                  </a:lnTo>
                  <a:lnTo>
                    <a:pt x="115" y="140"/>
                  </a:lnTo>
                  <a:lnTo>
                    <a:pt x="115" y="136"/>
                  </a:lnTo>
                  <a:lnTo>
                    <a:pt x="111" y="135"/>
                  </a:lnTo>
                  <a:lnTo>
                    <a:pt x="110" y="133"/>
                  </a:lnTo>
                  <a:lnTo>
                    <a:pt x="108" y="129"/>
                  </a:lnTo>
                  <a:lnTo>
                    <a:pt x="108" y="129"/>
                  </a:lnTo>
                  <a:lnTo>
                    <a:pt x="110" y="128"/>
                  </a:lnTo>
                  <a:lnTo>
                    <a:pt x="111" y="126"/>
                  </a:lnTo>
                  <a:lnTo>
                    <a:pt x="115" y="126"/>
                  </a:lnTo>
                  <a:lnTo>
                    <a:pt x="117" y="124"/>
                  </a:lnTo>
                  <a:lnTo>
                    <a:pt x="117" y="124"/>
                  </a:lnTo>
                  <a:lnTo>
                    <a:pt x="111" y="115"/>
                  </a:lnTo>
                  <a:lnTo>
                    <a:pt x="103" y="108"/>
                  </a:lnTo>
                  <a:lnTo>
                    <a:pt x="103" y="108"/>
                  </a:lnTo>
                  <a:lnTo>
                    <a:pt x="97" y="108"/>
                  </a:lnTo>
                  <a:lnTo>
                    <a:pt x="92" y="112"/>
                  </a:lnTo>
                  <a:lnTo>
                    <a:pt x="82" y="121"/>
                  </a:lnTo>
                  <a:lnTo>
                    <a:pt x="82" y="121"/>
                  </a:lnTo>
                  <a:lnTo>
                    <a:pt x="70" y="133"/>
                  </a:lnTo>
                  <a:lnTo>
                    <a:pt x="63" y="135"/>
                  </a:lnTo>
                  <a:lnTo>
                    <a:pt x="63" y="135"/>
                  </a:lnTo>
                  <a:lnTo>
                    <a:pt x="57" y="140"/>
                  </a:lnTo>
                  <a:lnTo>
                    <a:pt x="54" y="147"/>
                  </a:lnTo>
                  <a:lnTo>
                    <a:pt x="54" y="147"/>
                  </a:lnTo>
                  <a:lnTo>
                    <a:pt x="52" y="148"/>
                  </a:lnTo>
                  <a:lnTo>
                    <a:pt x="52" y="148"/>
                  </a:lnTo>
                  <a:lnTo>
                    <a:pt x="52" y="143"/>
                  </a:lnTo>
                  <a:lnTo>
                    <a:pt x="52" y="140"/>
                  </a:lnTo>
                  <a:lnTo>
                    <a:pt x="52" y="140"/>
                  </a:lnTo>
                  <a:lnTo>
                    <a:pt x="50" y="136"/>
                  </a:lnTo>
                  <a:lnTo>
                    <a:pt x="49" y="135"/>
                  </a:lnTo>
                  <a:lnTo>
                    <a:pt x="49" y="135"/>
                  </a:lnTo>
                  <a:lnTo>
                    <a:pt x="49" y="133"/>
                  </a:lnTo>
                  <a:lnTo>
                    <a:pt x="50" y="131"/>
                  </a:lnTo>
                  <a:lnTo>
                    <a:pt x="56" y="131"/>
                  </a:lnTo>
                  <a:lnTo>
                    <a:pt x="56" y="131"/>
                  </a:lnTo>
                  <a:lnTo>
                    <a:pt x="54" y="129"/>
                  </a:lnTo>
                  <a:lnTo>
                    <a:pt x="52" y="126"/>
                  </a:lnTo>
                  <a:lnTo>
                    <a:pt x="49" y="124"/>
                  </a:lnTo>
                  <a:lnTo>
                    <a:pt x="47" y="121"/>
                  </a:lnTo>
                  <a:lnTo>
                    <a:pt x="47" y="121"/>
                  </a:lnTo>
                  <a:lnTo>
                    <a:pt x="49" y="119"/>
                  </a:lnTo>
                  <a:lnTo>
                    <a:pt x="50" y="119"/>
                  </a:lnTo>
                  <a:lnTo>
                    <a:pt x="52" y="119"/>
                  </a:lnTo>
                  <a:lnTo>
                    <a:pt x="54" y="115"/>
                  </a:lnTo>
                  <a:lnTo>
                    <a:pt x="54" y="115"/>
                  </a:lnTo>
                  <a:lnTo>
                    <a:pt x="52" y="114"/>
                  </a:lnTo>
                  <a:lnTo>
                    <a:pt x="49" y="114"/>
                  </a:lnTo>
                  <a:lnTo>
                    <a:pt x="42" y="114"/>
                  </a:lnTo>
                  <a:lnTo>
                    <a:pt x="42" y="114"/>
                  </a:lnTo>
                  <a:lnTo>
                    <a:pt x="36" y="110"/>
                  </a:lnTo>
                  <a:lnTo>
                    <a:pt x="33" y="105"/>
                  </a:lnTo>
                  <a:lnTo>
                    <a:pt x="29" y="101"/>
                  </a:lnTo>
                  <a:lnTo>
                    <a:pt x="26" y="98"/>
                  </a:lnTo>
                  <a:lnTo>
                    <a:pt x="19" y="95"/>
                  </a:lnTo>
                  <a:lnTo>
                    <a:pt x="19" y="95"/>
                  </a:lnTo>
                  <a:lnTo>
                    <a:pt x="21" y="95"/>
                  </a:lnTo>
                  <a:lnTo>
                    <a:pt x="24" y="93"/>
                  </a:lnTo>
                  <a:lnTo>
                    <a:pt x="29" y="93"/>
                  </a:lnTo>
                  <a:lnTo>
                    <a:pt x="29" y="93"/>
                  </a:lnTo>
                  <a:lnTo>
                    <a:pt x="31" y="89"/>
                  </a:lnTo>
                  <a:lnTo>
                    <a:pt x="33" y="84"/>
                  </a:lnTo>
                  <a:lnTo>
                    <a:pt x="33" y="84"/>
                  </a:lnTo>
                  <a:lnTo>
                    <a:pt x="26" y="77"/>
                  </a:lnTo>
                  <a:lnTo>
                    <a:pt x="16" y="68"/>
                  </a:lnTo>
                  <a:lnTo>
                    <a:pt x="16" y="68"/>
                  </a:lnTo>
                  <a:lnTo>
                    <a:pt x="12" y="65"/>
                  </a:lnTo>
                  <a:lnTo>
                    <a:pt x="12" y="61"/>
                  </a:lnTo>
                  <a:lnTo>
                    <a:pt x="14" y="60"/>
                  </a:lnTo>
                  <a:lnTo>
                    <a:pt x="16" y="58"/>
                  </a:lnTo>
                  <a:lnTo>
                    <a:pt x="19" y="56"/>
                  </a:lnTo>
                  <a:lnTo>
                    <a:pt x="21" y="54"/>
                  </a:lnTo>
                  <a:lnTo>
                    <a:pt x="21" y="53"/>
                  </a:lnTo>
                  <a:lnTo>
                    <a:pt x="21" y="53"/>
                  </a:lnTo>
                  <a:lnTo>
                    <a:pt x="10" y="44"/>
                  </a:lnTo>
                  <a:lnTo>
                    <a:pt x="3" y="37"/>
                  </a:lnTo>
                  <a:lnTo>
                    <a:pt x="0" y="32"/>
                  </a:lnTo>
                  <a:lnTo>
                    <a:pt x="0" y="32"/>
                  </a:lnTo>
                  <a:lnTo>
                    <a:pt x="5" y="27"/>
                  </a:lnTo>
                  <a:lnTo>
                    <a:pt x="7" y="25"/>
                  </a:lnTo>
                  <a:lnTo>
                    <a:pt x="10" y="23"/>
                  </a:lnTo>
                  <a:lnTo>
                    <a:pt x="10" y="23"/>
                  </a:lnTo>
                  <a:lnTo>
                    <a:pt x="19" y="27"/>
                  </a:lnTo>
                  <a:lnTo>
                    <a:pt x="26" y="28"/>
                  </a:lnTo>
                  <a:lnTo>
                    <a:pt x="26" y="28"/>
                  </a:lnTo>
                  <a:lnTo>
                    <a:pt x="24" y="32"/>
                  </a:lnTo>
                  <a:lnTo>
                    <a:pt x="26" y="35"/>
                  </a:lnTo>
                  <a:lnTo>
                    <a:pt x="31" y="37"/>
                  </a:lnTo>
                  <a:lnTo>
                    <a:pt x="31" y="37"/>
                  </a:lnTo>
                  <a:lnTo>
                    <a:pt x="35" y="37"/>
                  </a:lnTo>
                  <a:lnTo>
                    <a:pt x="36" y="37"/>
                  </a:lnTo>
                  <a:lnTo>
                    <a:pt x="42" y="37"/>
                  </a:lnTo>
                  <a:lnTo>
                    <a:pt x="42" y="37"/>
                  </a:lnTo>
                  <a:lnTo>
                    <a:pt x="47" y="39"/>
                  </a:lnTo>
                  <a:lnTo>
                    <a:pt x="49" y="42"/>
                  </a:lnTo>
                  <a:lnTo>
                    <a:pt x="52" y="42"/>
                  </a:lnTo>
                  <a:lnTo>
                    <a:pt x="57" y="39"/>
                  </a:lnTo>
                  <a:lnTo>
                    <a:pt x="57" y="39"/>
                  </a:lnTo>
                  <a:lnTo>
                    <a:pt x="59" y="35"/>
                  </a:lnTo>
                  <a:lnTo>
                    <a:pt x="57" y="32"/>
                  </a:lnTo>
                  <a:lnTo>
                    <a:pt x="54" y="27"/>
                  </a:lnTo>
                  <a:lnTo>
                    <a:pt x="43" y="20"/>
                  </a:lnTo>
                  <a:lnTo>
                    <a:pt x="43" y="20"/>
                  </a:lnTo>
                  <a:lnTo>
                    <a:pt x="42" y="18"/>
                  </a:lnTo>
                  <a:lnTo>
                    <a:pt x="42" y="16"/>
                  </a:lnTo>
                  <a:lnTo>
                    <a:pt x="42" y="16"/>
                  </a:lnTo>
                  <a:lnTo>
                    <a:pt x="42" y="11"/>
                  </a:lnTo>
                  <a:lnTo>
                    <a:pt x="45" y="7"/>
                  </a:lnTo>
                  <a:lnTo>
                    <a:pt x="47" y="4"/>
                  </a:lnTo>
                  <a:lnTo>
                    <a:pt x="49" y="0"/>
                  </a:lnTo>
                  <a:lnTo>
                    <a:pt x="49" y="0"/>
                  </a:lnTo>
                  <a:lnTo>
                    <a:pt x="52" y="4"/>
                  </a:lnTo>
                  <a:lnTo>
                    <a:pt x="54" y="6"/>
                  </a:lnTo>
                  <a:lnTo>
                    <a:pt x="56" y="6"/>
                  </a:lnTo>
                  <a:lnTo>
                    <a:pt x="57" y="6"/>
                  </a:lnTo>
                  <a:lnTo>
                    <a:pt x="61" y="4"/>
                  </a:lnTo>
                  <a:lnTo>
                    <a:pt x="63" y="6"/>
                  </a:lnTo>
                  <a:lnTo>
                    <a:pt x="63" y="9"/>
                  </a:lnTo>
                  <a:lnTo>
                    <a:pt x="63" y="9"/>
                  </a:lnTo>
                  <a:lnTo>
                    <a:pt x="64" y="13"/>
                  </a:lnTo>
                  <a:lnTo>
                    <a:pt x="66" y="14"/>
                  </a:lnTo>
                  <a:lnTo>
                    <a:pt x="71" y="16"/>
                  </a:lnTo>
                  <a:lnTo>
                    <a:pt x="75" y="20"/>
                  </a:lnTo>
                  <a:lnTo>
                    <a:pt x="76" y="21"/>
                  </a:lnTo>
                  <a:lnTo>
                    <a:pt x="78" y="27"/>
                  </a:lnTo>
                  <a:lnTo>
                    <a:pt x="78" y="27"/>
                  </a:lnTo>
                  <a:lnTo>
                    <a:pt x="80" y="30"/>
                  </a:lnTo>
                  <a:lnTo>
                    <a:pt x="83" y="34"/>
                  </a:lnTo>
                  <a:lnTo>
                    <a:pt x="87" y="35"/>
                  </a:lnTo>
                  <a:lnTo>
                    <a:pt x="92" y="37"/>
                  </a:lnTo>
                  <a:lnTo>
                    <a:pt x="96" y="37"/>
                  </a:lnTo>
                  <a:lnTo>
                    <a:pt x="99" y="35"/>
                  </a:lnTo>
                  <a:lnTo>
                    <a:pt x="103" y="34"/>
                  </a:lnTo>
                  <a:lnTo>
                    <a:pt x="104" y="30"/>
                  </a:lnTo>
                  <a:lnTo>
                    <a:pt x="104" y="30"/>
                  </a:lnTo>
                  <a:lnTo>
                    <a:pt x="108" y="23"/>
                  </a:lnTo>
                  <a:lnTo>
                    <a:pt x="113" y="20"/>
                  </a:lnTo>
                  <a:lnTo>
                    <a:pt x="120" y="14"/>
                  </a:lnTo>
                  <a:lnTo>
                    <a:pt x="125" y="6"/>
                  </a:lnTo>
                  <a:lnTo>
                    <a:pt x="125" y="6"/>
                  </a:lnTo>
                  <a:lnTo>
                    <a:pt x="130" y="13"/>
                  </a:lnTo>
                  <a:lnTo>
                    <a:pt x="139" y="23"/>
                  </a:lnTo>
                  <a:lnTo>
                    <a:pt x="144" y="34"/>
                  </a:lnTo>
                  <a:lnTo>
                    <a:pt x="146" y="41"/>
                  </a:lnTo>
                  <a:lnTo>
                    <a:pt x="146" y="41"/>
                  </a:lnTo>
                  <a:lnTo>
                    <a:pt x="148" y="46"/>
                  </a:lnTo>
                  <a:lnTo>
                    <a:pt x="153" y="49"/>
                  </a:lnTo>
                  <a:lnTo>
                    <a:pt x="157" y="54"/>
                  </a:lnTo>
                  <a:lnTo>
                    <a:pt x="158" y="58"/>
                  </a:lnTo>
                  <a:lnTo>
                    <a:pt x="158" y="60"/>
                  </a:lnTo>
                  <a:lnTo>
                    <a:pt x="158" y="60"/>
                  </a:lnTo>
                  <a:lnTo>
                    <a:pt x="158" y="65"/>
                  </a:lnTo>
                  <a:lnTo>
                    <a:pt x="162" y="67"/>
                  </a:lnTo>
                  <a:lnTo>
                    <a:pt x="170" y="68"/>
                  </a:lnTo>
                  <a:lnTo>
                    <a:pt x="181" y="70"/>
                  </a:lnTo>
                  <a:lnTo>
                    <a:pt x="184" y="74"/>
                  </a:lnTo>
                  <a:lnTo>
                    <a:pt x="188" y="77"/>
                  </a:lnTo>
                  <a:lnTo>
                    <a:pt x="188" y="77"/>
                  </a:lnTo>
                  <a:lnTo>
                    <a:pt x="188" y="82"/>
                  </a:lnTo>
                  <a:lnTo>
                    <a:pt x="184" y="81"/>
                  </a:lnTo>
                  <a:lnTo>
                    <a:pt x="183" y="79"/>
                  </a:lnTo>
                  <a:lnTo>
                    <a:pt x="179" y="77"/>
                  </a:lnTo>
                  <a:lnTo>
                    <a:pt x="174" y="77"/>
                  </a:lnTo>
                  <a:lnTo>
                    <a:pt x="167" y="79"/>
                  </a:lnTo>
                  <a:lnTo>
                    <a:pt x="167" y="79"/>
                  </a:lnTo>
                  <a:lnTo>
                    <a:pt x="160" y="82"/>
                  </a:lnTo>
                  <a:lnTo>
                    <a:pt x="158" y="86"/>
                  </a:lnTo>
                  <a:lnTo>
                    <a:pt x="157" y="91"/>
                  </a:lnTo>
                  <a:lnTo>
                    <a:pt x="155" y="95"/>
                  </a:lnTo>
                  <a:lnTo>
                    <a:pt x="155" y="103"/>
                  </a:lnTo>
                  <a:lnTo>
                    <a:pt x="153" y="108"/>
                  </a:lnTo>
                  <a:lnTo>
                    <a:pt x="151" y="112"/>
                  </a:lnTo>
                  <a:lnTo>
                    <a:pt x="151" y="112"/>
                  </a:lnTo>
                  <a:lnTo>
                    <a:pt x="150" y="115"/>
                  </a:lnTo>
                  <a:lnTo>
                    <a:pt x="148" y="117"/>
                  </a:lnTo>
                  <a:lnTo>
                    <a:pt x="150" y="121"/>
                  </a:lnTo>
                  <a:lnTo>
                    <a:pt x="151" y="124"/>
                  </a:lnTo>
                  <a:lnTo>
                    <a:pt x="151" y="126"/>
                  </a:lnTo>
                  <a:lnTo>
                    <a:pt x="150" y="128"/>
                  </a:lnTo>
                  <a:lnTo>
                    <a:pt x="150" y="128"/>
                  </a:lnTo>
                  <a:lnTo>
                    <a:pt x="148" y="133"/>
                  </a:lnTo>
                  <a:lnTo>
                    <a:pt x="148" y="136"/>
                  </a:lnTo>
                  <a:lnTo>
                    <a:pt x="146" y="140"/>
                  </a:lnTo>
                  <a:lnTo>
                    <a:pt x="144" y="143"/>
                  </a:lnTo>
                  <a:lnTo>
                    <a:pt x="144" y="143"/>
                  </a:lnTo>
                  <a:lnTo>
                    <a:pt x="143" y="143"/>
                  </a:lnTo>
                  <a:lnTo>
                    <a:pt x="143" y="142"/>
                  </a:lnTo>
                  <a:lnTo>
                    <a:pt x="141" y="135"/>
                  </a:lnTo>
                  <a:lnTo>
                    <a:pt x="139" y="133"/>
                  </a:lnTo>
                  <a:lnTo>
                    <a:pt x="139" y="131"/>
                  </a:lnTo>
                  <a:lnTo>
                    <a:pt x="136" y="140"/>
                  </a:lnTo>
                  <a:lnTo>
                    <a:pt x="136" y="140"/>
                  </a:lnTo>
                  <a:lnTo>
                    <a:pt x="134" y="157"/>
                  </a:lnTo>
                  <a:lnTo>
                    <a:pt x="134" y="169"/>
                  </a:lnTo>
                  <a:lnTo>
                    <a:pt x="134" y="16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8" name="Freeform 2051">
              <a:extLst>
                <a:ext uri="{FF2B5EF4-FFF2-40B4-BE49-F238E27FC236}">
                  <a16:creationId xmlns:a16="http://schemas.microsoft.com/office/drawing/2014/main" id="{7A64F17E-ECF7-4DBA-909F-03B768E4227D}"/>
                </a:ext>
              </a:extLst>
            </p:cNvPr>
            <p:cNvSpPr>
              <a:spLocks/>
            </p:cNvSpPr>
            <p:nvPr/>
          </p:nvSpPr>
          <p:spPr bwMode="auto">
            <a:xfrm>
              <a:off x="5944324" y="3049318"/>
              <a:ext cx="89862" cy="95147"/>
            </a:xfrm>
            <a:custGeom>
              <a:avLst/>
              <a:gdLst/>
              <a:ahLst/>
              <a:cxnLst>
                <a:cxn ang="0">
                  <a:pos x="108" y="111"/>
                </a:cxn>
                <a:cxn ang="0">
                  <a:pos x="106" y="104"/>
                </a:cxn>
                <a:cxn ang="0">
                  <a:pos x="105" y="101"/>
                </a:cxn>
                <a:cxn ang="0">
                  <a:pos x="112" y="99"/>
                </a:cxn>
                <a:cxn ang="0">
                  <a:pos x="105" y="92"/>
                </a:cxn>
                <a:cxn ang="0">
                  <a:pos x="105" y="87"/>
                </a:cxn>
                <a:cxn ang="0">
                  <a:pos x="110" y="83"/>
                </a:cxn>
                <a:cxn ang="0">
                  <a:pos x="105" y="82"/>
                </a:cxn>
                <a:cxn ang="0">
                  <a:pos x="92" y="78"/>
                </a:cxn>
                <a:cxn ang="0">
                  <a:pos x="82" y="66"/>
                </a:cxn>
                <a:cxn ang="0">
                  <a:pos x="77" y="63"/>
                </a:cxn>
                <a:cxn ang="0">
                  <a:pos x="85" y="61"/>
                </a:cxn>
                <a:cxn ang="0">
                  <a:pos x="89" y="52"/>
                </a:cxn>
                <a:cxn ang="0">
                  <a:pos x="72" y="36"/>
                </a:cxn>
                <a:cxn ang="0">
                  <a:pos x="70" y="28"/>
                </a:cxn>
                <a:cxn ang="0">
                  <a:pos x="77" y="22"/>
                </a:cxn>
                <a:cxn ang="0">
                  <a:pos x="66" y="12"/>
                </a:cxn>
                <a:cxn ang="0">
                  <a:pos x="56" y="0"/>
                </a:cxn>
                <a:cxn ang="0">
                  <a:pos x="31" y="3"/>
                </a:cxn>
                <a:cxn ang="0">
                  <a:pos x="26" y="3"/>
                </a:cxn>
                <a:cxn ang="0">
                  <a:pos x="2" y="9"/>
                </a:cxn>
                <a:cxn ang="0">
                  <a:pos x="0" y="9"/>
                </a:cxn>
                <a:cxn ang="0">
                  <a:pos x="7" y="19"/>
                </a:cxn>
                <a:cxn ang="0">
                  <a:pos x="11" y="29"/>
                </a:cxn>
                <a:cxn ang="0">
                  <a:pos x="5" y="47"/>
                </a:cxn>
                <a:cxn ang="0">
                  <a:pos x="9" y="54"/>
                </a:cxn>
                <a:cxn ang="0">
                  <a:pos x="7" y="57"/>
                </a:cxn>
                <a:cxn ang="0">
                  <a:pos x="23" y="61"/>
                </a:cxn>
                <a:cxn ang="0">
                  <a:pos x="38" y="66"/>
                </a:cxn>
                <a:cxn ang="0">
                  <a:pos x="47" y="76"/>
                </a:cxn>
                <a:cxn ang="0">
                  <a:pos x="56" y="73"/>
                </a:cxn>
                <a:cxn ang="0">
                  <a:pos x="59" y="80"/>
                </a:cxn>
                <a:cxn ang="0">
                  <a:pos x="61" y="83"/>
                </a:cxn>
                <a:cxn ang="0">
                  <a:pos x="66" y="83"/>
                </a:cxn>
                <a:cxn ang="0">
                  <a:pos x="70" y="87"/>
                </a:cxn>
                <a:cxn ang="0">
                  <a:pos x="78" y="83"/>
                </a:cxn>
                <a:cxn ang="0">
                  <a:pos x="82" y="83"/>
                </a:cxn>
                <a:cxn ang="0">
                  <a:pos x="82" y="90"/>
                </a:cxn>
                <a:cxn ang="0">
                  <a:pos x="87" y="96"/>
                </a:cxn>
                <a:cxn ang="0">
                  <a:pos x="91" y="97"/>
                </a:cxn>
                <a:cxn ang="0">
                  <a:pos x="96" y="116"/>
                </a:cxn>
                <a:cxn ang="0">
                  <a:pos x="101" y="115"/>
                </a:cxn>
                <a:cxn ang="0">
                  <a:pos x="108" y="116"/>
                </a:cxn>
              </a:cxnLst>
              <a:rect l="0" t="0" r="r" b="b"/>
              <a:pathLst>
                <a:path w="112" h="116">
                  <a:moveTo>
                    <a:pt x="108" y="116"/>
                  </a:moveTo>
                  <a:lnTo>
                    <a:pt x="108" y="116"/>
                  </a:lnTo>
                  <a:lnTo>
                    <a:pt x="108" y="111"/>
                  </a:lnTo>
                  <a:lnTo>
                    <a:pt x="108" y="108"/>
                  </a:lnTo>
                  <a:lnTo>
                    <a:pt x="108" y="108"/>
                  </a:lnTo>
                  <a:lnTo>
                    <a:pt x="106" y="104"/>
                  </a:lnTo>
                  <a:lnTo>
                    <a:pt x="105" y="103"/>
                  </a:lnTo>
                  <a:lnTo>
                    <a:pt x="105" y="103"/>
                  </a:lnTo>
                  <a:lnTo>
                    <a:pt x="105" y="101"/>
                  </a:lnTo>
                  <a:lnTo>
                    <a:pt x="106" y="99"/>
                  </a:lnTo>
                  <a:lnTo>
                    <a:pt x="112" y="99"/>
                  </a:lnTo>
                  <a:lnTo>
                    <a:pt x="112" y="99"/>
                  </a:lnTo>
                  <a:lnTo>
                    <a:pt x="110" y="97"/>
                  </a:lnTo>
                  <a:lnTo>
                    <a:pt x="108" y="94"/>
                  </a:lnTo>
                  <a:lnTo>
                    <a:pt x="105" y="92"/>
                  </a:lnTo>
                  <a:lnTo>
                    <a:pt x="103" y="89"/>
                  </a:lnTo>
                  <a:lnTo>
                    <a:pt x="103" y="89"/>
                  </a:lnTo>
                  <a:lnTo>
                    <a:pt x="105" y="87"/>
                  </a:lnTo>
                  <a:lnTo>
                    <a:pt x="106" y="87"/>
                  </a:lnTo>
                  <a:lnTo>
                    <a:pt x="108" y="87"/>
                  </a:lnTo>
                  <a:lnTo>
                    <a:pt x="110" y="83"/>
                  </a:lnTo>
                  <a:lnTo>
                    <a:pt x="110" y="83"/>
                  </a:lnTo>
                  <a:lnTo>
                    <a:pt x="108" y="82"/>
                  </a:lnTo>
                  <a:lnTo>
                    <a:pt x="105" y="82"/>
                  </a:lnTo>
                  <a:lnTo>
                    <a:pt x="98" y="82"/>
                  </a:lnTo>
                  <a:lnTo>
                    <a:pt x="98" y="82"/>
                  </a:lnTo>
                  <a:lnTo>
                    <a:pt x="92" y="78"/>
                  </a:lnTo>
                  <a:lnTo>
                    <a:pt x="89" y="73"/>
                  </a:lnTo>
                  <a:lnTo>
                    <a:pt x="85" y="69"/>
                  </a:lnTo>
                  <a:lnTo>
                    <a:pt x="82" y="66"/>
                  </a:lnTo>
                  <a:lnTo>
                    <a:pt x="75" y="63"/>
                  </a:lnTo>
                  <a:lnTo>
                    <a:pt x="75" y="63"/>
                  </a:lnTo>
                  <a:lnTo>
                    <a:pt x="77" y="63"/>
                  </a:lnTo>
                  <a:lnTo>
                    <a:pt x="80" y="61"/>
                  </a:lnTo>
                  <a:lnTo>
                    <a:pt x="85" y="61"/>
                  </a:lnTo>
                  <a:lnTo>
                    <a:pt x="85" y="61"/>
                  </a:lnTo>
                  <a:lnTo>
                    <a:pt x="87" y="57"/>
                  </a:lnTo>
                  <a:lnTo>
                    <a:pt x="89" y="52"/>
                  </a:lnTo>
                  <a:lnTo>
                    <a:pt x="89" y="52"/>
                  </a:lnTo>
                  <a:lnTo>
                    <a:pt x="82" y="45"/>
                  </a:lnTo>
                  <a:lnTo>
                    <a:pt x="72" y="36"/>
                  </a:lnTo>
                  <a:lnTo>
                    <a:pt x="72" y="36"/>
                  </a:lnTo>
                  <a:lnTo>
                    <a:pt x="68" y="33"/>
                  </a:lnTo>
                  <a:lnTo>
                    <a:pt x="68" y="29"/>
                  </a:lnTo>
                  <a:lnTo>
                    <a:pt x="70" y="28"/>
                  </a:lnTo>
                  <a:lnTo>
                    <a:pt x="72" y="26"/>
                  </a:lnTo>
                  <a:lnTo>
                    <a:pt x="75" y="24"/>
                  </a:lnTo>
                  <a:lnTo>
                    <a:pt x="77" y="22"/>
                  </a:lnTo>
                  <a:lnTo>
                    <a:pt x="77" y="21"/>
                  </a:lnTo>
                  <a:lnTo>
                    <a:pt x="77" y="21"/>
                  </a:lnTo>
                  <a:lnTo>
                    <a:pt x="66" y="12"/>
                  </a:lnTo>
                  <a:lnTo>
                    <a:pt x="59" y="5"/>
                  </a:lnTo>
                  <a:lnTo>
                    <a:pt x="56" y="0"/>
                  </a:lnTo>
                  <a:lnTo>
                    <a:pt x="56" y="0"/>
                  </a:lnTo>
                  <a:lnTo>
                    <a:pt x="51" y="3"/>
                  </a:lnTo>
                  <a:lnTo>
                    <a:pt x="51" y="3"/>
                  </a:lnTo>
                  <a:lnTo>
                    <a:pt x="31" y="3"/>
                  </a:lnTo>
                  <a:lnTo>
                    <a:pt x="31" y="3"/>
                  </a:lnTo>
                  <a:lnTo>
                    <a:pt x="26" y="3"/>
                  </a:lnTo>
                  <a:lnTo>
                    <a:pt x="26" y="3"/>
                  </a:lnTo>
                  <a:lnTo>
                    <a:pt x="14" y="7"/>
                  </a:lnTo>
                  <a:lnTo>
                    <a:pt x="7" y="9"/>
                  </a:lnTo>
                  <a:lnTo>
                    <a:pt x="2" y="9"/>
                  </a:lnTo>
                  <a:lnTo>
                    <a:pt x="2" y="9"/>
                  </a:lnTo>
                  <a:lnTo>
                    <a:pt x="0" y="9"/>
                  </a:lnTo>
                  <a:lnTo>
                    <a:pt x="0" y="9"/>
                  </a:lnTo>
                  <a:lnTo>
                    <a:pt x="0" y="12"/>
                  </a:lnTo>
                  <a:lnTo>
                    <a:pt x="0" y="12"/>
                  </a:lnTo>
                  <a:lnTo>
                    <a:pt x="7" y="19"/>
                  </a:lnTo>
                  <a:lnTo>
                    <a:pt x="11" y="24"/>
                  </a:lnTo>
                  <a:lnTo>
                    <a:pt x="11" y="29"/>
                  </a:lnTo>
                  <a:lnTo>
                    <a:pt x="11" y="29"/>
                  </a:lnTo>
                  <a:lnTo>
                    <a:pt x="7" y="38"/>
                  </a:lnTo>
                  <a:lnTo>
                    <a:pt x="5" y="42"/>
                  </a:lnTo>
                  <a:lnTo>
                    <a:pt x="5" y="47"/>
                  </a:lnTo>
                  <a:lnTo>
                    <a:pt x="5" y="47"/>
                  </a:lnTo>
                  <a:lnTo>
                    <a:pt x="7" y="50"/>
                  </a:lnTo>
                  <a:lnTo>
                    <a:pt x="9" y="54"/>
                  </a:lnTo>
                  <a:lnTo>
                    <a:pt x="9" y="54"/>
                  </a:lnTo>
                  <a:lnTo>
                    <a:pt x="7" y="56"/>
                  </a:lnTo>
                  <a:lnTo>
                    <a:pt x="7" y="57"/>
                  </a:lnTo>
                  <a:lnTo>
                    <a:pt x="7" y="57"/>
                  </a:lnTo>
                  <a:lnTo>
                    <a:pt x="16" y="59"/>
                  </a:lnTo>
                  <a:lnTo>
                    <a:pt x="23" y="61"/>
                  </a:lnTo>
                  <a:lnTo>
                    <a:pt x="31" y="63"/>
                  </a:lnTo>
                  <a:lnTo>
                    <a:pt x="35" y="63"/>
                  </a:lnTo>
                  <a:lnTo>
                    <a:pt x="38" y="66"/>
                  </a:lnTo>
                  <a:lnTo>
                    <a:pt x="38" y="66"/>
                  </a:lnTo>
                  <a:lnTo>
                    <a:pt x="47" y="76"/>
                  </a:lnTo>
                  <a:lnTo>
                    <a:pt x="47" y="76"/>
                  </a:lnTo>
                  <a:lnTo>
                    <a:pt x="51" y="75"/>
                  </a:lnTo>
                  <a:lnTo>
                    <a:pt x="56" y="73"/>
                  </a:lnTo>
                  <a:lnTo>
                    <a:pt x="56" y="73"/>
                  </a:lnTo>
                  <a:lnTo>
                    <a:pt x="59" y="73"/>
                  </a:lnTo>
                  <a:lnTo>
                    <a:pt x="59" y="75"/>
                  </a:lnTo>
                  <a:lnTo>
                    <a:pt x="59" y="80"/>
                  </a:lnTo>
                  <a:lnTo>
                    <a:pt x="59" y="83"/>
                  </a:lnTo>
                  <a:lnTo>
                    <a:pt x="61" y="83"/>
                  </a:lnTo>
                  <a:lnTo>
                    <a:pt x="61" y="83"/>
                  </a:lnTo>
                  <a:lnTo>
                    <a:pt x="61" y="83"/>
                  </a:lnTo>
                  <a:lnTo>
                    <a:pt x="66" y="82"/>
                  </a:lnTo>
                  <a:lnTo>
                    <a:pt x="66" y="83"/>
                  </a:lnTo>
                  <a:lnTo>
                    <a:pt x="68" y="85"/>
                  </a:lnTo>
                  <a:lnTo>
                    <a:pt x="70" y="87"/>
                  </a:lnTo>
                  <a:lnTo>
                    <a:pt x="70" y="87"/>
                  </a:lnTo>
                  <a:lnTo>
                    <a:pt x="73" y="85"/>
                  </a:lnTo>
                  <a:lnTo>
                    <a:pt x="75" y="83"/>
                  </a:lnTo>
                  <a:lnTo>
                    <a:pt x="78" y="83"/>
                  </a:lnTo>
                  <a:lnTo>
                    <a:pt x="80" y="82"/>
                  </a:lnTo>
                  <a:lnTo>
                    <a:pt x="80" y="82"/>
                  </a:lnTo>
                  <a:lnTo>
                    <a:pt x="82" y="83"/>
                  </a:lnTo>
                  <a:lnTo>
                    <a:pt x="84" y="83"/>
                  </a:lnTo>
                  <a:lnTo>
                    <a:pt x="84" y="87"/>
                  </a:lnTo>
                  <a:lnTo>
                    <a:pt x="82" y="90"/>
                  </a:lnTo>
                  <a:lnTo>
                    <a:pt x="82" y="92"/>
                  </a:lnTo>
                  <a:lnTo>
                    <a:pt x="82" y="92"/>
                  </a:lnTo>
                  <a:lnTo>
                    <a:pt x="87" y="96"/>
                  </a:lnTo>
                  <a:lnTo>
                    <a:pt x="89" y="96"/>
                  </a:lnTo>
                  <a:lnTo>
                    <a:pt x="91" y="97"/>
                  </a:lnTo>
                  <a:lnTo>
                    <a:pt x="91" y="97"/>
                  </a:lnTo>
                  <a:lnTo>
                    <a:pt x="91" y="103"/>
                  </a:lnTo>
                  <a:lnTo>
                    <a:pt x="91" y="108"/>
                  </a:lnTo>
                  <a:lnTo>
                    <a:pt x="96" y="116"/>
                  </a:lnTo>
                  <a:lnTo>
                    <a:pt x="96" y="116"/>
                  </a:lnTo>
                  <a:lnTo>
                    <a:pt x="101" y="115"/>
                  </a:lnTo>
                  <a:lnTo>
                    <a:pt x="101" y="115"/>
                  </a:lnTo>
                  <a:lnTo>
                    <a:pt x="105" y="115"/>
                  </a:lnTo>
                  <a:lnTo>
                    <a:pt x="108" y="116"/>
                  </a:lnTo>
                  <a:lnTo>
                    <a:pt x="108" y="1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9" name="Freeform 2052">
              <a:extLst>
                <a:ext uri="{FF2B5EF4-FFF2-40B4-BE49-F238E27FC236}">
                  <a16:creationId xmlns:a16="http://schemas.microsoft.com/office/drawing/2014/main" id="{1B7CE753-BCBB-44D7-AC97-A955CF648047}"/>
                </a:ext>
              </a:extLst>
            </p:cNvPr>
            <p:cNvSpPr>
              <a:spLocks/>
            </p:cNvSpPr>
            <p:nvPr/>
          </p:nvSpPr>
          <p:spPr bwMode="auto">
            <a:xfrm>
              <a:off x="5845650" y="2962979"/>
              <a:ext cx="190298" cy="96910"/>
            </a:xfrm>
            <a:custGeom>
              <a:avLst/>
              <a:gdLst/>
              <a:ahLst/>
              <a:cxnLst>
                <a:cxn ang="0">
                  <a:pos x="129" y="119"/>
                </a:cxn>
                <a:cxn ang="0">
                  <a:pos x="148" y="113"/>
                </a:cxn>
                <a:cxn ang="0">
                  <a:pos x="173" y="113"/>
                </a:cxn>
                <a:cxn ang="0">
                  <a:pos x="178" y="110"/>
                </a:cxn>
                <a:cxn ang="0">
                  <a:pos x="188" y="101"/>
                </a:cxn>
                <a:cxn ang="0">
                  <a:pos x="204" y="106"/>
                </a:cxn>
                <a:cxn ang="0">
                  <a:pos x="204" y="113"/>
                </a:cxn>
                <a:cxn ang="0">
                  <a:pos x="213" y="115"/>
                </a:cxn>
                <a:cxn ang="0">
                  <a:pos x="220" y="115"/>
                </a:cxn>
                <a:cxn ang="0">
                  <a:pos x="230" y="120"/>
                </a:cxn>
                <a:cxn ang="0">
                  <a:pos x="237" y="113"/>
                </a:cxn>
                <a:cxn ang="0">
                  <a:pos x="221" y="98"/>
                </a:cxn>
                <a:cxn ang="0">
                  <a:pos x="220" y="94"/>
                </a:cxn>
                <a:cxn ang="0">
                  <a:pos x="223" y="85"/>
                </a:cxn>
                <a:cxn ang="0">
                  <a:pos x="227" y="78"/>
                </a:cxn>
                <a:cxn ang="0">
                  <a:pos x="202" y="68"/>
                </a:cxn>
                <a:cxn ang="0">
                  <a:pos x="200" y="63"/>
                </a:cxn>
                <a:cxn ang="0">
                  <a:pos x="204" y="51"/>
                </a:cxn>
                <a:cxn ang="0">
                  <a:pos x="197" y="49"/>
                </a:cxn>
                <a:cxn ang="0">
                  <a:pos x="185" y="42"/>
                </a:cxn>
                <a:cxn ang="0">
                  <a:pos x="176" y="38"/>
                </a:cxn>
                <a:cxn ang="0">
                  <a:pos x="160" y="38"/>
                </a:cxn>
                <a:cxn ang="0">
                  <a:pos x="153" y="38"/>
                </a:cxn>
                <a:cxn ang="0">
                  <a:pos x="140" y="49"/>
                </a:cxn>
                <a:cxn ang="0">
                  <a:pos x="133" y="45"/>
                </a:cxn>
                <a:cxn ang="0">
                  <a:pos x="134" y="40"/>
                </a:cxn>
                <a:cxn ang="0">
                  <a:pos x="126" y="35"/>
                </a:cxn>
                <a:cxn ang="0">
                  <a:pos x="103" y="19"/>
                </a:cxn>
                <a:cxn ang="0">
                  <a:pos x="96" y="19"/>
                </a:cxn>
                <a:cxn ang="0">
                  <a:pos x="82" y="14"/>
                </a:cxn>
                <a:cxn ang="0">
                  <a:pos x="72" y="16"/>
                </a:cxn>
                <a:cxn ang="0">
                  <a:pos x="58" y="18"/>
                </a:cxn>
                <a:cxn ang="0">
                  <a:pos x="49" y="11"/>
                </a:cxn>
                <a:cxn ang="0">
                  <a:pos x="40" y="9"/>
                </a:cxn>
                <a:cxn ang="0">
                  <a:pos x="28" y="0"/>
                </a:cxn>
                <a:cxn ang="0">
                  <a:pos x="23" y="0"/>
                </a:cxn>
                <a:cxn ang="0">
                  <a:pos x="5" y="4"/>
                </a:cxn>
                <a:cxn ang="0">
                  <a:pos x="7" y="14"/>
                </a:cxn>
                <a:cxn ang="0">
                  <a:pos x="32" y="25"/>
                </a:cxn>
                <a:cxn ang="0">
                  <a:pos x="37" y="31"/>
                </a:cxn>
                <a:cxn ang="0">
                  <a:pos x="47" y="38"/>
                </a:cxn>
                <a:cxn ang="0">
                  <a:pos x="56" y="51"/>
                </a:cxn>
                <a:cxn ang="0">
                  <a:pos x="61" y="78"/>
                </a:cxn>
                <a:cxn ang="0">
                  <a:pos x="56" y="101"/>
                </a:cxn>
                <a:cxn ang="0">
                  <a:pos x="65" y="103"/>
                </a:cxn>
                <a:cxn ang="0">
                  <a:pos x="70" y="99"/>
                </a:cxn>
                <a:cxn ang="0">
                  <a:pos x="86" y="103"/>
                </a:cxn>
                <a:cxn ang="0">
                  <a:pos x="93" y="96"/>
                </a:cxn>
                <a:cxn ang="0">
                  <a:pos x="98" y="96"/>
                </a:cxn>
                <a:cxn ang="0">
                  <a:pos x="112" y="108"/>
                </a:cxn>
                <a:cxn ang="0">
                  <a:pos x="113" y="113"/>
                </a:cxn>
                <a:cxn ang="0">
                  <a:pos x="117" y="115"/>
                </a:cxn>
                <a:cxn ang="0">
                  <a:pos x="122" y="117"/>
                </a:cxn>
                <a:cxn ang="0">
                  <a:pos x="124" y="119"/>
                </a:cxn>
              </a:cxnLst>
              <a:rect l="0" t="0" r="r" b="b"/>
              <a:pathLst>
                <a:path w="237" h="120">
                  <a:moveTo>
                    <a:pt x="124" y="119"/>
                  </a:moveTo>
                  <a:lnTo>
                    <a:pt x="124" y="119"/>
                  </a:lnTo>
                  <a:lnTo>
                    <a:pt x="129" y="119"/>
                  </a:lnTo>
                  <a:lnTo>
                    <a:pt x="136" y="117"/>
                  </a:lnTo>
                  <a:lnTo>
                    <a:pt x="148" y="113"/>
                  </a:lnTo>
                  <a:lnTo>
                    <a:pt x="148" y="113"/>
                  </a:lnTo>
                  <a:lnTo>
                    <a:pt x="153" y="113"/>
                  </a:lnTo>
                  <a:lnTo>
                    <a:pt x="153" y="113"/>
                  </a:lnTo>
                  <a:lnTo>
                    <a:pt x="173" y="113"/>
                  </a:lnTo>
                  <a:lnTo>
                    <a:pt x="173" y="113"/>
                  </a:lnTo>
                  <a:lnTo>
                    <a:pt x="178" y="110"/>
                  </a:lnTo>
                  <a:lnTo>
                    <a:pt x="178" y="110"/>
                  </a:lnTo>
                  <a:lnTo>
                    <a:pt x="183" y="105"/>
                  </a:lnTo>
                  <a:lnTo>
                    <a:pt x="185" y="103"/>
                  </a:lnTo>
                  <a:lnTo>
                    <a:pt x="188" y="101"/>
                  </a:lnTo>
                  <a:lnTo>
                    <a:pt x="188" y="101"/>
                  </a:lnTo>
                  <a:lnTo>
                    <a:pt x="197" y="105"/>
                  </a:lnTo>
                  <a:lnTo>
                    <a:pt x="204" y="106"/>
                  </a:lnTo>
                  <a:lnTo>
                    <a:pt x="204" y="106"/>
                  </a:lnTo>
                  <a:lnTo>
                    <a:pt x="202" y="110"/>
                  </a:lnTo>
                  <a:lnTo>
                    <a:pt x="204" y="113"/>
                  </a:lnTo>
                  <a:lnTo>
                    <a:pt x="209" y="115"/>
                  </a:lnTo>
                  <a:lnTo>
                    <a:pt x="209" y="115"/>
                  </a:lnTo>
                  <a:lnTo>
                    <a:pt x="213" y="115"/>
                  </a:lnTo>
                  <a:lnTo>
                    <a:pt x="214" y="115"/>
                  </a:lnTo>
                  <a:lnTo>
                    <a:pt x="220" y="115"/>
                  </a:lnTo>
                  <a:lnTo>
                    <a:pt x="220" y="115"/>
                  </a:lnTo>
                  <a:lnTo>
                    <a:pt x="225" y="117"/>
                  </a:lnTo>
                  <a:lnTo>
                    <a:pt x="227" y="120"/>
                  </a:lnTo>
                  <a:lnTo>
                    <a:pt x="230" y="120"/>
                  </a:lnTo>
                  <a:lnTo>
                    <a:pt x="235" y="117"/>
                  </a:lnTo>
                  <a:lnTo>
                    <a:pt x="235" y="117"/>
                  </a:lnTo>
                  <a:lnTo>
                    <a:pt x="237" y="113"/>
                  </a:lnTo>
                  <a:lnTo>
                    <a:pt x="235" y="110"/>
                  </a:lnTo>
                  <a:lnTo>
                    <a:pt x="232" y="105"/>
                  </a:lnTo>
                  <a:lnTo>
                    <a:pt x="221" y="98"/>
                  </a:lnTo>
                  <a:lnTo>
                    <a:pt x="221" y="98"/>
                  </a:lnTo>
                  <a:lnTo>
                    <a:pt x="220" y="96"/>
                  </a:lnTo>
                  <a:lnTo>
                    <a:pt x="220" y="94"/>
                  </a:lnTo>
                  <a:lnTo>
                    <a:pt x="220" y="94"/>
                  </a:lnTo>
                  <a:lnTo>
                    <a:pt x="220" y="89"/>
                  </a:lnTo>
                  <a:lnTo>
                    <a:pt x="223" y="85"/>
                  </a:lnTo>
                  <a:lnTo>
                    <a:pt x="225" y="82"/>
                  </a:lnTo>
                  <a:lnTo>
                    <a:pt x="227" y="78"/>
                  </a:lnTo>
                  <a:lnTo>
                    <a:pt x="227" y="78"/>
                  </a:lnTo>
                  <a:lnTo>
                    <a:pt x="216" y="75"/>
                  </a:lnTo>
                  <a:lnTo>
                    <a:pt x="209" y="73"/>
                  </a:lnTo>
                  <a:lnTo>
                    <a:pt x="202" y="68"/>
                  </a:lnTo>
                  <a:lnTo>
                    <a:pt x="202" y="68"/>
                  </a:lnTo>
                  <a:lnTo>
                    <a:pt x="200" y="65"/>
                  </a:lnTo>
                  <a:lnTo>
                    <a:pt x="200" y="63"/>
                  </a:lnTo>
                  <a:lnTo>
                    <a:pt x="202" y="56"/>
                  </a:lnTo>
                  <a:lnTo>
                    <a:pt x="204" y="54"/>
                  </a:lnTo>
                  <a:lnTo>
                    <a:pt x="204" y="51"/>
                  </a:lnTo>
                  <a:lnTo>
                    <a:pt x="202" y="49"/>
                  </a:lnTo>
                  <a:lnTo>
                    <a:pt x="197" y="49"/>
                  </a:lnTo>
                  <a:lnTo>
                    <a:pt x="197" y="49"/>
                  </a:lnTo>
                  <a:lnTo>
                    <a:pt x="190" y="49"/>
                  </a:lnTo>
                  <a:lnTo>
                    <a:pt x="187" y="45"/>
                  </a:lnTo>
                  <a:lnTo>
                    <a:pt x="185" y="42"/>
                  </a:lnTo>
                  <a:lnTo>
                    <a:pt x="181" y="40"/>
                  </a:lnTo>
                  <a:lnTo>
                    <a:pt x="181" y="40"/>
                  </a:lnTo>
                  <a:lnTo>
                    <a:pt x="176" y="38"/>
                  </a:lnTo>
                  <a:lnTo>
                    <a:pt x="173" y="40"/>
                  </a:lnTo>
                  <a:lnTo>
                    <a:pt x="169" y="42"/>
                  </a:lnTo>
                  <a:lnTo>
                    <a:pt x="160" y="38"/>
                  </a:lnTo>
                  <a:lnTo>
                    <a:pt x="160" y="38"/>
                  </a:lnTo>
                  <a:lnTo>
                    <a:pt x="157" y="38"/>
                  </a:lnTo>
                  <a:lnTo>
                    <a:pt x="153" y="38"/>
                  </a:lnTo>
                  <a:lnTo>
                    <a:pt x="148" y="44"/>
                  </a:lnTo>
                  <a:lnTo>
                    <a:pt x="143" y="49"/>
                  </a:lnTo>
                  <a:lnTo>
                    <a:pt x="140" y="49"/>
                  </a:lnTo>
                  <a:lnTo>
                    <a:pt x="136" y="49"/>
                  </a:lnTo>
                  <a:lnTo>
                    <a:pt x="136" y="49"/>
                  </a:lnTo>
                  <a:lnTo>
                    <a:pt x="133" y="45"/>
                  </a:lnTo>
                  <a:lnTo>
                    <a:pt x="133" y="44"/>
                  </a:lnTo>
                  <a:lnTo>
                    <a:pt x="134" y="42"/>
                  </a:lnTo>
                  <a:lnTo>
                    <a:pt x="134" y="40"/>
                  </a:lnTo>
                  <a:lnTo>
                    <a:pt x="134" y="38"/>
                  </a:lnTo>
                  <a:lnTo>
                    <a:pt x="126" y="35"/>
                  </a:lnTo>
                  <a:lnTo>
                    <a:pt x="126" y="35"/>
                  </a:lnTo>
                  <a:lnTo>
                    <a:pt x="115" y="28"/>
                  </a:lnTo>
                  <a:lnTo>
                    <a:pt x="106" y="23"/>
                  </a:lnTo>
                  <a:lnTo>
                    <a:pt x="103" y="19"/>
                  </a:lnTo>
                  <a:lnTo>
                    <a:pt x="98" y="19"/>
                  </a:lnTo>
                  <a:lnTo>
                    <a:pt x="98" y="19"/>
                  </a:lnTo>
                  <a:lnTo>
                    <a:pt x="96" y="19"/>
                  </a:lnTo>
                  <a:lnTo>
                    <a:pt x="93" y="19"/>
                  </a:lnTo>
                  <a:lnTo>
                    <a:pt x="87" y="16"/>
                  </a:lnTo>
                  <a:lnTo>
                    <a:pt x="82" y="14"/>
                  </a:lnTo>
                  <a:lnTo>
                    <a:pt x="77" y="14"/>
                  </a:lnTo>
                  <a:lnTo>
                    <a:pt x="72" y="16"/>
                  </a:lnTo>
                  <a:lnTo>
                    <a:pt x="72" y="16"/>
                  </a:lnTo>
                  <a:lnTo>
                    <a:pt x="66" y="18"/>
                  </a:lnTo>
                  <a:lnTo>
                    <a:pt x="61" y="18"/>
                  </a:lnTo>
                  <a:lnTo>
                    <a:pt x="58" y="18"/>
                  </a:lnTo>
                  <a:lnTo>
                    <a:pt x="56" y="16"/>
                  </a:lnTo>
                  <a:lnTo>
                    <a:pt x="51" y="12"/>
                  </a:lnTo>
                  <a:lnTo>
                    <a:pt x="49" y="11"/>
                  </a:lnTo>
                  <a:lnTo>
                    <a:pt x="46" y="11"/>
                  </a:lnTo>
                  <a:lnTo>
                    <a:pt x="46" y="11"/>
                  </a:lnTo>
                  <a:lnTo>
                    <a:pt x="40" y="9"/>
                  </a:lnTo>
                  <a:lnTo>
                    <a:pt x="39" y="7"/>
                  </a:lnTo>
                  <a:lnTo>
                    <a:pt x="33" y="4"/>
                  </a:lnTo>
                  <a:lnTo>
                    <a:pt x="28" y="0"/>
                  </a:lnTo>
                  <a:lnTo>
                    <a:pt x="26" y="0"/>
                  </a:lnTo>
                  <a:lnTo>
                    <a:pt x="23" y="0"/>
                  </a:lnTo>
                  <a:lnTo>
                    <a:pt x="23" y="0"/>
                  </a:lnTo>
                  <a:lnTo>
                    <a:pt x="18" y="0"/>
                  </a:lnTo>
                  <a:lnTo>
                    <a:pt x="11" y="2"/>
                  </a:lnTo>
                  <a:lnTo>
                    <a:pt x="5" y="4"/>
                  </a:lnTo>
                  <a:lnTo>
                    <a:pt x="0" y="7"/>
                  </a:lnTo>
                  <a:lnTo>
                    <a:pt x="0" y="7"/>
                  </a:lnTo>
                  <a:lnTo>
                    <a:pt x="7" y="14"/>
                  </a:lnTo>
                  <a:lnTo>
                    <a:pt x="14" y="18"/>
                  </a:lnTo>
                  <a:lnTo>
                    <a:pt x="25" y="23"/>
                  </a:lnTo>
                  <a:lnTo>
                    <a:pt x="32" y="25"/>
                  </a:lnTo>
                  <a:lnTo>
                    <a:pt x="35" y="28"/>
                  </a:lnTo>
                  <a:lnTo>
                    <a:pt x="37" y="31"/>
                  </a:lnTo>
                  <a:lnTo>
                    <a:pt x="37" y="31"/>
                  </a:lnTo>
                  <a:lnTo>
                    <a:pt x="40" y="35"/>
                  </a:lnTo>
                  <a:lnTo>
                    <a:pt x="42" y="37"/>
                  </a:lnTo>
                  <a:lnTo>
                    <a:pt x="47" y="38"/>
                  </a:lnTo>
                  <a:lnTo>
                    <a:pt x="51" y="40"/>
                  </a:lnTo>
                  <a:lnTo>
                    <a:pt x="52" y="44"/>
                  </a:lnTo>
                  <a:lnTo>
                    <a:pt x="56" y="51"/>
                  </a:lnTo>
                  <a:lnTo>
                    <a:pt x="59" y="59"/>
                  </a:lnTo>
                  <a:lnTo>
                    <a:pt x="59" y="59"/>
                  </a:lnTo>
                  <a:lnTo>
                    <a:pt x="61" y="78"/>
                  </a:lnTo>
                  <a:lnTo>
                    <a:pt x="61" y="91"/>
                  </a:lnTo>
                  <a:lnTo>
                    <a:pt x="59" y="96"/>
                  </a:lnTo>
                  <a:lnTo>
                    <a:pt x="56" y="101"/>
                  </a:lnTo>
                  <a:lnTo>
                    <a:pt x="56" y="101"/>
                  </a:lnTo>
                  <a:lnTo>
                    <a:pt x="61" y="103"/>
                  </a:lnTo>
                  <a:lnTo>
                    <a:pt x="65" y="103"/>
                  </a:lnTo>
                  <a:lnTo>
                    <a:pt x="65" y="101"/>
                  </a:lnTo>
                  <a:lnTo>
                    <a:pt x="70" y="99"/>
                  </a:lnTo>
                  <a:lnTo>
                    <a:pt x="70" y="99"/>
                  </a:lnTo>
                  <a:lnTo>
                    <a:pt x="73" y="99"/>
                  </a:lnTo>
                  <a:lnTo>
                    <a:pt x="80" y="101"/>
                  </a:lnTo>
                  <a:lnTo>
                    <a:pt x="86" y="103"/>
                  </a:lnTo>
                  <a:lnTo>
                    <a:pt x="89" y="103"/>
                  </a:lnTo>
                  <a:lnTo>
                    <a:pt x="89" y="103"/>
                  </a:lnTo>
                  <a:lnTo>
                    <a:pt x="93" y="96"/>
                  </a:lnTo>
                  <a:lnTo>
                    <a:pt x="93" y="96"/>
                  </a:lnTo>
                  <a:lnTo>
                    <a:pt x="94" y="94"/>
                  </a:lnTo>
                  <a:lnTo>
                    <a:pt x="98" y="96"/>
                  </a:lnTo>
                  <a:lnTo>
                    <a:pt x="110" y="106"/>
                  </a:lnTo>
                  <a:lnTo>
                    <a:pt x="110" y="106"/>
                  </a:lnTo>
                  <a:lnTo>
                    <a:pt x="112" y="108"/>
                  </a:lnTo>
                  <a:lnTo>
                    <a:pt x="113" y="110"/>
                  </a:lnTo>
                  <a:lnTo>
                    <a:pt x="113" y="110"/>
                  </a:lnTo>
                  <a:lnTo>
                    <a:pt x="113" y="113"/>
                  </a:lnTo>
                  <a:lnTo>
                    <a:pt x="115" y="115"/>
                  </a:lnTo>
                  <a:lnTo>
                    <a:pt x="115" y="115"/>
                  </a:lnTo>
                  <a:lnTo>
                    <a:pt x="117" y="115"/>
                  </a:lnTo>
                  <a:lnTo>
                    <a:pt x="119" y="115"/>
                  </a:lnTo>
                  <a:lnTo>
                    <a:pt x="120" y="115"/>
                  </a:lnTo>
                  <a:lnTo>
                    <a:pt x="122" y="117"/>
                  </a:lnTo>
                  <a:lnTo>
                    <a:pt x="122" y="117"/>
                  </a:lnTo>
                  <a:lnTo>
                    <a:pt x="124" y="119"/>
                  </a:lnTo>
                  <a:lnTo>
                    <a:pt x="124" y="11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0" name="Freeform 2053">
              <a:extLst>
                <a:ext uri="{FF2B5EF4-FFF2-40B4-BE49-F238E27FC236}">
                  <a16:creationId xmlns:a16="http://schemas.microsoft.com/office/drawing/2014/main" id="{22DD0AD2-5BF9-4847-BDA8-6A213D771254}"/>
                </a:ext>
              </a:extLst>
            </p:cNvPr>
            <p:cNvSpPr>
              <a:spLocks/>
            </p:cNvSpPr>
            <p:nvPr/>
          </p:nvSpPr>
          <p:spPr bwMode="auto">
            <a:xfrm>
              <a:off x="5015751" y="1311979"/>
              <a:ext cx="49335" cy="40528"/>
            </a:xfrm>
            <a:custGeom>
              <a:avLst/>
              <a:gdLst/>
              <a:ahLst/>
              <a:cxnLst>
                <a:cxn ang="0">
                  <a:pos x="3" y="2"/>
                </a:cxn>
                <a:cxn ang="0">
                  <a:pos x="3" y="2"/>
                </a:cxn>
                <a:cxn ang="0">
                  <a:pos x="9" y="0"/>
                </a:cxn>
                <a:cxn ang="0">
                  <a:pos x="14" y="4"/>
                </a:cxn>
                <a:cxn ang="0">
                  <a:pos x="17" y="7"/>
                </a:cxn>
                <a:cxn ang="0">
                  <a:pos x="21" y="12"/>
                </a:cxn>
                <a:cxn ang="0">
                  <a:pos x="28" y="23"/>
                </a:cxn>
                <a:cxn ang="0">
                  <a:pos x="31" y="26"/>
                </a:cxn>
                <a:cxn ang="0">
                  <a:pos x="37" y="28"/>
                </a:cxn>
                <a:cxn ang="0">
                  <a:pos x="37" y="28"/>
                </a:cxn>
                <a:cxn ang="0">
                  <a:pos x="42" y="30"/>
                </a:cxn>
                <a:cxn ang="0">
                  <a:pos x="47" y="33"/>
                </a:cxn>
                <a:cxn ang="0">
                  <a:pos x="52" y="40"/>
                </a:cxn>
                <a:cxn ang="0">
                  <a:pos x="57" y="45"/>
                </a:cxn>
                <a:cxn ang="0">
                  <a:pos x="59" y="49"/>
                </a:cxn>
                <a:cxn ang="0">
                  <a:pos x="57" y="51"/>
                </a:cxn>
                <a:cxn ang="0">
                  <a:pos x="57" y="51"/>
                </a:cxn>
                <a:cxn ang="0">
                  <a:pos x="52" y="49"/>
                </a:cxn>
                <a:cxn ang="0">
                  <a:pos x="40" y="44"/>
                </a:cxn>
                <a:cxn ang="0">
                  <a:pos x="40" y="44"/>
                </a:cxn>
                <a:cxn ang="0">
                  <a:pos x="33" y="38"/>
                </a:cxn>
                <a:cxn ang="0">
                  <a:pos x="26" y="37"/>
                </a:cxn>
                <a:cxn ang="0">
                  <a:pos x="23" y="37"/>
                </a:cxn>
                <a:cxn ang="0">
                  <a:pos x="21" y="37"/>
                </a:cxn>
                <a:cxn ang="0">
                  <a:pos x="19" y="38"/>
                </a:cxn>
                <a:cxn ang="0">
                  <a:pos x="17" y="37"/>
                </a:cxn>
                <a:cxn ang="0">
                  <a:pos x="12" y="30"/>
                </a:cxn>
                <a:cxn ang="0">
                  <a:pos x="12" y="30"/>
                </a:cxn>
                <a:cxn ang="0">
                  <a:pos x="2" y="9"/>
                </a:cxn>
                <a:cxn ang="0">
                  <a:pos x="0" y="5"/>
                </a:cxn>
                <a:cxn ang="0">
                  <a:pos x="3" y="2"/>
                </a:cxn>
                <a:cxn ang="0">
                  <a:pos x="3" y="2"/>
                </a:cxn>
              </a:cxnLst>
              <a:rect l="0" t="0" r="r" b="b"/>
              <a:pathLst>
                <a:path w="59" h="51">
                  <a:moveTo>
                    <a:pt x="3" y="2"/>
                  </a:moveTo>
                  <a:lnTo>
                    <a:pt x="3" y="2"/>
                  </a:lnTo>
                  <a:lnTo>
                    <a:pt x="9" y="0"/>
                  </a:lnTo>
                  <a:lnTo>
                    <a:pt x="14" y="4"/>
                  </a:lnTo>
                  <a:lnTo>
                    <a:pt x="17" y="7"/>
                  </a:lnTo>
                  <a:lnTo>
                    <a:pt x="21" y="12"/>
                  </a:lnTo>
                  <a:lnTo>
                    <a:pt x="28" y="23"/>
                  </a:lnTo>
                  <a:lnTo>
                    <a:pt x="31" y="26"/>
                  </a:lnTo>
                  <a:lnTo>
                    <a:pt x="37" y="28"/>
                  </a:lnTo>
                  <a:lnTo>
                    <a:pt x="37" y="28"/>
                  </a:lnTo>
                  <a:lnTo>
                    <a:pt x="42" y="30"/>
                  </a:lnTo>
                  <a:lnTo>
                    <a:pt x="47" y="33"/>
                  </a:lnTo>
                  <a:lnTo>
                    <a:pt x="52" y="40"/>
                  </a:lnTo>
                  <a:lnTo>
                    <a:pt x="57" y="45"/>
                  </a:lnTo>
                  <a:lnTo>
                    <a:pt x="59" y="49"/>
                  </a:lnTo>
                  <a:lnTo>
                    <a:pt x="57" y="51"/>
                  </a:lnTo>
                  <a:lnTo>
                    <a:pt x="57" y="51"/>
                  </a:lnTo>
                  <a:lnTo>
                    <a:pt x="52" y="49"/>
                  </a:lnTo>
                  <a:lnTo>
                    <a:pt x="40" y="44"/>
                  </a:lnTo>
                  <a:lnTo>
                    <a:pt x="40" y="44"/>
                  </a:lnTo>
                  <a:lnTo>
                    <a:pt x="33" y="38"/>
                  </a:lnTo>
                  <a:lnTo>
                    <a:pt x="26" y="37"/>
                  </a:lnTo>
                  <a:lnTo>
                    <a:pt x="23" y="37"/>
                  </a:lnTo>
                  <a:lnTo>
                    <a:pt x="21" y="37"/>
                  </a:lnTo>
                  <a:lnTo>
                    <a:pt x="19" y="38"/>
                  </a:lnTo>
                  <a:lnTo>
                    <a:pt x="17" y="37"/>
                  </a:lnTo>
                  <a:lnTo>
                    <a:pt x="12" y="30"/>
                  </a:lnTo>
                  <a:lnTo>
                    <a:pt x="12" y="30"/>
                  </a:lnTo>
                  <a:lnTo>
                    <a:pt x="2" y="9"/>
                  </a:lnTo>
                  <a:lnTo>
                    <a:pt x="0" y="5"/>
                  </a:lnTo>
                  <a:lnTo>
                    <a:pt x="3" y="2"/>
                  </a:lnTo>
                  <a:lnTo>
                    <a:pt x="3"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1" name="Freeform 2054">
              <a:extLst>
                <a:ext uri="{FF2B5EF4-FFF2-40B4-BE49-F238E27FC236}">
                  <a16:creationId xmlns:a16="http://schemas.microsoft.com/office/drawing/2014/main" id="{28A1F1B8-E9CD-49E7-84B1-2BB8DECE551E}"/>
                </a:ext>
              </a:extLst>
            </p:cNvPr>
            <p:cNvSpPr>
              <a:spLocks/>
            </p:cNvSpPr>
            <p:nvPr/>
          </p:nvSpPr>
          <p:spPr bwMode="auto">
            <a:xfrm>
              <a:off x="4688017" y="2235271"/>
              <a:ext cx="5285" cy="10572"/>
            </a:xfrm>
            <a:custGeom>
              <a:avLst/>
              <a:gdLst/>
              <a:ahLst/>
              <a:cxnLst>
                <a:cxn ang="0">
                  <a:pos x="2" y="12"/>
                </a:cxn>
                <a:cxn ang="0">
                  <a:pos x="2" y="12"/>
                </a:cxn>
                <a:cxn ang="0">
                  <a:pos x="0" y="9"/>
                </a:cxn>
                <a:cxn ang="0">
                  <a:pos x="2" y="5"/>
                </a:cxn>
                <a:cxn ang="0">
                  <a:pos x="2" y="5"/>
                </a:cxn>
                <a:cxn ang="0">
                  <a:pos x="4" y="4"/>
                </a:cxn>
                <a:cxn ang="0">
                  <a:pos x="4" y="2"/>
                </a:cxn>
                <a:cxn ang="0">
                  <a:pos x="5" y="0"/>
                </a:cxn>
                <a:cxn ang="0">
                  <a:pos x="5" y="0"/>
                </a:cxn>
                <a:cxn ang="0">
                  <a:pos x="7" y="2"/>
                </a:cxn>
                <a:cxn ang="0">
                  <a:pos x="7" y="4"/>
                </a:cxn>
                <a:cxn ang="0">
                  <a:pos x="7" y="5"/>
                </a:cxn>
                <a:cxn ang="0">
                  <a:pos x="5" y="7"/>
                </a:cxn>
                <a:cxn ang="0">
                  <a:pos x="5" y="7"/>
                </a:cxn>
                <a:cxn ang="0">
                  <a:pos x="5" y="9"/>
                </a:cxn>
                <a:cxn ang="0">
                  <a:pos x="4" y="12"/>
                </a:cxn>
                <a:cxn ang="0">
                  <a:pos x="4" y="14"/>
                </a:cxn>
                <a:cxn ang="0">
                  <a:pos x="2" y="12"/>
                </a:cxn>
                <a:cxn ang="0">
                  <a:pos x="2" y="12"/>
                </a:cxn>
              </a:cxnLst>
              <a:rect l="0" t="0" r="r" b="b"/>
              <a:pathLst>
                <a:path w="7" h="14">
                  <a:moveTo>
                    <a:pt x="2" y="12"/>
                  </a:moveTo>
                  <a:lnTo>
                    <a:pt x="2" y="12"/>
                  </a:lnTo>
                  <a:lnTo>
                    <a:pt x="0" y="9"/>
                  </a:lnTo>
                  <a:lnTo>
                    <a:pt x="2" y="5"/>
                  </a:lnTo>
                  <a:lnTo>
                    <a:pt x="2" y="5"/>
                  </a:lnTo>
                  <a:lnTo>
                    <a:pt x="4" y="4"/>
                  </a:lnTo>
                  <a:lnTo>
                    <a:pt x="4" y="2"/>
                  </a:lnTo>
                  <a:lnTo>
                    <a:pt x="5" y="0"/>
                  </a:lnTo>
                  <a:lnTo>
                    <a:pt x="5" y="0"/>
                  </a:lnTo>
                  <a:lnTo>
                    <a:pt x="7" y="2"/>
                  </a:lnTo>
                  <a:lnTo>
                    <a:pt x="7" y="4"/>
                  </a:lnTo>
                  <a:lnTo>
                    <a:pt x="7" y="5"/>
                  </a:lnTo>
                  <a:lnTo>
                    <a:pt x="5" y="7"/>
                  </a:lnTo>
                  <a:lnTo>
                    <a:pt x="5" y="7"/>
                  </a:lnTo>
                  <a:lnTo>
                    <a:pt x="5" y="9"/>
                  </a:lnTo>
                  <a:lnTo>
                    <a:pt x="4" y="12"/>
                  </a:lnTo>
                  <a:lnTo>
                    <a:pt x="4" y="14"/>
                  </a:lnTo>
                  <a:lnTo>
                    <a:pt x="2" y="12"/>
                  </a:lnTo>
                  <a:lnTo>
                    <a:pt x="2" y="12"/>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2" name="Freeform 2055">
              <a:extLst>
                <a:ext uri="{FF2B5EF4-FFF2-40B4-BE49-F238E27FC236}">
                  <a16:creationId xmlns:a16="http://schemas.microsoft.com/office/drawing/2014/main" id="{D2A675D7-7BAE-4DBE-901B-5EF553CE3EDB}"/>
                </a:ext>
              </a:extLst>
            </p:cNvPr>
            <p:cNvSpPr>
              <a:spLocks/>
            </p:cNvSpPr>
            <p:nvPr/>
          </p:nvSpPr>
          <p:spPr bwMode="auto">
            <a:xfrm>
              <a:off x="4540010" y="2161266"/>
              <a:ext cx="7048" cy="7048"/>
            </a:xfrm>
            <a:custGeom>
              <a:avLst/>
              <a:gdLst/>
              <a:ahLst/>
              <a:cxnLst>
                <a:cxn ang="0">
                  <a:pos x="0" y="10"/>
                </a:cxn>
                <a:cxn ang="0">
                  <a:pos x="0" y="10"/>
                </a:cxn>
                <a:cxn ang="0">
                  <a:pos x="0" y="7"/>
                </a:cxn>
                <a:cxn ang="0">
                  <a:pos x="0" y="5"/>
                </a:cxn>
                <a:cxn ang="0">
                  <a:pos x="0" y="3"/>
                </a:cxn>
                <a:cxn ang="0">
                  <a:pos x="0" y="2"/>
                </a:cxn>
                <a:cxn ang="0">
                  <a:pos x="0" y="2"/>
                </a:cxn>
                <a:cxn ang="0">
                  <a:pos x="0" y="0"/>
                </a:cxn>
                <a:cxn ang="0">
                  <a:pos x="0" y="0"/>
                </a:cxn>
                <a:cxn ang="0">
                  <a:pos x="4" y="3"/>
                </a:cxn>
                <a:cxn ang="0">
                  <a:pos x="4" y="3"/>
                </a:cxn>
                <a:cxn ang="0">
                  <a:pos x="7" y="7"/>
                </a:cxn>
                <a:cxn ang="0">
                  <a:pos x="7" y="7"/>
                </a:cxn>
                <a:cxn ang="0">
                  <a:pos x="5" y="8"/>
                </a:cxn>
                <a:cxn ang="0">
                  <a:pos x="5" y="8"/>
                </a:cxn>
                <a:cxn ang="0">
                  <a:pos x="4" y="10"/>
                </a:cxn>
                <a:cxn ang="0">
                  <a:pos x="4" y="8"/>
                </a:cxn>
                <a:cxn ang="0">
                  <a:pos x="2" y="8"/>
                </a:cxn>
                <a:cxn ang="0">
                  <a:pos x="0" y="10"/>
                </a:cxn>
                <a:cxn ang="0">
                  <a:pos x="0" y="10"/>
                </a:cxn>
              </a:cxnLst>
              <a:rect l="0" t="0" r="r" b="b"/>
              <a:pathLst>
                <a:path w="7" h="10">
                  <a:moveTo>
                    <a:pt x="0" y="10"/>
                  </a:moveTo>
                  <a:lnTo>
                    <a:pt x="0" y="10"/>
                  </a:lnTo>
                  <a:lnTo>
                    <a:pt x="0" y="7"/>
                  </a:lnTo>
                  <a:lnTo>
                    <a:pt x="0" y="5"/>
                  </a:lnTo>
                  <a:lnTo>
                    <a:pt x="0" y="3"/>
                  </a:lnTo>
                  <a:lnTo>
                    <a:pt x="0" y="2"/>
                  </a:lnTo>
                  <a:lnTo>
                    <a:pt x="0" y="2"/>
                  </a:lnTo>
                  <a:lnTo>
                    <a:pt x="0" y="0"/>
                  </a:lnTo>
                  <a:lnTo>
                    <a:pt x="0" y="0"/>
                  </a:lnTo>
                  <a:lnTo>
                    <a:pt x="4" y="3"/>
                  </a:lnTo>
                  <a:lnTo>
                    <a:pt x="4" y="3"/>
                  </a:lnTo>
                  <a:lnTo>
                    <a:pt x="7" y="7"/>
                  </a:lnTo>
                  <a:lnTo>
                    <a:pt x="7" y="7"/>
                  </a:lnTo>
                  <a:lnTo>
                    <a:pt x="5" y="8"/>
                  </a:lnTo>
                  <a:lnTo>
                    <a:pt x="5" y="8"/>
                  </a:lnTo>
                  <a:lnTo>
                    <a:pt x="4" y="10"/>
                  </a:lnTo>
                  <a:lnTo>
                    <a:pt x="4" y="8"/>
                  </a:lnTo>
                  <a:lnTo>
                    <a:pt x="2" y="8"/>
                  </a:lnTo>
                  <a:lnTo>
                    <a:pt x="0" y="10"/>
                  </a:lnTo>
                  <a:lnTo>
                    <a:pt x="0" y="1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3" name="Freeform 2056">
              <a:extLst>
                <a:ext uri="{FF2B5EF4-FFF2-40B4-BE49-F238E27FC236}">
                  <a16:creationId xmlns:a16="http://schemas.microsoft.com/office/drawing/2014/main" id="{E3BEE675-61BC-48DB-ABEB-034EA803DEA4}"/>
                </a:ext>
              </a:extLst>
            </p:cNvPr>
            <p:cNvSpPr>
              <a:spLocks/>
            </p:cNvSpPr>
            <p:nvPr/>
          </p:nvSpPr>
          <p:spPr bwMode="auto">
            <a:xfrm>
              <a:off x="4786692" y="3102175"/>
              <a:ext cx="33478" cy="26429"/>
            </a:xfrm>
            <a:custGeom>
              <a:avLst/>
              <a:gdLst/>
              <a:ahLst/>
              <a:cxnLst>
                <a:cxn ang="0">
                  <a:pos x="2" y="19"/>
                </a:cxn>
                <a:cxn ang="0">
                  <a:pos x="2" y="19"/>
                </a:cxn>
                <a:cxn ang="0">
                  <a:pos x="0" y="16"/>
                </a:cxn>
                <a:cxn ang="0">
                  <a:pos x="4" y="12"/>
                </a:cxn>
                <a:cxn ang="0">
                  <a:pos x="13" y="5"/>
                </a:cxn>
                <a:cxn ang="0">
                  <a:pos x="18" y="2"/>
                </a:cxn>
                <a:cxn ang="0">
                  <a:pos x="23" y="0"/>
                </a:cxn>
                <a:cxn ang="0">
                  <a:pos x="27" y="0"/>
                </a:cxn>
                <a:cxn ang="0">
                  <a:pos x="28" y="3"/>
                </a:cxn>
                <a:cxn ang="0">
                  <a:pos x="28" y="3"/>
                </a:cxn>
                <a:cxn ang="0">
                  <a:pos x="28" y="5"/>
                </a:cxn>
                <a:cxn ang="0">
                  <a:pos x="30" y="7"/>
                </a:cxn>
                <a:cxn ang="0">
                  <a:pos x="35" y="7"/>
                </a:cxn>
                <a:cxn ang="0">
                  <a:pos x="40" y="7"/>
                </a:cxn>
                <a:cxn ang="0">
                  <a:pos x="40" y="7"/>
                </a:cxn>
                <a:cxn ang="0">
                  <a:pos x="39" y="10"/>
                </a:cxn>
                <a:cxn ang="0">
                  <a:pos x="39" y="10"/>
                </a:cxn>
                <a:cxn ang="0">
                  <a:pos x="32" y="26"/>
                </a:cxn>
                <a:cxn ang="0">
                  <a:pos x="27" y="31"/>
                </a:cxn>
                <a:cxn ang="0">
                  <a:pos x="25" y="31"/>
                </a:cxn>
                <a:cxn ang="0">
                  <a:pos x="21" y="30"/>
                </a:cxn>
                <a:cxn ang="0">
                  <a:pos x="21" y="30"/>
                </a:cxn>
                <a:cxn ang="0">
                  <a:pos x="16" y="24"/>
                </a:cxn>
                <a:cxn ang="0">
                  <a:pos x="14" y="21"/>
                </a:cxn>
                <a:cxn ang="0">
                  <a:pos x="11" y="17"/>
                </a:cxn>
                <a:cxn ang="0">
                  <a:pos x="7" y="19"/>
                </a:cxn>
                <a:cxn ang="0">
                  <a:pos x="7" y="19"/>
                </a:cxn>
                <a:cxn ang="0">
                  <a:pos x="2" y="21"/>
                </a:cxn>
                <a:cxn ang="0">
                  <a:pos x="2" y="19"/>
                </a:cxn>
                <a:cxn ang="0">
                  <a:pos x="2" y="19"/>
                </a:cxn>
              </a:cxnLst>
              <a:rect l="0" t="0" r="r" b="b"/>
              <a:pathLst>
                <a:path w="40" h="31">
                  <a:moveTo>
                    <a:pt x="2" y="19"/>
                  </a:moveTo>
                  <a:lnTo>
                    <a:pt x="2" y="19"/>
                  </a:lnTo>
                  <a:lnTo>
                    <a:pt x="0" y="16"/>
                  </a:lnTo>
                  <a:lnTo>
                    <a:pt x="4" y="12"/>
                  </a:lnTo>
                  <a:lnTo>
                    <a:pt x="13" y="5"/>
                  </a:lnTo>
                  <a:lnTo>
                    <a:pt x="18" y="2"/>
                  </a:lnTo>
                  <a:lnTo>
                    <a:pt x="23" y="0"/>
                  </a:lnTo>
                  <a:lnTo>
                    <a:pt x="27" y="0"/>
                  </a:lnTo>
                  <a:lnTo>
                    <a:pt x="28" y="3"/>
                  </a:lnTo>
                  <a:lnTo>
                    <a:pt x="28" y="3"/>
                  </a:lnTo>
                  <a:lnTo>
                    <a:pt x="28" y="5"/>
                  </a:lnTo>
                  <a:lnTo>
                    <a:pt x="30" y="7"/>
                  </a:lnTo>
                  <a:lnTo>
                    <a:pt x="35" y="7"/>
                  </a:lnTo>
                  <a:lnTo>
                    <a:pt x="40" y="7"/>
                  </a:lnTo>
                  <a:lnTo>
                    <a:pt x="40" y="7"/>
                  </a:lnTo>
                  <a:lnTo>
                    <a:pt x="39" y="10"/>
                  </a:lnTo>
                  <a:lnTo>
                    <a:pt x="39" y="10"/>
                  </a:lnTo>
                  <a:lnTo>
                    <a:pt x="32" y="26"/>
                  </a:lnTo>
                  <a:lnTo>
                    <a:pt x="27" y="31"/>
                  </a:lnTo>
                  <a:lnTo>
                    <a:pt x="25" y="31"/>
                  </a:lnTo>
                  <a:lnTo>
                    <a:pt x="21" y="30"/>
                  </a:lnTo>
                  <a:lnTo>
                    <a:pt x="21" y="30"/>
                  </a:lnTo>
                  <a:lnTo>
                    <a:pt x="16" y="24"/>
                  </a:lnTo>
                  <a:lnTo>
                    <a:pt x="14" y="21"/>
                  </a:lnTo>
                  <a:lnTo>
                    <a:pt x="11" y="17"/>
                  </a:lnTo>
                  <a:lnTo>
                    <a:pt x="7" y="19"/>
                  </a:lnTo>
                  <a:lnTo>
                    <a:pt x="7" y="19"/>
                  </a:lnTo>
                  <a:lnTo>
                    <a:pt x="2" y="21"/>
                  </a:lnTo>
                  <a:lnTo>
                    <a:pt x="2" y="19"/>
                  </a:lnTo>
                  <a:lnTo>
                    <a:pt x="2" y="1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4" name="Freeform 2057">
              <a:extLst>
                <a:ext uri="{FF2B5EF4-FFF2-40B4-BE49-F238E27FC236}">
                  <a16:creationId xmlns:a16="http://schemas.microsoft.com/office/drawing/2014/main" id="{ACF66DDE-A0BB-499A-81F6-4717BE18C6C3}"/>
                </a:ext>
              </a:extLst>
            </p:cNvPr>
            <p:cNvSpPr>
              <a:spLocks/>
            </p:cNvSpPr>
            <p:nvPr/>
          </p:nvSpPr>
          <p:spPr bwMode="auto">
            <a:xfrm>
              <a:off x="4753209" y="3132133"/>
              <a:ext cx="12335" cy="14097"/>
            </a:xfrm>
            <a:custGeom>
              <a:avLst/>
              <a:gdLst/>
              <a:ahLst/>
              <a:cxnLst>
                <a:cxn ang="0">
                  <a:pos x="12" y="1"/>
                </a:cxn>
                <a:cxn ang="0">
                  <a:pos x="12" y="1"/>
                </a:cxn>
                <a:cxn ang="0">
                  <a:pos x="14" y="3"/>
                </a:cxn>
                <a:cxn ang="0">
                  <a:pos x="14" y="7"/>
                </a:cxn>
                <a:cxn ang="0">
                  <a:pos x="10" y="12"/>
                </a:cxn>
                <a:cxn ang="0">
                  <a:pos x="5" y="13"/>
                </a:cxn>
                <a:cxn ang="0">
                  <a:pos x="3" y="15"/>
                </a:cxn>
                <a:cxn ang="0">
                  <a:pos x="1" y="13"/>
                </a:cxn>
                <a:cxn ang="0">
                  <a:pos x="1" y="13"/>
                </a:cxn>
                <a:cxn ang="0">
                  <a:pos x="0" y="12"/>
                </a:cxn>
                <a:cxn ang="0">
                  <a:pos x="0" y="10"/>
                </a:cxn>
                <a:cxn ang="0">
                  <a:pos x="3" y="5"/>
                </a:cxn>
                <a:cxn ang="0">
                  <a:pos x="8" y="1"/>
                </a:cxn>
                <a:cxn ang="0">
                  <a:pos x="10" y="0"/>
                </a:cxn>
                <a:cxn ang="0">
                  <a:pos x="12" y="1"/>
                </a:cxn>
                <a:cxn ang="0">
                  <a:pos x="12" y="1"/>
                </a:cxn>
              </a:cxnLst>
              <a:rect l="0" t="0" r="r" b="b"/>
              <a:pathLst>
                <a:path w="14" h="15">
                  <a:moveTo>
                    <a:pt x="12" y="1"/>
                  </a:moveTo>
                  <a:lnTo>
                    <a:pt x="12" y="1"/>
                  </a:lnTo>
                  <a:lnTo>
                    <a:pt x="14" y="3"/>
                  </a:lnTo>
                  <a:lnTo>
                    <a:pt x="14" y="7"/>
                  </a:lnTo>
                  <a:lnTo>
                    <a:pt x="10" y="12"/>
                  </a:lnTo>
                  <a:lnTo>
                    <a:pt x="5" y="13"/>
                  </a:lnTo>
                  <a:lnTo>
                    <a:pt x="3" y="15"/>
                  </a:lnTo>
                  <a:lnTo>
                    <a:pt x="1" y="13"/>
                  </a:lnTo>
                  <a:lnTo>
                    <a:pt x="1" y="13"/>
                  </a:lnTo>
                  <a:lnTo>
                    <a:pt x="0" y="12"/>
                  </a:lnTo>
                  <a:lnTo>
                    <a:pt x="0" y="10"/>
                  </a:lnTo>
                  <a:lnTo>
                    <a:pt x="3" y="5"/>
                  </a:lnTo>
                  <a:lnTo>
                    <a:pt x="8" y="1"/>
                  </a:lnTo>
                  <a:lnTo>
                    <a:pt x="10" y="0"/>
                  </a:lnTo>
                  <a:lnTo>
                    <a:pt x="12" y="1"/>
                  </a:lnTo>
                  <a:lnTo>
                    <a:pt x="12" y="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5" name="Freeform 2058">
              <a:extLst>
                <a:ext uri="{FF2B5EF4-FFF2-40B4-BE49-F238E27FC236}">
                  <a16:creationId xmlns:a16="http://schemas.microsoft.com/office/drawing/2014/main" id="{95C36E56-E4E4-4875-891A-48555E0554A2}"/>
                </a:ext>
              </a:extLst>
            </p:cNvPr>
            <p:cNvSpPr>
              <a:spLocks/>
            </p:cNvSpPr>
            <p:nvPr/>
          </p:nvSpPr>
          <p:spPr bwMode="auto">
            <a:xfrm>
              <a:off x="8286021" y="4362009"/>
              <a:ext cx="5285" cy="19381"/>
            </a:xfrm>
            <a:custGeom>
              <a:avLst/>
              <a:gdLst/>
              <a:ahLst/>
              <a:cxnLst>
                <a:cxn ang="0">
                  <a:pos x="4" y="0"/>
                </a:cxn>
                <a:cxn ang="0">
                  <a:pos x="4" y="0"/>
                </a:cxn>
                <a:cxn ang="0">
                  <a:pos x="7" y="0"/>
                </a:cxn>
                <a:cxn ang="0">
                  <a:pos x="7" y="3"/>
                </a:cxn>
                <a:cxn ang="0">
                  <a:pos x="7" y="7"/>
                </a:cxn>
                <a:cxn ang="0">
                  <a:pos x="9" y="8"/>
                </a:cxn>
                <a:cxn ang="0">
                  <a:pos x="9" y="8"/>
                </a:cxn>
                <a:cxn ang="0">
                  <a:pos x="9" y="12"/>
                </a:cxn>
                <a:cxn ang="0">
                  <a:pos x="9" y="14"/>
                </a:cxn>
                <a:cxn ang="0">
                  <a:pos x="7" y="17"/>
                </a:cxn>
                <a:cxn ang="0">
                  <a:pos x="7" y="19"/>
                </a:cxn>
                <a:cxn ang="0">
                  <a:pos x="7" y="19"/>
                </a:cxn>
                <a:cxn ang="0">
                  <a:pos x="5" y="22"/>
                </a:cxn>
                <a:cxn ang="0">
                  <a:pos x="2" y="24"/>
                </a:cxn>
                <a:cxn ang="0">
                  <a:pos x="0" y="22"/>
                </a:cxn>
                <a:cxn ang="0">
                  <a:pos x="2" y="19"/>
                </a:cxn>
                <a:cxn ang="0">
                  <a:pos x="2" y="19"/>
                </a:cxn>
                <a:cxn ang="0">
                  <a:pos x="4" y="15"/>
                </a:cxn>
                <a:cxn ang="0">
                  <a:pos x="4" y="12"/>
                </a:cxn>
                <a:cxn ang="0">
                  <a:pos x="2" y="12"/>
                </a:cxn>
                <a:cxn ang="0">
                  <a:pos x="2" y="10"/>
                </a:cxn>
                <a:cxn ang="0">
                  <a:pos x="2" y="10"/>
                </a:cxn>
                <a:cxn ang="0">
                  <a:pos x="2" y="3"/>
                </a:cxn>
                <a:cxn ang="0">
                  <a:pos x="4" y="0"/>
                </a:cxn>
                <a:cxn ang="0">
                  <a:pos x="4" y="0"/>
                </a:cxn>
              </a:cxnLst>
              <a:rect l="0" t="0" r="r" b="b"/>
              <a:pathLst>
                <a:path w="9" h="24">
                  <a:moveTo>
                    <a:pt x="4" y="0"/>
                  </a:moveTo>
                  <a:lnTo>
                    <a:pt x="4" y="0"/>
                  </a:lnTo>
                  <a:lnTo>
                    <a:pt x="7" y="0"/>
                  </a:lnTo>
                  <a:lnTo>
                    <a:pt x="7" y="3"/>
                  </a:lnTo>
                  <a:lnTo>
                    <a:pt x="7" y="7"/>
                  </a:lnTo>
                  <a:lnTo>
                    <a:pt x="9" y="8"/>
                  </a:lnTo>
                  <a:lnTo>
                    <a:pt x="9" y="8"/>
                  </a:lnTo>
                  <a:lnTo>
                    <a:pt x="9" y="12"/>
                  </a:lnTo>
                  <a:lnTo>
                    <a:pt x="9" y="14"/>
                  </a:lnTo>
                  <a:lnTo>
                    <a:pt x="7" y="17"/>
                  </a:lnTo>
                  <a:lnTo>
                    <a:pt x="7" y="19"/>
                  </a:lnTo>
                  <a:lnTo>
                    <a:pt x="7" y="19"/>
                  </a:lnTo>
                  <a:lnTo>
                    <a:pt x="5" y="22"/>
                  </a:lnTo>
                  <a:lnTo>
                    <a:pt x="2" y="24"/>
                  </a:lnTo>
                  <a:lnTo>
                    <a:pt x="0" y="22"/>
                  </a:lnTo>
                  <a:lnTo>
                    <a:pt x="2" y="19"/>
                  </a:lnTo>
                  <a:lnTo>
                    <a:pt x="2" y="19"/>
                  </a:lnTo>
                  <a:lnTo>
                    <a:pt x="4" y="15"/>
                  </a:lnTo>
                  <a:lnTo>
                    <a:pt x="4" y="12"/>
                  </a:lnTo>
                  <a:lnTo>
                    <a:pt x="2" y="12"/>
                  </a:lnTo>
                  <a:lnTo>
                    <a:pt x="2" y="10"/>
                  </a:lnTo>
                  <a:lnTo>
                    <a:pt x="2" y="10"/>
                  </a:lnTo>
                  <a:lnTo>
                    <a:pt x="2" y="3"/>
                  </a:lnTo>
                  <a:lnTo>
                    <a:pt x="4" y="0"/>
                  </a:lnTo>
                  <a:lnTo>
                    <a:pt x="4"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6" name="Freeform 2059">
              <a:extLst>
                <a:ext uri="{FF2B5EF4-FFF2-40B4-BE49-F238E27FC236}">
                  <a16:creationId xmlns:a16="http://schemas.microsoft.com/office/drawing/2014/main" id="{4B66062E-871F-443C-B449-2D61264D68AF}"/>
                </a:ext>
              </a:extLst>
            </p:cNvPr>
            <p:cNvSpPr>
              <a:spLocks/>
            </p:cNvSpPr>
            <p:nvPr/>
          </p:nvSpPr>
          <p:spPr bwMode="auto">
            <a:xfrm>
              <a:off x="8960864" y="4605168"/>
              <a:ext cx="68720" cy="77529"/>
            </a:xfrm>
            <a:custGeom>
              <a:avLst/>
              <a:gdLst/>
              <a:ahLst/>
              <a:cxnLst>
                <a:cxn ang="0">
                  <a:pos x="7" y="2"/>
                </a:cxn>
                <a:cxn ang="0">
                  <a:pos x="7" y="2"/>
                </a:cxn>
                <a:cxn ang="0">
                  <a:pos x="7" y="0"/>
                </a:cxn>
                <a:cxn ang="0">
                  <a:pos x="11" y="0"/>
                </a:cxn>
                <a:cxn ang="0">
                  <a:pos x="16" y="6"/>
                </a:cxn>
                <a:cxn ang="0">
                  <a:pos x="26" y="14"/>
                </a:cxn>
                <a:cxn ang="0">
                  <a:pos x="44" y="23"/>
                </a:cxn>
                <a:cxn ang="0">
                  <a:pos x="44" y="23"/>
                </a:cxn>
                <a:cxn ang="0">
                  <a:pos x="51" y="30"/>
                </a:cxn>
                <a:cxn ang="0">
                  <a:pos x="58" y="37"/>
                </a:cxn>
                <a:cxn ang="0">
                  <a:pos x="65" y="46"/>
                </a:cxn>
                <a:cxn ang="0">
                  <a:pos x="77" y="56"/>
                </a:cxn>
                <a:cxn ang="0">
                  <a:pos x="77" y="56"/>
                </a:cxn>
                <a:cxn ang="0">
                  <a:pos x="84" y="61"/>
                </a:cxn>
                <a:cxn ang="0">
                  <a:pos x="87" y="68"/>
                </a:cxn>
                <a:cxn ang="0">
                  <a:pos x="87" y="77"/>
                </a:cxn>
                <a:cxn ang="0">
                  <a:pos x="87" y="84"/>
                </a:cxn>
                <a:cxn ang="0">
                  <a:pos x="85" y="91"/>
                </a:cxn>
                <a:cxn ang="0">
                  <a:pos x="82" y="94"/>
                </a:cxn>
                <a:cxn ang="0">
                  <a:pos x="79" y="96"/>
                </a:cxn>
                <a:cxn ang="0">
                  <a:pos x="75" y="93"/>
                </a:cxn>
                <a:cxn ang="0">
                  <a:pos x="75" y="93"/>
                </a:cxn>
                <a:cxn ang="0">
                  <a:pos x="73" y="86"/>
                </a:cxn>
                <a:cxn ang="0">
                  <a:pos x="72" y="80"/>
                </a:cxn>
                <a:cxn ang="0">
                  <a:pos x="72" y="74"/>
                </a:cxn>
                <a:cxn ang="0">
                  <a:pos x="72" y="67"/>
                </a:cxn>
                <a:cxn ang="0">
                  <a:pos x="70" y="61"/>
                </a:cxn>
                <a:cxn ang="0">
                  <a:pos x="66" y="56"/>
                </a:cxn>
                <a:cxn ang="0">
                  <a:pos x="66" y="56"/>
                </a:cxn>
                <a:cxn ang="0">
                  <a:pos x="56" y="46"/>
                </a:cxn>
                <a:cxn ang="0">
                  <a:pos x="47" y="39"/>
                </a:cxn>
                <a:cxn ang="0">
                  <a:pos x="38" y="32"/>
                </a:cxn>
                <a:cxn ang="0">
                  <a:pos x="33" y="27"/>
                </a:cxn>
                <a:cxn ang="0">
                  <a:pos x="33" y="27"/>
                </a:cxn>
                <a:cxn ang="0">
                  <a:pos x="26" y="21"/>
                </a:cxn>
                <a:cxn ang="0">
                  <a:pos x="19" y="16"/>
                </a:cxn>
                <a:cxn ang="0">
                  <a:pos x="7" y="11"/>
                </a:cxn>
                <a:cxn ang="0">
                  <a:pos x="4" y="7"/>
                </a:cxn>
                <a:cxn ang="0">
                  <a:pos x="0" y="6"/>
                </a:cxn>
                <a:cxn ang="0">
                  <a:pos x="2" y="4"/>
                </a:cxn>
                <a:cxn ang="0">
                  <a:pos x="7" y="2"/>
                </a:cxn>
                <a:cxn ang="0">
                  <a:pos x="7" y="2"/>
                </a:cxn>
              </a:cxnLst>
              <a:rect l="0" t="0" r="r" b="b"/>
              <a:pathLst>
                <a:path w="87" h="96">
                  <a:moveTo>
                    <a:pt x="7" y="2"/>
                  </a:moveTo>
                  <a:lnTo>
                    <a:pt x="7" y="2"/>
                  </a:lnTo>
                  <a:lnTo>
                    <a:pt x="7" y="0"/>
                  </a:lnTo>
                  <a:lnTo>
                    <a:pt x="11" y="0"/>
                  </a:lnTo>
                  <a:lnTo>
                    <a:pt x="16" y="6"/>
                  </a:lnTo>
                  <a:lnTo>
                    <a:pt x="26" y="14"/>
                  </a:lnTo>
                  <a:lnTo>
                    <a:pt x="44" y="23"/>
                  </a:lnTo>
                  <a:lnTo>
                    <a:pt x="44" y="23"/>
                  </a:lnTo>
                  <a:lnTo>
                    <a:pt x="51" y="30"/>
                  </a:lnTo>
                  <a:lnTo>
                    <a:pt x="58" y="37"/>
                  </a:lnTo>
                  <a:lnTo>
                    <a:pt x="65" y="46"/>
                  </a:lnTo>
                  <a:lnTo>
                    <a:pt x="77" y="56"/>
                  </a:lnTo>
                  <a:lnTo>
                    <a:pt x="77" y="56"/>
                  </a:lnTo>
                  <a:lnTo>
                    <a:pt x="84" y="61"/>
                  </a:lnTo>
                  <a:lnTo>
                    <a:pt x="87" y="68"/>
                  </a:lnTo>
                  <a:lnTo>
                    <a:pt x="87" y="77"/>
                  </a:lnTo>
                  <a:lnTo>
                    <a:pt x="87" y="84"/>
                  </a:lnTo>
                  <a:lnTo>
                    <a:pt x="85" y="91"/>
                  </a:lnTo>
                  <a:lnTo>
                    <a:pt x="82" y="94"/>
                  </a:lnTo>
                  <a:lnTo>
                    <a:pt x="79" y="96"/>
                  </a:lnTo>
                  <a:lnTo>
                    <a:pt x="75" y="93"/>
                  </a:lnTo>
                  <a:lnTo>
                    <a:pt x="75" y="93"/>
                  </a:lnTo>
                  <a:lnTo>
                    <a:pt x="73" y="86"/>
                  </a:lnTo>
                  <a:lnTo>
                    <a:pt x="72" y="80"/>
                  </a:lnTo>
                  <a:lnTo>
                    <a:pt x="72" y="74"/>
                  </a:lnTo>
                  <a:lnTo>
                    <a:pt x="72" y="67"/>
                  </a:lnTo>
                  <a:lnTo>
                    <a:pt x="70" y="61"/>
                  </a:lnTo>
                  <a:lnTo>
                    <a:pt x="66" y="56"/>
                  </a:lnTo>
                  <a:lnTo>
                    <a:pt x="66" y="56"/>
                  </a:lnTo>
                  <a:lnTo>
                    <a:pt x="56" y="46"/>
                  </a:lnTo>
                  <a:lnTo>
                    <a:pt x="47" y="39"/>
                  </a:lnTo>
                  <a:lnTo>
                    <a:pt x="38" y="32"/>
                  </a:lnTo>
                  <a:lnTo>
                    <a:pt x="33" y="27"/>
                  </a:lnTo>
                  <a:lnTo>
                    <a:pt x="33" y="27"/>
                  </a:lnTo>
                  <a:lnTo>
                    <a:pt x="26" y="21"/>
                  </a:lnTo>
                  <a:lnTo>
                    <a:pt x="19" y="16"/>
                  </a:lnTo>
                  <a:lnTo>
                    <a:pt x="7" y="11"/>
                  </a:lnTo>
                  <a:lnTo>
                    <a:pt x="4" y="7"/>
                  </a:lnTo>
                  <a:lnTo>
                    <a:pt x="0" y="6"/>
                  </a:lnTo>
                  <a:lnTo>
                    <a:pt x="2" y="4"/>
                  </a:lnTo>
                  <a:lnTo>
                    <a:pt x="7" y="2"/>
                  </a:lnTo>
                  <a:lnTo>
                    <a:pt x="7"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7" name="Freeform 2060">
              <a:extLst>
                <a:ext uri="{FF2B5EF4-FFF2-40B4-BE49-F238E27FC236}">
                  <a16:creationId xmlns:a16="http://schemas.microsoft.com/office/drawing/2014/main" id="{0F86872B-4909-4E19-ABCB-459AE2E333DC}"/>
                </a:ext>
              </a:extLst>
            </p:cNvPr>
            <p:cNvSpPr>
              <a:spLocks/>
            </p:cNvSpPr>
            <p:nvPr/>
          </p:nvSpPr>
          <p:spPr bwMode="auto">
            <a:xfrm>
              <a:off x="8953818" y="4834230"/>
              <a:ext cx="15859" cy="14097"/>
            </a:xfrm>
            <a:custGeom>
              <a:avLst/>
              <a:gdLst/>
              <a:ahLst/>
              <a:cxnLst>
                <a:cxn ang="0">
                  <a:pos x="2" y="5"/>
                </a:cxn>
                <a:cxn ang="0">
                  <a:pos x="2" y="5"/>
                </a:cxn>
                <a:cxn ang="0">
                  <a:pos x="4" y="2"/>
                </a:cxn>
                <a:cxn ang="0">
                  <a:pos x="5" y="0"/>
                </a:cxn>
                <a:cxn ang="0">
                  <a:pos x="7" y="0"/>
                </a:cxn>
                <a:cxn ang="0">
                  <a:pos x="11" y="0"/>
                </a:cxn>
                <a:cxn ang="0">
                  <a:pos x="16" y="3"/>
                </a:cxn>
                <a:cxn ang="0">
                  <a:pos x="18" y="9"/>
                </a:cxn>
                <a:cxn ang="0">
                  <a:pos x="18" y="9"/>
                </a:cxn>
                <a:cxn ang="0">
                  <a:pos x="16" y="14"/>
                </a:cxn>
                <a:cxn ang="0">
                  <a:pos x="14" y="16"/>
                </a:cxn>
                <a:cxn ang="0">
                  <a:pos x="4" y="14"/>
                </a:cxn>
                <a:cxn ang="0">
                  <a:pos x="4" y="14"/>
                </a:cxn>
                <a:cxn ang="0">
                  <a:pos x="0" y="12"/>
                </a:cxn>
                <a:cxn ang="0">
                  <a:pos x="0" y="10"/>
                </a:cxn>
                <a:cxn ang="0">
                  <a:pos x="2" y="5"/>
                </a:cxn>
              </a:cxnLst>
              <a:rect l="0" t="0" r="r" b="b"/>
              <a:pathLst>
                <a:path w="18" h="16">
                  <a:moveTo>
                    <a:pt x="2" y="5"/>
                  </a:moveTo>
                  <a:lnTo>
                    <a:pt x="2" y="5"/>
                  </a:lnTo>
                  <a:lnTo>
                    <a:pt x="4" y="2"/>
                  </a:lnTo>
                  <a:lnTo>
                    <a:pt x="5" y="0"/>
                  </a:lnTo>
                  <a:lnTo>
                    <a:pt x="7" y="0"/>
                  </a:lnTo>
                  <a:lnTo>
                    <a:pt x="11" y="0"/>
                  </a:lnTo>
                  <a:lnTo>
                    <a:pt x="16" y="3"/>
                  </a:lnTo>
                  <a:lnTo>
                    <a:pt x="18" y="9"/>
                  </a:lnTo>
                  <a:lnTo>
                    <a:pt x="18" y="9"/>
                  </a:lnTo>
                  <a:lnTo>
                    <a:pt x="16" y="14"/>
                  </a:lnTo>
                  <a:lnTo>
                    <a:pt x="14" y="16"/>
                  </a:lnTo>
                  <a:lnTo>
                    <a:pt x="4" y="14"/>
                  </a:lnTo>
                  <a:lnTo>
                    <a:pt x="4" y="14"/>
                  </a:lnTo>
                  <a:lnTo>
                    <a:pt x="0" y="12"/>
                  </a:lnTo>
                  <a:lnTo>
                    <a:pt x="0" y="10"/>
                  </a:lnTo>
                  <a:lnTo>
                    <a:pt x="2"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8" name="Freeform 2061">
              <a:extLst>
                <a:ext uri="{FF2B5EF4-FFF2-40B4-BE49-F238E27FC236}">
                  <a16:creationId xmlns:a16="http://schemas.microsoft.com/office/drawing/2014/main" id="{AF79C164-A3EC-4E4A-8D15-6A902C048204}"/>
                </a:ext>
              </a:extLst>
            </p:cNvPr>
            <p:cNvSpPr>
              <a:spLocks/>
            </p:cNvSpPr>
            <p:nvPr/>
          </p:nvSpPr>
          <p:spPr bwMode="auto">
            <a:xfrm>
              <a:off x="9212832" y="4832465"/>
              <a:ext cx="35241" cy="21144"/>
            </a:xfrm>
            <a:custGeom>
              <a:avLst/>
              <a:gdLst/>
              <a:ahLst/>
              <a:cxnLst>
                <a:cxn ang="0">
                  <a:pos x="0" y="11"/>
                </a:cxn>
                <a:cxn ang="0">
                  <a:pos x="0" y="11"/>
                </a:cxn>
                <a:cxn ang="0">
                  <a:pos x="0" y="2"/>
                </a:cxn>
                <a:cxn ang="0">
                  <a:pos x="4" y="0"/>
                </a:cxn>
                <a:cxn ang="0">
                  <a:pos x="7" y="0"/>
                </a:cxn>
                <a:cxn ang="0">
                  <a:pos x="11" y="4"/>
                </a:cxn>
                <a:cxn ang="0">
                  <a:pos x="11" y="4"/>
                </a:cxn>
                <a:cxn ang="0">
                  <a:pos x="12" y="6"/>
                </a:cxn>
                <a:cxn ang="0">
                  <a:pos x="14" y="6"/>
                </a:cxn>
                <a:cxn ang="0">
                  <a:pos x="19" y="6"/>
                </a:cxn>
                <a:cxn ang="0">
                  <a:pos x="26" y="6"/>
                </a:cxn>
                <a:cxn ang="0">
                  <a:pos x="30" y="6"/>
                </a:cxn>
                <a:cxn ang="0">
                  <a:pos x="32" y="9"/>
                </a:cxn>
                <a:cxn ang="0">
                  <a:pos x="32" y="9"/>
                </a:cxn>
                <a:cxn ang="0">
                  <a:pos x="39" y="16"/>
                </a:cxn>
                <a:cxn ang="0">
                  <a:pos x="44" y="23"/>
                </a:cxn>
                <a:cxn ang="0">
                  <a:pos x="44" y="25"/>
                </a:cxn>
                <a:cxn ang="0">
                  <a:pos x="44" y="27"/>
                </a:cxn>
                <a:cxn ang="0">
                  <a:pos x="40" y="28"/>
                </a:cxn>
                <a:cxn ang="0">
                  <a:pos x="37" y="28"/>
                </a:cxn>
                <a:cxn ang="0">
                  <a:pos x="37" y="28"/>
                </a:cxn>
                <a:cxn ang="0">
                  <a:pos x="30" y="27"/>
                </a:cxn>
                <a:cxn ang="0">
                  <a:pos x="28" y="25"/>
                </a:cxn>
                <a:cxn ang="0">
                  <a:pos x="26" y="23"/>
                </a:cxn>
                <a:cxn ang="0">
                  <a:pos x="19" y="23"/>
                </a:cxn>
                <a:cxn ang="0">
                  <a:pos x="19" y="23"/>
                </a:cxn>
                <a:cxn ang="0">
                  <a:pos x="11" y="23"/>
                </a:cxn>
                <a:cxn ang="0">
                  <a:pos x="6" y="20"/>
                </a:cxn>
                <a:cxn ang="0">
                  <a:pos x="2" y="16"/>
                </a:cxn>
                <a:cxn ang="0">
                  <a:pos x="0" y="11"/>
                </a:cxn>
                <a:cxn ang="0">
                  <a:pos x="0" y="11"/>
                </a:cxn>
              </a:cxnLst>
              <a:rect l="0" t="0" r="r" b="b"/>
              <a:pathLst>
                <a:path w="44" h="28">
                  <a:moveTo>
                    <a:pt x="0" y="11"/>
                  </a:moveTo>
                  <a:lnTo>
                    <a:pt x="0" y="11"/>
                  </a:lnTo>
                  <a:lnTo>
                    <a:pt x="0" y="2"/>
                  </a:lnTo>
                  <a:lnTo>
                    <a:pt x="4" y="0"/>
                  </a:lnTo>
                  <a:lnTo>
                    <a:pt x="7" y="0"/>
                  </a:lnTo>
                  <a:lnTo>
                    <a:pt x="11" y="4"/>
                  </a:lnTo>
                  <a:lnTo>
                    <a:pt x="11" y="4"/>
                  </a:lnTo>
                  <a:lnTo>
                    <a:pt x="12" y="6"/>
                  </a:lnTo>
                  <a:lnTo>
                    <a:pt x="14" y="6"/>
                  </a:lnTo>
                  <a:lnTo>
                    <a:pt x="19" y="6"/>
                  </a:lnTo>
                  <a:lnTo>
                    <a:pt x="26" y="6"/>
                  </a:lnTo>
                  <a:lnTo>
                    <a:pt x="30" y="6"/>
                  </a:lnTo>
                  <a:lnTo>
                    <a:pt x="32" y="9"/>
                  </a:lnTo>
                  <a:lnTo>
                    <a:pt x="32" y="9"/>
                  </a:lnTo>
                  <a:lnTo>
                    <a:pt x="39" y="16"/>
                  </a:lnTo>
                  <a:lnTo>
                    <a:pt x="44" y="23"/>
                  </a:lnTo>
                  <a:lnTo>
                    <a:pt x="44" y="25"/>
                  </a:lnTo>
                  <a:lnTo>
                    <a:pt x="44" y="27"/>
                  </a:lnTo>
                  <a:lnTo>
                    <a:pt x="40" y="28"/>
                  </a:lnTo>
                  <a:lnTo>
                    <a:pt x="37" y="28"/>
                  </a:lnTo>
                  <a:lnTo>
                    <a:pt x="37" y="28"/>
                  </a:lnTo>
                  <a:lnTo>
                    <a:pt x="30" y="27"/>
                  </a:lnTo>
                  <a:lnTo>
                    <a:pt x="28" y="25"/>
                  </a:lnTo>
                  <a:lnTo>
                    <a:pt x="26" y="23"/>
                  </a:lnTo>
                  <a:lnTo>
                    <a:pt x="19" y="23"/>
                  </a:lnTo>
                  <a:lnTo>
                    <a:pt x="19" y="23"/>
                  </a:lnTo>
                  <a:lnTo>
                    <a:pt x="11" y="23"/>
                  </a:lnTo>
                  <a:lnTo>
                    <a:pt x="6" y="20"/>
                  </a:lnTo>
                  <a:lnTo>
                    <a:pt x="2" y="16"/>
                  </a:lnTo>
                  <a:lnTo>
                    <a:pt x="0" y="11"/>
                  </a:lnTo>
                  <a:lnTo>
                    <a:pt x="0"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9" name="Freeform 2062">
              <a:extLst>
                <a:ext uri="{FF2B5EF4-FFF2-40B4-BE49-F238E27FC236}">
                  <a16:creationId xmlns:a16="http://schemas.microsoft.com/office/drawing/2014/main" id="{B1574EAC-2924-4602-A8CB-11C1DD36BFD1}"/>
                </a:ext>
              </a:extLst>
            </p:cNvPr>
            <p:cNvSpPr>
              <a:spLocks/>
            </p:cNvSpPr>
            <p:nvPr/>
          </p:nvSpPr>
          <p:spPr bwMode="auto">
            <a:xfrm>
              <a:off x="9165258" y="4807800"/>
              <a:ext cx="7048" cy="7048"/>
            </a:xfrm>
            <a:custGeom>
              <a:avLst/>
              <a:gdLst/>
              <a:ahLst/>
              <a:cxnLst>
                <a:cxn ang="0">
                  <a:pos x="9" y="9"/>
                </a:cxn>
                <a:cxn ang="0">
                  <a:pos x="9" y="9"/>
                </a:cxn>
                <a:cxn ang="0">
                  <a:pos x="4" y="9"/>
                </a:cxn>
                <a:cxn ang="0">
                  <a:pos x="2" y="9"/>
                </a:cxn>
                <a:cxn ang="0">
                  <a:pos x="0" y="5"/>
                </a:cxn>
                <a:cxn ang="0">
                  <a:pos x="2" y="2"/>
                </a:cxn>
                <a:cxn ang="0">
                  <a:pos x="2" y="2"/>
                </a:cxn>
                <a:cxn ang="0">
                  <a:pos x="4" y="0"/>
                </a:cxn>
                <a:cxn ang="0">
                  <a:pos x="6" y="0"/>
                </a:cxn>
                <a:cxn ang="0">
                  <a:pos x="9" y="2"/>
                </a:cxn>
                <a:cxn ang="0">
                  <a:pos x="11" y="5"/>
                </a:cxn>
                <a:cxn ang="0">
                  <a:pos x="11" y="7"/>
                </a:cxn>
                <a:cxn ang="0">
                  <a:pos x="9" y="9"/>
                </a:cxn>
                <a:cxn ang="0">
                  <a:pos x="9" y="9"/>
                </a:cxn>
              </a:cxnLst>
              <a:rect l="0" t="0" r="r" b="b"/>
              <a:pathLst>
                <a:path w="11" h="9">
                  <a:moveTo>
                    <a:pt x="9" y="9"/>
                  </a:moveTo>
                  <a:lnTo>
                    <a:pt x="9" y="9"/>
                  </a:lnTo>
                  <a:lnTo>
                    <a:pt x="4" y="9"/>
                  </a:lnTo>
                  <a:lnTo>
                    <a:pt x="2" y="9"/>
                  </a:lnTo>
                  <a:lnTo>
                    <a:pt x="0" y="5"/>
                  </a:lnTo>
                  <a:lnTo>
                    <a:pt x="2" y="2"/>
                  </a:lnTo>
                  <a:lnTo>
                    <a:pt x="2" y="2"/>
                  </a:lnTo>
                  <a:lnTo>
                    <a:pt x="4" y="0"/>
                  </a:lnTo>
                  <a:lnTo>
                    <a:pt x="6" y="0"/>
                  </a:lnTo>
                  <a:lnTo>
                    <a:pt x="9" y="2"/>
                  </a:lnTo>
                  <a:lnTo>
                    <a:pt x="11" y="5"/>
                  </a:lnTo>
                  <a:lnTo>
                    <a:pt x="11" y="7"/>
                  </a:lnTo>
                  <a:lnTo>
                    <a:pt x="9" y="9"/>
                  </a:lnTo>
                  <a:lnTo>
                    <a:pt x="9"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0" name="Freeform 2063">
              <a:extLst>
                <a:ext uri="{FF2B5EF4-FFF2-40B4-BE49-F238E27FC236}">
                  <a16:creationId xmlns:a16="http://schemas.microsoft.com/office/drawing/2014/main" id="{40A6CC8D-00A1-4532-8E02-4FB26FA61B80}"/>
                </a:ext>
              </a:extLst>
            </p:cNvPr>
            <p:cNvSpPr>
              <a:spLocks/>
            </p:cNvSpPr>
            <p:nvPr/>
          </p:nvSpPr>
          <p:spPr bwMode="auto">
            <a:xfrm>
              <a:off x="7804992" y="4279196"/>
              <a:ext cx="269587" cy="209679"/>
            </a:xfrm>
            <a:custGeom>
              <a:avLst/>
              <a:gdLst/>
              <a:ahLst/>
              <a:cxnLst>
                <a:cxn ang="0">
                  <a:pos x="185" y="94"/>
                </a:cxn>
                <a:cxn ang="0">
                  <a:pos x="187" y="111"/>
                </a:cxn>
                <a:cxn ang="0">
                  <a:pos x="176" y="123"/>
                </a:cxn>
                <a:cxn ang="0">
                  <a:pos x="168" y="115"/>
                </a:cxn>
                <a:cxn ang="0">
                  <a:pos x="157" y="101"/>
                </a:cxn>
                <a:cxn ang="0">
                  <a:pos x="143" y="130"/>
                </a:cxn>
                <a:cxn ang="0">
                  <a:pos x="115" y="167"/>
                </a:cxn>
                <a:cxn ang="0">
                  <a:pos x="67" y="183"/>
                </a:cxn>
                <a:cxn ang="0">
                  <a:pos x="61" y="196"/>
                </a:cxn>
                <a:cxn ang="0">
                  <a:pos x="58" y="205"/>
                </a:cxn>
                <a:cxn ang="0">
                  <a:pos x="54" y="223"/>
                </a:cxn>
                <a:cxn ang="0">
                  <a:pos x="56" y="238"/>
                </a:cxn>
                <a:cxn ang="0">
                  <a:pos x="34" y="228"/>
                </a:cxn>
                <a:cxn ang="0">
                  <a:pos x="28" y="221"/>
                </a:cxn>
                <a:cxn ang="0">
                  <a:pos x="20" y="224"/>
                </a:cxn>
                <a:cxn ang="0">
                  <a:pos x="2" y="216"/>
                </a:cxn>
                <a:cxn ang="0">
                  <a:pos x="4" y="233"/>
                </a:cxn>
                <a:cxn ang="0">
                  <a:pos x="30" y="257"/>
                </a:cxn>
                <a:cxn ang="0">
                  <a:pos x="63" y="252"/>
                </a:cxn>
                <a:cxn ang="0">
                  <a:pos x="87" y="249"/>
                </a:cxn>
                <a:cxn ang="0">
                  <a:pos x="101" y="231"/>
                </a:cxn>
                <a:cxn ang="0">
                  <a:pos x="126" y="237"/>
                </a:cxn>
                <a:cxn ang="0">
                  <a:pos x="152" y="238"/>
                </a:cxn>
                <a:cxn ang="0">
                  <a:pos x="178" y="231"/>
                </a:cxn>
                <a:cxn ang="0">
                  <a:pos x="185" y="205"/>
                </a:cxn>
                <a:cxn ang="0">
                  <a:pos x="197" y="188"/>
                </a:cxn>
                <a:cxn ang="0">
                  <a:pos x="199" y="169"/>
                </a:cxn>
                <a:cxn ang="0">
                  <a:pos x="209" y="162"/>
                </a:cxn>
                <a:cxn ang="0">
                  <a:pos x="222" y="115"/>
                </a:cxn>
                <a:cxn ang="0">
                  <a:pos x="262" y="113"/>
                </a:cxn>
                <a:cxn ang="0">
                  <a:pos x="281" y="120"/>
                </a:cxn>
                <a:cxn ang="0">
                  <a:pos x="289" y="115"/>
                </a:cxn>
                <a:cxn ang="0">
                  <a:pos x="312" y="113"/>
                </a:cxn>
                <a:cxn ang="0">
                  <a:pos x="305" y="95"/>
                </a:cxn>
                <a:cxn ang="0">
                  <a:pos x="312" y="85"/>
                </a:cxn>
                <a:cxn ang="0">
                  <a:pos x="340" y="75"/>
                </a:cxn>
                <a:cxn ang="0">
                  <a:pos x="331" y="68"/>
                </a:cxn>
                <a:cxn ang="0">
                  <a:pos x="319" y="61"/>
                </a:cxn>
                <a:cxn ang="0">
                  <a:pos x="303" y="52"/>
                </a:cxn>
                <a:cxn ang="0">
                  <a:pos x="295" y="52"/>
                </a:cxn>
                <a:cxn ang="0">
                  <a:pos x="296" y="40"/>
                </a:cxn>
                <a:cxn ang="0">
                  <a:pos x="284" y="35"/>
                </a:cxn>
                <a:cxn ang="0">
                  <a:pos x="277" y="17"/>
                </a:cxn>
                <a:cxn ang="0">
                  <a:pos x="267" y="0"/>
                </a:cxn>
                <a:cxn ang="0">
                  <a:pos x="256" y="17"/>
                </a:cxn>
                <a:cxn ang="0">
                  <a:pos x="255" y="0"/>
                </a:cxn>
                <a:cxn ang="0">
                  <a:pos x="241" y="22"/>
                </a:cxn>
                <a:cxn ang="0">
                  <a:pos x="229" y="42"/>
                </a:cxn>
                <a:cxn ang="0">
                  <a:pos x="222" y="59"/>
                </a:cxn>
                <a:cxn ang="0">
                  <a:pos x="209" y="62"/>
                </a:cxn>
                <a:cxn ang="0">
                  <a:pos x="211" y="78"/>
                </a:cxn>
                <a:cxn ang="0">
                  <a:pos x="199" y="87"/>
                </a:cxn>
                <a:cxn ang="0">
                  <a:pos x="202" y="108"/>
                </a:cxn>
                <a:cxn ang="0">
                  <a:pos x="195" y="111"/>
                </a:cxn>
              </a:cxnLst>
              <a:rect l="0" t="0" r="r" b="b"/>
              <a:pathLst>
                <a:path w="340" h="259">
                  <a:moveTo>
                    <a:pt x="192" y="89"/>
                  </a:moveTo>
                  <a:lnTo>
                    <a:pt x="192" y="89"/>
                  </a:lnTo>
                  <a:lnTo>
                    <a:pt x="190" y="92"/>
                  </a:lnTo>
                  <a:lnTo>
                    <a:pt x="188" y="92"/>
                  </a:lnTo>
                  <a:lnTo>
                    <a:pt x="187" y="92"/>
                  </a:lnTo>
                  <a:lnTo>
                    <a:pt x="185" y="94"/>
                  </a:lnTo>
                  <a:lnTo>
                    <a:pt x="185" y="94"/>
                  </a:lnTo>
                  <a:lnTo>
                    <a:pt x="183" y="97"/>
                  </a:lnTo>
                  <a:lnTo>
                    <a:pt x="183" y="102"/>
                  </a:lnTo>
                  <a:lnTo>
                    <a:pt x="187" y="108"/>
                  </a:lnTo>
                  <a:lnTo>
                    <a:pt x="187" y="108"/>
                  </a:lnTo>
                  <a:lnTo>
                    <a:pt x="187" y="111"/>
                  </a:lnTo>
                  <a:lnTo>
                    <a:pt x="185" y="116"/>
                  </a:lnTo>
                  <a:lnTo>
                    <a:pt x="183" y="123"/>
                  </a:lnTo>
                  <a:lnTo>
                    <a:pt x="180" y="125"/>
                  </a:lnTo>
                  <a:lnTo>
                    <a:pt x="180" y="125"/>
                  </a:lnTo>
                  <a:lnTo>
                    <a:pt x="178" y="125"/>
                  </a:lnTo>
                  <a:lnTo>
                    <a:pt x="176" y="123"/>
                  </a:lnTo>
                  <a:lnTo>
                    <a:pt x="175" y="120"/>
                  </a:lnTo>
                  <a:lnTo>
                    <a:pt x="173" y="116"/>
                  </a:lnTo>
                  <a:lnTo>
                    <a:pt x="171" y="116"/>
                  </a:lnTo>
                  <a:lnTo>
                    <a:pt x="171" y="116"/>
                  </a:lnTo>
                  <a:lnTo>
                    <a:pt x="168" y="116"/>
                  </a:lnTo>
                  <a:lnTo>
                    <a:pt x="168" y="115"/>
                  </a:lnTo>
                  <a:lnTo>
                    <a:pt x="168" y="111"/>
                  </a:lnTo>
                  <a:lnTo>
                    <a:pt x="166" y="106"/>
                  </a:lnTo>
                  <a:lnTo>
                    <a:pt x="162" y="104"/>
                  </a:lnTo>
                  <a:lnTo>
                    <a:pt x="159" y="102"/>
                  </a:lnTo>
                  <a:lnTo>
                    <a:pt x="159" y="102"/>
                  </a:lnTo>
                  <a:lnTo>
                    <a:pt x="157" y="101"/>
                  </a:lnTo>
                  <a:lnTo>
                    <a:pt x="155" y="102"/>
                  </a:lnTo>
                  <a:lnTo>
                    <a:pt x="155" y="111"/>
                  </a:lnTo>
                  <a:lnTo>
                    <a:pt x="155" y="111"/>
                  </a:lnTo>
                  <a:lnTo>
                    <a:pt x="154" y="116"/>
                  </a:lnTo>
                  <a:lnTo>
                    <a:pt x="152" y="122"/>
                  </a:lnTo>
                  <a:lnTo>
                    <a:pt x="143" y="130"/>
                  </a:lnTo>
                  <a:lnTo>
                    <a:pt x="133" y="143"/>
                  </a:lnTo>
                  <a:lnTo>
                    <a:pt x="129" y="151"/>
                  </a:lnTo>
                  <a:lnTo>
                    <a:pt x="126" y="158"/>
                  </a:lnTo>
                  <a:lnTo>
                    <a:pt x="126" y="158"/>
                  </a:lnTo>
                  <a:lnTo>
                    <a:pt x="122" y="163"/>
                  </a:lnTo>
                  <a:lnTo>
                    <a:pt x="115" y="167"/>
                  </a:lnTo>
                  <a:lnTo>
                    <a:pt x="98" y="170"/>
                  </a:lnTo>
                  <a:lnTo>
                    <a:pt x="79" y="174"/>
                  </a:lnTo>
                  <a:lnTo>
                    <a:pt x="72" y="176"/>
                  </a:lnTo>
                  <a:lnTo>
                    <a:pt x="68" y="179"/>
                  </a:lnTo>
                  <a:lnTo>
                    <a:pt x="68" y="179"/>
                  </a:lnTo>
                  <a:lnTo>
                    <a:pt x="67" y="183"/>
                  </a:lnTo>
                  <a:lnTo>
                    <a:pt x="67" y="186"/>
                  </a:lnTo>
                  <a:lnTo>
                    <a:pt x="67" y="193"/>
                  </a:lnTo>
                  <a:lnTo>
                    <a:pt x="67" y="198"/>
                  </a:lnTo>
                  <a:lnTo>
                    <a:pt x="65" y="198"/>
                  </a:lnTo>
                  <a:lnTo>
                    <a:pt x="61" y="196"/>
                  </a:lnTo>
                  <a:lnTo>
                    <a:pt x="61" y="196"/>
                  </a:lnTo>
                  <a:lnTo>
                    <a:pt x="60" y="195"/>
                  </a:lnTo>
                  <a:lnTo>
                    <a:pt x="58" y="195"/>
                  </a:lnTo>
                  <a:lnTo>
                    <a:pt x="56" y="198"/>
                  </a:lnTo>
                  <a:lnTo>
                    <a:pt x="56" y="202"/>
                  </a:lnTo>
                  <a:lnTo>
                    <a:pt x="58" y="205"/>
                  </a:lnTo>
                  <a:lnTo>
                    <a:pt x="58" y="205"/>
                  </a:lnTo>
                  <a:lnTo>
                    <a:pt x="60" y="207"/>
                  </a:lnTo>
                  <a:lnTo>
                    <a:pt x="60" y="209"/>
                  </a:lnTo>
                  <a:lnTo>
                    <a:pt x="58" y="210"/>
                  </a:lnTo>
                  <a:lnTo>
                    <a:pt x="56" y="217"/>
                  </a:lnTo>
                  <a:lnTo>
                    <a:pt x="56" y="217"/>
                  </a:lnTo>
                  <a:lnTo>
                    <a:pt x="54" y="223"/>
                  </a:lnTo>
                  <a:lnTo>
                    <a:pt x="53" y="226"/>
                  </a:lnTo>
                  <a:lnTo>
                    <a:pt x="51" y="228"/>
                  </a:lnTo>
                  <a:lnTo>
                    <a:pt x="54" y="233"/>
                  </a:lnTo>
                  <a:lnTo>
                    <a:pt x="54" y="233"/>
                  </a:lnTo>
                  <a:lnTo>
                    <a:pt x="56" y="237"/>
                  </a:lnTo>
                  <a:lnTo>
                    <a:pt x="56" y="238"/>
                  </a:lnTo>
                  <a:lnTo>
                    <a:pt x="49" y="233"/>
                  </a:lnTo>
                  <a:lnTo>
                    <a:pt x="49" y="233"/>
                  </a:lnTo>
                  <a:lnTo>
                    <a:pt x="44" y="231"/>
                  </a:lnTo>
                  <a:lnTo>
                    <a:pt x="39" y="230"/>
                  </a:lnTo>
                  <a:lnTo>
                    <a:pt x="35" y="230"/>
                  </a:lnTo>
                  <a:lnTo>
                    <a:pt x="34" y="228"/>
                  </a:lnTo>
                  <a:lnTo>
                    <a:pt x="34" y="226"/>
                  </a:lnTo>
                  <a:lnTo>
                    <a:pt x="34" y="226"/>
                  </a:lnTo>
                  <a:lnTo>
                    <a:pt x="35" y="223"/>
                  </a:lnTo>
                  <a:lnTo>
                    <a:pt x="34" y="223"/>
                  </a:lnTo>
                  <a:lnTo>
                    <a:pt x="32" y="223"/>
                  </a:lnTo>
                  <a:lnTo>
                    <a:pt x="28" y="221"/>
                  </a:lnTo>
                  <a:lnTo>
                    <a:pt x="28" y="221"/>
                  </a:lnTo>
                  <a:lnTo>
                    <a:pt x="27" y="219"/>
                  </a:lnTo>
                  <a:lnTo>
                    <a:pt x="27" y="221"/>
                  </a:lnTo>
                  <a:lnTo>
                    <a:pt x="25" y="223"/>
                  </a:lnTo>
                  <a:lnTo>
                    <a:pt x="20" y="224"/>
                  </a:lnTo>
                  <a:lnTo>
                    <a:pt x="20" y="224"/>
                  </a:lnTo>
                  <a:lnTo>
                    <a:pt x="16" y="224"/>
                  </a:lnTo>
                  <a:lnTo>
                    <a:pt x="11" y="221"/>
                  </a:lnTo>
                  <a:lnTo>
                    <a:pt x="6" y="217"/>
                  </a:lnTo>
                  <a:lnTo>
                    <a:pt x="4" y="210"/>
                  </a:lnTo>
                  <a:lnTo>
                    <a:pt x="4" y="210"/>
                  </a:lnTo>
                  <a:lnTo>
                    <a:pt x="2" y="216"/>
                  </a:lnTo>
                  <a:lnTo>
                    <a:pt x="0" y="219"/>
                  </a:lnTo>
                  <a:lnTo>
                    <a:pt x="2" y="223"/>
                  </a:lnTo>
                  <a:lnTo>
                    <a:pt x="2" y="223"/>
                  </a:lnTo>
                  <a:lnTo>
                    <a:pt x="4" y="226"/>
                  </a:lnTo>
                  <a:lnTo>
                    <a:pt x="4" y="230"/>
                  </a:lnTo>
                  <a:lnTo>
                    <a:pt x="4" y="233"/>
                  </a:lnTo>
                  <a:lnTo>
                    <a:pt x="7" y="235"/>
                  </a:lnTo>
                  <a:lnTo>
                    <a:pt x="7" y="235"/>
                  </a:lnTo>
                  <a:lnTo>
                    <a:pt x="13" y="238"/>
                  </a:lnTo>
                  <a:lnTo>
                    <a:pt x="18" y="243"/>
                  </a:lnTo>
                  <a:lnTo>
                    <a:pt x="30" y="257"/>
                  </a:lnTo>
                  <a:lnTo>
                    <a:pt x="30" y="257"/>
                  </a:lnTo>
                  <a:lnTo>
                    <a:pt x="34" y="259"/>
                  </a:lnTo>
                  <a:lnTo>
                    <a:pt x="37" y="259"/>
                  </a:lnTo>
                  <a:lnTo>
                    <a:pt x="44" y="256"/>
                  </a:lnTo>
                  <a:lnTo>
                    <a:pt x="51" y="252"/>
                  </a:lnTo>
                  <a:lnTo>
                    <a:pt x="58" y="252"/>
                  </a:lnTo>
                  <a:lnTo>
                    <a:pt x="63" y="252"/>
                  </a:lnTo>
                  <a:lnTo>
                    <a:pt x="63" y="252"/>
                  </a:lnTo>
                  <a:lnTo>
                    <a:pt x="75" y="254"/>
                  </a:lnTo>
                  <a:lnTo>
                    <a:pt x="81" y="254"/>
                  </a:lnTo>
                  <a:lnTo>
                    <a:pt x="84" y="250"/>
                  </a:lnTo>
                  <a:lnTo>
                    <a:pt x="87" y="249"/>
                  </a:lnTo>
                  <a:lnTo>
                    <a:pt x="87" y="249"/>
                  </a:lnTo>
                  <a:lnTo>
                    <a:pt x="91" y="249"/>
                  </a:lnTo>
                  <a:lnTo>
                    <a:pt x="91" y="245"/>
                  </a:lnTo>
                  <a:lnTo>
                    <a:pt x="93" y="240"/>
                  </a:lnTo>
                  <a:lnTo>
                    <a:pt x="94" y="237"/>
                  </a:lnTo>
                  <a:lnTo>
                    <a:pt x="96" y="233"/>
                  </a:lnTo>
                  <a:lnTo>
                    <a:pt x="101" y="231"/>
                  </a:lnTo>
                  <a:lnTo>
                    <a:pt x="110" y="230"/>
                  </a:lnTo>
                  <a:lnTo>
                    <a:pt x="110" y="230"/>
                  </a:lnTo>
                  <a:lnTo>
                    <a:pt x="119" y="231"/>
                  </a:lnTo>
                  <a:lnTo>
                    <a:pt x="122" y="233"/>
                  </a:lnTo>
                  <a:lnTo>
                    <a:pt x="122" y="235"/>
                  </a:lnTo>
                  <a:lnTo>
                    <a:pt x="126" y="237"/>
                  </a:lnTo>
                  <a:lnTo>
                    <a:pt x="126" y="237"/>
                  </a:lnTo>
                  <a:lnTo>
                    <a:pt x="138" y="242"/>
                  </a:lnTo>
                  <a:lnTo>
                    <a:pt x="145" y="243"/>
                  </a:lnTo>
                  <a:lnTo>
                    <a:pt x="148" y="242"/>
                  </a:lnTo>
                  <a:lnTo>
                    <a:pt x="152" y="238"/>
                  </a:lnTo>
                  <a:lnTo>
                    <a:pt x="152" y="238"/>
                  </a:lnTo>
                  <a:lnTo>
                    <a:pt x="154" y="237"/>
                  </a:lnTo>
                  <a:lnTo>
                    <a:pt x="159" y="235"/>
                  </a:lnTo>
                  <a:lnTo>
                    <a:pt x="166" y="235"/>
                  </a:lnTo>
                  <a:lnTo>
                    <a:pt x="173" y="235"/>
                  </a:lnTo>
                  <a:lnTo>
                    <a:pt x="176" y="233"/>
                  </a:lnTo>
                  <a:lnTo>
                    <a:pt x="178" y="231"/>
                  </a:lnTo>
                  <a:lnTo>
                    <a:pt x="178" y="231"/>
                  </a:lnTo>
                  <a:lnTo>
                    <a:pt x="183" y="217"/>
                  </a:lnTo>
                  <a:lnTo>
                    <a:pt x="185" y="214"/>
                  </a:lnTo>
                  <a:lnTo>
                    <a:pt x="185" y="209"/>
                  </a:lnTo>
                  <a:lnTo>
                    <a:pt x="185" y="209"/>
                  </a:lnTo>
                  <a:lnTo>
                    <a:pt x="185" y="205"/>
                  </a:lnTo>
                  <a:lnTo>
                    <a:pt x="187" y="202"/>
                  </a:lnTo>
                  <a:lnTo>
                    <a:pt x="192" y="196"/>
                  </a:lnTo>
                  <a:lnTo>
                    <a:pt x="197" y="191"/>
                  </a:lnTo>
                  <a:lnTo>
                    <a:pt x="199" y="190"/>
                  </a:lnTo>
                  <a:lnTo>
                    <a:pt x="197" y="188"/>
                  </a:lnTo>
                  <a:lnTo>
                    <a:pt x="197" y="188"/>
                  </a:lnTo>
                  <a:lnTo>
                    <a:pt x="195" y="186"/>
                  </a:lnTo>
                  <a:lnTo>
                    <a:pt x="195" y="184"/>
                  </a:lnTo>
                  <a:lnTo>
                    <a:pt x="195" y="174"/>
                  </a:lnTo>
                  <a:lnTo>
                    <a:pt x="195" y="174"/>
                  </a:lnTo>
                  <a:lnTo>
                    <a:pt x="197" y="170"/>
                  </a:lnTo>
                  <a:lnTo>
                    <a:pt x="199" y="169"/>
                  </a:lnTo>
                  <a:lnTo>
                    <a:pt x="204" y="169"/>
                  </a:lnTo>
                  <a:lnTo>
                    <a:pt x="206" y="169"/>
                  </a:lnTo>
                  <a:lnTo>
                    <a:pt x="208" y="169"/>
                  </a:lnTo>
                  <a:lnTo>
                    <a:pt x="209" y="165"/>
                  </a:lnTo>
                  <a:lnTo>
                    <a:pt x="209" y="162"/>
                  </a:lnTo>
                  <a:lnTo>
                    <a:pt x="209" y="162"/>
                  </a:lnTo>
                  <a:lnTo>
                    <a:pt x="209" y="149"/>
                  </a:lnTo>
                  <a:lnTo>
                    <a:pt x="211" y="139"/>
                  </a:lnTo>
                  <a:lnTo>
                    <a:pt x="213" y="129"/>
                  </a:lnTo>
                  <a:lnTo>
                    <a:pt x="218" y="118"/>
                  </a:lnTo>
                  <a:lnTo>
                    <a:pt x="218" y="118"/>
                  </a:lnTo>
                  <a:lnTo>
                    <a:pt x="222" y="115"/>
                  </a:lnTo>
                  <a:lnTo>
                    <a:pt x="225" y="113"/>
                  </a:lnTo>
                  <a:lnTo>
                    <a:pt x="230" y="111"/>
                  </a:lnTo>
                  <a:lnTo>
                    <a:pt x="235" y="111"/>
                  </a:lnTo>
                  <a:lnTo>
                    <a:pt x="246" y="113"/>
                  </a:lnTo>
                  <a:lnTo>
                    <a:pt x="253" y="113"/>
                  </a:lnTo>
                  <a:lnTo>
                    <a:pt x="262" y="113"/>
                  </a:lnTo>
                  <a:lnTo>
                    <a:pt x="262" y="113"/>
                  </a:lnTo>
                  <a:lnTo>
                    <a:pt x="265" y="111"/>
                  </a:lnTo>
                  <a:lnTo>
                    <a:pt x="269" y="111"/>
                  </a:lnTo>
                  <a:lnTo>
                    <a:pt x="274" y="115"/>
                  </a:lnTo>
                  <a:lnTo>
                    <a:pt x="281" y="120"/>
                  </a:lnTo>
                  <a:lnTo>
                    <a:pt x="281" y="120"/>
                  </a:lnTo>
                  <a:lnTo>
                    <a:pt x="284" y="118"/>
                  </a:lnTo>
                  <a:lnTo>
                    <a:pt x="284" y="118"/>
                  </a:lnTo>
                  <a:lnTo>
                    <a:pt x="284" y="113"/>
                  </a:lnTo>
                  <a:lnTo>
                    <a:pt x="284" y="111"/>
                  </a:lnTo>
                  <a:lnTo>
                    <a:pt x="289" y="115"/>
                  </a:lnTo>
                  <a:lnTo>
                    <a:pt x="289" y="115"/>
                  </a:lnTo>
                  <a:lnTo>
                    <a:pt x="295" y="116"/>
                  </a:lnTo>
                  <a:lnTo>
                    <a:pt x="298" y="116"/>
                  </a:lnTo>
                  <a:lnTo>
                    <a:pt x="302" y="115"/>
                  </a:lnTo>
                  <a:lnTo>
                    <a:pt x="307" y="113"/>
                  </a:lnTo>
                  <a:lnTo>
                    <a:pt x="307" y="113"/>
                  </a:lnTo>
                  <a:lnTo>
                    <a:pt x="312" y="113"/>
                  </a:lnTo>
                  <a:lnTo>
                    <a:pt x="317" y="111"/>
                  </a:lnTo>
                  <a:lnTo>
                    <a:pt x="317" y="109"/>
                  </a:lnTo>
                  <a:lnTo>
                    <a:pt x="317" y="108"/>
                  </a:lnTo>
                  <a:lnTo>
                    <a:pt x="312" y="102"/>
                  </a:lnTo>
                  <a:lnTo>
                    <a:pt x="312" y="102"/>
                  </a:lnTo>
                  <a:lnTo>
                    <a:pt x="305" y="95"/>
                  </a:lnTo>
                  <a:lnTo>
                    <a:pt x="302" y="92"/>
                  </a:lnTo>
                  <a:lnTo>
                    <a:pt x="303" y="89"/>
                  </a:lnTo>
                  <a:lnTo>
                    <a:pt x="307" y="85"/>
                  </a:lnTo>
                  <a:lnTo>
                    <a:pt x="307" y="85"/>
                  </a:lnTo>
                  <a:lnTo>
                    <a:pt x="309" y="83"/>
                  </a:lnTo>
                  <a:lnTo>
                    <a:pt x="312" y="85"/>
                  </a:lnTo>
                  <a:lnTo>
                    <a:pt x="314" y="87"/>
                  </a:lnTo>
                  <a:lnTo>
                    <a:pt x="323" y="85"/>
                  </a:lnTo>
                  <a:lnTo>
                    <a:pt x="323" y="85"/>
                  </a:lnTo>
                  <a:lnTo>
                    <a:pt x="331" y="83"/>
                  </a:lnTo>
                  <a:lnTo>
                    <a:pt x="336" y="80"/>
                  </a:lnTo>
                  <a:lnTo>
                    <a:pt x="340" y="75"/>
                  </a:lnTo>
                  <a:lnTo>
                    <a:pt x="340" y="69"/>
                  </a:lnTo>
                  <a:lnTo>
                    <a:pt x="340" y="69"/>
                  </a:lnTo>
                  <a:lnTo>
                    <a:pt x="340" y="68"/>
                  </a:lnTo>
                  <a:lnTo>
                    <a:pt x="338" y="66"/>
                  </a:lnTo>
                  <a:lnTo>
                    <a:pt x="335" y="66"/>
                  </a:lnTo>
                  <a:lnTo>
                    <a:pt x="331" y="68"/>
                  </a:lnTo>
                  <a:lnTo>
                    <a:pt x="330" y="66"/>
                  </a:lnTo>
                  <a:lnTo>
                    <a:pt x="328" y="64"/>
                  </a:lnTo>
                  <a:lnTo>
                    <a:pt x="328" y="64"/>
                  </a:lnTo>
                  <a:lnTo>
                    <a:pt x="324" y="62"/>
                  </a:lnTo>
                  <a:lnTo>
                    <a:pt x="323" y="61"/>
                  </a:lnTo>
                  <a:lnTo>
                    <a:pt x="319" y="61"/>
                  </a:lnTo>
                  <a:lnTo>
                    <a:pt x="317" y="57"/>
                  </a:lnTo>
                  <a:lnTo>
                    <a:pt x="317" y="57"/>
                  </a:lnTo>
                  <a:lnTo>
                    <a:pt x="314" y="54"/>
                  </a:lnTo>
                  <a:lnTo>
                    <a:pt x="310" y="50"/>
                  </a:lnTo>
                  <a:lnTo>
                    <a:pt x="305" y="50"/>
                  </a:lnTo>
                  <a:lnTo>
                    <a:pt x="303" y="52"/>
                  </a:lnTo>
                  <a:lnTo>
                    <a:pt x="303" y="52"/>
                  </a:lnTo>
                  <a:lnTo>
                    <a:pt x="298" y="55"/>
                  </a:lnTo>
                  <a:lnTo>
                    <a:pt x="296" y="55"/>
                  </a:lnTo>
                  <a:lnTo>
                    <a:pt x="295" y="54"/>
                  </a:lnTo>
                  <a:lnTo>
                    <a:pt x="295" y="54"/>
                  </a:lnTo>
                  <a:lnTo>
                    <a:pt x="295" y="52"/>
                  </a:lnTo>
                  <a:lnTo>
                    <a:pt x="296" y="50"/>
                  </a:lnTo>
                  <a:lnTo>
                    <a:pt x="298" y="48"/>
                  </a:lnTo>
                  <a:lnTo>
                    <a:pt x="298" y="43"/>
                  </a:lnTo>
                  <a:lnTo>
                    <a:pt x="298" y="43"/>
                  </a:lnTo>
                  <a:lnTo>
                    <a:pt x="296" y="42"/>
                  </a:lnTo>
                  <a:lnTo>
                    <a:pt x="296" y="40"/>
                  </a:lnTo>
                  <a:lnTo>
                    <a:pt x="291" y="42"/>
                  </a:lnTo>
                  <a:lnTo>
                    <a:pt x="288" y="43"/>
                  </a:lnTo>
                  <a:lnTo>
                    <a:pt x="286" y="43"/>
                  </a:lnTo>
                  <a:lnTo>
                    <a:pt x="284" y="42"/>
                  </a:lnTo>
                  <a:lnTo>
                    <a:pt x="284" y="42"/>
                  </a:lnTo>
                  <a:lnTo>
                    <a:pt x="284" y="35"/>
                  </a:lnTo>
                  <a:lnTo>
                    <a:pt x="284" y="29"/>
                  </a:lnTo>
                  <a:lnTo>
                    <a:pt x="286" y="24"/>
                  </a:lnTo>
                  <a:lnTo>
                    <a:pt x="283" y="19"/>
                  </a:lnTo>
                  <a:lnTo>
                    <a:pt x="283" y="19"/>
                  </a:lnTo>
                  <a:lnTo>
                    <a:pt x="279" y="15"/>
                  </a:lnTo>
                  <a:lnTo>
                    <a:pt x="277" y="17"/>
                  </a:lnTo>
                  <a:lnTo>
                    <a:pt x="277" y="17"/>
                  </a:lnTo>
                  <a:lnTo>
                    <a:pt x="276" y="17"/>
                  </a:lnTo>
                  <a:lnTo>
                    <a:pt x="272" y="15"/>
                  </a:lnTo>
                  <a:lnTo>
                    <a:pt x="270" y="8"/>
                  </a:lnTo>
                  <a:lnTo>
                    <a:pt x="269" y="1"/>
                  </a:lnTo>
                  <a:lnTo>
                    <a:pt x="267" y="0"/>
                  </a:lnTo>
                  <a:lnTo>
                    <a:pt x="265" y="0"/>
                  </a:lnTo>
                  <a:lnTo>
                    <a:pt x="265" y="0"/>
                  </a:lnTo>
                  <a:lnTo>
                    <a:pt x="263" y="3"/>
                  </a:lnTo>
                  <a:lnTo>
                    <a:pt x="262" y="7"/>
                  </a:lnTo>
                  <a:lnTo>
                    <a:pt x="260" y="12"/>
                  </a:lnTo>
                  <a:lnTo>
                    <a:pt x="256" y="17"/>
                  </a:lnTo>
                  <a:lnTo>
                    <a:pt x="256" y="17"/>
                  </a:lnTo>
                  <a:lnTo>
                    <a:pt x="255" y="17"/>
                  </a:lnTo>
                  <a:lnTo>
                    <a:pt x="255" y="17"/>
                  </a:lnTo>
                  <a:lnTo>
                    <a:pt x="255" y="10"/>
                  </a:lnTo>
                  <a:lnTo>
                    <a:pt x="256" y="1"/>
                  </a:lnTo>
                  <a:lnTo>
                    <a:pt x="255" y="0"/>
                  </a:lnTo>
                  <a:lnTo>
                    <a:pt x="253" y="0"/>
                  </a:lnTo>
                  <a:lnTo>
                    <a:pt x="253" y="0"/>
                  </a:lnTo>
                  <a:lnTo>
                    <a:pt x="249" y="0"/>
                  </a:lnTo>
                  <a:lnTo>
                    <a:pt x="249" y="5"/>
                  </a:lnTo>
                  <a:lnTo>
                    <a:pt x="246" y="12"/>
                  </a:lnTo>
                  <a:lnTo>
                    <a:pt x="241" y="22"/>
                  </a:lnTo>
                  <a:lnTo>
                    <a:pt x="241" y="22"/>
                  </a:lnTo>
                  <a:lnTo>
                    <a:pt x="235" y="33"/>
                  </a:lnTo>
                  <a:lnTo>
                    <a:pt x="232" y="35"/>
                  </a:lnTo>
                  <a:lnTo>
                    <a:pt x="230" y="36"/>
                  </a:lnTo>
                  <a:lnTo>
                    <a:pt x="229" y="42"/>
                  </a:lnTo>
                  <a:lnTo>
                    <a:pt x="229" y="42"/>
                  </a:lnTo>
                  <a:lnTo>
                    <a:pt x="227" y="48"/>
                  </a:lnTo>
                  <a:lnTo>
                    <a:pt x="225" y="50"/>
                  </a:lnTo>
                  <a:lnTo>
                    <a:pt x="223" y="52"/>
                  </a:lnTo>
                  <a:lnTo>
                    <a:pt x="223" y="54"/>
                  </a:lnTo>
                  <a:lnTo>
                    <a:pt x="223" y="54"/>
                  </a:lnTo>
                  <a:lnTo>
                    <a:pt x="222" y="59"/>
                  </a:lnTo>
                  <a:lnTo>
                    <a:pt x="220" y="62"/>
                  </a:lnTo>
                  <a:lnTo>
                    <a:pt x="216" y="62"/>
                  </a:lnTo>
                  <a:lnTo>
                    <a:pt x="215" y="62"/>
                  </a:lnTo>
                  <a:lnTo>
                    <a:pt x="215" y="62"/>
                  </a:lnTo>
                  <a:lnTo>
                    <a:pt x="213" y="61"/>
                  </a:lnTo>
                  <a:lnTo>
                    <a:pt x="209" y="62"/>
                  </a:lnTo>
                  <a:lnTo>
                    <a:pt x="204" y="69"/>
                  </a:lnTo>
                  <a:lnTo>
                    <a:pt x="204" y="69"/>
                  </a:lnTo>
                  <a:lnTo>
                    <a:pt x="204" y="71"/>
                  </a:lnTo>
                  <a:lnTo>
                    <a:pt x="206" y="71"/>
                  </a:lnTo>
                  <a:lnTo>
                    <a:pt x="209" y="75"/>
                  </a:lnTo>
                  <a:lnTo>
                    <a:pt x="211" y="78"/>
                  </a:lnTo>
                  <a:lnTo>
                    <a:pt x="211" y="82"/>
                  </a:lnTo>
                  <a:lnTo>
                    <a:pt x="208" y="85"/>
                  </a:lnTo>
                  <a:lnTo>
                    <a:pt x="208" y="85"/>
                  </a:lnTo>
                  <a:lnTo>
                    <a:pt x="204" y="87"/>
                  </a:lnTo>
                  <a:lnTo>
                    <a:pt x="202" y="87"/>
                  </a:lnTo>
                  <a:lnTo>
                    <a:pt x="199" y="87"/>
                  </a:lnTo>
                  <a:lnTo>
                    <a:pt x="195" y="90"/>
                  </a:lnTo>
                  <a:lnTo>
                    <a:pt x="195" y="90"/>
                  </a:lnTo>
                  <a:lnTo>
                    <a:pt x="199" y="95"/>
                  </a:lnTo>
                  <a:lnTo>
                    <a:pt x="201" y="99"/>
                  </a:lnTo>
                  <a:lnTo>
                    <a:pt x="201" y="102"/>
                  </a:lnTo>
                  <a:lnTo>
                    <a:pt x="202" y="108"/>
                  </a:lnTo>
                  <a:lnTo>
                    <a:pt x="202" y="108"/>
                  </a:lnTo>
                  <a:lnTo>
                    <a:pt x="204" y="113"/>
                  </a:lnTo>
                  <a:lnTo>
                    <a:pt x="204" y="115"/>
                  </a:lnTo>
                  <a:lnTo>
                    <a:pt x="197" y="111"/>
                  </a:lnTo>
                  <a:lnTo>
                    <a:pt x="197" y="111"/>
                  </a:lnTo>
                  <a:lnTo>
                    <a:pt x="195" y="111"/>
                  </a:lnTo>
                  <a:lnTo>
                    <a:pt x="194" y="108"/>
                  </a:lnTo>
                  <a:lnTo>
                    <a:pt x="192" y="92"/>
                  </a:lnTo>
                  <a:lnTo>
                    <a:pt x="192" y="8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1" name="Freeform 2064">
              <a:extLst>
                <a:ext uri="{FF2B5EF4-FFF2-40B4-BE49-F238E27FC236}">
                  <a16:creationId xmlns:a16="http://schemas.microsoft.com/office/drawing/2014/main" id="{B0BDE33D-68AB-4EB6-8997-06E11575C408}"/>
                </a:ext>
              </a:extLst>
            </p:cNvPr>
            <p:cNvSpPr>
              <a:spLocks/>
            </p:cNvSpPr>
            <p:nvPr/>
          </p:nvSpPr>
          <p:spPr bwMode="auto">
            <a:xfrm>
              <a:off x="7537173" y="4288008"/>
              <a:ext cx="118055" cy="186773"/>
            </a:xfrm>
            <a:custGeom>
              <a:avLst/>
              <a:gdLst/>
              <a:ahLst/>
              <a:cxnLst>
                <a:cxn ang="0">
                  <a:pos x="76" y="23"/>
                </a:cxn>
                <a:cxn ang="0">
                  <a:pos x="81" y="32"/>
                </a:cxn>
                <a:cxn ang="0">
                  <a:pos x="97" y="53"/>
                </a:cxn>
                <a:cxn ang="0">
                  <a:pos x="116" y="77"/>
                </a:cxn>
                <a:cxn ang="0">
                  <a:pos x="118" y="101"/>
                </a:cxn>
                <a:cxn ang="0">
                  <a:pos x="116" y="115"/>
                </a:cxn>
                <a:cxn ang="0">
                  <a:pos x="115" y="129"/>
                </a:cxn>
                <a:cxn ang="0">
                  <a:pos x="118" y="138"/>
                </a:cxn>
                <a:cxn ang="0">
                  <a:pos x="116" y="157"/>
                </a:cxn>
                <a:cxn ang="0">
                  <a:pos x="125" y="173"/>
                </a:cxn>
                <a:cxn ang="0">
                  <a:pos x="132" y="182"/>
                </a:cxn>
                <a:cxn ang="0">
                  <a:pos x="139" y="204"/>
                </a:cxn>
                <a:cxn ang="0">
                  <a:pos x="144" y="215"/>
                </a:cxn>
                <a:cxn ang="0">
                  <a:pos x="144" y="230"/>
                </a:cxn>
                <a:cxn ang="0">
                  <a:pos x="139" y="229"/>
                </a:cxn>
                <a:cxn ang="0">
                  <a:pos x="139" y="222"/>
                </a:cxn>
                <a:cxn ang="0">
                  <a:pos x="135" y="223"/>
                </a:cxn>
                <a:cxn ang="0">
                  <a:pos x="130" y="227"/>
                </a:cxn>
                <a:cxn ang="0">
                  <a:pos x="120" y="230"/>
                </a:cxn>
                <a:cxn ang="0">
                  <a:pos x="116" y="227"/>
                </a:cxn>
                <a:cxn ang="0">
                  <a:pos x="106" y="218"/>
                </a:cxn>
                <a:cxn ang="0">
                  <a:pos x="78" y="197"/>
                </a:cxn>
                <a:cxn ang="0">
                  <a:pos x="59" y="180"/>
                </a:cxn>
                <a:cxn ang="0">
                  <a:pos x="41" y="166"/>
                </a:cxn>
                <a:cxn ang="0">
                  <a:pos x="43" y="155"/>
                </a:cxn>
                <a:cxn ang="0">
                  <a:pos x="33" y="136"/>
                </a:cxn>
                <a:cxn ang="0">
                  <a:pos x="20" y="117"/>
                </a:cxn>
                <a:cxn ang="0">
                  <a:pos x="19" y="112"/>
                </a:cxn>
                <a:cxn ang="0">
                  <a:pos x="15" y="96"/>
                </a:cxn>
                <a:cxn ang="0">
                  <a:pos x="14" y="81"/>
                </a:cxn>
                <a:cxn ang="0">
                  <a:pos x="8" y="72"/>
                </a:cxn>
                <a:cxn ang="0">
                  <a:pos x="12" y="60"/>
                </a:cxn>
                <a:cxn ang="0">
                  <a:pos x="5" y="21"/>
                </a:cxn>
                <a:cxn ang="0">
                  <a:pos x="1" y="6"/>
                </a:cxn>
                <a:cxn ang="0">
                  <a:pos x="5" y="0"/>
                </a:cxn>
                <a:cxn ang="0">
                  <a:pos x="10" y="7"/>
                </a:cxn>
                <a:cxn ang="0">
                  <a:pos x="22" y="11"/>
                </a:cxn>
                <a:cxn ang="0">
                  <a:pos x="24" y="16"/>
                </a:cxn>
                <a:cxn ang="0">
                  <a:pos x="31" y="20"/>
                </a:cxn>
                <a:cxn ang="0">
                  <a:pos x="36" y="21"/>
                </a:cxn>
                <a:cxn ang="0">
                  <a:pos x="33" y="35"/>
                </a:cxn>
                <a:cxn ang="0">
                  <a:pos x="33" y="46"/>
                </a:cxn>
                <a:cxn ang="0">
                  <a:pos x="38" y="46"/>
                </a:cxn>
                <a:cxn ang="0">
                  <a:pos x="50" y="35"/>
                </a:cxn>
                <a:cxn ang="0">
                  <a:pos x="59" y="42"/>
                </a:cxn>
                <a:cxn ang="0">
                  <a:pos x="66" y="35"/>
                </a:cxn>
              </a:cxnLst>
              <a:rect l="0" t="0" r="r" b="b"/>
              <a:pathLst>
                <a:path w="146" h="232">
                  <a:moveTo>
                    <a:pt x="69" y="21"/>
                  </a:moveTo>
                  <a:lnTo>
                    <a:pt x="69" y="21"/>
                  </a:lnTo>
                  <a:lnTo>
                    <a:pt x="76" y="23"/>
                  </a:lnTo>
                  <a:lnTo>
                    <a:pt x="80" y="27"/>
                  </a:lnTo>
                  <a:lnTo>
                    <a:pt x="81" y="32"/>
                  </a:lnTo>
                  <a:lnTo>
                    <a:pt x="81" y="32"/>
                  </a:lnTo>
                  <a:lnTo>
                    <a:pt x="83" y="37"/>
                  </a:lnTo>
                  <a:lnTo>
                    <a:pt x="88" y="40"/>
                  </a:lnTo>
                  <a:lnTo>
                    <a:pt x="97" y="53"/>
                  </a:lnTo>
                  <a:lnTo>
                    <a:pt x="108" y="63"/>
                  </a:lnTo>
                  <a:lnTo>
                    <a:pt x="113" y="70"/>
                  </a:lnTo>
                  <a:lnTo>
                    <a:pt x="116" y="77"/>
                  </a:lnTo>
                  <a:lnTo>
                    <a:pt x="116" y="77"/>
                  </a:lnTo>
                  <a:lnTo>
                    <a:pt x="118" y="91"/>
                  </a:lnTo>
                  <a:lnTo>
                    <a:pt x="118" y="101"/>
                  </a:lnTo>
                  <a:lnTo>
                    <a:pt x="116" y="110"/>
                  </a:lnTo>
                  <a:lnTo>
                    <a:pt x="116" y="115"/>
                  </a:lnTo>
                  <a:lnTo>
                    <a:pt x="116" y="115"/>
                  </a:lnTo>
                  <a:lnTo>
                    <a:pt x="116" y="119"/>
                  </a:lnTo>
                  <a:lnTo>
                    <a:pt x="115" y="124"/>
                  </a:lnTo>
                  <a:lnTo>
                    <a:pt x="115" y="129"/>
                  </a:lnTo>
                  <a:lnTo>
                    <a:pt x="116" y="135"/>
                  </a:lnTo>
                  <a:lnTo>
                    <a:pt x="116" y="135"/>
                  </a:lnTo>
                  <a:lnTo>
                    <a:pt x="118" y="138"/>
                  </a:lnTo>
                  <a:lnTo>
                    <a:pt x="118" y="141"/>
                  </a:lnTo>
                  <a:lnTo>
                    <a:pt x="116" y="152"/>
                  </a:lnTo>
                  <a:lnTo>
                    <a:pt x="116" y="157"/>
                  </a:lnTo>
                  <a:lnTo>
                    <a:pt x="116" y="162"/>
                  </a:lnTo>
                  <a:lnTo>
                    <a:pt x="120" y="168"/>
                  </a:lnTo>
                  <a:lnTo>
                    <a:pt x="125" y="173"/>
                  </a:lnTo>
                  <a:lnTo>
                    <a:pt x="125" y="173"/>
                  </a:lnTo>
                  <a:lnTo>
                    <a:pt x="130" y="176"/>
                  </a:lnTo>
                  <a:lnTo>
                    <a:pt x="132" y="182"/>
                  </a:lnTo>
                  <a:lnTo>
                    <a:pt x="135" y="190"/>
                  </a:lnTo>
                  <a:lnTo>
                    <a:pt x="137" y="201"/>
                  </a:lnTo>
                  <a:lnTo>
                    <a:pt x="139" y="204"/>
                  </a:lnTo>
                  <a:lnTo>
                    <a:pt x="141" y="208"/>
                  </a:lnTo>
                  <a:lnTo>
                    <a:pt x="141" y="208"/>
                  </a:lnTo>
                  <a:lnTo>
                    <a:pt x="144" y="215"/>
                  </a:lnTo>
                  <a:lnTo>
                    <a:pt x="146" y="222"/>
                  </a:lnTo>
                  <a:lnTo>
                    <a:pt x="146" y="229"/>
                  </a:lnTo>
                  <a:lnTo>
                    <a:pt x="144" y="230"/>
                  </a:lnTo>
                  <a:lnTo>
                    <a:pt x="142" y="230"/>
                  </a:lnTo>
                  <a:lnTo>
                    <a:pt x="142" y="230"/>
                  </a:lnTo>
                  <a:lnTo>
                    <a:pt x="139" y="229"/>
                  </a:lnTo>
                  <a:lnTo>
                    <a:pt x="141" y="225"/>
                  </a:lnTo>
                  <a:lnTo>
                    <a:pt x="141" y="223"/>
                  </a:lnTo>
                  <a:lnTo>
                    <a:pt x="139" y="222"/>
                  </a:lnTo>
                  <a:lnTo>
                    <a:pt x="139" y="222"/>
                  </a:lnTo>
                  <a:lnTo>
                    <a:pt x="135" y="222"/>
                  </a:lnTo>
                  <a:lnTo>
                    <a:pt x="135" y="223"/>
                  </a:lnTo>
                  <a:lnTo>
                    <a:pt x="134" y="227"/>
                  </a:lnTo>
                  <a:lnTo>
                    <a:pt x="130" y="227"/>
                  </a:lnTo>
                  <a:lnTo>
                    <a:pt x="130" y="227"/>
                  </a:lnTo>
                  <a:lnTo>
                    <a:pt x="127" y="225"/>
                  </a:lnTo>
                  <a:lnTo>
                    <a:pt x="123" y="227"/>
                  </a:lnTo>
                  <a:lnTo>
                    <a:pt x="120" y="230"/>
                  </a:lnTo>
                  <a:lnTo>
                    <a:pt x="118" y="232"/>
                  </a:lnTo>
                  <a:lnTo>
                    <a:pt x="116" y="227"/>
                  </a:lnTo>
                  <a:lnTo>
                    <a:pt x="116" y="227"/>
                  </a:lnTo>
                  <a:lnTo>
                    <a:pt x="113" y="223"/>
                  </a:lnTo>
                  <a:lnTo>
                    <a:pt x="111" y="220"/>
                  </a:lnTo>
                  <a:lnTo>
                    <a:pt x="106" y="218"/>
                  </a:lnTo>
                  <a:lnTo>
                    <a:pt x="95" y="211"/>
                  </a:lnTo>
                  <a:lnTo>
                    <a:pt x="88" y="206"/>
                  </a:lnTo>
                  <a:lnTo>
                    <a:pt x="78" y="197"/>
                  </a:lnTo>
                  <a:lnTo>
                    <a:pt x="78" y="197"/>
                  </a:lnTo>
                  <a:lnTo>
                    <a:pt x="68" y="187"/>
                  </a:lnTo>
                  <a:lnTo>
                    <a:pt x="59" y="180"/>
                  </a:lnTo>
                  <a:lnTo>
                    <a:pt x="47" y="171"/>
                  </a:lnTo>
                  <a:lnTo>
                    <a:pt x="41" y="168"/>
                  </a:lnTo>
                  <a:lnTo>
                    <a:pt x="41" y="166"/>
                  </a:lnTo>
                  <a:lnTo>
                    <a:pt x="41" y="162"/>
                  </a:lnTo>
                  <a:lnTo>
                    <a:pt x="41" y="162"/>
                  </a:lnTo>
                  <a:lnTo>
                    <a:pt x="43" y="155"/>
                  </a:lnTo>
                  <a:lnTo>
                    <a:pt x="40" y="148"/>
                  </a:lnTo>
                  <a:lnTo>
                    <a:pt x="36" y="141"/>
                  </a:lnTo>
                  <a:lnTo>
                    <a:pt x="33" y="136"/>
                  </a:lnTo>
                  <a:lnTo>
                    <a:pt x="24" y="126"/>
                  </a:lnTo>
                  <a:lnTo>
                    <a:pt x="20" y="121"/>
                  </a:lnTo>
                  <a:lnTo>
                    <a:pt x="20" y="117"/>
                  </a:lnTo>
                  <a:lnTo>
                    <a:pt x="20" y="117"/>
                  </a:lnTo>
                  <a:lnTo>
                    <a:pt x="20" y="114"/>
                  </a:lnTo>
                  <a:lnTo>
                    <a:pt x="19" y="112"/>
                  </a:lnTo>
                  <a:lnTo>
                    <a:pt x="15" y="108"/>
                  </a:lnTo>
                  <a:lnTo>
                    <a:pt x="15" y="96"/>
                  </a:lnTo>
                  <a:lnTo>
                    <a:pt x="15" y="96"/>
                  </a:lnTo>
                  <a:lnTo>
                    <a:pt x="17" y="89"/>
                  </a:lnTo>
                  <a:lnTo>
                    <a:pt x="15" y="84"/>
                  </a:lnTo>
                  <a:lnTo>
                    <a:pt x="14" y="81"/>
                  </a:lnTo>
                  <a:lnTo>
                    <a:pt x="12" y="79"/>
                  </a:lnTo>
                  <a:lnTo>
                    <a:pt x="10" y="74"/>
                  </a:lnTo>
                  <a:lnTo>
                    <a:pt x="8" y="72"/>
                  </a:lnTo>
                  <a:lnTo>
                    <a:pt x="10" y="68"/>
                  </a:lnTo>
                  <a:lnTo>
                    <a:pt x="10" y="68"/>
                  </a:lnTo>
                  <a:lnTo>
                    <a:pt x="12" y="60"/>
                  </a:lnTo>
                  <a:lnTo>
                    <a:pt x="10" y="46"/>
                  </a:lnTo>
                  <a:lnTo>
                    <a:pt x="7" y="30"/>
                  </a:lnTo>
                  <a:lnTo>
                    <a:pt x="5" y="21"/>
                  </a:lnTo>
                  <a:lnTo>
                    <a:pt x="0" y="14"/>
                  </a:lnTo>
                  <a:lnTo>
                    <a:pt x="0" y="14"/>
                  </a:lnTo>
                  <a:lnTo>
                    <a:pt x="1" y="6"/>
                  </a:lnTo>
                  <a:lnTo>
                    <a:pt x="3" y="2"/>
                  </a:lnTo>
                  <a:lnTo>
                    <a:pt x="5" y="0"/>
                  </a:lnTo>
                  <a:lnTo>
                    <a:pt x="5" y="0"/>
                  </a:lnTo>
                  <a:lnTo>
                    <a:pt x="8" y="6"/>
                  </a:lnTo>
                  <a:lnTo>
                    <a:pt x="8" y="6"/>
                  </a:lnTo>
                  <a:lnTo>
                    <a:pt x="10" y="7"/>
                  </a:lnTo>
                  <a:lnTo>
                    <a:pt x="12" y="9"/>
                  </a:lnTo>
                  <a:lnTo>
                    <a:pt x="17" y="9"/>
                  </a:lnTo>
                  <a:lnTo>
                    <a:pt x="22" y="11"/>
                  </a:lnTo>
                  <a:lnTo>
                    <a:pt x="24" y="13"/>
                  </a:lnTo>
                  <a:lnTo>
                    <a:pt x="24" y="16"/>
                  </a:lnTo>
                  <a:lnTo>
                    <a:pt x="24" y="16"/>
                  </a:lnTo>
                  <a:lnTo>
                    <a:pt x="26" y="20"/>
                  </a:lnTo>
                  <a:lnTo>
                    <a:pt x="27" y="20"/>
                  </a:lnTo>
                  <a:lnTo>
                    <a:pt x="31" y="20"/>
                  </a:lnTo>
                  <a:lnTo>
                    <a:pt x="34" y="20"/>
                  </a:lnTo>
                  <a:lnTo>
                    <a:pt x="34" y="20"/>
                  </a:lnTo>
                  <a:lnTo>
                    <a:pt x="36" y="21"/>
                  </a:lnTo>
                  <a:lnTo>
                    <a:pt x="36" y="21"/>
                  </a:lnTo>
                  <a:lnTo>
                    <a:pt x="34" y="28"/>
                  </a:lnTo>
                  <a:lnTo>
                    <a:pt x="33" y="35"/>
                  </a:lnTo>
                  <a:lnTo>
                    <a:pt x="31" y="40"/>
                  </a:lnTo>
                  <a:lnTo>
                    <a:pt x="31" y="44"/>
                  </a:lnTo>
                  <a:lnTo>
                    <a:pt x="33" y="46"/>
                  </a:lnTo>
                  <a:lnTo>
                    <a:pt x="33" y="46"/>
                  </a:lnTo>
                  <a:lnTo>
                    <a:pt x="36" y="47"/>
                  </a:lnTo>
                  <a:lnTo>
                    <a:pt x="38" y="46"/>
                  </a:lnTo>
                  <a:lnTo>
                    <a:pt x="43" y="40"/>
                  </a:lnTo>
                  <a:lnTo>
                    <a:pt x="48" y="35"/>
                  </a:lnTo>
                  <a:lnTo>
                    <a:pt x="50" y="35"/>
                  </a:lnTo>
                  <a:lnTo>
                    <a:pt x="54" y="37"/>
                  </a:lnTo>
                  <a:lnTo>
                    <a:pt x="54" y="37"/>
                  </a:lnTo>
                  <a:lnTo>
                    <a:pt x="59" y="42"/>
                  </a:lnTo>
                  <a:lnTo>
                    <a:pt x="61" y="42"/>
                  </a:lnTo>
                  <a:lnTo>
                    <a:pt x="62" y="40"/>
                  </a:lnTo>
                  <a:lnTo>
                    <a:pt x="66" y="35"/>
                  </a:lnTo>
                  <a:lnTo>
                    <a:pt x="69" y="21"/>
                  </a:lnTo>
                  <a:lnTo>
                    <a:pt x="69"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2" name="Freeform 2065">
              <a:extLst>
                <a:ext uri="{FF2B5EF4-FFF2-40B4-BE49-F238E27FC236}">
                  <a16:creationId xmlns:a16="http://schemas.microsoft.com/office/drawing/2014/main" id="{068030B5-DF80-4485-B886-4781C9F68CC2}"/>
                </a:ext>
              </a:extLst>
            </p:cNvPr>
            <p:cNvSpPr>
              <a:spLocks/>
            </p:cNvSpPr>
            <p:nvPr/>
          </p:nvSpPr>
          <p:spPr bwMode="auto">
            <a:xfrm>
              <a:off x="8314212" y="3588490"/>
              <a:ext cx="21144" cy="24668"/>
            </a:xfrm>
            <a:custGeom>
              <a:avLst/>
              <a:gdLst/>
              <a:ahLst/>
              <a:cxnLst>
                <a:cxn ang="0">
                  <a:pos x="0" y="26"/>
                </a:cxn>
                <a:cxn ang="0">
                  <a:pos x="0" y="26"/>
                </a:cxn>
                <a:cxn ang="0">
                  <a:pos x="3" y="18"/>
                </a:cxn>
                <a:cxn ang="0">
                  <a:pos x="7" y="12"/>
                </a:cxn>
                <a:cxn ang="0">
                  <a:pos x="15" y="4"/>
                </a:cxn>
                <a:cxn ang="0">
                  <a:pos x="15" y="4"/>
                </a:cxn>
                <a:cxn ang="0">
                  <a:pos x="21" y="0"/>
                </a:cxn>
                <a:cxn ang="0">
                  <a:pos x="24" y="0"/>
                </a:cxn>
                <a:cxn ang="0">
                  <a:pos x="24" y="4"/>
                </a:cxn>
                <a:cxn ang="0">
                  <a:pos x="19" y="11"/>
                </a:cxn>
                <a:cxn ang="0">
                  <a:pos x="19" y="11"/>
                </a:cxn>
                <a:cxn ang="0">
                  <a:pos x="8" y="21"/>
                </a:cxn>
                <a:cxn ang="0">
                  <a:pos x="7" y="25"/>
                </a:cxn>
                <a:cxn ang="0">
                  <a:pos x="7" y="28"/>
                </a:cxn>
                <a:cxn ang="0">
                  <a:pos x="7" y="28"/>
                </a:cxn>
                <a:cxn ang="0">
                  <a:pos x="5" y="31"/>
                </a:cxn>
                <a:cxn ang="0">
                  <a:pos x="1" y="31"/>
                </a:cxn>
                <a:cxn ang="0">
                  <a:pos x="0" y="30"/>
                </a:cxn>
                <a:cxn ang="0">
                  <a:pos x="0" y="26"/>
                </a:cxn>
              </a:cxnLst>
              <a:rect l="0" t="0" r="r" b="b"/>
              <a:pathLst>
                <a:path w="24" h="31">
                  <a:moveTo>
                    <a:pt x="0" y="26"/>
                  </a:moveTo>
                  <a:lnTo>
                    <a:pt x="0" y="26"/>
                  </a:lnTo>
                  <a:lnTo>
                    <a:pt x="3" y="18"/>
                  </a:lnTo>
                  <a:lnTo>
                    <a:pt x="7" y="12"/>
                  </a:lnTo>
                  <a:lnTo>
                    <a:pt x="15" y="4"/>
                  </a:lnTo>
                  <a:lnTo>
                    <a:pt x="15" y="4"/>
                  </a:lnTo>
                  <a:lnTo>
                    <a:pt x="21" y="0"/>
                  </a:lnTo>
                  <a:lnTo>
                    <a:pt x="24" y="0"/>
                  </a:lnTo>
                  <a:lnTo>
                    <a:pt x="24" y="4"/>
                  </a:lnTo>
                  <a:lnTo>
                    <a:pt x="19" y="11"/>
                  </a:lnTo>
                  <a:lnTo>
                    <a:pt x="19" y="11"/>
                  </a:lnTo>
                  <a:lnTo>
                    <a:pt x="8" y="21"/>
                  </a:lnTo>
                  <a:lnTo>
                    <a:pt x="7" y="25"/>
                  </a:lnTo>
                  <a:lnTo>
                    <a:pt x="7" y="28"/>
                  </a:lnTo>
                  <a:lnTo>
                    <a:pt x="7" y="28"/>
                  </a:lnTo>
                  <a:lnTo>
                    <a:pt x="5" y="31"/>
                  </a:lnTo>
                  <a:lnTo>
                    <a:pt x="1" y="31"/>
                  </a:lnTo>
                  <a:lnTo>
                    <a:pt x="0" y="30"/>
                  </a:lnTo>
                  <a:lnTo>
                    <a:pt x="0" y="26"/>
                  </a:lnTo>
                  <a:close/>
                </a:path>
              </a:pathLst>
            </a:custGeom>
            <a:solidFill>
              <a:srgbClr val="34715A"/>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3" name="Freeform 2066">
              <a:extLst>
                <a:ext uri="{FF2B5EF4-FFF2-40B4-BE49-F238E27FC236}">
                  <a16:creationId xmlns:a16="http://schemas.microsoft.com/office/drawing/2014/main" id="{C03EFC77-6255-465A-9535-DE0960BAF33F}"/>
                </a:ext>
              </a:extLst>
            </p:cNvPr>
            <p:cNvSpPr>
              <a:spLocks/>
            </p:cNvSpPr>
            <p:nvPr/>
          </p:nvSpPr>
          <p:spPr bwMode="auto">
            <a:xfrm>
              <a:off x="8361785" y="3528582"/>
              <a:ext cx="10572" cy="12336"/>
            </a:xfrm>
            <a:custGeom>
              <a:avLst/>
              <a:gdLst/>
              <a:ahLst/>
              <a:cxnLst>
                <a:cxn ang="0">
                  <a:pos x="0" y="14"/>
                </a:cxn>
                <a:cxn ang="0">
                  <a:pos x="0" y="14"/>
                </a:cxn>
                <a:cxn ang="0">
                  <a:pos x="0" y="9"/>
                </a:cxn>
                <a:cxn ang="0">
                  <a:pos x="2" y="7"/>
                </a:cxn>
                <a:cxn ang="0">
                  <a:pos x="7" y="2"/>
                </a:cxn>
                <a:cxn ang="0">
                  <a:pos x="11" y="0"/>
                </a:cxn>
                <a:cxn ang="0">
                  <a:pos x="14" y="0"/>
                </a:cxn>
                <a:cxn ang="0">
                  <a:pos x="14" y="0"/>
                </a:cxn>
                <a:cxn ang="0">
                  <a:pos x="14" y="2"/>
                </a:cxn>
                <a:cxn ang="0">
                  <a:pos x="14" y="6"/>
                </a:cxn>
                <a:cxn ang="0">
                  <a:pos x="9" y="12"/>
                </a:cxn>
                <a:cxn ang="0">
                  <a:pos x="2" y="16"/>
                </a:cxn>
                <a:cxn ang="0">
                  <a:pos x="0" y="16"/>
                </a:cxn>
                <a:cxn ang="0">
                  <a:pos x="0" y="14"/>
                </a:cxn>
                <a:cxn ang="0">
                  <a:pos x="0" y="14"/>
                </a:cxn>
              </a:cxnLst>
              <a:rect l="0" t="0" r="r" b="b"/>
              <a:pathLst>
                <a:path w="14" h="16">
                  <a:moveTo>
                    <a:pt x="0" y="14"/>
                  </a:moveTo>
                  <a:lnTo>
                    <a:pt x="0" y="14"/>
                  </a:lnTo>
                  <a:lnTo>
                    <a:pt x="0" y="9"/>
                  </a:lnTo>
                  <a:lnTo>
                    <a:pt x="2" y="7"/>
                  </a:lnTo>
                  <a:lnTo>
                    <a:pt x="7" y="2"/>
                  </a:lnTo>
                  <a:lnTo>
                    <a:pt x="11" y="0"/>
                  </a:lnTo>
                  <a:lnTo>
                    <a:pt x="14" y="0"/>
                  </a:lnTo>
                  <a:lnTo>
                    <a:pt x="14" y="0"/>
                  </a:lnTo>
                  <a:lnTo>
                    <a:pt x="14" y="2"/>
                  </a:lnTo>
                  <a:lnTo>
                    <a:pt x="14" y="6"/>
                  </a:lnTo>
                  <a:lnTo>
                    <a:pt x="9" y="12"/>
                  </a:lnTo>
                  <a:lnTo>
                    <a:pt x="2" y="16"/>
                  </a:lnTo>
                  <a:lnTo>
                    <a:pt x="0" y="16"/>
                  </a:lnTo>
                  <a:lnTo>
                    <a:pt x="0" y="14"/>
                  </a:lnTo>
                  <a:lnTo>
                    <a:pt x="0"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4" name="Freeform 2067">
              <a:extLst>
                <a:ext uri="{FF2B5EF4-FFF2-40B4-BE49-F238E27FC236}">
                  <a16:creationId xmlns:a16="http://schemas.microsoft.com/office/drawing/2014/main" id="{B341FFAB-E7EA-40E2-A531-086AB20DF075}"/>
                </a:ext>
              </a:extLst>
            </p:cNvPr>
            <p:cNvSpPr>
              <a:spLocks/>
            </p:cNvSpPr>
            <p:nvPr/>
          </p:nvSpPr>
          <p:spPr bwMode="auto">
            <a:xfrm>
              <a:off x="5986612" y="1199209"/>
              <a:ext cx="105720" cy="24668"/>
            </a:xfrm>
            <a:custGeom>
              <a:avLst/>
              <a:gdLst/>
              <a:ahLst/>
              <a:cxnLst>
                <a:cxn ang="0">
                  <a:pos x="12" y="26"/>
                </a:cxn>
                <a:cxn ang="0">
                  <a:pos x="12" y="26"/>
                </a:cxn>
                <a:cxn ang="0">
                  <a:pos x="4" y="25"/>
                </a:cxn>
                <a:cxn ang="0">
                  <a:pos x="0" y="23"/>
                </a:cxn>
                <a:cxn ang="0">
                  <a:pos x="4" y="21"/>
                </a:cxn>
                <a:cxn ang="0">
                  <a:pos x="9" y="19"/>
                </a:cxn>
                <a:cxn ang="0">
                  <a:pos x="30" y="16"/>
                </a:cxn>
                <a:cxn ang="0">
                  <a:pos x="56" y="12"/>
                </a:cxn>
                <a:cxn ang="0">
                  <a:pos x="56" y="12"/>
                </a:cxn>
                <a:cxn ang="0">
                  <a:pos x="66" y="9"/>
                </a:cxn>
                <a:cxn ang="0">
                  <a:pos x="72" y="7"/>
                </a:cxn>
                <a:cxn ang="0">
                  <a:pos x="75" y="5"/>
                </a:cxn>
                <a:cxn ang="0">
                  <a:pos x="77" y="2"/>
                </a:cxn>
                <a:cxn ang="0">
                  <a:pos x="78" y="0"/>
                </a:cxn>
                <a:cxn ang="0">
                  <a:pos x="82" y="0"/>
                </a:cxn>
                <a:cxn ang="0">
                  <a:pos x="103" y="4"/>
                </a:cxn>
                <a:cxn ang="0">
                  <a:pos x="103" y="4"/>
                </a:cxn>
                <a:cxn ang="0">
                  <a:pos x="117" y="7"/>
                </a:cxn>
                <a:cxn ang="0">
                  <a:pos x="125" y="11"/>
                </a:cxn>
                <a:cxn ang="0">
                  <a:pos x="131" y="14"/>
                </a:cxn>
                <a:cxn ang="0">
                  <a:pos x="132" y="18"/>
                </a:cxn>
                <a:cxn ang="0">
                  <a:pos x="131" y="19"/>
                </a:cxn>
                <a:cxn ang="0">
                  <a:pos x="125" y="19"/>
                </a:cxn>
                <a:cxn ang="0">
                  <a:pos x="119" y="19"/>
                </a:cxn>
                <a:cxn ang="0">
                  <a:pos x="110" y="16"/>
                </a:cxn>
                <a:cxn ang="0">
                  <a:pos x="110" y="16"/>
                </a:cxn>
                <a:cxn ang="0">
                  <a:pos x="101" y="14"/>
                </a:cxn>
                <a:cxn ang="0">
                  <a:pos x="94" y="12"/>
                </a:cxn>
                <a:cxn ang="0">
                  <a:pos x="89" y="14"/>
                </a:cxn>
                <a:cxn ang="0">
                  <a:pos x="85" y="16"/>
                </a:cxn>
                <a:cxn ang="0">
                  <a:pos x="75" y="21"/>
                </a:cxn>
                <a:cxn ang="0">
                  <a:pos x="61" y="28"/>
                </a:cxn>
                <a:cxn ang="0">
                  <a:pos x="61" y="28"/>
                </a:cxn>
                <a:cxn ang="0">
                  <a:pos x="52" y="31"/>
                </a:cxn>
                <a:cxn ang="0">
                  <a:pos x="47" y="31"/>
                </a:cxn>
                <a:cxn ang="0">
                  <a:pos x="42" y="31"/>
                </a:cxn>
                <a:cxn ang="0">
                  <a:pos x="38" y="30"/>
                </a:cxn>
                <a:cxn ang="0">
                  <a:pos x="33" y="26"/>
                </a:cxn>
                <a:cxn ang="0">
                  <a:pos x="30" y="25"/>
                </a:cxn>
                <a:cxn ang="0">
                  <a:pos x="26" y="25"/>
                </a:cxn>
                <a:cxn ang="0">
                  <a:pos x="26" y="25"/>
                </a:cxn>
                <a:cxn ang="0">
                  <a:pos x="19" y="28"/>
                </a:cxn>
                <a:cxn ang="0">
                  <a:pos x="12" y="26"/>
                </a:cxn>
                <a:cxn ang="0">
                  <a:pos x="12" y="26"/>
                </a:cxn>
              </a:cxnLst>
              <a:rect l="0" t="0" r="r" b="b"/>
              <a:pathLst>
                <a:path w="132" h="31">
                  <a:moveTo>
                    <a:pt x="12" y="26"/>
                  </a:moveTo>
                  <a:lnTo>
                    <a:pt x="12" y="26"/>
                  </a:lnTo>
                  <a:lnTo>
                    <a:pt x="4" y="25"/>
                  </a:lnTo>
                  <a:lnTo>
                    <a:pt x="0" y="23"/>
                  </a:lnTo>
                  <a:lnTo>
                    <a:pt x="4" y="21"/>
                  </a:lnTo>
                  <a:lnTo>
                    <a:pt x="9" y="19"/>
                  </a:lnTo>
                  <a:lnTo>
                    <a:pt x="30" y="16"/>
                  </a:lnTo>
                  <a:lnTo>
                    <a:pt x="56" y="12"/>
                  </a:lnTo>
                  <a:lnTo>
                    <a:pt x="56" y="12"/>
                  </a:lnTo>
                  <a:lnTo>
                    <a:pt x="66" y="9"/>
                  </a:lnTo>
                  <a:lnTo>
                    <a:pt x="72" y="7"/>
                  </a:lnTo>
                  <a:lnTo>
                    <a:pt x="75" y="5"/>
                  </a:lnTo>
                  <a:lnTo>
                    <a:pt x="77" y="2"/>
                  </a:lnTo>
                  <a:lnTo>
                    <a:pt x="78" y="0"/>
                  </a:lnTo>
                  <a:lnTo>
                    <a:pt x="82" y="0"/>
                  </a:lnTo>
                  <a:lnTo>
                    <a:pt x="103" y="4"/>
                  </a:lnTo>
                  <a:lnTo>
                    <a:pt x="103" y="4"/>
                  </a:lnTo>
                  <a:lnTo>
                    <a:pt x="117" y="7"/>
                  </a:lnTo>
                  <a:lnTo>
                    <a:pt x="125" y="11"/>
                  </a:lnTo>
                  <a:lnTo>
                    <a:pt x="131" y="14"/>
                  </a:lnTo>
                  <a:lnTo>
                    <a:pt x="132" y="18"/>
                  </a:lnTo>
                  <a:lnTo>
                    <a:pt x="131" y="19"/>
                  </a:lnTo>
                  <a:lnTo>
                    <a:pt x="125" y="19"/>
                  </a:lnTo>
                  <a:lnTo>
                    <a:pt x="119" y="19"/>
                  </a:lnTo>
                  <a:lnTo>
                    <a:pt x="110" y="16"/>
                  </a:lnTo>
                  <a:lnTo>
                    <a:pt x="110" y="16"/>
                  </a:lnTo>
                  <a:lnTo>
                    <a:pt x="101" y="14"/>
                  </a:lnTo>
                  <a:lnTo>
                    <a:pt x="94" y="12"/>
                  </a:lnTo>
                  <a:lnTo>
                    <a:pt x="89" y="14"/>
                  </a:lnTo>
                  <a:lnTo>
                    <a:pt x="85" y="16"/>
                  </a:lnTo>
                  <a:lnTo>
                    <a:pt x="75" y="21"/>
                  </a:lnTo>
                  <a:lnTo>
                    <a:pt x="61" y="28"/>
                  </a:lnTo>
                  <a:lnTo>
                    <a:pt x="61" y="28"/>
                  </a:lnTo>
                  <a:lnTo>
                    <a:pt x="52" y="31"/>
                  </a:lnTo>
                  <a:lnTo>
                    <a:pt x="47" y="31"/>
                  </a:lnTo>
                  <a:lnTo>
                    <a:pt x="42" y="31"/>
                  </a:lnTo>
                  <a:lnTo>
                    <a:pt x="38" y="30"/>
                  </a:lnTo>
                  <a:lnTo>
                    <a:pt x="33" y="26"/>
                  </a:lnTo>
                  <a:lnTo>
                    <a:pt x="30" y="25"/>
                  </a:lnTo>
                  <a:lnTo>
                    <a:pt x="26" y="25"/>
                  </a:lnTo>
                  <a:lnTo>
                    <a:pt x="26" y="25"/>
                  </a:lnTo>
                  <a:lnTo>
                    <a:pt x="19" y="28"/>
                  </a:lnTo>
                  <a:lnTo>
                    <a:pt x="12" y="26"/>
                  </a:lnTo>
                  <a:lnTo>
                    <a:pt x="12" y="2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5" name="Freeform 2068">
              <a:extLst>
                <a:ext uri="{FF2B5EF4-FFF2-40B4-BE49-F238E27FC236}">
                  <a16:creationId xmlns:a16="http://schemas.microsoft.com/office/drawing/2014/main" id="{CF629886-E7BD-4363-8996-25B2BB1EE1A7}"/>
                </a:ext>
              </a:extLst>
            </p:cNvPr>
            <p:cNvSpPr>
              <a:spLocks/>
            </p:cNvSpPr>
            <p:nvPr/>
          </p:nvSpPr>
          <p:spPr bwMode="auto">
            <a:xfrm>
              <a:off x="6481734" y="1179828"/>
              <a:ext cx="82813" cy="29954"/>
            </a:xfrm>
            <a:custGeom>
              <a:avLst/>
              <a:gdLst/>
              <a:ahLst/>
              <a:cxnLst>
                <a:cxn ang="0">
                  <a:pos x="6" y="24"/>
                </a:cxn>
                <a:cxn ang="0">
                  <a:pos x="6" y="24"/>
                </a:cxn>
                <a:cxn ang="0">
                  <a:pos x="17" y="17"/>
                </a:cxn>
                <a:cxn ang="0">
                  <a:pos x="24" y="15"/>
                </a:cxn>
                <a:cxn ang="0">
                  <a:pos x="38" y="12"/>
                </a:cxn>
                <a:cxn ang="0">
                  <a:pos x="48" y="12"/>
                </a:cxn>
                <a:cxn ang="0">
                  <a:pos x="52" y="10"/>
                </a:cxn>
                <a:cxn ang="0">
                  <a:pos x="57" y="7"/>
                </a:cxn>
                <a:cxn ang="0">
                  <a:pos x="57" y="7"/>
                </a:cxn>
                <a:cxn ang="0">
                  <a:pos x="62" y="3"/>
                </a:cxn>
                <a:cxn ang="0">
                  <a:pos x="69" y="2"/>
                </a:cxn>
                <a:cxn ang="0">
                  <a:pos x="76" y="0"/>
                </a:cxn>
                <a:cxn ang="0">
                  <a:pos x="85" y="2"/>
                </a:cxn>
                <a:cxn ang="0">
                  <a:pos x="92" y="3"/>
                </a:cxn>
                <a:cxn ang="0">
                  <a:pos x="97" y="5"/>
                </a:cxn>
                <a:cxn ang="0">
                  <a:pos x="100" y="10"/>
                </a:cxn>
                <a:cxn ang="0">
                  <a:pos x="102" y="15"/>
                </a:cxn>
                <a:cxn ang="0">
                  <a:pos x="102" y="15"/>
                </a:cxn>
                <a:cxn ang="0">
                  <a:pos x="102" y="21"/>
                </a:cxn>
                <a:cxn ang="0">
                  <a:pos x="99" y="26"/>
                </a:cxn>
                <a:cxn ang="0">
                  <a:pos x="95" y="28"/>
                </a:cxn>
                <a:cxn ang="0">
                  <a:pos x="88" y="29"/>
                </a:cxn>
                <a:cxn ang="0">
                  <a:pos x="71" y="33"/>
                </a:cxn>
                <a:cxn ang="0">
                  <a:pos x="48" y="35"/>
                </a:cxn>
                <a:cxn ang="0">
                  <a:pos x="48" y="35"/>
                </a:cxn>
                <a:cxn ang="0">
                  <a:pos x="24" y="38"/>
                </a:cxn>
                <a:cxn ang="0">
                  <a:pos x="15" y="38"/>
                </a:cxn>
                <a:cxn ang="0">
                  <a:pos x="6" y="36"/>
                </a:cxn>
                <a:cxn ang="0">
                  <a:pos x="1" y="35"/>
                </a:cxn>
                <a:cxn ang="0">
                  <a:pos x="0" y="31"/>
                </a:cxn>
                <a:cxn ang="0">
                  <a:pos x="1" y="28"/>
                </a:cxn>
                <a:cxn ang="0">
                  <a:pos x="6" y="24"/>
                </a:cxn>
                <a:cxn ang="0">
                  <a:pos x="6" y="24"/>
                </a:cxn>
              </a:cxnLst>
              <a:rect l="0" t="0" r="r" b="b"/>
              <a:pathLst>
                <a:path w="102" h="38">
                  <a:moveTo>
                    <a:pt x="6" y="24"/>
                  </a:moveTo>
                  <a:lnTo>
                    <a:pt x="6" y="24"/>
                  </a:lnTo>
                  <a:lnTo>
                    <a:pt x="17" y="17"/>
                  </a:lnTo>
                  <a:lnTo>
                    <a:pt x="24" y="15"/>
                  </a:lnTo>
                  <a:lnTo>
                    <a:pt x="38" y="12"/>
                  </a:lnTo>
                  <a:lnTo>
                    <a:pt x="48" y="12"/>
                  </a:lnTo>
                  <a:lnTo>
                    <a:pt x="52" y="10"/>
                  </a:lnTo>
                  <a:lnTo>
                    <a:pt x="57" y="7"/>
                  </a:lnTo>
                  <a:lnTo>
                    <a:pt x="57" y="7"/>
                  </a:lnTo>
                  <a:lnTo>
                    <a:pt x="62" y="3"/>
                  </a:lnTo>
                  <a:lnTo>
                    <a:pt x="69" y="2"/>
                  </a:lnTo>
                  <a:lnTo>
                    <a:pt x="76" y="0"/>
                  </a:lnTo>
                  <a:lnTo>
                    <a:pt x="85" y="2"/>
                  </a:lnTo>
                  <a:lnTo>
                    <a:pt x="92" y="3"/>
                  </a:lnTo>
                  <a:lnTo>
                    <a:pt x="97" y="5"/>
                  </a:lnTo>
                  <a:lnTo>
                    <a:pt x="100" y="10"/>
                  </a:lnTo>
                  <a:lnTo>
                    <a:pt x="102" y="15"/>
                  </a:lnTo>
                  <a:lnTo>
                    <a:pt x="102" y="15"/>
                  </a:lnTo>
                  <a:lnTo>
                    <a:pt x="102" y="21"/>
                  </a:lnTo>
                  <a:lnTo>
                    <a:pt x="99" y="26"/>
                  </a:lnTo>
                  <a:lnTo>
                    <a:pt x="95" y="28"/>
                  </a:lnTo>
                  <a:lnTo>
                    <a:pt x="88" y="29"/>
                  </a:lnTo>
                  <a:lnTo>
                    <a:pt x="71" y="33"/>
                  </a:lnTo>
                  <a:lnTo>
                    <a:pt x="48" y="35"/>
                  </a:lnTo>
                  <a:lnTo>
                    <a:pt x="48" y="35"/>
                  </a:lnTo>
                  <a:lnTo>
                    <a:pt x="24" y="38"/>
                  </a:lnTo>
                  <a:lnTo>
                    <a:pt x="15" y="38"/>
                  </a:lnTo>
                  <a:lnTo>
                    <a:pt x="6" y="36"/>
                  </a:lnTo>
                  <a:lnTo>
                    <a:pt x="1" y="35"/>
                  </a:lnTo>
                  <a:lnTo>
                    <a:pt x="0" y="31"/>
                  </a:lnTo>
                  <a:lnTo>
                    <a:pt x="1" y="28"/>
                  </a:lnTo>
                  <a:lnTo>
                    <a:pt x="6" y="24"/>
                  </a:lnTo>
                  <a:lnTo>
                    <a:pt x="6" y="2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6" name="Freeform 2069">
              <a:extLst>
                <a:ext uri="{FF2B5EF4-FFF2-40B4-BE49-F238E27FC236}">
                  <a16:creationId xmlns:a16="http://schemas.microsoft.com/office/drawing/2014/main" id="{A85A7294-0AE1-4695-8F01-C93E68E69957}"/>
                </a:ext>
              </a:extLst>
            </p:cNvPr>
            <p:cNvSpPr>
              <a:spLocks/>
            </p:cNvSpPr>
            <p:nvPr/>
          </p:nvSpPr>
          <p:spPr bwMode="auto">
            <a:xfrm>
              <a:off x="6328441" y="1222118"/>
              <a:ext cx="59908" cy="24668"/>
            </a:xfrm>
            <a:custGeom>
              <a:avLst/>
              <a:gdLst/>
              <a:ahLst/>
              <a:cxnLst>
                <a:cxn ang="0">
                  <a:pos x="3" y="14"/>
                </a:cxn>
                <a:cxn ang="0">
                  <a:pos x="3" y="14"/>
                </a:cxn>
                <a:cxn ang="0">
                  <a:pos x="0" y="8"/>
                </a:cxn>
                <a:cxn ang="0">
                  <a:pos x="0" y="5"/>
                </a:cxn>
                <a:cxn ang="0">
                  <a:pos x="3" y="1"/>
                </a:cxn>
                <a:cxn ang="0">
                  <a:pos x="10" y="0"/>
                </a:cxn>
                <a:cxn ang="0">
                  <a:pos x="29" y="0"/>
                </a:cxn>
                <a:cxn ang="0">
                  <a:pos x="50" y="1"/>
                </a:cxn>
                <a:cxn ang="0">
                  <a:pos x="50" y="1"/>
                </a:cxn>
                <a:cxn ang="0">
                  <a:pos x="68" y="5"/>
                </a:cxn>
                <a:cxn ang="0">
                  <a:pos x="71" y="7"/>
                </a:cxn>
                <a:cxn ang="0">
                  <a:pos x="73" y="8"/>
                </a:cxn>
                <a:cxn ang="0">
                  <a:pos x="71" y="10"/>
                </a:cxn>
                <a:cxn ang="0">
                  <a:pos x="68" y="12"/>
                </a:cxn>
                <a:cxn ang="0">
                  <a:pos x="52" y="14"/>
                </a:cxn>
                <a:cxn ang="0">
                  <a:pos x="52" y="14"/>
                </a:cxn>
                <a:cxn ang="0">
                  <a:pos x="45" y="14"/>
                </a:cxn>
                <a:cxn ang="0">
                  <a:pos x="40" y="15"/>
                </a:cxn>
                <a:cxn ang="0">
                  <a:pos x="38" y="19"/>
                </a:cxn>
                <a:cxn ang="0">
                  <a:pos x="36" y="22"/>
                </a:cxn>
                <a:cxn ang="0">
                  <a:pos x="36" y="26"/>
                </a:cxn>
                <a:cxn ang="0">
                  <a:pos x="35" y="28"/>
                </a:cxn>
                <a:cxn ang="0">
                  <a:pos x="31" y="29"/>
                </a:cxn>
                <a:cxn ang="0">
                  <a:pos x="26" y="28"/>
                </a:cxn>
                <a:cxn ang="0">
                  <a:pos x="26" y="28"/>
                </a:cxn>
                <a:cxn ang="0">
                  <a:pos x="15" y="24"/>
                </a:cxn>
                <a:cxn ang="0">
                  <a:pos x="8" y="21"/>
                </a:cxn>
                <a:cxn ang="0">
                  <a:pos x="3" y="14"/>
                </a:cxn>
                <a:cxn ang="0">
                  <a:pos x="3" y="14"/>
                </a:cxn>
              </a:cxnLst>
              <a:rect l="0" t="0" r="r" b="b"/>
              <a:pathLst>
                <a:path w="73" h="29">
                  <a:moveTo>
                    <a:pt x="3" y="14"/>
                  </a:moveTo>
                  <a:lnTo>
                    <a:pt x="3" y="14"/>
                  </a:lnTo>
                  <a:lnTo>
                    <a:pt x="0" y="8"/>
                  </a:lnTo>
                  <a:lnTo>
                    <a:pt x="0" y="5"/>
                  </a:lnTo>
                  <a:lnTo>
                    <a:pt x="3" y="1"/>
                  </a:lnTo>
                  <a:lnTo>
                    <a:pt x="10" y="0"/>
                  </a:lnTo>
                  <a:lnTo>
                    <a:pt x="29" y="0"/>
                  </a:lnTo>
                  <a:lnTo>
                    <a:pt x="50" y="1"/>
                  </a:lnTo>
                  <a:lnTo>
                    <a:pt x="50" y="1"/>
                  </a:lnTo>
                  <a:lnTo>
                    <a:pt x="68" y="5"/>
                  </a:lnTo>
                  <a:lnTo>
                    <a:pt x="71" y="7"/>
                  </a:lnTo>
                  <a:lnTo>
                    <a:pt x="73" y="8"/>
                  </a:lnTo>
                  <a:lnTo>
                    <a:pt x="71" y="10"/>
                  </a:lnTo>
                  <a:lnTo>
                    <a:pt x="68" y="12"/>
                  </a:lnTo>
                  <a:lnTo>
                    <a:pt x="52" y="14"/>
                  </a:lnTo>
                  <a:lnTo>
                    <a:pt x="52" y="14"/>
                  </a:lnTo>
                  <a:lnTo>
                    <a:pt x="45" y="14"/>
                  </a:lnTo>
                  <a:lnTo>
                    <a:pt x="40" y="15"/>
                  </a:lnTo>
                  <a:lnTo>
                    <a:pt x="38" y="19"/>
                  </a:lnTo>
                  <a:lnTo>
                    <a:pt x="36" y="22"/>
                  </a:lnTo>
                  <a:lnTo>
                    <a:pt x="36" y="26"/>
                  </a:lnTo>
                  <a:lnTo>
                    <a:pt x="35" y="28"/>
                  </a:lnTo>
                  <a:lnTo>
                    <a:pt x="31" y="29"/>
                  </a:lnTo>
                  <a:lnTo>
                    <a:pt x="26" y="28"/>
                  </a:lnTo>
                  <a:lnTo>
                    <a:pt x="26" y="28"/>
                  </a:lnTo>
                  <a:lnTo>
                    <a:pt x="15" y="24"/>
                  </a:lnTo>
                  <a:lnTo>
                    <a:pt x="8" y="21"/>
                  </a:lnTo>
                  <a:lnTo>
                    <a:pt x="3" y="14"/>
                  </a:lnTo>
                  <a:lnTo>
                    <a:pt x="3"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7" name="Freeform 2070">
              <a:extLst>
                <a:ext uri="{FF2B5EF4-FFF2-40B4-BE49-F238E27FC236}">
                  <a16:creationId xmlns:a16="http://schemas.microsoft.com/office/drawing/2014/main" id="{774422A7-4496-4B1B-BB0C-9221E3A06043}"/>
                </a:ext>
              </a:extLst>
            </p:cNvPr>
            <p:cNvSpPr>
              <a:spLocks/>
            </p:cNvSpPr>
            <p:nvPr/>
          </p:nvSpPr>
          <p:spPr bwMode="auto">
            <a:xfrm>
              <a:off x="6302009" y="1185117"/>
              <a:ext cx="58146" cy="14097"/>
            </a:xfrm>
            <a:custGeom>
              <a:avLst/>
              <a:gdLst/>
              <a:ahLst/>
              <a:cxnLst>
                <a:cxn ang="0">
                  <a:pos x="2" y="0"/>
                </a:cxn>
                <a:cxn ang="0">
                  <a:pos x="2" y="0"/>
                </a:cxn>
                <a:cxn ang="0">
                  <a:pos x="12" y="0"/>
                </a:cxn>
                <a:cxn ang="0">
                  <a:pos x="26" y="2"/>
                </a:cxn>
                <a:cxn ang="0">
                  <a:pos x="42" y="4"/>
                </a:cxn>
                <a:cxn ang="0">
                  <a:pos x="54" y="7"/>
                </a:cxn>
                <a:cxn ang="0">
                  <a:pos x="54" y="7"/>
                </a:cxn>
                <a:cxn ang="0">
                  <a:pos x="75" y="13"/>
                </a:cxn>
                <a:cxn ang="0">
                  <a:pos x="75" y="14"/>
                </a:cxn>
                <a:cxn ang="0">
                  <a:pos x="75" y="14"/>
                </a:cxn>
                <a:cxn ang="0">
                  <a:pos x="64" y="16"/>
                </a:cxn>
                <a:cxn ang="0">
                  <a:pos x="64" y="16"/>
                </a:cxn>
                <a:cxn ang="0">
                  <a:pos x="49" y="16"/>
                </a:cxn>
                <a:cxn ang="0">
                  <a:pos x="40" y="14"/>
                </a:cxn>
                <a:cxn ang="0">
                  <a:pos x="26" y="9"/>
                </a:cxn>
                <a:cxn ang="0">
                  <a:pos x="26" y="9"/>
                </a:cxn>
                <a:cxn ang="0">
                  <a:pos x="16" y="6"/>
                </a:cxn>
                <a:cxn ang="0">
                  <a:pos x="7" y="4"/>
                </a:cxn>
                <a:cxn ang="0">
                  <a:pos x="2" y="2"/>
                </a:cxn>
                <a:cxn ang="0">
                  <a:pos x="0" y="2"/>
                </a:cxn>
                <a:cxn ang="0">
                  <a:pos x="2" y="0"/>
                </a:cxn>
                <a:cxn ang="0">
                  <a:pos x="2" y="0"/>
                </a:cxn>
              </a:cxnLst>
              <a:rect l="0" t="0" r="r" b="b"/>
              <a:pathLst>
                <a:path w="75" h="16">
                  <a:moveTo>
                    <a:pt x="2" y="0"/>
                  </a:moveTo>
                  <a:lnTo>
                    <a:pt x="2" y="0"/>
                  </a:lnTo>
                  <a:lnTo>
                    <a:pt x="12" y="0"/>
                  </a:lnTo>
                  <a:lnTo>
                    <a:pt x="26" y="2"/>
                  </a:lnTo>
                  <a:lnTo>
                    <a:pt x="42" y="4"/>
                  </a:lnTo>
                  <a:lnTo>
                    <a:pt x="54" y="7"/>
                  </a:lnTo>
                  <a:lnTo>
                    <a:pt x="54" y="7"/>
                  </a:lnTo>
                  <a:lnTo>
                    <a:pt x="75" y="13"/>
                  </a:lnTo>
                  <a:lnTo>
                    <a:pt x="75" y="14"/>
                  </a:lnTo>
                  <a:lnTo>
                    <a:pt x="75" y="14"/>
                  </a:lnTo>
                  <a:lnTo>
                    <a:pt x="64" y="16"/>
                  </a:lnTo>
                  <a:lnTo>
                    <a:pt x="64" y="16"/>
                  </a:lnTo>
                  <a:lnTo>
                    <a:pt x="49" y="16"/>
                  </a:lnTo>
                  <a:lnTo>
                    <a:pt x="40" y="14"/>
                  </a:lnTo>
                  <a:lnTo>
                    <a:pt x="26" y="9"/>
                  </a:lnTo>
                  <a:lnTo>
                    <a:pt x="26" y="9"/>
                  </a:lnTo>
                  <a:lnTo>
                    <a:pt x="16" y="6"/>
                  </a:lnTo>
                  <a:lnTo>
                    <a:pt x="7" y="4"/>
                  </a:lnTo>
                  <a:lnTo>
                    <a:pt x="2" y="2"/>
                  </a:lnTo>
                  <a:lnTo>
                    <a:pt x="0" y="2"/>
                  </a:lnTo>
                  <a:lnTo>
                    <a:pt x="2" y="0"/>
                  </a:lnTo>
                  <a:lnTo>
                    <a:pt x="2" y="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228" name="Group 860">
              <a:extLst>
                <a:ext uri="{FF2B5EF4-FFF2-40B4-BE49-F238E27FC236}">
                  <a16:creationId xmlns:a16="http://schemas.microsoft.com/office/drawing/2014/main" id="{4D80DDCD-2B5A-484D-AAE3-D05270B34865}"/>
                </a:ext>
              </a:extLst>
            </p:cNvPr>
            <p:cNvGrpSpPr>
              <a:grpSpLocks/>
            </p:cNvGrpSpPr>
            <p:nvPr/>
          </p:nvGrpSpPr>
          <p:grpSpPr bwMode="auto">
            <a:xfrm>
              <a:off x="8367056" y="2887213"/>
              <a:ext cx="458120" cy="551508"/>
              <a:chOff x="7367588" y="2800350"/>
              <a:chExt cx="412750" cy="496888"/>
            </a:xfrm>
            <a:solidFill>
              <a:srgbClr val="808183">
                <a:lumMod val="60000"/>
                <a:lumOff val="40000"/>
              </a:srgbClr>
            </a:solidFill>
          </p:grpSpPr>
          <p:sp>
            <p:nvSpPr>
              <p:cNvPr id="394" name="Freeform 2072">
                <a:extLst>
                  <a:ext uri="{FF2B5EF4-FFF2-40B4-BE49-F238E27FC236}">
                    <a16:creationId xmlns:a16="http://schemas.microsoft.com/office/drawing/2014/main" id="{442E4D3D-CD44-4CCA-9195-673840B5C6E5}"/>
                  </a:ext>
                </a:extLst>
              </p:cNvPr>
              <p:cNvSpPr>
                <a:spLocks/>
              </p:cNvSpPr>
              <p:nvPr/>
            </p:nvSpPr>
            <p:spPr bwMode="auto">
              <a:xfrm>
                <a:off x="7402513" y="2940050"/>
                <a:ext cx="282575" cy="277813"/>
              </a:xfrm>
              <a:custGeom>
                <a:avLst/>
                <a:gdLst/>
                <a:ahLst/>
                <a:cxnLst>
                  <a:cxn ang="0">
                    <a:pos x="150" y="366"/>
                  </a:cxn>
                  <a:cxn ang="0">
                    <a:pos x="148" y="347"/>
                  </a:cxn>
                  <a:cxn ang="0">
                    <a:pos x="158" y="331"/>
                  </a:cxn>
                  <a:cxn ang="0">
                    <a:pos x="139" y="326"/>
                  </a:cxn>
                  <a:cxn ang="0">
                    <a:pos x="117" y="328"/>
                  </a:cxn>
                  <a:cxn ang="0">
                    <a:pos x="66" y="343"/>
                  </a:cxn>
                  <a:cxn ang="0">
                    <a:pos x="45" y="343"/>
                  </a:cxn>
                  <a:cxn ang="0">
                    <a:pos x="35" y="357"/>
                  </a:cxn>
                  <a:cxn ang="0">
                    <a:pos x="3" y="357"/>
                  </a:cxn>
                  <a:cxn ang="0">
                    <a:pos x="3" y="338"/>
                  </a:cxn>
                  <a:cxn ang="0">
                    <a:pos x="24" y="322"/>
                  </a:cxn>
                  <a:cxn ang="0">
                    <a:pos x="59" y="293"/>
                  </a:cxn>
                  <a:cxn ang="0">
                    <a:pos x="82" y="286"/>
                  </a:cxn>
                  <a:cxn ang="0">
                    <a:pos x="136" y="277"/>
                  </a:cxn>
                  <a:cxn ang="0">
                    <a:pos x="153" y="281"/>
                  </a:cxn>
                  <a:cxn ang="0">
                    <a:pos x="169" y="282"/>
                  </a:cxn>
                  <a:cxn ang="0">
                    <a:pos x="177" y="265"/>
                  </a:cxn>
                  <a:cxn ang="0">
                    <a:pos x="204" y="218"/>
                  </a:cxn>
                  <a:cxn ang="0">
                    <a:pos x="212" y="194"/>
                  </a:cxn>
                  <a:cxn ang="0">
                    <a:pos x="226" y="197"/>
                  </a:cxn>
                  <a:cxn ang="0">
                    <a:pos x="216" y="216"/>
                  </a:cxn>
                  <a:cxn ang="0">
                    <a:pos x="223" y="223"/>
                  </a:cxn>
                  <a:cxn ang="0">
                    <a:pos x="266" y="197"/>
                  </a:cxn>
                  <a:cxn ang="0">
                    <a:pos x="303" y="147"/>
                  </a:cxn>
                  <a:cxn ang="0">
                    <a:pos x="317" y="86"/>
                  </a:cxn>
                  <a:cxn ang="0">
                    <a:pos x="308" y="77"/>
                  </a:cxn>
                  <a:cxn ang="0">
                    <a:pos x="317" y="60"/>
                  </a:cxn>
                  <a:cxn ang="0">
                    <a:pos x="319" y="37"/>
                  </a:cxn>
                  <a:cxn ang="0">
                    <a:pos x="329" y="20"/>
                  </a:cxn>
                  <a:cxn ang="0">
                    <a:pos x="341" y="27"/>
                  </a:cxn>
                  <a:cxn ang="0">
                    <a:pos x="350" y="28"/>
                  </a:cxn>
                  <a:cxn ang="0">
                    <a:pos x="362" y="23"/>
                  </a:cxn>
                  <a:cxn ang="0">
                    <a:pos x="350" y="16"/>
                  </a:cxn>
                  <a:cxn ang="0">
                    <a:pos x="353" y="0"/>
                  </a:cxn>
                  <a:cxn ang="0">
                    <a:pos x="367" y="13"/>
                  </a:cxn>
                  <a:cxn ang="0">
                    <a:pos x="379" y="60"/>
                  </a:cxn>
                  <a:cxn ang="0">
                    <a:pos x="388" y="100"/>
                  </a:cxn>
                  <a:cxn ang="0">
                    <a:pos x="373" y="136"/>
                  </a:cxn>
                  <a:cxn ang="0">
                    <a:pos x="362" y="150"/>
                  </a:cxn>
                  <a:cxn ang="0">
                    <a:pos x="352" y="176"/>
                  </a:cxn>
                  <a:cxn ang="0">
                    <a:pos x="345" y="228"/>
                  </a:cxn>
                  <a:cxn ang="0">
                    <a:pos x="345" y="267"/>
                  </a:cxn>
                  <a:cxn ang="0">
                    <a:pos x="339" y="281"/>
                  </a:cxn>
                  <a:cxn ang="0">
                    <a:pos x="327" y="305"/>
                  </a:cxn>
                  <a:cxn ang="0">
                    <a:pos x="312" y="316"/>
                  </a:cxn>
                  <a:cxn ang="0">
                    <a:pos x="320" y="282"/>
                  </a:cxn>
                  <a:cxn ang="0">
                    <a:pos x="308" y="286"/>
                  </a:cxn>
                  <a:cxn ang="0">
                    <a:pos x="301" y="300"/>
                  </a:cxn>
                  <a:cxn ang="0">
                    <a:pos x="285" y="314"/>
                  </a:cxn>
                  <a:cxn ang="0">
                    <a:pos x="273" y="322"/>
                  </a:cxn>
                  <a:cxn ang="0">
                    <a:pos x="272" y="305"/>
                  </a:cxn>
                  <a:cxn ang="0">
                    <a:pos x="249" y="328"/>
                  </a:cxn>
                  <a:cxn ang="0">
                    <a:pos x="216" y="328"/>
                  </a:cxn>
                  <a:cxn ang="0">
                    <a:pos x="211" y="321"/>
                  </a:cxn>
                  <a:cxn ang="0">
                    <a:pos x="202" y="309"/>
                  </a:cxn>
                  <a:cxn ang="0">
                    <a:pos x="204" y="333"/>
                  </a:cxn>
                  <a:cxn ang="0">
                    <a:pos x="195" y="347"/>
                  </a:cxn>
                  <a:cxn ang="0">
                    <a:pos x="167" y="383"/>
                  </a:cxn>
                </a:cxnLst>
                <a:rect l="0" t="0" r="r" b="b"/>
                <a:pathLst>
                  <a:path w="390" h="383">
                    <a:moveTo>
                      <a:pt x="165" y="380"/>
                    </a:moveTo>
                    <a:lnTo>
                      <a:pt x="165" y="380"/>
                    </a:lnTo>
                    <a:lnTo>
                      <a:pt x="157" y="375"/>
                    </a:lnTo>
                    <a:lnTo>
                      <a:pt x="155" y="371"/>
                    </a:lnTo>
                    <a:lnTo>
                      <a:pt x="155" y="368"/>
                    </a:lnTo>
                    <a:lnTo>
                      <a:pt x="150" y="366"/>
                    </a:lnTo>
                    <a:lnTo>
                      <a:pt x="150" y="366"/>
                    </a:lnTo>
                    <a:lnTo>
                      <a:pt x="148" y="364"/>
                    </a:lnTo>
                    <a:lnTo>
                      <a:pt x="146" y="361"/>
                    </a:lnTo>
                    <a:lnTo>
                      <a:pt x="146" y="357"/>
                    </a:lnTo>
                    <a:lnTo>
                      <a:pt x="148" y="352"/>
                    </a:lnTo>
                    <a:lnTo>
                      <a:pt x="148" y="347"/>
                    </a:lnTo>
                    <a:lnTo>
                      <a:pt x="148" y="347"/>
                    </a:lnTo>
                    <a:lnTo>
                      <a:pt x="148" y="343"/>
                    </a:lnTo>
                    <a:lnTo>
                      <a:pt x="150" y="342"/>
                    </a:lnTo>
                    <a:lnTo>
                      <a:pt x="153" y="338"/>
                    </a:lnTo>
                    <a:lnTo>
                      <a:pt x="157" y="335"/>
                    </a:lnTo>
                    <a:lnTo>
                      <a:pt x="158" y="331"/>
                    </a:lnTo>
                    <a:lnTo>
                      <a:pt x="158" y="328"/>
                    </a:lnTo>
                    <a:lnTo>
                      <a:pt x="158" y="328"/>
                    </a:lnTo>
                    <a:lnTo>
                      <a:pt x="157" y="322"/>
                    </a:lnTo>
                    <a:lnTo>
                      <a:pt x="153" y="324"/>
                    </a:lnTo>
                    <a:lnTo>
                      <a:pt x="144" y="326"/>
                    </a:lnTo>
                    <a:lnTo>
                      <a:pt x="139" y="326"/>
                    </a:lnTo>
                    <a:lnTo>
                      <a:pt x="132" y="324"/>
                    </a:lnTo>
                    <a:lnTo>
                      <a:pt x="132" y="324"/>
                    </a:lnTo>
                    <a:lnTo>
                      <a:pt x="122" y="321"/>
                    </a:lnTo>
                    <a:lnTo>
                      <a:pt x="120" y="321"/>
                    </a:lnTo>
                    <a:lnTo>
                      <a:pt x="118" y="322"/>
                    </a:lnTo>
                    <a:lnTo>
                      <a:pt x="117" y="328"/>
                    </a:lnTo>
                    <a:lnTo>
                      <a:pt x="113" y="329"/>
                    </a:lnTo>
                    <a:lnTo>
                      <a:pt x="110" y="331"/>
                    </a:lnTo>
                    <a:lnTo>
                      <a:pt x="110" y="331"/>
                    </a:lnTo>
                    <a:lnTo>
                      <a:pt x="87" y="338"/>
                    </a:lnTo>
                    <a:lnTo>
                      <a:pt x="66" y="343"/>
                    </a:lnTo>
                    <a:lnTo>
                      <a:pt x="66" y="343"/>
                    </a:lnTo>
                    <a:lnTo>
                      <a:pt x="57" y="343"/>
                    </a:lnTo>
                    <a:lnTo>
                      <a:pt x="56" y="340"/>
                    </a:lnTo>
                    <a:lnTo>
                      <a:pt x="52" y="338"/>
                    </a:lnTo>
                    <a:lnTo>
                      <a:pt x="49" y="340"/>
                    </a:lnTo>
                    <a:lnTo>
                      <a:pt x="49" y="340"/>
                    </a:lnTo>
                    <a:lnTo>
                      <a:pt x="45" y="343"/>
                    </a:lnTo>
                    <a:lnTo>
                      <a:pt x="43" y="347"/>
                    </a:lnTo>
                    <a:lnTo>
                      <a:pt x="43" y="354"/>
                    </a:lnTo>
                    <a:lnTo>
                      <a:pt x="43" y="357"/>
                    </a:lnTo>
                    <a:lnTo>
                      <a:pt x="43" y="361"/>
                    </a:lnTo>
                    <a:lnTo>
                      <a:pt x="40" y="361"/>
                    </a:lnTo>
                    <a:lnTo>
                      <a:pt x="35" y="357"/>
                    </a:lnTo>
                    <a:lnTo>
                      <a:pt x="35" y="357"/>
                    </a:lnTo>
                    <a:lnTo>
                      <a:pt x="29" y="356"/>
                    </a:lnTo>
                    <a:lnTo>
                      <a:pt x="23" y="356"/>
                    </a:lnTo>
                    <a:lnTo>
                      <a:pt x="10" y="357"/>
                    </a:lnTo>
                    <a:lnTo>
                      <a:pt x="7" y="357"/>
                    </a:lnTo>
                    <a:lnTo>
                      <a:pt x="3" y="357"/>
                    </a:lnTo>
                    <a:lnTo>
                      <a:pt x="0" y="354"/>
                    </a:lnTo>
                    <a:lnTo>
                      <a:pt x="0" y="349"/>
                    </a:lnTo>
                    <a:lnTo>
                      <a:pt x="0" y="349"/>
                    </a:lnTo>
                    <a:lnTo>
                      <a:pt x="0" y="343"/>
                    </a:lnTo>
                    <a:lnTo>
                      <a:pt x="2" y="340"/>
                    </a:lnTo>
                    <a:lnTo>
                      <a:pt x="3" y="338"/>
                    </a:lnTo>
                    <a:lnTo>
                      <a:pt x="7" y="338"/>
                    </a:lnTo>
                    <a:lnTo>
                      <a:pt x="12" y="338"/>
                    </a:lnTo>
                    <a:lnTo>
                      <a:pt x="16" y="335"/>
                    </a:lnTo>
                    <a:lnTo>
                      <a:pt x="19" y="331"/>
                    </a:lnTo>
                    <a:lnTo>
                      <a:pt x="19" y="331"/>
                    </a:lnTo>
                    <a:lnTo>
                      <a:pt x="24" y="322"/>
                    </a:lnTo>
                    <a:lnTo>
                      <a:pt x="29" y="321"/>
                    </a:lnTo>
                    <a:lnTo>
                      <a:pt x="36" y="319"/>
                    </a:lnTo>
                    <a:lnTo>
                      <a:pt x="40" y="314"/>
                    </a:lnTo>
                    <a:lnTo>
                      <a:pt x="47" y="309"/>
                    </a:lnTo>
                    <a:lnTo>
                      <a:pt x="47" y="309"/>
                    </a:lnTo>
                    <a:lnTo>
                      <a:pt x="59" y="293"/>
                    </a:lnTo>
                    <a:lnTo>
                      <a:pt x="68" y="284"/>
                    </a:lnTo>
                    <a:lnTo>
                      <a:pt x="73" y="282"/>
                    </a:lnTo>
                    <a:lnTo>
                      <a:pt x="77" y="281"/>
                    </a:lnTo>
                    <a:lnTo>
                      <a:pt x="80" y="282"/>
                    </a:lnTo>
                    <a:lnTo>
                      <a:pt x="82" y="286"/>
                    </a:lnTo>
                    <a:lnTo>
                      <a:pt x="82" y="286"/>
                    </a:lnTo>
                    <a:lnTo>
                      <a:pt x="83" y="288"/>
                    </a:lnTo>
                    <a:lnTo>
                      <a:pt x="85" y="289"/>
                    </a:lnTo>
                    <a:lnTo>
                      <a:pt x="92" y="289"/>
                    </a:lnTo>
                    <a:lnTo>
                      <a:pt x="103" y="288"/>
                    </a:lnTo>
                    <a:lnTo>
                      <a:pt x="113" y="284"/>
                    </a:lnTo>
                    <a:lnTo>
                      <a:pt x="136" y="277"/>
                    </a:lnTo>
                    <a:lnTo>
                      <a:pt x="144" y="275"/>
                    </a:lnTo>
                    <a:lnTo>
                      <a:pt x="151" y="274"/>
                    </a:lnTo>
                    <a:lnTo>
                      <a:pt x="151" y="274"/>
                    </a:lnTo>
                    <a:lnTo>
                      <a:pt x="153" y="275"/>
                    </a:lnTo>
                    <a:lnTo>
                      <a:pt x="155" y="277"/>
                    </a:lnTo>
                    <a:lnTo>
                      <a:pt x="153" y="281"/>
                    </a:lnTo>
                    <a:lnTo>
                      <a:pt x="153" y="282"/>
                    </a:lnTo>
                    <a:lnTo>
                      <a:pt x="153" y="284"/>
                    </a:lnTo>
                    <a:lnTo>
                      <a:pt x="157" y="286"/>
                    </a:lnTo>
                    <a:lnTo>
                      <a:pt x="162" y="284"/>
                    </a:lnTo>
                    <a:lnTo>
                      <a:pt x="162" y="284"/>
                    </a:lnTo>
                    <a:lnTo>
                      <a:pt x="169" y="282"/>
                    </a:lnTo>
                    <a:lnTo>
                      <a:pt x="174" y="281"/>
                    </a:lnTo>
                    <a:lnTo>
                      <a:pt x="176" y="279"/>
                    </a:lnTo>
                    <a:lnTo>
                      <a:pt x="177" y="275"/>
                    </a:lnTo>
                    <a:lnTo>
                      <a:pt x="177" y="270"/>
                    </a:lnTo>
                    <a:lnTo>
                      <a:pt x="177" y="265"/>
                    </a:lnTo>
                    <a:lnTo>
                      <a:pt x="177" y="265"/>
                    </a:lnTo>
                    <a:lnTo>
                      <a:pt x="177" y="262"/>
                    </a:lnTo>
                    <a:lnTo>
                      <a:pt x="181" y="256"/>
                    </a:lnTo>
                    <a:lnTo>
                      <a:pt x="191" y="244"/>
                    </a:lnTo>
                    <a:lnTo>
                      <a:pt x="198" y="235"/>
                    </a:lnTo>
                    <a:lnTo>
                      <a:pt x="202" y="227"/>
                    </a:lnTo>
                    <a:lnTo>
                      <a:pt x="204" y="218"/>
                    </a:lnTo>
                    <a:lnTo>
                      <a:pt x="204" y="209"/>
                    </a:lnTo>
                    <a:lnTo>
                      <a:pt x="204" y="209"/>
                    </a:lnTo>
                    <a:lnTo>
                      <a:pt x="204" y="204"/>
                    </a:lnTo>
                    <a:lnTo>
                      <a:pt x="205" y="201"/>
                    </a:lnTo>
                    <a:lnTo>
                      <a:pt x="207" y="197"/>
                    </a:lnTo>
                    <a:lnTo>
                      <a:pt x="212" y="194"/>
                    </a:lnTo>
                    <a:lnTo>
                      <a:pt x="219" y="190"/>
                    </a:lnTo>
                    <a:lnTo>
                      <a:pt x="223" y="190"/>
                    </a:lnTo>
                    <a:lnTo>
                      <a:pt x="225" y="190"/>
                    </a:lnTo>
                    <a:lnTo>
                      <a:pt x="225" y="190"/>
                    </a:lnTo>
                    <a:lnTo>
                      <a:pt x="226" y="194"/>
                    </a:lnTo>
                    <a:lnTo>
                      <a:pt x="226" y="197"/>
                    </a:lnTo>
                    <a:lnTo>
                      <a:pt x="219" y="204"/>
                    </a:lnTo>
                    <a:lnTo>
                      <a:pt x="212" y="209"/>
                    </a:lnTo>
                    <a:lnTo>
                      <a:pt x="212" y="211"/>
                    </a:lnTo>
                    <a:lnTo>
                      <a:pt x="214" y="213"/>
                    </a:lnTo>
                    <a:lnTo>
                      <a:pt x="214" y="213"/>
                    </a:lnTo>
                    <a:lnTo>
                      <a:pt x="216" y="216"/>
                    </a:lnTo>
                    <a:lnTo>
                      <a:pt x="216" y="220"/>
                    </a:lnTo>
                    <a:lnTo>
                      <a:pt x="214" y="227"/>
                    </a:lnTo>
                    <a:lnTo>
                      <a:pt x="214" y="228"/>
                    </a:lnTo>
                    <a:lnTo>
                      <a:pt x="216" y="230"/>
                    </a:lnTo>
                    <a:lnTo>
                      <a:pt x="223" y="223"/>
                    </a:lnTo>
                    <a:lnTo>
                      <a:pt x="223" y="223"/>
                    </a:lnTo>
                    <a:lnTo>
                      <a:pt x="230" y="218"/>
                    </a:lnTo>
                    <a:lnTo>
                      <a:pt x="237" y="215"/>
                    </a:lnTo>
                    <a:lnTo>
                      <a:pt x="249" y="209"/>
                    </a:lnTo>
                    <a:lnTo>
                      <a:pt x="254" y="208"/>
                    </a:lnTo>
                    <a:lnTo>
                      <a:pt x="261" y="202"/>
                    </a:lnTo>
                    <a:lnTo>
                      <a:pt x="266" y="197"/>
                    </a:lnTo>
                    <a:lnTo>
                      <a:pt x="273" y="188"/>
                    </a:lnTo>
                    <a:lnTo>
                      <a:pt x="273" y="188"/>
                    </a:lnTo>
                    <a:lnTo>
                      <a:pt x="284" y="173"/>
                    </a:lnTo>
                    <a:lnTo>
                      <a:pt x="294" y="162"/>
                    </a:lnTo>
                    <a:lnTo>
                      <a:pt x="299" y="155"/>
                    </a:lnTo>
                    <a:lnTo>
                      <a:pt x="303" y="147"/>
                    </a:lnTo>
                    <a:lnTo>
                      <a:pt x="308" y="136"/>
                    </a:lnTo>
                    <a:lnTo>
                      <a:pt x="312" y="122"/>
                    </a:lnTo>
                    <a:lnTo>
                      <a:pt x="312" y="122"/>
                    </a:lnTo>
                    <a:lnTo>
                      <a:pt x="317" y="105"/>
                    </a:lnTo>
                    <a:lnTo>
                      <a:pt x="317" y="93"/>
                    </a:lnTo>
                    <a:lnTo>
                      <a:pt x="317" y="86"/>
                    </a:lnTo>
                    <a:lnTo>
                      <a:pt x="315" y="82"/>
                    </a:lnTo>
                    <a:lnTo>
                      <a:pt x="312" y="80"/>
                    </a:lnTo>
                    <a:lnTo>
                      <a:pt x="310" y="79"/>
                    </a:lnTo>
                    <a:lnTo>
                      <a:pt x="308" y="79"/>
                    </a:lnTo>
                    <a:lnTo>
                      <a:pt x="308" y="77"/>
                    </a:lnTo>
                    <a:lnTo>
                      <a:pt x="308" y="77"/>
                    </a:lnTo>
                    <a:lnTo>
                      <a:pt x="308" y="74"/>
                    </a:lnTo>
                    <a:lnTo>
                      <a:pt x="310" y="74"/>
                    </a:lnTo>
                    <a:lnTo>
                      <a:pt x="313" y="70"/>
                    </a:lnTo>
                    <a:lnTo>
                      <a:pt x="315" y="68"/>
                    </a:lnTo>
                    <a:lnTo>
                      <a:pt x="317" y="65"/>
                    </a:lnTo>
                    <a:lnTo>
                      <a:pt x="317" y="60"/>
                    </a:lnTo>
                    <a:lnTo>
                      <a:pt x="315" y="53"/>
                    </a:lnTo>
                    <a:lnTo>
                      <a:pt x="315" y="53"/>
                    </a:lnTo>
                    <a:lnTo>
                      <a:pt x="313" y="44"/>
                    </a:lnTo>
                    <a:lnTo>
                      <a:pt x="313" y="40"/>
                    </a:lnTo>
                    <a:lnTo>
                      <a:pt x="315" y="39"/>
                    </a:lnTo>
                    <a:lnTo>
                      <a:pt x="319" y="37"/>
                    </a:lnTo>
                    <a:lnTo>
                      <a:pt x="322" y="37"/>
                    </a:lnTo>
                    <a:lnTo>
                      <a:pt x="325" y="37"/>
                    </a:lnTo>
                    <a:lnTo>
                      <a:pt x="327" y="33"/>
                    </a:lnTo>
                    <a:lnTo>
                      <a:pt x="329" y="27"/>
                    </a:lnTo>
                    <a:lnTo>
                      <a:pt x="329" y="27"/>
                    </a:lnTo>
                    <a:lnTo>
                      <a:pt x="329" y="20"/>
                    </a:lnTo>
                    <a:lnTo>
                      <a:pt x="331" y="16"/>
                    </a:lnTo>
                    <a:lnTo>
                      <a:pt x="332" y="13"/>
                    </a:lnTo>
                    <a:lnTo>
                      <a:pt x="336" y="13"/>
                    </a:lnTo>
                    <a:lnTo>
                      <a:pt x="338" y="14"/>
                    </a:lnTo>
                    <a:lnTo>
                      <a:pt x="339" y="16"/>
                    </a:lnTo>
                    <a:lnTo>
                      <a:pt x="341" y="27"/>
                    </a:lnTo>
                    <a:lnTo>
                      <a:pt x="341" y="27"/>
                    </a:lnTo>
                    <a:lnTo>
                      <a:pt x="341" y="32"/>
                    </a:lnTo>
                    <a:lnTo>
                      <a:pt x="343" y="33"/>
                    </a:lnTo>
                    <a:lnTo>
                      <a:pt x="345" y="33"/>
                    </a:lnTo>
                    <a:lnTo>
                      <a:pt x="346" y="32"/>
                    </a:lnTo>
                    <a:lnTo>
                      <a:pt x="350" y="28"/>
                    </a:lnTo>
                    <a:lnTo>
                      <a:pt x="353" y="28"/>
                    </a:lnTo>
                    <a:lnTo>
                      <a:pt x="355" y="30"/>
                    </a:lnTo>
                    <a:lnTo>
                      <a:pt x="355" y="30"/>
                    </a:lnTo>
                    <a:lnTo>
                      <a:pt x="357" y="30"/>
                    </a:lnTo>
                    <a:lnTo>
                      <a:pt x="360" y="30"/>
                    </a:lnTo>
                    <a:lnTo>
                      <a:pt x="362" y="23"/>
                    </a:lnTo>
                    <a:lnTo>
                      <a:pt x="362" y="20"/>
                    </a:lnTo>
                    <a:lnTo>
                      <a:pt x="360" y="18"/>
                    </a:lnTo>
                    <a:lnTo>
                      <a:pt x="357" y="16"/>
                    </a:lnTo>
                    <a:lnTo>
                      <a:pt x="353" y="16"/>
                    </a:lnTo>
                    <a:lnTo>
                      <a:pt x="353" y="16"/>
                    </a:lnTo>
                    <a:lnTo>
                      <a:pt x="350" y="16"/>
                    </a:lnTo>
                    <a:lnTo>
                      <a:pt x="348" y="16"/>
                    </a:lnTo>
                    <a:lnTo>
                      <a:pt x="346" y="13"/>
                    </a:lnTo>
                    <a:lnTo>
                      <a:pt x="346" y="9"/>
                    </a:lnTo>
                    <a:lnTo>
                      <a:pt x="350" y="2"/>
                    </a:lnTo>
                    <a:lnTo>
                      <a:pt x="352" y="0"/>
                    </a:lnTo>
                    <a:lnTo>
                      <a:pt x="353" y="0"/>
                    </a:lnTo>
                    <a:lnTo>
                      <a:pt x="353" y="0"/>
                    </a:lnTo>
                    <a:lnTo>
                      <a:pt x="359" y="4"/>
                    </a:lnTo>
                    <a:lnTo>
                      <a:pt x="364" y="6"/>
                    </a:lnTo>
                    <a:lnTo>
                      <a:pt x="367" y="7"/>
                    </a:lnTo>
                    <a:lnTo>
                      <a:pt x="369" y="9"/>
                    </a:lnTo>
                    <a:lnTo>
                      <a:pt x="367" y="13"/>
                    </a:lnTo>
                    <a:lnTo>
                      <a:pt x="367" y="13"/>
                    </a:lnTo>
                    <a:lnTo>
                      <a:pt x="367" y="23"/>
                    </a:lnTo>
                    <a:lnTo>
                      <a:pt x="367" y="35"/>
                    </a:lnTo>
                    <a:lnTo>
                      <a:pt x="371" y="47"/>
                    </a:lnTo>
                    <a:lnTo>
                      <a:pt x="374" y="54"/>
                    </a:lnTo>
                    <a:lnTo>
                      <a:pt x="379" y="60"/>
                    </a:lnTo>
                    <a:lnTo>
                      <a:pt x="379" y="60"/>
                    </a:lnTo>
                    <a:lnTo>
                      <a:pt x="385" y="67"/>
                    </a:lnTo>
                    <a:lnTo>
                      <a:pt x="388" y="74"/>
                    </a:lnTo>
                    <a:lnTo>
                      <a:pt x="390" y="82"/>
                    </a:lnTo>
                    <a:lnTo>
                      <a:pt x="390" y="91"/>
                    </a:lnTo>
                    <a:lnTo>
                      <a:pt x="388" y="100"/>
                    </a:lnTo>
                    <a:lnTo>
                      <a:pt x="386" y="108"/>
                    </a:lnTo>
                    <a:lnTo>
                      <a:pt x="383" y="115"/>
                    </a:lnTo>
                    <a:lnTo>
                      <a:pt x="379" y="124"/>
                    </a:lnTo>
                    <a:lnTo>
                      <a:pt x="379" y="124"/>
                    </a:lnTo>
                    <a:lnTo>
                      <a:pt x="374" y="131"/>
                    </a:lnTo>
                    <a:lnTo>
                      <a:pt x="373" y="136"/>
                    </a:lnTo>
                    <a:lnTo>
                      <a:pt x="373" y="148"/>
                    </a:lnTo>
                    <a:lnTo>
                      <a:pt x="373" y="155"/>
                    </a:lnTo>
                    <a:lnTo>
                      <a:pt x="371" y="155"/>
                    </a:lnTo>
                    <a:lnTo>
                      <a:pt x="367" y="154"/>
                    </a:lnTo>
                    <a:lnTo>
                      <a:pt x="367" y="154"/>
                    </a:lnTo>
                    <a:lnTo>
                      <a:pt x="362" y="150"/>
                    </a:lnTo>
                    <a:lnTo>
                      <a:pt x="359" y="150"/>
                    </a:lnTo>
                    <a:lnTo>
                      <a:pt x="355" y="152"/>
                    </a:lnTo>
                    <a:lnTo>
                      <a:pt x="353" y="157"/>
                    </a:lnTo>
                    <a:lnTo>
                      <a:pt x="352" y="162"/>
                    </a:lnTo>
                    <a:lnTo>
                      <a:pt x="350" y="169"/>
                    </a:lnTo>
                    <a:lnTo>
                      <a:pt x="352" y="176"/>
                    </a:lnTo>
                    <a:lnTo>
                      <a:pt x="353" y="185"/>
                    </a:lnTo>
                    <a:lnTo>
                      <a:pt x="353" y="185"/>
                    </a:lnTo>
                    <a:lnTo>
                      <a:pt x="355" y="197"/>
                    </a:lnTo>
                    <a:lnTo>
                      <a:pt x="353" y="208"/>
                    </a:lnTo>
                    <a:lnTo>
                      <a:pt x="350" y="220"/>
                    </a:lnTo>
                    <a:lnTo>
                      <a:pt x="345" y="228"/>
                    </a:lnTo>
                    <a:lnTo>
                      <a:pt x="341" y="239"/>
                    </a:lnTo>
                    <a:lnTo>
                      <a:pt x="338" y="248"/>
                    </a:lnTo>
                    <a:lnTo>
                      <a:pt x="339" y="258"/>
                    </a:lnTo>
                    <a:lnTo>
                      <a:pt x="341" y="262"/>
                    </a:lnTo>
                    <a:lnTo>
                      <a:pt x="345" y="267"/>
                    </a:lnTo>
                    <a:lnTo>
                      <a:pt x="345" y="267"/>
                    </a:lnTo>
                    <a:lnTo>
                      <a:pt x="350" y="275"/>
                    </a:lnTo>
                    <a:lnTo>
                      <a:pt x="352" y="279"/>
                    </a:lnTo>
                    <a:lnTo>
                      <a:pt x="350" y="281"/>
                    </a:lnTo>
                    <a:lnTo>
                      <a:pt x="348" y="281"/>
                    </a:lnTo>
                    <a:lnTo>
                      <a:pt x="343" y="281"/>
                    </a:lnTo>
                    <a:lnTo>
                      <a:pt x="339" y="281"/>
                    </a:lnTo>
                    <a:lnTo>
                      <a:pt x="336" y="284"/>
                    </a:lnTo>
                    <a:lnTo>
                      <a:pt x="332" y="289"/>
                    </a:lnTo>
                    <a:lnTo>
                      <a:pt x="332" y="289"/>
                    </a:lnTo>
                    <a:lnTo>
                      <a:pt x="331" y="302"/>
                    </a:lnTo>
                    <a:lnTo>
                      <a:pt x="329" y="303"/>
                    </a:lnTo>
                    <a:lnTo>
                      <a:pt x="327" y="305"/>
                    </a:lnTo>
                    <a:lnTo>
                      <a:pt x="322" y="307"/>
                    </a:lnTo>
                    <a:lnTo>
                      <a:pt x="320" y="309"/>
                    </a:lnTo>
                    <a:lnTo>
                      <a:pt x="317" y="312"/>
                    </a:lnTo>
                    <a:lnTo>
                      <a:pt x="317" y="312"/>
                    </a:lnTo>
                    <a:lnTo>
                      <a:pt x="313" y="316"/>
                    </a:lnTo>
                    <a:lnTo>
                      <a:pt x="312" y="316"/>
                    </a:lnTo>
                    <a:lnTo>
                      <a:pt x="312" y="309"/>
                    </a:lnTo>
                    <a:lnTo>
                      <a:pt x="315" y="296"/>
                    </a:lnTo>
                    <a:lnTo>
                      <a:pt x="319" y="288"/>
                    </a:lnTo>
                    <a:lnTo>
                      <a:pt x="319" y="288"/>
                    </a:lnTo>
                    <a:lnTo>
                      <a:pt x="320" y="284"/>
                    </a:lnTo>
                    <a:lnTo>
                      <a:pt x="320" y="282"/>
                    </a:lnTo>
                    <a:lnTo>
                      <a:pt x="320" y="281"/>
                    </a:lnTo>
                    <a:lnTo>
                      <a:pt x="319" y="279"/>
                    </a:lnTo>
                    <a:lnTo>
                      <a:pt x="313" y="281"/>
                    </a:lnTo>
                    <a:lnTo>
                      <a:pt x="310" y="282"/>
                    </a:lnTo>
                    <a:lnTo>
                      <a:pt x="308" y="286"/>
                    </a:lnTo>
                    <a:lnTo>
                      <a:pt x="308" y="286"/>
                    </a:lnTo>
                    <a:lnTo>
                      <a:pt x="306" y="289"/>
                    </a:lnTo>
                    <a:lnTo>
                      <a:pt x="306" y="295"/>
                    </a:lnTo>
                    <a:lnTo>
                      <a:pt x="306" y="302"/>
                    </a:lnTo>
                    <a:lnTo>
                      <a:pt x="306" y="303"/>
                    </a:lnTo>
                    <a:lnTo>
                      <a:pt x="306" y="303"/>
                    </a:lnTo>
                    <a:lnTo>
                      <a:pt x="301" y="300"/>
                    </a:lnTo>
                    <a:lnTo>
                      <a:pt x="301" y="300"/>
                    </a:lnTo>
                    <a:lnTo>
                      <a:pt x="294" y="295"/>
                    </a:lnTo>
                    <a:lnTo>
                      <a:pt x="292" y="296"/>
                    </a:lnTo>
                    <a:lnTo>
                      <a:pt x="291" y="298"/>
                    </a:lnTo>
                    <a:lnTo>
                      <a:pt x="287" y="303"/>
                    </a:lnTo>
                    <a:lnTo>
                      <a:pt x="285" y="314"/>
                    </a:lnTo>
                    <a:lnTo>
                      <a:pt x="285" y="314"/>
                    </a:lnTo>
                    <a:lnTo>
                      <a:pt x="282" y="324"/>
                    </a:lnTo>
                    <a:lnTo>
                      <a:pt x="278" y="328"/>
                    </a:lnTo>
                    <a:lnTo>
                      <a:pt x="277" y="328"/>
                    </a:lnTo>
                    <a:lnTo>
                      <a:pt x="275" y="326"/>
                    </a:lnTo>
                    <a:lnTo>
                      <a:pt x="273" y="322"/>
                    </a:lnTo>
                    <a:lnTo>
                      <a:pt x="275" y="316"/>
                    </a:lnTo>
                    <a:lnTo>
                      <a:pt x="275" y="316"/>
                    </a:lnTo>
                    <a:lnTo>
                      <a:pt x="275" y="310"/>
                    </a:lnTo>
                    <a:lnTo>
                      <a:pt x="275" y="307"/>
                    </a:lnTo>
                    <a:lnTo>
                      <a:pt x="273" y="305"/>
                    </a:lnTo>
                    <a:lnTo>
                      <a:pt x="272" y="305"/>
                    </a:lnTo>
                    <a:lnTo>
                      <a:pt x="265" y="310"/>
                    </a:lnTo>
                    <a:lnTo>
                      <a:pt x="259" y="319"/>
                    </a:lnTo>
                    <a:lnTo>
                      <a:pt x="259" y="319"/>
                    </a:lnTo>
                    <a:lnTo>
                      <a:pt x="254" y="326"/>
                    </a:lnTo>
                    <a:lnTo>
                      <a:pt x="252" y="328"/>
                    </a:lnTo>
                    <a:lnTo>
                      <a:pt x="249" y="328"/>
                    </a:lnTo>
                    <a:lnTo>
                      <a:pt x="242" y="328"/>
                    </a:lnTo>
                    <a:lnTo>
                      <a:pt x="242" y="328"/>
                    </a:lnTo>
                    <a:lnTo>
                      <a:pt x="231" y="328"/>
                    </a:lnTo>
                    <a:lnTo>
                      <a:pt x="221" y="329"/>
                    </a:lnTo>
                    <a:lnTo>
                      <a:pt x="214" y="329"/>
                    </a:lnTo>
                    <a:lnTo>
                      <a:pt x="216" y="328"/>
                    </a:lnTo>
                    <a:lnTo>
                      <a:pt x="218" y="326"/>
                    </a:lnTo>
                    <a:lnTo>
                      <a:pt x="218" y="326"/>
                    </a:lnTo>
                    <a:lnTo>
                      <a:pt x="221" y="321"/>
                    </a:lnTo>
                    <a:lnTo>
                      <a:pt x="218" y="322"/>
                    </a:lnTo>
                    <a:lnTo>
                      <a:pt x="214" y="322"/>
                    </a:lnTo>
                    <a:lnTo>
                      <a:pt x="211" y="321"/>
                    </a:lnTo>
                    <a:lnTo>
                      <a:pt x="209" y="319"/>
                    </a:lnTo>
                    <a:lnTo>
                      <a:pt x="209" y="314"/>
                    </a:lnTo>
                    <a:lnTo>
                      <a:pt x="209" y="314"/>
                    </a:lnTo>
                    <a:lnTo>
                      <a:pt x="207" y="309"/>
                    </a:lnTo>
                    <a:lnTo>
                      <a:pt x="205" y="309"/>
                    </a:lnTo>
                    <a:lnTo>
                      <a:pt x="202" y="309"/>
                    </a:lnTo>
                    <a:lnTo>
                      <a:pt x="198" y="312"/>
                    </a:lnTo>
                    <a:lnTo>
                      <a:pt x="197" y="317"/>
                    </a:lnTo>
                    <a:lnTo>
                      <a:pt x="197" y="322"/>
                    </a:lnTo>
                    <a:lnTo>
                      <a:pt x="198" y="328"/>
                    </a:lnTo>
                    <a:lnTo>
                      <a:pt x="204" y="333"/>
                    </a:lnTo>
                    <a:lnTo>
                      <a:pt x="204" y="333"/>
                    </a:lnTo>
                    <a:lnTo>
                      <a:pt x="209" y="336"/>
                    </a:lnTo>
                    <a:lnTo>
                      <a:pt x="211" y="338"/>
                    </a:lnTo>
                    <a:lnTo>
                      <a:pt x="211" y="340"/>
                    </a:lnTo>
                    <a:lnTo>
                      <a:pt x="207" y="342"/>
                    </a:lnTo>
                    <a:lnTo>
                      <a:pt x="198" y="345"/>
                    </a:lnTo>
                    <a:lnTo>
                      <a:pt x="195" y="347"/>
                    </a:lnTo>
                    <a:lnTo>
                      <a:pt x="191" y="350"/>
                    </a:lnTo>
                    <a:lnTo>
                      <a:pt x="191" y="350"/>
                    </a:lnTo>
                    <a:lnTo>
                      <a:pt x="177" y="373"/>
                    </a:lnTo>
                    <a:lnTo>
                      <a:pt x="174" y="378"/>
                    </a:lnTo>
                    <a:lnTo>
                      <a:pt x="171" y="382"/>
                    </a:lnTo>
                    <a:lnTo>
                      <a:pt x="167" y="383"/>
                    </a:lnTo>
                    <a:lnTo>
                      <a:pt x="164" y="382"/>
                    </a:lnTo>
                    <a:lnTo>
                      <a:pt x="165" y="38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5" name="Freeform 2073">
                <a:extLst>
                  <a:ext uri="{FF2B5EF4-FFF2-40B4-BE49-F238E27FC236}">
                    <a16:creationId xmlns:a16="http://schemas.microsoft.com/office/drawing/2014/main" id="{6D8835D5-A236-4D26-98D9-723EC55BAB8C}"/>
                  </a:ext>
                </a:extLst>
              </p:cNvPr>
              <p:cNvSpPr>
                <a:spLocks/>
              </p:cNvSpPr>
              <p:nvPr/>
            </p:nvSpPr>
            <p:spPr bwMode="auto">
              <a:xfrm>
                <a:off x="7367588" y="3200400"/>
                <a:ext cx="63500" cy="96838"/>
              </a:xfrm>
              <a:custGeom>
                <a:avLst/>
                <a:gdLst/>
                <a:ahLst/>
                <a:cxnLst>
                  <a:cxn ang="0">
                    <a:pos x="28" y="56"/>
                  </a:cxn>
                  <a:cxn ang="0">
                    <a:pos x="23" y="57"/>
                  </a:cxn>
                  <a:cxn ang="0">
                    <a:pos x="21" y="54"/>
                  </a:cxn>
                  <a:cxn ang="0">
                    <a:pos x="19" y="52"/>
                  </a:cxn>
                  <a:cxn ang="0">
                    <a:pos x="16" y="56"/>
                  </a:cxn>
                  <a:cxn ang="0">
                    <a:pos x="9" y="61"/>
                  </a:cxn>
                  <a:cxn ang="0">
                    <a:pos x="9" y="56"/>
                  </a:cxn>
                  <a:cxn ang="0">
                    <a:pos x="5" y="49"/>
                  </a:cxn>
                  <a:cxn ang="0">
                    <a:pos x="4" y="43"/>
                  </a:cxn>
                  <a:cxn ang="0">
                    <a:pos x="5" y="36"/>
                  </a:cxn>
                  <a:cxn ang="0">
                    <a:pos x="2" y="29"/>
                  </a:cxn>
                  <a:cxn ang="0">
                    <a:pos x="4" y="24"/>
                  </a:cxn>
                  <a:cxn ang="0">
                    <a:pos x="11" y="22"/>
                  </a:cxn>
                  <a:cxn ang="0">
                    <a:pos x="11" y="19"/>
                  </a:cxn>
                  <a:cxn ang="0">
                    <a:pos x="14" y="17"/>
                  </a:cxn>
                  <a:cxn ang="0">
                    <a:pos x="19" y="19"/>
                  </a:cxn>
                  <a:cxn ang="0">
                    <a:pos x="21" y="17"/>
                  </a:cxn>
                  <a:cxn ang="0">
                    <a:pos x="26" y="12"/>
                  </a:cxn>
                  <a:cxn ang="0">
                    <a:pos x="31" y="7"/>
                  </a:cxn>
                  <a:cxn ang="0">
                    <a:pos x="35" y="3"/>
                  </a:cxn>
                  <a:cxn ang="0">
                    <a:pos x="40" y="0"/>
                  </a:cxn>
                  <a:cxn ang="0">
                    <a:pos x="49" y="2"/>
                  </a:cxn>
                  <a:cxn ang="0">
                    <a:pos x="52" y="7"/>
                  </a:cxn>
                  <a:cxn ang="0">
                    <a:pos x="54" y="12"/>
                  </a:cxn>
                  <a:cxn ang="0">
                    <a:pos x="59" y="14"/>
                  </a:cxn>
                  <a:cxn ang="0">
                    <a:pos x="68" y="10"/>
                  </a:cxn>
                  <a:cxn ang="0">
                    <a:pos x="75" y="12"/>
                  </a:cxn>
                  <a:cxn ang="0">
                    <a:pos x="77" y="15"/>
                  </a:cxn>
                  <a:cxn ang="0">
                    <a:pos x="73" y="24"/>
                  </a:cxn>
                  <a:cxn ang="0">
                    <a:pos x="72" y="31"/>
                  </a:cxn>
                  <a:cxn ang="0">
                    <a:pos x="75" y="31"/>
                  </a:cxn>
                  <a:cxn ang="0">
                    <a:pos x="82" y="35"/>
                  </a:cxn>
                  <a:cxn ang="0">
                    <a:pos x="89" y="47"/>
                  </a:cxn>
                  <a:cxn ang="0">
                    <a:pos x="85" y="50"/>
                  </a:cxn>
                  <a:cxn ang="0">
                    <a:pos x="82" y="52"/>
                  </a:cxn>
                  <a:cxn ang="0">
                    <a:pos x="77" y="61"/>
                  </a:cxn>
                  <a:cxn ang="0">
                    <a:pos x="68" y="104"/>
                  </a:cxn>
                  <a:cxn ang="0">
                    <a:pos x="65" y="115"/>
                  </a:cxn>
                  <a:cxn ang="0">
                    <a:pos x="61" y="115"/>
                  </a:cxn>
                  <a:cxn ang="0">
                    <a:pos x="58" y="111"/>
                  </a:cxn>
                  <a:cxn ang="0">
                    <a:pos x="54" y="111"/>
                  </a:cxn>
                  <a:cxn ang="0">
                    <a:pos x="52" y="115"/>
                  </a:cxn>
                  <a:cxn ang="0">
                    <a:pos x="56" y="118"/>
                  </a:cxn>
                  <a:cxn ang="0">
                    <a:pos x="52" y="123"/>
                  </a:cxn>
                  <a:cxn ang="0">
                    <a:pos x="49" y="127"/>
                  </a:cxn>
                  <a:cxn ang="0">
                    <a:pos x="42" y="132"/>
                  </a:cxn>
                  <a:cxn ang="0">
                    <a:pos x="40" y="127"/>
                  </a:cxn>
                  <a:cxn ang="0">
                    <a:pos x="31" y="122"/>
                  </a:cxn>
                  <a:cxn ang="0">
                    <a:pos x="23" y="118"/>
                  </a:cxn>
                  <a:cxn ang="0">
                    <a:pos x="23" y="116"/>
                  </a:cxn>
                  <a:cxn ang="0">
                    <a:pos x="26" y="108"/>
                  </a:cxn>
                  <a:cxn ang="0">
                    <a:pos x="26" y="103"/>
                  </a:cxn>
                  <a:cxn ang="0">
                    <a:pos x="25" y="83"/>
                  </a:cxn>
                  <a:cxn ang="0">
                    <a:pos x="30" y="76"/>
                  </a:cxn>
                  <a:cxn ang="0">
                    <a:pos x="37" y="57"/>
                  </a:cxn>
                  <a:cxn ang="0">
                    <a:pos x="30" y="40"/>
                  </a:cxn>
                  <a:cxn ang="0">
                    <a:pos x="28" y="36"/>
                  </a:cxn>
                  <a:cxn ang="0">
                    <a:pos x="23" y="35"/>
                  </a:cxn>
                  <a:cxn ang="0">
                    <a:pos x="23" y="42"/>
                  </a:cxn>
                  <a:cxn ang="0">
                    <a:pos x="25" y="47"/>
                  </a:cxn>
                  <a:cxn ang="0">
                    <a:pos x="30" y="50"/>
                  </a:cxn>
                  <a:cxn ang="0">
                    <a:pos x="30" y="54"/>
                  </a:cxn>
                  <a:cxn ang="0">
                    <a:pos x="28" y="56"/>
                  </a:cxn>
                </a:cxnLst>
                <a:rect l="0" t="0" r="r" b="b"/>
                <a:pathLst>
                  <a:path w="89" h="132">
                    <a:moveTo>
                      <a:pt x="28" y="56"/>
                    </a:moveTo>
                    <a:lnTo>
                      <a:pt x="28" y="56"/>
                    </a:lnTo>
                    <a:lnTo>
                      <a:pt x="25" y="57"/>
                    </a:lnTo>
                    <a:lnTo>
                      <a:pt x="23" y="57"/>
                    </a:lnTo>
                    <a:lnTo>
                      <a:pt x="21" y="56"/>
                    </a:lnTo>
                    <a:lnTo>
                      <a:pt x="21" y="54"/>
                    </a:lnTo>
                    <a:lnTo>
                      <a:pt x="21" y="52"/>
                    </a:lnTo>
                    <a:lnTo>
                      <a:pt x="19" y="52"/>
                    </a:lnTo>
                    <a:lnTo>
                      <a:pt x="16" y="56"/>
                    </a:lnTo>
                    <a:lnTo>
                      <a:pt x="16" y="56"/>
                    </a:lnTo>
                    <a:lnTo>
                      <a:pt x="9" y="61"/>
                    </a:lnTo>
                    <a:lnTo>
                      <a:pt x="9" y="61"/>
                    </a:lnTo>
                    <a:lnTo>
                      <a:pt x="9" y="59"/>
                    </a:lnTo>
                    <a:lnTo>
                      <a:pt x="9" y="56"/>
                    </a:lnTo>
                    <a:lnTo>
                      <a:pt x="9" y="52"/>
                    </a:lnTo>
                    <a:lnTo>
                      <a:pt x="5" y="49"/>
                    </a:lnTo>
                    <a:lnTo>
                      <a:pt x="5" y="49"/>
                    </a:lnTo>
                    <a:lnTo>
                      <a:pt x="4" y="43"/>
                    </a:lnTo>
                    <a:lnTo>
                      <a:pt x="4" y="40"/>
                    </a:lnTo>
                    <a:lnTo>
                      <a:pt x="5" y="36"/>
                    </a:lnTo>
                    <a:lnTo>
                      <a:pt x="2" y="29"/>
                    </a:lnTo>
                    <a:lnTo>
                      <a:pt x="2" y="29"/>
                    </a:lnTo>
                    <a:lnTo>
                      <a:pt x="0" y="24"/>
                    </a:lnTo>
                    <a:lnTo>
                      <a:pt x="4" y="24"/>
                    </a:lnTo>
                    <a:lnTo>
                      <a:pt x="9" y="24"/>
                    </a:lnTo>
                    <a:lnTo>
                      <a:pt x="11" y="22"/>
                    </a:lnTo>
                    <a:lnTo>
                      <a:pt x="11" y="19"/>
                    </a:lnTo>
                    <a:lnTo>
                      <a:pt x="11" y="19"/>
                    </a:lnTo>
                    <a:lnTo>
                      <a:pt x="12" y="15"/>
                    </a:lnTo>
                    <a:lnTo>
                      <a:pt x="14" y="17"/>
                    </a:lnTo>
                    <a:lnTo>
                      <a:pt x="18" y="21"/>
                    </a:lnTo>
                    <a:lnTo>
                      <a:pt x="19" y="19"/>
                    </a:lnTo>
                    <a:lnTo>
                      <a:pt x="21" y="17"/>
                    </a:lnTo>
                    <a:lnTo>
                      <a:pt x="21" y="17"/>
                    </a:lnTo>
                    <a:lnTo>
                      <a:pt x="25" y="12"/>
                    </a:lnTo>
                    <a:lnTo>
                      <a:pt x="26" y="12"/>
                    </a:lnTo>
                    <a:lnTo>
                      <a:pt x="30" y="12"/>
                    </a:lnTo>
                    <a:lnTo>
                      <a:pt x="31" y="7"/>
                    </a:lnTo>
                    <a:lnTo>
                      <a:pt x="31" y="7"/>
                    </a:lnTo>
                    <a:lnTo>
                      <a:pt x="35" y="3"/>
                    </a:lnTo>
                    <a:lnTo>
                      <a:pt x="37" y="0"/>
                    </a:lnTo>
                    <a:lnTo>
                      <a:pt x="40" y="0"/>
                    </a:lnTo>
                    <a:lnTo>
                      <a:pt x="44" y="0"/>
                    </a:lnTo>
                    <a:lnTo>
                      <a:pt x="49" y="2"/>
                    </a:lnTo>
                    <a:lnTo>
                      <a:pt x="51" y="3"/>
                    </a:lnTo>
                    <a:lnTo>
                      <a:pt x="52" y="7"/>
                    </a:lnTo>
                    <a:lnTo>
                      <a:pt x="52" y="7"/>
                    </a:lnTo>
                    <a:lnTo>
                      <a:pt x="54" y="12"/>
                    </a:lnTo>
                    <a:lnTo>
                      <a:pt x="56" y="14"/>
                    </a:lnTo>
                    <a:lnTo>
                      <a:pt x="59" y="14"/>
                    </a:lnTo>
                    <a:lnTo>
                      <a:pt x="61" y="14"/>
                    </a:lnTo>
                    <a:lnTo>
                      <a:pt x="68" y="10"/>
                    </a:lnTo>
                    <a:lnTo>
                      <a:pt x="72" y="10"/>
                    </a:lnTo>
                    <a:lnTo>
                      <a:pt x="75" y="12"/>
                    </a:lnTo>
                    <a:lnTo>
                      <a:pt x="75" y="12"/>
                    </a:lnTo>
                    <a:lnTo>
                      <a:pt x="77" y="15"/>
                    </a:lnTo>
                    <a:lnTo>
                      <a:pt x="75" y="19"/>
                    </a:lnTo>
                    <a:lnTo>
                      <a:pt x="73" y="24"/>
                    </a:lnTo>
                    <a:lnTo>
                      <a:pt x="70" y="29"/>
                    </a:lnTo>
                    <a:lnTo>
                      <a:pt x="72" y="31"/>
                    </a:lnTo>
                    <a:lnTo>
                      <a:pt x="75" y="31"/>
                    </a:lnTo>
                    <a:lnTo>
                      <a:pt x="75" y="31"/>
                    </a:lnTo>
                    <a:lnTo>
                      <a:pt x="78" y="33"/>
                    </a:lnTo>
                    <a:lnTo>
                      <a:pt x="82" y="35"/>
                    </a:lnTo>
                    <a:lnTo>
                      <a:pt x="87" y="40"/>
                    </a:lnTo>
                    <a:lnTo>
                      <a:pt x="89" y="47"/>
                    </a:lnTo>
                    <a:lnTo>
                      <a:pt x="87" y="49"/>
                    </a:lnTo>
                    <a:lnTo>
                      <a:pt x="85" y="50"/>
                    </a:lnTo>
                    <a:lnTo>
                      <a:pt x="85" y="50"/>
                    </a:lnTo>
                    <a:lnTo>
                      <a:pt x="82" y="52"/>
                    </a:lnTo>
                    <a:lnTo>
                      <a:pt x="80" y="54"/>
                    </a:lnTo>
                    <a:lnTo>
                      <a:pt x="77" y="61"/>
                    </a:lnTo>
                    <a:lnTo>
                      <a:pt x="72" y="82"/>
                    </a:lnTo>
                    <a:lnTo>
                      <a:pt x="68" y="104"/>
                    </a:lnTo>
                    <a:lnTo>
                      <a:pt x="66" y="111"/>
                    </a:lnTo>
                    <a:lnTo>
                      <a:pt x="65" y="115"/>
                    </a:lnTo>
                    <a:lnTo>
                      <a:pt x="65" y="115"/>
                    </a:lnTo>
                    <a:lnTo>
                      <a:pt x="61" y="115"/>
                    </a:lnTo>
                    <a:lnTo>
                      <a:pt x="59" y="113"/>
                    </a:lnTo>
                    <a:lnTo>
                      <a:pt x="58" y="111"/>
                    </a:lnTo>
                    <a:lnTo>
                      <a:pt x="54" y="111"/>
                    </a:lnTo>
                    <a:lnTo>
                      <a:pt x="54" y="111"/>
                    </a:lnTo>
                    <a:lnTo>
                      <a:pt x="52" y="113"/>
                    </a:lnTo>
                    <a:lnTo>
                      <a:pt x="52" y="115"/>
                    </a:lnTo>
                    <a:lnTo>
                      <a:pt x="54" y="118"/>
                    </a:lnTo>
                    <a:lnTo>
                      <a:pt x="56" y="118"/>
                    </a:lnTo>
                    <a:lnTo>
                      <a:pt x="56" y="122"/>
                    </a:lnTo>
                    <a:lnTo>
                      <a:pt x="52" y="123"/>
                    </a:lnTo>
                    <a:lnTo>
                      <a:pt x="49" y="127"/>
                    </a:lnTo>
                    <a:lnTo>
                      <a:pt x="49" y="127"/>
                    </a:lnTo>
                    <a:lnTo>
                      <a:pt x="42" y="132"/>
                    </a:lnTo>
                    <a:lnTo>
                      <a:pt x="42" y="132"/>
                    </a:lnTo>
                    <a:lnTo>
                      <a:pt x="40" y="130"/>
                    </a:lnTo>
                    <a:lnTo>
                      <a:pt x="40" y="127"/>
                    </a:lnTo>
                    <a:lnTo>
                      <a:pt x="37" y="123"/>
                    </a:lnTo>
                    <a:lnTo>
                      <a:pt x="31" y="122"/>
                    </a:lnTo>
                    <a:lnTo>
                      <a:pt x="31" y="122"/>
                    </a:lnTo>
                    <a:lnTo>
                      <a:pt x="23" y="118"/>
                    </a:lnTo>
                    <a:lnTo>
                      <a:pt x="23" y="116"/>
                    </a:lnTo>
                    <a:lnTo>
                      <a:pt x="23" y="116"/>
                    </a:lnTo>
                    <a:lnTo>
                      <a:pt x="26" y="111"/>
                    </a:lnTo>
                    <a:lnTo>
                      <a:pt x="26" y="108"/>
                    </a:lnTo>
                    <a:lnTo>
                      <a:pt x="26" y="103"/>
                    </a:lnTo>
                    <a:lnTo>
                      <a:pt x="26" y="103"/>
                    </a:lnTo>
                    <a:lnTo>
                      <a:pt x="23" y="89"/>
                    </a:lnTo>
                    <a:lnTo>
                      <a:pt x="25" y="83"/>
                    </a:lnTo>
                    <a:lnTo>
                      <a:pt x="30" y="76"/>
                    </a:lnTo>
                    <a:lnTo>
                      <a:pt x="30" y="76"/>
                    </a:lnTo>
                    <a:lnTo>
                      <a:pt x="35" y="66"/>
                    </a:lnTo>
                    <a:lnTo>
                      <a:pt x="37" y="57"/>
                    </a:lnTo>
                    <a:lnTo>
                      <a:pt x="35" y="49"/>
                    </a:lnTo>
                    <a:lnTo>
                      <a:pt x="30" y="40"/>
                    </a:lnTo>
                    <a:lnTo>
                      <a:pt x="30" y="40"/>
                    </a:lnTo>
                    <a:lnTo>
                      <a:pt x="28" y="36"/>
                    </a:lnTo>
                    <a:lnTo>
                      <a:pt x="25" y="35"/>
                    </a:lnTo>
                    <a:lnTo>
                      <a:pt x="23" y="35"/>
                    </a:lnTo>
                    <a:lnTo>
                      <a:pt x="23" y="36"/>
                    </a:lnTo>
                    <a:lnTo>
                      <a:pt x="23" y="42"/>
                    </a:lnTo>
                    <a:lnTo>
                      <a:pt x="23" y="45"/>
                    </a:lnTo>
                    <a:lnTo>
                      <a:pt x="25" y="47"/>
                    </a:lnTo>
                    <a:lnTo>
                      <a:pt x="25" y="47"/>
                    </a:lnTo>
                    <a:lnTo>
                      <a:pt x="30" y="50"/>
                    </a:lnTo>
                    <a:lnTo>
                      <a:pt x="31" y="52"/>
                    </a:lnTo>
                    <a:lnTo>
                      <a:pt x="30" y="54"/>
                    </a:lnTo>
                    <a:lnTo>
                      <a:pt x="28" y="56"/>
                    </a:lnTo>
                    <a:lnTo>
                      <a:pt x="28"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6" name="Freeform 2074">
                <a:extLst>
                  <a:ext uri="{FF2B5EF4-FFF2-40B4-BE49-F238E27FC236}">
                    <a16:creationId xmlns:a16="http://schemas.microsoft.com/office/drawing/2014/main" id="{DAD5502F-37D2-4CB2-858F-8F00F26CFC44}"/>
                  </a:ext>
                </a:extLst>
              </p:cNvPr>
              <p:cNvSpPr>
                <a:spLocks/>
              </p:cNvSpPr>
              <p:nvPr/>
            </p:nvSpPr>
            <p:spPr bwMode="auto">
              <a:xfrm>
                <a:off x="7626350" y="2800350"/>
                <a:ext cx="153988" cy="144463"/>
              </a:xfrm>
              <a:custGeom>
                <a:avLst/>
                <a:gdLst/>
                <a:ahLst/>
                <a:cxnLst>
                  <a:cxn ang="0">
                    <a:pos x="9" y="193"/>
                  </a:cxn>
                  <a:cxn ang="0">
                    <a:pos x="12" y="176"/>
                  </a:cxn>
                  <a:cxn ang="0">
                    <a:pos x="5" y="160"/>
                  </a:cxn>
                  <a:cxn ang="0">
                    <a:pos x="0" y="155"/>
                  </a:cxn>
                  <a:cxn ang="0">
                    <a:pos x="5" y="143"/>
                  </a:cxn>
                  <a:cxn ang="0">
                    <a:pos x="22" y="125"/>
                  </a:cxn>
                  <a:cxn ang="0">
                    <a:pos x="22" y="115"/>
                  </a:cxn>
                  <a:cxn ang="0">
                    <a:pos x="19" y="106"/>
                  </a:cxn>
                  <a:cxn ang="0">
                    <a:pos x="29" y="106"/>
                  </a:cxn>
                  <a:cxn ang="0">
                    <a:pos x="47" y="115"/>
                  </a:cxn>
                  <a:cxn ang="0">
                    <a:pos x="57" y="110"/>
                  </a:cxn>
                  <a:cxn ang="0">
                    <a:pos x="56" y="92"/>
                  </a:cxn>
                  <a:cxn ang="0">
                    <a:pos x="63" y="77"/>
                  </a:cxn>
                  <a:cxn ang="0">
                    <a:pos x="66" y="61"/>
                  </a:cxn>
                  <a:cxn ang="0">
                    <a:pos x="66" y="52"/>
                  </a:cxn>
                  <a:cxn ang="0">
                    <a:pos x="71" y="37"/>
                  </a:cxn>
                  <a:cxn ang="0">
                    <a:pos x="66" y="21"/>
                  </a:cxn>
                  <a:cxn ang="0">
                    <a:pos x="64" y="2"/>
                  </a:cxn>
                  <a:cxn ang="0">
                    <a:pos x="76" y="2"/>
                  </a:cxn>
                  <a:cxn ang="0">
                    <a:pos x="87" y="11"/>
                  </a:cxn>
                  <a:cxn ang="0">
                    <a:pos x="123" y="51"/>
                  </a:cxn>
                  <a:cxn ang="0">
                    <a:pos x="148" y="65"/>
                  </a:cxn>
                  <a:cxn ang="0">
                    <a:pos x="157" y="66"/>
                  </a:cxn>
                  <a:cxn ang="0">
                    <a:pos x="162" y="73"/>
                  </a:cxn>
                  <a:cxn ang="0">
                    <a:pos x="167" y="77"/>
                  </a:cxn>
                  <a:cxn ang="0">
                    <a:pos x="183" y="66"/>
                  </a:cxn>
                  <a:cxn ang="0">
                    <a:pos x="195" y="56"/>
                  </a:cxn>
                  <a:cxn ang="0">
                    <a:pos x="197" y="58"/>
                  </a:cxn>
                  <a:cxn ang="0">
                    <a:pos x="188" y="78"/>
                  </a:cxn>
                  <a:cxn ang="0">
                    <a:pos x="190" y="92"/>
                  </a:cxn>
                  <a:cxn ang="0">
                    <a:pos x="200" y="103"/>
                  </a:cxn>
                  <a:cxn ang="0">
                    <a:pos x="211" y="101"/>
                  </a:cxn>
                  <a:cxn ang="0">
                    <a:pos x="212" y="103"/>
                  </a:cxn>
                  <a:cxn ang="0">
                    <a:pos x="188" y="119"/>
                  </a:cxn>
                  <a:cxn ang="0">
                    <a:pos x="165" y="124"/>
                  </a:cxn>
                  <a:cxn ang="0">
                    <a:pos x="144" y="127"/>
                  </a:cxn>
                  <a:cxn ang="0">
                    <a:pos x="130" y="155"/>
                  </a:cxn>
                  <a:cxn ang="0">
                    <a:pos x="122" y="169"/>
                  </a:cxn>
                  <a:cxn ang="0">
                    <a:pos x="89" y="152"/>
                  </a:cxn>
                  <a:cxn ang="0">
                    <a:pos x="64" y="141"/>
                  </a:cxn>
                  <a:cxn ang="0">
                    <a:pos x="52" y="148"/>
                  </a:cxn>
                  <a:cxn ang="0">
                    <a:pos x="38" y="148"/>
                  </a:cxn>
                  <a:cxn ang="0">
                    <a:pos x="29" y="139"/>
                  </a:cxn>
                  <a:cxn ang="0">
                    <a:pos x="21" y="146"/>
                  </a:cxn>
                  <a:cxn ang="0">
                    <a:pos x="22" y="159"/>
                  </a:cxn>
                  <a:cxn ang="0">
                    <a:pos x="50" y="176"/>
                  </a:cxn>
                  <a:cxn ang="0">
                    <a:pos x="49" y="181"/>
                  </a:cxn>
                  <a:cxn ang="0">
                    <a:pos x="33" y="181"/>
                  </a:cxn>
                  <a:cxn ang="0">
                    <a:pos x="24" y="188"/>
                  </a:cxn>
                  <a:cxn ang="0">
                    <a:pos x="15" y="200"/>
                  </a:cxn>
                  <a:cxn ang="0">
                    <a:pos x="10" y="199"/>
                  </a:cxn>
                </a:cxnLst>
                <a:rect l="0" t="0" r="r" b="b"/>
                <a:pathLst>
                  <a:path w="212" h="200">
                    <a:moveTo>
                      <a:pt x="10" y="199"/>
                    </a:moveTo>
                    <a:lnTo>
                      <a:pt x="10" y="199"/>
                    </a:lnTo>
                    <a:lnTo>
                      <a:pt x="9" y="193"/>
                    </a:lnTo>
                    <a:lnTo>
                      <a:pt x="7" y="188"/>
                    </a:lnTo>
                    <a:lnTo>
                      <a:pt x="10" y="179"/>
                    </a:lnTo>
                    <a:lnTo>
                      <a:pt x="12" y="176"/>
                    </a:lnTo>
                    <a:lnTo>
                      <a:pt x="12" y="171"/>
                    </a:lnTo>
                    <a:lnTo>
                      <a:pt x="10" y="166"/>
                    </a:lnTo>
                    <a:lnTo>
                      <a:pt x="5" y="160"/>
                    </a:lnTo>
                    <a:lnTo>
                      <a:pt x="5" y="160"/>
                    </a:lnTo>
                    <a:lnTo>
                      <a:pt x="2" y="159"/>
                    </a:lnTo>
                    <a:lnTo>
                      <a:pt x="0" y="155"/>
                    </a:lnTo>
                    <a:lnTo>
                      <a:pt x="0" y="153"/>
                    </a:lnTo>
                    <a:lnTo>
                      <a:pt x="2" y="150"/>
                    </a:lnTo>
                    <a:lnTo>
                      <a:pt x="5" y="143"/>
                    </a:lnTo>
                    <a:lnTo>
                      <a:pt x="12" y="138"/>
                    </a:lnTo>
                    <a:lnTo>
                      <a:pt x="17" y="132"/>
                    </a:lnTo>
                    <a:lnTo>
                      <a:pt x="22" y="125"/>
                    </a:lnTo>
                    <a:lnTo>
                      <a:pt x="26" y="120"/>
                    </a:lnTo>
                    <a:lnTo>
                      <a:pt x="24" y="117"/>
                    </a:lnTo>
                    <a:lnTo>
                      <a:pt x="22" y="115"/>
                    </a:lnTo>
                    <a:lnTo>
                      <a:pt x="22" y="115"/>
                    </a:lnTo>
                    <a:lnTo>
                      <a:pt x="19" y="110"/>
                    </a:lnTo>
                    <a:lnTo>
                      <a:pt x="19" y="106"/>
                    </a:lnTo>
                    <a:lnTo>
                      <a:pt x="19" y="105"/>
                    </a:lnTo>
                    <a:lnTo>
                      <a:pt x="21" y="105"/>
                    </a:lnTo>
                    <a:lnTo>
                      <a:pt x="29" y="106"/>
                    </a:lnTo>
                    <a:lnTo>
                      <a:pt x="42" y="112"/>
                    </a:lnTo>
                    <a:lnTo>
                      <a:pt x="42" y="112"/>
                    </a:lnTo>
                    <a:lnTo>
                      <a:pt x="47" y="115"/>
                    </a:lnTo>
                    <a:lnTo>
                      <a:pt x="52" y="115"/>
                    </a:lnTo>
                    <a:lnTo>
                      <a:pt x="56" y="113"/>
                    </a:lnTo>
                    <a:lnTo>
                      <a:pt x="57" y="110"/>
                    </a:lnTo>
                    <a:lnTo>
                      <a:pt x="57" y="101"/>
                    </a:lnTo>
                    <a:lnTo>
                      <a:pt x="56" y="92"/>
                    </a:lnTo>
                    <a:lnTo>
                      <a:pt x="56" y="92"/>
                    </a:lnTo>
                    <a:lnTo>
                      <a:pt x="56" y="89"/>
                    </a:lnTo>
                    <a:lnTo>
                      <a:pt x="57" y="85"/>
                    </a:lnTo>
                    <a:lnTo>
                      <a:pt x="63" y="77"/>
                    </a:lnTo>
                    <a:lnTo>
                      <a:pt x="66" y="70"/>
                    </a:lnTo>
                    <a:lnTo>
                      <a:pt x="68" y="66"/>
                    </a:lnTo>
                    <a:lnTo>
                      <a:pt x="66" y="61"/>
                    </a:lnTo>
                    <a:lnTo>
                      <a:pt x="66" y="61"/>
                    </a:lnTo>
                    <a:lnTo>
                      <a:pt x="64" y="56"/>
                    </a:lnTo>
                    <a:lnTo>
                      <a:pt x="66" y="52"/>
                    </a:lnTo>
                    <a:lnTo>
                      <a:pt x="69" y="45"/>
                    </a:lnTo>
                    <a:lnTo>
                      <a:pt x="69" y="42"/>
                    </a:lnTo>
                    <a:lnTo>
                      <a:pt x="71" y="37"/>
                    </a:lnTo>
                    <a:lnTo>
                      <a:pt x="69" y="30"/>
                    </a:lnTo>
                    <a:lnTo>
                      <a:pt x="66" y="21"/>
                    </a:lnTo>
                    <a:lnTo>
                      <a:pt x="66" y="21"/>
                    </a:lnTo>
                    <a:lnTo>
                      <a:pt x="63" y="14"/>
                    </a:lnTo>
                    <a:lnTo>
                      <a:pt x="63" y="7"/>
                    </a:lnTo>
                    <a:lnTo>
                      <a:pt x="64" y="2"/>
                    </a:lnTo>
                    <a:lnTo>
                      <a:pt x="68" y="0"/>
                    </a:lnTo>
                    <a:lnTo>
                      <a:pt x="71" y="0"/>
                    </a:lnTo>
                    <a:lnTo>
                      <a:pt x="76" y="2"/>
                    </a:lnTo>
                    <a:lnTo>
                      <a:pt x="82" y="5"/>
                    </a:lnTo>
                    <a:lnTo>
                      <a:pt x="87" y="11"/>
                    </a:lnTo>
                    <a:lnTo>
                      <a:pt x="87" y="11"/>
                    </a:lnTo>
                    <a:lnTo>
                      <a:pt x="99" y="26"/>
                    </a:lnTo>
                    <a:lnTo>
                      <a:pt x="115" y="44"/>
                    </a:lnTo>
                    <a:lnTo>
                      <a:pt x="123" y="51"/>
                    </a:lnTo>
                    <a:lnTo>
                      <a:pt x="132" y="58"/>
                    </a:lnTo>
                    <a:lnTo>
                      <a:pt x="139" y="61"/>
                    </a:lnTo>
                    <a:lnTo>
                      <a:pt x="148" y="65"/>
                    </a:lnTo>
                    <a:lnTo>
                      <a:pt x="148" y="65"/>
                    </a:lnTo>
                    <a:lnTo>
                      <a:pt x="153" y="65"/>
                    </a:lnTo>
                    <a:lnTo>
                      <a:pt x="157" y="66"/>
                    </a:lnTo>
                    <a:lnTo>
                      <a:pt x="158" y="68"/>
                    </a:lnTo>
                    <a:lnTo>
                      <a:pt x="160" y="70"/>
                    </a:lnTo>
                    <a:lnTo>
                      <a:pt x="162" y="73"/>
                    </a:lnTo>
                    <a:lnTo>
                      <a:pt x="163" y="75"/>
                    </a:lnTo>
                    <a:lnTo>
                      <a:pt x="167" y="77"/>
                    </a:lnTo>
                    <a:lnTo>
                      <a:pt x="167" y="77"/>
                    </a:lnTo>
                    <a:lnTo>
                      <a:pt x="172" y="75"/>
                    </a:lnTo>
                    <a:lnTo>
                      <a:pt x="177" y="73"/>
                    </a:lnTo>
                    <a:lnTo>
                      <a:pt x="183" y="66"/>
                    </a:lnTo>
                    <a:lnTo>
                      <a:pt x="190" y="59"/>
                    </a:lnTo>
                    <a:lnTo>
                      <a:pt x="191" y="58"/>
                    </a:lnTo>
                    <a:lnTo>
                      <a:pt x="195" y="56"/>
                    </a:lnTo>
                    <a:lnTo>
                      <a:pt x="195" y="56"/>
                    </a:lnTo>
                    <a:lnTo>
                      <a:pt x="197" y="56"/>
                    </a:lnTo>
                    <a:lnTo>
                      <a:pt x="197" y="58"/>
                    </a:lnTo>
                    <a:lnTo>
                      <a:pt x="193" y="66"/>
                    </a:lnTo>
                    <a:lnTo>
                      <a:pt x="190" y="72"/>
                    </a:lnTo>
                    <a:lnTo>
                      <a:pt x="188" y="78"/>
                    </a:lnTo>
                    <a:lnTo>
                      <a:pt x="188" y="85"/>
                    </a:lnTo>
                    <a:lnTo>
                      <a:pt x="190" y="92"/>
                    </a:lnTo>
                    <a:lnTo>
                      <a:pt x="190" y="92"/>
                    </a:lnTo>
                    <a:lnTo>
                      <a:pt x="193" y="99"/>
                    </a:lnTo>
                    <a:lnTo>
                      <a:pt x="197" y="103"/>
                    </a:lnTo>
                    <a:lnTo>
                      <a:pt x="200" y="103"/>
                    </a:lnTo>
                    <a:lnTo>
                      <a:pt x="202" y="103"/>
                    </a:lnTo>
                    <a:lnTo>
                      <a:pt x="207" y="101"/>
                    </a:lnTo>
                    <a:lnTo>
                      <a:pt x="211" y="101"/>
                    </a:lnTo>
                    <a:lnTo>
                      <a:pt x="212" y="101"/>
                    </a:lnTo>
                    <a:lnTo>
                      <a:pt x="212" y="101"/>
                    </a:lnTo>
                    <a:lnTo>
                      <a:pt x="212" y="103"/>
                    </a:lnTo>
                    <a:lnTo>
                      <a:pt x="212" y="105"/>
                    </a:lnTo>
                    <a:lnTo>
                      <a:pt x="207" y="108"/>
                    </a:lnTo>
                    <a:lnTo>
                      <a:pt x="188" y="119"/>
                    </a:lnTo>
                    <a:lnTo>
                      <a:pt x="188" y="119"/>
                    </a:lnTo>
                    <a:lnTo>
                      <a:pt x="176" y="122"/>
                    </a:lnTo>
                    <a:lnTo>
                      <a:pt x="165" y="124"/>
                    </a:lnTo>
                    <a:lnTo>
                      <a:pt x="155" y="124"/>
                    </a:lnTo>
                    <a:lnTo>
                      <a:pt x="144" y="127"/>
                    </a:lnTo>
                    <a:lnTo>
                      <a:pt x="144" y="127"/>
                    </a:lnTo>
                    <a:lnTo>
                      <a:pt x="139" y="132"/>
                    </a:lnTo>
                    <a:lnTo>
                      <a:pt x="136" y="139"/>
                    </a:lnTo>
                    <a:lnTo>
                      <a:pt x="130" y="155"/>
                    </a:lnTo>
                    <a:lnTo>
                      <a:pt x="129" y="162"/>
                    </a:lnTo>
                    <a:lnTo>
                      <a:pt x="125" y="167"/>
                    </a:lnTo>
                    <a:lnTo>
                      <a:pt x="122" y="169"/>
                    </a:lnTo>
                    <a:lnTo>
                      <a:pt x="115" y="167"/>
                    </a:lnTo>
                    <a:lnTo>
                      <a:pt x="115" y="167"/>
                    </a:lnTo>
                    <a:lnTo>
                      <a:pt x="89" y="152"/>
                    </a:lnTo>
                    <a:lnTo>
                      <a:pt x="75" y="143"/>
                    </a:lnTo>
                    <a:lnTo>
                      <a:pt x="68" y="141"/>
                    </a:lnTo>
                    <a:lnTo>
                      <a:pt x="64" y="141"/>
                    </a:lnTo>
                    <a:lnTo>
                      <a:pt x="59" y="143"/>
                    </a:lnTo>
                    <a:lnTo>
                      <a:pt x="52" y="148"/>
                    </a:lnTo>
                    <a:lnTo>
                      <a:pt x="52" y="148"/>
                    </a:lnTo>
                    <a:lnTo>
                      <a:pt x="47" y="150"/>
                    </a:lnTo>
                    <a:lnTo>
                      <a:pt x="42" y="150"/>
                    </a:lnTo>
                    <a:lnTo>
                      <a:pt x="38" y="148"/>
                    </a:lnTo>
                    <a:lnTo>
                      <a:pt x="35" y="145"/>
                    </a:lnTo>
                    <a:lnTo>
                      <a:pt x="33" y="141"/>
                    </a:lnTo>
                    <a:lnTo>
                      <a:pt x="29" y="139"/>
                    </a:lnTo>
                    <a:lnTo>
                      <a:pt x="26" y="141"/>
                    </a:lnTo>
                    <a:lnTo>
                      <a:pt x="21" y="146"/>
                    </a:lnTo>
                    <a:lnTo>
                      <a:pt x="21" y="146"/>
                    </a:lnTo>
                    <a:lnTo>
                      <a:pt x="21" y="150"/>
                    </a:lnTo>
                    <a:lnTo>
                      <a:pt x="21" y="153"/>
                    </a:lnTo>
                    <a:lnTo>
                      <a:pt x="22" y="159"/>
                    </a:lnTo>
                    <a:lnTo>
                      <a:pt x="29" y="164"/>
                    </a:lnTo>
                    <a:lnTo>
                      <a:pt x="36" y="167"/>
                    </a:lnTo>
                    <a:lnTo>
                      <a:pt x="50" y="176"/>
                    </a:lnTo>
                    <a:lnTo>
                      <a:pt x="52" y="178"/>
                    </a:lnTo>
                    <a:lnTo>
                      <a:pt x="49" y="181"/>
                    </a:lnTo>
                    <a:lnTo>
                      <a:pt x="49" y="181"/>
                    </a:lnTo>
                    <a:lnTo>
                      <a:pt x="43" y="183"/>
                    </a:lnTo>
                    <a:lnTo>
                      <a:pt x="38" y="183"/>
                    </a:lnTo>
                    <a:lnTo>
                      <a:pt x="33" y="181"/>
                    </a:lnTo>
                    <a:lnTo>
                      <a:pt x="31" y="179"/>
                    </a:lnTo>
                    <a:lnTo>
                      <a:pt x="29" y="181"/>
                    </a:lnTo>
                    <a:lnTo>
                      <a:pt x="24" y="188"/>
                    </a:lnTo>
                    <a:lnTo>
                      <a:pt x="24" y="188"/>
                    </a:lnTo>
                    <a:lnTo>
                      <a:pt x="19" y="197"/>
                    </a:lnTo>
                    <a:lnTo>
                      <a:pt x="15" y="200"/>
                    </a:lnTo>
                    <a:lnTo>
                      <a:pt x="14" y="200"/>
                    </a:lnTo>
                    <a:lnTo>
                      <a:pt x="10" y="199"/>
                    </a:lnTo>
                    <a:lnTo>
                      <a:pt x="10" y="19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7" name="Freeform 2075">
                <a:extLst>
                  <a:ext uri="{FF2B5EF4-FFF2-40B4-BE49-F238E27FC236}">
                    <a16:creationId xmlns:a16="http://schemas.microsoft.com/office/drawing/2014/main" id="{D3B81078-4681-48DA-93BB-5F9B3FE01766}"/>
                  </a:ext>
                </a:extLst>
              </p:cNvPr>
              <p:cNvSpPr>
                <a:spLocks/>
              </p:cNvSpPr>
              <p:nvPr/>
            </p:nvSpPr>
            <p:spPr bwMode="auto">
              <a:xfrm>
                <a:off x="7432675" y="3186113"/>
                <a:ext cx="65088" cy="52387"/>
              </a:xfrm>
              <a:custGeom>
                <a:avLst/>
                <a:gdLst/>
                <a:ahLst/>
                <a:cxnLst>
                  <a:cxn ang="0">
                    <a:pos x="26" y="75"/>
                  </a:cxn>
                  <a:cxn ang="0">
                    <a:pos x="15" y="71"/>
                  </a:cxn>
                  <a:cxn ang="0">
                    <a:pos x="19" y="68"/>
                  </a:cxn>
                  <a:cxn ang="0">
                    <a:pos x="15" y="63"/>
                  </a:cxn>
                  <a:cxn ang="0">
                    <a:pos x="14" y="59"/>
                  </a:cxn>
                  <a:cxn ang="0">
                    <a:pos x="12" y="50"/>
                  </a:cxn>
                  <a:cxn ang="0">
                    <a:pos x="10" y="45"/>
                  </a:cxn>
                  <a:cxn ang="0">
                    <a:pos x="5" y="45"/>
                  </a:cxn>
                  <a:cxn ang="0">
                    <a:pos x="0" y="45"/>
                  </a:cxn>
                  <a:cxn ang="0">
                    <a:pos x="14" y="35"/>
                  </a:cxn>
                  <a:cxn ang="0">
                    <a:pos x="21" y="24"/>
                  </a:cxn>
                  <a:cxn ang="0">
                    <a:pos x="26" y="14"/>
                  </a:cxn>
                  <a:cxn ang="0">
                    <a:pos x="29" y="10"/>
                  </a:cxn>
                  <a:cxn ang="0">
                    <a:pos x="33" y="17"/>
                  </a:cxn>
                  <a:cxn ang="0">
                    <a:pos x="35" y="21"/>
                  </a:cxn>
                  <a:cxn ang="0">
                    <a:pos x="40" y="17"/>
                  </a:cxn>
                  <a:cxn ang="0">
                    <a:pos x="45" y="17"/>
                  </a:cxn>
                  <a:cxn ang="0">
                    <a:pos x="47" y="17"/>
                  </a:cxn>
                  <a:cxn ang="0">
                    <a:pos x="50" y="14"/>
                  </a:cxn>
                  <a:cxn ang="0">
                    <a:pos x="55" y="5"/>
                  </a:cxn>
                  <a:cxn ang="0">
                    <a:pos x="59" y="3"/>
                  </a:cxn>
                  <a:cxn ang="0">
                    <a:pos x="73" y="0"/>
                  </a:cxn>
                  <a:cxn ang="0">
                    <a:pos x="83" y="5"/>
                  </a:cxn>
                  <a:cxn ang="0">
                    <a:pos x="87" y="9"/>
                  </a:cxn>
                  <a:cxn ang="0">
                    <a:pos x="87" y="14"/>
                  </a:cxn>
                  <a:cxn ang="0">
                    <a:pos x="88" y="21"/>
                  </a:cxn>
                  <a:cxn ang="0">
                    <a:pos x="88" y="26"/>
                  </a:cxn>
                  <a:cxn ang="0">
                    <a:pos x="80" y="33"/>
                  </a:cxn>
                  <a:cxn ang="0">
                    <a:pos x="75" y="42"/>
                  </a:cxn>
                  <a:cxn ang="0">
                    <a:pos x="73" y="47"/>
                  </a:cxn>
                  <a:cxn ang="0">
                    <a:pos x="69" y="47"/>
                  </a:cxn>
                  <a:cxn ang="0">
                    <a:pos x="61" y="42"/>
                  </a:cxn>
                  <a:cxn ang="0">
                    <a:pos x="50" y="40"/>
                  </a:cxn>
                  <a:cxn ang="0">
                    <a:pos x="45" y="43"/>
                  </a:cxn>
                  <a:cxn ang="0">
                    <a:pos x="38" y="54"/>
                  </a:cxn>
                  <a:cxn ang="0">
                    <a:pos x="31" y="71"/>
                  </a:cxn>
                  <a:cxn ang="0">
                    <a:pos x="26" y="75"/>
                  </a:cxn>
                </a:cxnLst>
                <a:rect l="0" t="0" r="r" b="b"/>
                <a:pathLst>
                  <a:path w="90" h="75">
                    <a:moveTo>
                      <a:pt x="26" y="75"/>
                    </a:moveTo>
                    <a:lnTo>
                      <a:pt x="26" y="75"/>
                    </a:lnTo>
                    <a:lnTo>
                      <a:pt x="17" y="73"/>
                    </a:lnTo>
                    <a:lnTo>
                      <a:pt x="15" y="71"/>
                    </a:lnTo>
                    <a:lnTo>
                      <a:pt x="17" y="71"/>
                    </a:lnTo>
                    <a:lnTo>
                      <a:pt x="19" y="68"/>
                    </a:lnTo>
                    <a:lnTo>
                      <a:pt x="17" y="66"/>
                    </a:lnTo>
                    <a:lnTo>
                      <a:pt x="15" y="63"/>
                    </a:lnTo>
                    <a:lnTo>
                      <a:pt x="15" y="63"/>
                    </a:lnTo>
                    <a:lnTo>
                      <a:pt x="14" y="59"/>
                    </a:lnTo>
                    <a:lnTo>
                      <a:pt x="12" y="56"/>
                    </a:lnTo>
                    <a:lnTo>
                      <a:pt x="12" y="50"/>
                    </a:lnTo>
                    <a:lnTo>
                      <a:pt x="12" y="47"/>
                    </a:lnTo>
                    <a:lnTo>
                      <a:pt x="10" y="45"/>
                    </a:lnTo>
                    <a:lnTo>
                      <a:pt x="8" y="45"/>
                    </a:lnTo>
                    <a:lnTo>
                      <a:pt x="5" y="45"/>
                    </a:lnTo>
                    <a:lnTo>
                      <a:pt x="5" y="45"/>
                    </a:lnTo>
                    <a:lnTo>
                      <a:pt x="0" y="45"/>
                    </a:lnTo>
                    <a:lnTo>
                      <a:pt x="5" y="42"/>
                    </a:lnTo>
                    <a:lnTo>
                      <a:pt x="14" y="35"/>
                    </a:lnTo>
                    <a:lnTo>
                      <a:pt x="17" y="29"/>
                    </a:lnTo>
                    <a:lnTo>
                      <a:pt x="21" y="24"/>
                    </a:lnTo>
                    <a:lnTo>
                      <a:pt x="21" y="24"/>
                    </a:lnTo>
                    <a:lnTo>
                      <a:pt x="26" y="14"/>
                    </a:lnTo>
                    <a:lnTo>
                      <a:pt x="29" y="10"/>
                    </a:lnTo>
                    <a:lnTo>
                      <a:pt x="29" y="10"/>
                    </a:lnTo>
                    <a:lnTo>
                      <a:pt x="31" y="10"/>
                    </a:lnTo>
                    <a:lnTo>
                      <a:pt x="33" y="17"/>
                    </a:lnTo>
                    <a:lnTo>
                      <a:pt x="33" y="17"/>
                    </a:lnTo>
                    <a:lnTo>
                      <a:pt x="35" y="21"/>
                    </a:lnTo>
                    <a:lnTo>
                      <a:pt x="36" y="19"/>
                    </a:lnTo>
                    <a:lnTo>
                      <a:pt x="40" y="17"/>
                    </a:lnTo>
                    <a:lnTo>
                      <a:pt x="43" y="17"/>
                    </a:lnTo>
                    <a:lnTo>
                      <a:pt x="45" y="17"/>
                    </a:lnTo>
                    <a:lnTo>
                      <a:pt x="45" y="17"/>
                    </a:lnTo>
                    <a:lnTo>
                      <a:pt x="47" y="17"/>
                    </a:lnTo>
                    <a:lnTo>
                      <a:pt x="48" y="17"/>
                    </a:lnTo>
                    <a:lnTo>
                      <a:pt x="50" y="14"/>
                    </a:lnTo>
                    <a:lnTo>
                      <a:pt x="52" y="9"/>
                    </a:lnTo>
                    <a:lnTo>
                      <a:pt x="55" y="5"/>
                    </a:lnTo>
                    <a:lnTo>
                      <a:pt x="59" y="3"/>
                    </a:lnTo>
                    <a:lnTo>
                      <a:pt x="59" y="3"/>
                    </a:lnTo>
                    <a:lnTo>
                      <a:pt x="66" y="0"/>
                    </a:lnTo>
                    <a:lnTo>
                      <a:pt x="73" y="0"/>
                    </a:lnTo>
                    <a:lnTo>
                      <a:pt x="78" y="2"/>
                    </a:lnTo>
                    <a:lnTo>
                      <a:pt x="83" y="5"/>
                    </a:lnTo>
                    <a:lnTo>
                      <a:pt x="83" y="5"/>
                    </a:lnTo>
                    <a:lnTo>
                      <a:pt x="87" y="9"/>
                    </a:lnTo>
                    <a:lnTo>
                      <a:pt x="88" y="10"/>
                    </a:lnTo>
                    <a:lnTo>
                      <a:pt x="87" y="14"/>
                    </a:lnTo>
                    <a:lnTo>
                      <a:pt x="88" y="21"/>
                    </a:lnTo>
                    <a:lnTo>
                      <a:pt x="88" y="21"/>
                    </a:lnTo>
                    <a:lnTo>
                      <a:pt x="90" y="24"/>
                    </a:lnTo>
                    <a:lnTo>
                      <a:pt x="88" y="26"/>
                    </a:lnTo>
                    <a:lnTo>
                      <a:pt x="85" y="29"/>
                    </a:lnTo>
                    <a:lnTo>
                      <a:pt x="80" y="33"/>
                    </a:lnTo>
                    <a:lnTo>
                      <a:pt x="76" y="36"/>
                    </a:lnTo>
                    <a:lnTo>
                      <a:pt x="75" y="42"/>
                    </a:lnTo>
                    <a:lnTo>
                      <a:pt x="75" y="42"/>
                    </a:lnTo>
                    <a:lnTo>
                      <a:pt x="73" y="47"/>
                    </a:lnTo>
                    <a:lnTo>
                      <a:pt x="71" y="49"/>
                    </a:lnTo>
                    <a:lnTo>
                      <a:pt x="69" y="47"/>
                    </a:lnTo>
                    <a:lnTo>
                      <a:pt x="68" y="45"/>
                    </a:lnTo>
                    <a:lnTo>
                      <a:pt x="61" y="42"/>
                    </a:lnTo>
                    <a:lnTo>
                      <a:pt x="55" y="40"/>
                    </a:lnTo>
                    <a:lnTo>
                      <a:pt x="50" y="40"/>
                    </a:lnTo>
                    <a:lnTo>
                      <a:pt x="50" y="40"/>
                    </a:lnTo>
                    <a:lnTo>
                      <a:pt x="45" y="43"/>
                    </a:lnTo>
                    <a:lnTo>
                      <a:pt x="40" y="49"/>
                    </a:lnTo>
                    <a:lnTo>
                      <a:pt x="38" y="54"/>
                    </a:lnTo>
                    <a:lnTo>
                      <a:pt x="36" y="61"/>
                    </a:lnTo>
                    <a:lnTo>
                      <a:pt x="31" y="71"/>
                    </a:lnTo>
                    <a:lnTo>
                      <a:pt x="29" y="75"/>
                    </a:lnTo>
                    <a:lnTo>
                      <a:pt x="26" y="75"/>
                    </a:lnTo>
                    <a:lnTo>
                      <a:pt x="26"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229" name="Freeform 2076">
              <a:extLst>
                <a:ext uri="{FF2B5EF4-FFF2-40B4-BE49-F238E27FC236}">
                  <a16:creationId xmlns:a16="http://schemas.microsoft.com/office/drawing/2014/main" id="{F19FFAEF-90C0-4F8A-856D-7F4BD06CA4F9}"/>
                </a:ext>
              </a:extLst>
            </p:cNvPr>
            <p:cNvSpPr>
              <a:spLocks/>
            </p:cNvSpPr>
            <p:nvPr/>
          </p:nvSpPr>
          <p:spPr bwMode="auto">
            <a:xfrm>
              <a:off x="9089494" y="2668726"/>
              <a:ext cx="26429" cy="33478"/>
            </a:xfrm>
            <a:custGeom>
              <a:avLst/>
              <a:gdLst/>
              <a:ahLst/>
              <a:cxnLst>
                <a:cxn ang="0">
                  <a:pos x="4" y="36"/>
                </a:cxn>
                <a:cxn ang="0">
                  <a:pos x="4" y="36"/>
                </a:cxn>
                <a:cxn ang="0">
                  <a:pos x="0" y="31"/>
                </a:cxn>
                <a:cxn ang="0">
                  <a:pos x="2" y="29"/>
                </a:cxn>
                <a:cxn ang="0">
                  <a:pos x="4" y="26"/>
                </a:cxn>
                <a:cxn ang="0">
                  <a:pos x="9" y="22"/>
                </a:cxn>
                <a:cxn ang="0">
                  <a:pos x="16" y="20"/>
                </a:cxn>
                <a:cxn ang="0">
                  <a:pos x="16" y="20"/>
                </a:cxn>
                <a:cxn ang="0">
                  <a:pos x="19" y="17"/>
                </a:cxn>
                <a:cxn ang="0">
                  <a:pos x="23" y="15"/>
                </a:cxn>
                <a:cxn ang="0">
                  <a:pos x="25" y="8"/>
                </a:cxn>
                <a:cxn ang="0">
                  <a:pos x="28" y="1"/>
                </a:cxn>
                <a:cxn ang="0">
                  <a:pos x="30" y="0"/>
                </a:cxn>
                <a:cxn ang="0">
                  <a:pos x="32" y="0"/>
                </a:cxn>
                <a:cxn ang="0">
                  <a:pos x="32" y="0"/>
                </a:cxn>
                <a:cxn ang="0">
                  <a:pos x="33" y="1"/>
                </a:cxn>
                <a:cxn ang="0">
                  <a:pos x="35" y="3"/>
                </a:cxn>
                <a:cxn ang="0">
                  <a:pos x="35" y="13"/>
                </a:cxn>
                <a:cxn ang="0">
                  <a:pos x="33" y="19"/>
                </a:cxn>
                <a:cxn ang="0">
                  <a:pos x="30" y="22"/>
                </a:cxn>
                <a:cxn ang="0">
                  <a:pos x="26" y="27"/>
                </a:cxn>
                <a:cxn ang="0">
                  <a:pos x="23" y="29"/>
                </a:cxn>
                <a:cxn ang="0">
                  <a:pos x="23" y="29"/>
                </a:cxn>
                <a:cxn ang="0">
                  <a:pos x="18" y="31"/>
                </a:cxn>
                <a:cxn ang="0">
                  <a:pos x="14" y="33"/>
                </a:cxn>
                <a:cxn ang="0">
                  <a:pos x="11" y="36"/>
                </a:cxn>
                <a:cxn ang="0">
                  <a:pos x="7" y="40"/>
                </a:cxn>
                <a:cxn ang="0">
                  <a:pos x="6" y="40"/>
                </a:cxn>
                <a:cxn ang="0">
                  <a:pos x="4" y="36"/>
                </a:cxn>
              </a:cxnLst>
              <a:rect l="0" t="0" r="r" b="b"/>
              <a:pathLst>
                <a:path w="35" h="40">
                  <a:moveTo>
                    <a:pt x="4" y="36"/>
                  </a:moveTo>
                  <a:lnTo>
                    <a:pt x="4" y="36"/>
                  </a:lnTo>
                  <a:lnTo>
                    <a:pt x="0" y="31"/>
                  </a:lnTo>
                  <a:lnTo>
                    <a:pt x="2" y="29"/>
                  </a:lnTo>
                  <a:lnTo>
                    <a:pt x="4" y="26"/>
                  </a:lnTo>
                  <a:lnTo>
                    <a:pt x="9" y="22"/>
                  </a:lnTo>
                  <a:lnTo>
                    <a:pt x="16" y="20"/>
                  </a:lnTo>
                  <a:lnTo>
                    <a:pt x="16" y="20"/>
                  </a:lnTo>
                  <a:lnTo>
                    <a:pt x="19" y="17"/>
                  </a:lnTo>
                  <a:lnTo>
                    <a:pt x="23" y="15"/>
                  </a:lnTo>
                  <a:lnTo>
                    <a:pt x="25" y="8"/>
                  </a:lnTo>
                  <a:lnTo>
                    <a:pt x="28" y="1"/>
                  </a:lnTo>
                  <a:lnTo>
                    <a:pt x="30" y="0"/>
                  </a:lnTo>
                  <a:lnTo>
                    <a:pt x="32" y="0"/>
                  </a:lnTo>
                  <a:lnTo>
                    <a:pt x="32" y="0"/>
                  </a:lnTo>
                  <a:lnTo>
                    <a:pt x="33" y="1"/>
                  </a:lnTo>
                  <a:lnTo>
                    <a:pt x="35" y="3"/>
                  </a:lnTo>
                  <a:lnTo>
                    <a:pt x="35" y="13"/>
                  </a:lnTo>
                  <a:lnTo>
                    <a:pt x="33" y="19"/>
                  </a:lnTo>
                  <a:lnTo>
                    <a:pt x="30" y="22"/>
                  </a:lnTo>
                  <a:lnTo>
                    <a:pt x="26" y="27"/>
                  </a:lnTo>
                  <a:lnTo>
                    <a:pt x="23" y="29"/>
                  </a:lnTo>
                  <a:lnTo>
                    <a:pt x="23" y="29"/>
                  </a:lnTo>
                  <a:lnTo>
                    <a:pt x="18" y="31"/>
                  </a:lnTo>
                  <a:lnTo>
                    <a:pt x="14" y="33"/>
                  </a:lnTo>
                  <a:lnTo>
                    <a:pt x="11" y="36"/>
                  </a:lnTo>
                  <a:lnTo>
                    <a:pt x="7" y="40"/>
                  </a:lnTo>
                  <a:lnTo>
                    <a:pt x="6" y="40"/>
                  </a:lnTo>
                  <a:lnTo>
                    <a:pt x="4" y="36"/>
                  </a:lnTo>
                  <a:close/>
                </a:path>
              </a:pathLst>
            </a:custGeom>
            <a:solidFill>
              <a:srgbClr val="34715A"/>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0" name="Freeform 2077">
              <a:extLst>
                <a:ext uri="{FF2B5EF4-FFF2-40B4-BE49-F238E27FC236}">
                  <a16:creationId xmlns:a16="http://schemas.microsoft.com/office/drawing/2014/main" id="{20EEBACC-9112-4F06-B78A-A23939AC5441}"/>
                </a:ext>
              </a:extLst>
            </p:cNvPr>
            <p:cNvSpPr>
              <a:spLocks/>
            </p:cNvSpPr>
            <p:nvPr/>
          </p:nvSpPr>
          <p:spPr bwMode="auto">
            <a:xfrm>
              <a:off x="8657804" y="1588617"/>
              <a:ext cx="105720" cy="37001"/>
            </a:xfrm>
            <a:custGeom>
              <a:avLst/>
              <a:gdLst/>
              <a:ahLst/>
              <a:cxnLst>
                <a:cxn ang="0">
                  <a:pos x="73" y="42"/>
                </a:cxn>
                <a:cxn ang="0">
                  <a:pos x="73" y="42"/>
                </a:cxn>
                <a:cxn ang="0">
                  <a:pos x="53" y="38"/>
                </a:cxn>
                <a:cxn ang="0">
                  <a:pos x="35" y="38"/>
                </a:cxn>
                <a:cxn ang="0">
                  <a:pos x="9" y="38"/>
                </a:cxn>
                <a:cxn ang="0">
                  <a:pos x="2" y="40"/>
                </a:cxn>
                <a:cxn ang="0">
                  <a:pos x="0" y="38"/>
                </a:cxn>
                <a:cxn ang="0">
                  <a:pos x="2" y="35"/>
                </a:cxn>
                <a:cxn ang="0">
                  <a:pos x="11" y="30"/>
                </a:cxn>
                <a:cxn ang="0">
                  <a:pos x="11" y="30"/>
                </a:cxn>
                <a:cxn ang="0">
                  <a:pos x="33" y="16"/>
                </a:cxn>
                <a:cxn ang="0">
                  <a:pos x="42" y="9"/>
                </a:cxn>
                <a:cxn ang="0">
                  <a:pos x="53" y="3"/>
                </a:cxn>
                <a:cxn ang="0">
                  <a:pos x="63" y="0"/>
                </a:cxn>
                <a:cxn ang="0">
                  <a:pos x="75" y="0"/>
                </a:cxn>
                <a:cxn ang="0">
                  <a:pos x="87" y="2"/>
                </a:cxn>
                <a:cxn ang="0">
                  <a:pos x="101" y="9"/>
                </a:cxn>
                <a:cxn ang="0">
                  <a:pos x="101" y="9"/>
                </a:cxn>
                <a:cxn ang="0">
                  <a:pos x="115" y="17"/>
                </a:cxn>
                <a:cxn ang="0">
                  <a:pos x="126" y="26"/>
                </a:cxn>
                <a:cxn ang="0">
                  <a:pos x="133" y="33"/>
                </a:cxn>
                <a:cxn ang="0">
                  <a:pos x="133" y="36"/>
                </a:cxn>
                <a:cxn ang="0">
                  <a:pos x="133" y="38"/>
                </a:cxn>
                <a:cxn ang="0">
                  <a:pos x="131" y="42"/>
                </a:cxn>
                <a:cxn ang="0">
                  <a:pos x="129" y="43"/>
                </a:cxn>
                <a:cxn ang="0">
                  <a:pos x="117" y="45"/>
                </a:cxn>
                <a:cxn ang="0">
                  <a:pos x="100" y="45"/>
                </a:cxn>
                <a:cxn ang="0">
                  <a:pos x="73" y="42"/>
                </a:cxn>
                <a:cxn ang="0">
                  <a:pos x="73" y="42"/>
                </a:cxn>
              </a:cxnLst>
              <a:rect l="0" t="0" r="r" b="b"/>
              <a:pathLst>
                <a:path w="133" h="45">
                  <a:moveTo>
                    <a:pt x="73" y="42"/>
                  </a:moveTo>
                  <a:lnTo>
                    <a:pt x="73" y="42"/>
                  </a:lnTo>
                  <a:lnTo>
                    <a:pt x="53" y="38"/>
                  </a:lnTo>
                  <a:lnTo>
                    <a:pt x="35" y="38"/>
                  </a:lnTo>
                  <a:lnTo>
                    <a:pt x="9" y="38"/>
                  </a:lnTo>
                  <a:lnTo>
                    <a:pt x="2" y="40"/>
                  </a:lnTo>
                  <a:lnTo>
                    <a:pt x="0" y="38"/>
                  </a:lnTo>
                  <a:lnTo>
                    <a:pt x="2" y="35"/>
                  </a:lnTo>
                  <a:lnTo>
                    <a:pt x="11" y="30"/>
                  </a:lnTo>
                  <a:lnTo>
                    <a:pt x="11" y="30"/>
                  </a:lnTo>
                  <a:lnTo>
                    <a:pt x="33" y="16"/>
                  </a:lnTo>
                  <a:lnTo>
                    <a:pt x="42" y="9"/>
                  </a:lnTo>
                  <a:lnTo>
                    <a:pt x="53" y="3"/>
                  </a:lnTo>
                  <a:lnTo>
                    <a:pt x="63" y="0"/>
                  </a:lnTo>
                  <a:lnTo>
                    <a:pt x="75" y="0"/>
                  </a:lnTo>
                  <a:lnTo>
                    <a:pt x="87" y="2"/>
                  </a:lnTo>
                  <a:lnTo>
                    <a:pt x="101" y="9"/>
                  </a:lnTo>
                  <a:lnTo>
                    <a:pt x="101" y="9"/>
                  </a:lnTo>
                  <a:lnTo>
                    <a:pt x="115" y="17"/>
                  </a:lnTo>
                  <a:lnTo>
                    <a:pt x="126" y="26"/>
                  </a:lnTo>
                  <a:lnTo>
                    <a:pt x="133" y="33"/>
                  </a:lnTo>
                  <a:lnTo>
                    <a:pt x="133" y="36"/>
                  </a:lnTo>
                  <a:lnTo>
                    <a:pt x="133" y="38"/>
                  </a:lnTo>
                  <a:lnTo>
                    <a:pt x="131" y="42"/>
                  </a:lnTo>
                  <a:lnTo>
                    <a:pt x="129" y="43"/>
                  </a:lnTo>
                  <a:lnTo>
                    <a:pt x="117" y="45"/>
                  </a:lnTo>
                  <a:lnTo>
                    <a:pt x="100" y="45"/>
                  </a:lnTo>
                  <a:lnTo>
                    <a:pt x="73" y="42"/>
                  </a:lnTo>
                  <a:lnTo>
                    <a:pt x="73" y="4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1" name="Freeform 2078">
              <a:extLst>
                <a:ext uri="{FF2B5EF4-FFF2-40B4-BE49-F238E27FC236}">
                  <a16:creationId xmlns:a16="http://schemas.microsoft.com/office/drawing/2014/main" id="{32820D09-F126-4C2A-9A11-911439392608}"/>
                </a:ext>
              </a:extLst>
            </p:cNvPr>
            <p:cNvSpPr>
              <a:spLocks/>
            </p:cNvSpPr>
            <p:nvPr/>
          </p:nvSpPr>
          <p:spPr bwMode="auto">
            <a:xfrm>
              <a:off x="7519551" y="1280263"/>
              <a:ext cx="167390" cy="86340"/>
            </a:xfrm>
            <a:custGeom>
              <a:avLst/>
              <a:gdLst/>
              <a:ahLst/>
              <a:cxnLst>
                <a:cxn ang="0">
                  <a:pos x="4" y="96"/>
                </a:cxn>
                <a:cxn ang="0">
                  <a:pos x="4" y="96"/>
                </a:cxn>
                <a:cxn ang="0">
                  <a:pos x="14" y="76"/>
                </a:cxn>
                <a:cxn ang="0">
                  <a:pos x="23" y="64"/>
                </a:cxn>
                <a:cxn ang="0">
                  <a:pos x="30" y="56"/>
                </a:cxn>
                <a:cxn ang="0">
                  <a:pos x="35" y="52"/>
                </a:cxn>
                <a:cxn ang="0">
                  <a:pos x="45" y="45"/>
                </a:cxn>
                <a:cxn ang="0">
                  <a:pos x="52" y="38"/>
                </a:cxn>
                <a:cxn ang="0">
                  <a:pos x="61" y="28"/>
                </a:cxn>
                <a:cxn ang="0">
                  <a:pos x="61" y="28"/>
                </a:cxn>
                <a:cxn ang="0">
                  <a:pos x="70" y="16"/>
                </a:cxn>
                <a:cxn ang="0">
                  <a:pos x="79" y="7"/>
                </a:cxn>
                <a:cxn ang="0">
                  <a:pos x="87" y="3"/>
                </a:cxn>
                <a:cxn ang="0">
                  <a:pos x="96" y="0"/>
                </a:cxn>
                <a:cxn ang="0">
                  <a:pos x="105" y="2"/>
                </a:cxn>
                <a:cxn ang="0">
                  <a:pos x="112" y="2"/>
                </a:cxn>
                <a:cxn ang="0">
                  <a:pos x="127" y="7"/>
                </a:cxn>
                <a:cxn ang="0">
                  <a:pos x="127" y="7"/>
                </a:cxn>
                <a:cxn ang="0">
                  <a:pos x="131" y="9"/>
                </a:cxn>
                <a:cxn ang="0">
                  <a:pos x="131" y="10"/>
                </a:cxn>
                <a:cxn ang="0">
                  <a:pos x="127" y="19"/>
                </a:cxn>
                <a:cxn ang="0">
                  <a:pos x="122" y="28"/>
                </a:cxn>
                <a:cxn ang="0">
                  <a:pos x="113" y="38"/>
                </a:cxn>
                <a:cxn ang="0">
                  <a:pos x="103" y="50"/>
                </a:cxn>
                <a:cxn ang="0">
                  <a:pos x="103" y="50"/>
                </a:cxn>
                <a:cxn ang="0">
                  <a:pos x="106" y="50"/>
                </a:cxn>
                <a:cxn ang="0">
                  <a:pos x="117" y="43"/>
                </a:cxn>
                <a:cxn ang="0">
                  <a:pos x="117" y="43"/>
                </a:cxn>
                <a:cxn ang="0">
                  <a:pos x="131" y="33"/>
                </a:cxn>
                <a:cxn ang="0">
                  <a:pos x="141" y="28"/>
                </a:cxn>
                <a:cxn ang="0">
                  <a:pos x="150" y="24"/>
                </a:cxn>
                <a:cxn ang="0">
                  <a:pos x="157" y="24"/>
                </a:cxn>
                <a:cxn ang="0">
                  <a:pos x="162" y="26"/>
                </a:cxn>
                <a:cxn ang="0">
                  <a:pos x="169" y="31"/>
                </a:cxn>
                <a:cxn ang="0">
                  <a:pos x="190" y="45"/>
                </a:cxn>
                <a:cxn ang="0">
                  <a:pos x="190" y="45"/>
                </a:cxn>
                <a:cxn ang="0">
                  <a:pos x="200" y="52"/>
                </a:cxn>
                <a:cxn ang="0">
                  <a:pos x="207" y="61"/>
                </a:cxn>
                <a:cxn ang="0">
                  <a:pos x="209" y="66"/>
                </a:cxn>
                <a:cxn ang="0">
                  <a:pos x="209" y="70"/>
                </a:cxn>
                <a:cxn ang="0">
                  <a:pos x="207" y="73"/>
                </a:cxn>
                <a:cxn ang="0">
                  <a:pos x="200" y="76"/>
                </a:cxn>
                <a:cxn ang="0">
                  <a:pos x="188" y="82"/>
                </a:cxn>
                <a:cxn ang="0">
                  <a:pos x="173" y="83"/>
                </a:cxn>
                <a:cxn ang="0">
                  <a:pos x="150" y="85"/>
                </a:cxn>
                <a:cxn ang="0">
                  <a:pos x="150" y="85"/>
                </a:cxn>
                <a:cxn ang="0">
                  <a:pos x="108" y="89"/>
                </a:cxn>
                <a:cxn ang="0">
                  <a:pos x="77" y="92"/>
                </a:cxn>
                <a:cxn ang="0">
                  <a:pos x="52" y="97"/>
                </a:cxn>
                <a:cxn ang="0">
                  <a:pos x="30" y="103"/>
                </a:cxn>
                <a:cxn ang="0">
                  <a:pos x="30" y="103"/>
                </a:cxn>
                <a:cxn ang="0">
                  <a:pos x="12" y="108"/>
                </a:cxn>
                <a:cxn ang="0">
                  <a:pos x="2" y="108"/>
                </a:cxn>
                <a:cxn ang="0">
                  <a:pos x="0" y="106"/>
                </a:cxn>
                <a:cxn ang="0">
                  <a:pos x="0" y="104"/>
                </a:cxn>
                <a:cxn ang="0">
                  <a:pos x="4" y="96"/>
                </a:cxn>
                <a:cxn ang="0">
                  <a:pos x="4" y="96"/>
                </a:cxn>
              </a:cxnLst>
              <a:rect l="0" t="0" r="r" b="b"/>
              <a:pathLst>
                <a:path w="209" h="108">
                  <a:moveTo>
                    <a:pt x="4" y="96"/>
                  </a:moveTo>
                  <a:lnTo>
                    <a:pt x="4" y="96"/>
                  </a:lnTo>
                  <a:lnTo>
                    <a:pt x="14" y="76"/>
                  </a:lnTo>
                  <a:lnTo>
                    <a:pt x="23" y="64"/>
                  </a:lnTo>
                  <a:lnTo>
                    <a:pt x="30" y="56"/>
                  </a:lnTo>
                  <a:lnTo>
                    <a:pt x="35" y="52"/>
                  </a:lnTo>
                  <a:lnTo>
                    <a:pt x="45" y="45"/>
                  </a:lnTo>
                  <a:lnTo>
                    <a:pt x="52" y="38"/>
                  </a:lnTo>
                  <a:lnTo>
                    <a:pt x="61" y="28"/>
                  </a:lnTo>
                  <a:lnTo>
                    <a:pt x="61" y="28"/>
                  </a:lnTo>
                  <a:lnTo>
                    <a:pt x="70" y="16"/>
                  </a:lnTo>
                  <a:lnTo>
                    <a:pt x="79" y="7"/>
                  </a:lnTo>
                  <a:lnTo>
                    <a:pt x="87" y="3"/>
                  </a:lnTo>
                  <a:lnTo>
                    <a:pt x="96" y="0"/>
                  </a:lnTo>
                  <a:lnTo>
                    <a:pt x="105" y="2"/>
                  </a:lnTo>
                  <a:lnTo>
                    <a:pt x="112" y="2"/>
                  </a:lnTo>
                  <a:lnTo>
                    <a:pt x="127" y="7"/>
                  </a:lnTo>
                  <a:lnTo>
                    <a:pt x="127" y="7"/>
                  </a:lnTo>
                  <a:lnTo>
                    <a:pt x="131" y="9"/>
                  </a:lnTo>
                  <a:lnTo>
                    <a:pt x="131" y="10"/>
                  </a:lnTo>
                  <a:lnTo>
                    <a:pt x="127" y="19"/>
                  </a:lnTo>
                  <a:lnTo>
                    <a:pt x="122" y="28"/>
                  </a:lnTo>
                  <a:lnTo>
                    <a:pt x="113" y="38"/>
                  </a:lnTo>
                  <a:lnTo>
                    <a:pt x="103" y="50"/>
                  </a:lnTo>
                  <a:lnTo>
                    <a:pt x="103" y="50"/>
                  </a:lnTo>
                  <a:lnTo>
                    <a:pt x="106" y="50"/>
                  </a:lnTo>
                  <a:lnTo>
                    <a:pt x="117" y="43"/>
                  </a:lnTo>
                  <a:lnTo>
                    <a:pt x="117" y="43"/>
                  </a:lnTo>
                  <a:lnTo>
                    <a:pt x="131" y="33"/>
                  </a:lnTo>
                  <a:lnTo>
                    <a:pt x="141" y="28"/>
                  </a:lnTo>
                  <a:lnTo>
                    <a:pt x="150" y="24"/>
                  </a:lnTo>
                  <a:lnTo>
                    <a:pt x="157" y="24"/>
                  </a:lnTo>
                  <a:lnTo>
                    <a:pt x="162" y="26"/>
                  </a:lnTo>
                  <a:lnTo>
                    <a:pt x="169" y="31"/>
                  </a:lnTo>
                  <a:lnTo>
                    <a:pt x="190" y="45"/>
                  </a:lnTo>
                  <a:lnTo>
                    <a:pt x="190" y="45"/>
                  </a:lnTo>
                  <a:lnTo>
                    <a:pt x="200" y="52"/>
                  </a:lnTo>
                  <a:lnTo>
                    <a:pt x="207" y="61"/>
                  </a:lnTo>
                  <a:lnTo>
                    <a:pt x="209" y="66"/>
                  </a:lnTo>
                  <a:lnTo>
                    <a:pt x="209" y="70"/>
                  </a:lnTo>
                  <a:lnTo>
                    <a:pt x="207" y="73"/>
                  </a:lnTo>
                  <a:lnTo>
                    <a:pt x="200" y="76"/>
                  </a:lnTo>
                  <a:lnTo>
                    <a:pt x="188" y="82"/>
                  </a:lnTo>
                  <a:lnTo>
                    <a:pt x="173" y="83"/>
                  </a:lnTo>
                  <a:lnTo>
                    <a:pt x="150" y="85"/>
                  </a:lnTo>
                  <a:lnTo>
                    <a:pt x="150" y="85"/>
                  </a:lnTo>
                  <a:lnTo>
                    <a:pt x="108" y="89"/>
                  </a:lnTo>
                  <a:lnTo>
                    <a:pt x="77" y="92"/>
                  </a:lnTo>
                  <a:lnTo>
                    <a:pt x="52" y="97"/>
                  </a:lnTo>
                  <a:lnTo>
                    <a:pt x="30" y="103"/>
                  </a:lnTo>
                  <a:lnTo>
                    <a:pt x="30" y="103"/>
                  </a:lnTo>
                  <a:lnTo>
                    <a:pt x="12" y="108"/>
                  </a:lnTo>
                  <a:lnTo>
                    <a:pt x="2" y="108"/>
                  </a:lnTo>
                  <a:lnTo>
                    <a:pt x="0" y="106"/>
                  </a:lnTo>
                  <a:lnTo>
                    <a:pt x="0" y="104"/>
                  </a:lnTo>
                  <a:lnTo>
                    <a:pt x="4" y="96"/>
                  </a:lnTo>
                  <a:lnTo>
                    <a:pt x="4" y="9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2" name="Freeform 2079">
              <a:extLst>
                <a:ext uri="{FF2B5EF4-FFF2-40B4-BE49-F238E27FC236}">
                  <a16:creationId xmlns:a16="http://schemas.microsoft.com/office/drawing/2014/main" id="{E0EED97B-D115-4ADF-A304-EFD7D61B4FED}"/>
                </a:ext>
              </a:extLst>
            </p:cNvPr>
            <p:cNvSpPr>
              <a:spLocks/>
            </p:cNvSpPr>
            <p:nvPr/>
          </p:nvSpPr>
          <p:spPr bwMode="auto">
            <a:xfrm>
              <a:off x="7295777" y="1172781"/>
              <a:ext cx="181486" cy="75765"/>
            </a:xfrm>
            <a:custGeom>
              <a:avLst/>
              <a:gdLst/>
              <a:ahLst/>
              <a:cxnLst>
                <a:cxn ang="0">
                  <a:pos x="78" y="94"/>
                </a:cxn>
                <a:cxn ang="0">
                  <a:pos x="55" y="89"/>
                </a:cxn>
                <a:cxn ang="0">
                  <a:pos x="27" y="78"/>
                </a:cxn>
                <a:cxn ang="0">
                  <a:pos x="10" y="75"/>
                </a:cxn>
                <a:cxn ang="0">
                  <a:pos x="3" y="75"/>
                </a:cxn>
                <a:cxn ang="0">
                  <a:pos x="3" y="69"/>
                </a:cxn>
                <a:cxn ang="0">
                  <a:pos x="27" y="61"/>
                </a:cxn>
                <a:cxn ang="0">
                  <a:pos x="48" y="49"/>
                </a:cxn>
                <a:cxn ang="0">
                  <a:pos x="54" y="43"/>
                </a:cxn>
                <a:cxn ang="0">
                  <a:pos x="54" y="42"/>
                </a:cxn>
                <a:cxn ang="0">
                  <a:pos x="47" y="40"/>
                </a:cxn>
                <a:cxn ang="0">
                  <a:pos x="40" y="38"/>
                </a:cxn>
                <a:cxn ang="0">
                  <a:pos x="50" y="29"/>
                </a:cxn>
                <a:cxn ang="0">
                  <a:pos x="62" y="24"/>
                </a:cxn>
                <a:cxn ang="0">
                  <a:pos x="90" y="15"/>
                </a:cxn>
                <a:cxn ang="0">
                  <a:pos x="111" y="10"/>
                </a:cxn>
                <a:cxn ang="0">
                  <a:pos x="120" y="7"/>
                </a:cxn>
                <a:cxn ang="0">
                  <a:pos x="134" y="0"/>
                </a:cxn>
                <a:cxn ang="0">
                  <a:pos x="148" y="2"/>
                </a:cxn>
                <a:cxn ang="0">
                  <a:pos x="162" y="9"/>
                </a:cxn>
                <a:cxn ang="0">
                  <a:pos x="177" y="21"/>
                </a:cxn>
                <a:cxn ang="0">
                  <a:pos x="193" y="29"/>
                </a:cxn>
                <a:cxn ang="0">
                  <a:pos x="207" y="33"/>
                </a:cxn>
                <a:cxn ang="0">
                  <a:pos x="221" y="36"/>
                </a:cxn>
                <a:cxn ang="0">
                  <a:pos x="224" y="40"/>
                </a:cxn>
                <a:cxn ang="0">
                  <a:pos x="226" y="43"/>
                </a:cxn>
                <a:cxn ang="0">
                  <a:pos x="210" y="49"/>
                </a:cxn>
                <a:cxn ang="0">
                  <a:pos x="198" y="52"/>
                </a:cxn>
                <a:cxn ang="0">
                  <a:pos x="198" y="56"/>
                </a:cxn>
                <a:cxn ang="0">
                  <a:pos x="202" y="62"/>
                </a:cxn>
                <a:cxn ang="0">
                  <a:pos x="205" y="75"/>
                </a:cxn>
                <a:cxn ang="0">
                  <a:pos x="195" y="78"/>
                </a:cxn>
                <a:cxn ang="0">
                  <a:pos x="132" y="78"/>
                </a:cxn>
                <a:cxn ang="0">
                  <a:pos x="116" y="80"/>
                </a:cxn>
                <a:cxn ang="0">
                  <a:pos x="102" y="85"/>
                </a:cxn>
                <a:cxn ang="0">
                  <a:pos x="99" y="92"/>
                </a:cxn>
                <a:cxn ang="0">
                  <a:pos x="90" y="94"/>
                </a:cxn>
                <a:cxn ang="0">
                  <a:pos x="78" y="94"/>
                </a:cxn>
              </a:cxnLst>
              <a:rect l="0" t="0" r="r" b="b"/>
              <a:pathLst>
                <a:path w="226" h="94">
                  <a:moveTo>
                    <a:pt x="78" y="94"/>
                  </a:moveTo>
                  <a:lnTo>
                    <a:pt x="78" y="94"/>
                  </a:lnTo>
                  <a:lnTo>
                    <a:pt x="64" y="92"/>
                  </a:lnTo>
                  <a:lnTo>
                    <a:pt x="55" y="89"/>
                  </a:lnTo>
                  <a:lnTo>
                    <a:pt x="40" y="83"/>
                  </a:lnTo>
                  <a:lnTo>
                    <a:pt x="27" y="78"/>
                  </a:lnTo>
                  <a:lnTo>
                    <a:pt x="21" y="76"/>
                  </a:lnTo>
                  <a:lnTo>
                    <a:pt x="10" y="75"/>
                  </a:lnTo>
                  <a:lnTo>
                    <a:pt x="10" y="75"/>
                  </a:lnTo>
                  <a:lnTo>
                    <a:pt x="3" y="75"/>
                  </a:lnTo>
                  <a:lnTo>
                    <a:pt x="0" y="73"/>
                  </a:lnTo>
                  <a:lnTo>
                    <a:pt x="3" y="69"/>
                  </a:lnTo>
                  <a:lnTo>
                    <a:pt x="8" y="68"/>
                  </a:lnTo>
                  <a:lnTo>
                    <a:pt x="27" y="61"/>
                  </a:lnTo>
                  <a:lnTo>
                    <a:pt x="38" y="56"/>
                  </a:lnTo>
                  <a:lnTo>
                    <a:pt x="48" y="49"/>
                  </a:lnTo>
                  <a:lnTo>
                    <a:pt x="48" y="49"/>
                  </a:lnTo>
                  <a:lnTo>
                    <a:pt x="54" y="43"/>
                  </a:lnTo>
                  <a:lnTo>
                    <a:pt x="55" y="43"/>
                  </a:lnTo>
                  <a:lnTo>
                    <a:pt x="54" y="42"/>
                  </a:lnTo>
                  <a:lnTo>
                    <a:pt x="52" y="40"/>
                  </a:lnTo>
                  <a:lnTo>
                    <a:pt x="47" y="40"/>
                  </a:lnTo>
                  <a:lnTo>
                    <a:pt x="41" y="40"/>
                  </a:lnTo>
                  <a:lnTo>
                    <a:pt x="40" y="38"/>
                  </a:lnTo>
                  <a:lnTo>
                    <a:pt x="41" y="35"/>
                  </a:lnTo>
                  <a:lnTo>
                    <a:pt x="50" y="29"/>
                  </a:lnTo>
                  <a:lnTo>
                    <a:pt x="50" y="29"/>
                  </a:lnTo>
                  <a:lnTo>
                    <a:pt x="62" y="24"/>
                  </a:lnTo>
                  <a:lnTo>
                    <a:pt x="73" y="19"/>
                  </a:lnTo>
                  <a:lnTo>
                    <a:pt x="90" y="15"/>
                  </a:lnTo>
                  <a:lnTo>
                    <a:pt x="104" y="12"/>
                  </a:lnTo>
                  <a:lnTo>
                    <a:pt x="111" y="10"/>
                  </a:lnTo>
                  <a:lnTo>
                    <a:pt x="120" y="7"/>
                  </a:lnTo>
                  <a:lnTo>
                    <a:pt x="120" y="7"/>
                  </a:lnTo>
                  <a:lnTo>
                    <a:pt x="127" y="2"/>
                  </a:lnTo>
                  <a:lnTo>
                    <a:pt x="134" y="0"/>
                  </a:lnTo>
                  <a:lnTo>
                    <a:pt x="141" y="0"/>
                  </a:lnTo>
                  <a:lnTo>
                    <a:pt x="148" y="2"/>
                  </a:lnTo>
                  <a:lnTo>
                    <a:pt x="155" y="3"/>
                  </a:lnTo>
                  <a:lnTo>
                    <a:pt x="162" y="9"/>
                  </a:lnTo>
                  <a:lnTo>
                    <a:pt x="177" y="21"/>
                  </a:lnTo>
                  <a:lnTo>
                    <a:pt x="177" y="21"/>
                  </a:lnTo>
                  <a:lnTo>
                    <a:pt x="186" y="26"/>
                  </a:lnTo>
                  <a:lnTo>
                    <a:pt x="193" y="29"/>
                  </a:lnTo>
                  <a:lnTo>
                    <a:pt x="200" y="31"/>
                  </a:lnTo>
                  <a:lnTo>
                    <a:pt x="207" y="33"/>
                  </a:lnTo>
                  <a:lnTo>
                    <a:pt x="217" y="33"/>
                  </a:lnTo>
                  <a:lnTo>
                    <a:pt x="221" y="36"/>
                  </a:lnTo>
                  <a:lnTo>
                    <a:pt x="224" y="40"/>
                  </a:lnTo>
                  <a:lnTo>
                    <a:pt x="224" y="40"/>
                  </a:lnTo>
                  <a:lnTo>
                    <a:pt x="226" y="42"/>
                  </a:lnTo>
                  <a:lnTo>
                    <a:pt x="226" y="43"/>
                  </a:lnTo>
                  <a:lnTo>
                    <a:pt x="223" y="47"/>
                  </a:lnTo>
                  <a:lnTo>
                    <a:pt x="210" y="49"/>
                  </a:lnTo>
                  <a:lnTo>
                    <a:pt x="203" y="49"/>
                  </a:lnTo>
                  <a:lnTo>
                    <a:pt x="198" y="52"/>
                  </a:lnTo>
                  <a:lnTo>
                    <a:pt x="198" y="54"/>
                  </a:lnTo>
                  <a:lnTo>
                    <a:pt x="198" y="56"/>
                  </a:lnTo>
                  <a:lnTo>
                    <a:pt x="202" y="62"/>
                  </a:lnTo>
                  <a:lnTo>
                    <a:pt x="202" y="62"/>
                  </a:lnTo>
                  <a:lnTo>
                    <a:pt x="205" y="69"/>
                  </a:lnTo>
                  <a:lnTo>
                    <a:pt x="205" y="75"/>
                  </a:lnTo>
                  <a:lnTo>
                    <a:pt x="202" y="76"/>
                  </a:lnTo>
                  <a:lnTo>
                    <a:pt x="195" y="78"/>
                  </a:lnTo>
                  <a:lnTo>
                    <a:pt x="170" y="78"/>
                  </a:lnTo>
                  <a:lnTo>
                    <a:pt x="132" y="78"/>
                  </a:lnTo>
                  <a:lnTo>
                    <a:pt x="132" y="78"/>
                  </a:lnTo>
                  <a:lnTo>
                    <a:pt x="116" y="80"/>
                  </a:lnTo>
                  <a:lnTo>
                    <a:pt x="106" y="83"/>
                  </a:lnTo>
                  <a:lnTo>
                    <a:pt x="102" y="85"/>
                  </a:lnTo>
                  <a:lnTo>
                    <a:pt x="101" y="89"/>
                  </a:lnTo>
                  <a:lnTo>
                    <a:pt x="99" y="92"/>
                  </a:lnTo>
                  <a:lnTo>
                    <a:pt x="97" y="94"/>
                  </a:lnTo>
                  <a:lnTo>
                    <a:pt x="90" y="94"/>
                  </a:lnTo>
                  <a:lnTo>
                    <a:pt x="78" y="94"/>
                  </a:lnTo>
                  <a:lnTo>
                    <a:pt x="78" y="9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3" name="Freeform 2080">
              <a:extLst>
                <a:ext uri="{FF2B5EF4-FFF2-40B4-BE49-F238E27FC236}">
                  <a16:creationId xmlns:a16="http://schemas.microsoft.com/office/drawing/2014/main" id="{744C3093-EAEB-414D-B78D-5D2DC3889067}"/>
                </a:ext>
              </a:extLst>
            </p:cNvPr>
            <p:cNvSpPr>
              <a:spLocks/>
            </p:cNvSpPr>
            <p:nvPr/>
          </p:nvSpPr>
          <p:spPr bwMode="auto">
            <a:xfrm>
              <a:off x="7401498" y="1408892"/>
              <a:ext cx="37001" cy="14097"/>
            </a:xfrm>
            <a:custGeom>
              <a:avLst/>
              <a:gdLst/>
              <a:ahLst/>
              <a:cxnLst>
                <a:cxn ang="0">
                  <a:pos x="2" y="16"/>
                </a:cxn>
                <a:cxn ang="0">
                  <a:pos x="2" y="16"/>
                </a:cxn>
                <a:cxn ang="0">
                  <a:pos x="0" y="16"/>
                </a:cxn>
                <a:cxn ang="0">
                  <a:pos x="2" y="14"/>
                </a:cxn>
                <a:cxn ang="0">
                  <a:pos x="5" y="11"/>
                </a:cxn>
                <a:cxn ang="0">
                  <a:pos x="19" y="6"/>
                </a:cxn>
                <a:cxn ang="0">
                  <a:pos x="37" y="0"/>
                </a:cxn>
                <a:cxn ang="0">
                  <a:pos x="43" y="0"/>
                </a:cxn>
                <a:cxn ang="0">
                  <a:pos x="47" y="2"/>
                </a:cxn>
                <a:cxn ang="0">
                  <a:pos x="47" y="2"/>
                </a:cxn>
                <a:cxn ang="0">
                  <a:pos x="47" y="4"/>
                </a:cxn>
                <a:cxn ang="0">
                  <a:pos x="45" y="7"/>
                </a:cxn>
                <a:cxn ang="0">
                  <a:pos x="40" y="11"/>
                </a:cxn>
                <a:cxn ang="0">
                  <a:pos x="33" y="14"/>
                </a:cxn>
                <a:cxn ang="0">
                  <a:pos x="26" y="18"/>
                </a:cxn>
                <a:cxn ang="0">
                  <a:pos x="17" y="19"/>
                </a:cxn>
                <a:cxn ang="0">
                  <a:pos x="9" y="19"/>
                </a:cxn>
                <a:cxn ang="0">
                  <a:pos x="2" y="16"/>
                </a:cxn>
                <a:cxn ang="0">
                  <a:pos x="2" y="16"/>
                </a:cxn>
              </a:cxnLst>
              <a:rect l="0" t="0" r="r" b="b"/>
              <a:pathLst>
                <a:path w="47" h="19">
                  <a:moveTo>
                    <a:pt x="2" y="16"/>
                  </a:moveTo>
                  <a:lnTo>
                    <a:pt x="2" y="16"/>
                  </a:lnTo>
                  <a:lnTo>
                    <a:pt x="0" y="16"/>
                  </a:lnTo>
                  <a:lnTo>
                    <a:pt x="2" y="14"/>
                  </a:lnTo>
                  <a:lnTo>
                    <a:pt x="5" y="11"/>
                  </a:lnTo>
                  <a:lnTo>
                    <a:pt x="19" y="6"/>
                  </a:lnTo>
                  <a:lnTo>
                    <a:pt x="37" y="0"/>
                  </a:lnTo>
                  <a:lnTo>
                    <a:pt x="43" y="0"/>
                  </a:lnTo>
                  <a:lnTo>
                    <a:pt x="47" y="2"/>
                  </a:lnTo>
                  <a:lnTo>
                    <a:pt x="47" y="2"/>
                  </a:lnTo>
                  <a:lnTo>
                    <a:pt x="47" y="4"/>
                  </a:lnTo>
                  <a:lnTo>
                    <a:pt x="45" y="7"/>
                  </a:lnTo>
                  <a:lnTo>
                    <a:pt x="40" y="11"/>
                  </a:lnTo>
                  <a:lnTo>
                    <a:pt x="33" y="14"/>
                  </a:lnTo>
                  <a:lnTo>
                    <a:pt x="26" y="18"/>
                  </a:lnTo>
                  <a:lnTo>
                    <a:pt x="17" y="19"/>
                  </a:lnTo>
                  <a:lnTo>
                    <a:pt x="9" y="19"/>
                  </a:lnTo>
                  <a:lnTo>
                    <a:pt x="2" y="16"/>
                  </a:lnTo>
                  <a:lnTo>
                    <a:pt x="2" y="1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4" name="Freeform 2081">
              <a:extLst>
                <a:ext uri="{FF2B5EF4-FFF2-40B4-BE49-F238E27FC236}">
                  <a16:creationId xmlns:a16="http://schemas.microsoft.com/office/drawing/2014/main" id="{2747D77F-1C23-438B-AD2A-E19525F9190A}"/>
                </a:ext>
              </a:extLst>
            </p:cNvPr>
            <p:cNvSpPr>
              <a:spLocks/>
            </p:cNvSpPr>
            <p:nvPr/>
          </p:nvSpPr>
          <p:spPr bwMode="auto">
            <a:xfrm>
              <a:off x="4494197" y="2480190"/>
              <a:ext cx="74004" cy="51098"/>
            </a:xfrm>
            <a:custGeom>
              <a:avLst/>
              <a:gdLst/>
              <a:ahLst/>
              <a:cxnLst>
                <a:cxn ang="0">
                  <a:pos x="63" y="61"/>
                </a:cxn>
                <a:cxn ang="0">
                  <a:pos x="54" y="65"/>
                </a:cxn>
                <a:cxn ang="0">
                  <a:pos x="52" y="61"/>
                </a:cxn>
                <a:cxn ang="0">
                  <a:pos x="51" y="58"/>
                </a:cxn>
                <a:cxn ang="0">
                  <a:pos x="45" y="54"/>
                </a:cxn>
                <a:cxn ang="0">
                  <a:pos x="42" y="49"/>
                </a:cxn>
                <a:cxn ang="0">
                  <a:pos x="38" y="44"/>
                </a:cxn>
                <a:cxn ang="0">
                  <a:pos x="33" y="49"/>
                </a:cxn>
                <a:cxn ang="0">
                  <a:pos x="33" y="54"/>
                </a:cxn>
                <a:cxn ang="0">
                  <a:pos x="30" y="58"/>
                </a:cxn>
                <a:cxn ang="0">
                  <a:pos x="17" y="58"/>
                </a:cxn>
                <a:cxn ang="0">
                  <a:pos x="5" y="51"/>
                </a:cxn>
                <a:cxn ang="0">
                  <a:pos x="0" y="44"/>
                </a:cxn>
                <a:cxn ang="0">
                  <a:pos x="2" y="41"/>
                </a:cxn>
                <a:cxn ang="0">
                  <a:pos x="5" y="39"/>
                </a:cxn>
                <a:cxn ang="0">
                  <a:pos x="12" y="34"/>
                </a:cxn>
                <a:cxn ang="0">
                  <a:pos x="10" y="32"/>
                </a:cxn>
                <a:cxn ang="0">
                  <a:pos x="14" y="28"/>
                </a:cxn>
                <a:cxn ang="0">
                  <a:pos x="19" y="27"/>
                </a:cxn>
                <a:cxn ang="0">
                  <a:pos x="23" y="21"/>
                </a:cxn>
                <a:cxn ang="0">
                  <a:pos x="26" y="13"/>
                </a:cxn>
                <a:cxn ang="0">
                  <a:pos x="31" y="11"/>
                </a:cxn>
                <a:cxn ang="0">
                  <a:pos x="40" y="7"/>
                </a:cxn>
                <a:cxn ang="0">
                  <a:pos x="45" y="4"/>
                </a:cxn>
                <a:cxn ang="0">
                  <a:pos x="52" y="2"/>
                </a:cxn>
                <a:cxn ang="0">
                  <a:pos x="66" y="0"/>
                </a:cxn>
                <a:cxn ang="0">
                  <a:pos x="70" y="4"/>
                </a:cxn>
                <a:cxn ang="0">
                  <a:pos x="77" y="14"/>
                </a:cxn>
                <a:cxn ang="0">
                  <a:pos x="82" y="21"/>
                </a:cxn>
                <a:cxn ang="0">
                  <a:pos x="85" y="21"/>
                </a:cxn>
                <a:cxn ang="0">
                  <a:pos x="84" y="27"/>
                </a:cxn>
                <a:cxn ang="0">
                  <a:pos x="78" y="28"/>
                </a:cxn>
                <a:cxn ang="0">
                  <a:pos x="78" y="32"/>
                </a:cxn>
                <a:cxn ang="0">
                  <a:pos x="85" y="30"/>
                </a:cxn>
                <a:cxn ang="0">
                  <a:pos x="89" y="32"/>
                </a:cxn>
                <a:cxn ang="0">
                  <a:pos x="94" y="41"/>
                </a:cxn>
                <a:cxn ang="0">
                  <a:pos x="94" y="44"/>
                </a:cxn>
                <a:cxn ang="0">
                  <a:pos x="91" y="47"/>
                </a:cxn>
                <a:cxn ang="0">
                  <a:pos x="89" y="41"/>
                </a:cxn>
                <a:cxn ang="0">
                  <a:pos x="87" y="41"/>
                </a:cxn>
                <a:cxn ang="0">
                  <a:pos x="84" y="46"/>
                </a:cxn>
                <a:cxn ang="0">
                  <a:pos x="84" y="47"/>
                </a:cxn>
                <a:cxn ang="0">
                  <a:pos x="87" y="47"/>
                </a:cxn>
                <a:cxn ang="0">
                  <a:pos x="89" y="51"/>
                </a:cxn>
                <a:cxn ang="0">
                  <a:pos x="85" y="53"/>
                </a:cxn>
                <a:cxn ang="0">
                  <a:pos x="78" y="58"/>
                </a:cxn>
                <a:cxn ang="0">
                  <a:pos x="73" y="65"/>
                </a:cxn>
                <a:cxn ang="0">
                  <a:pos x="71" y="65"/>
                </a:cxn>
                <a:cxn ang="0">
                  <a:pos x="66" y="61"/>
                </a:cxn>
                <a:cxn ang="0">
                  <a:pos x="63" y="61"/>
                </a:cxn>
              </a:cxnLst>
              <a:rect l="0" t="0" r="r" b="b"/>
              <a:pathLst>
                <a:path w="94" h="65">
                  <a:moveTo>
                    <a:pt x="63" y="61"/>
                  </a:moveTo>
                  <a:lnTo>
                    <a:pt x="63" y="61"/>
                  </a:lnTo>
                  <a:lnTo>
                    <a:pt x="57" y="63"/>
                  </a:lnTo>
                  <a:lnTo>
                    <a:pt x="54" y="65"/>
                  </a:lnTo>
                  <a:lnTo>
                    <a:pt x="52" y="65"/>
                  </a:lnTo>
                  <a:lnTo>
                    <a:pt x="52" y="61"/>
                  </a:lnTo>
                  <a:lnTo>
                    <a:pt x="52" y="61"/>
                  </a:lnTo>
                  <a:lnTo>
                    <a:pt x="51" y="58"/>
                  </a:lnTo>
                  <a:lnTo>
                    <a:pt x="47" y="56"/>
                  </a:lnTo>
                  <a:lnTo>
                    <a:pt x="45" y="54"/>
                  </a:lnTo>
                  <a:lnTo>
                    <a:pt x="42" y="49"/>
                  </a:lnTo>
                  <a:lnTo>
                    <a:pt x="42" y="49"/>
                  </a:lnTo>
                  <a:lnTo>
                    <a:pt x="40" y="44"/>
                  </a:lnTo>
                  <a:lnTo>
                    <a:pt x="38" y="44"/>
                  </a:lnTo>
                  <a:lnTo>
                    <a:pt x="37" y="46"/>
                  </a:lnTo>
                  <a:lnTo>
                    <a:pt x="33" y="49"/>
                  </a:lnTo>
                  <a:lnTo>
                    <a:pt x="33" y="54"/>
                  </a:lnTo>
                  <a:lnTo>
                    <a:pt x="33" y="54"/>
                  </a:lnTo>
                  <a:lnTo>
                    <a:pt x="31" y="56"/>
                  </a:lnTo>
                  <a:lnTo>
                    <a:pt x="30" y="58"/>
                  </a:lnTo>
                  <a:lnTo>
                    <a:pt x="24" y="58"/>
                  </a:lnTo>
                  <a:lnTo>
                    <a:pt x="17" y="58"/>
                  </a:lnTo>
                  <a:lnTo>
                    <a:pt x="10" y="54"/>
                  </a:lnTo>
                  <a:lnTo>
                    <a:pt x="5" y="51"/>
                  </a:lnTo>
                  <a:lnTo>
                    <a:pt x="0" y="46"/>
                  </a:lnTo>
                  <a:lnTo>
                    <a:pt x="0" y="44"/>
                  </a:lnTo>
                  <a:lnTo>
                    <a:pt x="0" y="42"/>
                  </a:lnTo>
                  <a:lnTo>
                    <a:pt x="2" y="41"/>
                  </a:lnTo>
                  <a:lnTo>
                    <a:pt x="5" y="39"/>
                  </a:lnTo>
                  <a:lnTo>
                    <a:pt x="5" y="39"/>
                  </a:lnTo>
                  <a:lnTo>
                    <a:pt x="10" y="37"/>
                  </a:lnTo>
                  <a:lnTo>
                    <a:pt x="12" y="34"/>
                  </a:lnTo>
                  <a:lnTo>
                    <a:pt x="12" y="34"/>
                  </a:lnTo>
                  <a:lnTo>
                    <a:pt x="10" y="32"/>
                  </a:lnTo>
                  <a:lnTo>
                    <a:pt x="9" y="30"/>
                  </a:lnTo>
                  <a:lnTo>
                    <a:pt x="14" y="28"/>
                  </a:lnTo>
                  <a:lnTo>
                    <a:pt x="14" y="28"/>
                  </a:lnTo>
                  <a:lnTo>
                    <a:pt x="19" y="27"/>
                  </a:lnTo>
                  <a:lnTo>
                    <a:pt x="21" y="25"/>
                  </a:lnTo>
                  <a:lnTo>
                    <a:pt x="23" y="21"/>
                  </a:lnTo>
                  <a:lnTo>
                    <a:pt x="24" y="16"/>
                  </a:lnTo>
                  <a:lnTo>
                    <a:pt x="26" y="13"/>
                  </a:lnTo>
                  <a:lnTo>
                    <a:pt x="31" y="11"/>
                  </a:lnTo>
                  <a:lnTo>
                    <a:pt x="31" y="11"/>
                  </a:lnTo>
                  <a:lnTo>
                    <a:pt x="37" y="9"/>
                  </a:lnTo>
                  <a:lnTo>
                    <a:pt x="40" y="7"/>
                  </a:lnTo>
                  <a:lnTo>
                    <a:pt x="40" y="4"/>
                  </a:lnTo>
                  <a:lnTo>
                    <a:pt x="45" y="4"/>
                  </a:lnTo>
                  <a:lnTo>
                    <a:pt x="45" y="4"/>
                  </a:lnTo>
                  <a:lnTo>
                    <a:pt x="52" y="2"/>
                  </a:lnTo>
                  <a:lnTo>
                    <a:pt x="59" y="0"/>
                  </a:lnTo>
                  <a:lnTo>
                    <a:pt x="66" y="0"/>
                  </a:lnTo>
                  <a:lnTo>
                    <a:pt x="68" y="2"/>
                  </a:lnTo>
                  <a:lnTo>
                    <a:pt x="70" y="4"/>
                  </a:lnTo>
                  <a:lnTo>
                    <a:pt x="70" y="4"/>
                  </a:lnTo>
                  <a:lnTo>
                    <a:pt x="77" y="14"/>
                  </a:lnTo>
                  <a:lnTo>
                    <a:pt x="78" y="20"/>
                  </a:lnTo>
                  <a:lnTo>
                    <a:pt x="82" y="21"/>
                  </a:lnTo>
                  <a:lnTo>
                    <a:pt x="82" y="21"/>
                  </a:lnTo>
                  <a:lnTo>
                    <a:pt x="85" y="21"/>
                  </a:lnTo>
                  <a:lnTo>
                    <a:pt x="85" y="23"/>
                  </a:lnTo>
                  <a:lnTo>
                    <a:pt x="84" y="27"/>
                  </a:lnTo>
                  <a:lnTo>
                    <a:pt x="78" y="28"/>
                  </a:lnTo>
                  <a:lnTo>
                    <a:pt x="78" y="28"/>
                  </a:lnTo>
                  <a:lnTo>
                    <a:pt x="77" y="32"/>
                  </a:lnTo>
                  <a:lnTo>
                    <a:pt x="78" y="32"/>
                  </a:lnTo>
                  <a:lnTo>
                    <a:pt x="85" y="30"/>
                  </a:lnTo>
                  <a:lnTo>
                    <a:pt x="85" y="30"/>
                  </a:lnTo>
                  <a:lnTo>
                    <a:pt x="89" y="30"/>
                  </a:lnTo>
                  <a:lnTo>
                    <a:pt x="89" y="32"/>
                  </a:lnTo>
                  <a:lnTo>
                    <a:pt x="92" y="35"/>
                  </a:lnTo>
                  <a:lnTo>
                    <a:pt x="94" y="41"/>
                  </a:lnTo>
                  <a:lnTo>
                    <a:pt x="94" y="44"/>
                  </a:lnTo>
                  <a:lnTo>
                    <a:pt x="94" y="44"/>
                  </a:lnTo>
                  <a:lnTo>
                    <a:pt x="92" y="47"/>
                  </a:lnTo>
                  <a:lnTo>
                    <a:pt x="91" y="47"/>
                  </a:lnTo>
                  <a:lnTo>
                    <a:pt x="89" y="41"/>
                  </a:lnTo>
                  <a:lnTo>
                    <a:pt x="89" y="41"/>
                  </a:lnTo>
                  <a:lnTo>
                    <a:pt x="87" y="39"/>
                  </a:lnTo>
                  <a:lnTo>
                    <a:pt x="87" y="41"/>
                  </a:lnTo>
                  <a:lnTo>
                    <a:pt x="85" y="44"/>
                  </a:lnTo>
                  <a:lnTo>
                    <a:pt x="84" y="46"/>
                  </a:lnTo>
                  <a:lnTo>
                    <a:pt x="84" y="46"/>
                  </a:lnTo>
                  <a:lnTo>
                    <a:pt x="84" y="47"/>
                  </a:lnTo>
                  <a:lnTo>
                    <a:pt x="85" y="47"/>
                  </a:lnTo>
                  <a:lnTo>
                    <a:pt x="87" y="47"/>
                  </a:lnTo>
                  <a:lnTo>
                    <a:pt x="89" y="51"/>
                  </a:lnTo>
                  <a:lnTo>
                    <a:pt x="89" y="51"/>
                  </a:lnTo>
                  <a:lnTo>
                    <a:pt x="87" y="53"/>
                  </a:lnTo>
                  <a:lnTo>
                    <a:pt x="85" y="53"/>
                  </a:lnTo>
                  <a:lnTo>
                    <a:pt x="82" y="54"/>
                  </a:lnTo>
                  <a:lnTo>
                    <a:pt x="78" y="58"/>
                  </a:lnTo>
                  <a:lnTo>
                    <a:pt x="78" y="58"/>
                  </a:lnTo>
                  <a:lnTo>
                    <a:pt x="73" y="65"/>
                  </a:lnTo>
                  <a:lnTo>
                    <a:pt x="73" y="65"/>
                  </a:lnTo>
                  <a:lnTo>
                    <a:pt x="71" y="65"/>
                  </a:lnTo>
                  <a:lnTo>
                    <a:pt x="70" y="61"/>
                  </a:lnTo>
                  <a:lnTo>
                    <a:pt x="66" y="61"/>
                  </a:lnTo>
                  <a:lnTo>
                    <a:pt x="63" y="61"/>
                  </a:lnTo>
                  <a:lnTo>
                    <a:pt x="63" y="6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5" name="Freeform 2082">
              <a:extLst>
                <a:ext uri="{FF2B5EF4-FFF2-40B4-BE49-F238E27FC236}">
                  <a16:creationId xmlns:a16="http://schemas.microsoft.com/office/drawing/2014/main" id="{8A392295-A3BF-45C9-8E7C-053675D14B02}"/>
                </a:ext>
              </a:extLst>
            </p:cNvPr>
            <p:cNvSpPr>
              <a:spLocks/>
            </p:cNvSpPr>
            <p:nvPr/>
          </p:nvSpPr>
          <p:spPr bwMode="auto">
            <a:xfrm>
              <a:off x="4425481" y="2474903"/>
              <a:ext cx="126865" cy="165629"/>
            </a:xfrm>
            <a:custGeom>
              <a:avLst/>
              <a:gdLst/>
              <a:ahLst/>
              <a:cxnLst>
                <a:cxn ang="0">
                  <a:pos x="117" y="10"/>
                </a:cxn>
                <a:cxn ang="0">
                  <a:pos x="117" y="1"/>
                </a:cxn>
                <a:cxn ang="0">
                  <a:pos x="108" y="0"/>
                </a:cxn>
                <a:cxn ang="0">
                  <a:pos x="98" y="6"/>
                </a:cxn>
                <a:cxn ang="0">
                  <a:pos x="75" y="17"/>
                </a:cxn>
                <a:cxn ang="0">
                  <a:pos x="74" y="26"/>
                </a:cxn>
                <a:cxn ang="0">
                  <a:pos x="60" y="36"/>
                </a:cxn>
                <a:cxn ang="0">
                  <a:pos x="67" y="40"/>
                </a:cxn>
                <a:cxn ang="0">
                  <a:pos x="79" y="45"/>
                </a:cxn>
                <a:cxn ang="0">
                  <a:pos x="65" y="59"/>
                </a:cxn>
                <a:cxn ang="0">
                  <a:pos x="51" y="60"/>
                </a:cxn>
                <a:cxn ang="0">
                  <a:pos x="35" y="55"/>
                </a:cxn>
                <a:cxn ang="0">
                  <a:pos x="14" y="62"/>
                </a:cxn>
                <a:cxn ang="0">
                  <a:pos x="18" y="64"/>
                </a:cxn>
                <a:cxn ang="0">
                  <a:pos x="16" y="71"/>
                </a:cxn>
                <a:cxn ang="0">
                  <a:pos x="25" y="80"/>
                </a:cxn>
                <a:cxn ang="0">
                  <a:pos x="30" y="83"/>
                </a:cxn>
                <a:cxn ang="0">
                  <a:pos x="14" y="97"/>
                </a:cxn>
                <a:cxn ang="0">
                  <a:pos x="21" y="109"/>
                </a:cxn>
                <a:cxn ang="0">
                  <a:pos x="40" y="114"/>
                </a:cxn>
                <a:cxn ang="0">
                  <a:pos x="53" y="116"/>
                </a:cxn>
                <a:cxn ang="0">
                  <a:pos x="37" y="123"/>
                </a:cxn>
                <a:cxn ang="0">
                  <a:pos x="35" y="135"/>
                </a:cxn>
                <a:cxn ang="0">
                  <a:pos x="21" y="147"/>
                </a:cxn>
                <a:cxn ang="0">
                  <a:pos x="51" y="142"/>
                </a:cxn>
                <a:cxn ang="0">
                  <a:pos x="58" y="144"/>
                </a:cxn>
                <a:cxn ang="0">
                  <a:pos x="46" y="149"/>
                </a:cxn>
                <a:cxn ang="0">
                  <a:pos x="23" y="161"/>
                </a:cxn>
                <a:cxn ang="0">
                  <a:pos x="20" y="163"/>
                </a:cxn>
                <a:cxn ang="0">
                  <a:pos x="6" y="167"/>
                </a:cxn>
                <a:cxn ang="0">
                  <a:pos x="6" y="174"/>
                </a:cxn>
                <a:cxn ang="0">
                  <a:pos x="9" y="181"/>
                </a:cxn>
                <a:cxn ang="0">
                  <a:pos x="7" y="189"/>
                </a:cxn>
                <a:cxn ang="0">
                  <a:pos x="16" y="196"/>
                </a:cxn>
                <a:cxn ang="0">
                  <a:pos x="25" y="196"/>
                </a:cxn>
                <a:cxn ang="0">
                  <a:pos x="27" y="200"/>
                </a:cxn>
                <a:cxn ang="0">
                  <a:pos x="34" y="207"/>
                </a:cxn>
                <a:cxn ang="0">
                  <a:pos x="74" y="195"/>
                </a:cxn>
                <a:cxn ang="0">
                  <a:pos x="81" y="186"/>
                </a:cxn>
                <a:cxn ang="0">
                  <a:pos x="94" y="182"/>
                </a:cxn>
                <a:cxn ang="0">
                  <a:pos x="117" y="172"/>
                </a:cxn>
                <a:cxn ang="0">
                  <a:pos x="141" y="168"/>
                </a:cxn>
                <a:cxn ang="0">
                  <a:pos x="147" y="160"/>
                </a:cxn>
                <a:cxn ang="0">
                  <a:pos x="154" y="141"/>
                </a:cxn>
                <a:cxn ang="0">
                  <a:pos x="154" y="94"/>
                </a:cxn>
                <a:cxn ang="0">
                  <a:pos x="148" y="74"/>
                </a:cxn>
                <a:cxn ang="0">
                  <a:pos x="147" y="67"/>
                </a:cxn>
                <a:cxn ang="0">
                  <a:pos x="136" y="71"/>
                </a:cxn>
                <a:cxn ang="0">
                  <a:pos x="131" y="62"/>
                </a:cxn>
                <a:cxn ang="0">
                  <a:pos x="124" y="50"/>
                </a:cxn>
                <a:cxn ang="0">
                  <a:pos x="117" y="60"/>
                </a:cxn>
                <a:cxn ang="0">
                  <a:pos x="108" y="64"/>
                </a:cxn>
                <a:cxn ang="0">
                  <a:pos x="84" y="52"/>
                </a:cxn>
                <a:cxn ang="0">
                  <a:pos x="89" y="45"/>
                </a:cxn>
                <a:cxn ang="0">
                  <a:pos x="96" y="40"/>
                </a:cxn>
                <a:cxn ang="0">
                  <a:pos x="98" y="34"/>
                </a:cxn>
                <a:cxn ang="0">
                  <a:pos x="108" y="19"/>
                </a:cxn>
              </a:cxnLst>
              <a:rect l="0" t="0" r="r" b="b"/>
              <a:pathLst>
                <a:path w="159" h="207">
                  <a:moveTo>
                    <a:pt x="115" y="15"/>
                  </a:moveTo>
                  <a:lnTo>
                    <a:pt x="115" y="15"/>
                  </a:lnTo>
                  <a:lnTo>
                    <a:pt x="115" y="12"/>
                  </a:lnTo>
                  <a:lnTo>
                    <a:pt x="117" y="10"/>
                  </a:lnTo>
                  <a:lnTo>
                    <a:pt x="121" y="8"/>
                  </a:lnTo>
                  <a:lnTo>
                    <a:pt x="122" y="6"/>
                  </a:lnTo>
                  <a:lnTo>
                    <a:pt x="122" y="5"/>
                  </a:lnTo>
                  <a:lnTo>
                    <a:pt x="117" y="1"/>
                  </a:lnTo>
                  <a:lnTo>
                    <a:pt x="117" y="1"/>
                  </a:lnTo>
                  <a:lnTo>
                    <a:pt x="114" y="0"/>
                  </a:lnTo>
                  <a:lnTo>
                    <a:pt x="110" y="0"/>
                  </a:lnTo>
                  <a:lnTo>
                    <a:pt x="108" y="0"/>
                  </a:lnTo>
                  <a:lnTo>
                    <a:pt x="107" y="1"/>
                  </a:lnTo>
                  <a:lnTo>
                    <a:pt x="105" y="5"/>
                  </a:lnTo>
                  <a:lnTo>
                    <a:pt x="101" y="6"/>
                  </a:lnTo>
                  <a:lnTo>
                    <a:pt x="98" y="6"/>
                  </a:lnTo>
                  <a:lnTo>
                    <a:pt x="98" y="6"/>
                  </a:lnTo>
                  <a:lnTo>
                    <a:pt x="91" y="6"/>
                  </a:lnTo>
                  <a:lnTo>
                    <a:pt x="82" y="12"/>
                  </a:lnTo>
                  <a:lnTo>
                    <a:pt x="75" y="17"/>
                  </a:lnTo>
                  <a:lnTo>
                    <a:pt x="74" y="20"/>
                  </a:lnTo>
                  <a:lnTo>
                    <a:pt x="74" y="24"/>
                  </a:lnTo>
                  <a:lnTo>
                    <a:pt x="74" y="24"/>
                  </a:lnTo>
                  <a:lnTo>
                    <a:pt x="74" y="26"/>
                  </a:lnTo>
                  <a:lnTo>
                    <a:pt x="72" y="29"/>
                  </a:lnTo>
                  <a:lnTo>
                    <a:pt x="67" y="31"/>
                  </a:lnTo>
                  <a:lnTo>
                    <a:pt x="61" y="34"/>
                  </a:lnTo>
                  <a:lnTo>
                    <a:pt x="60" y="36"/>
                  </a:lnTo>
                  <a:lnTo>
                    <a:pt x="60" y="38"/>
                  </a:lnTo>
                  <a:lnTo>
                    <a:pt x="60" y="38"/>
                  </a:lnTo>
                  <a:lnTo>
                    <a:pt x="61" y="40"/>
                  </a:lnTo>
                  <a:lnTo>
                    <a:pt x="67" y="40"/>
                  </a:lnTo>
                  <a:lnTo>
                    <a:pt x="75" y="40"/>
                  </a:lnTo>
                  <a:lnTo>
                    <a:pt x="82" y="41"/>
                  </a:lnTo>
                  <a:lnTo>
                    <a:pt x="82" y="41"/>
                  </a:lnTo>
                  <a:lnTo>
                    <a:pt x="79" y="45"/>
                  </a:lnTo>
                  <a:lnTo>
                    <a:pt x="79" y="45"/>
                  </a:lnTo>
                  <a:lnTo>
                    <a:pt x="72" y="52"/>
                  </a:lnTo>
                  <a:lnTo>
                    <a:pt x="68" y="57"/>
                  </a:lnTo>
                  <a:lnTo>
                    <a:pt x="65" y="59"/>
                  </a:lnTo>
                  <a:lnTo>
                    <a:pt x="61" y="59"/>
                  </a:lnTo>
                  <a:lnTo>
                    <a:pt x="61" y="59"/>
                  </a:lnTo>
                  <a:lnTo>
                    <a:pt x="56" y="59"/>
                  </a:lnTo>
                  <a:lnTo>
                    <a:pt x="51" y="60"/>
                  </a:lnTo>
                  <a:lnTo>
                    <a:pt x="47" y="60"/>
                  </a:lnTo>
                  <a:lnTo>
                    <a:pt x="42" y="59"/>
                  </a:lnTo>
                  <a:lnTo>
                    <a:pt x="42" y="59"/>
                  </a:lnTo>
                  <a:lnTo>
                    <a:pt x="35" y="55"/>
                  </a:lnTo>
                  <a:lnTo>
                    <a:pt x="27" y="55"/>
                  </a:lnTo>
                  <a:lnTo>
                    <a:pt x="20" y="57"/>
                  </a:lnTo>
                  <a:lnTo>
                    <a:pt x="14" y="62"/>
                  </a:lnTo>
                  <a:lnTo>
                    <a:pt x="14" y="62"/>
                  </a:lnTo>
                  <a:lnTo>
                    <a:pt x="13" y="64"/>
                  </a:lnTo>
                  <a:lnTo>
                    <a:pt x="13" y="64"/>
                  </a:lnTo>
                  <a:lnTo>
                    <a:pt x="16" y="64"/>
                  </a:lnTo>
                  <a:lnTo>
                    <a:pt x="18" y="64"/>
                  </a:lnTo>
                  <a:lnTo>
                    <a:pt x="20" y="66"/>
                  </a:lnTo>
                  <a:lnTo>
                    <a:pt x="18" y="67"/>
                  </a:lnTo>
                  <a:lnTo>
                    <a:pt x="16" y="71"/>
                  </a:lnTo>
                  <a:lnTo>
                    <a:pt x="16" y="71"/>
                  </a:lnTo>
                  <a:lnTo>
                    <a:pt x="14" y="74"/>
                  </a:lnTo>
                  <a:lnTo>
                    <a:pt x="16" y="78"/>
                  </a:lnTo>
                  <a:lnTo>
                    <a:pt x="21" y="78"/>
                  </a:lnTo>
                  <a:lnTo>
                    <a:pt x="25" y="80"/>
                  </a:lnTo>
                  <a:lnTo>
                    <a:pt x="34" y="80"/>
                  </a:lnTo>
                  <a:lnTo>
                    <a:pt x="34" y="81"/>
                  </a:lnTo>
                  <a:lnTo>
                    <a:pt x="30" y="83"/>
                  </a:lnTo>
                  <a:lnTo>
                    <a:pt x="30" y="83"/>
                  </a:lnTo>
                  <a:lnTo>
                    <a:pt x="23" y="87"/>
                  </a:lnTo>
                  <a:lnTo>
                    <a:pt x="20" y="90"/>
                  </a:lnTo>
                  <a:lnTo>
                    <a:pt x="18" y="94"/>
                  </a:lnTo>
                  <a:lnTo>
                    <a:pt x="14" y="97"/>
                  </a:lnTo>
                  <a:lnTo>
                    <a:pt x="14" y="97"/>
                  </a:lnTo>
                  <a:lnTo>
                    <a:pt x="13" y="99"/>
                  </a:lnTo>
                  <a:lnTo>
                    <a:pt x="14" y="102"/>
                  </a:lnTo>
                  <a:lnTo>
                    <a:pt x="21" y="109"/>
                  </a:lnTo>
                  <a:lnTo>
                    <a:pt x="32" y="114"/>
                  </a:lnTo>
                  <a:lnTo>
                    <a:pt x="35" y="114"/>
                  </a:lnTo>
                  <a:lnTo>
                    <a:pt x="40" y="114"/>
                  </a:lnTo>
                  <a:lnTo>
                    <a:pt x="40" y="114"/>
                  </a:lnTo>
                  <a:lnTo>
                    <a:pt x="46" y="113"/>
                  </a:lnTo>
                  <a:lnTo>
                    <a:pt x="51" y="113"/>
                  </a:lnTo>
                  <a:lnTo>
                    <a:pt x="53" y="114"/>
                  </a:lnTo>
                  <a:lnTo>
                    <a:pt x="53" y="116"/>
                  </a:lnTo>
                  <a:lnTo>
                    <a:pt x="44" y="118"/>
                  </a:lnTo>
                  <a:lnTo>
                    <a:pt x="44" y="118"/>
                  </a:lnTo>
                  <a:lnTo>
                    <a:pt x="40" y="121"/>
                  </a:lnTo>
                  <a:lnTo>
                    <a:pt x="37" y="123"/>
                  </a:lnTo>
                  <a:lnTo>
                    <a:pt x="37" y="125"/>
                  </a:lnTo>
                  <a:lnTo>
                    <a:pt x="37" y="128"/>
                  </a:lnTo>
                  <a:lnTo>
                    <a:pt x="37" y="130"/>
                  </a:lnTo>
                  <a:lnTo>
                    <a:pt x="35" y="135"/>
                  </a:lnTo>
                  <a:lnTo>
                    <a:pt x="32" y="139"/>
                  </a:lnTo>
                  <a:lnTo>
                    <a:pt x="27" y="144"/>
                  </a:lnTo>
                  <a:lnTo>
                    <a:pt x="27" y="144"/>
                  </a:lnTo>
                  <a:lnTo>
                    <a:pt x="21" y="147"/>
                  </a:lnTo>
                  <a:lnTo>
                    <a:pt x="20" y="149"/>
                  </a:lnTo>
                  <a:lnTo>
                    <a:pt x="23" y="149"/>
                  </a:lnTo>
                  <a:lnTo>
                    <a:pt x="28" y="149"/>
                  </a:lnTo>
                  <a:lnTo>
                    <a:pt x="51" y="142"/>
                  </a:lnTo>
                  <a:lnTo>
                    <a:pt x="51" y="142"/>
                  </a:lnTo>
                  <a:lnTo>
                    <a:pt x="56" y="141"/>
                  </a:lnTo>
                  <a:lnTo>
                    <a:pt x="58" y="142"/>
                  </a:lnTo>
                  <a:lnTo>
                    <a:pt x="58" y="144"/>
                  </a:lnTo>
                  <a:lnTo>
                    <a:pt x="58" y="146"/>
                  </a:lnTo>
                  <a:lnTo>
                    <a:pt x="56" y="147"/>
                  </a:lnTo>
                  <a:lnTo>
                    <a:pt x="46" y="149"/>
                  </a:lnTo>
                  <a:lnTo>
                    <a:pt x="46" y="149"/>
                  </a:lnTo>
                  <a:lnTo>
                    <a:pt x="32" y="151"/>
                  </a:lnTo>
                  <a:lnTo>
                    <a:pt x="25" y="154"/>
                  </a:lnTo>
                  <a:lnTo>
                    <a:pt x="21" y="158"/>
                  </a:lnTo>
                  <a:lnTo>
                    <a:pt x="23" y="161"/>
                  </a:lnTo>
                  <a:lnTo>
                    <a:pt x="23" y="161"/>
                  </a:lnTo>
                  <a:lnTo>
                    <a:pt x="25" y="163"/>
                  </a:lnTo>
                  <a:lnTo>
                    <a:pt x="25" y="163"/>
                  </a:lnTo>
                  <a:lnTo>
                    <a:pt x="20" y="163"/>
                  </a:lnTo>
                  <a:lnTo>
                    <a:pt x="13" y="163"/>
                  </a:lnTo>
                  <a:lnTo>
                    <a:pt x="9" y="165"/>
                  </a:lnTo>
                  <a:lnTo>
                    <a:pt x="6" y="167"/>
                  </a:lnTo>
                  <a:lnTo>
                    <a:pt x="6" y="167"/>
                  </a:lnTo>
                  <a:lnTo>
                    <a:pt x="0" y="170"/>
                  </a:lnTo>
                  <a:lnTo>
                    <a:pt x="0" y="174"/>
                  </a:lnTo>
                  <a:lnTo>
                    <a:pt x="2" y="174"/>
                  </a:lnTo>
                  <a:lnTo>
                    <a:pt x="6" y="174"/>
                  </a:lnTo>
                  <a:lnTo>
                    <a:pt x="9" y="174"/>
                  </a:lnTo>
                  <a:lnTo>
                    <a:pt x="13" y="174"/>
                  </a:lnTo>
                  <a:lnTo>
                    <a:pt x="13" y="175"/>
                  </a:lnTo>
                  <a:lnTo>
                    <a:pt x="9" y="181"/>
                  </a:lnTo>
                  <a:lnTo>
                    <a:pt x="9" y="181"/>
                  </a:lnTo>
                  <a:lnTo>
                    <a:pt x="6" y="186"/>
                  </a:lnTo>
                  <a:lnTo>
                    <a:pt x="6" y="188"/>
                  </a:lnTo>
                  <a:lnTo>
                    <a:pt x="7" y="189"/>
                  </a:lnTo>
                  <a:lnTo>
                    <a:pt x="11" y="189"/>
                  </a:lnTo>
                  <a:lnTo>
                    <a:pt x="16" y="191"/>
                  </a:lnTo>
                  <a:lnTo>
                    <a:pt x="18" y="193"/>
                  </a:lnTo>
                  <a:lnTo>
                    <a:pt x="16" y="196"/>
                  </a:lnTo>
                  <a:lnTo>
                    <a:pt x="16" y="196"/>
                  </a:lnTo>
                  <a:lnTo>
                    <a:pt x="14" y="200"/>
                  </a:lnTo>
                  <a:lnTo>
                    <a:pt x="16" y="200"/>
                  </a:lnTo>
                  <a:lnTo>
                    <a:pt x="25" y="196"/>
                  </a:lnTo>
                  <a:lnTo>
                    <a:pt x="32" y="195"/>
                  </a:lnTo>
                  <a:lnTo>
                    <a:pt x="32" y="195"/>
                  </a:lnTo>
                  <a:lnTo>
                    <a:pt x="27" y="200"/>
                  </a:lnTo>
                  <a:lnTo>
                    <a:pt x="27" y="200"/>
                  </a:lnTo>
                  <a:lnTo>
                    <a:pt x="25" y="201"/>
                  </a:lnTo>
                  <a:lnTo>
                    <a:pt x="25" y="203"/>
                  </a:lnTo>
                  <a:lnTo>
                    <a:pt x="28" y="205"/>
                  </a:lnTo>
                  <a:lnTo>
                    <a:pt x="34" y="207"/>
                  </a:lnTo>
                  <a:lnTo>
                    <a:pt x="44" y="205"/>
                  </a:lnTo>
                  <a:lnTo>
                    <a:pt x="63" y="201"/>
                  </a:lnTo>
                  <a:lnTo>
                    <a:pt x="70" y="198"/>
                  </a:lnTo>
                  <a:lnTo>
                    <a:pt x="74" y="195"/>
                  </a:lnTo>
                  <a:lnTo>
                    <a:pt x="74" y="195"/>
                  </a:lnTo>
                  <a:lnTo>
                    <a:pt x="77" y="184"/>
                  </a:lnTo>
                  <a:lnTo>
                    <a:pt x="79" y="182"/>
                  </a:lnTo>
                  <a:lnTo>
                    <a:pt x="81" y="186"/>
                  </a:lnTo>
                  <a:lnTo>
                    <a:pt x="81" y="186"/>
                  </a:lnTo>
                  <a:lnTo>
                    <a:pt x="82" y="188"/>
                  </a:lnTo>
                  <a:lnTo>
                    <a:pt x="84" y="188"/>
                  </a:lnTo>
                  <a:lnTo>
                    <a:pt x="94" y="182"/>
                  </a:lnTo>
                  <a:lnTo>
                    <a:pt x="105" y="175"/>
                  </a:lnTo>
                  <a:lnTo>
                    <a:pt x="110" y="174"/>
                  </a:lnTo>
                  <a:lnTo>
                    <a:pt x="117" y="172"/>
                  </a:lnTo>
                  <a:lnTo>
                    <a:pt x="117" y="172"/>
                  </a:lnTo>
                  <a:lnTo>
                    <a:pt x="124" y="170"/>
                  </a:lnTo>
                  <a:lnTo>
                    <a:pt x="129" y="168"/>
                  </a:lnTo>
                  <a:lnTo>
                    <a:pt x="135" y="168"/>
                  </a:lnTo>
                  <a:lnTo>
                    <a:pt x="141" y="168"/>
                  </a:lnTo>
                  <a:lnTo>
                    <a:pt x="141" y="168"/>
                  </a:lnTo>
                  <a:lnTo>
                    <a:pt x="147" y="170"/>
                  </a:lnTo>
                  <a:lnTo>
                    <a:pt x="147" y="167"/>
                  </a:lnTo>
                  <a:lnTo>
                    <a:pt x="147" y="160"/>
                  </a:lnTo>
                  <a:lnTo>
                    <a:pt x="148" y="154"/>
                  </a:lnTo>
                  <a:lnTo>
                    <a:pt x="150" y="147"/>
                  </a:lnTo>
                  <a:lnTo>
                    <a:pt x="150" y="147"/>
                  </a:lnTo>
                  <a:lnTo>
                    <a:pt x="154" y="141"/>
                  </a:lnTo>
                  <a:lnTo>
                    <a:pt x="157" y="134"/>
                  </a:lnTo>
                  <a:lnTo>
                    <a:pt x="159" y="120"/>
                  </a:lnTo>
                  <a:lnTo>
                    <a:pt x="157" y="106"/>
                  </a:lnTo>
                  <a:lnTo>
                    <a:pt x="154" y="94"/>
                  </a:lnTo>
                  <a:lnTo>
                    <a:pt x="154" y="94"/>
                  </a:lnTo>
                  <a:lnTo>
                    <a:pt x="147" y="80"/>
                  </a:lnTo>
                  <a:lnTo>
                    <a:pt x="147" y="76"/>
                  </a:lnTo>
                  <a:lnTo>
                    <a:pt x="148" y="74"/>
                  </a:lnTo>
                  <a:lnTo>
                    <a:pt x="148" y="74"/>
                  </a:lnTo>
                  <a:lnTo>
                    <a:pt x="152" y="74"/>
                  </a:lnTo>
                  <a:lnTo>
                    <a:pt x="152" y="73"/>
                  </a:lnTo>
                  <a:lnTo>
                    <a:pt x="147" y="67"/>
                  </a:lnTo>
                  <a:lnTo>
                    <a:pt x="147" y="67"/>
                  </a:lnTo>
                  <a:lnTo>
                    <a:pt x="141" y="69"/>
                  </a:lnTo>
                  <a:lnTo>
                    <a:pt x="138" y="71"/>
                  </a:lnTo>
                  <a:lnTo>
                    <a:pt x="136" y="71"/>
                  </a:lnTo>
                  <a:lnTo>
                    <a:pt x="136" y="67"/>
                  </a:lnTo>
                  <a:lnTo>
                    <a:pt x="136" y="67"/>
                  </a:lnTo>
                  <a:lnTo>
                    <a:pt x="135" y="64"/>
                  </a:lnTo>
                  <a:lnTo>
                    <a:pt x="131" y="62"/>
                  </a:lnTo>
                  <a:lnTo>
                    <a:pt x="129" y="60"/>
                  </a:lnTo>
                  <a:lnTo>
                    <a:pt x="126" y="55"/>
                  </a:lnTo>
                  <a:lnTo>
                    <a:pt x="126" y="55"/>
                  </a:lnTo>
                  <a:lnTo>
                    <a:pt x="124" y="50"/>
                  </a:lnTo>
                  <a:lnTo>
                    <a:pt x="122" y="50"/>
                  </a:lnTo>
                  <a:lnTo>
                    <a:pt x="121" y="52"/>
                  </a:lnTo>
                  <a:lnTo>
                    <a:pt x="117" y="55"/>
                  </a:lnTo>
                  <a:lnTo>
                    <a:pt x="117" y="60"/>
                  </a:lnTo>
                  <a:lnTo>
                    <a:pt x="117" y="60"/>
                  </a:lnTo>
                  <a:lnTo>
                    <a:pt x="115" y="62"/>
                  </a:lnTo>
                  <a:lnTo>
                    <a:pt x="114" y="64"/>
                  </a:lnTo>
                  <a:lnTo>
                    <a:pt x="108" y="64"/>
                  </a:lnTo>
                  <a:lnTo>
                    <a:pt x="101" y="64"/>
                  </a:lnTo>
                  <a:lnTo>
                    <a:pt x="94" y="60"/>
                  </a:lnTo>
                  <a:lnTo>
                    <a:pt x="89" y="57"/>
                  </a:lnTo>
                  <a:lnTo>
                    <a:pt x="84" y="52"/>
                  </a:lnTo>
                  <a:lnTo>
                    <a:pt x="84" y="50"/>
                  </a:lnTo>
                  <a:lnTo>
                    <a:pt x="84" y="48"/>
                  </a:lnTo>
                  <a:lnTo>
                    <a:pt x="86" y="47"/>
                  </a:lnTo>
                  <a:lnTo>
                    <a:pt x="89" y="45"/>
                  </a:lnTo>
                  <a:lnTo>
                    <a:pt x="89" y="45"/>
                  </a:lnTo>
                  <a:lnTo>
                    <a:pt x="94" y="43"/>
                  </a:lnTo>
                  <a:lnTo>
                    <a:pt x="96" y="40"/>
                  </a:lnTo>
                  <a:lnTo>
                    <a:pt x="96" y="40"/>
                  </a:lnTo>
                  <a:lnTo>
                    <a:pt x="94" y="38"/>
                  </a:lnTo>
                  <a:lnTo>
                    <a:pt x="93" y="36"/>
                  </a:lnTo>
                  <a:lnTo>
                    <a:pt x="98" y="34"/>
                  </a:lnTo>
                  <a:lnTo>
                    <a:pt x="98" y="34"/>
                  </a:lnTo>
                  <a:lnTo>
                    <a:pt x="103" y="33"/>
                  </a:lnTo>
                  <a:lnTo>
                    <a:pt x="105" y="31"/>
                  </a:lnTo>
                  <a:lnTo>
                    <a:pt x="107" y="26"/>
                  </a:lnTo>
                  <a:lnTo>
                    <a:pt x="108" y="19"/>
                  </a:lnTo>
                  <a:lnTo>
                    <a:pt x="112" y="17"/>
                  </a:lnTo>
                  <a:lnTo>
                    <a:pt x="115" y="15"/>
                  </a:lnTo>
                  <a:lnTo>
                    <a:pt x="115" y="15"/>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236" name="Group 870">
              <a:extLst>
                <a:ext uri="{FF2B5EF4-FFF2-40B4-BE49-F238E27FC236}">
                  <a16:creationId xmlns:a16="http://schemas.microsoft.com/office/drawing/2014/main" id="{0BC39584-E494-4741-99C6-A402CC198091}"/>
                </a:ext>
              </a:extLst>
            </p:cNvPr>
            <p:cNvGrpSpPr/>
            <p:nvPr/>
          </p:nvGrpSpPr>
          <p:grpSpPr bwMode="auto">
            <a:xfrm>
              <a:off x="4510053" y="2328659"/>
              <a:ext cx="260776" cy="373546"/>
              <a:chOff x="3892550" y="2297113"/>
              <a:chExt cx="234950" cy="336550"/>
            </a:xfrm>
            <a:solidFill>
              <a:sysClr val="window" lastClr="FFFFFF">
                <a:lumMod val="50000"/>
              </a:sysClr>
            </a:solidFill>
          </p:grpSpPr>
          <p:sp>
            <p:nvSpPr>
              <p:cNvPr id="392" name="Freeform 2084">
                <a:extLst>
                  <a:ext uri="{FF2B5EF4-FFF2-40B4-BE49-F238E27FC236}">
                    <a16:creationId xmlns:a16="http://schemas.microsoft.com/office/drawing/2014/main" id="{E0DD17B0-A4BB-4492-A500-5DEFA5AF7B9C}"/>
                  </a:ext>
                </a:extLst>
              </p:cNvPr>
              <p:cNvSpPr>
                <a:spLocks/>
              </p:cNvSpPr>
              <p:nvPr/>
            </p:nvSpPr>
            <p:spPr bwMode="auto">
              <a:xfrm>
                <a:off x="3925888" y="2297113"/>
                <a:ext cx="201612" cy="336550"/>
              </a:xfrm>
              <a:custGeom>
                <a:avLst/>
                <a:gdLst/>
                <a:ahLst/>
                <a:cxnLst>
                  <a:cxn ang="0">
                    <a:pos x="65" y="208"/>
                  </a:cxn>
                  <a:cxn ang="0">
                    <a:pos x="47" y="208"/>
                  </a:cxn>
                  <a:cxn ang="0">
                    <a:pos x="37" y="202"/>
                  </a:cxn>
                  <a:cxn ang="0">
                    <a:pos x="56" y="176"/>
                  </a:cxn>
                  <a:cxn ang="0">
                    <a:pos x="49" y="147"/>
                  </a:cxn>
                  <a:cxn ang="0">
                    <a:pos x="35" y="154"/>
                  </a:cxn>
                  <a:cxn ang="0">
                    <a:pos x="32" y="159"/>
                  </a:cxn>
                  <a:cxn ang="0">
                    <a:pos x="16" y="180"/>
                  </a:cxn>
                  <a:cxn ang="0">
                    <a:pos x="18" y="148"/>
                  </a:cxn>
                  <a:cxn ang="0">
                    <a:pos x="30" y="114"/>
                  </a:cxn>
                  <a:cxn ang="0">
                    <a:pos x="7" y="115"/>
                  </a:cxn>
                  <a:cxn ang="0">
                    <a:pos x="2" y="105"/>
                  </a:cxn>
                  <a:cxn ang="0">
                    <a:pos x="18" y="93"/>
                  </a:cxn>
                  <a:cxn ang="0">
                    <a:pos x="14" y="74"/>
                  </a:cxn>
                  <a:cxn ang="0">
                    <a:pos x="26" y="44"/>
                  </a:cxn>
                  <a:cxn ang="0">
                    <a:pos x="33" y="28"/>
                  </a:cxn>
                  <a:cxn ang="0">
                    <a:pos x="37" y="16"/>
                  </a:cxn>
                  <a:cxn ang="0">
                    <a:pos x="59" y="6"/>
                  </a:cxn>
                  <a:cxn ang="0">
                    <a:pos x="99" y="0"/>
                  </a:cxn>
                  <a:cxn ang="0">
                    <a:pos x="108" y="18"/>
                  </a:cxn>
                  <a:cxn ang="0">
                    <a:pos x="84" y="49"/>
                  </a:cxn>
                  <a:cxn ang="0">
                    <a:pos x="139" y="54"/>
                  </a:cxn>
                  <a:cxn ang="0">
                    <a:pos x="127" y="119"/>
                  </a:cxn>
                  <a:cxn ang="0">
                    <a:pos x="120" y="129"/>
                  </a:cxn>
                  <a:cxn ang="0">
                    <a:pos x="108" y="143"/>
                  </a:cxn>
                  <a:cxn ang="0">
                    <a:pos x="131" y="147"/>
                  </a:cxn>
                  <a:cxn ang="0">
                    <a:pos x="169" y="204"/>
                  </a:cxn>
                  <a:cxn ang="0">
                    <a:pos x="206" y="242"/>
                  </a:cxn>
                  <a:cxn ang="0">
                    <a:pos x="225" y="276"/>
                  </a:cxn>
                  <a:cxn ang="0">
                    <a:pos x="230" y="293"/>
                  </a:cxn>
                  <a:cxn ang="0">
                    <a:pos x="228" y="319"/>
                  </a:cxn>
                  <a:cxn ang="0">
                    <a:pos x="281" y="333"/>
                  </a:cxn>
                  <a:cxn ang="0">
                    <a:pos x="265" y="371"/>
                  </a:cxn>
                  <a:cxn ang="0">
                    <a:pos x="249" y="383"/>
                  </a:cxn>
                  <a:cxn ang="0">
                    <a:pos x="247" y="394"/>
                  </a:cxn>
                  <a:cxn ang="0">
                    <a:pos x="260" y="408"/>
                  </a:cxn>
                  <a:cxn ang="0">
                    <a:pos x="218" y="424"/>
                  </a:cxn>
                  <a:cxn ang="0">
                    <a:pos x="176" y="424"/>
                  </a:cxn>
                  <a:cxn ang="0">
                    <a:pos x="143" y="434"/>
                  </a:cxn>
                  <a:cxn ang="0">
                    <a:pos x="110" y="429"/>
                  </a:cxn>
                  <a:cxn ang="0">
                    <a:pos x="86" y="453"/>
                  </a:cxn>
                  <a:cxn ang="0">
                    <a:pos x="40" y="460"/>
                  </a:cxn>
                  <a:cxn ang="0">
                    <a:pos x="19" y="462"/>
                  </a:cxn>
                  <a:cxn ang="0">
                    <a:pos x="42" y="439"/>
                  </a:cxn>
                  <a:cxn ang="0">
                    <a:pos x="59" y="413"/>
                  </a:cxn>
                  <a:cxn ang="0">
                    <a:pos x="79" y="401"/>
                  </a:cxn>
                  <a:cxn ang="0">
                    <a:pos x="129" y="382"/>
                  </a:cxn>
                  <a:cxn ang="0">
                    <a:pos x="105" y="390"/>
                  </a:cxn>
                  <a:cxn ang="0">
                    <a:pos x="68" y="383"/>
                  </a:cxn>
                  <a:cxn ang="0">
                    <a:pos x="37" y="373"/>
                  </a:cxn>
                  <a:cxn ang="0">
                    <a:pos x="52" y="357"/>
                  </a:cxn>
                  <a:cxn ang="0">
                    <a:pos x="77" y="321"/>
                  </a:cxn>
                  <a:cxn ang="0">
                    <a:pos x="58" y="319"/>
                  </a:cxn>
                  <a:cxn ang="0">
                    <a:pos x="73" y="296"/>
                  </a:cxn>
                  <a:cxn ang="0">
                    <a:pos x="103" y="289"/>
                  </a:cxn>
                  <a:cxn ang="0">
                    <a:pos x="115" y="284"/>
                  </a:cxn>
                  <a:cxn ang="0">
                    <a:pos x="110" y="265"/>
                  </a:cxn>
                  <a:cxn ang="0">
                    <a:pos x="119" y="246"/>
                  </a:cxn>
                  <a:cxn ang="0">
                    <a:pos x="91" y="232"/>
                  </a:cxn>
                  <a:cxn ang="0">
                    <a:pos x="96" y="202"/>
                  </a:cxn>
                </a:cxnLst>
                <a:rect l="0" t="0" r="r" b="b"/>
                <a:pathLst>
                  <a:path w="281" h="465">
                    <a:moveTo>
                      <a:pt x="94" y="204"/>
                    </a:moveTo>
                    <a:lnTo>
                      <a:pt x="94" y="204"/>
                    </a:lnTo>
                    <a:lnTo>
                      <a:pt x="92" y="208"/>
                    </a:lnTo>
                    <a:lnTo>
                      <a:pt x="89" y="208"/>
                    </a:lnTo>
                    <a:lnTo>
                      <a:pt x="87" y="208"/>
                    </a:lnTo>
                    <a:lnTo>
                      <a:pt x="82" y="211"/>
                    </a:lnTo>
                    <a:lnTo>
                      <a:pt x="82" y="211"/>
                    </a:lnTo>
                    <a:lnTo>
                      <a:pt x="80" y="213"/>
                    </a:lnTo>
                    <a:lnTo>
                      <a:pt x="77" y="215"/>
                    </a:lnTo>
                    <a:lnTo>
                      <a:pt x="70" y="211"/>
                    </a:lnTo>
                    <a:lnTo>
                      <a:pt x="65" y="208"/>
                    </a:lnTo>
                    <a:lnTo>
                      <a:pt x="65" y="208"/>
                    </a:lnTo>
                    <a:lnTo>
                      <a:pt x="65" y="209"/>
                    </a:lnTo>
                    <a:lnTo>
                      <a:pt x="65" y="209"/>
                    </a:lnTo>
                    <a:lnTo>
                      <a:pt x="66" y="215"/>
                    </a:lnTo>
                    <a:lnTo>
                      <a:pt x="65" y="218"/>
                    </a:lnTo>
                    <a:lnTo>
                      <a:pt x="63" y="218"/>
                    </a:lnTo>
                    <a:lnTo>
                      <a:pt x="59" y="216"/>
                    </a:lnTo>
                    <a:lnTo>
                      <a:pt x="59" y="216"/>
                    </a:lnTo>
                    <a:lnTo>
                      <a:pt x="54" y="211"/>
                    </a:lnTo>
                    <a:lnTo>
                      <a:pt x="49" y="209"/>
                    </a:lnTo>
                    <a:lnTo>
                      <a:pt x="47" y="208"/>
                    </a:lnTo>
                    <a:lnTo>
                      <a:pt x="45" y="209"/>
                    </a:lnTo>
                    <a:lnTo>
                      <a:pt x="45" y="211"/>
                    </a:lnTo>
                    <a:lnTo>
                      <a:pt x="45" y="215"/>
                    </a:lnTo>
                    <a:lnTo>
                      <a:pt x="45" y="215"/>
                    </a:lnTo>
                    <a:lnTo>
                      <a:pt x="47" y="218"/>
                    </a:lnTo>
                    <a:lnTo>
                      <a:pt x="45" y="218"/>
                    </a:lnTo>
                    <a:lnTo>
                      <a:pt x="42" y="215"/>
                    </a:lnTo>
                    <a:lnTo>
                      <a:pt x="37" y="208"/>
                    </a:lnTo>
                    <a:lnTo>
                      <a:pt x="37" y="204"/>
                    </a:lnTo>
                    <a:lnTo>
                      <a:pt x="37" y="202"/>
                    </a:lnTo>
                    <a:lnTo>
                      <a:pt x="37" y="202"/>
                    </a:lnTo>
                    <a:lnTo>
                      <a:pt x="38" y="201"/>
                    </a:lnTo>
                    <a:lnTo>
                      <a:pt x="40" y="201"/>
                    </a:lnTo>
                    <a:lnTo>
                      <a:pt x="42" y="204"/>
                    </a:lnTo>
                    <a:lnTo>
                      <a:pt x="44" y="204"/>
                    </a:lnTo>
                    <a:lnTo>
                      <a:pt x="44" y="199"/>
                    </a:lnTo>
                    <a:lnTo>
                      <a:pt x="44" y="199"/>
                    </a:lnTo>
                    <a:lnTo>
                      <a:pt x="44" y="194"/>
                    </a:lnTo>
                    <a:lnTo>
                      <a:pt x="45" y="190"/>
                    </a:lnTo>
                    <a:lnTo>
                      <a:pt x="51" y="183"/>
                    </a:lnTo>
                    <a:lnTo>
                      <a:pt x="54" y="180"/>
                    </a:lnTo>
                    <a:lnTo>
                      <a:pt x="56" y="176"/>
                    </a:lnTo>
                    <a:lnTo>
                      <a:pt x="54" y="171"/>
                    </a:lnTo>
                    <a:lnTo>
                      <a:pt x="52" y="168"/>
                    </a:lnTo>
                    <a:lnTo>
                      <a:pt x="52" y="168"/>
                    </a:lnTo>
                    <a:lnTo>
                      <a:pt x="45" y="161"/>
                    </a:lnTo>
                    <a:lnTo>
                      <a:pt x="45" y="157"/>
                    </a:lnTo>
                    <a:lnTo>
                      <a:pt x="45" y="155"/>
                    </a:lnTo>
                    <a:lnTo>
                      <a:pt x="51" y="152"/>
                    </a:lnTo>
                    <a:lnTo>
                      <a:pt x="58" y="152"/>
                    </a:lnTo>
                    <a:lnTo>
                      <a:pt x="58" y="152"/>
                    </a:lnTo>
                    <a:lnTo>
                      <a:pt x="52" y="147"/>
                    </a:lnTo>
                    <a:lnTo>
                      <a:pt x="49" y="147"/>
                    </a:lnTo>
                    <a:lnTo>
                      <a:pt x="47" y="147"/>
                    </a:lnTo>
                    <a:lnTo>
                      <a:pt x="45" y="148"/>
                    </a:lnTo>
                    <a:lnTo>
                      <a:pt x="44" y="152"/>
                    </a:lnTo>
                    <a:lnTo>
                      <a:pt x="44" y="154"/>
                    </a:lnTo>
                    <a:lnTo>
                      <a:pt x="42" y="152"/>
                    </a:lnTo>
                    <a:lnTo>
                      <a:pt x="42" y="152"/>
                    </a:lnTo>
                    <a:lnTo>
                      <a:pt x="38" y="152"/>
                    </a:lnTo>
                    <a:lnTo>
                      <a:pt x="38" y="154"/>
                    </a:lnTo>
                    <a:lnTo>
                      <a:pt x="37" y="155"/>
                    </a:lnTo>
                    <a:lnTo>
                      <a:pt x="35" y="154"/>
                    </a:lnTo>
                    <a:lnTo>
                      <a:pt x="35" y="154"/>
                    </a:lnTo>
                    <a:lnTo>
                      <a:pt x="33" y="154"/>
                    </a:lnTo>
                    <a:lnTo>
                      <a:pt x="32" y="150"/>
                    </a:lnTo>
                    <a:lnTo>
                      <a:pt x="32" y="147"/>
                    </a:lnTo>
                    <a:lnTo>
                      <a:pt x="33" y="143"/>
                    </a:lnTo>
                    <a:lnTo>
                      <a:pt x="30" y="145"/>
                    </a:lnTo>
                    <a:lnTo>
                      <a:pt x="30" y="145"/>
                    </a:lnTo>
                    <a:lnTo>
                      <a:pt x="28" y="148"/>
                    </a:lnTo>
                    <a:lnTo>
                      <a:pt x="26" y="150"/>
                    </a:lnTo>
                    <a:lnTo>
                      <a:pt x="30" y="154"/>
                    </a:lnTo>
                    <a:lnTo>
                      <a:pt x="32" y="157"/>
                    </a:lnTo>
                    <a:lnTo>
                      <a:pt x="32" y="159"/>
                    </a:lnTo>
                    <a:lnTo>
                      <a:pt x="32" y="161"/>
                    </a:lnTo>
                    <a:lnTo>
                      <a:pt x="32" y="161"/>
                    </a:lnTo>
                    <a:lnTo>
                      <a:pt x="28" y="164"/>
                    </a:lnTo>
                    <a:lnTo>
                      <a:pt x="26" y="168"/>
                    </a:lnTo>
                    <a:lnTo>
                      <a:pt x="25" y="176"/>
                    </a:lnTo>
                    <a:lnTo>
                      <a:pt x="21" y="185"/>
                    </a:lnTo>
                    <a:lnTo>
                      <a:pt x="19" y="187"/>
                    </a:lnTo>
                    <a:lnTo>
                      <a:pt x="18" y="187"/>
                    </a:lnTo>
                    <a:lnTo>
                      <a:pt x="18" y="187"/>
                    </a:lnTo>
                    <a:lnTo>
                      <a:pt x="16" y="183"/>
                    </a:lnTo>
                    <a:lnTo>
                      <a:pt x="16" y="180"/>
                    </a:lnTo>
                    <a:lnTo>
                      <a:pt x="19" y="169"/>
                    </a:lnTo>
                    <a:lnTo>
                      <a:pt x="23" y="161"/>
                    </a:lnTo>
                    <a:lnTo>
                      <a:pt x="25" y="159"/>
                    </a:lnTo>
                    <a:lnTo>
                      <a:pt x="25" y="159"/>
                    </a:lnTo>
                    <a:lnTo>
                      <a:pt x="21" y="161"/>
                    </a:lnTo>
                    <a:lnTo>
                      <a:pt x="19" y="159"/>
                    </a:lnTo>
                    <a:lnTo>
                      <a:pt x="19" y="157"/>
                    </a:lnTo>
                    <a:lnTo>
                      <a:pt x="19" y="157"/>
                    </a:lnTo>
                    <a:lnTo>
                      <a:pt x="19" y="154"/>
                    </a:lnTo>
                    <a:lnTo>
                      <a:pt x="18" y="150"/>
                    </a:lnTo>
                    <a:lnTo>
                      <a:pt x="18" y="148"/>
                    </a:lnTo>
                    <a:lnTo>
                      <a:pt x="21" y="143"/>
                    </a:lnTo>
                    <a:lnTo>
                      <a:pt x="21" y="143"/>
                    </a:lnTo>
                    <a:lnTo>
                      <a:pt x="23" y="140"/>
                    </a:lnTo>
                    <a:lnTo>
                      <a:pt x="23" y="136"/>
                    </a:lnTo>
                    <a:lnTo>
                      <a:pt x="21" y="133"/>
                    </a:lnTo>
                    <a:lnTo>
                      <a:pt x="23" y="129"/>
                    </a:lnTo>
                    <a:lnTo>
                      <a:pt x="23" y="129"/>
                    </a:lnTo>
                    <a:lnTo>
                      <a:pt x="26" y="128"/>
                    </a:lnTo>
                    <a:lnTo>
                      <a:pt x="26" y="124"/>
                    </a:lnTo>
                    <a:lnTo>
                      <a:pt x="28" y="119"/>
                    </a:lnTo>
                    <a:lnTo>
                      <a:pt x="30" y="114"/>
                    </a:lnTo>
                    <a:lnTo>
                      <a:pt x="30" y="114"/>
                    </a:lnTo>
                    <a:lnTo>
                      <a:pt x="32" y="108"/>
                    </a:lnTo>
                    <a:lnTo>
                      <a:pt x="25" y="115"/>
                    </a:lnTo>
                    <a:lnTo>
                      <a:pt x="25" y="115"/>
                    </a:lnTo>
                    <a:lnTo>
                      <a:pt x="21" y="119"/>
                    </a:lnTo>
                    <a:lnTo>
                      <a:pt x="19" y="119"/>
                    </a:lnTo>
                    <a:lnTo>
                      <a:pt x="18" y="117"/>
                    </a:lnTo>
                    <a:lnTo>
                      <a:pt x="14" y="117"/>
                    </a:lnTo>
                    <a:lnTo>
                      <a:pt x="14" y="117"/>
                    </a:lnTo>
                    <a:lnTo>
                      <a:pt x="11" y="115"/>
                    </a:lnTo>
                    <a:lnTo>
                      <a:pt x="7" y="115"/>
                    </a:lnTo>
                    <a:lnTo>
                      <a:pt x="7" y="114"/>
                    </a:lnTo>
                    <a:lnTo>
                      <a:pt x="11" y="112"/>
                    </a:lnTo>
                    <a:lnTo>
                      <a:pt x="11" y="112"/>
                    </a:lnTo>
                    <a:lnTo>
                      <a:pt x="18" y="110"/>
                    </a:lnTo>
                    <a:lnTo>
                      <a:pt x="16" y="108"/>
                    </a:lnTo>
                    <a:lnTo>
                      <a:pt x="9" y="108"/>
                    </a:lnTo>
                    <a:lnTo>
                      <a:pt x="9" y="108"/>
                    </a:lnTo>
                    <a:lnTo>
                      <a:pt x="2" y="108"/>
                    </a:lnTo>
                    <a:lnTo>
                      <a:pt x="0" y="108"/>
                    </a:lnTo>
                    <a:lnTo>
                      <a:pt x="0" y="107"/>
                    </a:lnTo>
                    <a:lnTo>
                      <a:pt x="2" y="105"/>
                    </a:lnTo>
                    <a:lnTo>
                      <a:pt x="5" y="105"/>
                    </a:lnTo>
                    <a:lnTo>
                      <a:pt x="5" y="105"/>
                    </a:lnTo>
                    <a:lnTo>
                      <a:pt x="11" y="105"/>
                    </a:lnTo>
                    <a:lnTo>
                      <a:pt x="14" y="103"/>
                    </a:lnTo>
                    <a:lnTo>
                      <a:pt x="14" y="100"/>
                    </a:lnTo>
                    <a:lnTo>
                      <a:pt x="14" y="100"/>
                    </a:lnTo>
                    <a:lnTo>
                      <a:pt x="14" y="100"/>
                    </a:lnTo>
                    <a:lnTo>
                      <a:pt x="11" y="98"/>
                    </a:lnTo>
                    <a:lnTo>
                      <a:pt x="12" y="96"/>
                    </a:lnTo>
                    <a:lnTo>
                      <a:pt x="16" y="94"/>
                    </a:lnTo>
                    <a:lnTo>
                      <a:pt x="18" y="93"/>
                    </a:lnTo>
                    <a:lnTo>
                      <a:pt x="16" y="91"/>
                    </a:lnTo>
                    <a:lnTo>
                      <a:pt x="16" y="91"/>
                    </a:lnTo>
                    <a:lnTo>
                      <a:pt x="14" y="89"/>
                    </a:lnTo>
                    <a:lnTo>
                      <a:pt x="16" y="87"/>
                    </a:lnTo>
                    <a:lnTo>
                      <a:pt x="18" y="86"/>
                    </a:lnTo>
                    <a:lnTo>
                      <a:pt x="21" y="81"/>
                    </a:lnTo>
                    <a:lnTo>
                      <a:pt x="21" y="81"/>
                    </a:lnTo>
                    <a:lnTo>
                      <a:pt x="21" y="77"/>
                    </a:lnTo>
                    <a:lnTo>
                      <a:pt x="19" y="75"/>
                    </a:lnTo>
                    <a:lnTo>
                      <a:pt x="16" y="74"/>
                    </a:lnTo>
                    <a:lnTo>
                      <a:pt x="14" y="74"/>
                    </a:lnTo>
                    <a:lnTo>
                      <a:pt x="14" y="70"/>
                    </a:lnTo>
                    <a:lnTo>
                      <a:pt x="14" y="70"/>
                    </a:lnTo>
                    <a:lnTo>
                      <a:pt x="14" y="61"/>
                    </a:lnTo>
                    <a:lnTo>
                      <a:pt x="16" y="58"/>
                    </a:lnTo>
                    <a:lnTo>
                      <a:pt x="18" y="54"/>
                    </a:lnTo>
                    <a:lnTo>
                      <a:pt x="16" y="51"/>
                    </a:lnTo>
                    <a:lnTo>
                      <a:pt x="16" y="51"/>
                    </a:lnTo>
                    <a:lnTo>
                      <a:pt x="14" y="46"/>
                    </a:lnTo>
                    <a:lnTo>
                      <a:pt x="18" y="44"/>
                    </a:lnTo>
                    <a:lnTo>
                      <a:pt x="26" y="44"/>
                    </a:lnTo>
                    <a:lnTo>
                      <a:pt x="26" y="44"/>
                    </a:lnTo>
                    <a:lnTo>
                      <a:pt x="30" y="44"/>
                    </a:lnTo>
                    <a:lnTo>
                      <a:pt x="30" y="40"/>
                    </a:lnTo>
                    <a:lnTo>
                      <a:pt x="30" y="39"/>
                    </a:lnTo>
                    <a:lnTo>
                      <a:pt x="28" y="35"/>
                    </a:lnTo>
                    <a:lnTo>
                      <a:pt x="28" y="35"/>
                    </a:lnTo>
                    <a:lnTo>
                      <a:pt x="28" y="34"/>
                    </a:lnTo>
                    <a:lnTo>
                      <a:pt x="28" y="34"/>
                    </a:lnTo>
                    <a:lnTo>
                      <a:pt x="32" y="34"/>
                    </a:lnTo>
                    <a:lnTo>
                      <a:pt x="33" y="32"/>
                    </a:lnTo>
                    <a:lnTo>
                      <a:pt x="33" y="32"/>
                    </a:lnTo>
                    <a:lnTo>
                      <a:pt x="33" y="28"/>
                    </a:lnTo>
                    <a:lnTo>
                      <a:pt x="32" y="25"/>
                    </a:lnTo>
                    <a:lnTo>
                      <a:pt x="32" y="25"/>
                    </a:lnTo>
                    <a:lnTo>
                      <a:pt x="30" y="23"/>
                    </a:lnTo>
                    <a:lnTo>
                      <a:pt x="30" y="23"/>
                    </a:lnTo>
                    <a:lnTo>
                      <a:pt x="35" y="23"/>
                    </a:lnTo>
                    <a:lnTo>
                      <a:pt x="40" y="25"/>
                    </a:lnTo>
                    <a:lnTo>
                      <a:pt x="42" y="23"/>
                    </a:lnTo>
                    <a:lnTo>
                      <a:pt x="38" y="21"/>
                    </a:lnTo>
                    <a:lnTo>
                      <a:pt x="38" y="21"/>
                    </a:lnTo>
                    <a:lnTo>
                      <a:pt x="37" y="16"/>
                    </a:lnTo>
                    <a:lnTo>
                      <a:pt x="37" y="16"/>
                    </a:lnTo>
                    <a:lnTo>
                      <a:pt x="40" y="14"/>
                    </a:lnTo>
                    <a:lnTo>
                      <a:pt x="42" y="13"/>
                    </a:lnTo>
                    <a:lnTo>
                      <a:pt x="42" y="9"/>
                    </a:lnTo>
                    <a:lnTo>
                      <a:pt x="42" y="9"/>
                    </a:lnTo>
                    <a:lnTo>
                      <a:pt x="40" y="4"/>
                    </a:lnTo>
                    <a:lnTo>
                      <a:pt x="44" y="2"/>
                    </a:lnTo>
                    <a:lnTo>
                      <a:pt x="47" y="4"/>
                    </a:lnTo>
                    <a:lnTo>
                      <a:pt x="52" y="6"/>
                    </a:lnTo>
                    <a:lnTo>
                      <a:pt x="52" y="6"/>
                    </a:lnTo>
                    <a:lnTo>
                      <a:pt x="56" y="7"/>
                    </a:lnTo>
                    <a:lnTo>
                      <a:pt x="59" y="6"/>
                    </a:lnTo>
                    <a:lnTo>
                      <a:pt x="61" y="6"/>
                    </a:lnTo>
                    <a:lnTo>
                      <a:pt x="66" y="7"/>
                    </a:lnTo>
                    <a:lnTo>
                      <a:pt x="66" y="7"/>
                    </a:lnTo>
                    <a:lnTo>
                      <a:pt x="72" y="7"/>
                    </a:lnTo>
                    <a:lnTo>
                      <a:pt x="79" y="6"/>
                    </a:lnTo>
                    <a:lnTo>
                      <a:pt x="87" y="4"/>
                    </a:lnTo>
                    <a:lnTo>
                      <a:pt x="94" y="2"/>
                    </a:lnTo>
                    <a:lnTo>
                      <a:pt x="94" y="2"/>
                    </a:lnTo>
                    <a:lnTo>
                      <a:pt x="98" y="4"/>
                    </a:lnTo>
                    <a:lnTo>
                      <a:pt x="98" y="2"/>
                    </a:lnTo>
                    <a:lnTo>
                      <a:pt x="99" y="0"/>
                    </a:lnTo>
                    <a:lnTo>
                      <a:pt x="106" y="0"/>
                    </a:lnTo>
                    <a:lnTo>
                      <a:pt x="106" y="0"/>
                    </a:lnTo>
                    <a:lnTo>
                      <a:pt x="112" y="0"/>
                    </a:lnTo>
                    <a:lnTo>
                      <a:pt x="113" y="2"/>
                    </a:lnTo>
                    <a:lnTo>
                      <a:pt x="112" y="4"/>
                    </a:lnTo>
                    <a:lnTo>
                      <a:pt x="112" y="7"/>
                    </a:lnTo>
                    <a:lnTo>
                      <a:pt x="112" y="9"/>
                    </a:lnTo>
                    <a:lnTo>
                      <a:pt x="112" y="11"/>
                    </a:lnTo>
                    <a:lnTo>
                      <a:pt x="112" y="11"/>
                    </a:lnTo>
                    <a:lnTo>
                      <a:pt x="112" y="13"/>
                    </a:lnTo>
                    <a:lnTo>
                      <a:pt x="108" y="18"/>
                    </a:lnTo>
                    <a:lnTo>
                      <a:pt x="98" y="28"/>
                    </a:lnTo>
                    <a:lnTo>
                      <a:pt x="86" y="39"/>
                    </a:lnTo>
                    <a:lnTo>
                      <a:pt x="77" y="46"/>
                    </a:lnTo>
                    <a:lnTo>
                      <a:pt x="77" y="46"/>
                    </a:lnTo>
                    <a:lnTo>
                      <a:pt x="75" y="47"/>
                    </a:lnTo>
                    <a:lnTo>
                      <a:pt x="75" y="47"/>
                    </a:lnTo>
                    <a:lnTo>
                      <a:pt x="80" y="47"/>
                    </a:lnTo>
                    <a:lnTo>
                      <a:pt x="86" y="47"/>
                    </a:lnTo>
                    <a:lnTo>
                      <a:pt x="86" y="47"/>
                    </a:lnTo>
                    <a:lnTo>
                      <a:pt x="84" y="49"/>
                    </a:lnTo>
                    <a:lnTo>
                      <a:pt x="84" y="49"/>
                    </a:lnTo>
                    <a:lnTo>
                      <a:pt x="77" y="58"/>
                    </a:lnTo>
                    <a:lnTo>
                      <a:pt x="75" y="60"/>
                    </a:lnTo>
                    <a:lnTo>
                      <a:pt x="79" y="61"/>
                    </a:lnTo>
                    <a:lnTo>
                      <a:pt x="79" y="61"/>
                    </a:lnTo>
                    <a:lnTo>
                      <a:pt x="84" y="58"/>
                    </a:lnTo>
                    <a:lnTo>
                      <a:pt x="91" y="56"/>
                    </a:lnTo>
                    <a:lnTo>
                      <a:pt x="99" y="53"/>
                    </a:lnTo>
                    <a:lnTo>
                      <a:pt x="113" y="54"/>
                    </a:lnTo>
                    <a:lnTo>
                      <a:pt x="113" y="54"/>
                    </a:lnTo>
                    <a:lnTo>
                      <a:pt x="129" y="54"/>
                    </a:lnTo>
                    <a:lnTo>
                      <a:pt x="139" y="54"/>
                    </a:lnTo>
                    <a:lnTo>
                      <a:pt x="148" y="54"/>
                    </a:lnTo>
                    <a:lnTo>
                      <a:pt x="152" y="56"/>
                    </a:lnTo>
                    <a:lnTo>
                      <a:pt x="153" y="60"/>
                    </a:lnTo>
                    <a:lnTo>
                      <a:pt x="153" y="60"/>
                    </a:lnTo>
                    <a:lnTo>
                      <a:pt x="155" y="65"/>
                    </a:lnTo>
                    <a:lnTo>
                      <a:pt x="153" y="70"/>
                    </a:lnTo>
                    <a:lnTo>
                      <a:pt x="148" y="79"/>
                    </a:lnTo>
                    <a:lnTo>
                      <a:pt x="141" y="94"/>
                    </a:lnTo>
                    <a:lnTo>
                      <a:pt x="141" y="94"/>
                    </a:lnTo>
                    <a:lnTo>
                      <a:pt x="134" y="112"/>
                    </a:lnTo>
                    <a:lnTo>
                      <a:pt x="127" y="119"/>
                    </a:lnTo>
                    <a:lnTo>
                      <a:pt x="126" y="121"/>
                    </a:lnTo>
                    <a:lnTo>
                      <a:pt x="122" y="122"/>
                    </a:lnTo>
                    <a:lnTo>
                      <a:pt x="117" y="121"/>
                    </a:lnTo>
                    <a:lnTo>
                      <a:pt x="117" y="121"/>
                    </a:lnTo>
                    <a:lnTo>
                      <a:pt x="115" y="121"/>
                    </a:lnTo>
                    <a:lnTo>
                      <a:pt x="117" y="122"/>
                    </a:lnTo>
                    <a:lnTo>
                      <a:pt x="119" y="124"/>
                    </a:lnTo>
                    <a:lnTo>
                      <a:pt x="119" y="126"/>
                    </a:lnTo>
                    <a:lnTo>
                      <a:pt x="119" y="126"/>
                    </a:lnTo>
                    <a:lnTo>
                      <a:pt x="120" y="128"/>
                    </a:lnTo>
                    <a:lnTo>
                      <a:pt x="120" y="129"/>
                    </a:lnTo>
                    <a:lnTo>
                      <a:pt x="126" y="131"/>
                    </a:lnTo>
                    <a:lnTo>
                      <a:pt x="129" y="133"/>
                    </a:lnTo>
                    <a:lnTo>
                      <a:pt x="127" y="133"/>
                    </a:lnTo>
                    <a:lnTo>
                      <a:pt x="126" y="134"/>
                    </a:lnTo>
                    <a:lnTo>
                      <a:pt x="126" y="134"/>
                    </a:lnTo>
                    <a:lnTo>
                      <a:pt x="119" y="136"/>
                    </a:lnTo>
                    <a:lnTo>
                      <a:pt x="115" y="136"/>
                    </a:lnTo>
                    <a:lnTo>
                      <a:pt x="113" y="138"/>
                    </a:lnTo>
                    <a:lnTo>
                      <a:pt x="112" y="140"/>
                    </a:lnTo>
                    <a:lnTo>
                      <a:pt x="112" y="140"/>
                    </a:lnTo>
                    <a:lnTo>
                      <a:pt x="108" y="143"/>
                    </a:lnTo>
                    <a:lnTo>
                      <a:pt x="103" y="145"/>
                    </a:lnTo>
                    <a:lnTo>
                      <a:pt x="99" y="147"/>
                    </a:lnTo>
                    <a:lnTo>
                      <a:pt x="105" y="148"/>
                    </a:lnTo>
                    <a:lnTo>
                      <a:pt x="105" y="148"/>
                    </a:lnTo>
                    <a:lnTo>
                      <a:pt x="110" y="148"/>
                    </a:lnTo>
                    <a:lnTo>
                      <a:pt x="113" y="148"/>
                    </a:lnTo>
                    <a:lnTo>
                      <a:pt x="117" y="147"/>
                    </a:lnTo>
                    <a:lnTo>
                      <a:pt x="119" y="145"/>
                    </a:lnTo>
                    <a:lnTo>
                      <a:pt x="120" y="143"/>
                    </a:lnTo>
                    <a:lnTo>
                      <a:pt x="126" y="145"/>
                    </a:lnTo>
                    <a:lnTo>
                      <a:pt x="131" y="147"/>
                    </a:lnTo>
                    <a:lnTo>
                      <a:pt x="131" y="147"/>
                    </a:lnTo>
                    <a:lnTo>
                      <a:pt x="143" y="152"/>
                    </a:lnTo>
                    <a:lnTo>
                      <a:pt x="148" y="157"/>
                    </a:lnTo>
                    <a:lnTo>
                      <a:pt x="152" y="162"/>
                    </a:lnTo>
                    <a:lnTo>
                      <a:pt x="157" y="168"/>
                    </a:lnTo>
                    <a:lnTo>
                      <a:pt x="157" y="168"/>
                    </a:lnTo>
                    <a:lnTo>
                      <a:pt x="160" y="169"/>
                    </a:lnTo>
                    <a:lnTo>
                      <a:pt x="162" y="173"/>
                    </a:lnTo>
                    <a:lnTo>
                      <a:pt x="162" y="180"/>
                    </a:lnTo>
                    <a:lnTo>
                      <a:pt x="164" y="190"/>
                    </a:lnTo>
                    <a:lnTo>
                      <a:pt x="169" y="204"/>
                    </a:lnTo>
                    <a:lnTo>
                      <a:pt x="169" y="204"/>
                    </a:lnTo>
                    <a:lnTo>
                      <a:pt x="176" y="216"/>
                    </a:lnTo>
                    <a:lnTo>
                      <a:pt x="178" y="222"/>
                    </a:lnTo>
                    <a:lnTo>
                      <a:pt x="183" y="223"/>
                    </a:lnTo>
                    <a:lnTo>
                      <a:pt x="190" y="225"/>
                    </a:lnTo>
                    <a:lnTo>
                      <a:pt x="190" y="225"/>
                    </a:lnTo>
                    <a:lnTo>
                      <a:pt x="195" y="229"/>
                    </a:lnTo>
                    <a:lnTo>
                      <a:pt x="199" y="230"/>
                    </a:lnTo>
                    <a:lnTo>
                      <a:pt x="202" y="235"/>
                    </a:lnTo>
                    <a:lnTo>
                      <a:pt x="204" y="241"/>
                    </a:lnTo>
                    <a:lnTo>
                      <a:pt x="206" y="242"/>
                    </a:lnTo>
                    <a:lnTo>
                      <a:pt x="209" y="244"/>
                    </a:lnTo>
                    <a:lnTo>
                      <a:pt x="209" y="244"/>
                    </a:lnTo>
                    <a:lnTo>
                      <a:pt x="213" y="246"/>
                    </a:lnTo>
                    <a:lnTo>
                      <a:pt x="214" y="248"/>
                    </a:lnTo>
                    <a:lnTo>
                      <a:pt x="214" y="251"/>
                    </a:lnTo>
                    <a:lnTo>
                      <a:pt x="214" y="256"/>
                    </a:lnTo>
                    <a:lnTo>
                      <a:pt x="214" y="262"/>
                    </a:lnTo>
                    <a:lnTo>
                      <a:pt x="218" y="265"/>
                    </a:lnTo>
                    <a:lnTo>
                      <a:pt x="218" y="265"/>
                    </a:lnTo>
                    <a:lnTo>
                      <a:pt x="223" y="274"/>
                    </a:lnTo>
                    <a:lnTo>
                      <a:pt x="225" y="276"/>
                    </a:lnTo>
                    <a:lnTo>
                      <a:pt x="223" y="277"/>
                    </a:lnTo>
                    <a:lnTo>
                      <a:pt x="220" y="276"/>
                    </a:lnTo>
                    <a:lnTo>
                      <a:pt x="214" y="272"/>
                    </a:lnTo>
                    <a:lnTo>
                      <a:pt x="214" y="272"/>
                    </a:lnTo>
                    <a:lnTo>
                      <a:pt x="209" y="270"/>
                    </a:lnTo>
                    <a:lnTo>
                      <a:pt x="206" y="270"/>
                    </a:lnTo>
                    <a:lnTo>
                      <a:pt x="207" y="272"/>
                    </a:lnTo>
                    <a:lnTo>
                      <a:pt x="214" y="277"/>
                    </a:lnTo>
                    <a:lnTo>
                      <a:pt x="214" y="277"/>
                    </a:lnTo>
                    <a:lnTo>
                      <a:pt x="223" y="284"/>
                    </a:lnTo>
                    <a:lnTo>
                      <a:pt x="230" y="293"/>
                    </a:lnTo>
                    <a:lnTo>
                      <a:pt x="232" y="300"/>
                    </a:lnTo>
                    <a:lnTo>
                      <a:pt x="232" y="303"/>
                    </a:lnTo>
                    <a:lnTo>
                      <a:pt x="228" y="305"/>
                    </a:lnTo>
                    <a:lnTo>
                      <a:pt x="228" y="305"/>
                    </a:lnTo>
                    <a:lnTo>
                      <a:pt x="225" y="309"/>
                    </a:lnTo>
                    <a:lnTo>
                      <a:pt x="221" y="310"/>
                    </a:lnTo>
                    <a:lnTo>
                      <a:pt x="220" y="314"/>
                    </a:lnTo>
                    <a:lnTo>
                      <a:pt x="223" y="316"/>
                    </a:lnTo>
                    <a:lnTo>
                      <a:pt x="223" y="316"/>
                    </a:lnTo>
                    <a:lnTo>
                      <a:pt x="227" y="316"/>
                    </a:lnTo>
                    <a:lnTo>
                      <a:pt x="228" y="319"/>
                    </a:lnTo>
                    <a:lnTo>
                      <a:pt x="232" y="319"/>
                    </a:lnTo>
                    <a:lnTo>
                      <a:pt x="235" y="314"/>
                    </a:lnTo>
                    <a:lnTo>
                      <a:pt x="235" y="314"/>
                    </a:lnTo>
                    <a:lnTo>
                      <a:pt x="239" y="310"/>
                    </a:lnTo>
                    <a:lnTo>
                      <a:pt x="244" y="309"/>
                    </a:lnTo>
                    <a:lnTo>
                      <a:pt x="251" y="309"/>
                    </a:lnTo>
                    <a:lnTo>
                      <a:pt x="260" y="310"/>
                    </a:lnTo>
                    <a:lnTo>
                      <a:pt x="267" y="314"/>
                    </a:lnTo>
                    <a:lnTo>
                      <a:pt x="274" y="319"/>
                    </a:lnTo>
                    <a:lnTo>
                      <a:pt x="279" y="324"/>
                    </a:lnTo>
                    <a:lnTo>
                      <a:pt x="281" y="333"/>
                    </a:lnTo>
                    <a:lnTo>
                      <a:pt x="281" y="333"/>
                    </a:lnTo>
                    <a:lnTo>
                      <a:pt x="281" y="343"/>
                    </a:lnTo>
                    <a:lnTo>
                      <a:pt x="277" y="350"/>
                    </a:lnTo>
                    <a:lnTo>
                      <a:pt x="274" y="356"/>
                    </a:lnTo>
                    <a:lnTo>
                      <a:pt x="270" y="359"/>
                    </a:lnTo>
                    <a:lnTo>
                      <a:pt x="265" y="364"/>
                    </a:lnTo>
                    <a:lnTo>
                      <a:pt x="263" y="366"/>
                    </a:lnTo>
                    <a:lnTo>
                      <a:pt x="265" y="368"/>
                    </a:lnTo>
                    <a:lnTo>
                      <a:pt x="265" y="368"/>
                    </a:lnTo>
                    <a:lnTo>
                      <a:pt x="267" y="370"/>
                    </a:lnTo>
                    <a:lnTo>
                      <a:pt x="265" y="371"/>
                    </a:lnTo>
                    <a:lnTo>
                      <a:pt x="261" y="371"/>
                    </a:lnTo>
                    <a:lnTo>
                      <a:pt x="254" y="371"/>
                    </a:lnTo>
                    <a:lnTo>
                      <a:pt x="253" y="371"/>
                    </a:lnTo>
                    <a:lnTo>
                      <a:pt x="249" y="373"/>
                    </a:lnTo>
                    <a:lnTo>
                      <a:pt x="249" y="373"/>
                    </a:lnTo>
                    <a:lnTo>
                      <a:pt x="249" y="375"/>
                    </a:lnTo>
                    <a:lnTo>
                      <a:pt x="251" y="375"/>
                    </a:lnTo>
                    <a:lnTo>
                      <a:pt x="253" y="377"/>
                    </a:lnTo>
                    <a:lnTo>
                      <a:pt x="251" y="382"/>
                    </a:lnTo>
                    <a:lnTo>
                      <a:pt x="251" y="382"/>
                    </a:lnTo>
                    <a:lnTo>
                      <a:pt x="249" y="383"/>
                    </a:lnTo>
                    <a:lnTo>
                      <a:pt x="247" y="383"/>
                    </a:lnTo>
                    <a:lnTo>
                      <a:pt x="240" y="385"/>
                    </a:lnTo>
                    <a:lnTo>
                      <a:pt x="237" y="385"/>
                    </a:lnTo>
                    <a:lnTo>
                      <a:pt x="237" y="387"/>
                    </a:lnTo>
                    <a:lnTo>
                      <a:pt x="239" y="387"/>
                    </a:lnTo>
                    <a:lnTo>
                      <a:pt x="239" y="387"/>
                    </a:lnTo>
                    <a:lnTo>
                      <a:pt x="242" y="390"/>
                    </a:lnTo>
                    <a:lnTo>
                      <a:pt x="242" y="390"/>
                    </a:lnTo>
                    <a:lnTo>
                      <a:pt x="242" y="392"/>
                    </a:lnTo>
                    <a:lnTo>
                      <a:pt x="247" y="394"/>
                    </a:lnTo>
                    <a:lnTo>
                      <a:pt x="247" y="394"/>
                    </a:lnTo>
                    <a:lnTo>
                      <a:pt x="254" y="394"/>
                    </a:lnTo>
                    <a:lnTo>
                      <a:pt x="261" y="392"/>
                    </a:lnTo>
                    <a:lnTo>
                      <a:pt x="268" y="392"/>
                    </a:lnTo>
                    <a:lnTo>
                      <a:pt x="268" y="392"/>
                    </a:lnTo>
                    <a:lnTo>
                      <a:pt x="268" y="394"/>
                    </a:lnTo>
                    <a:lnTo>
                      <a:pt x="268" y="394"/>
                    </a:lnTo>
                    <a:lnTo>
                      <a:pt x="268" y="397"/>
                    </a:lnTo>
                    <a:lnTo>
                      <a:pt x="268" y="401"/>
                    </a:lnTo>
                    <a:lnTo>
                      <a:pt x="267" y="404"/>
                    </a:lnTo>
                    <a:lnTo>
                      <a:pt x="260" y="408"/>
                    </a:lnTo>
                    <a:lnTo>
                      <a:pt x="260" y="408"/>
                    </a:lnTo>
                    <a:lnTo>
                      <a:pt x="254" y="411"/>
                    </a:lnTo>
                    <a:lnTo>
                      <a:pt x="253" y="415"/>
                    </a:lnTo>
                    <a:lnTo>
                      <a:pt x="251" y="417"/>
                    </a:lnTo>
                    <a:lnTo>
                      <a:pt x="247" y="418"/>
                    </a:lnTo>
                    <a:lnTo>
                      <a:pt x="247" y="418"/>
                    </a:lnTo>
                    <a:lnTo>
                      <a:pt x="240" y="420"/>
                    </a:lnTo>
                    <a:lnTo>
                      <a:pt x="234" y="424"/>
                    </a:lnTo>
                    <a:lnTo>
                      <a:pt x="227" y="425"/>
                    </a:lnTo>
                    <a:lnTo>
                      <a:pt x="223" y="425"/>
                    </a:lnTo>
                    <a:lnTo>
                      <a:pt x="218" y="424"/>
                    </a:lnTo>
                    <a:lnTo>
                      <a:pt x="218" y="424"/>
                    </a:lnTo>
                    <a:lnTo>
                      <a:pt x="213" y="422"/>
                    </a:lnTo>
                    <a:lnTo>
                      <a:pt x="207" y="422"/>
                    </a:lnTo>
                    <a:lnTo>
                      <a:pt x="199" y="424"/>
                    </a:lnTo>
                    <a:lnTo>
                      <a:pt x="192" y="425"/>
                    </a:lnTo>
                    <a:lnTo>
                      <a:pt x="188" y="425"/>
                    </a:lnTo>
                    <a:lnTo>
                      <a:pt x="186" y="425"/>
                    </a:lnTo>
                    <a:lnTo>
                      <a:pt x="186" y="425"/>
                    </a:lnTo>
                    <a:lnTo>
                      <a:pt x="185" y="424"/>
                    </a:lnTo>
                    <a:lnTo>
                      <a:pt x="183" y="424"/>
                    </a:lnTo>
                    <a:lnTo>
                      <a:pt x="181" y="425"/>
                    </a:lnTo>
                    <a:lnTo>
                      <a:pt x="176" y="424"/>
                    </a:lnTo>
                    <a:lnTo>
                      <a:pt x="176" y="424"/>
                    </a:lnTo>
                    <a:lnTo>
                      <a:pt x="173" y="422"/>
                    </a:lnTo>
                    <a:lnTo>
                      <a:pt x="171" y="422"/>
                    </a:lnTo>
                    <a:lnTo>
                      <a:pt x="169" y="425"/>
                    </a:lnTo>
                    <a:lnTo>
                      <a:pt x="160" y="427"/>
                    </a:lnTo>
                    <a:lnTo>
                      <a:pt x="160" y="427"/>
                    </a:lnTo>
                    <a:lnTo>
                      <a:pt x="152" y="429"/>
                    </a:lnTo>
                    <a:lnTo>
                      <a:pt x="150" y="432"/>
                    </a:lnTo>
                    <a:lnTo>
                      <a:pt x="148" y="434"/>
                    </a:lnTo>
                    <a:lnTo>
                      <a:pt x="143" y="434"/>
                    </a:lnTo>
                    <a:lnTo>
                      <a:pt x="143" y="434"/>
                    </a:lnTo>
                    <a:lnTo>
                      <a:pt x="138" y="432"/>
                    </a:lnTo>
                    <a:lnTo>
                      <a:pt x="136" y="434"/>
                    </a:lnTo>
                    <a:lnTo>
                      <a:pt x="134" y="436"/>
                    </a:lnTo>
                    <a:lnTo>
                      <a:pt x="133" y="436"/>
                    </a:lnTo>
                    <a:lnTo>
                      <a:pt x="131" y="436"/>
                    </a:lnTo>
                    <a:lnTo>
                      <a:pt x="126" y="430"/>
                    </a:lnTo>
                    <a:lnTo>
                      <a:pt x="126" y="430"/>
                    </a:lnTo>
                    <a:lnTo>
                      <a:pt x="122" y="427"/>
                    </a:lnTo>
                    <a:lnTo>
                      <a:pt x="119" y="427"/>
                    </a:lnTo>
                    <a:lnTo>
                      <a:pt x="113" y="427"/>
                    </a:lnTo>
                    <a:lnTo>
                      <a:pt x="110" y="429"/>
                    </a:lnTo>
                    <a:lnTo>
                      <a:pt x="105" y="432"/>
                    </a:lnTo>
                    <a:lnTo>
                      <a:pt x="101" y="432"/>
                    </a:lnTo>
                    <a:lnTo>
                      <a:pt x="99" y="432"/>
                    </a:lnTo>
                    <a:lnTo>
                      <a:pt x="99" y="432"/>
                    </a:lnTo>
                    <a:lnTo>
                      <a:pt x="98" y="432"/>
                    </a:lnTo>
                    <a:lnTo>
                      <a:pt x="96" y="436"/>
                    </a:lnTo>
                    <a:lnTo>
                      <a:pt x="94" y="444"/>
                    </a:lnTo>
                    <a:lnTo>
                      <a:pt x="92" y="451"/>
                    </a:lnTo>
                    <a:lnTo>
                      <a:pt x="89" y="453"/>
                    </a:lnTo>
                    <a:lnTo>
                      <a:pt x="86" y="453"/>
                    </a:lnTo>
                    <a:lnTo>
                      <a:pt x="86" y="453"/>
                    </a:lnTo>
                    <a:lnTo>
                      <a:pt x="75" y="446"/>
                    </a:lnTo>
                    <a:lnTo>
                      <a:pt x="70" y="444"/>
                    </a:lnTo>
                    <a:lnTo>
                      <a:pt x="63" y="446"/>
                    </a:lnTo>
                    <a:lnTo>
                      <a:pt x="63" y="446"/>
                    </a:lnTo>
                    <a:lnTo>
                      <a:pt x="54" y="448"/>
                    </a:lnTo>
                    <a:lnTo>
                      <a:pt x="51" y="451"/>
                    </a:lnTo>
                    <a:lnTo>
                      <a:pt x="47" y="453"/>
                    </a:lnTo>
                    <a:lnTo>
                      <a:pt x="44" y="457"/>
                    </a:lnTo>
                    <a:lnTo>
                      <a:pt x="44" y="457"/>
                    </a:lnTo>
                    <a:lnTo>
                      <a:pt x="40" y="458"/>
                    </a:lnTo>
                    <a:lnTo>
                      <a:pt x="40" y="460"/>
                    </a:lnTo>
                    <a:lnTo>
                      <a:pt x="38" y="464"/>
                    </a:lnTo>
                    <a:lnTo>
                      <a:pt x="37" y="465"/>
                    </a:lnTo>
                    <a:lnTo>
                      <a:pt x="37" y="465"/>
                    </a:lnTo>
                    <a:lnTo>
                      <a:pt x="35" y="465"/>
                    </a:lnTo>
                    <a:lnTo>
                      <a:pt x="33" y="465"/>
                    </a:lnTo>
                    <a:lnTo>
                      <a:pt x="30" y="462"/>
                    </a:lnTo>
                    <a:lnTo>
                      <a:pt x="26" y="460"/>
                    </a:lnTo>
                    <a:lnTo>
                      <a:pt x="25" y="460"/>
                    </a:lnTo>
                    <a:lnTo>
                      <a:pt x="23" y="460"/>
                    </a:lnTo>
                    <a:lnTo>
                      <a:pt x="23" y="460"/>
                    </a:lnTo>
                    <a:lnTo>
                      <a:pt x="19" y="462"/>
                    </a:lnTo>
                    <a:lnTo>
                      <a:pt x="18" y="462"/>
                    </a:lnTo>
                    <a:lnTo>
                      <a:pt x="18" y="458"/>
                    </a:lnTo>
                    <a:lnTo>
                      <a:pt x="18" y="455"/>
                    </a:lnTo>
                    <a:lnTo>
                      <a:pt x="19" y="453"/>
                    </a:lnTo>
                    <a:lnTo>
                      <a:pt x="23" y="451"/>
                    </a:lnTo>
                    <a:lnTo>
                      <a:pt x="26" y="451"/>
                    </a:lnTo>
                    <a:lnTo>
                      <a:pt x="26" y="451"/>
                    </a:lnTo>
                    <a:lnTo>
                      <a:pt x="30" y="451"/>
                    </a:lnTo>
                    <a:lnTo>
                      <a:pt x="33" y="450"/>
                    </a:lnTo>
                    <a:lnTo>
                      <a:pt x="38" y="444"/>
                    </a:lnTo>
                    <a:lnTo>
                      <a:pt x="42" y="439"/>
                    </a:lnTo>
                    <a:lnTo>
                      <a:pt x="47" y="434"/>
                    </a:lnTo>
                    <a:lnTo>
                      <a:pt x="47" y="434"/>
                    </a:lnTo>
                    <a:lnTo>
                      <a:pt x="51" y="432"/>
                    </a:lnTo>
                    <a:lnTo>
                      <a:pt x="52" y="430"/>
                    </a:lnTo>
                    <a:lnTo>
                      <a:pt x="52" y="427"/>
                    </a:lnTo>
                    <a:lnTo>
                      <a:pt x="56" y="424"/>
                    </a:lnTo>
                    <a:lnTo>
                      <a:pt x="56" y="424"/>
                    </a:lnTo>
                    <a:lnTo>
                      <a:pt x="58" y="422"/>
                    </a:lnTo>
                    <a:lnTo>
                      <a:pt x="58" y="420"/>
                    </a:lnTo>
                    <a:lnTo>
                      <a:pt x="58" y="417"/>
                    </a:lnTo>
                    <a:lnTo>
                      <a:pt x="59" y="413"/>
                    </a:lnTo>
                    <a:lnTo>
                      <a:pt x="61" y="411"/>
                    </a:lnTo>
                    <a:lnTo>
                      <a:pt x="65" y="411"/>
                    </a:lnTo>
                    <a:lnTo>
                      <a:pt x="65" y="411"/>
                    </a:lnTo>
                    <a:lnTo>
                      <a:pt x="68" y="410"/>
                    </a:lnTo>
                    <a:lnTo>
                      <a:pt x="70" y="408"/>
                    </a:lnTo>
                    <a:lnTo>
                      <a:pt x="70" y="404"/>
                    </a:lnTo>
                    <a:lnTo>
                      <a:pt x="70" y="403"/>
                    </a:lnTo>
                    <a:lnTo>
                      <a:pt x="70" y="401"/>
                    </a:lnTo>
                    <a:lnTo>
                      <a:pt x="73" y="401"/>
                    </a:lnTo>
                    <a:lnTo>
                      <a:pt x="79" y="401"/>
                    </a:lnTo>
                    <a:lnTo>
                      <a:pt x="79" y="401"/>
                    </a:lnTo>
                    <a:lnTo>
                      <a:pt x="89" y="401"/>
                    </a:lnTo>
                    <a:lnTo>
                      <a:pt x="94" y="403"/>
                    </a:lnTo>
                    <a:lnTo>
                      <a:pt x="99" y="403"/>
                    </a:lnTo>
                    <a:lnTo>
                      <a:pt x="106" y="403"/>
                    </a:lnTo>
                    <a:lnTo>
                      <a:pt x="106" y="403"/>
                    </a:lnTo>
                    <a:lnTo>
                      <a:pt x="113" y="401"/>
                    </a:lnTo>
                    <a:lnTo>
                      <a:pt x="115" y="397"/>
                    </a:lnTo>
                    <a:lnTo>
                      <a:pt x="117" y="390"/>
                    </a:lnTo>
                    <a:lnTo>
                      <a:pt x="122" y="387"/>
                    </a:lnTo>
                    <a:lnTo>
                      <a:pt x="129" y="382"/>
                    </a:lnTo>
                    <a:lnTo>
                      <a:pt x="129" y="382"/>
                    </a:lnTo>
                    <a:lnTo>
                      <a:pt x="131" y="378"/>
                    </a:lnTo>
                    <a:lnTo>
                      <a:pt x="136" y="373"/>
                    </a:lnTo>
                    <a:lnTo>
                      <a:pt x="136" y="373"/>
                    </a:lnTo>
                    <a:lnTo>
                      <a:pt x="129" y="377"/>
                    </a:lnTo>
                    <a:lnTo>
                      <a:pt x="124" y="380"/>
                    </a:lnTo>
                    <a:lnTo>
                      <a:pt x="120" y="382"/>
                    </a:lnTo>
                    <a:lnTo>
                      <a:pt x="115" y="383"/>
                    </a:lnTo>
                    <a:lnTo>
                      <a:pt x="115" y="383"/>
                    </a:lnTo>
                    <a:lnTo>
                      <a:pt x="113" y="383"/>
                    </a:lnTo>
                    <a:lnTo>
                      <a:pt x="110" y="387"/>
                    </a:lnTo>
                    <a:lnTo>
                      <a:pt x="105" y="390"/>
                    </a:lnTo>
                    <a:lnTo>
                      <a:pt x="101" y="394"/>
                    </a:lnTo>
                    <a:lnTo>
                      <a:pt x="98" y="394"/>
                    </a:lnTo>
                    <a:lnTo>
                      <a:pt x="94" y="392"/>
                    </a:lnTo>
                    <a:lnTo>
                      <a:pt x="91" y="389"/>
                    </a:lnTo>
                    <a:lnTo>
                      <a:pt x="91" y="389"/>
                    </a:lnTo>
                    <a:lnTo>
                      <a:pt x="86" y="385"/>
                    </a:lnTo>
                    <a:lnTo>
                      <a:pt x="80" y="383"/>
                    </a:lnTo>
                    <a:lnTo>
                      <a:pt x="77" y="383"/>
                    </a:lnTo>
                    <a:lnTo>
                      <a:pt x="73" y="383"/>
                    </a:lnTo>
                    <a:lnTo>
                      <a:pt x="68" y="385"/>
                    </a:lnTo>
                    <a:lnTo>
                      <a:pt x="68" y="383"/>
                    </a:lnTo>
                    <a:lnTo>
                      <a:pt x="68" y="382"/>
                    </a:lnTo>
                    <a:lnTo>
                      <a:pt x="68" y="382"/>
                    </a:lnTo>
                    <a:lnTo>
                      <a:pt x="68" y="377"/>
                    </a:lnTo>
                    <a:lnTo>
                      <a:pt x="65" y="375"/>
                    </a:lnTo>
                    <a:lnTo>
                      <a:pt x="59" y="375"/>
                    </a:lnTo>
                    <a:lnTo>
                      <a:pt x="52" y="378"/>
                    </a:lnTo>
                    <a:lnTo>
                      <a:pt x="52" y="378"/>
                    </a:lnTo>
                    <a:lnTo>
                      <a:pt x="45" y="380"/>
                    </a:lnTo>
                    <a:lnTo>
                      <a:pt x="40" y="380"/>
                    </a:lnTo>
                    <a:lnTo>
                      <a:pt x="37" y="377"/>
                    </a:lnTo>
                    <a:lnTo>
                      <a:pt x="37" y="373"/>
                    </a:lnTo>
                    <a:lnTo>
                      <a:pt x="37" y="373"/>
                    </a:lnTo>
                    <a:lnTo>
                      <a:pt x="38" y="371"/>
                    </a:lnTo>
                    <a:lnTo>
                      <a:pt x="38" y="370"/>
                    </a:lnTo>
                    <a:lnTo>
                      <a:pt x="35" y="368"/>
                    </a:lnTo>
                    <a:lnTo>
                      <a:pt x="33" y="368"/>
                    </a:lnTo>
                    <a:lnTo>
                      <a:pt x="33" y="366"/>
                    </a:lnTo>
                    <a:lnTo>
                      <a:pt x="35" y="363"/>
                    </a:lnTo>
                    <a:lnTo>
                      <a:pt x="35" y="363"/>
                    </a:lnTo>
                    <a:lnTo>
                      <a:pt x="40" y="359"/>
                    </a:lnTo>
                    <a:lnTo>
                      <a:pt x="45" y="357"/>
                    </a:lnTo>
                    <a:lnTo>
                      <a:pt x="52" y="357"/>
                    </a:lnTo>
                    <a:lnTo>
                      <a:pt x="65" y="350"/>
                    </a:lnTo>
                    <a:lnTo>
                      <a:pt x="65" y="350"/>
                    </a:lnTo>
                    <a:lnTo>
                      <a:pt x="70" y="347"/>
                    </a:lnTo>
                    <a:lnTo>
                      <a:pt x="73" y="342"/>
                    </a:lnTo>
                    <a:lnTo>
                      <a:pt x="75" y="338"/>
                    </a:lnTo>
                    <a:lnTo>
                      <a:pt x="75" y="336"/>
                    </a:lnTo>
                    <a:lnTo>
                      <a:pt x="75" y="329"/>
                    </a:lnTo>
                    <a:lnTo>
                      <a:pt x="75" y="328"/>
                    </a:lnTo>
                    <a:lnTo>
                      <a:pt x="75" y="324"/>
                    </a:lnTo>
                    <a:lnTo>
                      <a:pt x="75" y="324"/>
                    </a:lnTo>
                    <a:lnTo>
                      <a:pt x="77" y="321"/>
                    </a:lnTo>
                    <a:lnTo>
                      <a:pt x="75" y="319"/>
                    </a:lnTo>
                    <a:lnTo>
                      <a:pt x="73" y="317"/>
                    </a:lnTo>
                    <a:lnTo>
                      <a:pt x="75" y="314"/>
                    </a:lnTo>
                    <a:lnTo>
                      <a:pt x="75" y="314"/>
                    </a:lnTo>
                    <a:lnTo>
                      <a:pt x="75" y="312"/>
                    </a:lnTo>
                    <a:lnTo>
                      <a:pt x="75" y="312"/>
                    </a:lnTo>
                    <a:lnTo>
                      <a:pt x="70" y="314"/>
                    </a:lnTo>
                    <a:lnTo>
                      <a:pt x="63" y="317"/>
                    </a:lnTo>
                    <a:lnTo>
                      <a:pt x="59" y="319"/>
                    </a:lnTo>
                    <a:lnTo>
                      <a:pt x="58" y="319"/>
                    </a:lnTo>
                    <a:lnTo>
                      <a:pt x="58" y="319"/>
                    </a:lnTo>
                    <a:lnTo>
                      <a:pt x="54" y="319"/>
                    </a:lnTo>
                    <a:lnTo>
                      <a:pt x="51" y="321"/>
                    </a:lnTo>
                    <a:lnTo>
                      <a:pt x="51" y="321"/>
                    </a:lnTo>
                    <a:lnTo>
                      <a:pt x="52" y="316"/>
                    </a:lnTo>
                    <a:lnTo>
                      <a:pt x="52" y="316"/>
                    </a:lnTo>
                    <a:lnTo>
                      <a:pt x="56" y="312"/>
                    </a:lnTo>
                    <a:lnTo>
                      <a:pt x="59" y="310"/>
                    </a:lnTo>
                    <a:lnTo>
                      <a:pt x="65" y="307"/>
                    </a:lnTo>
                    <a:lnTo>
                      <a:pt x="70" y="300"/>
                    </a:lnTo>
                    <a:lnTo>
                      <a:pt x="70" y="300"/>
                    </a:lnTo>
                    <a:lnTo>
                      <a:pt x="73" y="296"/>
                    </a:lnTo>
                    <a:lnTo>
                      <a:pt x="77" y="295"/>
                    </a:lnTo>
                    <a:lnTo>
                      <a:pt x="80" y="293"/>
                    </a:lnTo>
                    <a:lnTo>
                      <a:pt x="82" y="291"/>
                    </a:lnTo>
                    <a:lnTo>
                      <a:pt x="82" y="291"/>
                    </a:lnTo>
                    <a:lnTo>
                      <a:pt x="86" y="291"/>
                    </a:lnTo>
                    <a:lnTo>
                      <a:pt x="87" y="293"/>
                    </a:lnTo>
                    <a:lnTo>
                      <a:pt x="91" y="293"/>
                    </a:lnTo>
                    <a:lnTo>
                      <a:pt x="96" y="291"/>
                    </a:lnTo>
                    <a:lnTo>
                      <a:pt x="96" y="291"/>
                    </a:lnTo>
                    <a:lnTo>
                      <a:pt x="99" y="289"/>
                    </a:lnTo>
                    <a:lnTo>
                      <a:pt x="103" y="289"/>
                    </a:lnTo>
                    <a:lnTo>
                      <a:pt x="108" y="293"/>
                    </a:lnTo>
                    <a:lnTo>
                      <a:pt x="110" y="295"/>
                    </a:lnTo>
                    <a:lnTo>
                      <a:pt x="108" y="291"/>
                    </a:lnTo>
                    <a:lnTo>
                      <a:pt x="108" y="291"/>
                    </a:lnTo>
                    <a:lnTo>
                      <a:pt x="106" y="288"/>
                    </a:lnTo>
                    <a:lnTo>
                      <a:pt x="108" y="286"/>
                    </a:lnTo>
                    <a:lnTo>
                      <a:pt x="112" y="288"/>
                    </a:lnTo>
                    <a:lnTo>
                      <a:pt x="115" y="289"/>
                    </a:lnTo>
                    <a:lnTo>
                      <a:pt x="115" y="289"/>
                    </a:lnTo>
                    <a:lnTo>
                      <a:pt x="119" y="293"/>
                    </a:lnTo>
                    <a:lnTo>
                      <a:pt x="115" y="284"/>
                    </a:lnTo>
                    <a:lnTo>
                      <a:pt x="115" y="284"/>
                    </a:lnTo>
                    <a:lnTo>
                      <a:pt x="112" y="279"/>
                    </a:lnTo>
                    <a:lnTo>
                      <a:pt x="112" y="276"/>
                    </a:lnTo>
                    <a:lnTo>
                      <a:pt x="112" y="274"/>
                    </a:lnTo>
                    <a:lnTo>
                      <a:pt x="113" y="272"/>
                    </a:lnTo>
                    <a:lnTo>
                      <a:pt x="115" y="270"/>
                    </a:lnTo>
                    <a:lnTo>
                      <a:pt x="115" y="269"/>
                    </a:lnTo>
                    <a:lnTo>
                      <a:pt x="115" y="269"/>
                    </a:lnTo>
                    <a:lnTo>
                      <a:pt x="115" y="269"/>
                    </a:lnTo>
                    <a:lnTo>
                      <a:pt x="112" y="267"/>
                    </a:lnTo>
                    <a:lnTo>
                      <a:pt x="110" y="265"/>
                    </a:lnTo>
                    <a:lnTo>
                      <a:pt x="112" y="262"/>
                    </a:lnTo>
                    <a:lnTo>
                      <a:pt x="113" y="260"/>
                    </a:lnTo>
                    <a:lnTo>
                      <a:pt x="117" y="258"/>
                    </a:lnTo>
                    <a:lnTo>
                      <a:pt x="119" y="256"/>
                    </a:lnTo>
                    <a:lnTo>
                      <a:pt x="117" y="255"/>
                    </a:lnTo>
                    <a:lnTo>
                      <a:pt x="117" y="255"/>
                    </a:lnTo>
                    <a:lnTo>
                      <a:pt x="117" y="255"/>
                    </a:lnTo>
                    <a:lnTo>
                      <a:pt x="117" y="253"/>
                    </a:lnTo>
                    <a:lnTo>
                      <a:pt x="119" y="249"/>
                    </a:lnTo>
                    <a:lnTo>
                      <a:pt x="119" y="246"/>
                    </a:lnTo>
                    <a:lnTo>
                      <a:pt x="119" y="246"/>
                    </a:lnTo>
                    <a:lnTo>
                      <a:pt x="117" y="244"/>
                    </a:lnTo>
                    <a:lnTo>
                      <a:pt x="117" y="244"/>
                    </a:lnTo>
                    <a:lnTo>
                      <a:pt x="113" y="246"/>
                    </a:lnTo>
                    <a:lnTo>
                      <a:pt x="112" y="246"/>
                    </a:lnTo>
                    <a:lnTo>
                      <a:pt x="110" y="249"/>
                    </a:lnTo>
                    <a:lnTo>
                      <a:pt x="106" y="251"/>
                    </a:lnTo>
                    <a:lnTo>
                      <a:pt x="105" y="248"/>
                    </a:lnTo>
                    <a:lnTo>
                      <a:pt x="105" y="248"/>
                    </a:lnTo>
                    <a:lnTo>
                      <a:pt x="99" y="241"/>
                    </a:lnTo>
                    <a:lnTo>
                      <a:pt x="92" y="235"/>
                    </a:lnTo>
                    <a:lnTo>
                      <a:pt x="91" y="232"/>
                    </a:lnTo>
                    <a:lnTo>
                      <a:pt x="91" y="229"/>
                    </a:lnTo>
                    <a:lnTo>
                      <a:pt x="92" y="223"/>
                    </a:lnTo>
                    <a:lnTo>
                      <a:pt x="94" y="216"/>
                    </a:lnTo>
                    <a:lnTo>
                      <a:pt x="94" y="216"/>
                    </a:lnTo>
                    <a:lnTo>
                      <a:pt x="101" y="208"/>
                    </a:lnTo>
                    <a:lnTo>
                      <a:pt x="105" y="204"/>
                    </a:lnTo>
                    <a:lnTo>
                      <a:pt x="105" y="204"/>
                    </a:lnTo>
                    <a:lnTo>
                      <a:pt x="105" y="202"/>
                    </a:lnTo>
                    <a:lnTo>
                      <a:pt x="105" y="202"/>
                    </a:lnTo>
                    <a:lnTo>
                      <a:pt x="101" y="202"/>
                    </a:lnTo>
                    <a:lnTo>
                      <a:pt x="96" y="202"/>
                    </a:lnTo>
                    <a:lnTo>
                      <a:pt x="94" y="204"/>
                    </a:lnTo>
                    <a:lnTo>
                      <a:pt x="94" y="204"/>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3" name="Freeform 2085">
                <a:extLst>
                  <a:ext uri="{FF2B5EF4-FFF2-40B4-BE49-F238E27FC236}">
                    <a16:creationId xmlns:a16="http://schemas.microsoft.com/office/drawing/2014/main" id="{609D5821-B8F8-4178-81E1-CA426A5C0F0C}"/>
                  </a:ext>
                </a:extLst>
              </p:cNvPr>
              <p:cNvSpPr>
                <a:spLocks/>
              </p:cNvSpPr>
              <p:nvPr/>
            </p:nvSpPr>
            <p:spPr bwMode="auto">
              <a:xfrm>
                <a:off x="3892550" y="2336800"/>
                <a:ext cx="12700" cy="6350"/>
              </a:xfrm>
              <a:custGeom>
                <a:avLst/>
                <a:gdLst/>
                <a:ahLst/>
                <a:cxnLst>
                  <a:cxn ang="0">
                    <a:pos x="2" y="4"/>
                  </a:cxn>
                  <a:cxn ang="0">
                    <a:pos x="2" y="4"/>
                  </a:cxn>
                  <a:cxn ang="0">
                    <a:pos x="3" y="2"/>
                  </a:cxn>
                  <a:cxn ang="0">
                    <a:pos x="7" y="0"/>
                  </a:cxn>
                  <a:cxn ang="0">
                    <a:pos x="12" y="0"/>
                  </a:cxn>
                  <a:cxn ang="0">
                    <a:pos x="12" y="0"/>
                  </a:cxn>
                  <a:cxn ang="0">
                    <a:pos x="14" y="0"/>
                  </a:cxn>
                  <a:cxn ang="0">
                    <a:pos x="16" y="0"/>
                  </a:cxn>
                  <a:cxn ang="0">
                    <a:pos x="17" y="2"/>
                  </a:cxn>
                  <a:cxn ang="0">
                    <a:pos x="16" y="6"/>
                  </a:cxn>
                  <a:cxn ang="0">
                    <a:pos x="16" y="6"/>
                  </a:cxn>
                  <a:cxn ang="0">
                    <a:pos x="14" y="7"/>
                  </a:cxn>
                  <a:cxn ang="0">
                    <a:pos x="12" y="9"/>
                  </a:cxn>
                  <a:cxn ang="0">
                    <a:pos x="7" y="7"/>
                  </a:cxn>
                  <a:cxn ang="0">
                    <a:pos x="2" y="6"/>
                  </a:cxn>
                  <a:cxn ang="0">
                    <a:pos x="0" y="4"/>
                  </a:cxn>
                  <a:cxn ang="0">
                    <a:pos x="2" y="4"/>
                  </a:cxn>
                </a:cxnLst>
                <a:rect l="0" t="0" r="r" b="b"/>
                <a:pathLst>
                  <a:path w="17" h="9">
                    <a:moveTo>
                      <a:pt x="2" y="4"/>
                    </a:moveTo>
                    <a:lnTo>
                      <a:pt x="2" y="4"/>
                    </a:lnTo>
                    <a:lnTo>
                      <a:pt x="3" y="2"/>
                    </a:lnTo>
                    <a:lnTo>
                      <a:pt x="7" y="0"/>
                    </a:lnTo>
                    <a:lnTo>
                      <a:pt x="12" y="0"/>
                    </a:lnTo>
                    <a:lnTo>
                      <a:pt x="12" y="0"/>
                    </a:lnTo>
                    <a:lnTo>
                      <a:pt x="14" y="0"/>
                    </a:lnTo>
                    <a:lnTo>
                      <a:pt x="16" y="0"/>
                    </a:lnTo>
                    <a:lnTo>
                      <a:pt x="17" y="2"/>
                    </a:lnTo>
                    <a:lnTo>
                      <a:pt x="16" y="6"/>
                    </a:lnTo>
                    <a:lnTo>
                      <a:pt x="16" y="6"/>
                    </a:lnTo>
                    <a:lnTo>
                      <a:pt x="14" y="7"/>
                    </a:lnTo>
                    <a:lnTo>
                      <a:pt x="12" y="9"/>
                    </a:lnTo>
                    <a:lnTo>
                      <a:pt x="7" y="7"/>
                    </a:lnTo>
                    <a:lnTo>
                      <a:pt x="2" y="6"/>
                    </a:lnTo>
                    <a:lnTo>
                      <a:pt x="0" y="4"/>
                    </a:lnTo>
                    <a:lnTo>
                      <a:pt x="2"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237" name="Freeform 2086">
              <a:extLst>
                <a:ext uri="{FF2B5EF4-FFF2-40B4-BE49-F238E27FC236}">
                  <a16:creationId xmlns:a16="http://schemas.microsoft.com/office/drawing/2014/main" id="{617FAD90-29C0-437F-9013-A1C8B7B96DE7}"/>
                </a:ext>
              </a:extLst>
            </p:cNvPr>
            <p:cNvSpPr>
              <a:spLocks/>
            </p:cNvSpPr>
            <p:nvPr/>
          </p:nvSpPr>
          <p:spPr bwMode="auto">
            <a:xfrm>
              <a:off x="4628111" y="2307515"/>
              <a:ext cx="15857" cy="12334"/>
            </a:xfrm>
            <a:custGeom>
              <a:avLst/>
              <a:gdLst/>
              <a:ahLst/>
              <a:cxnLst>
                <a:cxn ang="0">
                  <a:pos x="0" y="10"/>
                </a:cxn>
                <a:cxn ang="0">
                  <a:pos x="0" y="10"/>
                </a:cxn>
                <a:cxn ang="0">
                  <a:pos x="0" y="7"/>
                </a:cxn>
                <a:cxn ang="0">
                  <a:pos x="0" y="3"/>
                </a:cxn>
                <a:cxn ang="0">
                  <a:pos x="2" y="0"/>
                </a:cxn>
                <a:cxn ang="0">
                  <a:pos x="5" y="0"/>
                </a:cxn>
                <a:cxn ang="0">
                  <a:pos x="5" y="0"/>
                </a:cxn>
                <a:cxn ang="0">
                  <a:pos x="10" y="1"/>
                </a:cxn>
                <a:cxn ang="0">
                  <a:pos x="10" y="3"/>
                </a:cxn>
                <a:cxn ang="0">
                  <a:pos x="9" y="7"/>
                </a:cxn>
                <a:cxn ang="0">
                  <a:pos x="9" y="7"/>
                </a:cxn>
                <a:cxn ang="0">
                  <a:pos x="9" y="8"/>
                </a:cxn>
                <a:cxn ang="0">
                  <a:pos x="10" y="8"/>
                </a:cxn>
                <a:cxn ang="0">
                  <a:pos x="14" y="8"/>
                </a:cxn>
                <a:cxn ang="0">
                  <a:pos x="16" y="10"/>
                </a:cxn>
                <a:cxn ang="0">
                  <a:pos x="16" y="10"/>
                </a:cxn>
                <a:cxn ang="0">
                  <a:pos x="17" y="12"/>
                </a:cxn>
                <a:cxn ang="0">
                  <a:pos x="17" y="12"/>
                </a:cxn>
                <a:cxn ang="0">
                  <a:pos x="17" y="10"/>
                </a:cxn>
                <a:cxn ang="0">
                  <a:pos x="19" y="10"/>
                </a:cxn>
                <a:cxn ang="0">
                  <a:pos x="19" y="10"/>
                </a:cxn>
                <a:cxn ang="0">
                  <a:pos x="19" y="12"/>
                </a:cxn>
                <a:cxn ang="0">
                  <a:pos x="17" y="14"/>
                </a:cxn>
                <a:cxn ang="0">
                  <a:pos x="16" y="15"/>
                </a:cxn>
                <a:cxn ang="0">
                  <a:pos x="12" y="14"/>
                </a:cxn>
                <a:cxn ang="0">
                  <a:pos x="12" y="14"/>
                </a:cxn>
                <a:cxn ang="0">
                  <a:pos x="10" y="12"/>
                </a:cxn>
                <a:cxn ang="0">
                  <a:pos x="7" y="12"/>
                </a:cxn>
                <a:cxn ang="0">
                  <a:pos x="3" y="14"/>
                </a:cxn>
                <a:cxn ang="0">
                  <a:pos x="0" y="10"/>
                </a:cxn>
              </a:cxnLst>
              <a:rect l="0" t="0" r="r" b="b"/>
              <a:pathLst>
                <a:path w="19" h="15">
                  <a:moveTo>
                    <a:pt x="0" y="10"/>
                  </a:moveTo>
                  <a:lnTo>
                    <a:pt x="0" y="10"/>
                  </a:lnTo>
                  <a:lnTo>
                    <a:pt x="0" y="7"/>
                  </a:lnTo>
                  <a:lnTo>
                    <a:pt x="0" y="3"/>
                  </a:lnTo>
                  <a:lnTo>
                    <a:pt x="2" y="0"/>
                  </a:lnTo>
                  <a:lnTo>
                    <a:pt x="5" y="0"/>
                  </a:lnTo>
                  <a:lnTo>
                    <a:pt x="5" y="0"/>
                  </a:lnTo>
                  <a:lnTo>
                    <a:pt x="10" y="1"/>
                  </a:lnTo>
                  <a:lnTo>
                    <a:pt x="10" y="3"/>
                  </a:lnTo>
                  <a:lnTo>
                    <a:pt x="9" y="7"/>
                  </a:lnTo>
                  <a:lnTo>
                    <a:pt x="9" y="7"/>
                  </a:lnTo>
                  <a:lnTo>
                    <a:pt x="9" y="8"/>
                  </a:lnTo>
                  <a:lnTo>
                    <a:pt x="10" y="8"/>
                  </a:lnTo>
                  <a:lnTo>
                    <a:pt x="14" y="8"/>
                  </a:lnTo>
                  <a:lnTo>
                    <a:pt x="16" y="10"/>
                  </a:lnTo>
                  <a:lnTo>
                    <a:pt x="16" y="10"/>
                  </a:lnTo>
                  <a:lnTo>
                    <a:pt x="17" y="12"/>
                  </a:lnTo>
                  <a:lnTo>
                    <a:pt x="17" y="12"/>
                  </a:lnTo>
                  <a:lnTo>
                    <a:pt x="17" y="10"/>
                  </a:lnTo>
                  <a:lnTo>
                    <a:pt x="19" y="10"/>
                  </a:lnTo>
                  <a:lnTo>
                    <a:pt x="19" y="10"/>
                  </a:lnTo>
                  <a:lnTo>
                    <a:pt x="19" y="12"/>
                  </a:lnTo>
                  <a:lnTo>
                    <a:pt x="17" y="14"/>
                  </a:lnTo>
                  <a:lnTo>
                    <a:pt x="16" y="15"/>
                  </a:lnTo>
                  <a:lnTo>
                    <a:pt x="12" y="14"/>
                  </a:lnTo>
                  <a:lnTo>
                    <a:pt x="12" y="14"/>
                  </a:lnTo>
                  <a:lnTo>
                    <a:pt x="10" y="12"/>
                  </a:lnTo>
                  <a:lnTo>
                    <a:pt x="7" y="12"/>
                  </a:lnTo>
                  <a:lnTo>
                    <a:pt x="3" y="14"/>
                  </a:lnTo>
                  <a:lnTo>
                    <a:pt x="0" y="10"/>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8" name="Freeform 2087">
              <a:extLst>
                <a:ext uri="{FF2B5EF4-FFF2-40B4-BE49-F238E27FC236}">
                  <a16:creationId xmlns:a16="http://schemas.microsoft.com/office/drawing/2014/main" id="{9F3489BE-CF30-4B89-97D6-C86E0070E73F}"/>
                </a:ext>
              </a:extLst>
            </p:cNvPr>
            <p:cNvSpPr>
              <a:spLocks/>
            </p:cNvSpPr>
            <p:nvPr/>
          </p:nvSpPr>
          <p:spPr bwMode="auto">
            <a:xfrm>
              <a:off x="8101010" y="3643112"/>
              <a:ext cx="49335" cy="121577"/>
            </a:xfrm>
            <a:custGeom>
              <a:avLst/>
              <a:gdLst/>
              <a:ahLst/>
              <a:cxnLst>
                <a:cxn ang="0">
                  <a:pos x="11" y="49"/>
                </a:cxn>
                <a:cxn ang="0">
                  <a:pos x="11" y="49"/>
                </a:cxn>
                <a:cxn ang="0">
                  <a:pos x="28" y="17"/>
                </a:cxn>
                <a:cxn ang="0">
                  <a:pos x="35" y="10"/>
                </a:cxn>
                <a:cxn ang="0">
                  <a:pos x="40" y="9"/>
                </a:cxn>
                <a:cxn ang="0">
                  <a:pos x="40" y="9"/>
                </a:cxn>
                <a:cxn ang="0">
                  <a:pos x="44" y="5"/>
                </a:cxn>
                <a:cxn ang="0">
                  <a:pos x="47" y="2"/>
                </a:cxn>
                <a:cxn ang="0">
                  <a:pos x="49" y="0"/>
                </a:cxn>
                <a:cxn ang="0">
                  <a:pos x="51" y="0"/>
                </a:cxn>
                <a:cxn ang="0">
                  <a:pos x="54" y="2"/>
                </a:cxn>
                <a:cxn ang="0">
                  <a:pos x="60" y="7"/>
                </a:cxn>
                <a:cxn ang="0">
                  <a:pos x="60" y="7"/>
                </a:cxn>
                <a:cxn ang="0">
                  <a:pos x="63" y="10"/>
                </a:cxn>
                <a:cxn ang="0">
                  <a:pos x="63" y="14"/>
                </a:cxn>
                <a:cxn ang="0">
                  <a:pos x="63" y="15"/>
                </a:cxn>
                <a:cxn ang="0">
                  <a:pos x="63" y="17"/>
                </a:cxn>
                <a:cxn ang="0">
                  <a:pos x="60" y="22"/>
                </a:cxn>
                <a:cxn ang="0">
                  <a:pos x="60" y="26"/>
                </a:cxn>
                <a:cxn ang="0">
                  <a:pos x="61" y="29"/>
                </a:cxn>
                <a:cxn ang="0">
                  <a:pos x="61" y="29"/>
                </a:cxn>
                <a:cxn ang="0">
                  <a:pos x="61" y="33"/>
                </a:cxn>
                <a:cxn ang="0">
                  <a:pos x="61" y="38"/>
                </a:cxn>
                <a:cxn ang="0">
                  <a:pos x="58" y="49"/>
                </a:cxn>
                <a:cxn ang="0">
                  <a:pos x="53" y="64"/>
                </a:cxn>
                <a:cxn ang="0">
                  <a:pos x="47" y="87"/>
                </a:cxn>
                <a:cxn ang="0">
                  <a:pos x="47" y="87"/>
                </a:cxn>
                <a:cxn ang="0">
                  <a:pos x="44" y="99"/>
                </a:cxn>
                <a:cxn ang="0">
                  <a:pos x="40" y="108"/>
                </a:cxn>
                <a:cxn ang="0">
                  <a:pos x="37" y="113"/>
                </a:cxn>
                <a:cxn ang="0">
                  <a:pos x="35" y="116"/>
                </a:cxn>
                <a:cxn ang="0">
                  <a:pos x="32" y="120"/>
                </a:cxn>
                <a:cxn ang="0">
                  <a:pos x="30" y="123"/>
                </a:cxn>
                <a:cxn ang="0">
                  <a:pos x="28" y="129"/>
                </a:cxn>
                <a:cxn ang="0">
                  <a:pos x="28" y="137"/>
                </a:cxn>
                <a:cxn ang="0">
                  <a:pos x="28" y="137"/>
                </a:cxn>
                <a:cxn ang="0">
                  <a:pos x="26" y="146"/>
                </a:cxn>
                <a:cxn ang="0">
                  <a:pos x="26" y="151"/>
                </a:cxn>
                <a:cxn ang="0">
                  <a:pos x="25" y="151"/>
                </a:cxn>
                <a:cxn ang="0">
                  <a:pos x="23" y="151"/>
                </a:cxn>
                <a:cxn ang="0">
                  <a:pos x="19" y="143"/>
                </a:cxn>
                <a:cxn ang="0">
                  <a:pos x="16" y="132"/>
                </a:cxn>
                <a:cxn ang="0">
                  <a:pos x="16" y="132"/>
                </a:cxn>
                <a:cxn ang="0">
                  <a:pos x="12" y="127"/>
                </a:cxn>
                <a:cxn ang="0">
                  <a:pos x="9" y="123"/>
                </a:cxn>
                <a:cxn ang="0">
                  <a:pos x="6" y="118"/>
                </a:cxn>
                <a:cxn ang="0">
                  <a:pos x="2" y="106"/>
                </a:cxn>
                <a:cxn ang="0">
                  <a:pos x="2" y="106"/>
                </a:cxn>
                <a:cxn ang="0">
                  <a:pos x="0" y="90"/>
                </a:cxn>
                <a:cxn ang="0">
                  <a:pos x="0" y="76"/>
                </a:cxn>
                <a:cxn ang="0">
                  <a:pos x="4" y="64"/>
                </a:cxn>
                <a:cxn ang="0">
                  <a:pos x="11" y="49"/>
                </a:cxn>
                <a:cxn ang="0">
                  <a:pos x="11" y="49"/>
                </a:cxn>
              </a:cxnLst>
              <a:rect l="0" t="0" r="r" b="b"/>
              <a:pathLst>
                <a:path w="63" h="151">
                  <a:moveTo>
                    <a:pt x="11" y="49"/>
                  </a:moveTo>
                  <a:lnTo>
                    <a:pt x="11" y="49"/>
                  </a:lnTo>
                  <a:lnTo>
                    <a:pt x="28" y="17"/>
                  </a:lnTo>
                  <a:lnTo>
                    <a:pt x="35" y="10"/>
                  </a:lnTo>
                  <a:lnTo>
                    <a:pt x="40" y="9"/>
                  </a:lnTo>
                  <a:lnTo>
                    <a:pt x="40" y="9"/>
                  </a:lnTo>
                  <a:lnTo>
                    <a:pt x="44" y="5"/>
                  </a:lnTo>
                  <a:lnTo>
                    <a:pt x="47" y="2"/>
                  </a:lnTo>
                  <a:lnTo>
                    <a:pt x="49" y="0"/>
                  </a:lnTo>
                  <a:lnTo>
                    <a:pt x="51" y="0"/>
                  </a:lnTo>
                  <a:lnTo>
                    <a:pt x="54" y="2"/>
                  </a:lnTo>
                  <a:lnTo>
                    <a:pt x="60" y="7"/>
                  </a:lnTo>
                  <a:lnTo>
                    <a:pt x="60" y="7"/>
                  </a:lnTo>
                  <a:lnTo>
                    <a:pt x="63" y="10"/>
                  </a:lnTo>
                  <a:lnTo>
                    <a:pt x="63" y="14"/>
                  </a:lnTo>
                  <a:lnTo>
                    <a:pt x="63" y="15"/>
                  </a:lnTo>
                  <a:lnTo>
                    <a:pt x="63" y="17"/>
                  </a:lnTo>
                  <a:lnTo>
                    <a:pt x="60" y="22"/>
                  </a:lnTo>
                  <a:lnTo>
                    <a:pt x="60" y="26"/>
                  </a:lnTo>
                  <a:lnTo>
                    <a:pt x="61" y="29"/>
                  </a:lnTo>
                  <a:lnTo>
                    <a:pt x="61" y="29"/>
                  </a:lnTo>
                  <a:lnTo>
                    <a:pt x="61" y="33"/>
                  </a:lnTo>
                  <a:lnTo>
                    <a:pt x="61" y="38"/>
                  </a:lnTo>
                  <a:lnTo>
                    <a:pt x="58" y="49"/>
                  </a:lnTo>
                  <a:lnTo>
                    <a:pt x="53" y="64"/>
                  </a:lnTo>
                  <a:lnTo>
                    <a:pt x="47" y="87"/>
                  </a:lnTo>
                  <a:lnTo>
                    <a:pt x="47" y="87"/>
                  </a:lnTo>
                  <a:lnTo>
                    <a:pt x="44" y="99"/>
                  </a:lnTo>
                  <a:lnTo>
                    <a:pt x="40" y="108"/>
                  </a:lnTo>
                  <a:lnTo>
                    <a:pt x="37" y="113"/>
                  </a:lnTo>
                  <a:lnTo>
                    <a:pt x="35" y="116"/>
                  </a:lnTo>
                  <a:lnTo>
                    <a:pt x="32" y="120"/>
                  </a:lnTo>
                  <a:lnTo>
                    <a:pt x="30" y="123"/>
                  </a:lnTo>
                  <a:lnTo>
                    <a:pt x="28" y="129"/>
                  </a:lnTo>
                  <a:lnTo>
                    <a:pt x="28" y="137"/>
                  </a:lnTo>
                  <a:lnTo>
                    <a:pt x="28" y="137"/>
                  </a:lnTo>
                  <a:lnTo>
                    <a:pt x="26" y="146"/>
                  </a:lnTo>
                  <a:lnTo>
                    <a:pt x="26" y="151"/>
                  </a:lnTo>
                  <a:lnTo>
                    <a:pt x="25" y="151"/>
                  </a:lnTo>
                  <a:lnTo>
                    <a:pt x="23" y="151"/>
                  </a:lnTo>
                  <a:lnTo>
                    <a:pt x="19" y="143"/>
                  </a:lnTo>
                  <a:lnTo>
                    <a:pt x="16" y="132"/>
                  </a:lnTo>
                  <a:lnTo>
                    <a:pt x="16" y="132"/>
                  </a:lnTo>
                  <a:lnTo>
                    <a:pt x="12" y="127"/>
                  </a:lnTo>
                  <a:lnTo>
                    <a:pt x="9" y="123"/>
                  </a:lnTo>
                  <a:lnTo>
                    <a:pt x="6" y="118"/>
                  </a:lnTo>
                  <a:lnTo>
                    <a:pt x="2" y="106"/>
                  </a:lnTo>
                  <a:lnTo>
                    <a:pt x="2" y="106"/>
                  </a:lnTo>
                  <a:lnTo>
                    <a:pt x="0" y="90"/>
                  </a:lnTo>
                  <a:lnTo>
                    <a:pt x="0" y="76"/>
                  </a:lnTo>
                  <a:lnTo>
                    <a:pt x="4" y="64"/>
                  </a:lnTo>
                  <a:lnTo>
                    <a:pt x="11" y="49"/>
                  </a:lnTo>
                  <a:lnTo>
                    <a:pt x="11" y="4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9" name="Freeform 2088">
              <a:extLst>
                <a:ext uri="{FF2B5EF4-FFF2-40B4-BE49-F238E27FC236}">
                  <a16:creationId xmlns:a16="http://schemas.microsoft.com/office/drawing/2014/main" id="{3A2989CD-E888-4107-B7A9-0AAB105D4072}"/>
                </a:ext>
              </a:extLst>
            </p:cNvPr>
            <p:cNvSpPr>
              <a:spLocks/>
            </p:cNvSpPr>
            <p:nvPr/>
          </p:nvSpPr>
          <p:spPr bwMode="auto">
            <a:xfrm>
              <a:off x="7776802" y="3828124"/>
              <a:ext cx="66957" cy="66956"/>
            </a:xfrm>
            <a:custGeom>
              <a:avLst/>
              <a:gdLst/>
              <a:ahLst/>
              <a:cxnLst>
                <a:cxn ang="0">
                  <a:pos x="11" y="26"/>
                </a:cxn>
                <a:cxn ang="0">
                  <a:pos x="18" y="15"/>
                </a:cxn>
                <a:cxn ang="0">
                  <a:pos x="21" y="10"/>
                </a:cxn>
                <a:cxn ang="0">
                  <a:pos x="23" y="8"/>
                </a:cxn>
                <a:cxn ang="0">
                  <a:pos x="26" y="8"/>
                </a:cxn>
                <a:cxn ang="0">
                  <a:pos x="32" y="7"/>
                </a:cxn>
                <a:cxn ang="0">
                  <a:pos x="33" y="5"/>
                </a:cxn>
                <a:cxn ang="0">
                  <a:pos x="40" y="5"/>
                </a:cxn>
                <a:cxn ang="0">
                  <a:pos x="49" y="7"/>
                </a:cxn>
                <a:cxn ang="0">
                  <a:pos x="51" y="5"/>
                </a:cxn>
                <a:cxn ang="0">
                  <a:pos x="61" y="3"/>
                </a:cxn>
                <a:cxn ang="0">
                  <a:pos x="68" y="1"/>
                </a:cxn>
                <a:cxn ang="0">
                  <a:pos x="72" y="0"/>
                </a:cxn>
                <a:cxn ang="0">
                  <a:pos x="75" y="3"/>
                </a:cxn>
                <a:cxn ang="0">
                  <a:pos x="79" y="5"/>
                </a:cxn>
                <a:cxn ang="0">
                  <a:pos x="84" y="14"/>
                </a:cxn>
                <a:cxn ang="0">
                  <a:pos x="82" y="22"/>
                </a:cxn>
                <a:cxn ang="0">
                  <a:pos x="79" y="26"/>
                </a:cxn>
                <a:cxn ang="0">
                  <a:pos x="68" y="43"/>
                </a:cxn>
                <a:cxn ang="0">
                  <a:pos x="67" y="50"/>
                </a:cxn>
                <a:cxn ang="0">
                  <a:pos x="65" y="59"/>
                </a:cxn>
                <a:cxn ang="0">
                  <a:pos x="60" y="62"/>
                </a:cxn>
                <a:cxn ang="0">
                  <a:pos x="53" y="68"/>
                </a:cxn>
                <a:cxn ang="0">
                  <a:pos x="51" y="71"/>
                </a:cxn>
                <a:cxn ang="0">
                  <a:pos x="49" y="74"/>
                </a:cxn>
                <a:cxn ang="0">
                  <a:pos x="40" y="74"/>
                </a:cxn>
                <a:cxn ang="0">
                  <a:pos x="39" y="78"/>
                </a:cxn>
                <a:cxn ang="0">
                  <a:pos x="37" y="83"/>
                </a:cxn>
                <a:cxn ang="0">
                  <a:pos x="30" y="83"/>
                </a:cxn>
                <a:cxn ang="0">
                  <a:pos x="26" y="80"/>
                </a:cxn>
                <a:cxn ang="0">
                  <a:pos x="23" y="80"/>
                </a:cxn>
                <a:cxn ang="0">
                  <a:pos x="9" y="74"/>
                </a:cxn>
                <a:cxn ang="0">
                  <a:pos x="4" y="69"/>
                </a:cxn>
                <a:cxn ang="0">
                  <a:pos x="0" y="57"/>
                </a:cxn>
                <a:cxn ang="0">
                  <a:pos x="0" y="48"/>
                </a:cxn>
                <a:cxn ang="0">
                  <a:pos x="2" y="33"/>
                </a:cxn>
                <a:cxn ang="0">
                  <a:pos x="11" y="26"/>
                </a:cxn>
              </a:cxnLst>
              <a:rect l="0" t="0" r="r" b="b"/>
              <a:pathLst>
                <a:path w="84" h="83">
                  <a:moveTo>
                    <a:pt x="11" y="26"/>
                  </a:moveTo>
                  <a:lnTo>
                    <a:pt x="11" y="26"/>
                  </a:lnTo>
                  <a:lnTo>
                    <a:pt x="16" y="19"/>
                  </a:lnTo>
                  <a:lnTo>
                    <a:pt x="18" y="15"/>
                  </a:lnTo>
                  <a:lnTo>
                    <a:pt x="18" y="14"/>
                  </a:lnTo>
                  <a:lnTo>
                    <a:pt x="21" y="10"/>
                  </a:lnTo>
                  <a:lnTo>
                    <a:pt x="21" y="10"/>
                  </a:lnTo>
                  <a:lnTo>
                    <a:pt x="23" y="8"/>
                  </a:lnTo>
                  <a:lnTo>
                    <a:pt x="25" y="8"/>
                  </a:lnTo>
                  <a:lnTo>
                    <a:pt x="26" y="8"/>
                  </a:lnTo>
                  <a:lnTo>
                    <a:pt x="30" y="10"/>
                  </a:lnTo>
                  <a:lnTo>
                    <a:pt x="32" y="7"/>
                  </a:lnTo>
                  <a:lnTo>
                    <a:pt x="32" y="7"/>
                  </a:lnTo>
                  <a:lnTo>
                    <a:pt x="33" y="5"/>
                  </a:lnTo>
                  <a:lnTo>
                    <a:pt x="35" y="5"/>
                  </a:lnTo>
                  <a:lnTo>
                    <a:pt x="40" y="5"/>
                  </a:lnTo>
                  <a:lnTo>
                    <a:pt x="46" y="7"/>
                  </a:lnTo>
                  <a:lnTo>
                    <a:pt x="49" y="7"/>
                  </a:lnTo>
                  <a:lnTo>
                    <a:pt x="51" y="5"/>
                  </a:lnTo>
                  <a:lnTo>
                    <a:pt x="51" y="5"/>
                  </a:lnTo>
                  <a:lnTo>
                    <a:pt x="56" y="3"/>
                  </a:lnTo>
                  <a:lnTo>
                    <a:pt x="61" y="3"/>
                  </a:lnTo>
                  <a:lnTo>
                    <a:pt x="65" y="3"/>
                  </a:lnTo>
                  <a:lnTo>
                    <a:pt x="68" y="1"/>
                  </a:lnTo>
                  <a:lnTo>
                    <a:pt x="68" y="1"/>
                  </a:lnTo>
                  <a:lnTo>
                    <a:pt x="72" y="0"/>
                  </a:lnTo>
                  <a:lnTo>
                    <a:pt x="73" y="0"/>
                  </a:lnTo>
                  <a:lnTo>
                    <a:pt x="75" y="3"/>
                  </a:lnTo>
                  <a:lnTo>
                    <a:pt x="79" y="5"/>
                  </a:lnTo>
                  <a:lnTo>
                    <a:pt x="79" y="5"/>
                  </a:lnTo>
                  <a:lnTo>
                    <a:pt x="82" y="7"/>
                  </a:lnTo>
                  <a:lnTo>
                    <a:pt x="84" y="14"/>
                  </a:lnTo>
                  <a:lnTo>
                    <a:pt x="84" y="19"/>
                  </a:lnTo>
                  <a:lnTo>
                    <a:pt x="82" y="22"/>
                  </a:lnTo>
                  <a:lnTo>
                    <a:pt x="82" y="22"/>
                  </a:lnTo>
                  <a:lnTo>
                    <a:pt x="79" y="26"/>
                  </a:lnTo>
                  <a:lnTo>
                    <a:pt x="73" y="34"/>
                  </a:lnTo>
                  <a:lnTo>
                    <a:pt x="68" y="43"/>
                  </a:lnTo>
                  <a:lnTo>
                    <a:pt x="67" y="50"/>
                  </a:lnTo>
                  <a:lnTo>
                    <a:pt x="67" y="50"/>
                  </a:lnTo>
                  <a:lnTo>
                    <a:pt x="67" y="55"/>
                  </a:lnTo>
                  <a:lnTo>
                    <a:pt x="65" y="59"/>
                  </a:lnTo>
                  <a:lnTo>
                    <a:pt x="61" y="62"/>
                  </a:lnTo>
                  <a:lnTo>
                    <a:pt x="60" y="62"/>
                  </a:lnTo>
                  <a:lnTo>
                    <a:pt x="54" y="66"/>
                  </a:lnTo>
                  <a:lnTo>
                    <a:pt x="53" y="68"/>
                  </a:lnTo>
                  <a:lnTo>
                    <a:pt x="51" y="71"/>
                  </a:lnTo>
                  <a:lnTo>
                    <a:pt x="51" y="71"/>
                  </a:lnTo>
                  <a:lnTo>
                    <a:pt x="51" y="73"/>
                  </a:lnTo>
                  <a:lnTo>
                    <a:pt x="49" y="74"/>
                  </a:lnTo>
                  <a:lnTo>
                    <a:pt x="44" y="74"/>
                  </a:lnTo>
                  <a:lnTo>
                    <a:pt x="40" y="74"/>
                  </a:lnTo>
                  <a:lnTo>
                    <a:pt x="39" y="76"/>
                  </a:lnTo>
                  <a:lnTo>
                    <a:pt x="39" y="78"/>
                  </a:lnTo>
                  <a:lnTo>
                    <a:pt x="39" y="78"/>
                  </a:lnTo>
                  <a:lnTo>
                    <a:pt x="37" y="83"/>
                  </a:lnTo>
                  <a:lnTo>
                    <a:pt x="33" y="83"/>
                  </a:lnTo>
                  <a:lnTo>
                    <a:pt x="30" y="83"/>
                  </a:lnTo>
                  <a:lnTo>
                    <a:pt x="26" y="80"/>
                  </a:lnTo>
                  <a:lnTo>
                    <a:pt x="26" y="80"/>
                  </a:lnTo>
                  <a:lnTo>
                    <a:pt x="25" y="78"/>
                  </a:lnTo>
                  <a:lnTo>
                    <a:pt x="23" y="80"/>
                  </a:lnTo>
                  <a:lnTo>
                    <a:pt x="18" y="78"/>
                  </a:lnTo>
                  <a:lnTo>
                    <a:pt x="9" y="74"/>
                  </a:lnTo>
                  <a:lnTo>
                    <a:pt x="9" y="74"/>
                  </a:lnTo>
                  <a:lnTo>
                    <a:pt x="4" y="69"/>
                  </a:lnTo>
                  <a:lnTo>
                    <a:pt x="2" y="64"/>
                  </a:lnTo>
                  <a:lnTo>
                    <a:pt x="0" y="57"/>
                  </a:lnTo>
                  <a:lnTo>
                    <a:pt x="0" y="48"/>
                  </a:lnTo>
                  <a:lnTo>
                    <a:pt x="0" y="48"/>
                  </a:lnTo>
                  <a:lnTo>
                    <a:pt x="0" y="38"/>
                  </a:lnTo>
                  <a:lnTo>
                    <a:pt x="2" y="33"/>
                  </a:lnTo>
                  <a:lnTo>
                    <a:pt x="7" y="29"/>
                  </a:lnTo>
                  <a:lnTo>
                    <a:pt x="11" y="26"/>
                  </a:lnTo>
                  <a:lnTo>
                    <a:pt x="11" y="26"/>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0" name="Freeform 2089">
              <a:extLst>
                <a:ext uri="{FF2B5EF4-FFF2-40B4-BE49-F238E27FC236}">
                  <a16:creationId xmlns:a16="http://schemas.microsoft.com/office/drawing/2014/main" id="{7F8D1DDF-0E03-47CA-B458-D484525FACA2}"/>
                </a:ext>
              </a:extLst>
            </p:cNvPr>
            <p:cNvSpPr>
              <a:spLocks/>
            </p:cNvSpPr>
            <p:nvPr/>
          </p:nvSpPr>
          <p:spPr bwMode="auto">
            <a:xfrm>
              <a:off x="7921286" y="3755881"/>
              <a:ext cx="12335" cy="21144"/>
            </a:xfrm>
            <a:custGeom>
              <a:avLst/>
              <a:gdLst>
                <a:gd name="T0" fmla="*/ 0 w 15"/>
                <a:gd name="T1" fmla="*/ 8060 h 26"/>
                <a:gd name="T2" fmla="*/ 0 w 15"/>
                <a:gd name="T3" fmla="*/ 8060 h 26"/>
                <a:gd name="T4" fmla="*/ 2223 w 15"/>
                <a:gd name="T5" fmla="*/ 6594 h 26"/>
                <a:gd name="T6" fmla="*/ 3704 w 15"/>
                <a:gd name="T7" fmla="*/ 3663 h 26"/>
                <a:gd name="T8" fmla="*/ 5186 w 15"/>
                <a:gd name="T9" fmla="*/ 2931 h 26"/>
                <a:gd name="T10" fmla="*/ 5186 w 15"/>
                <a:gd name="T11" fmla="*/ 2931 h 26"/>
                <a:gd name="T12" fmla="*/ 5186 w 15"/>
                <a:gd name="T13" fmla="*/ 0 h 26"/>
                <a:gd name="T14" fmla="*/ 5927 w 15"/>
                <a:gd name="T15" fmla="*/ 0 h 26"/>
                <a:gd name="T16" fmla="*/ 7409 w 15"/>
                <a:gd name="T17" fmla="*/ 0 h 26"/>
                <a:gd name="T18" fmla="*/ 7409 w 15"/>
                <a:gd name="T19" fmla="*/ 0 h 26"/>
                <a:gd name="T20" fmla="*/ 7409 w 15"/>
                <a:gd name="T21" fmla="*/ 1465 h 26"/>
                <a:gd name="T22" fmla="*/ 7409 w 15"/>
                <a:gd name="T23" fmla="*/ 1465 h 26"/>
                <a:gd name="T24" fmla="*/ 7409 w 15"/>
                <a:gd name="T25" fmla="*/ 2931 h 26"/>
                <a:gd name="T26" fmla="*/ 7409 w 15"/>
                <a:gd name="T27" fmla="*/ 2931 h 26"/>
                <a:gd name="T28" fmla="*/ 7409 w 15"/>
                <a:gd name="T29" fmla="*/ 2931 h 26"/>
                <a:gd name="T30" fmla="*/ 10372 w 15"/>
                <a:gd name="T31" fmla="*/ 1465 h 26"/>
                <a:gd name="T32" fmla="*/ 11113 w 15"/>
                <a:gd name="T33" fmla="*/ 2931 h 26"/>
                <a:gd name="T34" fmla="*/ 11113 w 15"/>
                <a:gd name="T35" fmla="*/ 3663 h 26"/>
                <a:gd name="T36" fmla="*/ 11113 w 15"/>
                <a:gd name="T37" fmla="*/ 3663 h 26"/>
                <a:gd name="T38" fmla="*/ 11113 w 15"/>
                <a:gd name="T39" fmla="*/ 6594 h 26"/>
                <a:gd name="T40" fmla="*/ 10372 w 15"/>
                <a:gd name="T41" fmla="*/ 8792 h 26"/>
                <a:gd name="T42" fmla="*/ 10372 w 15"/>
                <a:gd name="T43" fmla="*/ 8792 h 26"/>
                <a:gd name="T44" fmla="*/ 11113 w 15"/>
                <a:gd name="T45" fmla="*/ 12456 h 26"/>
                <a:gd name="T46" fmla="*/ 11113 w 15"/>
                <a:gd name="T47" fmla="*/ 16852 h 26"/>
                <a:gd name="T48" fmla="*/ 11113 w 15"/>
                <a:gd name="T49" fmla="*/ 16852 h 26"/>
                <a:gd name="T50" fmla="*/ 10372 w 15"/>
                <a:gd name="T51" fmla="*/ 17585 h 26"/>
                <a:gd name="T52" fmla="*/ 7409 w 15"/>
                <a:gd name="T53" fmla="*/ 19050 h 26"/>
                <a:gd name="T54" fmla="*/ 5186 w 15"/>
                <a:gd name="T55" fmla="*/ 19050 h 26"/>
                <a:gd name="T56" fmla="*/ 3704 w 15"/>
                <a:gd name="T57" fmla="*/ 17585 h 26"/>
                <a:gd name="T58" fmla="*/ 3704 w 15"/>
                <a:gd name="T59" fmla="*/ 17585 h 26"/>
                <a:gd name="T60" fmla="*/ 741 w 15"/>
                <a:gd name="T61" fmla="*/ 16852 h 26"/>
                <a:gd name="T62" fmla="*/ 0 w 15"/>
                <a:gd name="T63" fmla="*/ 16852 h 26"/>
                <a:gd name="T64" fmla="*/ 0 w 15"/>
                <a:gd name="T65" fmla="*/ 16852 h 26"/>
                <a:gd name="T66" fmla="*/ 0 w 15"/>
                <a:gd name="T67" fmla="*/ 16852 h 26"/>
                <a:gd name="T68" fmla="*/ 0 w 15"/>
                <a:gd name="T69" fmla="*/ 16852 h 26"/>
                <a:gd name="T70" fmla="*/ 0 w 15"/>
                <a:gd name="T71" fmla="*/ 11723 h 26"/>
                <a:gd name="T72" fmla="*/ 0 w 15"/>
                <a:gd name="T73" fmla="*/ 8060 h 26"/>
                <a:gd name="T74" fmla="*/ 0 w 15"/>
                <a:gd name="T75" fmla="*/ 8060 h 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
                <a:gd name="T115" fmla="*/ 0 h 26"/>
                <a:gd name="T116" fmla="*/ 15 w 15"/>
                <a:gd name="T117" fmla="*/ 26 h 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 h="26">
                  <a:moveTo>
                    <a:pt x="0" y="11"/>
                  </a:moveTo>
                  <a:lnTo>
                    <a:pt x="0" y="11"/>
                  </a:lnTo>
                  <a:lnTo>
                    <a:pt x="3" y="9"/>
                  </a:lnTo>
                  <a:lnTo>
                    <a:pt x="5" y="5"/>
                  </a:lnTo>
                  <a:lnTo>
                    <a:pt x="7" y="4"/>
                  </a:lnTo>
                  <a:lnTo>
                    <a:pt x="7" y="0"/>
                  </a:lnTo>
                  <a:lnTo>
                    <a:pt x="8" y="0"/>
                  </a:lnTo>
                  <a:lnTo>
                    <a:pt x="10" y="0"/>
                  </a:lnTo>
                  <a:lnTo>
                    <a:pt x="10" y="2"/>
                  </a:lnTo>
                  <a:lnTo>
                    <a:pt x="10" y="4"/>
                  </a:lnTo>
                  <a:lnTo>
                    <a:pt x="14" y="2"/>
                  </a:lnTo>
                  <a:lnTo>
                    <a:pt x="15" y="4"/>
                  </a:lnTo>
                  <a:lnTo>
                    <a:pt x="15" y="5"/>
                  </a:lnTo>
                  <a:lnTo>
                    <a:pt x="15" y="9"/>
                  </a:lnTo>
                  <a:lnTo>
                    <a:pt x="14" y="12"/>
                  </a:lnTo>
                  <a:lnTo>
                    <a:pt x="15" y="17"/>
                  </a:lnTo>
                  <a:lnTo>
                    <a:pt x="15" y="23"/>
                  </a:lnTo>
                  <a:lnTo>
                    <a:pt x="14" y="24"/>
                  </a:lnTo>
                  <a:lnTo>
                    <a:pt x="10" y="26"/>
                  </a:lnTo>
                  <a:lnTo>
                    <a:pt x="7" y="26"/>
                  </a:lnTo>
                  <a:lnTo>
                    <a:pt x="5" y="24"/>
                  </a:lnTo>
                  <a:lnTo>
                    <a:pt x="1" y="23"/>
                  </a:lnTo>
                  <a:lnTo>
                    <a:pt x="0" y="23"/>
                  </a:lnTo>
                  <a:lnTo>
                    <a:pt x="0" y="16"/>
                  </a:lnTo>
                  <a:lnTo>
                    <a:pt x="0" y="1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1" name="Freeform 2090">
              <a:extLst>
                <a:ext uri="{FF2B5EF4-FFF2-40B4-BE49-F238E27FC236}">
                  <a16:creationId xmlns:a16="http://schemas.microsoft.com/office/drawing/2014/main" id="{C1BBD7D4-ECB3-4CE6-B7D9-C646B57DD401}"/>
                </a:ext>
              </a:extLst>
            </p:cNvPr>
            <p:cNvSpPr>
              <a:spLocks/>
            </p:cNvSpPr>
            <p:nvPr/>
          </p:nvSpPr>
          <p:spPr bwMode="auto">
            <a:xfrm>
              <a:off x="2819777" y="4343436"/>
              <a:ext cx="5287"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2" name="Freeform 2091">
              <a:extLst>
                <a:ext uri="{FF2B5EF4-FFF2-40B4-BE49-F238E27FC236}">
                  <a16:creationId xmlns:a16="http://schemas.microsoft.com/office/drawing/2014/main" id="{F5F9EB69-0298-445F-84BD-A6E09E804171}"/>
                </a:ext>
              </a:extLst>
            </p:cNvPr>
            <p:cNvSpPr>
              <a:spLocks/>
            </p:cNvSpPr>
            <p:nvPr/>
          </p:nvSpPr>
          <p:spPr bwMode="auto">
            <a:xfrm>
              <a:off x="3468714" y="6353078"/>
              <a:ext cx="49335" cy="38764"/>
            </a:xfrm>
            <a:custGeom>
              <a:avLst/>
              <a:gdLst/>
              <a:ahLst/>
              <a:cxnLst>
                <a:cxn ang="0">
                  <a:pos x="12" y="47"/>
                </a:cxn>
                <a:cxn ang="0">
                  <a:pos x="1" y="40"/>
                </a:cxn>
                <a:cxn ang="0">
                  <a:pos x="0" y="38"/>
                </a:cxn>
                <a:cxn ang="0">
                  <a:pos x="5" y="36"/>
                </a:cxn>
                <a:cxn ang="0">
                  <a:pos x="7" y="34"/>
                </a:cxn>
                <a:cxn ang="0">
                  <a:pos x="7" y="33"/>
                </a:cxn>
                <a:cxn ang="0">
                  <a:pos x="10" y="34"/>
                </a:cxn>
                <a:cxn ang="0">
                  <a:pos x="15" y="33"/>
                </a:cxn>
                <a:cxn ang="0">
                  <a:pos x="17" y="31"/>
                </a:cxn>
                <a:cxn ang="0">
                  <a:pos x="21" y="26"/>
                </a:cxn>
                <a:cxn ang="0">
                  <a:pos x="26" y="22"/>
                </a:cxn>
                <a:cxn ang="0">
                  <a:pos x="26" y="20"/>
                </a:cxn>
                <a:cxn ang="0">
                  <a:pos x="19" y="22"/>
                </a:cxn>
                <a:cxn ang="0">
                  <a:pos x="12" y="20"/>
                </a:cxn>
                <a:cxn ang="0">
                  <a:pos x="17" y="17"/>
                </a:cxn>
                <a:cxn ang="0">
                  <a:pos x="21" y="17"/>
                </a:cxn>
                <a:cxn ang="0">
                  <a:pos x="22" y="13"/>
                </a:cxn>
                <a:cxn ang="0">
                  <a:pos x="19" y="10"/>
                </a:cxn>
                <a:cxn ang="0">
                  <a:pos x="12" y="1"/>
                </a:cxn>
                <a:cxn ang="0">
                  <a:pos x="19" y="3"/>
                </a:cxn>
                <a:cxn ang="0">
                  <a:pos x="28" y="8"/>
                </a:cxn>
                <a:cxn ang="0">
                  <a:pos x="33" y="5"/>
                </a:cxn>
                <a:cxn ang="0">
                  <a:pos x="36" y="3"/>
                </a:cxn>
                <a:cxn ang="0">
                  <a:pos x="40" y="5"/>
                </a:cxn>
                <a:cxn ang="0">
                  <a:pos x="47" y="6"/>
                </a:cxn>
                <a:cxn ang="0">
                  <a:pos x="50" y="3"/>
                </a:cxn>
                <a:cxn ang="0">
                  <a:pos x="52" y="0"/>
                </a:cxn>
                <a:cxn ang="0">
                  <a:pos x="57" y="1"/>
                </a:cxn>
                <a:cxn ang="0">
                  <a:pos x="61" y="3"/>
                </a:cxn>
                <a:cxn ang="0">
                  <a:pos x="57" y="10"/>
                </a:cxn>
                <a:cxn ang="0">
                  <a:pos x="52" y="15"/>
                </a:cxn>
                <a:cxn ang="0">
                  <a:pos x="45" y="24"/>
                </a:cxn>
                <a:cxn ang="0">
                  <a:pos x="40" y="31"/>
                </a:cxn>
                <a:cxn ang="0">
                  <a:pos x="33" y="34"/>
                </a:cxn>
                <a:cxn ang="0">
                  <a:pos x="28" y="34"/>
                </a:cxn>
                <a:cxn ang="0">
                  <a:pos x="24" y="38"/>
                </a:cxn>
                <a:cxn ang="0">
                  <a:pos x="22" y="41"/>
                </a:cxn>
                <a:cxn ang="0">
                  <a:pos x="21" y="43"/>
                </a:cxn>
                <a:cxn ang="0">
                  <a:pos x="17" y="43"/>
                </a:cxn>
                <a:cxn ang="0">
                  <a:pos x="15" y="45"/>
                </a:cxn>
                <a:cxn ang="0">
                  <a:pos x="12" y="47"/>
                </a:cxn>
              </a:cxnLst>
              <a:rect l="0" t="0" r="r" b="b"/>
              <a:pathLst>
                <a:path w="61" h="48">
                  <a:moveTo>
                    <a:pt x="12" y="47"/>
                  </a:moveTo>
                  <a:lnTo>
                    <a:pt x="12" y="47"/>
                  </a:lnTo>
                  <a:lnTo>
                    <a:pt x="7" y="43"/>
                  </a:lnTo>
                  <a:lnTo>
                    <a:pt x="1" y="40"/>
                  </a:lnTo>
                  <a:lnTo>
                    <a:pt x="1" y="40"/>
                  </a:lnTo>
                  <a:lnTo>
                    <a:pt x="0" y="38"/>
                  </a:lnTo>
                  <a:lnTo>
                    <a:pt x="1" y="36"/>
                  </a:lnTo>
                  <a:lnTo>
                    <a:pt x="5" y="36"/>
                  </a:lnTo>
                  <a:lnTo>
                    <a:pt x="5" y="36"/>
                  </a:lnTo>
                  <a:lnTo>
                    <a:pt x="7" y="34"/>
                  </a:lnTo>
                  <a:lnTo>
                    <a:pt x="7" y="34"/>
                  </a:lnTo>
                  <a:lnTo>
                    <a:pt x="7" y="33"/>
                  </a:lnTo>
                  <a:lnTo>
                    <a:pt x="7" y="33"/>
                  </a:lnTo>
                  <a:lnTo>
                    <a:pt x="10" y="34"/>
                  </a:lnTo>
                  <a:lnTo>
                    <a:pt x="14" y="34"/>
                  </a:lnTo>
                  <a:lnTo>
                    <a:pt x="15" y="33"/>
                  </a:lnTo>
                  <a:lnTo>
                    <a:pt x="17" y="31"/>
                  </a:lnTo>
                  <a:lnTo>
                    <a:pt x="17" y="31"/>
                  </a:lnTo>
                  <a:lnTo>
                    <a:pt x="19" y="27"/>
                  </a:lnTo>
                  <a:lnTo>
                    <a:pt x="21" y="26"/>
                  </a:lnTo>
                  <a:lnTo>
                    <a:pt x="26" y="22"/>
                  </a:lnTo>
                  <a:lnTo>
                    <a:pt x="26" y="22"/>
                  </a:lnTo>
                  <a:lnTo>
                    <a:pt x="28" y="22"/>
                  </a:lnTo>
                  <a:lnTo>
                    <a:pt x="26" y="20"/>
                  </a:lnTo>
                  <a:lnTo>
                    <a:pt x="19" y="22"/>
                  </a:lnTo>
                  <a:lnTo>
                    <a:pt x="19" y="22"/>
                  </a:lnTo>
                  <a:lnTo>
                    <a:pt x="14" y="22"/>
                  </a:lnTo>
                  <a:lnTo>
                    <a:pt x="12" y="20"/>
                  </a:lnTo>
                  <a:lnTo>
                    <a:pt x="12" y="19"/>
                  </a:lnTo>
                  <a:lnTo>
                    <a:pt x="17" y="17"/>
                  </a:lnTo>
                  <a:lnTo>
                    <a:pt x="17" y="17"/>
                  </a:lnTo>
                  <a:lnTo>
                    <a:pt x="21" y="17"/>
                  </a:lnTo>
                  <a:lnTo>
                    <a:pt x="22" y="15"/>
                  </a:lnTo>
                  <a:lnTo>
                    <a:pt x="22" y="13"/>
                  </a:lnTo>
                  <a:lnTo>
                    <a:pt x="19" y="10"/>
                  </a:lnTo>
                  <a:lnTo>
                    <a:pt x="19" y="10"/>
                  </a:lnTo>
                  <a:lnTo>
                    <a:pt x="12" y="3"/>
                  </a:lnTo>
                  <a:lnTo>
                    <a:pt x="12" y="1"/>
                  </a:lnTo>
                  <a:lnTo>
                    <a:pt x="12" y="1"/>
                  </a:lnTo>
                  <a:lnTo>
                    <a:pt x="19" y="3"/>
                  </a:lnTo>
                  <a:lnTo>
                    <a:pt x="19" y="3"/>
                  </a:lnTo>
                  <a:lnTo>
                    <a:pt x="28" y="8"/>
                  </a:lnTo>
                  <a:lnTo>
                    <a:pt x="33" y="6"/>
                  </a:lnTo>
                  <a:lnTo>
                    <a:pt x="33" y="5"/>
                  </a:lnTo>
                  <a:lnTo>
                    <a:pt x="36" y="3"/>
                  </a:lnTo>
                  <a:lnTo>
                    <a:pt x="36" y="3"/>
                  </a:lnTo>
                  <a:lnTo>
                    <a:pt x="38" y="3"/>
                  </a:lnTo>
                  <a:lnTo>
                    <a:pt x="40" y="5"/>
                  </a:lnTo>
                  <a:lnTo>
                    <a:pt x="43" y="6"/>
                  </a:lnTo>
                  <a:lnTo>
                    <a:pt x="47" y="6"/>
                  </a:lnTo>
                  <a:lnTo>
                    <a:pt x="47" y="6"/>
                  </a:lnTo>
                  <a:lnTo>
                    <a:pt x="50" y="3"/>
                  </a:lnTo>
                  <a:lnTo>
                    <a:pt x="52" y="1"/>
                  </a:lnTo>
                  <a:lnTo>
                    <a:pt x="52" y="0"/>
                  </a:lnTo>
                  <a:lnTo>
                    <a:pt x="57" y="1"/>
                  </a:lnTo>
                  <a:lnTo>
                    <a:pt x="57" y="1"/>
                  </a:lnTo>
                  <a:lnTo>
                    <a:pt x="61" y="3"/>
                  </a:lnTo>
                  <a:lnTo>
                    <a:pt x="61" y="3"/>
                  </a:lnTo>
                  <a:lnTo>
                    <a:pt x="57" y="10"/>
                  </a:lnTo>
                  <a:lnTo>
                    <a:pt x="57" y="10"/>
                  </a:lnTo>
                  <a:lnTo>
                    <a:pt x="54" y="13"/>
                  </a:lnTo>
                  <a:lnTo>
                    <a:pt x="52" y="15"/>
                  </a:lnTo>
                  <a:lnTo>
                    <a:pt x="50" y="17"/>
                  </a:lnTo>
                  <a:lnTo>
                    <a:pt x="45" y="24"/>
                  </a:lnTo>
                  <a:lnTo>
                    <a:pt x="45" y="24"/>
                  </a:lnTo>
                  <a:lnTo>
                    <a:pt x="40" y="31"/>
                  </a:lnTo>
                  <a:lnTo>
                    <a:pt x="36" y="33"/>
                  </a:lnTo>
                  <a:lnTo>
                    <a:pt x="33" y="34"/>
                  </a:lnTo>
                  <a:lnTo>
                    <a:pt x="28" y="34"/>
                  </a:lnTo>
                  <a:lnTo>
                    <a:pt x="28" y="34"/>
                  </a:lnTo>
                  <a:lnTo>
                    <a:pt x="26" y="36"/>
                  </a:lnTo>
                  <a:lnTo>
                    <a:pt x="24" y="38"/>
                  </a:lnTo>
                  <a:lnTo>
                    <a:pt x="24" y="40"/>
                  </a:lnTo>
                  <a:lnTo>
                    <a:pt x="22" y="41"/>
                  </a:lnTo>
                  <a:lnTo>
                    <a:pt x="22" y="41"/>
                  </a:lnTo>
                  <a:lnTo>
                    <a:pt x="21" y="43"/>
                  </a:lnTo>
                  <a:lnTo>
                    <a:pt x="19" y="43"/>
                  </a:lnTo>
                  <a:lnTo>
                    <a:pt x="17" y="43"/>
                  </a:lnTo>
                  <a:lnTo>
                    <a:pt x="15" y="45"/>
                  </a:lnTo>
                  <a:lnTo>
                    <a:pt x="15" y="45"/>
                  </a:lnTo>
                  <a:lnTo>
                    <a:pt x="15" y="48"/>
                  </a:lnTo>
                  <a:lnTo>
                    <a:pt x="12" y="47"/>
                  </a:lnTo>
                  <a:lnTo>
                    <a:pt x="12" y="47"/>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3" name="Freeform 2092">
              <a:extLst>
                <a:ext uri="{FF2B5EF4-FFF2-40B4-BE49-F238E27FC236}">
                  <a16:creationId xmlns:a16="http://schemas.microsoft.com/office/drawing/2014/main" id="{5A158B71-24C3-4650-A343-045C471CA0C3}"/>
                </a:ext>
              </a:extLst>
            </p:cNvPr>
            <p:cNvSpPr>
              <a:spLocks/>
            </p:cNvSpPr>
            <p:nvPr/>
          </p:nvSpPr>
          <p:spPr bwMode="auto">
            <a:xfrm>
              <a:off x="8148585" y="4002563"/>
              <a:ext cx="7048" cy="15858"/>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4" name="Freeform 2093">
              <a:extLst>
                <a:ext uri="{FF2B5EF4-FFF2-40B4-BE49-F238E27FC236}">
                  <a16:creationId xmlns:a16="http://schemas.microsoft.com/office/drawing/2014/main" id="{E8DB8355-BE9B-4B37-B710-57CDF36D4F62}"/>
                </a:ext>
              </a:extLst>
            </p:cNvPr>
            <p:cNvSpPr>
              <a:spLocks/>
            </p:cNvSpPr>
            <p:nvPr/>
          </p:nvSpPr>
          <p:spPr bwMode="auto">
            <a:xfrm>
              <a:off x="8148585" y="4002563"/>
              <a:ext cx="7048" cy="15858"/>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5" name="Freeform 2094">
              <a:extLst>
                <a:ext uri="{FF2B5EF4-FFF2-40B4-BE49-F238E27FC236}">
                  <a16:creationId xmlns:a16="http://schemas.microsoft.com/office/drawing/2014/main" id="{07B4AA49-4815-42BE-9FCF-B2146D4AC79E}"/>
                </a:ext>
              </a:extLst>
            </p:cNvPr>
            <p:cNvSpPr>
              <a:spLocks/>
            </p:cNvSpPr>
            <p:nvPr/>
          </p:nvSpPr>
          <p:spPr bwMode="auto">
            <a:xfrm>
              <a:off x="8148585" y="4002563"/>
              <a:ext cx="7048" cy="15858"/>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6" name="Freeform 2095">
              <a:extLst>
                <a:ext uri="{FF2B5EF4-FFF2-40B4-BE49-F238E27FC236}">
                  <a16:creationId xmlns:a16="http://schemas.microsoft.com/office/drawing/2014/main" id="{E923114A-D983-4626-A419-2C8E7EAA1ED1}"/>
                </a:ext>
              </a:extLst>
            </p:cNvPr>
            <p:cNvSpPr>
              <a:spLocks/>
            </p:cNvSpPr>
            <p:nvPr/>
          </p:nvSpPr>
          <p:spPr bwMode="auto">
            <a:xfrm>
              <a:off x="8213779" y="4036042"/>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7" name="Freeform 2096">
              <a:extLst>
                <a:ext uri="{FF2B5EF4-FFF2-40B4-BE49-F238E27FC236}">
                  <a16:creationId xmlns:a16="http://schemas.microsoft.com/office/drawing/2014/main" id="{DC9CF787-E351-4E61-AEF2-77208E9A7926}"/>
                </a:ext>
              </a:extLst>
            </p:cNvPr>
            <p:cNvSpPr>
              <a:spLocks/>
            </p:cNvSpPr>
            <p:nvPr/>
          </p:nvSpPr>
          <p:spPr bwMode="auto">
            <a:xfrm>
              <a:off x="8213779" y="4036042"/>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8" name="Freeform 2097">
              <a:extLst>
                <a:ext uri="{FF2B5EF4-FFF2-40B4-BE49-F238E27FC236}">
                  <a16:creationId xmlns:a16="http://schemas.microsoft.com/office/drawing/2014/main" id="{97B571E7-7883-4FE0-94F5-896413969C1F}"/>
                </a:ext>
              </a:extLst>
            </p:cNvPr>
            <p:cNvSpPr>
              <a:spLocks/>
            </p:cNvSpPr>
            <p:nvPr/>
          </p:nvSpPr>
          <p:spPr bwMode="auto">
            <a:xfrm>
              <a:off x="8213779" y="4036042"/>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lnTo>
                    <a:pt x="1"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9" name="Freeform 2098">
              <a:extLst>
                <a:ext uri="{FF2B5EF4-FFF2-40B4-BE49-F238E27FC236}">
                  <a16:creationId xmlns:a16="http://schemas.microsoft.com/office/drawing/2014/main" id="{745BACEE-C62D-40AD-A4A1-889BBE8F3B90}"/>
                </a:ext>
              </a:extLst>
            </p:cNvPr>
            <p:cNvSpPr>
              <a:spLocks/>
            </p:cNvSpPr>
            <p:nvPr/>
          </p:nvSpPr>
          <p:spPr bwMode="auto">
            <a:xfrm>
              <a:off x="8219064" y="4125902"/>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0" name="Freeform 2099">
              <a:extLst>
                <a:ext uri="{FF2B5EF4-FFF2-40B4-BE49-F238E27FC236}">
                  <a16:creationId xmlns:a16="http://schemas.microsoft.com/office/drawing/2014/main" id="{31809433-A3AC-42CE-A793-99458A28B7A5}"/>
                </a:ext>
              </a:extLst>
            </p:cNvPr>
            <p:cNvSpPr>
              <a:spLocks/>
            </p:cNvSpPr>
            <p:nvPr/>
          </p:nvSpPr>
          <p:spPr bwMode="auto">
            <a:xfrm>
              <a:off x="8219064" y="4125902"/>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1" name="Freeform 2100">
              <a:extLst>
                <a:ext uri="{FF2B5EF4-FFF2-40B4-BE49-F238E27FC236}">
                  <a16:creationId xmlns:a16="http://schemas.microsoft.com/office/drawing/2014/main" id="{CF97C0AA-66CF-4431-9FEF-F1058CDB198F}"/>
                </a:ext>
              </a:extLst>
            </p:cNvPr>
            <p:cNvSpPr>
              <a:spLocks/>
            </p:cNvSpPr>
            <p:nvPr/>
          </p:nvSpPr>
          <p:spPr bwMode="auto">
            <a:xfrm>
              <a:off x="8219064" y="4125902"/>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 ang="0">
                  <a:pos x="0" y="0"/>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2" name="Freeform 2101">
              <a:extLst>
                <a:ext uri="{FF2B5EF4-FFF2-40B4-BE49-F238E27FC236}">
                  <a16:creationId xmlns:a16="http://schemas.microsoft.com/office/drawing/2014/main" id="{234556A6-7C56-497A-9B84-4B40F65C5F8A}"/>
                </a:ext>
              </a:extLst>
            </p:cNvPr>
            <p:cNvSpPr>
              <a:spLocks/>
            </p:cNvSpPr>
            <p:nvPr/>
          </p:nvSpPr>
          <p:spPr bwMode="auto">
            <a:xfrm>
              <a:off x="8169730" y="4152331"/>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3" name="Freeform 2102">
              <a:extLst>
                <a:ext uri="{FF2B5EF4-FFF2-40B4-BE49-F238E27FC236}">
                  <a16:creationId xmlns:a16="http://schemas.microsoft.com/office/drawing/2014/main" id="{86BF6366-1254-48EA-AE01-5EA7CA73DEE2}"/>
                </a:ext>
              </a:extLst>
            </p:cNvPr>
            <p:cNvSpPr>
              <a:spLocks/>
            </p:cNvSpPr>
            <p:nvPr/>
          </p:nvSpPr>
          <p:spPr bwMode="auto">
            <a:xfrm>
              <a:off x="8169730" y="4152331"/>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4" name="Freeform 2103">
              <a:extLst>
                <a:ext uri="{FF2B5EF4-FFF2-40B4-BE49-F238E27FC236}">
                  <a16:creationId xmlns:a16="http://schemas.microsoft.com/office/drawing/2014/main" id="{FE92550D-9F05-46E8-9CDA-93FA5B7113E4}"/>
                </a:ext>
              </a:extLst>
            </p:cNvPr>
            <p:cNvSpPr>
              <a:spLocks/>
            </p:cNvSpPr>
            <p:nvPr/>
          </p:nvSpPr>
          <p:spPr bwMode="auto">
            <a:xfrm>
              <a:off x="8169730" y="4152331"/>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lnTo>
                    <a:pt x="1" y="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5" name="Freeform 2104">
              <a:extLst>
                <a:ext uri="{FF2B5EF4-FFF2-40B4-BE49-F238E27FC236}">
                  <a16:creationId xmlns:a16="http://schemas.microsoft.com/office/drawing/2014/main" id="{4B4FE1CD-88F9-43D6-A5A2-E7C078E08819}"/>
                </a:ext>
              </a:extLst>
            </p:cNvPr>
            <p:cNvSpPr>
              <a:spLocks/>
            </p:cNvSpPr>
            <p:nvPr/>
          </p:nvSpPr>
          <p:spPr bwMode="auto">
            <a:xfrm>
              <a:off x="8222589" y="4118855"/>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6" name="Freeform 2105">
              <a:extLst>
                <a:ext uri="{FF2B5EF4-FFF2-40B4-BE49-F238E27FC236}">
                  <a16:creationId xmlns:a16="http://schemas.microsoft.com/office/drawing/2014/main" id="{3C81F51B-2908-417A-AD83-D817F3758108}"/>
                </a:ext>
              </a:extLst>
            </p:cNvPr>
            <p:cNvSpPr>
              <a:spLocks/>
            </p:cNvSpPr>
            <p:nvPr/>
          </p:nvSpPr>
          <p:spPr bwMode="auto">
            <a:xfrm>
              <a:off x="8222589" y="4118855"/>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7" name="Freeform 2106">
              <a:extLst>
                <a:ext uri="{FF2B5EF4-FFF2-40B4-BE49-F238E27FC236}">
                  <a16:creationId xmlns:a16="http://schemas.microsoft.com/office/drawing/2014/main" id="{8D2C7036-E168-413B-9FDE-DC86FB7360DC}"/>
                </a:ext>
              </a:extLst>
            </p:cNvPr>
            <p:cNvSpPr>
              <a:spLocks/>
            </p:cNvSpPr>
            <p:nvPr/>
          </p:nvSpPr>
          <p:spPr bwMode="auto">
            <a:xfrm>
              <a:off x="8222589" y="4118855"/>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8" name="Freeform 2107">
              <a:extLst>
                <a:ext uri="{FF2B5EF4-FFF2-40B4-BE49-F238E27FC236}">
                  <a16:creationId xmlns:a16="http://schemas.microsoft.com/office/drawing/2014/main" id="{6D6B1491-50D7-465C-BEE7-D07AA7AFAE8C}"/>
                </a:ext>
              </a:extLst>
            </p:cNvPr>
            <p:cNvSpPr>
              <a:spLocks/>
            </p:cNvSpPr>
            <p:nvPr/>
          </p:nvSpPr>
          <p:spPr bwMode="auto">
            <a:xfrm>
              <a:off x="8257830" y="4150572"/>
              <a:ext cx="5285" cy="3523"/>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9" name="Freeform 2108">
              <a:extLst>
                <a:ext uri="{FF2B5EF4-FFF2-40B4-BE49-F238E27FC236}">
                  <a16:creationId xmlns:a16="http://schemas.microsoft.com/office/drawing/2014/main" id="{3119E485-9A69-4038-BB99-D268E9326405}"/>
                </a:ext>
              </a:extLst>
            </p:cNvPr>
            <p:cNvSpPr>
              <a:spLocks/>
            </p:cNvSpPr>
            <p:nvPr/>
          </p:nvSpPr>
          <p:spPr bwMode="auto">
            <a:xfrm>
              <a:off x="8257830" y="4150572"/>
              <a:ext cx="5285" cy="3523"/>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0" name="Freeform 2109">
              <a:extLst>
                <a:ext uri="{FF2B5EF4-FFF2-40B4-BE49-F238E27FC236}">
                  <a16:creationId xmlns:a16="http://schemas.microsoft.com/office/drawing/2014/main" id="{53CF0398-0B11-4F8A-9CAE-B74D96BF6ECC}"/>
                </a:ext>
              </a:extLst>
            </p:cNvPr>
            <p:cNvSpPr>
              <a:spLocks/>
            </p:cNvSpPr>
            <p:nvPr/>
          </p:nvSpPr>
          <p:spPr bwMode="auto">
            <a:xfrm>
              <a:off x="8257830" y="4150572"/>
              <a:ext cx="5285" cy="3523"/>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1" name="Freeform 2110">
              <a:extLst>
                <a:ext uri="{FF2B5EF4-FFF2-40B4-BE49-F238E27FC236}">
                  <a16:creationId xmlns:a16="http://schemas.microsoft.com/office/drawing/2014/main" id="{A014853A-F347-4231-AADC-4975EBE9737C}"/>
                </a:ext>
              </a:extLst>
            </p:cNvPr>
            <p:cNvSpPr>
              <a:spLocks/>
            </p:cNvSpPr>
            <p:nvPr/>
          </p:nvSpPr>
          <p:spPr bwMode="auto">
            <a:xfrm>
              <a:off x="8201445" y="4132953"/>
              <a:ext cx="3524" cy="5284"/>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2" name="Freeform 2111">
              <a:extLst>
                <a:ext uri="{FF2B5EF4-FFF2-40B4-BE49-F238E27FC236}">
                  <a16:creationId xmlns:a16="http://schemas.microsoft.com/office/drawing/2014/main" id="{ACE7D96A-4AD2-46C9-824E-D4FDF4B3F3B9}"/>
                </a:ext>
              </a:extLst>
            </p:cNvPr>
            <p:cNvSpPr>
              <a:spLocks/>
            </p:cNvSpPr>
            <p:nvPr/>
          </p:nvSpPr>
          <p:spPr bwMode="auto">
            <a:xfrm>
              <a:off x="8201445" y="4132953"/>
              <a:ext cx="3524" cy="5284"/>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3" name="Freeform 2112">
              <a:extLst>
                <a:ext uri="{FF2B5EF4-FFF2-40B4-BE49-F238E27FC236}">
                  <a16:creationId xmlns:a16="http://schemas.microsoft.com/office/drawing/2014/main" id="{0E6C8BC6-A1EA-4E59-8009-953218E967E1}"/>
                </a:ext>
              </a:extLst>
            </p:cNvPr>
            <p:cNvSpPr>
              <a:spLocks/>
            </p:cNvSpPr>
            <p:nvPr/>
          </p:nvSpPr>
          <p:spPr bwMode="auto">
            <a:xfrm>
              <a:off x="8201445" y="4132953"/>
              <a:ext cx="3524" cy="5284"/>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4" name="Freeform 2113">
              <a:extLst>
                <a:ext uri="{FF2B5EF4-FFF2-40B4-BE49-F238E27FC236}">
                  <a16:creationId xmlns:a16="http://schemas.microsoft.com/office/drawing/2014/main" id="{9FE6D8CF-5888-492F-B5B9-1EAD8981AD71}"/>
                </a:ext>
              </a:extLst>
            </p:cNvPr>
            <p:cNvSpPr>
              <a:spLocks/>
            </p:cNvSpPr>
            <p:nvPr/>
          </p:nvSpPr>
          <p:spPr bwMode="auto">
            <a:xfrm>
              <a:off x="8150345" y="4289770"/>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5" name="Freeform 2114">
              <a:extLst>
                <a:ext uri="{FF2B5EF4-FFF2-40B4-BE49-F238E27FC236}">
                  <a16:creationId xmlns:a16="http://schemas.microsoft.com/office/drawing/2014/main" id="{62D1A698-5CF4-4517-8778-8A6342AC3015}"/>
                </a:ext>
              </a:extLst>
            </p:cNvPr>
            <p:cNvSpPr>
              <a:spLocks/>
            </p:cNvSpPr>
            <p:nvPr/>
          </p:nvSpPr>
          <p:spPr bwMode="auto">
            <a:xfrm>
              <a:off x="8150345" y="4289770"/>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6" name="Freeform 2115">
              <a:extLst>
                <a:ext uri="{FF2B5EF4-FFF2-40B4-BE49-F238E27FC236}">
                  <a16:creationId xmlns:a16="http://schemas.microsoft.com/office/drawing/2014/main" id="{C99792B3-EBF4-476A-9EDC-2B92B73E4063}"/>
                </a:ext>
              </a:extLst>
            </p:cNvPr>
            <p:cNvSpPr>
              <a:spLocks/>
            </p:cNvSpPr>
            <p:nvPr/>
          </p:nvSpPr>
          <p:spPr bwMode="auto">
            <a:xfrm>
              <a:off x="8150345" y="4289770"/>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lnTo>
                    <a:pt x="16" y="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7" name="Freeform 2116">
              <a:extLst>
                <a:ext uri="{FF2B5EF4-FFF2-40B4-BE49-F238E27FC236}">
                  <a16:creationId xmlns:a16="http://schemas.microsoft.com/office/drawing/2014/main" id="{2F6AF7A6-A8F6-4897-B08B-39C4923C7C96}"/>
                </a:ext>
              </a:extLst>
            </p:cNvPr>
            <p:cNvSpPr>
              <a:spLocks/>
            </p:cNvSpPr>
            <p:nvPr/>
          </p:nvSpPr>
          <p:spPr bwMode="auto">
            <a:xfrm>
              <a:off x="8122155" y="4309153"/>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8" name="Freeform 2117">
              <a:extLst>
                <a:ext uri="{FF2B5EF4-FFF2-40B4-BE49-F238E27FC236}">
                  <a16:creationId xmlns:a16="http://schemas.microsoft.com/office/drawing/2014/main" id="{34545C97-0C59-47FA-A108-0BC6058B8EA5}"/>
                </a:ext>
              </a:extLst>
            </p:cNvPr>
            <p:cNvSpPr>
              <a:spLocks/>
            </p:cNvSpPr>
            <p:nvPr/>
          </p:nvSpPr>
          <p:spPr bwMode="auto">
            <a:xfrm>
              <a:off x="8122155" y="4309153"/>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9" name="Freeform 2118">
              <a:extLst>
                <a:ext uri="{FF2B5EF4-FFF2-40B4-BE49-F238E27FC236}">
                  <a16:creationId xmlns:a16="http://schemas.microsoft.com/office/drawing/2014/main" id="{67E490C2-D440-48F8-96C4-FA730FDD6001}"/>
                </a:ext>
              </a:extLst>
            </p:cNvPr>
            <p:cNvSpPr>
              <a:spLocks/>
            </p:cNvSpPr>
            <p:nvPr/>
          </p:nvSpPr>
          <p:spPr bwMode="auto">
            <a:xfrm>
              <a:off x="8122155" y="4309153"/>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lnTo>
                    <a:pt x="2" y="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0" name="Freeform 2119">
              <a:extLst>
                <a:ext uri="{FF2B5EF4-FFF2-40B4-BE49-F238E27FC236}">
                  <a16:creationId xmlns:a16="http://schemas.microsoft.com/office/drawing/2014/main" id="{87FCE9CD-09FA-4608-9886-2BA24A936D4A}"/>
                </a:ext>
              </a:extLst>
            </p:cNvPr>
            <p:cNvSpPr>
              <a:spLocks/>
            </p:cNvSpPr>
            <p:nvPr/>
          </p:nvSpPr>
          <p:spPr bwMode="auto">
            <a:xfrm>
              <a:off x="8196159" y="4203431"/>
              <a:ext cx="7048" cy="5284"/>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1" name="Freeform 2120">
              <a:extLst>
                <a:ext uri="{FF2B5EF4-FFF2-40B4-BE49-F238E27FC236}">
                  <a16:creationId xmlns:a16="http://schemas.microsoft.com/office/drawing/2014/main" id="{3EB0592D-8DFF-4F2D-90B6-F0B6C344D0E3}"/>
                </a:ext>
              </a:extLst>
            </p:cNvPr>
            <p:cNvSpPr>
              <a:spLocks/>
            </p:cNvSpPr>
            <p:nvPr/>
          </p:nvSpPr>
          <p:spPr bwMode="auto">
            <a:xfrm>
              <a:off x="8196159" y="4203431"/>
              <a:ext cx="7048" cy="5284"/>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2" name="Freeform 2121">
              <a:extLst>
                <a:ext uri="{FF2B5EF4-FFF2-40B4-BE49-F238E27FC236}">
                  <a16:creationId xmlns:a16="http://schemas.microsoft.com/office/drawing/2014/main" id="{DAB76310-0637-4AFA-AC6C-CD6EDB88A47D}"/>
                </a:ext>
              </a:extLst>
            </p:cNvPr>
            <p:cNvSpPr>
              <a:spLocks/>
            </p:cNvSpPr>
            <p:nvPr/>
          </p:nvSpPr>
          <p:spPr bwMode="auto">
            <a:xfrm>
              <a:off x="8196159" y="4203431"/>
              <a:ext cx="7048" cy="5284"/>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lnTo>
                    <a:pt x="5"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3" name="Freeform 2122">
              <a:extLst>
                <a:ext uri="{FF2B5EF4-FFF2-40B4-BE49-F238E27FC236}">
                  <a16:creationId xmlns:a16="http://schemas.microsoft.com/office/drawing/2014/main" id="{7DCC1204-A7BD-431C-A7A4-E0EE3CD302B4}"/>
                </a:ext>
              </a:extLst>
            </p:cNvPr>
            <p:cNvSpPr>
              <a:spLocks/>
            </p:cNvSpPr>
            <p:nvPr/>
          </p:nvSpPr>
          <p:spPr bwMode="auto">
            <a:xfrm>
              <a:off x="8227877" y="4203431"/>
              <a:ext cx="8811" cy="5284"/>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4" name="Freeform 2123">
              <a:extLst>
                <a:ext uri="{FF2B5EF4-FFF2-40B4-BE49-F238E27FC236}">
                  <a16:creationId xmlns:a16="http://schemas.microsoft.com/office/drawing/2014/main" id="{8650D576-BA65-4DA8-B721-752F0FE21269}"/>
                </a:ext>
              </a:extLst>
            </p:cNvPr>
            <p:cNvSpPr>
              <a:spLocks/>
            </p:cNvSpPr>
            <p:nvPr/>
          </p:nvSpPr>
          <p:spPr bwMode="auto">
            <a:xfrm>
              <a:off x="8227877" y="4203431"/>
              <a:ext cx="8811" cy="5284"/>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5" name="Freeform 2124">
              <a:extLst>
                <a:ext uri="{FF2B5EF4-FFF2-40B4-BE49-F238E27FC236}">
                  <a16:creationId xmlns:a16="http://schemas.microsoft.com/office/drawing/2014/main" id="{8DAFFC2D-3B47-471C-A16A-9D209B1E114A}"/>
                </a:ext>
              </a:extLst>
            </p:cNvPr>
            <p:cNvSpPr>
              <a:spLocks/>
            </p:cNvSpPr>
            <p:nvPr/>
          </p:nvSpPr>
          <p:spPr bwMode="auto">
            <a:xfrm>
              <a:off x="8227877" y="4203431"/>
              <a:ext cx="8811" cy="5284"/>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6" name="Freeform 2125">
              <a:extLst>
                <a:ext uri="{FF2B5EF4-FFF2-40B4-BE49-F238E27FC236}">
                  <a16:creationId xmlns:a16="http://schemas.microsoft.com/office/drawing/2014/main" id="{C1DE894D-6308-491F-8D78-D031839CB948}"/>
                </a:ext>
              </a:extLst>
            </p:cNvPr>
            <p:cNvSpPr>
              <a:spLocks/>
            </p:cNvSpPr>
            <p:nvPr/>
          </p:nvSpPr>
          <p:spPr bwMode="auto">
            <a:xfrm>
              <a:off x="8152108" y="4085374"/>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7" name="Freeform 2126">
              <a:extLst>
                <a:ext uri="{FF2B5EF4-FFF2-40B4-BE49-F238E27FC236}">
                  <a16:creationId xmlns:a16="http://schemas.microsoft.com/office/drawing/2014/main" id="{3965251C-875B-4DAB-A74F-6E4F2DAA8725}"/>
                </a:ext>
              </a:extLst>
            </p:cNvPr>
            <p:cNvSpPr>
              <a:spLocks/>
            </p:cNvSpPr>
            <p:nvPr/>
          </p:nvSpPr>
          <p:spPr bwMode="auto">
            <a:xfrm>
              <a:off x="8152108" y="4085374"/>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8" name="Freeform 2127">
              <a:extLst>
                <a:ext uri="{FF2B5EF4-FFF2-40B4-BE49-F238E27FC236}">
                  <a16:creationId xmlns:a16="http://schemas.microsoft.com/office/drawing/2014/main" id="{DDEAB445-0A19-41D6-9A13-993C5AC5E516}"/>
                </a:ext>
              </a:extLst>
            </p:cNvPr>
            <p:cNvSpPr>
              <a:spLocks/>
            </p:cNvSpPr>
            <p:nvPr/>
          </p:nvSpPr>
          <p:spPr bwMode="auto">
            <a:xfrm>
              <a:off x="8152108" y="4085374"/>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lnTo>
                    <a:pt x="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9" name="Freeform 2128">
              <a:extLst>
                <a:ext uri="{FF2B5EF4-FFF2-40B4-BE49-F238E27FC236}">
                  <a16:creationId xmlns:a16="http://schemas.microsoft.com/office/drawing/2014/main" id="{11BCB984-4F01-417D-B115-523E0AB882AC}"/>
                </a:ext>
              </a:extLst>
            </p:cNvPr>
            <p:cNvSpPr>
              <a:spLocks/>
            </p:cNvSpPr>
            <p:nvPr/>
          </p:nvSpPr>
          <p:spPr bwMode="auto">
            <a:xfrm>
              <a:off x="8152110" y="4055423"/>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0" name="Freeform 2129">
              <a:extLst>
                <a:ext uri="{FF2B5EF4-FFF2-40B4-BE49-F238E27FC236}">
                  <a16:creationId xmlns:a16="http://schemas.microsoft.com/office/drawing/2014/main" id="{40C1B2CE-99A9-443C-92A4-A7220CEA696E}"/>
                </a:ext>
              </a:extLst>
            </p:cNvPr>
            <p:cNvSpPr>
              <a:spLocks/>
            </p:cNvSpPr>
            <p:nvPr/>
          </p:nvSpPr>
          <p:spPr bwMode="auto">
            <a:xfrm>
              <a:off x="8152110" y="4055423"/>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1" name="Freeform 2130">
              <a:extLst>
                <a:ext uri="{FF2B5EF4-FFF2-40B4-BE49-F238E27FC236}">
                  <a16:creationId xmlns:a16="http://schemas.microsoft.com/office/drawing/2014/main" id="{69BE79ED-3F39-43DE-AD38-4F0DB84A066F}"/>
                </a:ext>
              </a:extLst>
            </p:cNvPr>
            <p:cNvSpPr>
              <a:spLocks/>
            </p:cNvSpPr>
            <p:nvPr/>
          </p:nvSpPr>
          <p:spPr bwMode="auto">
            <a:xfrm>
              <a:off x="8152110" y="4055423"/>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lnTo>
                    <a:pt x="0" y="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2" name="Freeform 2131">
              <a:extLst>
                <a:ext uri="{FF2B5EF4-FFF2-40B4-BE49-F238E27FC236}">
                  <a16:creationId xmlns:a16="http://schemas.microsoft.com/office/drawing/2014/main" id="{CC996090-9548-4030-BC18-952E3D381534}"/>
                </a:ext>
              </a:extLst>
            </p:cNvPr>
            <p:cNvSpPr>
              <a:spLocks/>
            </p:cNvSpPr>
            <p:nvPr/>
          </p:nvSpPr>
          <p:spPr bwMode="auto">
            <a:xfrm>
              <a:off x="8167965" y="4090662"/>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3" name="Freeform 2132">
              <a:extLst>
                <a:ext uri="{FF2B5EF4-FFF2-40B4-BE49-F238E27FC236}">
                  <a16:creationId xmlns:a16="http://schemas.microsoft.com/office/drawing/2014/main" id="{3F70B38A-8E0D-444B-B866-E0D9A70DC23D}"/>
                </a:ext>
              </a:extLst>
            </p:cNvPr>
            <p:cNvSpPr>
              <a:spLocks/>
            </p:cNvSpPr>
            <p:nvPr/>
          </p:nvSpPr>
          <p:spPr bwMode="auto">
            <a:xfrm>
              <a:off x="8167965" y="4090662"/>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4" name="Freeform 2133">
              <a:extLst>
                <a:ext uri="{FF2B5EF4-FFF2-40B4-BE49-F238E27FC236}">
                  <a16:creationId xmlns:a16="http://schemas.microsoft.com/office/drawing/2014/main" id="{509FAC5B-3654-4979-B1BE-78CED68A73EB}"/>
                </a:ext>
              </a:extLst>
            </p:cNvPr>
            <p:cNvSpPr>
              <a:spLocks/>
            </p:cNvSpPr>
            <p:nvPr/>
          </p:nvSpPr>
          <p:spPr bwMode="auto">
            <a:xfrm>
              <a:off x="8167965" y="4090662"/>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lnTo>
                    <a:pt x="0"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5" name="Freeform 2134">
              <a:extLst>
                <a:ext uri="{FF2B5EF4-FFF2-40B4-BE49-F238E27FC236}">
                  <a16:creationId xmlns:a16="http://schemas.microsoft.com/office/drawing/2014/main" id="{C06DD3C9-6ACA-4E17-BBCC-61D4A36F231B}"/>
                </a:ext>
              </a:extLst>
            </p:cNvPr>
            <p:cNvSpPr>
              <a:spLocks/>
            </p:cNvSpPr>
            <p:nvPr/>
          </p:nvSpPr>
          <p:spPr bwMode="auto">
            <a:xfrm>
              <a:off x="8182061" y="4069520"/>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6" name="Freeform 2135">
              <a:extLst>
                <a:ext uri="{FF2B5EF4-FFF2-40B4-BE49-F238E27FC236}">
                  <a16:creationId xmlns:a16="http://schemas.microsoft.com/office/drawing/2014/main" id="{4B900DB3-242F-44FF-9F12-DF4AE76CD191}"/>
                </a:ext>
              </a:extLst>
            </p:cNvPr>
            <p:cNvSpPr>
              <a:spLocks/>
            </p:cNvSpPr>
            <p:nvPr/>
          </p:nvSpPr>
          <p:spPr bwMode="auto">
            <a:xfrm>
              <a:off x="8182061" y="4069520"/>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7" name="Freeform 2136">
              <a:extLst>
                <a:ext uri="{FF2B5EF4-FFF2-40B4-BE49-F238E27FC236}">
                  <a16:creationId xmlns:a16="http://schemas.microsoft.com/office/drawing/2014/main" id="{58878EE1-41D0-4BCE-8646-F66F483995F8}"/>
                </a:ext>
              </a:extLst>
            </p:cNvPr>
            <p:cNvSpPr>
              <a:spLocks/>
            </p:cNvSpPr>
            <p:nvPr/>
          </p:nvSpPr>
          <p:spPr bwMode="auto">
            <a:xfrm>
              <a:off x="8182061" y="4069520"/>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8" name="Freeform 2137">
              <a:extLst>
                <a:ext uri="{FF2B5EF4-FFF2-40B4-BE49-F238E27FC236}">
                  <a16:creationId xmlns:a16="http://schemas.microsoft.com/office/drawing/2014/main" id="{70BB056C-9216-41C4-A503-3C2A84F4CC71}"/>
                </a:ext>
              </a:extLst>
            </p:cNvPr>
            <p:cNvSpPr>
              <a:spLocks/>
            </p:cNvSpPr>
            <p:nvPr/>
          </p:nvSpPr>
          <p:spPr bwMode="auto">
            <a:xfrm>
              <a:off x="8199683" y="4083616"/>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9" name="Freeform 2138">
              <a:extLst>
                <a:ext uri="{FF2B5EF4-FFF2-40B4-BE49-F238E27FC236}">
                  <a16:creationId xmlns:a16="http://schemas.microsoft.com/office/drawing/2014/main" id="{2B62E6BC-20C8-48D5-9E8F-925BC9422AE1}"/>
                </a:ext>
              </a:extLst>
            </p:cNvPr>
            <p:cNvSpPr>
              <a:spLocks/>
            </p:cNvSpPr>
            <p:nvPr/>
          </p:nvSpPr>
          <p:spPr bwMode="auto">
            <a:xfrm>
              <a:off x="8199683" y="4083616"/>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0" name="Freeform 2139">
              <a:extLst>
                <a:ext uri="{FF2B5EF4-FFF2-40B4-BE49-F238E27FC236}">
                  <a16:creationId xmlns:a16="http://schemas.microsoft.com/office/drawing/2014/main" id="{1252263D-BB50-42A7-8687-8BEC53FAA811}"/>
                </a:ext>
              </a:extLst>
            </p:cNvPr>
            <p:cNvSpPr>
              <a:spLocks/>
            </p:cNvSpPr>
            <p:nvPr/>
          </p:nvSpPr>
          <p:spPr bwMode="auto">
            <a:xfrm>
              <a:off x="8199683" y="4083616"/>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1" name="Freeform 2140">
              <a:extLst>
                <a:ext uri="{FF2B5EF4-FFF2-40B4-BE49-F238E27FC236}">
                  <a16:creationId xmlns:a16="http://schemas.microsoft.com/office/drawing/2014/main" id="{345B9B09-4838-4FB1-B50E-0B5FB199078F}"/>
                </a:ext>
              </a:extLst>
            </p:cNvPr>
            <p:cNvSpPr>
              <a:spLocks/>
            </p:cNvSpPr>
            <p:nvPr/>
          </p:nvSpPr>
          <p:spPr bwMode="auto">
            <a:xfrm>
              <a:off x="8093962" y="4154095"/>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2" name="Freeform 2141">
              <a:extLst>
                <a:ext uri="{FF2B5EF4-FFF2-40B4-BE49-F238E27FC236}">
                  <a16:creationId xmlns:a16="http://schemas.microsoft.com/office/drawing/2014/main" id="{FB081F88-FAF1-444B-A7E3-F47BA1A5F046}"/>
                </a:ext>
              </a:extLst>
            </p:cNvPr>
            <p:cNvSpPr>
              <a:spLocks/>
            </p:cNvSpPr>
            <p:nvPr/>
          </p:nvSpPr>
          <p:spPr bwMode="auto">
            <a:xfrm>
              <a:off x="8093962" y="4154095"/>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3" name="Freeform 2142">
              <a:extLst>
                <a:ext uri="{FF2B5EF4-FFF2-40B4-BE49-F238E27FC236}">
                  <a16:creationId xmlns:a16="http://schemas.microsoft.com/office/drawing/2014/main" id="{B5A912C9-83E9-4DD2-B9BB-02DFF6C45DBF}"/>
                </a:ext>
              </a:extLst>
            </p:cNvPr>
            <p:cNvSpPr>
              <a:spLocks/>
            </p:cNvSpPr>
            <p:nvPr/>
          </p:nvSpPr>
          <p:spPr bwMode="auto">
            <a:xfrm>
              <a:off x="8093962" y="4154095"/>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lnTo>
                    <a:pt x="0" y="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4" name="Freeform 2143">
              <a:extLst>
                <a:ext uri="{FF2B5EF4-FFF2-40B4-BE49-F238E27FC236}">
                  <a16:creationId xmlns:a16="http://schemas.microsoft.com/office/drawing/2014/main" id="{A15D17F8-ABB8-43F0-8F9D-1838474CC5A6}"/>
                </a:ext>
              </a:extLst>
            </p:cNvPr>
            <p:cNvSpPr>
              <a:spLocks/>
            </p:cNvSpPr>
            <p:nvPr/>
          </p:nvSpPr>
          <p:spPr bwMode="auto">
            <a:xfrm>
              <a:off x="8254306" y="4161144"/>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5" name="Freeform 2144">
              <a:extLst>
                <a:ext uri="{FF2B5EF4-FFF2-40B4-BE49-F238E27FC236}">
                  <a16:creationId xmlns:a16="http://schemas.microsoft.com/office/drawing/2014/main" id="{892DAD63-9C7E-4B3D-A6B5-B3789766D944}"/>
                </a:ext>
              </a:extLst>
            </p:cNvPr>
            <p:cNvSpPr>
              <a:spLocks/>
            </p:cNvSpPr>
            <p:nvPr/>
          </p:nvSpPr>
          <p:spPr bwMode="auto">
            <a:xfrm>
              <a:off x="8254306" y="4161144"/>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6" name="Freeform 2145">
              <a:extLst>
                <a:ext uri="{FF2B5EF4-FFF2-40B4-BE49-F238E27FC236}">
                  <a16:creationId xmlns:a16="http://schemas.microsoft.com/office/drawing/2014/main" id="{3FE6E72A-154C-42CD-A35E-D0623E3D1313}"/>
                </a:ext>
              </a:extLst>
            </p:cNvPr>
            <p:cNvSpPr>
              <a:spLocks/>
            </p:cNvSpPr>
            <p:nvPr/>
          </p:nvSpPr>
          <p:spPr bwMode="auto">
            <a:xfrm>
              <a:off x="8254306" y="4161144"/>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lnTo>
                    <a:pt x="4"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7" name="Freeform 2146">
              <a:extLst>
                <a:ext uri="{FF2B5EF4-FFF2-40B4-BE49-F238E27FC236}">
                  <a16:creationId xmlns:a16="http://schemas.microsoft.com/office/drawing/2014/main" id="{6D151739-0CC5-48D4-BAD7-19CA3BBC1C1A}"/>
                </a:ext>
              </a:extLst>
            </p:cNvPr>
            <p:cNvSpPr>
              <a:spLocks/>
            </p:cNvSpPr>
            <p:nvPr/>
          </p:nvSpPr>
          <p:spPr bwMode="auto">
            <a:xfrm>
              <a:off x="8266638" y="4173475"/>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8" name="Freeform 2147">
              <a:extLst>
                <a:ext uri="{FF2B5EF4-FFF2-40B4-BE49-F238E27FC236}">
                  <a16:creationId xmlns:a16="http://schemas.microsoft.com/office/drawing/2014/main" id="{8E772E9D-9EE4-47F2-ADF6-50F8AA95EC98}"/>
                </a:ext>
              </a:extLst>
            </p:cNvPr>
            <p:cNvSpPr>
              <a:spLocks/>
            </p:cNvSpPr>
            <p:nvPr/>
          </p:nvSpPr>
          <p:spPr bwMode="auto">
            <a:xfrm>
              <a:off x="8266638" y="4173475"/>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9" name="Freeform 2148">
              <a:extLst>
                <a:ext uri="{FF2B5EF4-FFF2-40B4-BE49-F238E27FC236}">
                  <a16:creationId xmlns:a16="http://schemas.microsoft.com/office/drawing/2014/main" id="{EE507E85-68BF-464C-91CE-B0E8524E8045}"/>
                </a:ext>
              </a:extLst>
            </p:cNvPr>
            <p:cNvSpPr>
              <a:spLocks/>
            </p:cNvSpPr>
            <p:nvPr/>
          </p:nvSpPr>
          <p:spPr bwMode="auto">
            <a:xfrm>
              <a:off x="8266638" y="4173475"/>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lnTo>
                    <a:pt x="2" y="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0" name="Freeform 2149">
              <a:extLst>
                <a:ext uri="{FF2B5EF4-FFF2-40B4-BE49-F238E27FC236}">
                  <a16:creationId xmlns:a16="http://schemas.microsoft.com/office/drawing/2014/main" id="{1D427845-B59A-43CA-8476-6F9E7D325F51}"/>
                </a:ext>
              </a:extLst>
            </p:cNvPr>
            <p:cNvSpPr>
              <a:spLocks/>
            </p:cNvSpPr>
            <p:nvPr/>
          </p:nvSpPr>
          <p:spPr bwMode="auto">
            <a:xfrm>
              <a:off x="8166203" y="4143521"/>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1" name="Freeform 2150">
              <a:extLst>
                <a:ext uri="{FF2B5EF4-FFF2-40B4-BE49-F238E27FC236}">
                  <a16:creationId xmlns:a16="http://schemas.microsoft.com/office/drawing/2014/main" id="{4AD1ADAA-9BD5-45A6-B5E0-A2104897B72E}"/>
                </a:ext>
              </a:extLst>
            </p:cNvPr>
            <p:cNvSpPr>
              <a:spLocks/>
            </p:cNvSpPr>
            <p:nvPr/>
          </p:nvSpPr>
          <p:spPr bwMode="auto">
            <a:xfrm>
              <a:off x="8166203" y="4143521"/>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2" name="Freeform 2151">
              <a:extLst>
                <a:ext uri="{FF2B5EF4-FFF2-40B4-BE49-F238E27FC236}">
                  <a16:creationId xmlns:a16="http://schemas.microsoft.com/office/drawing/2014/main" id="{AF8CA36B-A2F3-4820-B52E-23ABE2A24638}"/>
                </a:ext>
              </a:extLst>
            </p:cNvPr>
            <p:cNvSpPr>
              <a:spLocks/>
            </p:cNvSpPr>
            <p:nvPr/>
          </p:nvSpPr>
          <p:spPr bwMode="auto">
            <a:xfrm>
              <a:off x="8166203" y="4143521"/>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lnTo>
                    <a:pt x="0" y="4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3" name="Freeform 2152">
              <a:extLst>
                <a:ext uri="{FF2B5EF4-FFF2-40B4-BE49-F238E27FC236}">
                  <a16:creationId xmlns:a16="http://schemas.microsoft.com/office/drawing/2014/main" id="{177DFDE6-9E99-4BC7-89E5-F2587B4E8B50}"/>
                </a:ext>
              </a:extLst>
            </p:cNvPr>
            <p:cNvSpPr>
              <a:spLocks/>
            </p:cNvSpPr>
            <p:nvPr/>
          </p:nvSpPr>
          <p:spPr bwMode="auto">
            <a:xfrm>
              <a:off x="8187350" y="4090663"/>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4" name="Freeform 2153">
              <a:extLst>
                <a:ext uri="{FF2B5EF4-FFF2-40B4-BE49-F238E27FC236}">
                  <a16:creationId xmlns:a16="http://schemas.microsoft.com/office/drawing/2014/main" id="{5A944D37-E3E3-4A75-A2D8-3BECB3B80200}"/>
                </a:ext>
              </a:extLst>
            </p:cNvPr>
            <p:cNvSpPr>
              <a:spLocks/>
            </p:cNvSpPr>
            <p:nvPr/>
          </p:nvSpPr>
          <p:spPr bwMode="auto">
            <a:xfrm>
              <a:off x="8187350" y="4090663"/>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5" name="Freeform 2154">
              <a:extLst>
                <a:ext uri="{FF2B5EF4-FFF2-40B4-BE49-F238E27FC236}">
                  <a16:creationId xmlns:a16="http://schemas.microsoft.com/office/drawing/2014/main" id="{0800BBD5-AA82-4AAC-9DBC-26F0BB87A60C}"/>
                </a:ext>
              </a:extLst>
            </p:cNvPr>
            <p:cNvSpPr>
              <a:spLocks/>
            </p:cNvSpPr>
            <p:nvPr/>
          </p:nvSpPr>
          <p:spPr bwMode="auto">
            <a:xfrm>
              <a:off x="8187350" y="4090663"/>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lnTo>
                    <a:pt x="0" y="2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6" name="Freeform 2155">
              <a:extLst>
                <a:ext uri="{FF2B5EF4-FFF2-40B4-BE49-F238E27FC236}">
                  <a16:creationId xmlns:a16="http://schemas.microsoft.com/office/drawing/2014/main" id="{99783B4A-E388-4767-84DE-83D44670C990}"/>
                </a:ext>
              </a:extLst>
            </p:cNvPr>
            <p:cNvSpPr>
              <a:spLocks/>
            </p:cNvSpPr>
            <p:nvPr/>
          </p:nvSpPr>
          <p:spPr bwMode="auto">
            <a:xfrm>
              <a:off x="8192633" y="4134711"/>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7" name="Freeform 2156">
              <a:extLst>
                <a:ext uri="{FF2B5EF4-FFF2-40B4-BE49-F238E27FC236}">
                  <a16:creationId xmlns:a16="http://schemas.microsoft.com/office/drawing/2014/main" id="{C534D70F-6893-44A7-BDB9-5BEA6A5A1203}"/>
                </a:ext>
              </a:extLst>
            </p:cNvPr>
            <p:cNvSpPr>
              <a:spLocks/>
            </p:cNvSpPr>
            <p:nvPr/>
          </p:nvSpPr>
          <p:spPr bwMode="auto">
            <a:xfrm>
              <a:off x="8192633" y="4134711"/>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8" name="Freeform 2157">
              <a:extLst>
                <a:ext uri="{FF2B5EF4-FFF2-40B4-BE49-F238E27FC236}">
                  <a16:creationId xmlns:a16="http://schemas.microsoft.com/office/drawing/2014/main" id="{40B73562-05F4-41BB-92FF-8CB37D31A6F5}"/>
                </a:ext>
              </a:extLst>
            </p:cNvPr>
            <p:cNvSpPr>
              <a:spLocks/>
            </p:cNvSpPr>
            <p:nvPr/>
          </p:nvSpPr>
          <p:spPr bwMode="auto">
            <a:xfrm>
              <a:off x="8192633" y="4134711"/>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lnTo>
                    <a:pt x="0" y="7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9" name="Freeform 2158">
              <a:extLst>
                <a:ext uri="{FF2B5EF4-FFF2-40B4-BE49-F238E27FC236}">
                  <a16:creationId xmlns:a16="http://schemas.microsoft.com/office/drawing/2014/main" id="{1F16B4B4-BA70-4891-9FF4-B05CD6B1264C}"/>
                </a:ext>
              </a:extLst>
            </p:cNvPr>
            <p:cNvSpPr>
              <a:spLocks/>
            </p:cNvSpPr>
            <p:nvPr/>
          </p:nvSpPr>
          <p:spPr bwMode="auto">
            <a:xfrm>
              <a:off x="8206729" y="4169952"/>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0" name="Freeform 2159">
              <a:extLst>
                <a:ext uri="{FF2B5EF4-FFF2-40B4-BE49-F238E27FC236}">
                  <a16:creationId xmlns:a16="http://schemas.microsoft.com/office/drawing/2014/main" id="{CE329A67-E7FE-42B9-8C47-E2990F4E6B41}"/>
                </a:ext>
              </a:extLst>
            </p:cNvPr>
            <p:cNvSpPr>
              <a:spLocks/>
            </p:cNvSpPr>
            <p:nvPr/>
          </p:nvSpPr>
          <p:spPr bwMode="auto">
            <a:xfrm>
              <a:off x="8206729" y="4169952"/>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1" name="Freeform 2160">
              <a:extLst>
                <a:ext uri="{FF2B5EF4-FFF2-40B4-BE49-F238E27FC236}">
                  <a16:creationId xmlns:a16="http://schemas.microsoft.com/office/drawing/2014/main" id="{B670377B-ADD5-4468-92E0-B5E8B9DF3235}"/>
                </a:ext>
              </a:extLst>
            </p:cNvPr>
            <p:cNvSpPr>
              <a:spLocks/>
            </p:cNvSpPr>
            <p:nvPr/>
          </p:nvSpPr>
          <p:spPr bwMode="auto">
            <a:xfrm>
              <a:off x="8206729" y="4169952"/>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lnTo>
                    <a:pt x="2" y="2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2" name="Freeform 2161">
              <a:extLst>
                <a:ext uri="{FF2B5EF4-FFF2-40B4-BE49-F238E27FC236}">
                  <a16:creationId xmlns:a16="http://schemas.microsoft.com/office/drawing/2014/main" id="{3002E67D-A104-4101-86FE-919CC8E239FA}"/>
                </a:ext>
              </a:extLst>
            </p:cNvPr>
            <p:cNvSpPr>
              <a:spLocks/>
            </p:cNvSpPr>
            <p:nvPr/>
          </p:nvSpPr>
          <p:spPr bwMode="auto">
            <a:xfrm>
              <a:off x="8152108" y="4184047"/>
              <a:ext cx="132148"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3" name="Freeform 2162">
              <a:extLst>
                <a:ext uri="{FF2B5EF4-FFF2-40B4-BE49-F238E27FC236}">
                  <a16:creationId xmlns:a16="http://schemas.microsoft.com/office/drawing/2014/main" id="{37B3C299-1444-4F99-8FA9-B0CA3D616021}"/>
                </a:ext>
              </a:extLst>
            </p:cNvPr>
            <p:cNvSpPr>
              <a:spLocks/>
            </p:cNvSpPr>
            <p:nvPr/>
          </p:nvSpPr>
          <p:spPr bwMode="auto">
            <a:xfrm>
              <a:off x="8152108" y="4184047"/>
              <a:ext cx="132148"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4" name="Freeform 2163">
              <a:extLst>
                <a:ext uri="{FF2B5EF4-FFF2-40B4-BE49-F238E27FC236}">
                  <a16:creationId xmlns:a16="http://schemas.microsoft.com/office/drawing/2014/main" id="{C2B32FAB-FF46-4692-B143-74571D4CD3A6}"/>
                </a:ext>
              </a:extLst>
            </p:cNvPr>
            <p:cNvSpPr>
              <a:spLocks/>
            </p:cNvSpPr>
            <p:nvPr/>
          </p:nvSpPr>
          <p:spPr bwMode="auto">
            <a:xfrm>
              <a:off x="8219064" y="4087138"/>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5" name="Freeform 2164">
              <a:extLst>
                <a:ext uri="{FF2B5EF4-FFF2-40B4-BE49-F238E27FC236}">
                  <a16:creationId xmlns:a16="http://schemas.microsoft.com/office/drawing/2014/main" id="{80D1BC3D-3E1E-489E-8F7A-74537EB5C1F4}"/>
                </a:ext>
              </a:extLst>
            </p:cNvPr>
            <p:cNvSpPr>
              <a:spLocks/>
            </p:cNvSpPr>
            <p:nvPr/>
          </p:nvSpPr>
          <p:spPr bwMode="auto">
            <a:xfrm>
              <a:off x="8219064" y="4087138"/>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6" name="Freeform 2165">
              <a:extLst>
                <a:ext uri="{FF2B5EF4-FFF2-40B4-BE49-F238E27FC236}">
                  <a16:creationId xmlns:a16="http://schemas.microsoft.com/office/drawing/2014/main" id="{9F596D59-015E-44D5-97D4-B47011763BFE}"/>
                </a:ext>
              </a:extLst>
            </p:cNvPr>
            <p:cNvSpPr>
              <a:spLocks/>
            </p:cNvSpPr>
            <p:nvPr/>
          </p:nvSpPr>
          <p:spPr bwMode="auto">
            <a:xfrm>
              <a:off x="8219064" y="4087138"/>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lnTo>
                    <a:pt x="31" y="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7" name="Freeform 2166">
              <a:extLst>
                <a:ext uri="{FF2B5EF4-FFF2-40B4-BE49-F238E27FC236}">
                  <a16:creationId xmlns:a16="http://schemas.microsoft.com/office/drawing/2014/main" id="{5EA259FD-2798-40EF-994C-0AD75F510E73}"/>
                </a:ext>
              </a:extLst>
            </p:cNvPr>
            <p:cNvSpPr>
              <a:spLocks/>
            </p:cNvSpPr>
            <p:nvPr/>
          </p:nvSpPr>
          <p:spPr bwMode="auto">
            <a:xfrm>
              <a:off x="8152110" y="4111808"/>
              <a:ext cx="37001" cy="49335"/>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8" name="Freeform 2167">
              <a:extLst>
                <a:ext uri="{FF2B5EF4-FFF2-40B4-BE49-F238E27FC236}">
                  <a16:creationId xmlns:a16="http://schemas.microsoft.com/office/drawing/2014/main" id="{7A771524-1E3A-4C92-B9A6-C4265E10DD53}"/>
                </a:ext>
              </a:extLst>
            </p:cNvPr>
            <p:cNvSpPr>
              <a:spLocks/>
            </p:cNvSpPr>
            <p:nvPr/>
          </p:nvSpPr>
          <p:spPr bwMode="auto">
            <a:xfrm>
              <a:off x="8152110" y="4111808"/>
              <a:ext cx="37001" cy="49335"/>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9" name="Freeform 2168">
              <a:extLst>
                <a:ext uri="{FF2B5EF4-FFF2-40B4-BE49-F238E27FC236}">
                  <a16:creationId xmlns:a16="http://schemas.microsoft.com/office/drawing/2014/main" id="{089383E7-3CA7-4CDA-AAC0-00B39922A39C}"/>
                </a:ext>
              </a:extLst>
            </p:cNvPr>
            <p:cNvSpPr>
              <a:spLocks/>
            </p:cNvSpPr>
            <p:nvPr/>
          </p:nvSpPr>
          <p:spPr bwMode="auto">
            <a:xfrm>
              <a:off x="8152110" y="4111808"/>
              <a:ext cx="37001" cy="49335"/>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lnTo>
                    <a:pt x="4" y="5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0" name="Freeform 2169">
              <a:extLst>
                <a:ext uri="{FF2B5EF4-FFF2-40B4-BE49-F238E27FC236}">
                  <a16:creationId xmlns:a16="http://schemas.microsoft.com/office/drawing/2014/main" id="{22F7DA95-F052-4694-9B4E-D39AF766CF7D}"/>
                </a:ext>
              </a:extLst>
            </p:cNvPr>
            <p:cNvSpPr>
              <a:spLocks/>
            </p:cNvSpPr>
            <p:nvPr/>
          </p:nvSpPr>
          <p:spPr bwMode="auto">
            <a:xfrm>
              <a:off x="8108059" y="4055422"/>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1" name="Freeform 2170">
              <a:extLst>
                <a:ext uri="{FF2B5EF4-FFF2-40B4-BE49-F238E27FC236}">
                  <a16:creationId xmlns:a16="http://schemas.microsoft.com/office/drawing/2014/main" id="{8DED52B5-36FE-4011-A3E2-EB748BC39D98}"/>
                </a:ext>
              </a:extLst>
            </p:cNvPr>
            <p:cNvSpPr>
              <a:spLocks/>
            </p:cNvSpPr>
            <p:nvPr/>
          </p:nvSpPr>
          <p:spPr bwMode="auto">
            <a:xfrm>
              <a:off x="8108059" y="4055422"/>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2" name="Freeform 2171">
              <a:extLst>
                <a:ext uri="{FF2B5EF4-FFF2-40B4-BE49-F238E27FC236}">
                  <a16:creationId xmlns:a16="http://schemas.microsoft.com/office/drawing/2014/main" id="{F0057E72-8035-4289-95D8-EC14EE443C87}"/>
                </a:ext>
              </a:extLst>
            </p:cNvPr>
            <p:cNvSpPr>
              <a:spLocks/>
            </p:cNvSpPr>
            <p:nvPr/>
          </p:nvSpPr>
          <p:spPr bwMode="auto">
            <a:xfrm>
              <a:off x="8108059" y="4055422"/>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lnTo>
                    <a:pt x="26" y="5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3" name="Freeform 2172">
              <a:extLst>
                <a:ext uri="{FF2B5EF4-FFF2-40B4-BE49-F238E27FC236}">
                  <a16:creationId xmlns:a16="http://schemas.microsoft.com/office/drawing/2014/main" id="{EB24A453-E7BF-4174-A9F5-56C1E7799806}"/>
                </a:ext>
              </a:extLst>
            </p:cNvPr>
            <p:cNvSpPr>
              <a:spLocks/>
            </p:cNvSpPr>
            <p:nvPr/>
          </p:nvSpPr>
          <p:spPr bwMode="auto">
            <a:xfrm>
              <a:off x="8021722" y="4129428"/>
              <a:ext cx="68718" cy="103957"/>
            </a:xfrm>
            <a:custGeom>
              <a:avLst/>
              <a:gdLst/>
              <a:ahLst/>
              <a:cxnLst>
                <a:cxn ang="0">
                  <a:pos x="2" y="125"/>
                </a:cxn>
                <a:cxn ang="0">
                  <a:pos x="7" y="111"/>
                </a:cxn>
                <a:cxn ang="0">
                  <a:pos x="30" y="87"/>
                </a:cxn>
                <a:cxn ang="0">
                  <a:pos x="46" y="68"/>
                </a:cxn>
                <a:cxn ang="0">
                  <a:pos x="60" y="45"/>
                </a:cxn>
                <a:cxn ang="0">
                  <a:pos x="66" y="38"/>
                </a:cxn>
                <a:cxn ang="0">
                  <a:pos x="72" y="36"/>
                </a:cxn>
                <a:cxn ang="0">
                  <a:pos x="73" y="33"/>
                </a:cxn>
                <a:cxn ang="0">
                  <a:pos x="72" y="24"/>
                </a:cxn>
                <a:cxn ang="0">
                  <a:pos x="70" y="19"/>
                </a:cxn>
                <a:cxn ang="0">
                  <a:pos x="72" y="19"/>
                </a:cxn>
                <a:cxn ang="0">
                  <a:pos x="75" y="14"/>
                </a:cxn>
                <a:cxn ang="0">
                  <a:pos x="77" y="1"/>
                </a:cxn>
                <a:cxn ang="0">
                  <a:pos x="80" y="0"/>
                </a:cxn>
                <a:cxn ang="0">
                  <a:pos x="84" y="0"/>
                </a:cxn>
                <a:cxn ang="0">
                  <a:pos x="84" y="10"/>
                </a:cxn>
                <a:cxn ang="0">
                  <a:pos x="84" y="22"/>
                </a:cxn>
                <a:cxn ang="0">
                  <a:pos x="86" y="28"/>
                </a:cxn>
                <a:cxn ang="0">
                  <a:pos x="86" y="40"/>
                </a:cxn>
                <a:cxn ang="0">
                  <a:pos x="79" y="43"/>
                </a:cxn>
                <a:cxn ang="0">
                  <a:pos x="77" y="45"/>
                </a:cxn>
                <a:cxn ang="0">
                  <a:pos x="73" y="52"/>
                </a:cxn>
                <a:cxn ang="0">
                  <a:pos x="68" y="59"/>
                </a:cxn>
                <a:cxn ang="0">
                  <a:pos x="63" y="61"/>
                </a:cxn>
                <a:cxn ang="0">
                  <a:pos x="58" y="64"/>
                </a:cxn>
                <a:cxn ang="0">
                  <a:pos x="56" y="73"/>
                </a:cxn>
                <a:cxn ang="0">
                  <a:pos x="51" y="82"/>
                </a:cxn>
                <a:cxn ang="0">
                  <a:pos x="44" y="88"/>
                </a:cxn>
                <a:cxn ang="0">
                  <a:pos x="14" y="118"/>
                </a:cxn>
                <a:cxn ang="0">
                  <a:pos x="11" y="123"/>
                </a:cxn>
                <a:cxn ang="0">
                  <a:pos x="4" y="129"/>
                </a:cxn>
                <a:cxn ang="0">
                  <a:pos x="0" y="129"/>
                </a:cxn>
                <a:cxn ang="0">
                  <a:pos x="2" y="125"/>
                </a:cxn>
              </a:cxnLst>
              <a:rect l="0" t="0" r="r" b="b"/>
              <a:pathLst>
                <a:path w="87" h="129">
                  <a:moveTo>
                    <a:pt x="2" y="125"/>
                  </a:moveTo>
                  <a:lnTo>
                    <a:pt x="2" y="125"/>
                  </a:lnTo>
                  <a:lnTo>
                    <a:pt x="4" y="116"/>
                  </a:lnTo>
                  <a:lnTo>
                    <a:pt x="7" y="111"/>
                  </a:lnTo>
                  <a:lnTo>
                    <a:pt x="14" y="101"/>
                  </a:lnTo>
                  <a:lnTo>
                    <a:pt x="30" y="87"/>
                  </a:lnTo>
                  <a:lnTo>
                    <a:pt x="30" y="87"/>
                  </a:lnTo>
                  <a:lnTo>
                    <a:pt x="46" y="68"/>
                  </a:lnTo>
                  <a:lnTo>
                    <a:pt x="60" y="45"/>
                  </a:lnTo>
                  <a:lnTo>
                    <a:pt x="60" y="45"/>
                  </a:lnTo>
                  <a:lnTo>
                    <a:pt x="65" y="38"/>
                  </a:lnTo>
                  <a:lnTo>
                    <a:pt x="66" y="38"/>
                  </a:lnTo>
                  <a:lnTo>
                    <a:pt x="70" y="38"/>
                  </a:lnTo>
                  <a:lnTo>
                    <a:pt x="72" y="36"/>
                  </a:lnTo>
                  <a:lnTo>
                    <a:pt x="72" y="36"/>
                  </a:lnTo>
                  <a:lnTo>
                    <a:pt x="73" y="33"/>
                  </a:lnTo>
                  <a:lnTo>
                    <a:pt x="73" y="29"/>
                  </a:lnTo>
                  <a:lnTo>
                    <a:pt x="72" y="24"/>
                  </a:lnTo>
                  <a:lnTo>
                    <a:pt x="70" y="21"/>
                  </a:lnTo>
                  <a:lnTo>
                    <a:pt x="70" y="19"/>
                  </a:lnTo>
                  <a:lnTo>
                    <a:pt x="72" y="19"/>
                  </a:lnTo>
                  <a:lnTo>
                    <a:pt x="72" y="19"/>
                  </a:lnTo>
                  <a:lnTo>
                    <a:pt x="75" y="17"/>
                  </a:lnTo>
                  <a:lnTo>
                    <a:pt x="75" y="14"/>
                  </a:lnTo>
                  <a:lnTo>
                    <a:pt x="77" y="7"/>
                  </a:lnTo>
                  <a:lnTo>
                    <a:pt x="77" y="1"/>
                  </a:lnTo>
                  <a:lnTo>
                    <a:pt x="79" y="0"/>
                  </a:lnTo>
                  <a:lnTo>
                    <a:pt x="80" y="0"/>
                  </a:lnTo>
                  <a:lnTo>
                    <a:pt x="80" y="0"/>
                  </a:lnTo>
                  <a:lnTo>
                    <a:pt x="84" y="0"/>
                  </a:lnTo>
                  <a:lnTo>
                    <a:pt x="84" y="3"/>
                  </a:lnTo>
                  <a:lnTo>
                    <a:pt x="84" y="10"/>
                  </a:lnTo>
                  <a:lnTo>
                    <a:pt x="84" y="19"/>
                  </a:lnTo>
                  <a:lnTo>
                    <a:pt x="84" y="22"/>
                  </a:lnTo>
                  <a:lnTo>
                    <a:pt x="86" y="28"/>
                  </a:lnTo>
                  <a:lnTo>
                    <a:pt x="86" y="28"/>
                  </a:lnTo>
                  <a:lnTo>
                    <a:pt x="87" y="35"/>
                  </a:lnTo>
                  <a:lnTo>
                    <a:pt x="86" y="40"/>
                  </a:lnTo>
                  <a:lnTo>
                    <a:pt x="84" y="43"/>
                  </a:lnTo>
                  <a:lnTo>
                    <a:pt x="79" y="43"/>
                  </a:lnTo>
                  <a:lnTo>
                    <a:pt x="79" y="43"/>
                  </a:lnTo>
                  <a:lnTo>
                    <a:pt x="77" y="45"/>
                  </a:lnTo>
                  <a:lnTo>
                    <a:pt x="75" y="47"/>
                  </a:lnTo>
                  <a:lnTo>
                    <a:pt x="73" y="52"/>
                  </a:lnTo>
                  <a:lnTo>
                    <a:pt x="72" y="57"/>
                  </a:lnTo>
                  <a:lnTo>
                    <a:pt x="68" y="59"/>
                  </a:lnTo>
                  <a:lnTo>
                    <a:pt x="63" y="61"/>
                  </a:lnTo>
                  <a:lnTo>
                    <a:pt x="63" y="61"/>
                  </a:lnTo>
                  <a:lnTo>
                    <a:pt x="60" y="62"/>
                  </a:lnTo>
                  <a:lnTo>
                    <a:pt x="58" y="64"/>
                  </a:lnTo>
                  <a:lnTo>
                    <a:pt x="58" y="68"/>
                  </a:lnTo>
                  <a:lnTo>
                    <a:pt x="56" y="73"/>
                  </a:lnTo>
                  <a:lnTo>
                    <a:pt x="54" y="76"/>
                  </a:lnTo>
                  <a:lnTo>
                    <a:pt x="51" y="82"/>
                  </a:lnTo>
                  <a:lnTo>
                    <a:pt x="44" y="88"/>
                  </a:lnTo>
                  <a:lnTo>
                    <a:pt x="44" y="88"/>
                  </a:lnTo>
                  <a:lnTo>
                    <a:pt x="23" y="109"/>
                  </a:lnTo>
                  <a:lnTo>
                    <a:pt x="14" y="118"/>
                  </a:lnTo>
                  <a:lnTo>
                    <a:pt x="14" y="118"/>
                  </a:lnTo>
                  <a:lnTo>
                    <a:pt x="11" y="123"/>
                  </a:lnTo>
                  <a:lnTo>
                    <a:pt x="6" y="129"/>
                  </a:lnTo>
                  <a:lnTo>
                    <a:pt x="4" y="129"/>
                  </a:lnTo>
                  <a:lnTo>
                    <a:pt x="2" y="129"/>
                  </a:lnTo>
                  <a:lnTo>
                    <a:pt x="0" y="129"/>
                  </a:lnTo>
                  <a:lnTo>
                    <a:pt x="2" y="125"/>
                  </a:lnTo>
                  <a:lnTo>
                    <a:pt x="2" y="12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4" name="Freeform 2173">
              <a:extLst>
                <a:ext uri="{FF2B5EF4-FFF2-40B4-BE49-F238E27FC236}">
                  <a16:creationId xmlns:a16="http://schemas.microsoft.com/office/drawing/2014/main" id="{41893E56-4FFB-4430-A19B-505F25FEBB82}"/>
                </a:ext>
              </a:extLst>
            </p:cNvPr>
            <p:cNvSpPr>
              <a:spLocks/>
            </p:cNvSpPr>
            <p:nvPr/>
          </p:nvSpPr>
          <p:spPr bwMode="auto">
            <a:xfrm>
              <a:off x="8088677" y="3880983"/>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5" name="Freeform 2174">
              <a:extLst>
                <a:ext uri="{FF2B5EF4-FFF2-40B4-BE49-F238E27FC236}">
                  <a16:creationId xmlns:a16="http://schemas.microsoft.com/office/drawing/2014/main" id="{B73A8D8F-FD20-461A-BF9F-CB476B0D756A}"/>
                </a:ext>
              </a:extLst>
            </p:cNvPr>
            <p:cNvSpPr>
              <a:spLocks/>
            </p:cNvSpPr>
            <p:nvPr/>
          </p:nvSpPr>
          <p:spPr bwMode="auto">
            <a:xfrm>
              <a:off x="8088677" y="3880983"/>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6" name="Freeform 2175">
              <a:extLst>
                <a:ext uri="{FF2B5EF4-FFF2-40B4-BE49-F238E27FC236}">
                  <a16:creationId xmlns:a16="http://schemas.microsoft.com/office/drawing/2014/main" id="{B914F968-C5B3-491D-9F51-42A96EEE5246}"/>
                </a:ext>
              </a:extLst>
            </p:cNvPr>
            <p:cNvSpPr>
              <a:spLocks/>
            </p:cNvSpPr>
            <p:nvPr/>
          </p:nvSpPr>
          <p:spPr bwMode="auto">
            <a:xfrm>
              <a:off x="9064824" y="3976133"/>
              <a:ext cx="35241" cy="29956"/>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7" name="Freeform 2176">
              <a:extLst>
                <a:ext uri="{FF2B5EF4-FFF2-40B4-BE49-F238E27FC236}">
                  <a16:creationId xmlns:a16="http://schemas.microsoft.com/office/drawing/2014/main" id="{BD1AFD5E-D6F8-4690-BFA7-C17D08B5A352}"/>
                </a:ext>
              </a:extLst>
            </p:cNvPr>
            <p:cNvSpPr>
              <a:spLocks/>
            </p:cNvSpPr>
            <p:nvPr/>
          </p:nvSpPr>
          <p:spPr bwMode="auto">
            <a:xfrm>
              <a:off x="9064824" y="3976133"/>
              <a:ext cx="35241" cy="29956"/>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8" name="Freeform 2177">
              <a:extLst>
                <a:ext uri="{FF2B5EF4-FFF2-40B4-BE49-F238E27FC236}">
                  <a16:creationId xmlns:a16="http://schemas.microsoft.com/office/drawing/2014/main" id="{4420B3A2-B70F-48AE-B709-B9D505529079}"/>
                </a:ext>
              </a:extLst>
            </p:cNvPr>
            <p:cNvSpPr>
              <a:spLocks/>
            </p:cNvSpPr>
            <p:nvPr/>
          </p:nvSpPr>
          <p:spPr bwMode="auto">
            <a:xfrm>
              <a:off x="2649383" y="3988466"/>
              <a:ext cx="66957" cy="44050"/>
            </a:xfrm>
            <a:custGeom>
              <a:avLst/>
              <a:gdLst/>
              <a:ahLst/>
              <a:cxnLst>
                <a:cxn ang="0">
                  <a:pos x="26" y="0"/>
                </a:cxn>
                <a:cxn ang="0">
                  <a:pos x="26" y="0"/>
                </a:cxn>
                <a:cxn ang="0">
                  <a:pos x="33" y="3"/>
                </a:cxn>
                <a:cxn ang="0">
                  <a:pos x="40" y="9"/>
                </a:cxn>
                <a:cxn ang="0">
                  <a:pos x="50" y="17"/>
                </a:cxn>
                <a:cxn ang="0">
                  <a:pos x="55" y="24"/>
                </a:cxn>
                <a:cxn ang="0">
                  <a:pos x="57" y="26"/>
                </a:cxn>
                <a:cxn ang="0">
                  <a:pos x="59" y="26"/>
                </a:cxn>
                <a:cxn ang="0">
                  <a:pos x="59" y="26"/>
                </a:cxn>
                <a:cxn ang="0">
                  <a:pos x="64" y="24"/>
                </a:cxn>
                <a:cxn ang="0">
                  <a:pos x="71" y="22"/>
                </a:cxn>
                <a:cxn ang="0">
                  <a:pos x="78" y="24"/>
                </a:cxn>
                <a:cxn ang="0">
                  <a:pos x="81" y="26"/>
                </a:cxn>
                <a:cxn ang="0">
                  <a:pos x="81" y="28"/>
                </a:cxn>
                <a:cxn ang="0">
                  <a:pos x="81" y="28"/>
                </a:cxn>
                <a:cxn ang="0">
                  <a:pos x="83" y="35"/>
                </a:cxn>
                <a:cxn ang="0">
                  <a:pos x="83" y="40"/>
                </a:cxn>
                <a:cxn ang="0">
                  <a:pos x="81" y="45"/>
                </a:cxn>
                <a:cxn ang="0">
                  <a:pos x="81" y="45"/>
                </a:cxn>
                <a:cxn ang="0">
                  <a:pos x="78" y="45"/>
                </a:cxn>
                <a:cxn ang="0">
                  <a:pos x="78" y="47"/>
                </a:cxn>
                <a:cxn ang="0">
                  <a:pos x="80" y="49"/>
                </a:cxn>
                <a:cxn ang="0">
                  <a:pos x="81" y="50"/>
                </a:cxn>
                <a:cxn ang="0">
                  <a:pos x="81" y="50"/>
                </a:cxn>
                <a:cxn ang="0">
                  <a:pos x="83" y="52"/>
                </a:cxn>
                <a:cxn ang="0">
                  <a:pos x="81" y="52"/>
                </a:cxn>
                <a:cxn ang="0">
                  <a:pos x="76" y="56"/>
                </a:cxn>
                <a:cxn ang="0">
                  <a:pos x="68" y="56"/>
                </a:cxn>
                <a:cxn ang="0">
                  <a:pos x="64" y="56"/>
                </a:cxn>
                <a:cxn ang="0">
                  <a:pos x="61" y="54"/>
                </a:cxn>
                <a:cxn ang="0">
                  <a:pos x="61" y="54"/>
                </a:cxn>
                <a:cxn ang="0">
                  <a:pos x="54" y="50"/>
                </a:cxn>
                <a:cxn ang="0">
                  <a:pos x="55" y="52"/>
                </a:cxn>
                <a:cxn ang="0">
                  <a:pos x="57" y="54"/>
                </a:cxn>
                <a:cxn ang="0">
                  <a:pos x="57" y="56"/>
                </a:cxn>
                <a:cxn ang="0">
                  <a:pos x="55" y="56"/>
                </a:cxn>
                <a:cxn ang="0">
                  <a:pos x="55" y="56"/>
                </a:cxn>
                <a:cxn ang="0">
                  <a:pos x="48" y="52"/>
                </a:cxn>
                <a:cxn ang="0">
                  <a:pos x="40" y="49"/>
                </a:cxn>
                <a:cxn ang="0">
                  <a:pos x="29" y="43"/>
                </a:cxn>
                <a:cxn ang="0">
                  <a:pos x="19" y="40"/>
                </a:cxn>
                <a:cxn ang="0">
                  <a:pos x="19" y="40"/>
                </a:cxn>
                <a:cxn ang="0">
                  <a:pos x="12" y="40"/>
                </a:cxn>
                <a:cxn ang="0">
                  <a:pos x="8" y="38"/>
                </a:cxn>
                <a:cxn ang="0">
                  <a:pos x="5" y="35"/>
                </a:cxn>
                <a:cxn ang="0">
                  <a:pos x="0" y="29"/>
                </a:cxn>
                <a:cxn ang="0">
                  <a:pos x="0" y="29"/>
                </a:cxn>
                <a:cxn ang="0">
                  <a:pos x="3" y="26"/>
                </a:cxn>
                <a:cxn ang="0">
                  <a:pos x="5" y="21"/>
                </a:cxn>
                <a:cxn ang="0">
                  <a:pos x="14" y="16"/>
                </a:cxn>
                <a:cxn ang="0">
                  <a:pos x="19" y="12"/>
                </a:cxn>
                <a:cxn ang="0">
                  <a:pos x="19" y="9"/>
                </a:cxn>
                <a:cxn ang="0">
                  <a:pos x="19" y="7"/>
                </a:cxn>
                <a:cxn ang="0">
                  <a:pos x="19" y="7"/>
                </a:cxn>
                <a:cxn ang="0">
                  <a:pos x="19" y="3"/>
                </a:cxn>
                <a:cxn ang="0">
                  <a:pos x="21" y="2"/>
                </a:cxn>
                <a:cxn ang="0">
                  <a:pos x="26" y="0"/>
                </a:cxn>
                <a:cxn ang="0">
                  <a:pos x="26" y="0"/>
                </a:cxn>
              </a:cxnLst>
              <a:rect l="0" t="0" r="r" b="b"/>
              <a:pathLst>
                <a:path w="83" h="56">
                  <a:moveTo>
                    <a:pt x="26" y="0"/>
                  </a:moveTo>
                  <a:lnTo>
                    <a:pt x="26" y="0"/>
                  </a:lnTo>
                  <a:lnTo>
                    <a:pt x="33" y="3"/>
                  </a:lnTo>
                  <a:lnTo>
                    <a:pt x="40" y="9"/>
                  </a:lnTo>
                  <a:lnTo>
                    <a:pt x="50" y="17"/>
                  </a:lnTo>
                  <a:lnTo>
                    <a:pt x="55" y="24"/>
                  </a:lnTo>
                  <a:lnTo>
                    <a:pt x="57" y="26"/>
                  </a:lnTo>
                  <a:lnTo>
                    <a:pt x="59" y="26"/>
                  </a:lnTo>
                  <a:lnTo>
                    <a:pt x="59" y="26"/>
                  </a:lnTo>
                  <a:lnTo>
                    <a:pt x="64" y="24"/>
                  </a:lnTo>
                  <a:lnTo>
                    <a:pt x="71" y="22"/>
                  </a:lnTo>
                  <a:lnTo>
                    <a:pt x="78" y="24"/>
                  </a:lnTo>
                  <a:lnTo>
                    <a:pt x="81" y="26"/>
                  </a:lnTo>
                  <a:lnTo>
                    <a:pt x="81" y="28"/>
                  </a:lnTo>
                  <a:lnTo>
                    <a:pt x="81" y="28"/>
                  </a:lnTo>
                  <a:lnTo>
                    <a:pt x="83" y="35"/>
                  </a:lnTo>
                  <a:lnTo>
                    <a:pt x="83" y="40"/>
                  </a:lnTo>
                  <a:lnTo>
                    <a:pt x="81" y="45"/>
                  </a:lnTo>
                  <a:lnTo>
                    <a:pt x="81" y="45"/>
                  </a:lnTo>
                  <a:lnTo>
                    <a:pt x="78" y="45"/>
                  </a:lnTo>
                  <a:lnTo>
                    <a:pt x="78" y="47"/>
                  </a:lnTo>
                  <a:lnTo>
                    <a:pt x="80" y="49"/>
                  </a:lnTo>
                  <a:lnTo>
                    <a:pt x="81" y="50"/>
                  </a:lnTo>
                  <a:lnTo>
                    <a:pt x="81" y="50"/>
                  </a:lnTo>
                  <a:lnTo>
                    <a:pt x="83" y="52"/>
                  </a:lnTo>
                  <a:lnTo>
                    <a:pt x="81" y="52"/>
                  </a:lnTo>
                  <a:lnTo>
                    <a:pt x="76" y="56"/>
                  </a:lnTo>
                  <a:lnTo>
                    <a:pt x="68" y="56"/>
                  </a:lnTo>
                  <a:lnTo>
                    <a:pt x="64" y="56"/>
                  </a:lnTo>
                  <a:lnTo>
                    <a:pt x="61" y="54"/>
                  </a:lnTo>
                  <a:lnTo>
                    <a:pt x="61" y="54"/>
                  </a:lnTo>
                  <a:lnTo>
                    <a:pt x="54" y="50"/>
                  </a:lnTo>
                  <a:lnTo>
                    <a:pt x="55" y="52"/>
                  </a:lnTo>
                  <a:lnTo>
                    <a:pt x="57" y="54"/>
                  </a:lnTo>
                  <a:lnTo>
                    <a:pt x="57" y="56"/>
                  </a:lnTo>
                  <a:lnTo>
                    <a:pt x="55" y="56"/>
                  </a:lnTo>
                  <a:lnTo>
                    <a:pt x="55" y="56"/>
                  </a:lnTo>
                  <a:lnTo>
                    <a:pt x="48" y="52"/>
                  </a:lnTo>
                  <a:lnTo>
                    <a:pt x="40" y="49"/>
                  </a:lnTo>
                  <a:lnTo>
                    <a:pt x="29" y="43"/>
                  </a:lnTo>
                  <a:lnTo>
                    <a:pt x="19" y="40"/>
                  </a:lnTo>
                  <a:lnTo>
                    <a:pt x="19" y="40"/>
                  </a:lnTo>
                  <a:lnTo>
                    <a:pt x="12" y="40"/>
                  </a:lnTo>
                  <a:lnTo>
                    <a:pt x="8" y="38"/>
                  </a:lnTo>
                  <a:lnTo>
                    <a:pt x="5" y="35"/>
                  </a:lnTo>
                  <a:lnTo>
                    <a:pt x="0" y="29"/>
                  </a:lnTo>
                  <a:lnTo>
                    <a:pt x="0" y="29"/>
                  </a:lnTo>
                  <a:lnTo>
                    <a:pt x="3" y="26"/>
                  </a:lnTo>
                  <a:lnTo>
                    <a:pt x="5" y="21"/>
                  </a:lnTo>
                  <a:lnTo>
                    <a:pt x="14" y="16"/>
                  </a:lnTo>
                  <a:lnTo>
                    <a:pt x="19" y="12"/>
                  </a:lnTo>
                  <a:lnTo>
                    <a:pt x="19" y="9"/>
                  </a:lnTo>
                  <a:lnTo>
                    <a:pt x="19" y="7"/>
                  </a:lnTo>
                  <a:lnTo>
                    <a:pt x="19" y="7"/>
                  </a:lnTo>
                  <a:lnTo>
                    <a:pt x="19" y="3"/>
                  </a:lnTo>
                  <a:lnTo>
                    <a:pt x="21" y="2"/>
                  </a:lnTo>
                  <a:lnTo>
                    <a:pt x="26" y="0"/>
                  </a:lnTo>
                  <a:lnTo>
                    <a:pt x="26"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9" name="Freeform 2178">
              <a:extLst>
                <a:ext uri="{FF2B5EF4-FFF2-40B4-BE49-F238E27FC236}">
                  <a16:creationId xmlns:a16="http://schemas.microsoft.com/office/drawing/2014/main" id="{B5912382-8A33-4F32-8B79-F9B44FFF3A7B}"/>
                </a:ext>
              </a:extLst>
            </p:cNvPr>
            <p:cNvSpPr>
              <a:spLocks/>
            </p:cNvSpPr>
            <p:nvPr/>
          </p:nvSpPr>
          <p:spPr bwMode="auto">
            <a:xfrm>
              <a:off x="2714056" y="4350481"/>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0" name="Freeform 2179">
              <a:extLst>
                <a:ext uri="{FF2B5EF4-FFF2-40B4-BE49-F238E27FC236}">
                  <a16:creationId xmlns:a16="http://schemas.microsoft.com/office/drawing/2014/main" id="{D5B1149F-30A2-48A2-B6FF-8F771B34C918}"/>
                </a:ext>
              </a:extLst>
            </p:cNvPr>
            <p:cNvSpPr>
              <a:spLocks/>
            </p:cNvSpPr>
            <p:nvPr/>
          </p:nvSpPr>
          <p:spPr bwMode="auto">
            <a:xfrm>
              <a:off x="2714056" y="4350481"/>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1" name="Freeform 2180">
              <a:extLst>
                <a:ext uri="{FF2B5EF4-FFF2-40B4-BE49-F238E27FC236}">
                  <a16:creationId xmlns:a16="http://schemas.microsoft.com/office/drawing/2014/main" id="{63031C47-71C8-401D-9D5C-E6A51A7C5385}"/>
                </a:ext>
              </a:extLst>
            </p:cNvPr>
            <p:cNvSpPr>
              <a:spLocks/>
            </p:cNvSpPr>
            <p:nvPr/>
          </p:nvSpPr>
          <p:spPr bwMode="auto">
            <a:xfrm>
              <a:off x="2714056" y="4350481"/>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lnTo>
                    <a:pt x="6" y="5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2" name="Freeform 2181">
              <a:extLst>
                <a:ext uri="{FF2B5EF4-FFF2-40B4-BE49-F238E27FC236}">
                  <a16:creationId xmlns:a16="http://schemas.microsoft.com/office/drawing/2014/main" id="{D63C9C8F-A91F-4BCC-923A-A823407DC9C0}"/>
                </a:ext>
              </a:extLst>
            </p:cNvPr>
            <p:cNvSpPr>
              <a:spLocks/>
            </p:cNvSpPr>
            <p:nvPr/>
          </p:nvSpPr>
          <p:spPr bwMode="auto">
            <a:xfrm>
              <a:off x="2744011" y="4373390"/>
              <a:ext cx="10572"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3" name="Freeform 2182">
              <a:extLst>
                <a:ext uri="{FF2B5EF4-FFF2-40B4-BE49-F238E27FC236}">
                  <a16:creationId xmlns:a16="http://schemas.microsoft.com/office/drawing/2014/main" id="{34FEBBE9-7C18-4364-8980-B74C63AEF5D1}"/>
                </a:ext>
              </a:extLst>
            </p:cNvPr>
            <p:cNvSpPr>
              <a:spLocks/>
            </p:cNvSpPr>
            <p:nvPr/>
          </p:nvSpPr>
          <p:spPr bwMode="auto">
            <a:xfrm>
              <a:off x="2770439" y="4380434"/>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4" name="Freeform 2183">
              <a:extLst>
                <a:ext uri="{FF2B5EF4-FFF2-40B4-BE49-F238E27FC236}">
                  <a16:creationId xmlns:a16="http://schemas.microsoft.com/office/drawing/2014/main" id="{5F0D52CB-5FB1-4B44-8FB1-F844D6529EB6}"/>
                </a:ext>
              </a:extLst>
            </p:cNvPr>
            <p:cNvSpPr>
              <a:spLocks/>
            </p:cNvSpPr>
            <p:nvPr/>
          </p:nvSpPr>
          <p:spPr bwMode="auto">
            <a:xfrm>
              <a:off x="2770439" y="4380434"/>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5" name="Freeform 2184">
              <a:extLst>
                <a:ext uri="{FF2B5EF4-FFF2-40B4-BE49-F238E27FC236}">
                  <a16:creationId xmlns:a16="http://schemas.microsoft.com/office/drawing/2014/main" id="{3F303E08-9058-41D7-B16A-520D42DE5E85}"/>
                </a:ext>
              </a:extLst>
            </p:cNvPr>
            <p:cNvSpPr>
              <a:spLocks/>
            </p:cNvSpPr>
            <p:nvPr/>
          </p:nvSpPr>
          <p:spPr bwMode="auto">
            <a:xfrm>
              <a:off x="2770439" y="4380434"/>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lnTo>
                    <a:pt x="0" y="12"/>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6" name="Freeform 2185">
              <a:extLst>
                <a:ext uri="{FF2B5EF4-FFF2-40B4-BE49-F238E27FC236}">
                  <a16:creationId xmlns:a16="http://schemas.microsoft.com/office/drawing/2014/main" id="{30610422-AD37-4320-9909-7638F5843E8B}"/>
                </a:ext>
              </a:extLst>
            </p:cNvPr>
            <p:cNvSpPr>
              <a:spLocks/>
            </p:cNvSpPr>
            <p:nvPr/>
          </p:nvSpPr>
          <p:spPr bwMode="auto">
            <a:xfrm>
              <a:off x="2735202" y="4361054"/>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7" name="Freeform 2186">
              <a:extLst>
                <a:ext uri="{FF2B5EF4-FFF2-40B4-BE49-F238E27FC236}">
                  <a16:creationId xmlns:a16="http://schemas.microsoft.com/office/drawing/2014/main" id="{6A737B3B-2349-48B4-8E56-B1F7151000D9}"/>
                </a:ext>
              </a:extLst>
            </p:cNvPr>
            <p:cNvSpPr>
              <a:spLocks/>
            </p:cNvSpPr>
            <p:nvPr/>
          </p:nvSpPr>
          <p:spPr bwMode="auto">
            <a:xfrm>
              <a:off x="2735202" y="4361054"/>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8" name="Freeform 2187">
              <a:extLst>
                <a:ext uri="{FF2B5EF4-FFF2-40B4-BE49-F238E27FC236}">
                  <a16:creationId xmlns:a16="http://schemas.microsoft.com/office/drawing/2014/main" id="{E100F8C9-86B0-4CD4-8F61-4E4FD2FC075C}"/>
                </a:ext>
              </a:extLst>
            </p:cNvPr>
            <p:cNvSpPr>
              <a:spLocks/>
            </p:cNvSpPr>
            <p:nvPr/>
          </p:nvSpPr>
          <p:spPr bwMode="auto">
            <a:xfrm>
              <a:off x="2735202" y="4361054"/>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lnTo>
                    <a:pt x="0"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9" name="Freeform 2188">
              <a:extLst>
                <a:ext uri="{FF2B5EF4-FFF2-40B4-BE49-F238E27FC236}">
                  <a16:creationId xmlns:a16="http://schemas.microsoft.com/office/drawing/2014/main" id="{538EED58-F7D9-4D2C-B871-ACFBA532831B}"/>
                </a:ext>
              </a:extLst>
            </p:cNvPr>
            <p:cNvSpPr>
              <a:spLocks/>
            </p:cNvSpPr>
            <p:nvPr/>
          </p:nvSpPr>
          <p:spPr bwMode="auto">
            <a:xfrm>
              <a:off x="2712295" y="4366340"/>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0" name="Freeform 2189">
              <a:extLst>
                <a:ext uri="{FF2B5EF4-FFF2-40B4-BE49-F238E27FC236}">
                  <a16:creationId xmlns:a16="http://schemas.microsoft.com/office/drawing/2014/main" id="{B4AC3617-1494-4E89-BF41-F42D313A7013}"/>
                </a:ext>
              </a:extLst>
            </p:cNvPr>
            <p:cNvSpPr>
              <a:spLocks/>
            </p:cNvSpPr>
            <p:nvPr/>
          </p:nvSpPr>
          <p:spPr bwMode="auto">
            <a:xfrm>
              <a:off x="2712295" y="4366340"/>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1" name="Freeform 2190">
              <a:extLst>
                <a:ext uri="{FF2B5EF4-FFF2-40B4-BE49-F238E27FC236}">
                  <a16:creationId xmlns:a16="http://schemas.microsoft.com/office/drawing/2014/main" id="{03317B9B-A2CF-4EA5-BF40-EBDA8E1A3ACA}"/>
                </a:ext>
              </a:extLst>
            </p:cNvPr>
            <p:cNvSpPr>
              <a:spLocks/>
            </p:cNvSpPr>
            <p:nvPr/>
          </p:nvSpPr>
          <p:spPr bwMode="auto">
            <a:xfrm>
              <a:off x="2712295" y="4366340"/>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lnTo>
                    <a:pt x="3" y="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2" name="Freeform 2191">
              <a:extLst>
                <a:ext uri="{FF2B5EF4-FFF2-40B4-BE49-F238E27FC236}">
                  <a16:creationId xmlns:a16="http://schemas.microsoft.com/office/drawing/2014/main" id="{71E33F21-53E6-469C-8272-489B843285B3}"/>
                </a:ext>
              </a:extLst>
            </p:cNvPr>
            <p:cNvSpPr>
              <a:spLocks/>
            </p:cNvSpPr>
            <p:nvPr/>
          </p:nvSpPr>
          <p:spPr bwMode="auto">
            <a:xfrm>
              <a:off x="2745773" y="4399820"/>
              <a:ext cx="3524" cy="3523"/>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3" name="Freeform 2192">
              <a:extLst>
                <a:ext uri="{FF2B5EF4-FFF2-40B4-BE49-F238E27FC236}">
                  <a16:creationId xmlns:a16="http://schemas.microsoft.com/office/drawing/2014/main" id="{922F8502-850F-4EA1-AC1F-F0278AC32FF4}"/>
                </a:ext>
              </a:extLst>
            </p:cNvPr>
            <p:cNvSpPr>
              <a:spLocks/>
            </p:cNvSpPr>
            <p:nvPr/>
          </p:nvSpPr>
          <p:spPr bwMode="auto">
            <a:xfrm>
              <a:off x="2745773" y="4399820"/>
              <a:ext cx="3524" cy="3523"/>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4" name="Freeform 2193">
              <a:extLst>
                <a:ext uri="{FF2B5EF4-FFF2-40B4-BE49-F238E27FC236}">
                  <a16:creationId xmlns:a16="http://schemas.microsoft.com/office/drawing/2014/main" id="{325267E9-622E-4271-A805-CA5AAE42A008}"/>
                </a:ext>
              </a:extLst>
            </p:cNvPr>
            <p:cNvSpPr>
              <a:spLocks/>
            </p:cNvSpPr>
            <p:nvPr/>
          </p:nvSpPr>
          <p:spPr bwMode="auto">
            <a:xfrm>
              <a:off x="2745773" y="4399820"/>
              <a:ext cx="3524" cy="3523"/>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lnTo>
                    <a:pt x="0"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5" name="Freeform 2194">
              <a:extLst>
                <a:ext uri="{FF2B5EF4-FFF2-40B4-BE49-F238E27FC236}">
                  <a16:creationId xmlns:a16="http://schemas.microsoft.com/office/drawing/2014/main" id="{A781E6AC-BE39-40BA-9BB3-57BAA99BE69E}"/>
                </a:ext>
              </a:extLst>
            </p:cNvPr>
            <p:cNvSpPr>
              <a:spLocks/>
            </p:cNvSpPr>
            <p:nvPr/>
          </p:nvSpPr>
          <p:spPr bwMode="auto">
            <a:xfrm>
              <a:off x="2744014" y="4343436"/>
              <a:ext cx="5285"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6" name="Freeform 2195">
              <a:extLst>
                <a:ext uri="{FF2B5EF4-FFF2-40B4-BE49-F238E27FC236}">
                  <a16:creationId xmlns:a16="http://schemas.microsoft.com/office/drawing/2014/main" id="{6ECF684B-522A-4B92-BE10-35810590684B}"/>
                </a:ext>
              </a:extLst>
            </p:cNvPr>
            <p:cNvSpPr>
              <a:spLocks/>
            </p:cNvSpPr>
            <p:nvPr/>
          </p:nvSpPr>
          <p:spPr bwMode="auto">
            <a:xfrm>
              <a:off x="2744014" y="4343436"/>
              <a:ext cx="5285"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7" name="Freeform 2196">
              <a:extLst>
                <a:ext uri="{FF2B5EF4-FFF2-40B4-BE49-F238E27FC236}">
                  <a16:creationId xmlns:a16="http://schemas.microsoft.com/office/drawing/2014/main" id="{BCE2D8CD-4748-4B4D-BB3B-427A4D590EE3}"/>
                </a:ext>
              </a:extLst>
            </p:cNvPr>
            <p:cNvSpPr>
              <a:spLocks/>
            </p:cNvSpPr>
            <p:nvPr/>
          </p:nvSpPr>
          <p:spPr bwMode="auto">
            <a:xfrm>
              <a:off x="2744013" y="4343436"/>
              <a:ext cx="5285"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48" name="Group 1013">
              <a:extLst>
                <a:ext uri="{FF2B5EF4-FFF2-40B4-BE49-F238E27FC236}">
                  <a16:creationId xmlns:a16="http://schemas.microsoft.com/office/drawing/2014/main" id="{EABF6D51-27D6-4154-A1D3-01AEF80715E9}"/>
                </a:ext>
              </a:extLst>
            </p:cNvPr>
            <p:cNvGrpSpPr/>
            <p:nvPr/>
          </p:nvGrpSpPr>
          <p:grpSpPr bwMode="auto">
            <a:xfrm>
              <a:off x="3089688" y="3797048"/>
              <a:ext cx="173246" cy="76999"/>
              <a:chOff x="2612864" y="3620077"/>
              <a:chExt cx="156090" cy="69373"/>
            </a:xfrm>
            <a:solidFill>
              <a:srgbClr val="808183">
                <a:lumMod val="60000"/>
                <a:lumOff val="40000"/>
              </a:srgbClr>
            </a:solidFill>
          </p:grpSpPr>
          <p:sp>
            <p:nvSpPr>
              <p:cNvPr id="389" name="Freeform 2198">
                <a:extLst>
                  <a:ext uri="{FF2B5EF4-FFF2-40B4-BE49-F238E27FC236}">
                    <a16:creationId xmlns:a16="http://schemas.microsoft.com/office/drawing/2014/main" id="{011DC39C-7953-4977-8E15-6E77D378DFEA}"/>
                  </a:ext>
                </a:extLst>
              </p:cNvPr>
              <p:cNvSpPr>
                <a:spLocks/>
              </p:cNvSpPr>
              <p:nvPr/>
            </p:nvSpPr>
            <p:spPr bwMode="auto">
              <a:xfrm>
                <a:off x="2612864" y="3620077"/>
                <a:ext cx="70819" cy="59257"/>
              </a:xfrm>
              <a:custGeom>
                <a:avLst/>
                <a:gdLst/>
                <a:ahLst/>
                <a:cxnLst>
                  <a:cxn ang="0">
                    <a:pos x="98" y="82"/>
                  </a:cxn>
                  <a:cxn ang="0">
                    <a:pos x="82" y="77"/>
                  </a:cxn>
                  <a:cxn ang="0">
                    <a:pos x="71" y="77"/>
                  </a:cxn>
                  <a:cxn ang="0">
                    <a:pos x="58" y="80"/>
                  </a:cxn>
                  <a:cxn ang="0">
                    <a:pos x="51" y="79"/>
                  </a:cxn>
                  <a:cxn ang="0">
                    <a:pos x="33" y="75"/>
                  </a:cxn>
                  <a:cxn ang="0">
                    <a:pos x="28" y="79"/>
                  </a:cxn>
                  <a:cxn ang="0">
                    <a:pos x="24" y="82"/>
                  </a:cxn>
                  <a:cxn ang="0">
                    <a:pos x="21" y="80"/>
                  </a:cxn>
                  <a:cxn ang="0">
                    <a:pos x="12" y="73"/>
                  </a:cxn>
                  <a:cxn ang="0">
                    <a:pos x="2" y="70"/>
                  </a:cxn>
                  <a:cxn ang="0">
                    <a:pos x="0" y="65"/>
                  </a:cxn>
                  <a:cxn ang="0">
                    <a:pos x="2" y="61"/>
                  </a:cxn>
                  <a:cxn ang="0">
                    <a:pos x="5" y="58"/>
                  </a:cxn>
                  <a:cxn ang="0">
                    <a:pos x="21" y="58"/>
                  </a:cxn>
                  <a:cxn ang="0">
                    <a:pos x="51" y="63"/>
                  </a:cxn>
                  <a:cxn ang="0">
                    <a:pos x="66" y="61"/>
                  </a:cxn>
                  <a:cxn ang="0">
                    <a:pos x="73" y="60"/>
                  </a:cxn>
                  <a:cxn ang="0">
                    <a:pos x="78" y="60"/>
                  </a:cxn>
                  <a:cxn ang="0">
                    <a:pos x="71" y="49"/>
                  </a:cxn>
                  <a:cxn ang="0">
                    <a:pos x="65" y="42"/>
                  </a:cxn>
                  <a:cxn ang="0">
                    <a:pos x="61" y="32"/>
                  </a:cxn>
                  <a:cxn ang="0">
                    <a:pos x="65" y="23"/>
                  </a:cxn>
                  <a:cxn ang="0">
                    <a:pos x="59" y="18"/>
                  </a:cxn>
                  <a:cxn ang="0">
                    <a:pos x="49" y="14"/>
                  </a:cxn>
                  <a:cxn ang="0">
                    <a:pos x="38" y="13"/>
                  </a:cxn>
                  <a:cxn ang="0">
                    <a:pos x="37" y="7"/>
                  </a:cxn>
                  <a:cxn ang="0">
                    <a:pos x="42" y="2"/>
                  </a:cxn>
                  <a:cxn ang="0">
                    <a:pos x="65" y="0"/>
                  </a:cxn>
                  <a:cxn ang="0">
                    <a:pos x="75" y="6"/>
                  </a:cxn>
                  <a:cxn ang="0">
                    <a:pos x="85" y="9"/>
                  </a:cxn>
                  <a:cxn ang="0">
                    <a:pos x="98" y="9"/>
                  </a:cxn>
                  <a:cxn ang="0">
                    <a:pos x="96" y="16"/>
                  </a:cxn>
                  <a:cxn ang="0">
                    <a:pos x="98" y="33"/>
                  </a:cxn>
                  <a:cxn ang="0">
                    <a:pos x="99" y="47"/>
                  </a:cxn>
                  <a:cxn ang="0">
                    <a:pos x="96" y="51"/>
                  </a:cxn>
                  <a:cxn ang="0">
                    <a:pos x="94" y="60"/>
                  </a:cxn>
                  <a:cxn ang="0">
                    <a:pos x="94" y="65"/>
                  </a:cxn>
                  <a:cxn ang="0">
                    <a:pos x="98" y="75"/>
                  </a:cxn>
                  <a:cxn ang="0">
                    <a:pos x="98" y="82"/>
                  </a:cxn>
                </a:cxnLst>
                <a:rect l="0" t="0" r="r" b="b"/>
                <a:pathLst>
                  <a:path w="99" h="82">
                    <a:moveTo>
                      <a:pt x="98" y="82"/>
                    </a:moveTo>
                    <a:lnTo>
                      <a:pt x="98" y="82"/>
                    </a:lnTo>
                    <a:lnTo>
                      <a:pt x="89" y="79"/>
                    </a:lnTo>
                    <a:lnTo>
                      <a:pt x="82" y="77"/>
                    </a:lnTo>
                    <a:lnTo>
                      <a:pt x="77" y="77"/>
                    </a:lnTo>
                    <a:lnTo>
                      <a:pt x="71" y="77"/>
                    </a:lnTo>
                    <a:lnTo>
                      <a:pt x="63" y="80"/>
                    </a:lnTo>
                    <a:lnTo>
                      <a:pt x="58" y="80"/>
                    </a:lnTo>
                    <a:lnTo>
                      <a:pt x="51" y="79"/>
                    </a:lnTo>
                    <a:lnTo>
                      <a:pt x="51" y="79"/>
                    </a:lnTo>
                    <a:lnTo>
                      <a:pt x="40" y="75"/>
                    </a:lnTo>
                    <a:lnTo>
                      <a:pt x="33" y="75"/>
                    </a:lnTo>
                    <a:lnTo>
                      <a:pt x="30" y="77"/>
                    </a:lnTo>
                    <a:lnTo>
                      <a:pt x="28" y="79"/>
                    </a:lnTo>
                    <a:lnTo>
                      <a:pt x="26" y="82"/>
                    </a:lnTo>
                    <a:lnTo>
                      <a:pt x="24" y="82"/>
                    </a:lnTo>
                    <a:lnTo>
                      <a:pt x="21" y="80"/>
                    </a:lnTo>
                    <a:lnTo>
                      <a:pt x="21" y="80"/>
                    </a:lnTo>
                    <a:lnTo>
                      <a:pt x="16" y="75"/>
                    </a:lnTo>
                    <a:lnTo>
                      <a:pt x="12" y="73"/>
                    </a:lnTo>
                    <a:lnTo>
                      <a:pt x="5" y="72"/>
                    </a:lnTo>
                    <a:lnTo>
                      <a:pt x="2" y="70"/>
                    </a:lnTo>
                    <a:lnTo>
                      <a:pt x="0" y="68"/>
                    </a:lnTo>
                    <a:lnTo>
                      <a:pt x="0" y="65"/>
                    </a:lnTo>
                    <a:lnTo>
                      <a:pt x="2" y="61"/>
                    </a:lnTo>
                    <a:lnTo>
                      <a:pt x="2" y="61"/>
                    </a:lnTo>
                    <a:lnTo>
                      <a:pt x="4" y="60"/>
                    </a:lnTo>
                    <a:lnTo>
                      <a:pt x="5" y="58"/>
                    </a:lnTo>
                    <a:lnTo>
                      <a:pt x="12" y="56"/>
                    </a:lnTo>
                    <a:lnTo>
                      <a:pt x="21" y="58"/>
                    </a:lnTo>
                    <a:lnTo>
                      <a:pt x="30" y="60"/>
                    </a:lnTo>
                    <a:lnTo>
                      <a:pt x="51" y="63"/>
                    </a:lnTo>
                    <a:lnTo>
                      <a:pt x="59" y="63"/>
                    </a:lnTo>
                    <a:lnTo>
                      <a:pt x="66" y="61"/>
                    </a:lnTo>
                    <a:lnTo>
                      <a:pt x="66" y="61"/>
                    </a:lnTo>
                    <a:lnTo>
                      <a:pt x="73" y="60"/>
                    </a:lnTo>
                    <a:lnTo>
                      <a:pt x="78" y="60"/>
                    </a:lnTo>
                    <a:lnTo>
                      <a:pt x="78" y="60"/>
                    </a:lnTo>
                    <a:lnTo>
                      <a:pt x="78" y="58"/>
                    </a:lnTo>
                    <a:lnTo>
                      <a:pt x="71" y="49"/>
                    </a:lnTo>
                    <a:lnTo>
                      <a:pt x="71" y="49"/>
                    </a:lnTo>
                    <a:lnTo>
                      <a:pt x="65" y="42"/>
                    </a:lnTo>
                    <a:lnTo>
                      <a:pt x="63" y="37"/>
                    </a:lnTo>
                    <a:lnTo>
                      <a:pt x="61" y="32"/>
                    </a:lnTo>
                    <a:lnTo>
                      <a:pt x="63" y="28"/>
                    </a:lnTo>
                    <a:lnTo>
                      <a:pt x="65" y="23"/>
                    </a:lnTo>
                    <a:lnTo>
                      <a:pt x="63" y="21"/>
                    </a:lnTo>
                    <a:lnTo>
                      <a:pt x="59" y="18"/>
                    </a:lnTo>
                    <a:lnTo>
                      <a:pt x="59" y="18"/>
                    </a:lnTo>
                    <a:lnTo>
                      <a:pt x="49" y="14"/>
                    </a:lnTo>
                    <a:lnTo>
                      <a:pt x="42" y="14"/>
                    </a:lnTo>
                    <a:lnTo>
                      <a:pt x="38" y="13"/>
                    </a:lnTo>
                    <a:lnTo>
                      <a:pt x="37" y="7"/>
                    </a:lnTo>
                    <a:lnTo>
                      <a:pt x="37" y="7"/>
                    </a:lnTo>
                    <a:lnTo>
                      <a:pt x="38" y="4"/>
                    </a:lnTo>
                    <a:lnTo>
                      <a:pt x="42" y="2"/>
                    </a:lnTo>
                    <a:lnTo>
                      <a:pt x="52" y="0"/>
                    </a:lnTo>
                    <a:lnTo>
                      <a:pt x="65" y="0"/>
                    </a:lnTo>
                    <a:lnTo>
                      <a:pt x="75" y="6"/>
                    </a:lnTo>
                    <a:lnTo>
                      <a:pt x="75" y="6"/>
                    </a:lnTo>
                    <a:lnTo>
                      <a:pt x="80" y="7"/>
                    </a:lnTo>
                    <a:lnTo>
                      <a:pt x="85" y="9"/>
                    </a:lnTo>
                    <a:lnTo>
                      <a:pt x="91" y="7"/>
                    </a:lnTo>
                    <a:lnTo>
                      <a:pt x="98" y="9"/>
                    </a:lnTo>
                    <a:lnTo>
                      <a:pt x="98" y="9"/>
                    </a:lnTo>
                    <a:lnTo>
                      <a:pt x="96" y="16"/>
                    </a:lnTo>
                    <a:lnTo>
                      <a:pt x="96" y="23"/>
                    </a:lnTo>
                    <a:lnTo>
                      <a:pt x="98" y="33"/>
                    </a:lnTo>
                    <a:lnTo>
                      <a:pt x="99" y="42"/>
                    </a:lnTo>
                    <a:lnTo>
                      <a:pt x="99" y="47"/>
                    </a:lnTo>
                    <a:lnTo>
                      <a:pt x="96" y="51"/>
                    </a:lnTo>
                    <a:lnTo>
                      <a:pt x="96" y="51"/>
                    </a:lnTo>
                    <a:lnTo>
                      <a:pt x="94" y="56"/>
                    </a:lnTo>
                    <a:lnTo>
                      <a:pt x="94" y="60"/>
                    </a:lnTo>
                    <a:lnTo>
                      <a:pt x="94" y="63"/>
                    </a:lnTo>
                    <a:lnTo>
                      <a:pt x="94" y="65"/>
                    </a:lnTo>
                    <a:lnTo>
                      <a:pt x="98" y="70"/>
                    </a:lnTo>
                    <a:lnTo>
                      <a:pt x="98" y="75"/>
                    </a:lnTo>
                    <a:lnTo>
                      <a:pt x="98" y="82"/>
                    </a:lnTo>
                    <a:lnTo>
                      <a:pt x="98" y="8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0" name="Freeform 2199">
                <a:extLst>
                  <a:ext uri="{FF2B5EF4-FFF2-40B4-BE49-F238E27FC236}">
                    <a16:creationId xmlns:a16="http://schemas.microsoft.com/office/drawing/2014/main" id="{17282D4A-81AA-45DF-95B1-F618F6DE5A79}"/>
                  </a:ext>
                </a:extLst>
              </p:cNvPr>
              <p:cNvSpPr>
                <a:spLocks/>
              </p:cNvSpPr>
              <p:nvPr/>
            </p:nvSpPr>
            <p:spPr bwMode="auto">
              <a:xfrm>
                <a:off x="2680791" y="3620077"/>
                <a:ext cx="88163" cy="69373"/>
              </a:xfrm>
              <a:custGeom>
                <a:avLst/>
                <a:gdLst/>
                <a:ahLst/>
                <a:cxnLst>
                  <a:cxn ang="0">
                    <a:pos x="4" y="9"/>
                  </a:cxn>
                  <a:cxn ang="0">
                    <a:pos x="2" y="23"/>
                  </a:cxn>
                  <a:cxn ang="0">
                    <a:pos x="5" y="42"/>
                  </a:cxn>
                  <a:cxn ang="0">
                    <a:pos x="2" y="51"/>
                  </a:cxn>
                  <a:cxn ang="0">
                    <a:pos x="0" y="56"/>
                  </a:cxn>
                  <a:cxn ang="0">
                    <a:pos x="0" y="63"/>
                  </a:cxn>
                  <a:cxn ang="0">
                    <a:pos x="4" y="70"/>
                  </a:cxn>
                  <a:cxn ang="0">
                    <a:pos x="4" y="82"/>
                  </a:cxn>
                  <a:cxn ang="0">
                    <a:pos x="7" y="89"/>
                  </a:cxn>
                  <a:cxn ang="0">
                    <a:pos x="14" y="96"/>
                  </a:cxn>
                  <a:cxn ang="0">
                    <a:pos x="19" y="94"/>
                  </a:cxn>
                  <a:cxn ang="0">
                    <a:pos x="26" y="84"/>
                  </a:cxn>
                  <a:cxn ang="0">
                    <a:pos x="31" y="75"/>
                  </a:cxn>
                  <a:cxn ang="0">
                    <a:pos x="42" y="66"/>
                  </a:cxn>
                  <a:cxn ang="0">
                    <a:pos x="45" y="70"/>
                  </a:cxn>
                  <a:cxn ang="0">
                    <a:pos x="47" y="75"/>
                  </a:cxn>
                  <a:cxn ang="0">
                    <a:pos x="56" y="73"/>
                  </a:cxn>
                  <a:cxn ang="0">
                    <a:pos x="65" y="70"/>
                  </a:cxn>
                  <a:cxn ang="0">
                    <a:pos x="75" y="65"/>
                  </a:cxn>
                  <a:cxn ang="0">
                    <a:pos x="99" y="66"/>
                  </a:cxn>
                  <a:cxn ang="0">
                    <a:pos x="108" y="72"/>
                  </a:cxn>
                  <a:cxn ang="0">
                    <a:pos x="113" y="72"/>
                  </a:cxn>
                  <a:cxn ang="0">
                    <a:pos x="120" y="68"/>
                  </a:cxn>
                  <a:cxn ang="0">
                    <a:pos x="122" y="61"/>
                  </a:cxn>
                  <a:cxn ang="0">
                    <a:pos x="120" y="53"/>
                  </a:cxn>
                  <a:cxn ang="0">
                    <a:pos x="110" y="44"/>
                  </a:cxn>
                  <a:cxn ang="0">
                    <a:pos x="99" y="40"/>
                  </a:cxn>
                  <a:cxn ang="0">
                    <a:pos x="91" y="40"/>
                  </a:cxn>
                  <a:cxn ang="0">
                    <a:pos x="84" y="37"/>
                  </a:cxn>
                  <a:cxn ang="0">
                    <a:pos x="85" y="33"/>
                  </a:cxn>
                  <a:cxn ang="0">
                    <a:pos x="89" y="33"/>
                  </a:cxn>
                  <a:cxn ang="0">
                    <a:pos x="96" y="30"/>
                  </a:cxn>
                  <a:cxn ang="0">
                    <a:pos x="91" y="26"/>
                  </a:cxn>
                  <a:cxn ang="0">
                    <a:pos x="80" y="28"/>
                  </a:cxn>
                  <a:cxn ang="0">
                    <a:pos x="72" y="26"/>
                  </a:cxn>
                  <a:cxn ang="0">
                    <a:pos x="68" y="19"/>
                  </a:cxn>
                  <a:cxn ang="0">
                    <a:pos x="65" y="13"/>
                  </a:cxn>
                  <a:cxn ang="0">
                    <a:pos x="61" y="13"/>
                  </a:cxn>
                  <a:cxn ang="0">
                    <a:pos x="52" y="13"/>
                  </a:cxn>
                  <a:cxn ang="0">
                    <a:pos x="35" y="2"/>
                  </a:cxn>
                  <a:cxn ang="0">
                    <a:pos x="28" y="2"/>
                  </a:cxn>
                  <a:cxn ang="0">
                    <a:pos x="25" y="4"/>
                  </a:cxn>
                  <a:cxn ang="0">
                    <a:pos x="14" y="4"/>
                  </a:cxn>
                  <a:cxn ang="0">
                    <a:pos x="7" y="6"/>
                  </a:cxn>
                </a:cxnLst>
                <a:rect l="0" t="0" r="r" b="b"/>
                <a:pathLst>
                  <a:path w="122" h="96">
                    <a:moveTo>
                      <a:pt x="4" y="9"/>
                    </a:moveTo>
                    <a:lnTo>
                      <a:pt x="4" y="9"/>
                    </a:lnTo>
                    <a:lnTo>
                      <a:pt x="2" y="16"/>
                    </a:lnTo>
                    <a:lnTo>
                      <a:pt x="2" y="23"/>
                    </a:lnTo>
                    <a:lnTo>
                      <a:pt x="4" y="33"/>
                    </a:lnTo>
                    <a:lnTo>
                      <a:pt x="5" y="42"/>
                    </a:lnTo>
                    <a:lnTo>
                      <a:pt x="5" y="47"/>
                    </a:lnTo>
                    <a:lnTo>
                      <a:pt x="2" y="51"/>
                    </a:lnTo>
                    <a:lnTo>
                      <a:pt x="2" y="51"/>
                    </a:lnTo>
                    <a:lnTo>
                      <a:pt x="0" y="56"/>
                    </a:lnTo>
                    <a:lnTo>
                      <a:pt x="0" y="60"/>
                    </a:lnTo>
                    <a:lnTo>
                      <a:pt x="0" y="63"/>
                    </a:lnTo>
                    <a:lnTo>
                      <a:pt x="0" y="65"/>
                    </a:lnTo>
                    <a:lnTo>
                      <a:pt x="4" y="70"/>
                    </a:lnTo>
                    <a:lnTo>
                      <a:pt x="4" y="75"/>
                    </a:lnTo>
                    <a:lnTo>
                      <a:pt x="4" y="82"/>
                    </a:lnTo>
                    <a:lnTo>
                      <a:pt x="4" y="82"/>
                    </a:lnTo>
                    <a:lnTo>
                      <a:pt x="7" y="89"/>
                    </a:lnTo>
                    <a:lnTo>
                      <a:pt x="11" y="94"/>
                    </a:lnTo>
                    <a:lnTo>
                      <a:pt x="14" y="96"/>
                    </a:lnTo>
                    <a:lnTo>
                      <a:pt x="16" y="96"/>
                    </a:lnTo>
                    <a:lnTo>
                      <a:pt x="19" y="94"/>
                    </a:lnTo>
                    <a:lnTo>
                      <a:pt x="21" y="91"/>
                    </a:lnTo>
                    <a:lnTo>
                      <a:pt x="26" y="84"/>
                    </a:lnTo>
                    <a:lnTo>
                      <a:pt x="26" y="84"/>
                    </a:lnTo>
                    <a:lnTo>
                      <a:pt x="31" y="75"/>
                    </a:lnTo>
                    <a:lnTo>
                      <a:pt x="37" y="68"/>
                    </a:lnTo>
                    <a:lnTo>
                      <a:pt x="42" y="66"/>
                    </a:lnTo>
                    <a:lnTo>
                      <a:pt x="44" y="68"/>
                    </a:lnTo>
                    <a:lnTo>
                      <a:pt x="45" y="70"/>
                    </a:lnTo>
                    <a:lnTo>
                      <a:pt x="45" y="70"/>
                    </a:lnTo>
                    <a:lnTo>
                      <a:pt x="47" y="75"/>
                    </a:lnTo>
                    <a:lnTo>
                      <a:pt x="51" y="77"/>
                    </a:lnTo>
                    <a:lnTo>
                      <a:pt x="56" y="73"/>
                    </a:lnTo>
                    <a:lnTo>
                      <a:pt x="65" y="70"/>
                    </a:lnTo>
                    <a:lnTo>
                      <a:pt x="65" y="70"/>
                    </a:lnTo>
                    <a:lnTo>
                      <a:pt x="68" y="66"/>
                    </a:lnTo>
                    <a:lnTo>
                      <a:pt x="75" y="65"/>
                    </a:lnTo>
                    <a:lnTo>
                      <a:pt x="87" y="65"/>
                    </a:lnTo>
                    <a:lnTo>
                      <a:pt x="99" y="66"/>
                    </a:lnTo>
                    <a:lnTo>
                      <a:pt x="108" y="72"/>
                    </a:lnTo>
                    <a:lnTo>
                      <a:pt x="108" y="72"/>
                    </a:lnTo>
                    <a:lnTo>
                      <a:pt x="110" y="73"/>
                    </a:lnTo>
                    <a:lnTo>
                      <a:pt x="113" y="72"/>
                    </a:lnTo>
                    <a:lnTo>
                      <a:pt x="117" y="70"/>
                    </a:lnTo>
                    <a:lnTo>
                      <a:pt x="120" y="68"/>
                    </a:lnTo>
                    <a:lnTo>
                      <a:pt x="122" y="65"/>
                    </a:lnTo>
                    <a:lnTo>
                      <a:pt x="122" y="61"/>
                    </a:lnTo>
                    <a:lnTo>
                      <a:pt x="122" y="56"/>
                    </a:lnTo>
                    <a:lnTo>
                      <a:pt x="120" y="53"/>
                    </a:lnTo>
                    <a:lnTo>
                      <a:pt x="120" y="53"/>
                    </a:lnTo>
                    <a:lnTo>
                      <a:pt x="110" y="44"/>
                    </a:lnTo>
                    <a:lnTo>
                      <a:pt x="106" y="40"/>
                    </a:lnTo>
                    <a:lnTo>
                      <a:pt x="99" y="40"/>
                    </a:lnTo>
                    <a:lnTo>
                      <a:pt x="99" y="40"/>
                    </a:lnTo>
                    <a:lnTo>
                      <a:pt x="91" y="40"/>
                    </a:lnTo>
                    <a:lnTo>
                      <a:pt x="85" y="39"/>
                    </a:lnTo>
                    <a:lnTo>
                      <a:pt x="84" y="37"/>
                    </a:lnTo>
                    <a:lnTo>
                      <a:pt x="84" y="35"/>
                    </a:lnTo>
                    <a:lnTo>
                      <a:pt x="85" y="33"/>
                    </a:lnTo>
                    <a:lnTo>
                      <a:pt x="89" y="33"/>
                    </a:lnTo>
                    <a:lnTo>
                      <a:pt x="89" y="33"/>
                    </a:lnTo>
                    <a:lnTo>
                      <a:pt x="96" y="30"/>
                    </a:lnTo>
                    <a:lnTo>
                      <a:pt x="96" y="30"/>
                    </a:lnTo>
                    <a:lnTo>
                      <a:pt x="96" y="28"/>
                    </a:lnTo>
                    <a:lnTo>
                      <a:pt x="91" y="26"/>
                    </a:lnTo>
                    <a:lnTo>
                      <a:pt x="80" y="28"/>
                    </a:lnTo>
                    <a:lnTo>
                      <a:pt x="80" y="28"/>
                    </a:lnTo>
                    <a:lnTo>
                      <a:pt x="75" y="28"/>
                    </a:lnTo>
                    <a:lnTo>
                      <a:pt x="72" y="26"/>
                    </a:lnTo>
                    <a:lnTo>
                      <a:pt x="70" y="23"/>
                    </a:lnTo>
                    <a:lnTo>
                      <a:pt x="68" y="19"/>
                    </a:lnTo>
                    <a:lnTo>
                      <a:pt x="66" y="14"/>
                    </a:lnTo>
                    <a:lnTo>
                      <a:pt x="65" y="13"/>
                    </a:lnTo>
                    <a:lnTo>
                      <a:pt x="61" y="13"/>
                    </a:lnTo>
                    <a:lnTo>
                      <a:pt x="61" y="13"/>
                    </a:lnTo>
                    <a:lnTo>
                      <a:pt x="58" y="13"/>
                    </a:lnTo>
                    <a:lnTo>
                      <a:pt x="52" y="13"/>
                    </a:lnTo>
                    <a:lnTo>
                      <a:pt x="44" y="7"/>
                    </a:lnTo>
                    <a:lnTo>
                      <a:pt x="35" y="2"/>
                    </a:lnTo>
                    <a:lnTo>
                      <a:pt x="31" y="0"/>
                    </a:lnTo>
                    <a:lnTo>
                      <a:pt x="28" y="2"/>
                    </a:lnTo>
                    <a:lnTo>
                      <a:pt x="28" y="2"/>
                    </a:lnTo>
                    <a:lnTo>
                      <a:pt x="25" y="4"/>
                    </a:lnTo>
                    <a:lnTo>
                      <a:pt x="21" y="4"/>
                    </a:lnTo>
                    <a:lnTo>
                      <a:pt x="14" y="4"/>
                    </a:lnTo>
                    <a:lnTo>
                      <a:pt x="9" y="4"/>
                    </a:lnTo>
                    <a:lnTo>
                      <a:pt x="7" y="6"/>
                    </a:lnTo>
                    <a:lnTo>
                      <a:pt x="4"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1" name="Freeform 2200">
                <a:extLst>
                  <a:ext uri="{FF2B5EF4-FFF2-40B4-BE49-F238E27FC236}">
                    <a16:creationId xmlns:a16="http://schemas.microsoft.com/office/drawing/2014/main" id="{03AC09E0-D7EA-4D67-B5CC-0A7FC0F26548}"/>
                  </a:ext>
                </a:extLst>
              </p:cNvPr>
              <p:cNvSpPr>
                <a:spLocks/>
              </p:cNvSpPr>
              <p:nvPr/>
            </p:nvSpPr>
            <p:spPr bwMode="auto">
              <a:xfrm>
                <a:off x="2641767" y="3650452"/>
                <a:ext cx="13008" cy="7226"/>
              </a:xfrm>
              <a:custGeom>
                <a:avLst/>
                <a:gdLst/>
                <a:ahLst/>
                <a:cxnLst>
                  <a:cxn ang="0">
                    <a:pos x="0" y="4"/>
                  </a:cxn>
                  <a:cxn ang="0">
                    <a:pos x="0" y="4"/>
                  </a:cxn>
                  <a:cxn ang="0">
                    <a:pos x="0" y="2"/>
                  </a:cxn>
                  <a:cxn ang="0">
                    <a:pos x="3" y="0"/>
                  </a:cxn>
                  <a:cxn ang="0">
                    <a:pos x="9" y="2"/>
                  </a:cxn>
                  <a:cxn ang="0">
                    <a:pos x="16" y="5"/>
                  </a:cxn>
                  <a:cxn ang="0">
                    <a:pos x="17" y="7"/>
                  </a:cxn>
                  <a:cxn ang="0">
                    <a:pos x="17" y="11"/>
                  </a:cxn>
                  <a:cxn ang="0">
                    <a:pos x="17" y="11"/>
                  </a:cxn>
                  <a:cxn ang="0">
                    <a:pos x="16" y="11"/>
                  </a:cxn>
                  <a:cxn ang="0">
                    <a:pos x="14" y="11"/>
                  </a:cxn>
                  <a:cxn ang="0">
                    <a:pos x="7" y="11"/>
                  </a:cxn>
                  <a:cxn ang="0">
                    <a:pos x="2" y="7"/>
                  </a:cxn>
                  <a:cxn ang="0">
                    <a:pos x="0" y="4"/>
                  </a:cxn>
                </a:cxnLst>
                <a:rect l="0" t="0" r="r" b="b"/>
                <a:pathLst>
                  <a:path w="17" h="11">
                    <a:moveTo>
                      <a:pt x="0" y="4"/>
                    </a:moveTo>
                    <a:lnTo>
                      <a:pt x="0" y="4"/>
                    </a:lnTo>
                    <a:lnTo>
                      <a:pt x="0" y="2"/>
                    </a:lnTo>
                    <a:lnTo>
                      <a:pt x="3" y="0"/>
                    </a:lnTo>
                    <a:lnTo>
                      <a:pt x="9" y="2"/>
                    </a:lnTo>
                    <a:lnTo>
                      <a:pt x="16" y="5"/>
                    </a:lnTo>
                    <a:lnTo>
                      <a:pt x="17" y="7"/>
                    </a:lnTo>
                    <a:lnTo>
                      <a:pt x="17" y="11"/>
                    </a:lnTo>
                    <a:lnTo>
                      <a:pt x="17" y="11"/>
                    </a:lnTo>
                    <a:lnTo>
                      <a:pt x="16" y="11"/>
                    </a:lnTo>
                    <a:lnTo>
                      <a:pt x="14" y="11"/>
                    </a:lnTo>
                    <a:lnTo>
                      <a:pt x="7" y="11"/>
                    </a:lnTo>
                    <a:lnTo>
                      <a:pt x="2" y="7"/>
                    </a:lnTo>
                    <a:lnTo>
                      <a:pt x="0" y="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49" name="Freeform 2201">
              <a:extLst>
                <a:ext uri="{FF2B5EF4-FFF2-40B4-BE49-F238E27FC236}">
                  <a16:creationId xmlns:a16="http://schemas.microsoft.com/office/drawing/2014/main" id="{78E13F6B-239E-4100-91E9-17595DAE7636}"/>
                </a:ext>
              </a:extLst>
            </p:cNvPr>
            <p:cNvSpPr>
              <a:spLocks/>
            </p:cNvSpPr>
            <p:nvPr/>
          </p:nvSpPr>
          <p:spPr bwMode="auto">
            <a:xfrm>
              <a:off x="4881837" y="2693392"/>
              <a:ext cx="22906" cy="29956"/>
            </a:xfrm>
            <a:custGeom>
              <a:avLst/>
              <a:gdLst/>
              <a:ahLst/>
              <a:cxnLst>
                <a:cxn ang="0">
                  <a:pos x="21" y="36"/>
                </a:cxn>
                <a:cxn ang="0">
                  <a:pos x="21" y="36"/>
                </a:cxn>
                <a:cxn ang="0">
                  <a:pos x="22" y="29"/>
                </a:cxn>
                <a:cxn ang="0">
                  <a:pos x="26" y="26"/>
                </a:cxn>
                <a:cxn ang="0">
                  <a:pos x="28" y="22"/>
                </a:cxn>
                <a:cxn ang="0">
                  <a:pos x="28" y="19"/>
                </a:cxn>
                <a:cxn ang="0">
                  <a:pos x="28" y="19"/>
                </a:cxn>
                <a:cxn ang="0">
                  <a:pos x="24" y="17"/>
                </a:cxn>
                <a:cxn ang="0">
                  <a:pos x="19" y="14"/>
                </a:cxn>
                <a:cxn ang="0">
                  <a:pos x="15" y="12"/>
                </a:cxn>
                <a:cxn ang="0">
                  <a:pos x="14" y="10"/>
                </a:cxn>
                <a:cxn ang="0">
                  <a:pos x="14" y="5"/>
                </a:cxn>
                <a:cxn ang="0">
                  <a:pos x="14" y="0"/>
                </a:cxn>
                <a:cxn ang="0">
                  <a:pos x="14" y="0"/>
                </a:cxn>
                <a:cxn ang="0">
                  <a:pos x="7" y="3"/>
                </a:cxn>
                <a:cxn ang="0">
                  <a:pos x="3" y="9"/>
                </a:cxn>
                <a:cxn ang="0">
                  <a:pos x="0" y="14"/>
                </a:cxn>
                <a:cxn ang="0">
                  <a:pos x="0" y="19"/>
                </a:cxn>
                <a:cxn ang="0">
                  <a:pos x="2" y="28"/>
                </a:cxn>
                <a:cxn ang="0">
                  <a:pos x="2" y="35"/>
                </a:cxn>
                <a:cxn ang="0">
                  <a:pos x="2" y="35"/>
                </a:cxn>
                <a:cxn ang="0">
                  <a:pos x="12" y="36"/>
                </a:cxn>
                <a:cxn ang="0">
                  <a:pos x="21" y="36"/>
                </a:cxn>
                <a:cxn ang="0">
                  <a:pos x="21" y="36"/>
                </a:cxn>
              </a:cxnLst>
              <a:rect l="0" t="0" r="r" b="b"/>
              <a:pathLst>
                <a:path w="28" h="36">
                  <a:moveTo>
                    <a:pt x="21" y="36"/>
                  </a:moveTo>
                  <a:lnTo>
                    <a:pt x="21" y="36"/>
                  </a:lnTo>
                  <a:lnTo>
                    <a:pt x="22" y="29"/>
                  </a:lnTo>
                  <a:lnTo>
                    <a:pt x="26" y="26"/>
                  </a:lnTo>
                  <a:lnTo>
                    <a:pt x="28" y="22"/>
                  </a:lnTo>
                  <a:lnTo>
                    <a:pt x="28" y="19"/>
                  </a:lnTo>
                  <a:lnTo>
                    <a:pt x="28" y="19"/>
                  </a:lnTo>
                  <a:lnTo>
                    <a:pt x="24" y="17"/>
                  </a:lnTo>
                  <a:lnTo>
                    <a:pt x="19" y="14"/>
                  </a:lnTo>
                  <a:lnTo>
                    <a:pt x="15" y="12"/>
                  </a:lnTo>
                  <a:lnTo>
                    <a:pt x="14" y="10"/>
                  </a:lnTo>
                  <a:lnTo>
                    <a:pt x="14" y="5"/>
                  </a:lnTo>
                  <a:lnTo>
                    <a:pt x="14" y="0"/>
                  </a:lnTo>
                  <a:lnTo>
                    <a:pt x="14" y="0"/>
                  </a:lnTo>
                  <a:lnTo>
                    <a:pt x="7" y="3"/>
                  </a:lnTo>
                  <a:lnTo>
                    <a:pt x="3" y="9"/>
                  </a:lnTo>
                  <a:lnTo>
                    <a:pt x="0" y="14"/>
                  </a:lnTo>
                  <a:lnTo>
                    <a:pt x="0" y="19"/>
                  </a:lnTo>
                  <a:lnTo>
                    <a:pt x="2" y="28"/>
                  </a:lnTo>
                  <a:lnTo>
                    <a:pt x="2" y="35"/>
                  </a:lnTo>
                  <a:lnTo>
                    <a:pt x="2" y="35"/>
                  </a:lnTo>
                  <a:lnTo>
                    <a:pt x="12" y="36"/>
                  </a:lnTo>
                  <a:lnTo>
                    <a:pt x="21" y="36"/>
                  </a:lnTo>
                  <a:lnTo>
                    <a:pt x="21" y="3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0" name="Freeform 2202">
              <a:extLst>
                <a:ext uri="{FF2B5EF4-FFF2-40B4-BE49-F238E27FC236}">
                  <a16:creationId xmlns:a16="http://schemas.microsoft.com/office/drawing/2014/main" id="{56B334E6-1128-49CF-9548-F853C04CCFAF}"/>
                </a:ext>
              </a:extLst>
            </p:cNvPr>
            <p:cNvSpPr>
              <a:spLocks/>
            </p:cNvSpPr>
            <p:nvPr/>
          </p:nvSpPr>
          <p:spPr bwMode="auto">
            <a:xfrm>
              <a:off x="5709974" y="3301283"/>
              <a:ext cx="42289" cy="61670"/>
            </a:xfrm>
            <a:custGeom>
              <a:avLst/>
              <a:gdLst/>
              <a:ahLst/>
              <a:cxnLst>
                <a:cxn ang="0">
                  <a:pos x="17" y="66"/>
                </a:cxn>
                <a:cxn ang="0">
                  <a:pos x="15" y="65"/>
                </a:cxn>
                <a:cxn ang="0">
                  <a:pos x="14" y="73"/>
                </a:cxn>
                <a:cxn ang="0">
                  <a:pos x="10" y="75"/>
                </a:cxn>
                <a:cxn ang="0">
                  <a:pos x="0" y="73"/>
                </a:cxn>
                <a:cxn ang="0">
                  <a:pos x="3" y="65"/>
                </a:cxn>
                <a:cxn ang="0">
                  <a:pos x="8" y="56"/>
                </a:cxn>
                <a:cxn ang="0">
                  <a:pos x="12" y="45"/>
                </a:cxn>
                <a:cxn ang="0">
                  <a:pos x="17" y="35"/>
                </a:cxn>
                <a:cxn ang="0">
                  <a:pos x="17" y="26"/>
                </a:cxn>
                <a:cxn ang="0">
                  <a:pos x="17" y="21"/>
                </a:cxn>
                <a:cxn ang="0">
                  <a:pos x="24" y="12"/>
                </a:cxn>
                <a:cxn ang="0">
                  <a:pos x="29" y="5"/>
                </a:cxn>
                <a:cxn ang="0">
                  <a:pos x="29" y="0"/>
                </a:cxn>
                <a:cxn ang="0">
                  <a:pos x="38" y="2"/>
                </a:cxn>
                <a:cxn ang="0">
                  <a:pos x="41" y="0"/>
                </a:cxn>
                <a:cxn ang="0">
                  <a:pos x="43" y="0"/>
                </a:cxn>
                <a:cxn ang="0">
                  <a:pos x="45" y="5"/>
                </a:cxn>
                <a:cxn ang="0">
                  <a:pos x="43" y="7"/>
                </a:cxn>
                <a:cxn ang="0">
                  <a:pos x="48" y="12"/>
                </a:cxn>
                <a:cxn ang="0">
                  <a:pos x="54" y="23"/>
                </a:cxn>
                <a:cxn ang="0">
                  <a:pos x="52" y="26"/>
                </a:cxn>
                <a:cxn ang="0">
                  <a:pos x="43" y="32"/>
                </a:cxn>
                <a:cxn ang="0">
                  <a:pos x="41" y="35"/>
                </a:cxn>
                <a:cxn ang="0">
                  <a:pos x="43" y="39"/>
                </a:cxn>
                <a:cxn ang="0">
                  <a:pos x="45" y="40"/>
                </a:cxn>
                <a:cxn ang="0">
                  <a:pos x="34" y="40"/>
                </a:cxn>
                <a:cxn ang="0">
                  <a:pos x="33" y="42"/>
                </a:cxn>
                <a:cxn ang="0">
                  <a:pos x="29" y="45"/>
                </a:cxn>
                <a:cxn ang="0">
                  <a:pos x="31" y="49"/>
                </a:cxn>
                <a:cxn ang="0">
                  <a:pos x="33" y="51"/>
                </a:cxn>
                <a:cxn ang="0">
                  <a:pos x="26" y="59"/>
                </a:cxn>
                <a:cxn ang="0">
                  <a:pos x="17" y="66"/>
                </a:cxn>
              </a:cxnLst>
              <a:rect l="0" t="0" r="r" b="b"/>
              <a:pathLst>
                <a:path w="54" h="75">
                  <a:moveTo>
                    <a:pt x="17" y="66"/>
                  </a:moveTo>
                  <a:lnTo>
                    <a:pt x="17" y="66"/>
                  </a:lnTo>
                  <a:lnTo>
                    <a:pt x="15" y="65"/>
                  </a:lnTo>
                  <a:lnTo>
                    <a:pt x="15" y="65"/>
                  </a:lnTo>
                  <a:lnTo>
                    <a:pt x="14" y="68"/>
                  </a:lnTo>
                  <a:lnTo>
                    <a:pt x="14" y="73"/>
                  </a:lnTo>
                  <a:lnTo>
                    <a:pt x="14" y="73"/>
                  </a:lnTo>
                  <a:lnTo>
                    <a:pt x="10" y="75"/>
                  </a:lnTo>
                  <a:lnTo>
                    <a:pt x="7" y="75"/>
                  </a:lnTo>
                  <a:lnTo>
                    <a:pt x="0" y="73"/>
                  </a:lnTo>
                  <a:lnTo>
                    <a:pt x="0" y="73"/>
                  </a:lnTo>
                  <a:lnTo>
                    <a:pt x="3" y="65"/>
                  </a:lnTo>
                  <a:lnTo>
                    <a:pt x="7" y="59"/>
                  </a:lnTo>
                  <a:lnTo>
                    <a:pt x="8" y="56"/>
                  </a:lnTo>
                  <a:lnTo>
                    <a:pt x="12" y="45"/>
                  </a:lnTo>
                  <a:lnTo>
                    <a:pt x="12" y="45"/>
                  </a:lnTo>
                  <a:lnTo>
                    <a:pt x="14" y="39"/>
                  </a:lnTo>
                  <a:lnTo>
                    <a:pt x="17" y="35"/>
                  </a:lnTo>
                  <a:lnTo>
                    <a:pt x="19" y="33"/>
                  </a:lnTo>
                  <a:lnTo>
                    <a:pt x="17" y="26"/>
                  </a:lnTo>
                  <a:lnTo>
                    <a:pt x="17" y="26"/>
                  </a:lnTo>
                  <a:lnTo>
                    <a:pt x="17" y="21"/>
                  </a:lnTo>
                  <a:lnTo>
                    <a:pt x="19" y="18"/>
                  </a:lnTo>
                  <a:lnTo>
                    <a:pt x="24" y="12"/>
                  </a:lnTo>
                  <a:lnTo>
                    <a:pt x="29" y="9"/>
                  </a:lnTo>
                  <a:lnTo>
                    <a:pt x="29" y="5"/>
                  </a:lnTo>
                  <a:lnTo>
                    <a:pt x="29" y="0"/>
                  </a:lnTo>
                  <a:lnTo>
                    <a:pt x="29" y="0"/>
                  </a:lnTo>
                  <a:lnTo>
                    <a:pt x="34" y="2"/>
                  </a:lnTo>
                  <a:lnTo>
                    <a:pt x="38" y="2"/>
                  </a:lnTo>
                  <a:lnTo>
                    <a:pt x="38" y="2"/>
                  </a:lnTo>
                  <a:lnTo>
                    <a:pt x="41" y="0"/>
                  </a:lnTo>
                  <a:lnTo>
                    <a:pt x="43" y="0"/>
                  </a:lnTo>
                  <a:lnTo>
                    <a:pt x="43" y="0"/>
                  </a:lnTo>
                  <a:lnTo>
                    <a:pt x="45" y="4"/>
                  </a:lnTo>
                  <a:lnTo>
                    <a:pt x="45" y="5"/>
                  </a:lnTo>
                  <a:lnTo>
                    <a:pt x="43" y="5"/>
                  </a:lnTo>
                  <a:lnTo>
                    <a:pt x="43" y="7"/>
                  </a:lnTo>
                  <a:lnTo>
                    <a:pt x="43" y="7"/>
                  </a:lnTo>
                  <a:lnTo>
                    <a:pt x="48" y="12"/>
                  </a:lnTo>
                  <a:lnTo>
                    <a:pt x="52" y="16"/>
                  </a:lnTo>
                  <a:lnTo>
                    <a:pt x="54" y="23"/>
                  </a:lnTo>
                  <a:lnTo>
                    <a:pt x="54" y="23"/>
                  </a:lnTo>
                  <a:lnTo>
                    <a:pt x="52" y="26"/>
                  </a:lnTo>
                  <a:lnTo>
                    <a:pt x="47" y="28"/>
                  </a:lnTo>
                  <a:lnTo>
                    <a:pt x="43" y="32"/>
                  </a:lnTo>
                  <a:lnTo>
                    <a:pt x="41" y="35"/>
                  </a:lnTo>
                  <a:lnTo>
                    <a:pt x="41" y="35"/>
                  </a:lnTo>
                  <a:lnTo>
                    <a:pt x="43" y="37"/>
                  </a:lnTo>
                  <a:lnTo>
                    <a:pt x="43" y="39"/>
                  </a:lnTo>
                  <a:lnTo>
                    <a:pt x="45" y="40"/>
                  </a:lnTo>
                  <a:lnTo>
                    <a:pt x="45" y="40"/>
                  </a:lnTo>
                  <a:lnTo>
                    <a:pt x="40" y="40"/>
                  </a:lnTo>
                  <a:lnTo>
                    <a:pt x="34" y="40"/>
                  </a:lnTo>
                  <a:lnTo>
                    <a:pt x="34" y="40"/>
                  </a:lnTo>
                  <a:lnTo>
                    <a:pt x="33" y="42"/>
                  </a:lnTo>
                  <a:lnTo>
                    <a:pt x="29" y="45"/>
                  </a:lnTo>
                  <a:lnTo>
                    <a:pt x="29" y="45"/>
                  </a:lnTo>
                  <a:lnTo>
                    <a:pt x="29" y="47"/>
                  </a:lnTo>
                  <a:lnTo>
                    <a:pt x="31" y="49"/>
                  </a:lnTo>
                  <a:lnTo>
                    <a:pt x="33" y="51"/>
                  </a:lnTo>
                  <a:lnTo>
                    <a:pt x="33" y="51"/>
                  </a:lnTo>
                  <a:lnTo>
                    <a:pt x="33" y="51"/>
                  </a:lnTo>
                  <a:lnTo>
                    <a:pt x="26" y="59"/>
                  </a:lnTo>
                  <a:lnTo>
                    <a:pt x="21" y="65"/>
                  </a:lnTo>
                  <a:lnTo>
                    <a:pt x="17" y="66"/>
                  </a:lnTo>
                  <a:lnTo>
                    <a:pt x="17" y="6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1" name="Freeform 2203">
              <a:extLst>
                <a:ext uri="{FF2B5EF4-FFF2-40B4-BE49-F238E27FC236}">
                  <a16:creationId xmlns:a16="http://schemas.microsoft.com/office/drawing/2014/main" id="{8BA8CE9D-3C52-4007-8BEC-090AB88DCDFA}"/>
                </a:ext>
              </a:extLst>
            </p:cNvPr>
            <p:cNvSpPr>
              <a:spLocks/>
            </p:cNvSpPr>
            <p:nvPr/>
          </p:nvSpPr>
          <p:spPr bwMode="auto">
            <a:xfrm>
              <a:off x="5704690" y="3350620"/>
              <a:ext cx="121579" cy="153294"/>
            </a:xfrm>
            <a:custGeom>
              <a:avLst/>
              <a:gdLst/>
              <a:ahLst/>
              <a:cxnLst>
                <a:cxn ang="0">
                  <a:pos x="25" y="28"/>
                </a:cxn>
                <a:cxn ang="0">
                  <a:pos x="21" y="33"/>
                </a:cxn>
                <a:cxn ang="0">
                  <a:pos x="21" y="44"/>
                </a:cxn>
                <a:cxn ang="0">
                  <a:pos x="21" y="45"/>
                </a:cxn>
                <a:cxn ang="0">
                  <a:pos x="21" y="73"/>
                </a:cxn>
                <a:cxn ang="0">
                  <a:pos x="18" y="84"/>
                </a:cxn>
                <a:cxn ang="0">
                  <a:pos x="18" y="101"/>
                </a:cxn>
                <a:cxn ang="0">
                  <a:pos x="16" y="110"/>
                </a:cxn>
                <a:cxn ang="0">
                  <a:pos x="9" y="134"/>
                </a:cxn>
                <a:cxn ang="0">
                  <a:pos x="7" y="148"/>
                </a:cxn>
                <a:cxn ang="0">
                  <a:pos x="4" y="164"/>
                </a:cxn>
                <a:cxn ang="0">
                  <a:pos x="0" y="174"/>
                </a:cxn>
                <a:cxn ang="0">
                  <a:pos x="0" y="183"/>
                </a:cxn>
                <a:cxn ang="0">
                  <a:pos x="20" y="188"/>
                </a:cxn>
                <a:cxn ang="0">
                  <a:pos x="39" y="192"/>
                </a:cxn>
                <a:cxn ang="0">
                  <a:pos x="44" y="190"/>
                </a:cxn>
                <a:cxn ang="0">
                  <a:pos x="53" y="178"/>
                </a:cxn>
                <a:cxn ang="0">
                  <a:pos x="63" y="160"/>
                </a:cxn>
                <a:cxn ang="0">
                  <a:pos x="68" y="157"/>
                </a:cxn>
                <a:cxn ang="0">
                  <a:pos x="84" y="157"/>
                </a:cxn>
                <a:cxn ang="0">
                  <a:pos x="89" y="153"/>
                </a:cxn>
                <a:cxn ang="0">
                  <a:pos x="93" y="146"/>
                </a:cxn>
                <a:cxn ang="0">
                  <a:pos x="94" y="139"/>
                </a:cxn>
                <a:cxn ang="0">
                  <a:pos x="101" y="136"/>
                </a:cxn>
                <a:cxn ang="0">
                  <a:pos x="107" y="131"/>
                </a:cxn>
                <a:cxn ang="0">
                  <a:pos x="105" y="127"/>
                </a:cxn>
                <a:cxn ang="0">
                  <a:pos x="89" y="108"/>
                </a:cxn>
                <a:cxn ang="0">
                  <a:pos x="72" y="85"/>
                </a:cxn>
                <a:cxn ang="0">
                  <a:pos x="75" y="84"/>
                </a:cxn>
                <a:cxn ang="0">
                  <a:pos x="91" y="80"/>
                </a:cxn>
                <a:cxn ang="0">
                  <a:pos x="121" y="72"/>
                </a:cxn>
                <a:cxn ang="0">
                  <a:pos x="145" y="61"/>
                </a:cxn>
                <a:cxn ang="0">
                  <a:pos x="150" y="56"/>
                </a:cxn>
                <a:cxn ang="0">
                  <a:pos x="152" y="52"/>
                </a:cxn>
                <a:cxn ang="0">
                  <a:pos x="150" y="47"/>
                </a:cxn>
                <a:cxn ang="0">
                  <a:pos x="143" y="49"/>
                </a:cxn>
                <a:cxn ang="0">
                  <a:pos x="141" y="40"/>
                </a:cxn>
                <a:cxn ang="0">
                  <a:pos x="145" y="40"/>
                </a:cxn>
                <a:cxn ang="0">
                  <a:pos x="145" y="38"/>
                </a:cxn>
                <a:cxn ang="0">
                  <a:pos x="145" y="37"/>
                </a:cxn>
                <a:cxn ang="0">
                  <a:pos x="134" y="0"/>
                </a:cxn>
                <a:cxn ang="0">
                  <a:pos x="103" y="21"/>
                </a:cxn>
                <a:cxn ang="0">
                  <a:pos x="74" y="44"/>
                </a:cxn>
                <a:cxn ang="0">
                  <a:pos x="67" y="49"/>
                </a:cxn>
                <a:cxn ang="0">
                  <a:pos x="53" y="45"/>
                </a:cxn>
                <a:cxn ang="0">
                  <a:pos x="40" y="38"/>
                </a:cxn>
                <a:cxn ang="0">
                  <a:pos x="35" y="32"/>
                </a:cxn>
                <a:cxn ang="0">
                  <a:pos x="32" y="30"/>
                </a:cxn>
                <a:cxn ang="0">
                  <a:pos x="27" y="30"/>
                </a:cxn>
                <a:cxn ang="0">
                  <a:pos x="25" y="28"/>
                </a:cxn>
              </a:cxnLst>
              <a:rect l="0" t="0" r="r" b="b"/>
              <a:pathLst>
                <a:path w="152" h="192">
                  <a:moveTo>
                    <a:pt x="25" y="28"/>
                  </a:moveTo>
                  <a:lnTo>
                    <a:pt x="25" y="28"/>
                  </a:lnTo>
                  <a:lnTo>
                    <a:pt x="23" y="30"/>
                  </a:lnTo>
                  <a:lnTo>
                    <a:pt x="21" y="33"/>
                  </a:lnTo>
                  <a:lnTo>
                    <a:pt x="21" y="44"/>
                  </a:lnTo>
                  <a:lnTo>
                    <a:pt x="21" y="44"/>
                  </a:lnTo>
                  <a:lnTo>
                    <a:pt x="21" y="45"/>
                  </a:lnTo>
                  <a:lnTo>
                    <a:pt x="21" y="45"/>
                  </a:lnTo>
                  <a:lnTo>
                    <a:pt x="21" y="63"/>
                  </a:lnTo>
                  <a:lnTo>
                    <a:pt x="21" y="73"/>
                  </a:lnTo>
                  <a:lnTo>
                    <a:pt x="18" y="84"/>
                  </a:lnTo>
                  <a:lnTo>
                    <a:pt x="18" y="84"/>
                  </a:lnTo>
                  <a:lnTo>
                    <a:pt x="18" y="92"/>
                  </a:lnTo>
                  <a:lnTo>
                    <a:pt x="18" y="101"/>
                  </a:lnTo>
                  <a:lnTo>
                    <a:pt x="18" y="101"/>
                  </a:lnTo>
                  <a:lnTo>
                    <a:pt x="16" y="110"/>
                  </a:lnTo>
                  <a:lnTo>
                    <a:pt x="13" y="120"/>
                  </a:lnTo>
                  <a:lnTo>
                    <a:pt x="9" y="134"/>
                  </a:lnTo>
                  <a:lnTo>
                    <a:pt x="7" y="148"/>
                  </a:lnTo>
                  <a:lnTo>
                    <a:pt x="7" y="148"/>
                  </a:lnTo>
                  <a:lnTo>
                    <a:pt x="6" y="153"/>
                  </a:lnTo>
                  <a:lnTo>
                    <a:pt x="4" y="164"/>
                  </a:lnTo>
                  <a:lnTo>
                    <a:pt x="0" y="174"/>
                  </a:lnTo>
                  <a:lnTo>
                    <a:pt x="0" y="174"/>
                  </a:lnTo>
                  <a:lnTo>
                    <a:pt x="0" y="179"/>
                  </a:lnTo>
                  <a:lnTo>
                    <a:pt x="0" y="183"/>
                  </a:lnTo>
                  <a:lnTo>
                    <a:pt x="0" y="183"/>
                  </a:lnTo>
                  <a:lnTo>
                    <a:pt x="20" y="188"/>
                  </a:lnTo>
                  <a:lnTo>
                    <a:pt x="32" y="190"/>
                  </a:lnTo>
                  <a:lnTo>
                    <a:pt x="39" y="192"/>
                  </a:lnTo>
                  <a:lnTo>
                    <a:pt x="39" y="192"/>
                  </a:lnTo>
                  <a:lnTo>
                    <a:pt x="44" y="190"/>
                  </a:lnTo>
                  <a:lnTo>
                    <a:pt x="47" y="186"/>
                  </a:lnTo>
                  <a:lnTo>
                    <a:pt x="53" y="178"/>
                  </a:lnTo>
                  <a:lnTo>
                    <a:pt x="58" y="167"/>
                  </a:lnTo>
                  <a:lnTo>
                    <a:pt x="63" y="160"/>
                  </a:lnTo>
                  <a:lnTo>
                    <a:pt x="63" y="160"/>
                  </a:lnTo>
                  <a:lnTo>
                    <a:pt x="68" y="157"/>
                  </a:lnTo>
                  <a:lnTo>
                    <a:pt x="77" y="157"/>
                  </a:lnTo>
                  <a:lnTo>
                    <a:pt x="84" y="157"/>
                  </a:lnTo>
                  <a:lnTo>
                    <a:pt x="89" y="153"/>
                  </a:lnTo>
                  <a:lnTo>
                    <a:pt x="89" y="153"/>
                  </a:lnTo>
                  <a:lnTo>
                    <a:pt x="91" y="150"/>
                  </a:lnTo>
                  <a:lnTo>
                    <a:pt x="93" y="146"/>
                  </a:lnTo>
                  <a:lnTo>
                    <a:pt x="94" y="143"/>
                  </a:lnTo>
                  <a:lnTo>
                    <a:pt x="94" y="139"/>
                  </a:lnTo>
                  <a:lnTo>
                    <a:pt x="94" y="139"/>
                  </a:lnTo>
                  <a:lnTo>
                    <a:pt x="101" y="136"/>
                  </a:lnTo>
                  <a:lnTo>
                    <a:pt x="105" y="132"/>
                  </a:lnTo>
                  <a:lnTo>
                    <a:pt x="107" y="131"/>
                  </a:lnTo>
                  <a:lnTo>
                    <a:pt x="107" y="131"/>
                  </a:lnTo>
                  <a:lnTo>
                    <a:pt x="105" y="127"/>
                  </a:lnTo>
                  <a:lnTo>
                    <a:pt x="101" y="122"/>
                  </a:lnTo>
                  <a:lnTo>
                    <a:pt x="89" y="108"/>
                  </a:lnTo>
                  <a:lnTo>
                    <a:pt x="77" y="94"/>
                  </a:lnTo>
                  <a:lnTo>
                    <a:pt x="72" y="85"/>
                  </a:lnTo>
                  <a:lnTo>
                    <a:pt x="72" y="85"/>
                  </a:lnTo>
                  <a:lnTo>
                    <a:pt x="75" y="84"/>
                  </a:lnTo>
                  <a:lnTo>
                    <a:pt x="80" y="82"/>
                  </a:lnTo>
                  <a:lnTo>
                    <a:pt x="91" y="80"/>
                  </a:lnTo>
                  <a:lnTo>
                    <a:pt x="91" y="80"/>
                  </a:lnTo>
                  <a:lnTo>
                    <a:pt x="121" y="72"/>
                  </a:lnTo>
                  <a:lnTo>
                    <a:pt x="138" y="65"/>
                  </a:lnTo>
                  <a:lnTo>
                    <a:pt x="145" y="61"/>
                  </a:lnTo>
                  <a:lnTo>
                    <a:pt x="150" y="56"/>
                  </a:lnTo>
                  <a:lnTo>
                    <a:pt x="150" y="56"/>
                  </a:lnTo>
                  <a:lnTo>
                    <a:pt x="152" y="52"/>
                  </a:lnTo>
                  <a:lnTo>
                    <a:pt x="152" y="52"/>
                  </a:lnTo>
                  <a:lnTo>
                    <a:pt x="152" y="49"/>
                  </a:lnTo>
                  <a:lnTo>
                    <a:pt x="150" y="47"/>
                  </a:lnTo>
                  <a:lnTo>
                    <a:pt x="143" y="49"/>
                  </a:lnTo>
                  <a:lnTo>
                    <a:pt x="143" y="49"/>
                  </a:lnTo>
                  <a:lnTo>
                    <a:pt x="141" y="40"/>
                  </a:lnTo>
                  <a:lnTo>
                    <a:pt x="141" y="40"/>
                  </a:lnTo>
                  <a:lnTo>
                    <a:pt x="143" y="40"/>
                  </a:lnTo>
                  <a:lnTo>
                    <a:pt x="145" y="40"/>
                  </a:lnTo>
                  <a:lnTo>
                    <a:pt x="145" y="40"/>
                  </a:lnTo>
                  <a:lnTo>
                    <a:pt x="145" y="38"/>
                  </a:lnTo>
                  <a:lnTo>
                    <a:pt x="145" y="37"/>
                  </a:lnTo>
                  <a:lnTo>
                    <a:pt x="145" y="37"/>
                  </a:lnTo>
                  <a:lnTo>
                    <a:pt x="134" y="0"/>
                  </a:lnTo>
                  <a:lnTo>
                    <a:pt x="134" y="0"/>
                  </a:lnTo>
                  <a:lnTo>
                    <a:pt x="103" y="21"/>
                  </a:lnTo>
                  <a:lnTo>
                    <a:pt x="103" y="21"/>
                  </a:lnTo>
                  <a:lnTo>
                    <a:pt x="84" y="37"/>
                  </a:lnTo>
                  <a:lnTo>
                    <a:pt x="74" y="44"/>
                  </a:lnTo>
                  <a:lnTo>
                    <a:pt x="67" y="49"/>
                  </a:lnTo>
                  <a:lnTo>
                    <a:pt x="67" y="49"/>
                  </a:lnTo>
                  <a:lnTo>
                    <a:pt x="60" y="49"/>
                  </a:lnTo>
                  <a:lnTo>
                    <a:pt x="53" y="45"/>
                  </a:lnTo>
                  <a:lnTo>
                    <a:pt x="40" y="38"/>
                  </a:lnTo>
                  <a:lnTo>
                    <a:pt x="40" y="38"/>
                  </a:lnTo>
                  <a:lnTo>
                    <a:pt x="37" y="35"/>
                  </a:lnTo>
                  <a:lnTo>
                    <a:pt x="35" y="32"/>
                  </a:lnTo>
                  <a:lnTo>
                    <a:pt x="35" y="32"/>
                  </a:lnTo>
                  <a:lnTo>
                    <a:pt x="32" y="30"/>
                  </a:lnTo>
                  <a:lnTo>
                    <a:pt x="28" y="30"/>
                  </a:lnTo>
                  <a:lnTo>
                    <a:pt x="27" y="30"/>
                  </a:lnTo>
                  <a:lnTo>
                    <a:pt x="25" y="28"/>
                  </a:lnTo>
                  <a:lnTo>
                    <a:pt x="25" y="2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52" name="Group 1017">
              <a:extLst>
                <a:ext uri="{FF2B5EF4-FFF2-40B4-BE49-F238E27FC236}">
                  <a16:creationId xmlns:a16="http://schemas.microsoft.com/office/drawing/2014/main" id="{078AD184-A14B-4F5C-BE2D-FB522F468BE3}"/>
                </a:ext>
              </a:extLst>
            </p:cNvPr>
            <p:cNvGrpSpPr/>
            <p:nvPr/>
          </p:nvGrpSpPr>
          <p:grpSpPr bwMode="auto">
            <a:xfrm>
              <a:off x="5685308" y="3352384"/>
              <a:ext cx="40526" cy="140961"/>
              <a:chOff x="4951413" y="3219450"/>
              <a:chExt cx="36512" cy="127000"/>
            </a:xfrm>
            <a:solidFill>
              <a:srgbClr val="808183">
                <a:lumMod val="60000"/>
                <a:lumOff val="40000"/>
              </a:srgbClr>
            </a:solidFill>
          </p:grpSpPr>
          <p:sp>
            <p:nvSpPr>
              <p:cNvPr id="387" name="Freeform 2205">
                <a:extLst>
                  <a:ext uri="{FF2B5EF4-FFF2-40B4-BE49-F238E27FC236}">
                    <a16:creationId xmlns:a16="http://schemas.microsoft.com/office/drawing/2014/main" id="{B7B5B276-DF34-49D4-9BC2-BE0793C5CF0E}"/>
                  </a:ext>
                </a:extLst>
              </p:cNvPr>
              <p:cNvSpPr>
                <a:spLocks/>
              </p:cNvSpPr>
              <p:nvPr/>
            </p:nvSpPr>
            <p:spPr bwMode="auto">
              <a:xfrm>
                <a:off x="4951413" y="3219450"/>
                <a:ext cx="36512" cy="127000"/>
              </a:xfrm>
              <a:custGeom>
                <a:avLst/>
                <a:gdLst/>
                <a:ahLst/>
                <a:cxnLst>
                  <a:cxn ang="0">
                    <a:pos x="45" y="41"/>
                  </a:cxn>
                  <a:cxn ang="0">
                    <a:pos x="45" y="40"/>
                  </a:cxn>
                  <a:cxn ang="0">
                    <a:pos x="47" y="26"/>
                  </a:cxn>
                  <a:cxn ang="0">
                    <a:pos x="49" y="24"/>
                  </a:cxn>
                  <a:cxn ang="0">
                    <a:pos x="51" y="19"/>
                  </a:cxn>
                  <a:cxn ang="0">
                    <a:pos x="51" y="12"/>
                  </a:cxn>
                  <a:cxn ang="0">
                    <a:pos x="51" y="7"/>
                  </a:cxn>
                  <a:cxn ang="0">
                    <a:pos x="51" y="3"/>
                  </a:cxn>
                  <a:cxn ang="0">
                    <a:pos x="49" y="3"/>
                  </a:cxn>
                  <a:cxn ang="0">
                    <a:pos x="47" y="3"/>
                  </a:cxn>
                  <a:cxn ang="0">
                    <a:pos x="47" y="1"/>
                  </a:cxn>
                  <a:cxn ang="0">
                    <a:pos x="45" y="0"/>
                  </a:cxn>
                  <a:cxn ang="0">
                    <a:pos x="44" y="8"/>
                  </a:cxn>
                  <a:cxn ang="0">
                    <a:pos x="40" y="10"/>
                  </a:cxn>
                  <a:cxn ang="0">
                    <a:pos x="30" y="8"/>
                  </a:cxn>
                  <a:cxn ang="0">
                    <a:pos x="17" y="45"/>
                  </a:cxn>
                  <a:cxn ang="0">
                    <a:pos x="9" y="76"/>
                  </a:cxn>
                  <a:cxn ang="0">
                    <a:pos x="10" y="78"/>
                  </a:cxn>
                  <a:cxn ang="0">
                    <a:pos x="7" y="85"/>
                  </a:cxn>
                  <a:cxn ang="0">
                    <a:pos x="2" y="94"/>
                  </a:cxn>
                  <a:cxn ang="0">
                    <a:pos x="0" y="95"/>
                  </a:cxn>
                  <a:cxn ang="0">
                    <a:pos x="12" y="134"/>
                  </a:cxn>
                  <a:cxn ang="0">
                    <a:pos x="24" y="170"/>
                  </a:cxn>
                  <a:cxn ang="0">
                    <a:pos x="28" y="160"/>
                  </a:cxn>
                  <a:cxn ang="0">
                    <a:pos x="31" y="144"/>
                  </a:cxn>
                  <a:cxn ang="0">
                    <a:pos x="33" y="130"/>
                  </a:cxn>
                  <a:cxn ang="0">
                    <a:pos x="40" y="106"/>
                  </a:cxn>
                  <a:cxn ang="0">
                    <a:pos x="42" y="97"/>
                  </a:cxn>
                  <a:cxn ang="0">
                    <a:pos x="42" y="80"/>
                  </a:cxn>
                  <a:cxn ang="0">
                    <a:pos x="40" y="85"/>
                  </a:cxn>
                  <a:cxn ang="0">
                    <a:pos x="30" y="88"/>
                  </a:cxn>
                  <a:cxn ang="0">
                    <a:pos x="23" y="88"/>
                  </a:cxn>
                  <a:cxn ang="0">
                    <a:pos x="21" y="85"/>
                  </a:cxn>
                  <a:cxn ang="0">
                    <a:pos x="23" y="81"/>
                  </a:cxn>
                  <a:cxn ang="0">
                    <a:pos x="30" y="73"/>
                  </a:cxn>
                  <a:cxn ang="0">
                    <a:pos x="31" y="68"/>
                  </a:cxn>
                  <a:cxn ang="0">
                    <a:pos x="30" y="66"/>
                  </a:cxn>
                  <a:cxn ang="0">
                    <a:pos x="24" y="66"/>
                  </a:cxn>
                  <a:cxn ang="0">
                    <a:pos x="26" y="66"/>
                  </a:cxn>
                  <a:cxn ang="0">
                    <a:pos x="28" y="64"/>
                  </a:cxn>
                  <a:cxn ang="0">
                    <a:pos x="26" y="54"/>
                  </a:cxn>
                  <a:cxn ang="0">
                    <a:pos x="28" y="38"/>
                  </a:cxn>
                  <a:cxn ang="0">
                    <a:pos x="31" y="34"/>
                  </a:cxn>
                  <a:cxn ang="0">
                    <a:pos x="37" y="36"/>
                  </a:cxn>
                  <a:cxn ang="0">
                    <a:pos x="45" y="41"/>
                  </a:cxn>
                </a:cxnLst>
                <a:rect l="0" t="0" r="r" b="b"/>
                <a:pathLst>
                  <a:path w="51" h="174">
                    <a:moveTo>
                      <a:pt x="45" y="41"/>
                    </a:moveTo>
                    <a:lnTo>
                      <a:pt x="45" y="41"/>
                    </a:lnTo>
                    <a:lnTo>
                      <a:pt x="45" y="40"/>
                    </a:lnTo>
                    <a:lnTo>
                      <a:pt x="45" y="40"/>
                    </a:lnTo>
                    <a:lnTo>
                      <a:pt x="45" y="29"/>
                    </a:lnTo>
                    <a:lnTo>
                      <a:pt x="47" y="26"/>
                    </a:lnTo>
                    <a:lnTo>
                      <a:pt x="49" y="24"/>
                    </a:lnTo>
                    <a:lnTo>
                      <a:pt x="49" y="24"/>
                    </a:lnTo>
                    <a:lnTo>
                      <a:pt x="51" y="21"/>
                    </a:lnTo>
                    <a:lnTo>
                      <a:pt x="51" y="19"/>
                    </a:lnTo>
                    <a:lnTo>
                      <a:pt x="51" y="19"/>
                    </a:lnTo>
                    <a:lnTo>
                      <a:pt x="51" y="12"/>
                    </a:lnTo>
                    <a:lnTo>
                      <a:pt x="51" y="8"/>
                    </a:lnTo>
                    <a:lnTo>
                      <a:pt x="51" y="7"/>
                    </a:lnTo>
                    <a:lnTo>
                      <a:pt x="51" y="7"/>
                    </a:lnTo>
                    <a:lnTo>
                      <a:pt x="51" y="3"/>
                    </a:lnTo>
                    <a:lnTo>
                      <a:pt x="51" y="3"/>
                    </a:lnTo>
                    <a:lnTo>
                      <a:pt x="49" y="3"/>
                    </a:lnTo>
                    <a:lnTo>
                      <a:pt x="49" y="3"/>
                    </a:lnTo>
                    <a:lnTo>
                      <a:pt x="47" y="3"/>
                    </a:lnTo>
                    <a:lnTo>
                      <a:pt x="47" y="1"/>
                    </a:lnTo>
                    <a:lnTo>
                      <a:pt x="47" y="1"/>
                    </a:lnTo>
                    <a:lnTo>
                      <a:pt x="45" y="0"/>
                    </a:lnTo>
                    <a:lnTo>
                      <a:pt x="45" y="0"/>
                    </a:lnTo>
                    <a:lnTo>
                      <a:pt x="44" y="3"/>
                    </a:lnTo>
                    <a:lnTo>
                      <a:pt x="44" y="8"/>
                    </a:lnTo>
                    <a:lnTo>
                      <a:pt x="44" y="8"/>
                    </a:lnTo>
                    <a:lnTo>
                      <a:pt x="40" y="10"/>
                    </a:lnTo>
                    <a:lnTo>
                      <a:pt x="37" y="10"/>
                    </a:lnTo>
                    <a:lnTo>
                      <a:pt x="30" y="8"/>
                    </a:lnTo>
                    <a:lnTo>
                      <a:pt x="30" y="8"/>
                    </a:lnTo>
                    <a:lnTo>
                      <a:pt x="17" y="45"/>
                    </a:lnTo>
                    <a:lnTo>
                      <a:pt x="12" y="64"/>
                    </a:lnTo>
                    <a:lnTo>
                      <a:pt x="9" y="76"/>
                    </a:lnTo>
                    <a:lnTo>
                      <a:pt x="9" y="76"/>
                    </a:lnTo>
                    <a:lnTo>
                      <a:pt x="10" y="78"/>
                    </a:lnTo>
                    <a:lnTo>
                      <a:pt x="10" y="80"/>
                    </a:lnTo>
                    <a:lnTo>
                      <a:pt x="7" y="85"/>
                    </a:lnTo>
                    <a:lnTo>
                      <a:pt x="2" y="94"/>
                    </a:lnTo>
                    <a:lnTo>
                      <a:pt x="2" y="94"/>
                    </a:lnTo>
                    <a:lnTo>
                      <a:pt x="0" y="94"/>
                    </a:lnTo>
                    <a:lnTo>
                      <a:pt x="0" y="95"/>
                    </a:lnTo>
                    <a:lnTo>
                      <a:pt x="0" y="95"/>
                    </a:lnTo>
                    <a:lnTo>
                      <a:pt x="12" y="134"/>
                    </a:lnTo>
                    <a:lnTo>
                      <a:pt x="23" y="174"/>
                    </a:lnTo>
                    <a:lnTo>
                      <a:pt x="24" y="170"/>
                    </a:lnTo>
                    <a:lnTo>
                      <a:pt x="24" y="170"/>
                    </a:lnTo>
                    <a:lnTo>
                      <a:pt x="28" y="160"/>
                    </a:lnTo>
                    <a:lnTo>
                      <a:pt x="30" y="149"/>
                    </a:lnTo>
                    <a:lnTo>
                      <a:pt x="31" y="144"/>
                    </a:lnTo>
                    <a:lnTo>
                      <a:pt x="31" y="144"/>
                    </a:lnTo>
                    <a:lnTo>
                      <a:pt x="33" y="130"/>
                    </a:lnTo>
                    <a:lnTo>
                      <a:pt x="37" y="116"/>
                    </a:lnTo>
                    <a:lnTo>
                      <a:pt x="40" y="106"/>
                    </a:lnTo>
                    <a:lnTo>
                      <a:pt x="42" y="97"/>
                    </a:lnTo>
                    <a:lnTo>
                      <a:pt x="42" y="97"/>
                    </a:lnTo>
                    <a:lnTo>
                      <a:pt x="42" y="88"/>
                    </a:lnTo>
                    <a:lnTo>
                      <a:pt x="42" y="80"/>
                    </a:lnTo>
                    <a:lnTo>
                      <a:pt x="42" y="80"/>
                    </a:lnTo>
                    <a:lnTo>
                      <a:pt x="40" y="85"/>
                    </a:lnTo>
                    <a:lnTo>
                      <a:pt x="35" y="88"/>
                    </a:lnTo>
                    <a:lnTo>
                      <a:pt x="30" y="88"/>
                    </a:lnTo>
                    <a:lnTo>
                      <a:pt x="23" y="88"/>
                    </a:lnTo>
                    <a:lnTo>
                      <a:pt x="23" y="88"/>
                    </a:lnTo>
                    <a:lnTo>
                      <a:pt x="21" y="87"/>
                    </a:lnTo>
                    <a:lnTo>
                      <a:pt x="21" y="85"/>
                    </a:lnTo>
                    <a:lnTo>
                      <a:pt x="23" y="81"/>
                    </a:lnTo>
                    <a:lnTo>
                      <a:pt x="23" y="81"/>
                    </a:lnTo>
                    <a:lnTo>
                      <a:pt x="26" y="76"/>
                    </a:lnTo>
                    <a:lnTo>
                      <a:pt x="30" y="73"/>
                    </a:lnTo>
                    <a:lnTo>
                      <a:pt x="33" y="69"/>
                    </a:lnTo>
                    <a:lnTo>
                      <a:pt x="31" y="68"/>
                    </a:lnTo>
                    <a:lnTo>
                      <a:pt x="30" y="66"/>
                    </a:lnTo>
                    <a:lnTo>
                      <a:pt x="30" y="66"/>
                    </a:lnTo>
                    <a:lnTo>
                      <a:pt x="26" y="68"/>
                    </a:lnTo>
                    <a:lnTo>
                      <a:pt x="24" y="66"/>
                    </a:lnTo>
                    <a:lnTo>
                      <a:pt x="24" y="66"/>
                    </a:lnTo>
                    <a:lnTo>
                      <a:pt x="26" y="66"/>
                    </a:lnTo>
                    <a:lnTo>
                      <a:pt x="28" y="64"/>
                    </a:lnTo>
                    <a:lnTo>
                      <a:pt x="28" y="64"/>
                    </a:lnTo>
                    <a:lnTo>
                      <a:pt x="28" y="59"/>
                    </a:lnTo>
                    <a:lnTo>
                      <a:pt x="26" y="54"/>
                    </a:lnTo>
                    <a:lnTo>
                      <a:pt x="26" y="45"/>
                    </a:lnTo>
                    <a:lnTo>
                      <a:pt x="28" y="38"/>
                    </a:lnTo>
                    <a:lnTo>
                      <a:pt x="28" y="38"/>
                    </a:lnTo>
                    <a:lnTo>
                      <a:pt x="31" y="34"/>
                    </a:lnTo>
                    <a:lnTo>
                      <a:pt x="33" y="34"/>
                    </a:lnTo>
                    <a:lnTo>
                      <a:pt x="37" y="36"/>
                    </a:lnTo>
                    <a:lnTo>
                      <a:pt x="42" y="40"/>
                    </a:lnTo>
                    <a:lnTo>
                      <a:pt x="45" y="41"/>
                    </a:lnTo>
                    <a:lnTo>
                      <a:pt x="45" y="4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8" name="Freeform 2206">
                <a:extLst>
                  <a:ext uri="{FF2B5EF4-FFF2-40B4-BE49-F238E27FC236}">
                    <a16:creationId xmlns:a16="http://schemas.microsoft.com/office/drawing/2014/main" id="{607F5DF6-192B-4AB8-A7D9-5ADE275A8B6F}"/>
                  </a:ext>
                </a:extLst>
              </p:cNvPr>
              <p:cNvSpPr>
                <a:spLocks/>
              </p:cNvSpPr>
              <p:nvPr/>
            </p:nvSpPr>
            <p:spPr bwMode="auto">
              <a:xfrm>
                <a:off x="4965700" y="3246438"/>
                <a:ext cx="19050" cy="38100"/>
              </a:xfrm>
              <a:custGeom>
                <a:avLst/>
                <a:gdLst/>
                <a:ahLst/>
                <a:cxnLst>
                  <a:cxn ang="0">
                    <a:pos x="24" y="7"/>
                  </a:cxn>
                  <a:cxn ang="0">
                    <a:pos x="24" y="7"/>
                  </a:cxn>
                  <a:cxn ang="0">
                    <a:pos x="24" y="25"/>
                  </a:cxn>
                  <a:cxn ang="0">
                    <a:pos x="24" y="35"/>
                  </a:cxn>
                  <a:cxn ang="0">
                    <a:pos x="21" y="46"/>
                  </a:cxn>
                  <a:cxn ang="0">
                    <a:pos x="21" y="46"/>
                  </a:cxn>
                  <a:cxn ang="0">
                    <a:pos x="19" y="51"/>
                  </a:cxn>
                  <a:cxn ang="0">
                    <a:pos x="14" y="54"/>
                  </a:cxn>
                  <a:cxn ang="0">
                    <a:pos x="9" y="54"/>
                  </a:cxn>
                  <a:cxn ang="0">
                    <a:pos x="2" y="54"/>
                  </a:cxn>
                  <a:cxn ang="0">
                    <a:pos x="2" y="54"/>
                  </a:cxn>
                  <a:cxn ang="0">
                    <a:pos x="0" y="53"/>
                  </a:cxn>
                  <a:cxn ang="0">
                    <a:pos x="0" y="51"/>
                  </a:cxn>
                  <a:cxn ang="0">
                    <a:pos x="2" y="47"/>
                  </a:cxn>
                  <a:cxn ang="0">
                    <a:pos x="2" y="47"/>
                  </a:cxn>
                  <a:cxn ang="0">
                    <a:pos x="5" y="42"/>
                  </a:cxn>
                  <a:cxn ang="0">
                    <a:pos x="9" y="39"/>
                  </a:cxn>
                  <a:cxn ang="0">
                    <a:pos x="12" y="35"/>
                  </a:cxn>
                  <a:cxn ang="0">
                    <a:pos x="10" y="34"/>
                  </a:cxn>
                  <a:cxn ang="0">
                    <a:pos x="9" y="32"/>
                  </a:cxn>
                  <a:cxn ang="0">
                    <a:pos x="9" y="32"/>
                  </a:cxn>
                  <a:cxn ang="0">
                    <a:pos x="5" y="34"/>
                  </a:cxn>
                  <a:cxn ang="0">
                    <a:pos x="3" y="32"/>
                  </a:cxn>
                  <a:cxn ang="0">
                    <a:pos x="3" y="32"/>
                  </a:cxn>
                  <a:cxn ang="0">
                    <a:pos x="5" y="32"/>
                  </a:cxn>
                  <a:cxn ang="0">
                    <a:pos x="7" y="30"/>
                  </a:cxn>
                  <a:cxn ang="0">
                    <a:pos x="7" y="30"/>
                  </a:cxn>
                  <a:cxn ang="0">
                    <a:pos x="7" y="25"/>
                  </a:cxn>
                  <a:cxn ang="0">
                    <a:pos x="5" y="20"/>
                  </a:cxn>
                  <a:cxn ang="0">
                    <a:pos x="5" y="11"/>
                  </a:cxn>
                  <a:cxn ang="0">
                    <a:pos x="7" y="4"/>
                  </a:cxn>
                  <a:cxn ang="0">
                    <a:pos x="7" y="4"/>
                  </a:cxn>
                  <a:cxn ang="0">
                    <a:pos x="10" y="0"/>
                  </a:cxn>
                  <a:cxn ang="0">
                    <a:pos x="12" y="0"/>
                  </a:cxn>
                  <a:cxn ang="0">
                    <a:pos x="16" y="2"/>
                  </a:cxn>
                  <a:cxn ang="0">
                    <a:pos x="21" y="6"/>
                  </a:cxn>
                  <a:cxn ang="0">
                    <a:pos x="24" y="7"/>
                  </a:cxn>
                  <a:cxn ang="0">
                    <a:pos x="24" y="7"/>
                  </a:cxn>
                </a:cxnLst>
                <a:rect l="0" t="0" r="r" b="b"/>
                <a:pathLst>
                  <a:path w="24" h="54">
                    <a:moveTo>
                      <a:pt x="24" y="7"/>
                    </a:moveTo>
                    <a:lnTo>
                      <a:pt x="24" y="7"/>
                    </a:lnTo>
                    <a:lnTo>
                      <a:pt x="24" y="25"/>
                    </a:lnTo>
                    <a:lnTo>
                      <a:pt x="24" y="35"/>
                    </a:lnTo>
                    <a:lnTo>
                      <a:pt x="21" y="46"/>
                    </a:lnTo>
                    <a:lnTo>
                      <a:pt x="21" y="46"/>
                    </a:lnTo>
                    <a:lnTo>
                      <a:pt x="19" y="51"/>
                    </a:lnTo>
                    <a:lnTo>
                      <a:pt x="14" y="54"/>
                    </a:lnTo>
                    <a:lnTo>
                      <a:pt x="9" y="54"/>
                    </a:lnTo>
                    <a:lnTo>
                      <a:pt x="2" y="54"/>
                    </a:lnTo>
                    <a:lnTo>
                      <a:pt x="2" y="54"/>
                    </a:lnTo>
                    <a:lnTo>
                      <a:pt x="0" y="53"/>
                    </a:lnTo>
                    <a:lnTo>
                      <a:pt x="0" y="51"/>
                    </a:lnTo>
                    <a:lnTo>
                      <a:pt x="2" y="47"/>
                    </a:lnTo>
                    <a:lnTo>
                      <a:pt x="2" y="47"/>
                    </a:lnTo>
                    <a:lnTo>
                      <a:pt x="5" y="42"/>
                    </a:lnTo>
                    <a:lnTo>
                      <a:pt x="9" y="39"/>
                    </a:lnTo>
                    <a:lnTo>
                      <a:pt x="12" y="35"/>
                    </a:lnTo>
                    <a:lnTo>
                      <a:pt x="10" y="34"/>
                    </a:lnTo>
                    <a:lnTo>
                      <a:pt x="9" y="32"/>
                    </a:lnTo>
                    <a:lnTo>
                      <a:pt x="9" y="32"/>
                    </a:lnTo>
                    <a:lnTo>
                      <a:pt x="5" y="34"/>
                    </a:lnTo>
                    <a:lnTo>
                      <a:pt x="3" y="32"/>
                    </a:lnTo>
                    <a:lnTo>
                      <a:pt x="3" y="32"/>
                    </a:lnTo>
                    <a:lnTo>
                      <a:pt x="5" y="32"/>
                    </a:lnTo>
                    <a:lnTo>
                      <a:pt x="7" y="30"/>
                    </a:lnTo>
                    <a:lnTo>
                      <a:pt x="7" y="30"/>
                    </a:lnTo>
                    <a:lnTo>
                      <a:pt x="7" y="25"/>
                    </a:lnTo>
                    <a:lnTo>
                      <a:pt x="5" y="20"/>
                    </a:lnTo>
                    <a:lnTo>
                      <a:pt x="5" y="11"/>
                    </a:lnTo>
                    <a:lnTo>
                      <a:pt x="7" y="4"/>
                    </a:lnTo>
                    <a:lnTo>
                      <a:pt x="7" y="4"/>
                    </a:lnTo>
                    <a:lnTo>
                      <a:pt x="10" y="0"/>
                    </a:lnTo>
                    <a:lnTo>
                      <a:pt x="12" y="0"/>
                    </a:lnTo>
                    <a:lnTo>
                      <a:pt x="16" y="2"/>
                    </a:lnTo>
                    <a:lnTo>
                      <a:pt x="21" y="6"/>
                    </a:lnTo>
                    <a:lnTo>
                      <a:pt x="24" y="7"/>
                    </a:lnTo>
                    <a:lnTo>
                      <a:pt x="24"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53" name="Freeform 2207">
              <a:extLst>
                <a:ext uri="{FF2B5EF4-FFF2-40B4-BE49-F238E27FC236}">
                  <a16:creationId xmlns:a16="http://schemas.microsoft.com/office/drawing/2014/main" id="{C0B37A9C-5FDA-45F6-A2BE-7A2E01CB594C}"/>
                </a:ext>
              </a:extLst>
            </p:cNvPr>
            <p:cNvSpPr>
              <a:spLocks/>
            </p:cNvSpPr>
            <p:nvPr/>
          </p:nvSpPr>
          <p:spPr bwMode="auto">
            <a:xfrm>
              <a:off x="6148714" y="3613158"/>
              <a:ext cx="24669" cy="58148"/>
            </a:xfrm>
            <a:custGeom>
              <a:avLst/>
              <a:gdLst/>
              <a:ahLst/>
              <a:cxnLst>
                <a:cxn ang="0">
                  <a:pos x="18" y="70"/>
                </a:cxn>
                <a:cxn ang="0">
                  <a:pos x="18" y="70"/>
                </a:cxn>
                <a:cxn ang="0">
                  <a:pos x="18" y="72"/>
                </a:cxn>
                <a:cxn ang="0">
                  <a:pos x="14" y="72"/>
                </a:cxn>
                <a:cxn ang="0">
                  <a:pos x="14" y="72"/>
                </a:cxn>
                <a:cxn ang="0">
                  <a:pos x="7" y="68"/>
                </a:cxn>
                <a:cxn ang="0">
                  <a:pos x="0" y="63"/>
                </a:cxn>
                <a:cxn ang="0">
                  <a:pos x="0" y="63"/>
                </a:cxn>
                <a:cxn ang="0">
                  <a:pos x="2" y="35"/>
                </a:cxn>
                <a:cxn ang="0">
                  <a:pos x="4" y="27"/>
                </a:cxn>
                <a:cxn ang="0">
                  <a:pos x="7" y="16"/>
                </a:cxn>
                <a:cxn ang="0">
                  <a:pos x="7" y="16"/>
                </a:cxn>
                <a:cxn ang="0">
                  <a:pos x="11" y="4"/>
                </a:cxn>
                <a:cxn ang="0">
                  <a:pos x="14" y="0"/>
                </a:cxn>
                <a:cxn ang="0">
                  <a:pos x="16" y="0"/>
                </a:cxn>
                <a:cxn ang="0">
                  <a:pos x="19" y="2"/>
                </a:cxn>
                <a:cxn ang="0">
                  <a:pos x="19" y="2"/>
                </a:cxn>
                <a:cxn ang="0">
                  <a:pos x="23" y="6"/>
                </a:cxn>
                <a:cxn ang="0">
                  <a:pos x="28" y="13"/>
                </a:cxn>
                <a:cxn ang="0">
                  <a:pos x="28" y="20"/>
                </a:cxn>
                <a:cxn ang="0">
                  <a:pos x="26" y="25"/>
                </a:cxn>
                <a:cxn ang="0">
                  <a:pos x="26" y="25"/>
                </a:cxn>
                <a:cxn ang="0">
                  <a:pos x="26" y="28"/>
                </a:cxn>
                <a:cxn ang="0">
                  <a:pos x="26" y="32"/>
                </a:cxn>
                <a:cxn ang="0">
                  <a:pos x="28" y="37"/>
                </a:cxn>
                <a:cxn ang="0">
                  <a:pos x="30" y="41"/>
                </a:cxn>
                <a:cxn ang="0">
                  <a:pos x="30" y="46"/>
                </a:cxn>
                <a:cxn ang="0">
                  <a:pos x="30" y="46"/>
                </a:cxn>
                <a:cxn ang="0">
                  <a:pos x="28" y="60"/>
                </a:cxn>
                <a:cxn ang="0">
                  <a:pos x="24" y="65"/>
                </a:cxn>
                <a:cxn ang="0">
                  <a:pos x="23" y="67"/>
                </a:cxn>
                <a:cxn ang="0">
                  <a:pos x="21" y="68"/>
                </a:cxn>
                <a:cxn ang="0">
                  <a:pos x="21" y="68"/>
                </a:cxn>
                <a:cxn ang="0">
                  <a:pos x="18" y="68"/>
                </a:cxn>
                <a:cxn ang="0">
                  <a:pos x="18" y="68"/>
                </a:cxn>
                <a:cxn ang="0">
                  <a:pos x="18" y="70"/>
                </a:cxn>
                <a:cxn ang="0">
                  <a:pos x="18" y="70"/>
                </a:cxn>
              </a:cxnLst>
              <a:rect l="0" t="0" r="r" b="b"/>
              <a:pathLst>
                <a:path w="30" h="72">
                  <a:moveTo>
                    <a:pt x="18" y="70"/>
                  </a:moveTo>
                  <a:lnTo>
                    <a:pt x="18" y="70"/>
                  </a:lnTo>
                  <a:lnTo>
                    <a:pt x="18" y="72"/>
                  </a:lnTo>
                  <a:lnTo>
                    <a:pt x="14" y="72"/>
                  </a:lnTo>
                  <a:lnTo>
                    <a:pt x="14" y="72"/>
                  </a:lnTo>
                  <a:lnTo>
                    <a:pt x="7" y="68"/>
                  </a:lnTo>
                  <a:lnTo>
                    <a:pt x="0" y="63"/>
                  </a:lnTo>
                  <a:lnTo>
                    <a:pt x="0" y="63"/>
                  </a:lnTo>
                  <a:lnTo>
                    <a:pt x="2" y="35"/>
                  </a:lnTo>
                  <a:lnTo>
                    <a:pt x="4" y="27"/>
                  </a:lnTo>
                  <a:lnTo>
                    <a:pt x="7" y="16"/>
                  </a:lnTo>
                  <a:lnTo>
                    <a:pt x="7" y="16"/>
                  </a:lnTo>
                  <a:lnTo>
                    <a:pt x="11" y="4"/>
                  </a:lnTo>
                  <a:lnTo>
                    <a:pt x="14" y="0"/>
                  </a:lnTo>
                  <a:lnTo>
                    <a:pt x="16" y="0"/>
                  </a:lnTo>
                  <a:lnTo>
                    <a:pt x="19" y="2"/>
                  </a:lnTo>
                  <a:lnTo>
                    <a:pt x="19" y="2"/>
                  </a:lnTo>
                  <a:lnTo>
                    <a:pt x="23" y="6"/>
                  </a:lnTo>
                  <a:lnTo>
                    <a:pt x="28" y="13"/>
                  </a:lnTo>
                  <a:lnTo>
                    <a:pt x="28" y="20"/>
                  </a:lnTo>
                  <a:lnTo>
                    <a:pt x="26" y="25"/>
                  </a:lnTo>
                  <a:lnTo>
                    <a:pt x="26" y="25"/>
                  </a:lnTo>
                  <a:lnTo>
                    <a:pt x="26" y="28"/>
                  </a:lnTo>
                  <a:lnTo>
                    <a:pt x="26" y="32"/>
                  </a:lnTo>
                  <a:lnTo>
                    <a:pt x="28" y="37"/>
                  </a:lnTo>
                  <a:lnTo>
                    <a:pt x="30" y="41"/>
                  </a:lnTo>
                  <a:lnTo>
                    <a:pt x="30" y="46"/>
                  </a:lnTo>
                  <a:lnTo>
                    <a:pt x="30" y="46"/>
                  </a:lnTo>
                  <a:lnTo>
                    <a:pt x="28" y="60"/>
                  </a:lnTo>
                  <a:lnTo>
                    <a:pt x="24" y="65"/>
                  </a:lnTo>
                  <a:lnTo>
                    <a:pt x="23" y="67"/>
                  </a:lnTo>
                  <a:lnTo>
                    <a:pt x="21" y="68"/>
                  </a:lnTo>
                  <a:lnTo>
                    <a:pt x="21" y="68"/>
                  </a:lnTo>
                  <a:lnTo>
                    <a:pt x="18" y="68"/>
                  </a:lnTo>
                  <a:lnTo>
                    <a:pt x="18" y="68"/>
                  </a:lnTo>
                  <a:lnTo>
                    <a:pt x="18" y="70"/>
                  </a:lnTo>
                  <a:lnTo>
                    <a:pt x="18" y="7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4" name="Freeform 2208">
              <a:extLst>
                <a:ext uri="{FF2B5EF4-FFF2-40B4-BE49-F238E27FC236}">
                  <a16:creationId xmlns:a16="http://schemas.microsoft.com/office/drawing/2014/main" id="{91189AB7-B108-47BD-B724-83B042D77BAF}"/>
                </a:ext>
              </a:extLst>
            </p:cNvPr>
            <p:cNvSpPr>
              <a:spLocks/>
            </p:cNvSpPr>
            <p:nvPr/>
          </p:nvSpPr>
          <p:spPr bwMode="auto">
            <a:xfrm>
              <a:off x="6145190" y="3581444"/>
              <a:ext cx="14097" cy="17620"/>
            </a:xfrm>
            <a:custGeom>
              <a:avLst/>
              <a:gdLst/>
              <a:ahLst/>
              <a:cxnLst>
                <a:cxn ang="0">
                  <a:pos x="14" y="0"/>
                </a:cxn>
                <a:cxn ang="0">
                  <a:pos x="14" y="0"/>
                </a:cxn>
                <a:cxn ang="0">
                  <a:pos x="12" y="0"/>
                </a:cxn>
                <a:cxn ang="0">
                  <a:pos x="12" y="2"/>
                </a:cxn>
                <a:cxn ang="0">
                  <a:pos x="12" y="4"/>
                </a:cxn>
                <a:cxn ang="0">
                  <a:pos x="10" y="4"/>
                </a:cxn>
                <a:cxn ang="0">
                  <a:pos x="10" y="4"/>
                </a:cxn>
                <a:cxn ang="0">
                  <a:pos x="5" y="5"/>
                </a:cxn>
                <a:cxn ang="0">
                  <a:pos x="1" y="5"/>
                </a:cxn>
                <a:cxn ang="0">
                  <a:pos x="1" y="5"/>
                </a:cxn>
                <a:cxn ang="0">
                  <a:pos x="1" y="7"/>
                </a:cxn>
                <a:cxn ang="0">
                  <a:pos x="0" y="9"/>
                </a:cxn>
                <a:cxn ang="0">
                  <a:pos x="0" y="12"/>
                </a:cxn>
                <a:cxn ang="0">
                  <a:pos x="1" y="12"/>
                </a:cxn>
                <a:cxn ang="0">
                  <a:pos x="1" y="12"/>
                </a:cxn>
                <a:cxn ang="0">
                  <a:pos x="3" y="12"/>
                </a:cxn>
                <a:cxn ang="0">
                  <a:pos x="1" y="14"/>
                </a:cxn>
                <a:cxn ang="0">
                  <a:pos x="1" y="14"/>
                </a:cxn>
                <a:cxn ang="0">
                  <a:pos x="1" y="14"/>
                </a:cxn>
                <a:cxn ang="0">
                  <a:pos x="3" y="14"/>
                </a:cxn>
                <a:cxn ang="0">
                  <a:pos x="3" y="14"/>
                </a:cxn>
                <a:cxn ang="0">
                  <a:pos x="5" y="16"/>
                </a:cxn>
                <a:cxn ang="0">
                  <a:pos x="3" y="16"/>
                </a:cxn>
                <a:cxn ang="0">
                  <a:pos x="3" y="16"/>
                </a:cxn>
                <a:cxn ang="0">
                  <a:pos x="3" y="18"/>
                </a:cxn>
                <a:cxn ang="0">
                  <a:pos x="3" y="18"/>
                </a:cxn>
                <a:cxn ang="0">
                  <a:pos x="8" y="18"/>
                </a:cxn>
                <a:cxn ang="0">
                  <a:pos x="10" y="19"/>
                </a:cxn>
                <a:cxn ang="0">
                  <a:pos x="10" y="19"/>
                </a:cxn>
                <a:cxn ang="0">
                  <a:pos x="10" y="18"/>
                </a:cxn>
                <a:cxn ang="0">
                  <a:pos x="12" y="16"/>
                </a:cxn>
                <a:cxn ang="0">
                  <a:pos x="12" y="16"/>
                </a:cxn>
                <a:cxn ang="0">
                  <a:pos x="14" y="16"/>
                </a:cxn>
                <a:cxn ang="0">
                  <a:pos x="14" y="12"/>
                </a:cxn>
                <a:cxn ang="0">
                  <a:pos x="14" y="12"/>
                </a:cxn>
                <a:cxn ang="0">
                  <a:pos x="15" y="11"/>
                </a:cxn>
                <a:cxn ang="0">
                  <a:pos x="15" y="11"/>
                </a:cxn>
                <a:cxn ang="0">
                  <a:pos x="15" y="9"/>
                </a:cxn>
                <a:cxn ang="0">
                  <a:pos x="15" y="9"/>
                </a:cxn>
                <a:cxn ang="0">
                  <a:pos x="15" y="5"/>
                </a:cxn>
                <a:cxn ang="0">
                  <a:pos x="15" y="4"/>
                </a:cxn>
                <a:cxn ang="0">
                  <a:pos x="15" y="4"/>
                </a:cxn>
                <a:cxn ang="0">
                  <a:pos x="15" y="2"/>
                </a:cxn>
                <a:cxn ang="0">
                  <a:pos x="14" y="0"/>
                </a:cxn>
                <a:cxn ang="0">
                  <a:pos x="14" y="0"/>
                </a:cxn>
              </a:cxnLst>
              <a:rect l="0" t="0" r="r" b="b"/>
              <a:pathLst>
                <a:path w="15" h="19">
                  <a:moveTo>
                    <a:pt x="14" y="0"/>
                  </a:moveTo>
                  <a:lnTo>
                    <a:pt x="14" y="0"/>
                  </a:lnTo>
                  <a:lnTo>
                    <a:pt x="12" y="0"/>
                  </a:lnTo>
                  <a:lnTo>
                    <a:pt x="12" y="2"/>
                  </a:lnTo>
                  <a:lnTo>
                    <a:pt x="12" y="4"/>
                  </a:lnTo>
                  <a:lnTo>
                    <a:pt x="10" y="4"/>
                  </a:lnTo>
                  <a:lnTo>
                    <a:pt x="10" y="4"/>
                  </a:lnTo>
                  <a:lnTo>
                    <a:pt x="5" y="5"/>
                  </a:lnTo>
                  <a:lnTo>
                    <a:pt x="1" y="5"/>
                  </a:lnTo>
                  <a:lnTo>
                    <a:pt x="1" y="5"/>
                  </a:lnTo>
                  <a:lnTo>
                    <a:pt x="1" y="7"/>
                  </a:lnTo>
                  <a:lnTo>
                    <a:pt x="0" y="9"/>
                  </a:lnTo>
                  <a:lnTo>
                    <a:pt x="0" y="12"/>
                  </a:lnTo>
                  <a:lnTo>
                    <a:pt x="1" y="12"/>
                  </a:lnTo>
                  <a:lnTo>
                    <a:pt x="1" y="12"/>
                  </a:lnTo>
                  <a:lnTo>
                    <a:pt x="3" y="12"/>
                  </a:lnTo>
                  <a:lnTo>
                    <a:pt x="1" y="14"/>
                  </a:lnTo>
                  <a:lnTo>
                    <a:pt x="1" y="14"/>
                  </a:lnTo>
                  <a:lnTo>
                    <a:pt x="1" y="14"/>
                  </a:lnTo>
                  <a:lnTo>
                    <a:pt x="3" y="14"/>
                  </a:lnTo>
                  <a:lnTo>
                    <a:pt x="3" y="14"/>
                  </a:lnTo>
                  <a:lnTo>
                    <a:pt x="5" y="16"/>
                  </a:lnTo>
                  <a:lnTo>
                    <a:pt x="3" y="16"/>
                  </a:lnTo>
                  <a:lnTo>
                    <a:pt x="3" y="16"/>
                  </a:lnTo>
                  <a:lnTo>
                    <a:pt x="3" y="18"/>
                  </a:lnTo>
                  <a:lnTo>
                    <a:pt x="3" y="18"/>
                  </a:lnTo>
                  <a:lnTo>
                    <a:pt x="8" y="18"/>
                  </a:lnTo>
                  <a:lnTo>
                    <a:pt x="10" y="19"/>
                  </a:lnTo>
                  <a:lnTo>
                    <a:pt x="10" y="19"/>
                  </a:lnTo>
                  <a:lnTo>
                    <a:pt x="10" y="18"/>
                  </a:lnTo>
                  <a:lnTo>
                    <a:pt x="12" y="16"/>
                  </a:lnTo>
                  <a:lnTo>
                    <a:pt x="12" y="16"/>
                  </a:lnTo>
                  <a:lnTo>
                    <a:pt x="14" y="16"/>
                  </a:lnTo>
                  <a:lnTo>
                    <a:pt x="14" y="12"/>
                  </a:lnTo>
                  <a:lnTo>
                    <a:pt x="14" y="12"/>
                  </a:lnTo>
                  <a:lnTo>
                    <a:pt x="15" y="11"/>
                  </a:lnTo>
                  <a:lnTo>
                    <a:pt x="15" y="11"/>
                  </a:lnTo>
                  <a:lnTo>
                    <a:pt x="15" y="9"/>
                  </a:lnTo>
                  <a:lnTo>
                    <a:pt x="15" y="9"/>
                  </a:lnTo>
                  <a:lnTo>
                    <a:pt x="15" y="5"/>
                  </a:lnTo>
                  <a:lnTo>
                    <a:pt x="15" y="4"/>
                  </a:lnTo>
                  <a:lnTo>
                    <a:pt x="15" y="4"/>
                  </a:lnTo>
                  <a:lnTo>
                    <a:pt x="15" y="2"/>
                  </a:lnTo>
                  <a:lnTo>
                    <a:pt x="14" y="0"/>
                  </a:lnTo>
                  <a:lnTo>
                    <a:pt x="14"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5" name="Freeform 2209">
              <a:extLst>
                <a:ext uri="{FF2B5EF4-FFF2-40B4-BE49-F238E27FC236}">
                  <a16:creationId xmlns:a16="http://schemas.microsoft.com/office/drawing/2014/main" id="{E23A0084-1A02-4BD2-9E58-BEBB28A1F86C}"/>
                </a:ext>
              </a:extLst>
            </p:cNvPr>
            <p:cNvSpPr>
              <a:spLocks/>
            </p:cNvSpPr>
            <p:nvPr/>
          </p:nvSpPr>
          <p:spPr bwMode="auto">
            <a:xfrm>
              <a:off x="6131092" y="3574392"/>
              <a:ext cx="19383" cy="37003"/>
            </a:xfrm>
            <a:custGeom>
              <a:avLst/>
              <a:gdLst/>
              <a:ahLst/>
              <a:cxnLst>
                <a:cxn ang="0">
                  <a:pos x="21" y="0"/>
                </a:cxn>
                <a:cxn ang="0">
                  <a:pos x="21" y="0"/>
                </a:cxn>
                <a:cxn ang="0">
                  <a:pos x="21" y="0"/>
                </a:cxn>
                <a:cxn ang="0">
                  <a:pos x="20" y="0"/>
                </a:cxn>
                <a:cxn ang="0">
                  <a:pos x="20" y="3"/>
                </a:cxn>
                <a:cxn ang="0">
                  <a:pos x="20" y="7"/>
                </a:cxn>
                <a:cxn ang="0">
                  <a:pos x="18" y="8"/>
                </a:cxn>
                <a:cxn ang="0">
                  <a:pos x="16" y="8"/>
                </a:cxn>
                <a:cxn ang="0">
                  <a:pos x="16" y="8"/>
                </a:cxn>
                <a:cxn ang="0">
                  <a:pos x="13" y="8"/>
                </a:cxn>
                <a:cxn ang="0">
                  <a:pos x="9" y="8"/>
                </a:cxn>
                <a:cxn ang="0">
                  <a:pos x="7" y="10"/>
                </a:cxn>
                <a:cxn ang="0">
                  <a:pos x="4" y="12"/>
                </a:cxn>
                <a:cxn ang="0">
                  <a:pos x="4" y="12"/>
                </a:cxn>
                <a:cxn ang="0">
                  <a:pos x="4" y="12"/>
                </a:cxn>
                <a:cxn ang="0">
                  <a:pos x="2" y="14"/>
                </a:cxn>
                <a:cxn ang="0">
                  <a:pos x="0" y="21"/>
                </a:cxn>
                <a:cxn ang="0">
                  <a:pos x="0" y="28"/>
                </a:cxn>
                <a:cxn ang="0">
                  <a:pos x="2" y="29"/>
                </a:cxn>
                <a:cxn ang="0">
                  <a:pos x="4" y="29"/>
                </a:cxn>
                <a:cxn ang="0">
                  <a:pos x="4" y="29"/>
                </a:cxn>
                <a:cxn ang="0">
                  <a:pos x="6" y="29"/>
                </a:cxn>
                <a:cxn ang="0">
                  <a:pos x="6" y="31"/>
                </a:cxn>
                <a:cxn ang="0">
                  <a:pos x="4" y="33"/>
                </a:cxn>
                <a:cxn ang="0">
                  <a:pos x="4" y="33"/>
                </a:cxn>
                <a:cxn ang="0">
                  <a:pos x="2" y="35"/>
                </a:cxn>
                <a:cxn ang="0">
                  <a:pos x="6" y="35"/>
                </a:cxn>
                <a:cxn ang="0">
                  <a:pos x="6" y="35"/>
                </a:cxn>
                <a:cxn ang="0">
                  <a:pos x="7" y="36"/>
                </a:cxn>
                <a:cxn ang="0">
                  <a:pos x="7" y="36"/>
                </a:cxn>
                <a:cxn ang="0">
                  <a:pos x="6" y="38"/>
                </a:cxn>
                <a:cxn ang="0">
                  <a:pos x="7" y="40"/>
                </a:cxn>
                <a:cxn ang="0">
                  <a:pos x="7" y="40"/>
                </a:cxn>
                <a:cxn ang="0">
                  <a:pos x="11" y="42"/>
                </a:cxn>
                <a:cxn ang="0">
                  <a:pos x="13" y="43"/>
                </a:cxn>
                <a:cxn ang="0">
                  <a:pos x="14" y="45"/>
                </a:cxn>
                <a:cxn ang="0">
                  <a:pos x="16" y="45"/>
                </a:cxn>
                <a:cxn ang="0">
                  <a:pos x="16" y="45"/>
                </a:cxn>
                <a:cxn ang="0">
                  <a:pos x="16" y="43"/>
                </a:cxn>
                <a:cxn ang="0">
                  <a:pos x="16" y="43"/>
                </a:cxn>
                <a:cxn ang="0">
                  <a:pos x="16" y="42"/>
                </a:cxn>
                <a:cxn ang="0">
                  <a:pos x="18" y="40"/>
                </a:cxn>
                <a:cxn ang="0">
                  <a:pos x="18" y="40"/>
                </a:cxn>
                <a:cxn ang="0">
                  <a:pos x="21" y="36"/>
                </a:cxn>
                <a:cxn ang="0">
                  <a:pos x="21" y="31"/>
                </a:cxn>
                <a:cxn ang="0">
                  <a:pos x="21" y="31"/>
                </a:cxn>
                <a:cxn ang="0">
                  <a:pos x="21" y="28"/>
                </a:cxn>
                <a:cxn ang="0">
                  <a:pos x="23" y="26"/>
                </a:cxn>
                <a:cxn ang="0">
                  <a:pos x="25" y="22"/>
                </a:cxn>
                <a:cxn ang="0">
                  <a:pos x="25" y="17"/>
                </a:cxn>
                <a:cxn ang="0">
                  <a:pos x="25" y="17"/>
                </a:cxn>
                <a:cxn ang="0">
                  <a:pos x="23" y="10"/>
                </a:cxn>
                <a:cxn ang="0">
                  <a:pos x="23" y="7"/>
                </a:cxn>
                <a:cxn ang="0">
                  <a:pos x="23" y="7"/>
                </a:cxn>
                <a:cxn ang="0">
                  <a:pos x="23" y="1"/>
                </a:cxn>
                <a:cxn ang="0">
                  <a:pos x="23" y="0"/>
                </a:cxn>
                <a:cxn ang="0">
                  <a:pos x="21" y="0"/>
                </a:cxn>
                <a:cxn ang="0">
                  <a:pos x="21" y="0"/>
                </a:cxn>
              </a:cxnLst>
              <a:rect l="0" t="0" r="r" b="b"/>
              <a:pathLst>
                <a:path w="25" h="45">
                  <a:moveTo>
                    <a:pt x="21" y="0"/>
                  </a:moveTo>
                  <a:lnTo>
                    <a:pt x="21" y="0"/>
                  </a:lnTo>
                  <a:lnTo>
                    <a:pt x="21" y="0"/>
                  </a:lnTo>
                  <a:lnTo>
                    <a:pt x="20" y="0"/>
                  </a:lnTo>
                  <a:lnTo>
                    <a:pt x="20" y="3"/>
                  </a:lnTo>
                  <a:lnTo>
                    <a:pt x="20" y="7"/>
                  </a:lnTo>
                  <a:lnTo>
                    <a:pt x="18" y="8"/>
                  </a:lnTo>
                  <a:lnTo>
                    <a:pt x="16" y="8"/>
                  </a:lnTo>
                  <a:lnTo>
                    <a:pt x="16" y="8"/>
                  </a:lnTo>
                  <a:lnTo>
                    <a:pt x="13" y="8"/>
                  </a:lnTo>
                  <a:lnTo>
                    <a:pt x="9" y="8"/>
                  </a:lnTo>
                  <a:lnTo>
                    <a:pt x="7" y="10"/>
                  </a:lnTo>
                  <a:lnTo>
                    <a:pt x="4" y="12"/>
                  </a:lnTo>
                  <a:lnTo>
                    <a:pt x="4" y="12"/>
                  </a:lnTo>
                  <a:lnTo>
                    <a:pt x="4" y="12"/>
                  </a:lnTo>
                  <a:lnTo>
                    <a:pt x="2" y="14"/>
                  </a:lnTo>
                  <a:lnTo>
                    <a:pt x="0" y="21"/>
                  </a:lnTo>
                  <a:lnTo>
                    <a:pt x="0" y="28"/>
                  </a:lnTo>
                  <a:lnTo>
                    <a:pt x="2" y="29"/>
                  </a:lnTo>
                  <a:lnTo>
                    <a:pt x="4" y="29"/>
                  </a:lnTo>
                  <a:lnTo>
                    <a:pt x="4" y="29"/>
                  </a:lnTo>
                  <a:lnTo>
                    <a:pt x="6" y="29"/>
                  </a:lnTo>
                  <a:lnTo>
                    <a:pt x="6" y="31"/>
                  </a:lnTo>
                  <a:lnTo>
                    <a:pt x="4" y="33"/>
                  </a:lnTo>
                  <a:lnTo>
                    <a:pt x="4" y="33"/>
                  </a:lnTo>
                  <a:lnTo>
                    <a:pt x="2" y="35"/>
                  </a:lnTo>
                  <a:lnTo>
                    <a:pt x="6" y="35"/>
                  </a:lnTo>
                  <a:lnTo>
                    <a:pt x="6" y="35"/>
                  </a:lnTo>
                  <a:lnTo>
                    <a:pt x="7" y="36"/>
                  </a:lnTo>
                  <a:lnTo>
                    <a:pt x="7" y="36"/>
                  </a:lnTo>
                  <a:lnTo>
                    <a:pt x="6" y="38"/>
                  </a:lnTo>
                  <a:lnTo>
                    <a:pt x="7" y="40"/>
                  </a:lnTo>
                  <a:lnTo>
                    <a:pt x="7" y="40"/>
                  </a:lnTo>
                  <a:lnTo>
                    <a:pt x="11" y="42"/>
                  </a:lnTo>
                  <a:lnTo>
                    <a:pt x="13" y="43"/>
                  </a:lnTo>
                  <a:lnTo>
                    <a:pt x="14" y="45"/>
                  </a:lnTo>
                  <a:lnTo>
                    <a:pt x="16" y="45"/>
                  </a:lnTo>
                  <a:lnTo>
                    <a:pt x="16" y="45"/>
                  </a:lnTo>
                  <a:lnTo>
                    <a:pt x="16" y="43"/>
                  </a:lnTo>
                  <a:lnTo>
                    <a:pt x="16" y="43"/>
                  </a:lnTo>
                  <a:lnTo>
                    <a:pt x="16" y="42"/>
                  </a:lnTo>
                  <a:lnTo>
                    <a:pt x="18" y="40"/>
                  </a:lnTo>
                  <a:lnTo>
                    <a:pt x="18" y="40"/>
                  </a:lnTo>
                  <a:lnTo>
                    <a:pt x="21" y="36"/>
                  </a:lnTo>
                  <a:lnTo>
                    <a:pt x="21" y="31"/>
                  </a:lnTo>
                  <a:lnTo>
                    <a:pt x="21" y="31"/>
                  </a:lnTo>
                  <a:lnTo>
                    <a:pt x="21" y="28"/>
                  </a:lnTo>
                  <a:lnTo>
                    <a:pt x="23" y="26"/>
                  </a:lnTo>
                  <a:lnTo>
                    <a:pt x="25" y="22"/>
                  </a:lnTo>
                  <a:lnTo>
                    <a:pt x="25" y="17"/>
                  </a:lnTo>
                  <a:lnTo>
                    <a:pt x="25" y="17"/>
                  </a:lnTo>
                  <a:lnTo>
                    <a:pt x="23" y="10"/>
                  </a:lnTo>
                  <a:lnTo>
                    <a:pt x="23" y="7"/>
                  </a:lnTo>
                  <a:lnTo>
                    <a:pt x="23" y="7"/>
                  </a:lnTo>
                  <a:lnTo>
                    <a:pt x="23" y="1"/>
                  </a:lnTo>
                  <a:lnTo>
                    <a:pt x="23" y="0"/>
                  </a:lnTo>
                  <a:lnTo>
                    <a:pt x="21" y="0"/>
                  </a:lnTo>
                  <a:lnTo>
                    <a:pt x="21" y="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56" name="Group 1021">
              <a:extLst>
                <a:ext uri="{FF2B5EF4-FFF2-40B4-BE49-F238E27FC236}">
                  <a16:creationId xmlns:a16="http://schemas.microsoft.com/office/drawing/2014/main" id="{F0EFCD36-2B05-48E8-8376-F2AE30C1C4B9}"/>
                </a:ext>
              </a:extLst>
            </p:cNvPr>
            <p:cNvGrpSpPr/>
            <p:nvPr/>
          </p:nvGrpSpPr>
          <p:grpSpPr bwMode="auto">
            <a:xfrm>
              <a:off x="6159282" y="3604323"/>
              <a:ext cx="151532" cy="137436"/>
              <a:chOff x="5378450" y="3446463"/>
              <a:chExt cx="136525" cy="123825"/>
            </a:xfrm>
            <a:solidFill>
              <a:srgbClr val="808183">
                <a:lumMod val="60000"/>
                <a:lumOff val="40000"/>
              </a:srgbClr>
            </a:solidFill>
          </p:grpSpPr>
          <p:sp>
            <p:nvSpPr>
              <p:cNvPr id="385" name="Freeform 2211">
                <a:extLst>
                  <a:ext uri="{FF2B5EF4-FFF2-40B4-BE49-F238E27FC236}">
                    <a16:creationId xmlns:a16="http://schemas.microsoft.com/office/drawing/2014/main" id="{AD2A77B4-4980-43CA-9BD6-4526BD41F7BE}"/>
                  </a:ext>
                </a:extLst>
              </p:cNvPr>
              <p:cNvSpPr>
                <a:spLocks/>
              </p:cNvSpPr>
              <p:nvPr/>
            </p:nvSpPr>
            <p:spPr bwMode="auto">
              <a:xfrm>
                <a:off x="5378450" y="3457575"/>
                <a:ext cx="131763" cy="112713"/>
              </a:xfrm>
              <a:custGeom>
                <a:avLst/>
                <a:gdLst/>
                <a:ahLst/>
                <a:cxnLst>
                  <a:cxn ang="0">
                    <a:pos x="178" y="19"/>
                  </a:cxn>
                  <a:cxn ang="0">
                    <a:pos x="176" y="5"/>
                  </a:cxn>
                  <a:cxn ang="0">
                    <a:pos x="174" y="0"/>
                  </a:cxn>
                  <a:cxn ang="0">
                    <a:pos x="169" y="12"/>
                  </a:cxn>
                  <a:cxn ang="0">
                    <a:pos x="162" y="19"/>
                  </a:cxn>
                  <a:cxn ang="0">
                    <a:pos x="153" y="28"/>
                  </a:cxn>
                  <a:cxn ang="0">
                    <a:pos x="141" y="40"/>
                  </a:cxn>
                  <a:cxn ang="0">
                    <a:pos x="115" y="68"/>
                  </a:cxn>
                  <a:cxn ang="0">
                    <a:pos x="117" y="71"/>
                  </a:cxn>
                  <a:cxn ang="0">
                    <a:pos x="113" y="80"/>
                  </a:cxn>
                  <a:cxn ang="0">
                    <a:pos x="91" y="89"/>
                  </a:cxn>
                  <a:cxn ang="0">
                    <a:pos x="56" y="85"/>
                  </a:cxn>
                  <a:cxn ang="0">
                    <a:pos x="35" y="92"/>
                  </a:cxn>
                  <a:cxn ang="0">
                    <a:pos x="24" y="92"/>
                  </a:cxn>
                  <a:cxn ang="0">
                    <a:pos x="23" y="80"/>
                  </a:cxn>
                  <a:cxn ang="0">
                    <a:pos x="10" y="78"/>
                  </a:cxn>
                  <a:cxn ang="0">
                    <a:pos x="7" y="77"/>
                  </a:cxn>
                  <a:cxn ang="0">
                    <a:pos x="12" y="66"/>
                  </a:cxn>
                  <a:cxn ang="0">
                    <a:pos x="7" y="66"/>
                  </a:cxn>
                  <a:cxn ang="0">
                    <a:pos x="4" y="66"/>
                  </a:cxn>
                  <a:cxn ang="0">
                    <a:pos x="0" y="68"/>
                  </a:cxn>
                  <a:cxn ang="0">
                    <a:pos x="5" y="85"/>
                  </a:cxn>
                  <a:cxn ang="0">
                    <a:pos x="19" y="96"/>
                  </a:cxn>
                  <a:cxn ang="0">
                    <a:pos x="26" y="118"/>
                  </a:cxn>
                  <a:cxn ang="0">
                    <a:pos x="28" y="132"/>
                  </a:cxn>
                  <a:cxn ang="0">
                    <a:pos x="40" y="139"/>
                  </a:cxn>
                  <a:cxn ang="0">
                    <a:pos x="91" y="150"/>
                  </a:cxn>
                  <a:cxn ang="0">
                    <a:pos x="134" y="157"/>
                  </a:cxn>
                  <a:cxn ang="0">
                    <a:pos x="143" y="150"/>
                  </a:cxn>
                  <a:cxn ang="0">
                    <a:pos x="150" y="115"/>
                  </a:cxn>
                  <a:cxn ang="0">
                    <a:pos x="155" y="97"/>
                  </a:cxn>
                  <a:cxn ang="0">
                    <a:pos x="152" y="92"/>
                  </a:cxn>
                  <a:cxn ang="0">
                    <a:pos x="167" y="91"/>
                  </a:cxn>
                  <a:cxn ang="0">
                    <a:pos x="174" y="85"/>
                  </a:cxn>
                  <a:cxn ang="0">
                    <a:pos x="165" y="82"/>
                  </a:cxn>
                  <a:cxn ang="0">
                    <a:pos x="164" y="77"/>
                  </a:cxn>
                  <a:cxn ang="0">
                    <a:pos x="164" y="59"/>
                  </a:cxn>
                  <a:cxn ang="0">
                    <a:pos x="167" y="47"/>
                  </a:cxn>
                  <a:cxn ang="0">
                    <a:pos x="172" y="54"/>
                  </a:cxn>
                  <a:cxn ang="0">
                    <a:pos x="176" y="59"/>
                  </a:cxn>
                  <a:cxn ang="0">
                    <a:pos x="183" y="50"/>
                  </a:cxn>
                  <a:cxn ang="0">
                    <a:pos x="183" y="23"/>
                  </a:cxn>
                </a:cxnLst>
                <a:rect l="0" t="0" r="r" b="b"/>
                <a:pathLst>
                  <a:path w="183" h="157">
                    <a:moveTo>
                      <a:pt x="181" y="19"/>
                    </a:moveTo>
                    <a:lnTo>
                      <a:pt x="181" y="19"/>
                    </a:lnTo>
                    <a:lnTo>
                      <a:pt x="178" y="19"/>
                    </a:lnTo>
                    <a:lnTo>
                      <a:pt x="178" y="17"/>
                    </a:lnTo>
                    <a:lnTo>
                      <a:pt x="176" y="12"/>
                    </a:lnTo>
                    <a:lnTo>
                      <a:pt x="176" y="5"/>
                    </a:lnTo>
                    <a:lnTo>
                      <a:pt x="176" y="2"/>
                    </a:lnTo>
                    <a:lnTo>
                      <a:pt x="174" y="0"/>
                    </a:lnTo>
                    <a:lnTo>
                      <a:pt x="174" y="0"/>
                    </a:lnTo>
                    <a:lnTo>
                      <a:pt x="171" y="10"/>
                    </a:lnTo>
                    <a:lnTo>
                      <a:pt x="169" y="12"/>
                    </a:lnTo>
                    <a:lnTo>
                      <a:pt x="169" y="12"/>
                    </a:lnTo>
                    <a:lnTo>
                      <a:pt x="167" y="12"/>
                    </a:lnTo>
                    <a:lnTo>
                      <a:pt x="165" y="12"/>
                    </a:lnTo>
                    <a:lnTo>
                      <a:pt x="162" y="19"/>
                    </a:lnTo>
                    <a:lnTo>
                      <a:pt x="162" y="19"/>
                    </a:lnTo>
                    <a:lnTo>
                      <a:pt x="158" y="24"/>
                    </a:lnTo>
                    <a:lnTo>
                      <a:pt x="153" y="28"/>
                    </a:lnTo>
                    <a:lnTo>
                      <a:pt x="148" y="31"/>
                    </a:lnTo>
                    <a:lnTo>
                      <a:pt x="141" y="40"/>
                    </a:lnTo>
                    <a:lnTo>
                      <a:pt x="141" y="40"/>
                    </a:lnTo>
                    <a:lnTo>
                      <a:pt x="134" y="49"/>
                    </a:lnTo>
                    <a:lnTo>
                      <a:pt x="125" y="57"/>
                    </a:lnTo>
                    <a:lnTo>
                      <a:pt x="115" y="68"/>
                    </a:lnTo>
                    <a:lnTo>
                      <a:pt x="115" y="68"/>
                    </a:lnTo>
                    <a:lnTo>
                      <a:pt x="115" y="70"/>
                    </a:lnTo>
                    <a:lnTo>
                      <a:pt x="117" y="71"/>
                    </a:lnTo>
                    <a:lnTo>
                      <a:pt x="117" y="73"/>
                    </a:lnTo>
                    <a:lnTo>
                      <a:pt x="113" y="80"/>
                    </a:lnTo>
                    <a:lnTo>
                      <a:pt x="113" y="80"/>
                    </a:lnTo>
                    <a:lnTo>
                      <a:pt x="106" y="87"/>
                    </a:lnTo>
                    <a:lnTo>
                      <a:pt x="99" y="89"/>
                    </a:lnTo>
                    <a:lnTo>
                      <a:pt x="91" y="89"/>
                    </a:lnTo>
                    <a:lnTo>
                      <a:pt x="82" y="89"/>
                    </a:lnTo>
                    <a:lnTo>
                      <a:pt x="64" y="85"/>
                    </a:lnTo>
                    <a:lnTo>
                      <a:pt x="56" y="85"/>
                    </a:lnTo>
                    <a:lnTo>
                      <a:pt x="47" y="87"/>
                    </a:lnTo>
                    <a:lnTo>
                      <a:pt x="47" y="87"/>
                    </a:lnTo>
                    <a:lnTo>
                      <a:pt x="35" y="92"/>
                    </a:lnTo>
                    <a:lnTo>
                      <a:pt x="26" y="94"/>
                    </a:lnTo>
                    <a:lnTo>
                      <a:pt x="24" y="94"/>
                    </a:lnTo>
                    <a:lnTo>
                      <a:pt x="24" y="92"/>
                    </a:lnTo>
                    <a:lnTo>
                      <a:pt x="23" y="85"/>
                    </a:lnTo>
                    <a:lnTo>
                      <a:pt x="23" y="85"/>
                    </a:lnTo>
                    <a:lnTo>
                      <a:pt x="23" y="80"/>
                    </a:lnTo>
                    <a:lnTo>
                      <a:pt x="19" y="78"/>
                    </a:lnTo>
                    <a:lnTo>
                      <a:pt x="16" y="80"/>
                    </a:lnTo>
                    <a:lnTo>
                      <a:pt x="10" y="78"/>
                    </a:lnTo>
                    <a:lnTo>
                      <a:pt x="10" y="78"/>
                    </a:lnTo>
                    <a:lnTo>
                      <a:pt x="7" y="78"/>
                    </a:lnTo>
                    <a:lnTo>
                      <a:pt x="7" y="77"/>
                    </a:lnTo>
                    <a:lnTo>
                      <a:pt x="7" y="73"/>
                    </a:lnTo>
                    <a:lnTo>
                      <a:pt x="10" y="68"/>
                    </a:lnTo>
                    <a:lnTo>
                      <a:pt x="12" y="66"/>
                    </a:lnTo>
                    <a:lnTo>
                      <a:pt x="12" y="66"/>
                    </a:lnTo>
                    <a:lnTo>
                      <a:pt x="10" y="66"/>
                    </a:lnTo>
                    <a:lnTo>
                      <a:pt x="7" y="66"/>
                    </a:lnTo>
                    <a:lnTo>
                      <a:pt x="5" y="68"/>
                    </a:lnTo>
                    <a:lnTo>
                      <a:pt x="4" y="66"/>
                    </a:lnTo>
                    <a:lnTo>
                      <a:pt x="4" y="66"/>
                    </a:lnTo>
                    <a:lnTo>
                      <a:pt x="4" y="68"/>
                    </a:lnTo>
                    <a:lnTo>
                      <a:pt x="0" y="68"/>
                    </a:lnTo>
                    <a:lnTo>
                      <a:pt x="0" y="68"/>
                    </a:lnTo>
                    <a:lnTo>
                      <a:pt x="0" y="75"/>
                    </a:lnTo>
                    <a:lnTo>
                      <a:pt x="0" y="80"/>
                    </a:lnTo>
                    <a:lnTo>
                      <a:pt x="5" y="85"/>
                    </a:lnTo>
                    <a:lnTo>
                      <a:pt x="12" y="91"/>
                    </a:lnTo>
                    <a:lnTo>
                      <a:pt x="12" y="91"/>
                    </a:lnTo>
                    <a:lnTo>
                      <a:pt x="19" y="96"/>
                    </a:lnTo>
                    <a:lnTo>
                      <a:pt x="23" y="101"/>
                    </a:lnTo>
                    <a:lnTo>
                      <a:pt x="24" y="108"/>
                    </a:lnTo>
                    <a:lnTo>
                      <a:pt x="26" y="118"/>
                    </a:lnTo>
                    <a:lnTo>
                      <a:pt x="26" y="118"/>
                    </a:lnTo>
                    <a:lnTo>
                      <a:pt x="26" y="129"/>
                    </a:lnTo>
                    <a:lnTo>
                      <a:pt x="28" y="132"/>
                    </a:lnTo>
                    <a:lnTo>
                      <a:pt x="30" y="136"/>
                    </a:lnTo>
                    <a:lnTo>
                      <a:pt x="33" y="138"/>
                    </a:lnTo>
                    <a:lnTo>
                      <a:pt x="40" y="139"/>
                    </a:lnTo>
                    <a:lnTo>
                      <a:pt x="63" y="143"/>
                    </a:lnTo>
                    <a:lnTo>
                      <a:pt x="63" y="143"/>
                    </a:lnTo>
                    <a:lnTo>
                      <a:pt x="91" y="150"/>
                    </a:lnTo>
                    <a:lnTo>
                      <a:pt x="117" y="155"/>
                    </a:lnTo>
                    <a:lnTo>
                      <a:pt x="125" y="157"/>
                    </a:lnTo>
                    <a:lnTo>
                      <a:pt x="134" y="157"/>
                    </a:lnTo>
                    <a:lnTo>
                      <a:pt x="139" y="155"/>
                    </a:lnTo>
                    <a:lnTo>
                      <a:pt x="143" y="150"/>
                    </a:lnTo>
                    <a:lnTo>
                      <a:pt x="143" y="150"/>
                    </a:lnTo>
                    <a:lnTo>
                      <a:pt x="143" y="138"/>
                    </a:lnTo>
                    <a:lnTo>
                      <a:pt x="145" y="129"/>
                    </a:lnTo>
                    <a:lnTo>
                      <a:pt x="150" y="115"/>
                    </a:lnTo>
                    <a:lnTo>
                      <a:pt x="150" y="115"/>
                    </a:lnTo>
                    <a:lnTo>
                      <a:pt x="155" y="99"/>
                    </a:lnTo>
                    <a:lnTo>
                      <a:pt x="155" y="97"/>
                    </a:lnTo>
                    <a:lnTo>
                      <a:pt x="153" y="96"/>
                    </a:lnTo>
                    <a:lnTo>
                      <a:pt x="153" y="96"/>
                    </a:lnTo>
                    <a:lnTo>
                      <a:pt x="152" y="92"/>
                    </a:lnTo>
                    <a:lnTo>
                      <a:pt x="155" y="92"/>
                    </a:lnTo>
                    <a:lnTo>
                      <a:pt x="167" y="91"/>
                    </a:lnTo>
                    <a:lnTo>
                      <a:pt x="167" y="91"/>
                    </a:lnTo>
                    <a:lnTo>
                      <a:pt x="172" y="89"/>
                    </a:lnTo>
                    <a:lnTo>
                      <a:pt x="174" y="87"/>
                    </a:lnTo>
                    <a:lnTo>
                      <a:pt x="174" y="85"/>
                    </a:lnTo>
                    <a:lnTo>
                      <a:pt x="171" y="84"/>
                    </a:lnTo>
                    <a:lnTo>
                      <a:pt x="165" y="82"/>
                    </a:lnTo>
                    <a:lnTo>
                      <a:pt x="165" y="82"/>
                    </a:lnTo>
                    <a:lnTo>
                      <a:pt x="162" y="82"/>
                    </a:lnTo>
                    <a:lnTo>
                      <a:pt x="162" y="80"/>
                    </a:lnTo>
                    <a:lnTo>
                      <a:pt x="164" y="77"/>
                    </a:lnTo>
                    <a:lnTo>
                      <a:pt x="164" y="70"/>
                    </a:lnTo>
                    <a:lnTo>
                      <a:pt x="164" y="70"/>
                    </a:lnTo>
                    <a:lnTo>
                      <a:pt x="164" y="59"/>
                    </a:lnTo>
                    <a:lnTo>
                      <a:pt x="165" y="50"/>
                    </a:lnTo>
                    <a:lnTo>
                      <a:pt x="167" y="49"/>
                    </a:lnTo>
                    <a:lnTo>
                      <a:pt x="167" y="47"/>
                    </a:lnTo>
                    <a:lnTo>
                      <a:pt x="171" y="49"/>
                    </a:lnTo>
                    <a:lnTo>
                      <a:pt x="172" y="54"/>
                    </a:lnTo>
                    <a:lnTo>
                      <a:pt x="172" y="54"/>
                    </a:lnTo>
                    <a:lnTo>
                      <a:pt x="174" y="61"/>
                    </a:lnTo>
                    <a:lnTo>
                      <a:pt x="176" y="61"/>
                    </a:lnTo>
                    <a:lnTo>
                      <a:pt x="176" y="59"/>
                    </a:lnTo>
                    <a:lnTo>
                      <a:pt x="178" y="56"/>
                    </a:lnTo>
                    <a:lnTo>
                      <a:pt x="181" y="52"/>
                    </a:lnTo>
                    <a:lnTo>
                      <a:pt x="183" y="50"/>
                    </a:lnTo>
                    <a:lnTo>
                      <a:pt x="183" y="50"/>
                    </a:lnTo>
                    <a:lnTo>
                      <a:pt x="183" y="30"/>
                    </a:lnTo>
                    <a:lnTo>
                      <a:pt x="183" y="23"/>
                    </a:lnTo>
                    <a:lnTo>
                      <a:pt x="181" y="19"/>
                    </a:lnTo>
                    <a:lnTo>
                      <a:pt x="181" y="19"/>
                    </a:lnTo>
                    <a:close/>
                  </a:path>
                </a:pathLst>
              </a:custGeom>
              <a:solidFill>
                <a:srgbClr val="117F68"/>
              </a:solidFill>
              <a:ln w="2">
                <a:noFill/>
                <a:prstDash val="solid"/>
                <a:round/>
                <a:headEnd/>
                <a:tailEnd/>
              </a:ln>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6" name="Freeform 2212">
                <a:extLst>
                  <a:ext uri="{FF2B5EF4-FFF2-40B4-BE49-F238E27FC236}">
                    <a16:creationId xmlns:a16="http://schemas.microsoft.com/office/drawing/2014/main" id="{A6FDA27A-092F-4429-B758-ADE5AD23E5AA}"/>
                  </a:ext>
                </a:extLst>
              </p:cNvPr>
              <p:cNvSpPr>
                <a:spLocks/>
              </p:cNvSpPr>
              <p:nvPr/>
            </p:nvSpPr>
            <p:spPr bwMode="auto">
              <a:xfrm>
                <a:off x="5505450" y="3446463"/>
                <a:ext cx="9525" cy="25400"/>
              </a:xfrm>
              <a:custGeom>
                <a:avLst/>
                <a:gdLst/>
                <a:ahLst/>
                <a:cxnLst>
                  <a:cxn ang="0">
                    <a:pos x="7" y="33"/>
                  </a:cxn>
                  <a:cxn ang="0">
                    <a:pos x="7" y="33"/>
                  </a:cxn>
                  <a:cxn ang="0">
                    <a:pos x="4" y="33"/>
                  </a:cxn>
                  <a:cxn ang="0">
                    <a:pos x="4" y="31"/>
                  </a:cxn>
                  <a:cxn ang="0">
                    <a:pos x="2" y="26"/>
                  </a:cxn>
                  <a:cxn ang="0">
                    <a:pos x="2" y="19"/>
                  </a:cxn>
                  <a:cxn ang="0">
                    <a:pos x="2" y="16"/>
                  </a:cxn>
                  <a:cxn ang="0">
                    <a:pos x="0" y="14"/>
                  </a:cxn>
                  <a:cxn ang="0">
                    <a:pos x="0" y="14"/>
                  </a:cxn>
                  <a:cxn ang="0">
                    <a:pos x="2" y="7"/>
                  </a:cxn>
                  <a:cxn ang="0">
                    <a:pos x="4" y="7"/>
                  </a:cxn>
                  <a:cxn ang="0">
                    <a:pos x="7" y="9"/>
                  </a:cxn>
                  <a:cxn ang="0">
                    <a:pos x="7" y="9"/>
                  </a:cxn>
                  <a:cxn ang="0">
                    <a:pos x="9" y="9"/>
                  </a:cxn>
                  <a:cxn ang="0">
                    <a:pos x="9" y="9"/>
                  </a:cxn>
                  <a:cxn ang="0">
                    <a:pos x="9" y="5"/>
                  </a:cxn>
                  <a:cxn ang="0">
                    <a:pos x="9" y="2"/>
                  </a:cxn>
                  <a:cxn ang="0">
                    <a:pos x="9" y="0"/>
                  </a:cxn>
                  <a:cxn ang="0">
                    <a:pos x="11" y="0"/>
                  </a:cxn>
                  <a:cxn ang="0">
                    <a:pos x="11" y="0"/>
                  </a:cxn>
                  <a:cxn ang="0">
                    <a:pos x="14" y="2"/>
                  </a:cxn>
                  <a:cxn ang="0">
                    <a:pos x="14" y="2"/>
                  </a:cxn>
                  <a:cxn ang="0">
                    <a:pos x="14" y="7"/>
                  </a:cxn>
                  <a:cxn ang="0">
                    <a:pos x="12" y="12"/>
                  </a:cxn>
                  <a:cxn ang="0">
                    <a:pos x="12" y="17"/>
                  </a:cxn>
                  <a:cxn ang="0">
                    <a:pos x="12" y="17"/>
                  </a:cxn>
                  <a:cxn ang="0">
                    <a:pos x="12" y="21"/>
                  </a:cxn>
                  <a:cxn ang="0">
                    <a:pos x="9" y="24"/>
                  </a:cxn>
                  <a:cxn ang="0">
                    <a:pos x="7" y="30"/>
                  </a:cxn>
                  <a:cxn ang="0">
                    <a:pos x="7" y="33"/>
                  </a:cxn>
                  <a:cxn ang="0">
                    <a:pos x="7" y="33"/>
                  </a:cxn>
                </a:cxnLst>
                <a:rect l="0" t="0" r="r" b="b"/>
                <a:pathLst>
                  <a:path w="14" h="33">
                    <a:moveTo>
                      <a:pt x="7" y="33"/>
                    </a:moveTo>
                    <a:lnTo>
                      <a:pt x="7" y="33"/>
                    </a:lnTo>
                    <a:lnTo>
                      <a:pt x="4" y="33"/>
                    </a:lnTo>
                    <a:lnTo>
                      <a:pt x="4" y="31"/>
                    </a:lnTo>
                    <a:lnTo>
                      <a:pt x="2" y="26"/>
                    </a:lnTo>
                    <a:lnTo>
                      <a:pt x="2" y="19"/>
                    </a:lnTo>
                    <a:lnTo>
                      <a:pt x="2" y="16"/>
                    </a:lnTo>
                    <a:lnTo>
                      <a:pt x="0" y="14"/>
                    </a:lnTo>
                    <a:lnTo>
                      <a:pt x="0" y="14"/>
                    </a:lnTo>
                    <a:lnTo>
                      <a:pt x="2" y="7"/>
                    </a:lnTo>
                    <a:lnTo>
                      <a:pt x="4" y="7"/>
                    </a:lnTo>
                    <a:lnTo>
                      <a:pt x="7" y="9"/>
                    </a:lnTo>
                    <a:lnTo>
                      <a:pt x="7" y="9"/>
                    </a:lnTo>
                    <a:lnTo>
                      <a:pt x="9" y="9"/>
                    </a:lnTo>
                    <a:lnTo>
                      <a:pt x="9" y="9"/>
                    </a:lnTo>
                    <a:lnTo>
                      <a:pt x="9" y="5"/>
                    </a:lnTo>
                    <a:lnTo>
                      <a:pt x="9" y="2"/>
                    </a:lnTo>
                    <a:lnTo>
                      <a:pt x="9" y="0"/>
                    </a:lnTo>
                    <a:lnTo>
                      <a:pt x="11" y="0"/>
                    </a:lnTo>
                    <a:lnTo>
                      <a:pt x="11" y="0"/>
                    </a:lnTo>
                    <a:lnTo>
                      <a:pt x="14" y="2"/>
                    </a:lnTo>
                    <a:lnTo>
                      <a:pt x="14" y="2"/>
                    </a:lnTo>
                    <a:lnTo>
                      <a:pt x="14" y="7"/>
                    </a:lnTo>
                    <a:lnTo>
                      <a:pt x="12" y="12"/>
                    </a:lnTo>
                    <a:lnTo>
                      <a:pt x="12" y="17"/>
                    </a:lnTo>
                    <a:lnTo>
                      <a:pt x="12" y="17"/>
                    </a:lnTo>
                    <a:lnTo>
                      <a:pt x="12" y="21"/>
                    </a:lnTo>
                    <a:lnTo>
                      <a:pt x="9" y="24"/>
                    </a:lnTo>
                    <a:lnTo>
                      <a:pt x="7" y="30"/>
                    </a:lnTo>
                    <a:lnTo>
                      <a:pt x="7" y="33"/>
                    </a:lnTo>
                    <a:lnTo>
                      <a:pt x="7"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57" name="Freeform 2213">
              <a:extLst>
                <a:ext uri="{FF2B5EF4-FFF2-40B4-BE49-F238E27FC236}">
                  <a16:creationId xmlns:a16="http://schemas.microsoft.com/office/drawing/2014/main" id="{9FBDAB63-83FF-4A7D-BE77-4223EE36E06C}"/>
                </a:ext>
              </a:extLst>
            </p:cNvPr>
            <p:cNvSpPr>
              <a:spLocks/>
            </p:cNvSpPr>
            <p:nvPr/>
          </p:nvSpPr>
          <p:spPr bwMode="auto">
            <a:xfrm>
              <a:off x="6032420" y="3470436"/>
              <a:ext cx="52860" cy="56384"/>
            </a:xfrm>
            <a:custGeom>
              <a:avLst/>
              <a:gdLst/>
              <a:ahLst/>
              <a:cxnLst>
                <a:cxn ang="0">
                  <a:pos x="66" y="70"/>
                </a:cxn>
                <a:cxn ang="0">
                  <a:pos x="66" y="70"/>
                </a:cxn>
                <a:cxn ang="0">
                  <a:pos x="38" y="70"/>
                </a:cxn>
                <a:cxn ang="0">
                  <a:pos x="38" y="70"/>
                </a:cxn>
                <a:cxn ang="0">
                  <a:pos x="36" y="64"/>
                </a:cxn>
                <a:cxn ang="0">
                  <a:pos x="35" y="59"/>
                </a:cxn>
                <a:cxn ang="0">
                  <a:pos x="33" y="54"/>
                </a:cxn>
                <a:cxn ang="0">
                  <a:pos x="31" y="49"/>
                </a:cxn>
                <a:cxn ang="0">
                  <a:pos x="31" y="49"/>
                </a:cxn>
                <a:cxn ang="0">
                  <a:pos x="26" y="49"/>
                </a:cxn>
                <a:cxn ang="0">
                  <a:pos x="16" y="47"/>
                </a:cxn>
                <a:cxn ang="0">
                  <a:pos x="0" y="45"/>
                </a:cxn>
                <a:cxn ang="0">
                  <a:pos x="0" y="45"/>
                </a:cxn>
                <a:cxn ang="0">
                  <a:pos x="3" y="42"/>
                </a:cxn>
                <a:cxn ang="0">
                  <a:pos x="5" y="36"/>
                </a:cxn>
                <a:cxn ang="0">
                  <a:pos x="10" y="24"/>
                </a:cxn>
                <a:cxn ang="0">
                  <a:pos x="16" y="12"/>
                </a:cxn>
                <a:cxn ang="0">
                  <a:pos x="17" y="7"/>
                </a:cxn>
                <a:cxn ang="0">
                  <a:pos x="21" y="3"/>
                </a:cxn>
                <a:cxn ang="0">
                  <a:pos x="21" y="3"/>
                </a:cxn>
                <a:cxn ang="0">
                  <a:pos x="24" y="2"/>
                </a:cxn>
                <a:cxn ang="0">
                  <a:pos x="28" y="0"/>
                </a:cxn>
                <a:cxn ang="0">
                  <a:pos x="35" y="0"/>
                </a:cxn>
                <a:cxn ang="0">
                  <a:pos x="47" y="5"/>
                </a:cxn>
                <a:cxn ang="0">
                  <a:pos x="47" y="5"/>
                </a:cxn>
                <a:cxn ang="0">
                  <a:pos x="54" y="21"/>
                </a:cxn>
                <a:cxn ang="0">
                  <a:pos x="54" y="23"/>
                </a:cxn>
                <a:cxn ang="0">
                  <a:pos x="54" y="23"/>
                </a:cxn>
                <a:cxn ang="0">
                  <a:pos x="47" y="23"/>
                </a:cxn>
                <a:cxn ang="0">
                  <a:pos x="43" y="24"/>
                </a:cxn>
                <a:cxn ang="0">
                  <a:pos x="42" y="28"/>
                </a:cxn>
                <a:cxn ang="0">
                  <a:pos x="42" y="28"/>
                </a:cxn>
                <a:cxn ang="0">
                  <a:pos x="40" y="31"/>
                </a:cxn>
                <a:cxn ang="0">
                  <a:pos x="40" y="33"/>
                </a:cxn>
                <a:cxn ang="0">
                  <a:pos x="45" y="33"/>
                </a:cxn>
                <a:cxn ang="0">
                  <a:pos x="50" y="35"/>
                </a:cxn>
                <a:cxn ang="0">
                  <a:pos x="54" y="38"/>
                </a:cxn>
                <a:cxn ang="0">
                  <a:pos x="54" y="42"/>
                </a:cxn>
                <a:cxn ang="0">
                  <a:pos x="54" y="42"/>
                </a:cxn>
                <a:cxn ang="0">
                  <a:pos x="56" y="49"/>
                </a:cxn>
                <a:cxn ang="0">
                  <a:pos x="59" y="54"/>
                </a:cxn>
                <a:cxn ang="0">
                  <a:pos x="63" y="59"/>
                </a:cxn>
                <a:cxn ang="0">
                  <a:pos x="66" y="70"/>
                </a:cxn>
                <a:cxn ang="0">
                  <a:pos x="66" y="70"/>
                </a:cxn>
              </a:cxnLst>
              <a:rect l="0" t="0" r="r" b="b"/>
              <a:pathLst>
                <a:path w="66" h="70">
                  <a:moveTo>
                    <a:pt x="66" y="70"/>
                  </a:moveTo>
                  <a:lnTo>
                    <a:pt x="66" y="70"/>
                  </a:lnTo>
                  <a:lnTo>
                    <a:pt x="38" y="70"/>
                  </a:lnTo>
                  <a:lnTo>
                    <a:pt x="38" y="70"/>
                  </a:lnTo>
                  <a:lnTo>
                    <a:pt x="36" y="64"/>
                  </a:lnTo>
                  <a:lnTo>
                    <a:pt x="35" y="59"/>
                  </a:lnTo>
                  <a:lnTo>
                    <a:pt x="33" y="54"/>
                  </a:lnTo>
                  <a:lnTo>
                    <a:pt x="31" y="49"/>
                  </a:lnTo>
                  <a:lnTo>
                    <a:pt x="31" y="49"/>
                  </a:lnTo>
                  <a:lnTo>
                    <a:pt x="26" y="49"/>
                  </a:lnTo>
                  <a:lnTo>
                    <a:pt x="16" y="47"/>
                  </a:lnTo>
                  <a:lnTo>
                    <a:pt x="0" y="45"/>
                  </a:lnTo>
                  <a:lnTo>
                    <a:pt x="0" y="45"/>
                  </a:lnTo>
                  <a:lnTo>
                    <a:pt x="3" y="42"/>
                  </a:lnTo>
                  <a:lnTo>
                    <a:pt x="5" y="36"/>
                  </a:lnTo>
                  <a:lnTo>
                    <a:pt x="10" y="24"/>
                  </a:lnTo>
                  <a:lnTo>
                    <a:pt x="16" y="12"/>
                  </a:lnTo>
                  <a:lnTo>
                    <a:pt x="17" y="7"/>
                  </a:lnTo>
                  <a:lnTo>
                    <a:pt x="21" y="3"/>
                  </a:lnTo>
                  <a:lnTo>
                    <a:pt x="21" y="3"/>
                  </a:lnTo>
                  <a:lnTo>
                    <a:pt x="24" y="2"/>
                  </a:lnTo>
                  <a:lnTo>
                    <a:pt x="28" y="0"/>
                  </a:lnTo>
                  <a:lnTo>
                    <a:pt x="35" y="0"/>
                  </a:lnTo>
                  <a:lnTo>
                    <a:pt x="47" y="5"/>
                  </a:lnTo>
                  <a:lnTo>
                    <a:pt x="47" y="5"/>
                  </a:lnTo>
                  <a:lnTo>
                    <a:pt x="54" y="21"/>
                  </a:lnTo>
                  <a:lnTo>
                    <a:pt x="54" y="23"/>
                  </a:lnTo>
                  <a:lnTo>
                    <a:pt x="54" y="23"/>
                  </a:lnTo>
                  <a:lnTo>
                    <a:pt x="47" y="23"/>
                  </a:lnTo>
                  <a:lnTo>
                    <a:pt x="43" y="24"/>
                  </a:lnTo>
                  <a:lnTo>
                    <a:pt x="42" y="28"/>
                  </a:lnTo>
                  <a:lnTo>
                    <a:pt x="42" y="28"/>
                  </a:lnTo>
                  <a:lnTo>
                    <a:pt x="40" y="31"/>
                  </a:lnTo>
                  <a:lnTo>
                    <a:pt x="40" y="33"/>
                  </a:lnTo>
                  <a:lnTo>
                    <a:pt x="45" y="33"/>
                  </a:lnTo>
                  <a:lnTo>
                    <a:pt x="50" y="35"/>
                  </a:lnTo>
                  <a:lnTo>
                    <a:pt x="54" y="38"/>
                  </a:lnTo>
                  <a:lnTo>
                    <a:pt x="54" y="42"/>
                  </a:lnTo>
                  <a:lnTo>
                    <a:pt x="54" y="42"/>
                  </a:lnTo>
                  <a:lnTo>
                    <a:pt x="56" y="49"/>
                  </a:lnTo>
                  <a:lnTo>
                    <a:pt x="59" y="54"/>
                  </a:lnTo>
                  <a:lnTo>
                    <a:pt x="63" y="59"/>
                  </a:lnTo>
                  <a:lnTo>
                    <a:pt x="66" y="70"/>
                  </a:lnTo>
                  <a:lnTo>
                    <a:pt x="66" y="7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8" name="Freeform 2214">
              <a:extLst>
                <a:ext uri="{FF2B5EF4-FFF2-40B4-BE49-F238E27FC236}">
                  <a16:creationId xmlns:a16="http://schemas.microsoft.com/office/drawing/2014/main" id="{385A9A1B-035A-47A8-9410-2AC711B2FB5A}"/>
                </a:ext>
              </a:extLst>
            </p:cNvPr>
            <p:cNvSpPr>
              <a:spLocks/>
            </p:cNvSpPr>
            <p:nvPr/>
          </p:nvSpPr>
          <p:spPr bwMode="auto">
            <a:xfrm>
              <a:off x="5532015" y="4550546"/>
              <a:ext cx="58148" cy="63432"/>
            </a:xfrm>
            <a:custGeom>
              <a:avLst/>
              <a:gdLst/>
              <a:ahLst/>
              <a:cxnLst>
                <a:cxn ang="0">
                  <a:pos x="7" y="71"/>
                </a:cxn>
                <a:cxn ang="0">
                  <a:pos x="7" y="71"/>
                </a:cxn>
                <a:cxn ang="0">
                  <a:pos x="11" y="66"/>
                </a:cxn>
                <a:cxn ang="0">
                  <a:pos x="14" y="66"/>
                </a:cxn>
                <a:cxn ang="0">
                  <a:pos x="18" y="67"/>
                </a:cxn>
                <a:cxn ang="0">
                  <a:pos x="19" y="71"/>
                </a:cxn>
                <a:cxn ang="0">
                  <a:pos x="19" y="71"/>
                </a:cxn>
                <a:cxn ang="0">
                  <a:pos x="19" y="73"/>
                </a:cxn>
                <a:cxn ang="0">
                  <a:pos x="21" y="74"/>
                </a:cxn>
                <a:cxn ang="0">
                  <a:pos x="28" y="76"/>
                </a:cxn>
                <a:cxn ang="0">
                  <a:pos x="30" y="74"/>
                </a:cxn>
                <a:cxn ang="0">
                  <a:pos x="33" y="73"/>
                </a:cxn>
                <a:cxn ang="0">
                  <a:pos x="37" y="69"/>
                </a:cxn>
                <a:cxn ang="0">
                  <a:pos x="37" y="66"/>
                </a:cxn>
                <a:cxn ang="0">
                  <a:pos x="37" y="66"/>
                </a:cxn>
                <a:cxn ang="0">
                  <a:pos x="39" y="57"/>
                </a:cxn>
                <a:cxn ang="0">
                  <a:pos x="40" y="53"/>
                </a:cxn>
                <a:cxn ang="0">
                  <a:pos x="42" y="53"/>
                </a:cxn>
                <a:cxn ang="0">
                  <a:pos x="44" y="57"/>
                </a:cxn>
                <a:cxn ang="0">
                  <a:pos x="44" y="57"/>
                </a:cxn>
                <a:cxn ang="0">
                  <a:pos x="47" y="59"/>
                </a:cxn>
                <a:cxn ang="0">
                  <a:pos x="49" y="57"/>
                </a:cxn>
                <a:cxn ang="0">
                  <a:pos x="54" y="55"/>
                </a:cxn>
                <a:cxn ang="0">
                  <a:pos x="63" y="55"/>
                </a:cxn>
                <a:cxn ang="0">
                  <a:pos x="63" y="55"/>
                </a:cxn>
                <a:cxn ang="0">
                  <a:pos x="68" y="57"/>
                </a:cxn>
                <a:cxn ang="0">
                  <a:pos x="70" y="55"/>
                </a:cxn>
                <a:cxn ang="0">
                  <a:pos x="72" y="52"/>
                </a:cxn>
                <a:cxn ang="0">
                  <a:pos x="72" y="43"/>
                </a:cxn>
                <a:cxn ang="0">
                  <a:pos x="70" y="31"/>
                </a:cxn>
                <a:cxn ang="0">
                  <a:pos x="70" y="31"/>
                </a:cxn>
                <a:cxn ang="0">
                  <a:pos x="68" y="19"/>
                </a:cxn>
                <a:cxn ang="0">
                  <a:pos x="65" y="12"/>
                </a:cxn>
                <a:cxn ang="0">
                  <a:pos x="61" y="6"/>
                </a:cxn>
                <a:cxn ang="0">
                  <a:pos x="58" y="0"/>
                </a:cxn>
                <a:cxn ang="0">
                  <a:pos x="58" y="0"/>
                </a:cxn>
                <a:cxn ang="0">
                  <a:pos x="54" y="3"/>
                </a:cxn>
                <a:cxn ang="0">
                  <a:pos x="51" y="8"/>
                </a:cxn>
                <a:cxn ang="0">
                  <a:pos x="45" y="13"/>
                </a:cxn>
                <a:cxn ang="0">
                  <a:pos x="42" y="17"/>
                </a:cxn>
                <a:cxn ang="0">
                  <a:pos x="42" y="17"/>
                </a:cxn>
                <a:cxn ang="0">
                  <a:pos x="40" y="17"/>
                </a:cxn>
                <a:cxn ang="0">
                  <a:pos x="39" y="17"/>
                </a:cxn>
                <a:cxn ang="0">
                  <a:pos x="39" y="13"/>
                </a:cxn>
                <a:cxn ang="0">
                  <a:pos x="37" y="12"/>
                </a:cxn>
                <a:cxn ang="0">
                  <a:pos x="35" y="12"/>
                </a:cxn>
                <a:cxn ang="0">
                  <a:pos x="33" y="12"/>
                </a:cxn>
                <a:cxn ang="0">
                  <a:pos x="28" y="13"/>
                </a:cxn>
                <a:cxn ang="0">
                  <a:pos x="28" y="13"/>
                </a:cxn>
                <a:cxn ang="0">
                  <a:pos x="18" y="22"/>
                </a:cxn>
                <a:cxn ang="0">
                  <a:pos x="12" y="29"/>
                </a:cxn>
                <a:cxn ang="0">
                  <a:pos x="11" y="34"/>
                </a:cxn>
                <a:cxn ang="0">
                  <a:pos x="11" y="40"/>
                </a:cxn>
                <a:cxn ang="0">
                  <a:pos x="12" y="45"/>
                </a:cxn>
                <a:cxn ang="0">
                  <a:pos x="12" y="48"/>
                </a:cxn>
                <a:cxn ang="0">
                  <a:pos x="7" y="52"/>
                </a:cxn>
                <a:cxn ang="0">
                  <a:pos x="7" y="52"/>
                </a:cxn>
                <a:cxn ang="0">
                  <a:pos x="2" y="57"/>
                </a:cxn>
                <a:cxn ang="0">
                  <a:pos x="0" y="60"/>
                </a:cxn>
                <a:cxn ang="0">
                  <a:pos x="0" y="62"/>
                </a:cxn>
                <a:cxn ang="0">
                  <a:pos x="7" y="71"/>
                </a:cxn>
                <a:cxn ang="0">
                  <a:pos x="7" y="71"/>
                </a:cxn>
              </a:cxnLst>
              <a:rect l="0" t="0" r="r" b="b"/>
              <a:pathLst>
                <a:path w="72" h="76">
                  <a:moveTo>
                    <a:pt x="7" y="71"/>
                  </a:moveTo>
                  <a:lnTo>
                    <a:pt x="7" y="71"/>
                  </a:lnTo>
                  <a:lnTo>
                    <a:pt x="11" y="66"/>
                  </a:lnTo>
                  <a:lnTo>
                    <a:pt x="14" y="66"/>
                  </a:lnTo>
                  <a:lnTo>
                    <a:pt x="18" y="67"/>
                  </a:lnTo>
                  <a:lnTo>
                    <a:pt x="19" y="71"/>
                  </a:lnTo>
                  <a:lnTo>
                    <a:pt x="19" y="71"/>
                  </a:lnTo>
                  <a:lnTo>
                    <a:pt x="19" y="73"/>
                  </a:lnTo>
                  <a:lnTo>
                    <a:pt x="21" y="74"/>
                  </a:lnTo>
                  <a:lnTo>
                    <a:pt x="28" y="76"/>
                  </a:lnTo>
                  <a:lnTo>
                    <a:pt x="30" y="74"/>
                  </a:lnTo>
                  <a:lnTo>
                    <a:pt x="33" y="73"/>
                  </a:lnTo>
                  <a:lnTo>
                    <a:pt x="37" y="69"/>
                  </a:lnTo>
                  <a:lnTo>
                    <a:pt x="37" y="66"/>
                  </a:lnTo>
                  <a:lnTo>
                    <a:pt x="37" y="66"/>
                  </a:lnTo>
                  <a:lnTo>
                    <a:pt x="39" y="57"/>
                  </a:lnTo>
                  <a:lnTo>
                    <a:pt x="40" y="53"/>
                  </a:lnTo>
                  <a:lnTo>
                    <a:pt x="42" y="53"/>
                  </a:lnTo>
                  <a:lnTo>
                    <a:pt x="44" y="57"/>
                  </a:lnTo>
                  <a:lnTo>
                    <a:pt x="44" y="57"/>
                  </a:lnTo>
                  <a:lnTo>
                    <a:pt x="47" y="59"/>
                  </a:lnTo>
                  <a:lnTo>
                    <a:pt x="49" y="57"/>
                  </a:lnTo>
                  <a:lnTo>
                    <a:pt x="54" y="55"/>
                  </a:lnTo>
                  <a:lnTo>
                    <a:pt x="63" y="55"/>
                  </a:lnTo>
                  <a:lnTo>
                    <a:pt x="63" y="55"/>
                  </a:lnTo>
                  <a:lnTo>
                    <a:pt x="68" y="57"/>
                  </a:lnTo>
                  <a:lnTo>
                    <a:pt x="70" y="55"/>
                  </a:lnTo>
                  <a:lnTo>
                    <a:pt x="72" y="52"/>
                  </a:lnTo>
                  <a:lnTo>
                    <a:pt x="72" y="43"/>
                  </a:lnTo>
                  <a:lnTo>
                    <a:pt x="70" y="31"/>
                  </a:lnTo>
                  <a:lnTo>
                    <a:pt x="70" y="31"/>
                  </a:lnTo>
                  <a:lnTo>
                    <a:pt x="68" y="19"/>
                  </a:lnTo>
                  <a:lnTo>
                    <a:pt x="65" y="12"/>
                  </a:lnTo>
                  <a:lnTo>
                    <a:pt x="61" y="6"/>
                  </a:lnTo>
                  <a:lnTo>
                    <a:pt x="58" y="0"/>
                  </a:lnTo>
                  <a:lnTo>
                    <a:pt x="58" y="0"/>
                  </a:lnTo>
                  <a:lnTo>
                    <a:pt x="54" y="3"/>
                  </a:lnTo>
                  <a:lnTo>
                    <a:pt x="51" y="8"/>
                  </a:lnTo>
                  <a:lnTo>
                    <a:pt x="45" y="13"/>
                  </a:lnTo>
                  <a:lnTo>
                    <a:pt x="42" y="17"/>
                  </a:lnTo>
                  <a:lnTo>
                    <a:pt x="42" y="17"/>
                  </a:lnTo>
                  <a:lnTo>
                    <a:pt x="40" y="17"/>
                  </a:lnTo>
                  <a:lnTo>
                    <a:pt x="39" y="17"/>
                  </a:lnTo>
                  <a:lnTo>
                    <a:pt x="39" y="13"/>
                  </a:lnTo>
                  <a:lnTo>
                    <a:pt x="37" y="12"/>
                  </a:lnTo>
                  <a:lnTo>
                    <a:pt x="35" y="12"/>
                  </a:lnTo>
                  <a:lnTo>
                    <a:pt x="33" y="12"/>
                  </a:lnTo>
                  <a:lnTo>
                    <a:pt x="28" y="13"/>
                  </a:lnTo>
                  <a:lnTo>
                    <a:pt x="28" y="13"/>
                  </a:lnTo>
                  <a:lnTo>
                    <a:pt x="18" y="22"/>
                  </a:lnTo>
                  <a:lnTo>
                    <a:pt x="12" y="29"/>
                  </a:lnTo>
                  <a:lnTo>
                    <a:pt x="11" y="34"/>
                  </a:lnTo>
                  <a:lnTo>
                    <a:pt x="11" y="40"/>
                  </a:lnTo>
                  <a:lnTo>
                    <a:pt x="12" y="45"/>
                  </a:lnTo>
                  <a:lnTo>
                    <a:pt x="12" y="48"/>
                  </a:lnTo>
                  <a:lnTo>
                    <a:pt x="7" y="52"/>
                  </a:lnTo>
                  <a:lnTo>
                    <a:pt x="7" y="52"/>
                  </a:lnTo>
                  <a:lnTo>
                    <a:pt x="2" y="57"/>
                  </a:lnTo>
                  <a:lnTo>
                    <a:pt x="0" y="60"/>
                  </a:lnTo>
                  <a:lnTo>
                    <a:pt x="0" y="62"/>
                  </a:lnTo>
                  <a:lnTo>
                    <a:pt x="7" y="71"/>
                  </a:lnTo>
                  <a:lnTo>
                    <a:pt x="7" y="7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9" name="Freeform 2215">
              <a:extLst>
                <a:ext uri="{FF2B5EF4-FFF2-40B4-BE49-F238E27FC236}">
                  <a16:creationId xmlns:a16="http://schemas.microsoft.com/office/drawing/2014/main" id="{A8ACBE7F-AB99-403F-A499-11DF5CEB247E}"/>
                </a:ext>
              </a:extLst>
            </p:cNvPr>
            <p:cNvSpPr>
              <a:spLocks/>
            </p:cNvSpPr>
            <p:nvPr/>
          </p:nvSpPr>
          <p:spPr bwMode="auto">
            <a:xfrm>
              <a:off x="5590158" y="5405119"/>
              <a:ext cx="35241" cy="58146"/>
            </a:xfrm>
            <a:custGeom>
              <a:avLst/>
              <a:gdLst/>
              <a:ahLst/>
              <a:cxnLst>
                <a:cxn ang="0">
                  <a:pos x="40" y="11"/>
                </a:cxn>
                <a:cxn ang="0">
                  <a:pos x="47" y="49"/>
                </a:cxn>
                <a:cxn ang="0">
                  <a:pos x="47" y="49"/>
                </a:cxn>
                <a:cxn ang="0">
                  <a:pos x="43" y="49"/>
                </a:cxn>
                <a:cxn ang="0">
                  <a:pos x="42" y="53"/>
                </a:cxn>
                <a:cxn ang="0">
                  <a:pos x="42" y="60"/>
                </a:cxn>
                <a:cxn ang="0">
                  <a:pos x="42" y="65"/>
                </a:cxn>
                <a:cxn ang="0">
                  <a:pos x="40" y="68"/>
                </a:cxn>
                <a:cxn ang="0">
                  <a:pos x="38" y="70"/>
                </a:cxn>
                <a:cxn ang="0">
                  <a:pos x="33" y="72"/>
                </a:cxn>
                <a:cxn ang="0">
                  <a:pos x="33" y="72"/>
                </a:cxn>
                <a:cxn ang="0">
                  <a:pos x="28" y="72"/>
                </a:cxn>
                <a:cxn ang="0">
                  <a:pos x="21" y="70"/>
                </a:cxn>
                <a:cxn ang="0">
                  <a:pos x="16" y="66"/>
                </a:cxn>
                <a:cxn ang="0">
                  <a:pos x="9" y="60"/>
                </a:cxn>
                <a:cxn ang="0">
                  <a:pos x="5" y="54"/>
                </a:cxn>
                <a:cxn ang="0">
                  <a:pos x="2" y="46"/>
                </a:cxn>
                <a:cxn ang="0">
                  <a:pos x="0" y="37"/>
                </a:cxn>
                <a:cxn ang="0">
                  <a:pos x="2" y="28"/>
                </a:cxn>
                <a:cxn ang="0">
                  <a:pos x="2" y="28"/>
                </a:cxn>
                <a:cxn ang="0">
                  <a:pos x="9" y="12"/>
                </a:cxn>
                <a:cxn ang="0">
                  <a:pos x="10" y="7"/>
                </a:cxn>
                <a:cxn ang="0">
                  <a:pos x="14" y="2"/>
                </a:cxn>
                <a:cxn ang="0">
                  <a:pos x="19" y="0"/>
                </a:cxn>
                <a:cxn ang="0">
                  <a:pos x="24" y="2"/>
                </a:cxn>
                <a:cxn ang="0">
                  <a:pos x="31" y="4"/>
                </a:cxn>
                <a:cxn ang="0">
                  <a:pos x="40" y="11"/>
                </a:cxn>
                <a:cxn ang="0">
                  <a:pos x="40" y="11"/>
                </a:cxn>
              </a:cxnLst>
              <a:rect l="0" t="0" r="r" b="b"/>
              <a:pathLst>
                <a:path w="47" h="72">
                  <a:moveTo>
                    <a:pt x="40" y="11"/>
                  </a:moveTo>
                  <a:lnTo>
                    <a:pt x="47" y="49"/>
                  </a:lnTo>
                  <a:lnTo>
                    <a:pt x="47" y="49"/>
                  </a:lnTo>
                  <a:lnTo>
                    <a:pt x="43" y="49"/>
                  </a:lnTo>
                  <a:lnTo>
                    <a:pt x="42" y="53"/>
                  </a:lnTo>
                  <a:lnTo>
                    <a:pt x="42" y="60"/>
                  </a:lnTo>
                  <a:lnTo>
                    <a:pt x="42" y="65"/>
                  </a:lnTo>
                  <a:lnTo>
                    <a:pt x="40" y="68"/>
                  </a:lnTo>
                  <a:lnTo>
                    <a:pt x="38" y="70"/>
                  </a:lnTo>
                  <a:lnTo>
                    <a:pt x="33" y="72"/>
                  </a:lnTo>
                  <a:lnTo>
                    <a:pt x="33" y="72"/>
                  </a:lnTo>
                  <a:lnTo>
                    <a:pt x="28" y="72"/>
                  </a:lnTo>
                  <a:lnTo>
                    <a:pt x="21" y="70"/>
                  </a:lnTo>
                  <a:lnTo>
                    <a:pt x="16" y="66"/>
                  </a:lnTo>
                  <a:lnTo>
                    <a:pt x="9" y="60"/>
                  </a:lnTo>
                  <a:lnTo>
                    <a:pt x="5" y="54"/>
                  </a:lnTo>
                  <a:lnTo>
                    <a:pt x="2" y="46"/>
                  </a:lnTo>
                  <a:lnTo>
                    <a:pt x="0" y="37"/>
                  </a:lnTo>
                  <a:lnTo>
                    <a:pt x="2" y="28"/>
                  </a:lnTo>
                  <a:lnTo>
                    <a:pt x="2" y="28"/>
                  </a:lnTo>
                  <a:lnTo>
                    <a:pt x="9" y="12"/>
                  </a:lnTo>
                  <a:lnTo>
                    <a:pt x="10" y="7"/>
                  </a:lnTo>
                  <a:lnTo>
                    <a:pt x="14" y="2"/>
                  </a:lnTo>
                  <a:lnTo>
                    <a:pt x="19" y="0"/>
                  </a:lnTo>
                  <a:lnTo>
                    <a:pt x="24" y="2"/>
                  </a:lnTo>
                  <a:lnTo>
                    <a:pt x="31" y="4"/>
                  </a:lnTo>
                  <a:lnTo>
                    <a:pt x="40" y="11"/>
                  </a:lnTo>
                  <a:lnTo>
                    <a:pt x="40"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0" name="Freeform 2216">
              <a:extLst>
                <a:ext uri="{FF2B5EF4-FFF2-40B4-BE49-F238E27FC236}">
                  <a16:creationId xmlns:a16="http://schemas.microsoft.com/office/drawing/2014/main" id="{9A60324E-6EE1-4778-90CD-FB8B08E018D0}"/>
                </a:ext>
              </a:extLst>
            </p:cNvPr>
            <p:cNvSpPr>
              <a:spLocks/>
            </p:cNvSpPr>
            <p:nvPr/>
          </p:nvSpPr>
          <p:spPr bwMode="auto">
            <a:xfrm>
              <a:off x="5484439" y="5507315"/>
              <a:ext cx="65195" cy="77529"/>
            </a:xfrm>
            <a:custGeom>
              <a:avLst/>
              <a:gdLst/>
              <a:ahLst/>
              <a:cxnLst>
                <a:cxn ang="0">
                  <a:pos x="25" y="93"/>
                </a:cxn>
                <a:cxn ang="0">
                  <a:pos x="25" y="93"/>
                </a:cxn>
                <a:cxn ang="0">
                  <a:pos x="12" y="79"/>
                </a:cxn>
                <a:cxn ang="0">
                  <a:pos x="4" y="65"/>
                </a:cxn>
                <a:cxn ang="0">
                  <a:pos x="2" y="58"/>
                </a:cxn>
                <a:cxn ang="0">
                  <a:pos x="0" y="53"/>
                </a:cxn>
                <a:cxn ang="0">
                  <a:pos x="2" y="46"/>
                </a:cxn>
                <a:cxn ang="0">
                  <a:pos x="6" y="39"/>
                </a:cxn>
                <a:cxn ang="0">
                  <a:pos x="6" y="39"/>
                </a:cxn>
                <a:cxn ang="0">
                  <a:pos x="19" y="23"/>
                </a:cxn>
                <a:cxn ang="0">
                  <a:pos x="35" y="9"/>
                </a:cxn>
                <a:cxn ang="0">
                  <a:pos x="42" y="4"/>
                </a:cxn>
                <a:cxn ang="0">
                  <a:pos x="49" y="0"/>
                </a:cxn>
                <a:cxn ang="0">
                  <a:pos x="56" y="0"/>
                </a:cxn>
                <a:cxn ang="0">
                  <a:pos x="59" y="4"/>
                </a:cxn>
                <a:cxn ang="0">
                  <a:pos x="59" y="4"/>
                </a:cxn>
                <a:cxn ang="0">
                  <a:pos x="68" y="13"/>
                </a:cxn>
                <a:cxn ang="0">
                  <a:pos x="77" y="20"/>
                </a:cxn>
                <a:cxn ang="0">
                  <a:pos x="80" y="23"/>
                </a:cxn>
                <a:cxn ang="0">
                  <a:pos x="82" y="30"/>
                </a:cxn>
                <a:cxn ang="0">
                  <a:pos x="82" y="35"/>
                </a:cxn>
                <a:cxn ang="0">
                  <a:pos x="79" y="44"/>
                </a:cxn>
                <a:cxn ang="0">
                  <a:pos x="79" y="44"/>
                </a:cxn>
                <a:cxn ang="0">
                  <a:pos x="75" y="53"/>
                </a:cxn>
                <a:cxn ang="0">
                  <a:pos x="70" y="60"/>
                </a:cxn>
                <a:cxn ang="0">
                  <a:pos x="65" y="65"/>
                </a:cxn>
                <a:cxn ang="0">
                  <a:pos x="58" y="68"/>
                </a:cxn>
                <a:cxn ang="0">
                  <a:pos x="47" y="75"/>
                </a:cxn>
                <a:cxn ang="0">
                  <a:pos x="44" y="79"/>
                </a:cxn>
                <a:cxn ang="0">
                  <a:pos x="39" y="84"/>
                </a:cxn>
                <a:cxn ang="0">
                  <a:pos x="39" y="84"/>
                </a:cxn>
                <a:cxn ang="0">
                  <a:pos x="35" y="91"/>
                </a:cxn>
                <a:cxn ang="0">
                  <a:pos x="32" y="96"/>
                </a:cxn>
                <a:cxn ang="0">
                  <a:pos x="28" y="96"/>
                </a:cxn>
                <a:cxn ang="0">
                  <a:pos x="25" y="93"/>
                </a:cxn>
                <a:cxn ang="0">
                  <a:pos x="25" y="93"/>
                </a:cxn>
              </a:cxnLst>
              <a:rect l="0" t="0" r="r" b="b"/>
              <a:pathLst>
                <a:path w="82" h="96">
                  <a:moveTo>
                    <a:pt x="25" y="93"/>
                  </a:moveTo>
                  <a:lnTo>
                    <a:pt x="25" y="93"/>
                  </a:lnTo>
                  <a:lnTo>
                    <a:pt x="12" y="79"/>
                  </a:lnTo>
                  <a:lnTo>
                    <a:pt x="4" y="65"/>
                  </a:lnTo>
                  <a:lnTo>
                    <a:pt x="2" y="58"/>
                  </a:lnTo>
                  <a:lnTo>
                    <a:pt x="0" y="53"/>
                  </a:lnTo>
                  <a:lnTo>
                    <a:pt x="2" y="46"/>
                  </a:lnTo>
                  <a:lnTo>
                    <a:pt x="6" y="39"/>
                  </a:lnTo>
                  <a:lnTo>
                    <a:pt x="6" y="39"/>
                  </a:lnTo>
                  <a:lnTo>
                    <a:pt x="19" y="23"/>
                  </a:lnTo>
                  <a:lnTo>
                    <a:pt x="35" y="9"/>
                  </a:lnTo>
                  <a:lnTo>
                    <a:pt x="42" y="4"/>
                  </a:lnTo>
                  <a:lnTo>
                    <a:pt x="49" y="0"/>
                  </a:lnTo>
                  <a:lnTo>
                    <a:pt x="56" y="0"/>
                  </a:lnTo>
                  <a:lnTo>
                    <a:pt x="59" y="4"/>
                  </a:lnTo>
                  <a:lnTo>
                    <a:pt x="59" y="4"/>
                  </a:lnTo>
                  <a:lnTo>
                    <a:pt x="68" y="13"/>
                  </a:lnTo>
                  <a:lnTo>
                    <a:pt x="77" y="20"/>
                  </a:lnTo>
                  <a:lnTo>
                    <a:pt x="80" y="23"/>
                  </a:lnTo>
                  <a:lnTo>
                    <a:pt x="82" y="30"/>
                  </a:lnTo>
                  <a:lnTo>
                    <a:pt x="82" y="35"/>
                  </a:lnTo>
                  <a:lnTo>
                    <a:pt x="79" y="44"/>
                  </a:lnTo>
                  <a:lnTo>
                    <a:pt x="79" y="44"/>
                  </a:lnTo>
                  <a:lnTo>
                    <a:pt x="75" y="53"/>
                  </a:lnTo>
                  <a:lnTo>
                    <a:pt x="70" y="60"/>
                  </a:lnTo>
                  <a:lnTo>
                    <a:pt x="65" y="65"/>
                  </a:lnTo>
                  <a:lnTo>
                    <a:pt x="58" y="68"/>
                  </a:lnTo>
                  <a:lnTo>
                    <a:pt x="47" y="75"/>
                  </a:lnTo>
                  <a:lnTo>
                    <a:pt x="44" y="79"/>
                  </a:lnTo>
                  <a:lnTo>
                    <a:pt x="39" y="84"/>
                  </a:lnTo>
                  <a:lnTo>
                    <a:pt x="39" y="84"/>
                  </a:lnTo>
                  <a:lnTo>
                    <a:pt x="35" y="91"/>
                  </a:lnTo>
                  <a:lnTo>
                    <a:pt x="32" y="96"/>
                  </a:lnTo>
                  <a:lnTo>
                    <a:pt x="28" y="96"/>
                  </a:lnTo>
                  <a:lnTo>
                    <a:pt x="25" y="93"/>
                  </a:lnTo>
                  <a:lnTo>
                    <a:pt x="25" y="9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1" name="Freeform 2217">
              <a:extLst>
                <a:ext uri="{FF2B5EF4-FFF2-40B4-BE49-F238E27FC236}">
                  <a16:creationId xmlns:a16="http://schemas.microsoft.com/office/drawing/2014/main" id="{3B2E79C5-6AE3-4C8A-92F7-B3915BA2F15D}"/>
                </a:ext>
              </a:extLst>
            </p:cNvPr>
            <p:cNvSpPr>
              <a:spLocks/>
            </p:cNvSpPr>
            <p:nvPr/>
          </p:nvSpPr>
          <p:spPr bwMode="auto">
            <a:xfrm>
              <a:off x="5454485" y="3019362"/>
              <a:ext cx="526838" cy="241394"/>
            </a:xfrm>
            <a:custGeom>
              <a:avLst/>
              <a:gdLst/>
              <a:ahLst/>
              <a:cxnLst>
                <a:cxn ang="0">
                  <a:pos x="620" y="62"/>
                </a:cxn>
                <a:cxn ang="0">
                  <a:pos x="618" y="92"/>
                </a:cxn>
                <a:cxn ang="0">
                  <a:pos x="644" y="101"/>
                </a:cxn>
                <a:cxn ang="0">
                  <a:pos x="649" y="111"/>
                </a:cxn>
                <a:cxn ang="0">
                  <a:pos x="635" y="128"/>
                </a:cxn>
                <a:cxn ang="0">
                  <a:pos x="635" y="142"/>
                </a:cxn>
                <a:cxn ang="0">
                  <a:pos x="639" y="156"/>
                </a:cxn>
                <a:cxn ang="0">
                  <a:pos x="646" y="181"/>
                </a:cxn>
                <a:cxn ang="0">
                  <a:pos x="651" y="208"/>
                </a:cxn>
                <a:cxn ang="0">
                  <a:pos x="649" y="236"/>
                </a:cxn>
                <a:cxn ang="0">
                  <a:pos x="635" y="229"/>
                </a:cxn>
                <a:cxn ang="0">
                  <a:pos x="607" y="228"/>
                </a:cxn>
                <a:cxn ang="0">
                  <a:pos x="588" y="226"/>
                </a:cxn>
                <a:cxn ang="0">
                  <a:pos x="571" y="238"/>
                </a:cxn>
                <a:cxn ang="0">
                  <a:pos x="557" y="235"/>
                </a:cxn>
                <a:cxn ang="0">
                  <a:pos x="501" y="242"/>
                </a:cxn>
                <a:cxn ang="0">
                  <a:pos x="438" y="250"/>
                </a:cxn>
                <a:cxn ang="0">
                  <a:pos x="398" y="261"/>
                </a:cxn>
                <a:cxn ang="0">
                  <a:pos x="369" y="254"/>
                </a:cxn>
                <a:cxn ang="0">
                  <a:pos x="371" y="280"/>
                </a:cxn>
                <a:cxn ang="0">
                  <a:pos x="351" y="297"/>
                </a:cxn>
                <a:cxn ang="0">
                  <a:pos x="341" y="276"/>
                </a:cxn>
                <a:cxn ang="0">
                  <a:pos x="351" y="247"/>
                </a:cxn>
                <a:cxn ang="0">
                  <a:pos x="313" y="257"/>
                </a:cxn>
                <a:cxn ang="0">
                  <a:pos x="268" y="282"/>
                </a:cxn>
                <a:cxn ang="0">
                  <a:pos x="221" y="280"/>
                </a:cxn>
                <a:cxn ang="0">
                  <a:pos x="158" y="252"/>
                </a:cxn>
                <a:cxn ang="0">
                  <a:pos x="148" y="276"/>
                </a:cxn>
                <a:cxn ang="0">
                  <a:pos x="123" y="283"/>
                </a:cxn>
                <a:cxn ang="0">
                  <a:pos x="101" y="257"/>
                </a:cxn>
                <a:cxn ang="0">
                  <a:pos x="78" y="255"/>
                </a:cxn>
                <a:cxn ang="0">
                  <a:pos x="57" y="257"/>
                </a:cxn>
                <a:cxn ang="0">
                  <a:pos x="62" y="252"/>
                </a:cxn>
                <a:cxn ang="0">
                  <a:pos x="43" y="243"/>
                </a:cxn>
                <a:cxn ang="0">
                  <a:pos x="48" y="233"/>
                </a:cxn>
                <a:cxn ang="0">
                  <a:pos x="40" y="217"/>
                </a:cxn>
                <a:cxn ang="0">
                  <a:pos x="38" y="196"/>
                </a:cxn>
                <a:cxn ang="0">
                  <a:pos x="14" y="188"/>
                </a:cxn>
                <a:cxn ang="0">
                  <a:pos x="17" y="170"/>
                </a:cxn>
                <a:cxn ang="0">
                  <a:pos x="29" y="172"/>
                </a:cxn>
                <a:cxn ang="0">
                  <a:pos x="29" y="153"/>
                </a:cxn>
                <a:cxn ang="0">
                  <a:pos x="24" y="137"/>
                </a:cxn>
                <a:cxn ang="0">
                  <a:pos x="19" y="121"/>
                </a:cxn>
                <a:cxn ang="0">
                  <a:pos x="5" y="101"/>
                </a:cxn>
                <a:cxn ang="0">
                  <a:pos x="36" y="78"/>
                </a:cxn>
                <a:cxn ang="0">
                  <a:pos x="57" y="85"/>
                </a:cxn>
                <a:cxn ang="0">
                  <a:pos x="68" y="76"/>
                </a:cxn>
                <a:cxn ang="0">
                  <a:pos x="104" y="83"/>
                </a:cxn>
                <a:cxn ang="0">
                  <a:pos x="129" y="66"/>
                </a:cxn>
                <a:cxn ang="0">
                  <a:pos x="106" y="55"/>
                </a:cxn>
                <a:cxn ang="0">
                  <a:pos x="125" y="43"/>
                </a:cxn>
                <a:cxn ang="0">
                  <a:pos x="183" y="47"/>
                </a:cxn>
                <a:cxn ang="0">
                  <a:pos x="254" y="5"/>
                </a:cxn>
                <a:cxn ang="0">
                  <a:pos x="315" y="0"/>
                </a:cxn>
                <a:cxn ang="0">
                  <a:pos x="336" y="19"/>
                </a:cxn>
                <a:cxn ang="0">
                  <a:pos x="367" y="38"/>
                </a:cxn>
                <a:cxn ang="0">
                  <a:pos x="393" y="47"/>
                </a:cxn>
                <a:cxn ang="0">
                  <a:pos x="416" y="52"/>
                </a:cxn>
                <a:cxn ang="0">
                  <a:pos x="470" y="47"/>
                </a:cxn>
                <a:cxn ang="0">
                  <a:pos x="533" y="36"/>
                </a:cxn>
                <a:cxn ang="0">
                  <a:pos x="560" y="27"/>
                </a:cxn>
                <a:cxn ang="0">
                  <a:pos x="585" y="24"/>
                </a:cxn>
                <a:cxn ang="0">
                  <a:pos x="602" y="43"/>
                </a:cxn>
              </a:cxnLst>
              <a:rect l="0" t="0" r="r" b="b"/>
              <a:pathLst>
                <a:path w="656" h="299">
                  <a:moveTo>
                    <a:pt x="611" y="47"/>
                  </a:moveTo>
                  <a:lnTo>
                    <a:pt x="611" y="47"/>
                  </a:lnTo>
                  <a:lnTo>
                    <a:pt x="609" y="47"/>
                  </a:lnTo>
                  <a:lnTo>
                    <a:pt x="609" y="47"/>
                  </a:lnTo>
                  <a:lnTo>
                    <a:pt x="609" y="50"/>
                  </a:lnTo>
                  <a:lnTo>
                    <a:pt x="609" y="50"/>
                  </a:lnTo>
                  <a:lnTo>
                    <a:pt x="616" y="57"/>
                  </a:lnTo>
                  <a:lnTo>
                    <a:pt x="620" y="62"/>
                  </a:lnTo>
                  <a:lnTo>
                    <a:pt x="620" y="67"/>
                  </a:lnTo>
                  <a:lnTo>
                    <a:pt x="620" y="67"/>
                  </a:lnTo>
                  <a:lnTo>
                    <a:pt x="616" y="76"/>
                  </a:lnTo>
                  <a:lnTo>
                    <a:pt x="614" y="80"/>
                  </a:lnTo>
                  <a:lnTo>
                    <a:pt x="614" y="85"/>
                  </a:lnTo>
                  <a:lnTo>
                    <a:pt x="614" y="85"/>
                  </a:lnTo>
                  <a:lnTo>
                    <a:pt x="616" y="88"/>
                  </a:lnTo>
                  <a:lnTo>
                    <a:pt x="618" y="92"/>
                  </a:lnTo>
                  <a:lnTo>
                    <a:pt x="618" y="92"/>
                  </a:lnTo>
                  <a:lnTo>
                    <a:pt x="616" y="94"/>
                  </a:lnTo>
                  <a:lnTo>
                    <a:pt x="616" y="95"/>
                  </a:lnTo>
                  <a:lnTo>
                    <a:pt x="616" y="95"/>
                  </a:lnTo>
                  <a:lnTo>
                    <a:pt x="625" y="97"/>
                  </a:lnTo>
                  <a:lnTo>
                    <a:pt x="632" y="99"/>
                  </a:lnTo>
                  <a:lnTo>
                    <a:pt x="640" y="101"/>
                  </a:lnTo>
                  <a:lnTo>
                    <a:pt x="644" y="101"/>
                  </a:lnTo>
                  <a:lnTo>
                    <a:pt x="647" y="104"/>
                  </a:lnTo>
                  <a:lnTo>
                    <a:pt x="647" y="104"/>
                  </a:lnTo>
                  <a:lnTo>
                    <a:pt x="656" y="114"/>
                  </a:lnTo>
                  <a:lnTo>
                    <a:pt x="656" y="114"/>
                  </a:lnTo>
                  <a:lnTo>
                    <a:pt x="654" y="114"/>
                  </a:lnTo>
                  <a:lnTo>
                    <a:pt x="653" y="114"/>
                  </a:lnTo>
                  <a:lnTo>
                    <a:pt x="653" y="114"/>
                  </a:lnTo>
                  <a:lnTo>
                    <a:pt x="649" y="111"/>
                  </a:lnTo>
                  <a:lnTo>
                    <a:pt x="647" y="111"/>
                  </a:lnTo>
                  <a:lnTo>
                    <a:pt x="646" y="113"/>
                  </a:lnTo>
                  <a:lnTo>
                    <a:pt x="646" y="114"/>
                  </a:lnTo>
                  <a:lnTo>
                    <a:pt x="644" y="121"/>
                  </a:lnTo>
                  <a:lnTo>
                    <a:pt x="644" y="127"/>
                  </a:lnTo>
                  <a:lnTo>
                    <a:pt x="644" y="127"/>
                  </a:lnTo>
                  <a:lnTo>
                    <a:pt x="640" y="128"/>
                  </a:lnTo>
                  <a:lnTo>
                    <a:pt x="635" y="128"/>
                  </a:lnTo>
                  <a:lnTo>
                    <a:pt x="632" y="128"/>
                  </a:lnTo>
                  <a:lnTo>
                    <a:pt x="630" y="128"/>
                  </a:lnTo>
                  <a:lnTo>
                    <a:pt x="630" y="130"/>
                  </a:lnTo>
                  <a:lnTo>
                    <a:pt x="630" y="130"/>
                  </a:lnTo>
                  <a:lnTo>
                    <a:pt x="630" y="134"/>
                  </a:lnTo>
                  <a:lnTo>
                    <a:pt x="634" y="135"/>
                  </a:lnTo>
                  <a:lnTo>
                    <a:pt x="635" y="139"/>
                  </a:lnTo>
                  <a:lnTo>
                    <a:pt x="635" y="142"/>
                  </a:lnTo>
                  <a:lnTo>
                    <a:pt x="635" y="142"/>
                  </a:lnTo>
                  <a:lnTo>
                    <a:pt x="634" y="148"/>
                  </a:lnTo>
                  <a:lnTo>
                    <a:pt x="634" y="148"/>
                  </a:lnTo>
                  <a:lnTo>
                    <a:pt x="635" y="151"/>
                  </a:lnTo>
                  <a:lnTo>
                    <a:pt x="637" y="153"/>
                  </a:lnTo>
                  <a:lnTo>
                    <a:pt x="639" y="154"/>
                  </a:lnTo>
                  <a:lnTo>
                    <a:pt x="639" y="156"/>
                  </a:lnTo>
                  <a:lnTo>
                    <a:pt x="639" y="156"/>
                  </a:lnTo>
                  <a:lnTo>
                    <a:pt x="639" y="165"/>
                  </a:lnTo>
                  <a:lnTo>
                    <a:pt x="639" y="175"/>
                  </a:lnTo>
                  <a:lnTo>
                    <a:pt x="639" y="175"/>
                  </a:lnTo>
                  <a:lnTo>
                    <a:pt x="640" y="177"/>
                  </a:lnTo>
                  <a:lnTo>
                    <a:pt x="642" y="177"/>
                  </a:lnTo>
                  <a:lnTo>
                    <a:pt x="644" y="177"/>
                  </a:lnTo>
                  <a:lnTo>
                    <a:pt x="646" y="181"/>
                  </a:lnTo>
                  <a:lnTo>
                    <a:pt x="646" y="181"/>
                  </a:lnTo>
                  <a:lnTo>
                    <a:pt x="644" y="186"/>
                  </a:lnTo>
                  <a:lnTo>
                    <a:pt x="640" y="191"/>
                  </a:lnTo>
                  <a:lnTo>
                    <a:pt x="637" y="195"/>
                  </a:lnTo>
                  <a:lnTo>
                    <a:pt x="635" y="200"/>
                  </a:lnTo>
                  <a:lnTo>
                    <a:pt x="635" y="200"/>
                  </a:lnTo>
                  <a:lnTo>
                    <a:pt x="644" y="203"/>
                  </a:lnTo>
                  <a:lnTo>
                    <a:pt x="647" y="207"/>
                  </a:lnTo>
                  <a:lnTo>
                    <a:pt x="651" y="208"/>
                  </a:lnTo>
                  <a:lnTo>
                    <a:pt x="651" y="208"/>
                  </a:lnTo>
                  <a:lnTo>
                    <a:pt x="649" y="219"/>
                  </a:lnTo>
                  <a:lnTo>
                    <a:pt x="651" y="222"/>
                  </a:lnTo>
                  <a:lnTo>
                    <a:pt x="654" y="228"/>
                  </a:lnTo>
                  <a:lnTo>
                    <a:pt x="656" y="235"/>
                  </a:lnTo>
                  <a:lnTo>
                    <a:pt x="656" y="235"/>
                  </a:lnTo>
                  <a:lnTo>
                    <a:pt x="653" y="235"/>
                  </a:lnTo>
                  <a:lnTo>
                    <a:pt x="649" y="236"/>
                  </a:lnTo>
                  <a:lnTo>
                    <a:pt x="649" y="236"/>
                  </a:lnTo>
                  <a:lnTo>
                    <a:pt x="637" y="243"/>
                  </a:lnTo>
                  <a:lnTo>
                    <a:pt x="637" y="243"/>
                  </a:lnTo>
                  <a:lnTo>
                    <a:pt x="637" y="242"/>
                  </a:lnTo>
                  <a:lnTo>
                    <a:pt x="635" y="240"/>
                  </a:lnTo>
                  <a:lnTo>
                    <a:pt x="637" y="235"/>
                  </a:lnTo>
                  <a:lnTo>
                    <a:pt x="637" y="229"/>
                  </a:lnTo>
                  <a:lnTo>
                    <a:pt x="635" y="229"/>
                  </a:lnTo>
                  <a:lnTo>
                    <a:pt x="632" y="228"/>
                  </a:lnTo>
                  <a:lnTo>
                    <a:pt x="632" y="228"/>
                  </a:lnTo>
                  <a:lnTo>
                    <a:pt x="628" y="228"/>
                  </a:lnTo>
                  <a:lnTo>
                    <a:pt x="625" y="231"/>
                  </a:lnTo>
                  <a:lnTo>
                    <a:pt x="621" y="233"/>
                  </a:lnTo>
                  <a:lnTo>
                    <a:pt x="614" y="231"/>
                  </a:lnTo>
                  <a:lnTo>
                    <a:pt x="614" y="231"/>
                  </a:lnTo>
                  <a:lnTo>
                    <a:pt x="607" y="228"/>
                  </a:lnTo>
                  <a:lnTo>
                    <a:pt x="602" y="226"/>
                  </a:lnTo>
                  <a:lnTo>
                    <a:pt x="599" y="224"/>
                  </a:lnTo>
                  <a:lnTo>
                    <a:pt x="599" y="224"/>
                  </a:lnTo>
                  <a:lnTo>
                    <a:pt x="595" y="226"/>
                  </a:lnTo>
                  <a:lnTo>
                    <a:pt x="595" y="226"/>
                  </a:lnTo>
                  <a:lnTo>
                    <a:pt x="592" y="228"/>
                  </a:lnTo>
                  <a:lnTo>
                    <a:pt x="592" y="228"/>
                  </a:lnTo>
                  <a:lnTo>
                    <a:pt x="588" y="226"/>
                  </a:lnTo>
                  <a:lnTo>
                    <a:pt x="588" y="226"/>
                  </a:lnTo>
                  <a:lnTo>
                    <a:pt x="587" y="224"/>
                  </a:lnTo>
                  <a:lnTo>
                    <a:pt x="587" y="224"/>
                  </a:lnTo>
                  <a:lnTo>
                    <a:pt x="585" y="226"/>
                  </a:lnTo>
                  <a:lnTo>
                    <a:pt x="585" y="226"/>
                  </a:lnTo>
                  <a:lnTo>
                    <a:pt x="578" y="233"/>
                  </a:lnTo>
                  <a:lnTo>
                    <a:pt x="571" y="238"/>
                  </a:lnTo>
                  <a:lnTo>
                    <a:pt x="571" y="238"/>
                  </a:lnTo>
                  <a:lnTo>
                    <a:pt x="571" y="235"/>
                  </a:lnTo>
                  <a:lnTo>
                    <a:pt x="571" y="231"/>
                  </a:lnTo>
                  <a:lnTo>
                    <a:pt x="571" y="231"/>
                  </a:lnTo>
                  <a:lnTo>
                    <a:pt x="567" y="229"/>
                  </a:lnTo>
                  <a:lnTo>
                    <a:pt x="567" y="228"/>
                  </a:lnTo>
                  <a:lnTo>
                    <a:pt x="566" y="228"/>
                  </a:lnTo>
                  <a:lnTo>
                    <a:pt x="566" y="228"/>
                  </a:lnTo>
                  <a:lnTo>
                    <a:pt x="557" y="235"/>
                  </a:lnTo>
                  <a:lnTo>
                    <a:pt x="545" y="238"/>
                  </a:lnTo>
                  <a:lnTo>
                    <a:pt x="545" y="238"/>
                  </a:lnTo>
                  <a:lnTo>
                    <a:pt x="538" y="238"/>
                  </a:lnTo>
                  <a:lnTo>
                    <a:pt x="531" y="238"/>
                  </a:lnTo>
                  <a:lnTo>
                    <a:pt x="522" y="236"/>
                  </a:lnTo>
                  <a:lnTo>
                    <a:pt x="515" y="238"/>
                  </a:lnTo>
                  <a:lnTo>
                    <a:pt x="515" y="238"/>
                  </a:lnTo>
                  <a:lnTo>
                    <a:pt x="501" y="242"/>
                  </a:lnTo>
                  <a:lnTo>
                    <a:pt x="489" y="249"/>
                  </a:lnTo>
                  <a:lnTo>
                    <a:pt x="475" y="255"/>
                  </a:lnTo>
                  <a:lnTo>
                    <a:pt x="468" y="257"/>
                  </a:lnTo>
                  <a:lnTo>
                    <a:pt x="459" y="259"/>
                  </a:lnTo>
                  <a:lnTo>
                    <a:pt x="459" y="259"/>
                  </a:lnTo>
                  <a:lnTo>
                    <a:pt x="451" y="257"/>
                  </a:lnTo>
                  <a:lnTo>
                    <a:pt x="444" y="255"/>
                  </a:lnTo>
                  <a:lnTo>
                    <a:pt x="438" y="250"/>
                  </a:lnTo>
                  <a:lnTo>
                    <a:pt x="432" y="247"/>
                  </a:lnTo>
                  <a:lnTo>
                    <a:pt x="432" y="247"/>
                  </a:lnTo>
                  <a:lnTo>
                    <a:pt x="428" y="247"/>
                  </a:lnTo>
                  <a:lnTo>
                    <a:pt x="423" y="247"/>
                  </a:lnTo>
                  <a:lnTo>
                    <a:pt x="414" y="252"/>
                  </a:lnTo>
                  <a:lnTo>
                    <a:pt x="405" y="257"/>
                  </a:lnTo>
                  <a:lnTo>
                    <a:pt x="398" y="261"/>
                  </a:lnTo>
                  <a:lnTo>
                    <a:pt x="398" y="261"/>
                  </a:lnTo>
                  <a:lnTo>
                    <a:pt x="393" y="259"/>
                  </a:lnTo>
                  <a:lnTo>
                    <a:pt x="390" y="259"/>
                  </a:lnTo>
                  <a:lnTo>
                    <a:pt x="388" y="259"/>
                  </a:lnTo>
                  <a:lnTo>
                    <a:pt x="388" y="259"/>
                  </a:lnTo>
                  <a:lnTo>
                    <a:pt x="379" y="254"/>
                  </a:lnTo>
                  <a:lnTo>
                    <a:pt x="371" y="250"/>
                  </a:lnTo>
                  <a:lnTo>
                    <a:pt x="371" y="250"/>
                  </a:lnTo>
                  <a:lnTo>
                    <a:pt x="369" y="254"/>
                  </a:lnTo>
                  <a:lnTo>
                    <a:pt x="367" y="261"/>
                  </a:lnTo>
                  <a:lnTo>
                    <a:pt x="369" y="271"/>
                  </a:lnTo>
                  <a:lnTo>
                    <a:pt x="369" y="271"/>
                  </a:lnTo>
                  <a:lnTo>
                    <a:pt x="371" y="275"/>
                  </a:lnTo>
                  <a:lnTo>
                    <a:pt x="372" y="276"/>
                  </a:lnTo>
                  <a:lnTo>
                    <a:pt x="372" y="278"/>
                  </a:lnTo>
                  <a:lnTo>
                    <a:pt x="372" y="278"/>
                  </a:lnTo>
                  <a:lnTo>
                    <a:pt x="371" y="280"/>
                  </a:lnTo>
                  <a:lnTo>
                    <a:pt x="367" y="280"/>
                  </a:lnTo>
                  <a:lnTo>
                    <a:pt x="362" y="280"/>
                  </a:lnTo>
                  <a:lnTo>
                    <a:pt x="362" y="280"/>
                  </a:lnTo>
                  <a:lnTo>
                    <a:pt x="357" y="289"/>
                  </a:lnTo>
                  <a:lnTo>
                    <a:pt x="355" y="296"/>
                  </a:lnTo>
                  <a:lnTo>
                    <a:pt x="353" y="299"/>
                  </a:lnTo>
                  <a:lnTo>
                    <a:pt x="353" y="299"/>
                  </a:lnTo>
                  <a:lnTo>
                    <a:pt x="351" y="297"/>
                  </a:lnTo>
                  <a:lnTo>
                    <a:pt x="350" y="296"/>
                  </a:lnTo>
                  <a:lnTo>
                    <a:pt x="346" y="294"/>
                  </a:lnTo>
                  <a:lnTo>
                    <a:pt x="346" y="294"/>
                  </a:lnTo>
                  <a:lnTo>
                    <a:pt x="348" y="289"/>
                  </a:lnTo>
                  <a:lnTo>
                    <a:pt x="346" y="285"/>
                  </a:lnTo>
                  <a:lnTo>
                    <a:pt x="341" y="278"/>
                  </a:lnTo>
                  <a:lnTo>
                    <a:pt x="341" y="278"/>
                  </a:lnTo>
                  <a:lnTo>
                    <a:pt x="341" y="276"/>
                  </a:lnTo>
                  <a:lnTo>
                    <a:pt x="341" y="273"/>
                  </a:lnTo>
                  <a:lnTo>
                    <a:pt x="346" y="269"/>
                  </a:lnTo>
                  <a:lnTo>
                    <a:pt x="353" y="262"/>
                  </a:lnTo>
                  <a:lnTo>
                    <a:pt x="355" y="259"/>
                  </a:lnTo>
                  <a:lnTo>
                    <a:pt x="355" y="254"/>
                  </a:lnTo>
                  <a:lnTo>
                    <a:pt x="355" y="254"/>
                  </a:lnTo>
                  <a:lnTo>
                    <a:pt x="353" y="247"/>
                  </a:lnTo>
                  <a:lnTo>
                    <a:pt x="351" y="247"/>
                  </a:lnTo>
                  <a:lnTo>
                    <a:pt x="350" y="247"/>
                  </a:lnTo>
                  <a:lnTo>
                    <a:pt x="343" y="250"/>
                  </a:lnTo>
                  <a:lnTo>
                    <a:pt x="332" y="261"/>
                  </a:lnTo>
                  <a:lnTo>
                    <a:pt x="332" y="261"/>
                  </a:lnTo>
                  <a:lnTo>
                    <a:pt x="327" y="264"/>
                  </a:lnTo>
                  <a:lnTo>
                    <a:pt x="322" y="264"/>
                  </a:lnTo>
                  <a:lnTo>
                    <a:pt x="318" y="261"/>
                  </a:lnTo>
                  <a:lnTo>
                    <a:pt x="313" y="257"/>
                  </a:lnTo>
                  <a:lnTo>
                    <a:pt x="310" y="254"/>
                  </a:lnTo>
                  <a:lnTo>
                    <a:pt x="303" y="254"/>
                  </a:lnTo>
                  <a:lnTo>
                    <a:pt x="296" y="257"/>
                  </a:lnTo>
                  <a:lnTo>
                    <a:pt x="287" y="266"/>
                  </a:lnTo>
                  <a:lnTo>
                    <a:pt x="287" y="266"/>
                  </a:lnTo>
                  <a:lnTo>
                    <a:pt x="280" y="275"/>
                  </a:lnTo>
                  <a:lnTo>
                    <a:pt x="273" y="278"/>
                  </a:lnTo>
                  <a:lnTo>
                    <a:pt x="268" y="282"/>
                  </a:lnTo>
                  <a:lnTo>
                    <a:pt x="264" y="283"/>
                  </a:lnTo>
                  <a:lnTo>
                    <a:pt x="254" y="285"/>
                  </a:lnTo>
                  <a:lnTo>
                    <a:pt x="242" y="289"/>
                  </a:lnTo>
                  <a:lnTo>
                    <a:pt x="242" y="289"/>
                  </a:lnTo>
                  <a:lnTo>
                    <a:pt x="235" y="290"/>
                  </a:lnTo>
                  <a:lnTo>
                    <a:pt x="230" y="289"/>
                  </a:lnTo>
                  <a:lnTo>
                    <a:pt x="226" y="285"/>
                  </a:lnTo>
                  <a:lnTo>
                    <a:pt x="221" y="280"/>
                  </a:lnTo>
                  <a:lnTo>
                    <a:pt x="214" y="273"/>
                  </a:lnTo>
                  <a:lnTo>
                    <a:pt x="207" y="266"/>
                  </a:lnTo>
                  <a:lnTo>
                    <a:pt x="196" y="259"/>
                  </a:lnTo>
                  <a:lnTo>
                    <a:pt x="184" y="252"/>
                  </a:lnTo>
                  <a:lnTo>
                    <a:pt x="184" y="252"/>
                  </a:lnTo>
                  <a:lnTo>
                    <a:pt x="172" y="249"/>
                  </a:lnTo>
                  <a:lnTo>
                    <a:pt x="163" y="249"/>
                  </a:lnTo>
                  <a:lnTo>
                    <a:pt x="158" y="252"/>
                  </a:lnTo>
                  <a:lnTo>
                    <a:pt x="156" y="255"/>
                  </a:lnTo>
                  <a:lnTo>
                    <a:pt x="156" y="268"/>
                  </a:lnTo>
                  <a:lnTo>
                    <a:pt x="156" y="273"/>
                  </a:lnTo>
                  <a:lnTo>
                    <a:pt x="155" y="276"/>
                  </a:lnTo>
                  <a:lnTo>
                    <a:pt x="155" y="276"/>
                  </a:lnTo>
                  <a:lnTo>
                    <a:pt x="151" y="278"/>
                  </a:lnTo>
                  <a:lnTo>
                    <a:pt x="149" y="278"/>
                  </a:lnTo>
                  <a:lnTo>
                    <a:pt x="148" y="276"/>
                  </a:lnTo>
                  <a:lnTo>
                    <a:pt x="146" y="276"/>
                  </a:lnTo>
                  <a:lnTo>
                    <a:pt x="142" y="276"/>
                  </a:lnTo>
                  <a:lnTo>
                    <a:pt x="139" y="278"/>
                  </a:lnTo>
                  <a:lnTo>
                    <a:pt x="134" y="282"/>
                  </a:lnTo>
                  <a:lnTo>
                    <a:pt x="134" y="282"/>
                  </a:lnTo>
                  <a:lnTo>
                    <a:pt x="132" y="283"/>
                  </a:lnTo>
                  <a:lnTo>
                    <a:pt x="127" y="285"/>
                  </a:lnTo>
                  <a:lnTo>
                    <a:pt x="123" y="283"/>
                  </a:lnTo>
                  <a:lnTo>
                    <a:pt x="120" y="282"/>
                  </a:lnTo>
                  <a:lnTo>
                    <a:pt x="111" y="275"/>
                  </a:lnTo>
                  <a:lnTo>
                    <a:pt x="108" y="269"/>
                  </a:lnTo>
                  <a:lnTo>
                    <a:pt x="106" y="264"/>
                  </a:lnTo>
                  <a:lnTo>
                    <a:pt x="106" y="264"/>
                  </a:lnTo>
                  <a:lnTo>
                    <a:pt x="104" y="259"/>
                  </a:lnTo>
                  <a:lnTo>
                    <a:pt x="102" y="257"/>
                  </a:lnTo>
                  <a:lnTo>
                    <a:pt x="101" y="257"/>
                  </a:lnTo>
                  <a:lnTo>
                    <a:pt x="99" y="257"/>
                  </a:lnTo>
                  <a:lnTo>
                    <a:pt x="95" y="259"/>
                  </a:lnTo>
                  <a:lnTo>
                    <a:pt x="92" y="259"/>
                  </a:lnTo>
                  <a:lnTo>
                    <a:pt x="89" y="255"/>
                  </a:lnTo>
                  <a:lnTo>
                    <a:pt x="89" y="255"/>
                  </a:lnTo>
                  <a:lnTo>
                    <a:pt x="85" y="254"/>
                  </a:lnTo>
                  <a:lnTo>
                    <a:pt x="82" y="254"/>
                  </a:lnTo>
                  <a:lnTo>
                    <a:pt x="78" y="255"/>
                  </a:lnTo>
                  <a:lnTo>
                    <a:pt x="75" y="257"/>
                  </a:lnTo>
                  <a:lnTo>
                    <a:pt x="69" y="262"/>
                  </a:lnTo>
                  <a:lnTo>
                    <a:pt x="68" y="262"/>
                  </a:lnTo>
                  <a:lnTo>
                    <a:pt x="68" y="261"/>
                  </a:lnTo>
                  <a:lnTo>
                    <a:pt x="68" y="261"/>
                  </a:lnTo>
                  <a:lnTo>
                    <a:pt x="68" y="257"/>
                  </a:lnTo>
                  <a:lnTo>
                    <a:pt x="64" y="257"/>
                  </a:lnTo>
                  <a:lnTo>
                    <a:pt x="57" y="257"/>
                  </a:lnTo>
                  <a:lnTo>
                    <a:pt x="50" y="259"/>
                  </a:lnTo>
                  <a:lnTo>
                    <a:pt x="47" y="259"/>
                  </a:lnTo>
                  <a:lnTo>
                    <a:pt x="45" y="257"/>
                  </a:lnTo>
                  <a:lnTo>
                    <a:pt x="45" y="257"/>
                  </a:lnTo>
                  <a:lnTo>
                    <a:pt x="45" y="255"/>
                  </a:lnTo>
                  <a:lnTo>
                    <a:pt x="45" y="254"/>
                  </a:lnTo>
                  <a:lnTo>
                    <a:pt x="54" y="254"/>
                  </a:lnTo>
                  <a:lnTo>
                    <a:pt x="62" y="252"/>
                  </a:lnTo>
                  <a:lnTo>
                    <a:pt x="66" y="250"/>
                  </a:lnTo>
                  <a:lnTo>
                    <a:pt x="69" y="247"/>
                  </a:lnTo>
                  <a:lnTo>
                    <a:pt x="69" y="247"/>
                  </a:lnTo>
                  <a:lnTo>
                    <a:pt x="71" y="243"/>
                  </a:lnTo>
                  <a:lnTo>
                    <a:pt x="69" y="243"/>
                  </a:lnTo>
                  <a:lnTo>
                    <a:pt x="59" y="243"/>
                  </a:lnTo>
                  <a:lnTo>
                    <a:pt x="47" y="245"/>
                  </a:lnTo>
                  <a:lnTo>
                    <a:pt x="43" y="243"/>
                  </a:lnTo>
                  <a:lnTo>
                    <a:pt x="40" y="242"/>
                  </a:lnTo>
                  <a:lnTo>
                    <a:pt x="40" y="242"/>
                  </a:lnTo>
                  <a:lnTo>
                    <a:pt x="38" y="238"/>
                  </a:lnTo>
                  <a:lnTo>
                    <a:pt x="40" y="236"/>
                  </a:lnTo>
                  <a:lnTo>
                    <a:pt x="43" y="236"/>
                  </a:lnTo>
                  <a:lnTo>
                    <a:pt x="48" y="236"/>
                  </a:lnTo>
                  <a:lnTo>
                    <a:pt x="48" y="235"/>
                  </a:lnTo>
                  <a:lnTo>
                    <a:pt x="48" y="233"/>
                  </a:lnTo>
                  <a:lnTo>
                    <a:pt x="48" y="233"/>
                  </a:lnTo>
                  <a:lnTo>
                    <a:pt x="48" y="229"/>
                  </a:lnTo>
                  <a:lnTo>
                    <a:pt x="47" y="228"/>
                  </a:lnTo>
                  <a:lnTo>
                    <a:pt x="43" y="226"/>
                  </a:lnTo>
                  <a:lnTo>
                    <a:pt x="40" y="226"/>
                  </a:lnTo>
                  <a:lnTo>
                    <a:pt x="40" y="222"/>
                  </a:lnTo>
                  <a:lnTo>
                    <a:pt x="40" y="222"/>
                  </a:lnTo>
                  <a:lnTo>
                    <a:pt x="40" y="217"/>
                  </a:lnTo>
                  <a:lnTo>
                    <a:pt x="38" y="214"/>
                  </a:lnTo>
                  <a:lnTo>
                    <a:pt x="36" y="210"/>
                  </a:lnTo>
                  <a:lnTo>
                    <a:pt x="40" y="203"/>
                  </a:lnTo>
                  <a:lnTo>
                    <a:pt x="40" y="203"/>
                  </a:lnTo>
                  <a:lnTo>
                    <a:pt x="42" y="200"/>
                  </a:lnTo>
                  <a:lnTo>
                    <a:pt x="42" y="198"/>
                  </a:lnTo>
                  <a:lnTo>
                    <a:pt x="40" y="196"/>
                  </a:lnTo>
                  <a:lnTo>
                    <a:pt x="38" y="196"/>
                  </a:lnTo>
                  <a:lnTo>
                    <a:pt x="31" y="195"/>
                  </a:lnTo>
                  <a:lnTo>
                    <a:pt x="29" y="193"/>
                  </a:lnTo>
                  <a:lnTo>
                    <a:pt x="26" y="191"/>
                  </a:lnTo>
                  <a:lnTo>
                    <a:pt x="26" y="191"/>
                  </a:lnTo>
                  <a:lnTo>
                    <a:pt x="24" y="188"/>
                  </a:lnTo>
                  <a:lnTo>
                    <a:pt x="21" y="189"/>
                  </a:lnTo>
                  <a:lnTo>
                    <a:pt x="19" y="189"/>
                  </a:lnTo>
                  <a:lnTo>
                    <a:pt x="14" y="188"/>
                  </a:lnTo>
                  <a:lnTo>
                    <a:pt x="14" y="188"/>
                  </a:lnTo>
                  <a:lnTo>
                    <a:pt x="10" y="184"/>
                  </a:lnTo>
                  <a:lnTo>
                    <a:pt x="8" y="179"/>
                  </a:lnTo>
                  <a:lnTo>
                    <a:pt x="10" y="170"/>
                  </a:lnTo>
                  <a:lnTo>
                    <a:pt x="10" y="167"/>
                  </a:lnTo>
                  <a:lnTo>
                    <a:pt x="14" y="165"/>
                  </a:lnTo>
                  <a:lnTo>
                    <a:pt x="15" y="167"/>
                  </a:lnTo>
                  <a:lnTo>
                    <a:pt x="17" y="170"/>
                  </a:lnTo>
                  <a:lnTo>
                    <a:pt x="17" y="170"/>
                  </a:lnTo>
                  <a:lnTo>
                    <a:pt x="21" y="175"/>
                  </a:lnTo>
                  <a:lnTo>
                    <a:pt x="22" y="179"/>
                  </a:lnTo>
                  <a:lnTo>
                    <a:pt x="26" y="179"/>
                  </a:lnTo>
                  <a:lnTo>
                    <a:pt x="29" y="179"/>
                  </a:lnTo>
                  <a:lnTo>
                    <a:pt x="31" y="177"/>
                  </a:lnTo>
                  <a:lnTo>
                    <a:pt x="31" y="174"/>
                  </a:lnTo>
                  <a:lnTo>
                    <a:pt x="29" y="172"/>
                  </a:lnTo>
                  <a:lnTo>
                    <a:pt x="24" y="168"/>
                  </a:lnTo>
                  <a:lnTo>
                    <a:pt x="24" y="168"/>
                  </a:lnTo>
                  <a:lnTo>
                    <a:pt x="21" y="167"/>
                  </a:lnTo>
                  <a:lnTo>
                    <a:pt x="21" y="163"/>
                  </a:lnTo>
                  <a:lnTo>
                    <a:pt x="26" y="160"/>
                  </a:lnTo>
                  <a:lnTo>
                    <a:pt x="31" y="154"/>
                  </a:lnTo>
                  <a:lnTo>
                    <a:pt x="31" y="154"/>
                  </a:lnTo>
                  <a:lnTo>
                    <a:pt x="29" y="153"/>
                  </a:lnTo>
                  <a:lnTo>
                    <a:pt x="29" y="153"/>
                  </a:lnTo>
                  <a:lnTo>
                    <a:pt x="26" y="153"/>
                  </a:lnTo>
                  <a:lnTo>
                    <a:pt x="24" y="151"/>
                  </a:lnTo>
                  <a:lnTo>
                    <a:pt x="26" y="148"/>
                  </a:lnTo>
                  <a:lnTo>
                    <a:pt x="26" y="142"/>
                  </a:lnTo>
                  <a:lnTo>
                    <a:pt x="26" y="139"/>
                  </a:lnTo>
                  <a:lnTo>
                    <a:pt x="24" y="137"/>
                  </a:lnTo>
                  <a:lnTo>
                    <a:pt x="24" y="137"/>
                  </a:lnTo>
                  <a:lnTo>
                    <a:pt x="22" y="134"/>
                  </a:lnTo>
                  <a:lnTo>
                    <a:pt x="22" y="130"/>
                  </a:lnTo>
                  <a:lnTo>
                    <a:pt x="26" y="125"/>
                  </a:lnTo>
                  <a:lnTo>
                    <a:pt x="28" y="121"/>
                  </a:lnTo>
                  <a:lnTo>
                    <a:pt x="28" y="120"/>
                  </a:lnTo>
                  <a:lnTo>
                    <a:pt x="26" y="120"/>
                  </a:lnTo>
                  <a:lnTo>
                    <a:pt x="19" y="121"/>
                  </a:lnTo>
                  <a:lnTo>
                    <a:pt x="19" y="121"/>
                  </a:lnTo>
                  <a:lnTo>
                    <a:pt x="8" y="125"/>
                  </a:lnTo>
                  <a:lnTo>
                    <a:pt x="1" y="125"/>
                  </a:lnTo>
                  <a:lnTo>
                    <a:pt x="1" y="123"/>
                  </a:lnTo>
                  <a:lnTo>
                    <a:pt x="0" y="121"/>
                  </a:lnTo>
                  <a:lnTo>
                    <a:pt x="1" y="111"/>
                  </a:lnTo>
                  <a:lnTo>
                    <a:pt x="1" y="111"/>
                  </a:lnTo>
                  <a:lnTo>
                    <a:pt x="3" y="104"/>
                  </a:lnTo>
                  <a:lnTo>
                    <a:pt x="5" y="101"/>
                  </a:lnTo>
                  <a:lnTo>
                    <a:pt x="8" y="101"/>
                  </a:lnTo>
                  <a:lnTo>
                    <a:pt x="12" y="95"/>
                  </a:lnTo>
                  <a:lnTo>
                    <a:pt x="12" y="95"/>
                  </a:lnTo>
                  <a:lnTo>
                    <a:pt x="17" y="88"/>
                  </a:lnTo>
                  <a:lnTo>
                    <a:pt x="22" y="83"/>
                  </a:lnTo>
                  <a:lnTo>
                    <a:pt x="28" y="80"/>
                  </a:lnTo>
                  <a:lnTo>
                    <a:pt x="33" y="78"/>
                  </a:lnTo>
                  <a:lnTo>
                    <a:pt x="36" y="78"/>
                  </a:lnTo>
                  <a:lnTo>
                    <a:pt x="40" y="80"/>
                  </a:lnTo>
                  <a:lnTo>
                    <a:pt x="43" y="81"/>
                  </a:lnTo>
                  <a:lnTo>
                    <a:pt x="45" y="83"/>
                  </a:lnTo>
                  <a:lnTo>
                    <a:pt x="45" y="83"/>
                  </a:lnTo>
                  <a:lnTo>
                    <a:pt x="47" y="85"/>
                  </a:lnTo>
                  <a:lnTo>
                    <a:pt x="48" y="87"/>
                  </a:lnTo>
                  <a:lnTo>
                    <a:pt x="54" y="87"/>
                  </a:lnTo>
                  <a:lnTo>
                    <a:pt x="57" y="85"/>
                  </a:lnTo>
                  <a:lnTo>
                    <a:pt x="57" y="83"/>
                  </a:lnTo>
                  <a:lnTo>
                    <a:pt x="55" y="80"/>
                  </a:lnTo>
                  <a:lnTo>
                    <a:pt x="55" y="80"/>
                  </a:lnTo>
                  <a:lnTo>
                    <a:pt x="55" y="78"/>
                  </a:lnTo>
                  <a:lnTo>
                    <a:pt x="55" y="76"/>
                  </a:lnTo>
                  <a:lnTo>
                    <a:pt x="61" y="74"/>
                  </a:lnTo>
                  <a:lnTo>
                    <a:pt x="68" y="74"/>
                  </a:lnTo>
                  <a:lnTo>
                    <a:pt x="68" y="76"/>
                  </a:lnTo>
                  <a:lnTo>
                    <a:pt x="68" y="78"/>
                  </a:lnTo>
                  <a:lnTo>
                    <a:pt x="68" y="78"/>
                  </a:lnTo>
                  <a:lnTo>
                    <a:pt x="69" y="80"/>
                  </a:lnTo>
                  <a:lnTo>
                    <a:pt x="73" y="81"/>
                  </a:lnTo>
                  <a:lnTo>
                    <a:pt x="85" y="85"/>
                  </a:lnTo>
                  <a:lnTo>
                    <a:pt x="97" y="85"/>
                  </a:lnTo>
                  <a:lnTo>
                    <a:pt x="104" y="83"/>
                  </a:lnTo>
                  <a:lnTo>
                    <a:pt x="104" y="83"/>
                  </a:lnTo>
                  <a:lnTo>
                    <a:pt x="104" y="80"/>
                  </a:lnTo>
                  <a:lnTo>
                    <a:pt x="102" y="78"/>
                  </a:lnTo>
                  <a:lnTo>
                    <a:pt x="97" y="76"/>
                  </a:lnTo>
                  <a:lnTo>
                    <a:pt x="95" y="74"/>
                  </a:lnTo>
                  <a:lnTo>
                    <a:pt x="97" y="73"/>
                  </a:lnTo>
                  <a:lnTo>
                    <a:pt x="115" y="69"/>
                  </a:lnTo>
                  <a:lnTo>
                    <a:pt x="115" y="69"/>
                  </a:lnTo>
                  <a:lnTo>
                    <a:pt x="129" y="66"/>
                  </a:lnTo>
                  <a:lnTo>
                    <a:pt x="129" y="66"/>
                  </a:lnTo>
                  <a:lnTo>
                    <a:pt x="127" y="66"/>
                  </a:lnTo>
                  <a:lnTo>
                    <a:pt x="120" y="64"/>
                  </a:lnTo>
                  <a:lnTo>
                    <a:pt x="116" y="62"/>
                  </a:lnTo>
                  <a:lnTo>
                    <a:pt x="113" y="60"/>
                  </a:lnTo>
                  <a:lnTo>
                    <a:pt x="113" y="60"/>
                  </a:lnTo>
                  <a:lnTo>
                    <a:pt x="109" y="57"/>
                  </a:lnTo>
                  <a:lnTo>
                    <a:pt x="106" y="55"/>
                  </a:lnTo>
                  <a:lnTo>
                    <a:pt x="104" y="54"/>
                  </a:lnTo>
                  <a:lnTo>
                    <a:pt x="106" y="50"/>
                  </a:lnTo>
                  <a:lnTo>
                    <a:pt x="106" y="50"/>
                  </a:lnTo>
                  <a:lnTo>
                    <a:pt x="108" y="45"/>
                  </a:lnTo>
                  <a:lnTo>
                    <a:pt x="111" y="41"/>
                  </a:lnTo>
                  <a:lnTo>
                    <a:pt x="116" y="41"/>
                  </a:lnTo>
                  <a:lnTo>
                    <a:pt x="125" y="43"/>
                  </a:lnTo>
                  <a:lnTo>
                    <a:pt x="125" y="43"/>
                  </a:lnTo>
                  <a:lnTo>
                    <a:pt x="136" y="45"/>
                  </a:lnTo>
                  <a:lnTo>
                    <a:pt x="142" y="43"/>
                  </a:lnTo>
                  <a:lnTo>
                    <a:pt x="149" y="43"/>
                  </a:lnTo>
                  <a:lnTo>
                    <a:pt x="160" y="45"/>
                  </a:lnTo>
                  <a:lnTo>
                    <a:pt x="160" y="45"/>
                  </a:lnTo>
                  <a:lnTo>
                    <a:pt x="170" y="48"/>
                  </a:lnTo>
                  <a:lnTo>
                    <a:pt x="177" y="48"/>
                  </a:lnTo>
                  <a:lnTo>
                    <a:pt x="183" y="47"/>
                  </a:lnTo>
                  <a:lnTo>
                    <a:pt x="186" y="41"/>
                  </a:lnTo>
                  <a:lnTo>
                    <a:pt x="186" y="41"/>
                  </a:lnTo>
                  <a:lnTo>
                    <a:pt x="191" y="36"/>
                  </a:lnTo>
                  <a:lnTo>
                    <a:pt x="202" y="27"/>
                  </a:lnTo>
                  <a:lnTo>
                    <a:pt x="217" y="17"/>
                  </a:lnTo>
                  <a:lnTo>
                    <a:pt x="242" y="6"/>
                  </a:lnTo>
                  <a:lnTo>
                    <a:pt x="242" y="6"/>
                  </a:lnTo>
                  <a:lnTo>
                    <a:pt x="254" y="5"/>
                  </a:lnTo>
                  <a:lnTo>
                    <a:pt x="264" y="3"/>
                  </a:lnTo>
                  <a:lnTo>
                    <a:pt x="275" y="3"/>
                  </a:lnTo>
                  <a:lnTo>
                    <a:pt x="282" y="5"/>
                  </a:lnTo>
                  <a:lnTo>
                    <a:pt x="296" y="6"/>
                  </a:lnTo>
                  <a:lnTo>
                    <a:pt x="303" y="5"/>
                  </a:lnTo>
                  <a:lnTo>
                    <a:pt x="310" y="1"/>
                  </a:lnTo>
                  <a:lnTo>
                    <a:pt x="310" y="1"/>
                  </a:lnTo>
                  <a:lnTo>
                    <a:pt x="315" y="0"/>
                  </a:lnTo>
                  <a:lnTo>
                    <a:pt x="317" y="0"/>
                  </a:lnTo>
                  <a:lnTo>
                    <a:pt x="318" y="3"/>
                  </a:lnTo>
                  <a:lnTo>
                    <a:pt x="318" y="8"/>
                  </a:lnTo>
                  <a:lnTo>
                    <a:pt x="320" y="13"/>
                  </a:lnTo>
                  <a:lnTo>
                    <a:pt x="322" y="17"/>
                  </a:lnTo>
                  <a:lnTo>
                    <a:pt x="327" y="19"/>
                  </a:lnTo>
                  <a:lnTo>
                    <a:pt x="336" y="19"/>
                  </a:lnTo>
                  <a:lnTo>
                    <a:pt x="336" y="19"/>
                  </a:lnTo>
                  <a:lnTo>
                    <a:pt x="344" y="17"/>
                  </a:lnTo>
                  <a:lnTo>
                    <a:pt x="350" y="19"/>
                  </a:lnTo>
                  <a:lnTo>
                    <a:pt x="353" y="22"/>
                  </a:lnTo>
                  <a:lnTo>
                    <a:pt x="355" y="27"/>
                  </a:lnTo>
                  <a:lnTo>
                    <a:pt x="357" y="33"/>
                  </a:lnTo>
                  <a:lnTo>
                    <a:pt x="360" y="36"/>
                  </a:lnTo>
                  <a:lnTo>
                    <a:pt x="362" y="38"/>
                  </a:lnTo>
                  <a:lnTo>
                    <a:pt x="367" y="38"/>
                  </a:lnTo>
                  <a:lnTo>
                    <a:pt x="367" y="38"/>
                  </a:lnTo>
                  <a:lnTo>
                    <a:pt x="376" y="34"/>
                  </a:lnTo>
                  <a:lnTo>
                    <a:pt x="378" y="34"/>
                  </a:lnTo>
                  <a:lnTo>
                    <a:pt x="379" y="36"/>
                  </a:lnTo>
                  <a:lnTo>
                    <a:pt x="383" y="40"/>
                  </a:lnTo>
                  <a:lnTo>
                    <a:pt x="386" y="43"/>
                  </a:lnTo>
                  <a:lnTo>
                    <a:pt x="393" y="47"/>
                  </a:lnTo>
                  <a:lnTo>
                    <a:pt x="393" y="47"/>
                  </a:lnTo>
                  <a:lnTo>
                    <a:pt x="398" y="48"/>
                  </a:lnTo>
                  <a:lnTo>
                    <a:pt x="402" y="50"/>
                  </a:lnTo>
                  <a:lnTo>
                    <a:pt x="404" y="48"/>
                  </a:lnTo>
                  <a:lnTo>
                    <a:pt x="405" y="47"/>
                  </a:lnTo>
                  <a:lnTo>
                    <a:pt x="405" y="45"/>
                  </a:lnTo>
                  <a:lnTo>
                    <a:pt x="407" y="45"/>
                  </a:lnTo>
                  <a:lnTo>
                    <a:pt x="416" y="52"/>
                  </a:lnTo>
                  <a:lnTo>
                    <a:pt x="416" y="52"/>
                  </a:lnTo>
                  <a:lnTo>
                    <a:pt x="419" y="55"/>
                  </a:lnTo>
                  <a:lnTo>
                    <a:pt x="423" y="55"/>
                  </a:lnTo>
                  <a:lnTo>
                    <a:pt x="430" y="57"/>
                  </a:lnTo>
                  <a:lnTo>
                    <a:pt x="437" y="55"/>
                  </a:lnTo>
                  <a:lnTo>
                    <a:pt x="445" y="52"/>
                  </a:lnTo>
                  <a:lnTo>
                    <a:pt x="454" y="48"/>
                  </a:lnTo>
                  <a:lnTo>
                    <a:pt x="463" y="47"/>
                  </a:lnTo>
                  <a:lnTo>
                    <a:pt x="470" y="47"/>
                  </a:lnTo>
                  <a:lnTo>
                    <a:pt x="479" y="50"/>
                  </a:lnTo>
                  <a:lnTo>
                    <a:pt x="479" y="50"/>
                  </a:lnTo>
                  <a:lnTo>
                    <a:pt x="482" y="52"/>
                  </a:lnTo>
                  <a:lnTo>
                    <a:pt x="487" y="54"/>
                  </a:lnTo>
                  <a:lnTo>
                    <a:pt x="496" y="54"/>
                  </a:lnTo>
                  <a:lnTo>
                    <a:pt x="506" y="52"/>
                  </a:lnTo>
                  <a:lnTo>
                    <a:pt x="515" y="47"/>
                  </a:lnTo>
                  <a:lnTo>
                    <a:pt x="533" y="36"/>
                  </a:lnTo>
                  <a:lnTo>
                    <a:pt x="543" y="29"/>
                  </a:lnTo>
                  <a:lnTo>
                    <a:pt x="543" y="29"/>
                  </a:lnTo>
                  <a:lnTo>
                    <a:pt x="548" y="31"/>
                  </a:lnTo>
                  <a:lnTo>
                    <a:pt x="552" y="31"/>
                  </a:lnTo>
                  <a:lnTo>
                    <a:pt x="552" y="29"/>
                  </a:lnTo>
                  <a:lnTo>
                    <a:pt x="557" y="27"/>
                  </a:lnTo>
                  <a:lnTo>
                    <a:pt x="557" y="27"/>
                  </a:lnTo>
                  <a:lnTo>
                    <a:pt x="560" y="27"/>
                  </a:lnTo>
                  <a:lnTo>
                    <a:pt x="567" y="29"/>
                  </a:lnTo>
                  <a:lnTo>
                    <a:pt x="573" y="31"/>
                  </a:lnTo>
                  <a:lnTo>
                    <a:pt x="576" y="31"/>
                  </a:lnTo>
                  <a:lnTo>
                    <a:pt x="576" y="31"/>
                  </a:lnTo>
                  <a:lnTo>
                    <a:pt x="580" y="24"/>
                  </a:lnTo>
                  <a:lnTo>
                    <a:pt x="580" y="24"/>
                  </a:lnTo>
                  <a:lnTo>
                    <a:pt x="581" y="22"/>
                  </a:lnTo>
                  <a:lnTo>
                    <a:pt x="585" y="24"/>
                  </a:lnTo>
                  <a:lnTo>
                    <a:pt x="597" y="34"/>
                  </a:lnTo>
                  <a:lnTo>
                    <a:pt x="597" y="34"/>
                  </a:lnTo>
                  <a:lnTo>
                    <a:pt x="599" y="36"/>
                  </a:lnTo>
                  <a:lnTo>
                    <a:pt x="600" y="38"/>
                  </a:lnTo>
                  <a:lnTo>
                    <a:pt x="600" y="38"/>
                  </a:lnTo>
                  <a:lnTo>
                    <a:pt x="600" y="41"/>
                  </a:lnTo>
                  <a:lnTo>
                    <a:pt x="602" y="43"/>
                  </a:lnTo>
                  <a:lnTo>
                    <a:pt x="602" y="43"/>
                  </a:lnTo>
                  <a:lnTo>
                    <a:pt x="604" y="43"/>
                  </a:lnTo>
                  <a:lnTo>
                    <a:pt x="606" y="43"/>
                  </a:lnTo>
                  <a:lnTo>
                    <a:pt x="607" y="43"/>
                  </a:lnTo>
                  <a:lnTo>
                    <a:pt x="609" y="45"/>
                  </a:lnTo>
                  <a:lnTo>
                    <a:pt x="609" y="45"/>
                  </a:lnTo>
                  <a:lnTo>
                    <a:pt x="611" y="47"/>
                  </a:lnTo>
                  <a:lnTo>
                    <a:pt x="611" y="4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2" name="Freeform 2218">
              <a:extLst>
                <a:ext uri="{FF2B5EF4-FFF2-40B4-BE49-F238E27FC236}">
                  <a16:creationId xmlns:a16="http://schemas.microsoft.com/office/drawing/2014/main" id="{F8DE6DA3-D78E-495A-B9D1-5CF7074A108C}"/>
                </a:ext>
              </a:extLst>
            </p:cNvPr>
            <p:cNvSpPr>
              <a:spLocks/>
            </p:cNvSpPr>
            <p:nvPr/>
          </p:nvSpPr>
          <p:spPr bwMode="auto">
            <a:xfrm>
              <a:off x="5627163" y="3264284"/>
              <a:ext cx="63432" cy="40528"/>
            </a:xfrm>
            <a:custGeom>
              <a:avLst/>
              <a:gdLst/>
              <a:ahLst/>
              <a:cxnLst>
                <a:cxn ang="0">
                  <a:pos x="3" y="42"/>
                </a:cxn>
                <a:cxn ang="0">
                  <a:pos x="3" y="42"/>
                </a:cxn>
                <a:cxn ang="0">
                  <a:pos x="0" y="32"/>
                </a:cxn>
                <a:cxn ang="0">
                  <a:pos x="0" y="30"/>
                </a:cxn>
                <a:cxn ang="0">
                  <a:pos x="3" y="30"/>
                </a:cxn>
                <a:cxn ang="0">
                  <a:pos x="3" y="30"/>
                </a:cxn>
                <a:cxn ang="0">
                  <a:pos x="7" y="30"/>
                </a:cxn>
                <a:cxn ang="0">
                  <a:pos x="8" y="26"/>
                </a:cxn>
                <a:cxn ang="0">
                  <a:pos x="12" y="25"/>
                </a:cxn>
                <a:cxn ang="0">
                  <a:pos x="17" y="25"/>
                </a:cxn>
                <a:cxn ang="0">
                  <a:pos x="17" y="25"/>
                </a:cxn>
                <a:cxn ang="0">
                  <a:pos x="21" y="25"/>
                </a:cxn>
                <a:cxn ang="0">
                  <a:pos x="22" y="23"/>
                </a:cxn>
                <a:cxn ang="0">
                  <a:pos x="22" y="19"/>
                </a:cxn>
                <a:cxn ang="0">
                  <a:pos x="24" y="18"/>
                </a:cxn>
                <a:cxn ang="0">
                  <a:pos x="26" y="16"/>
                </a:cxn>
                <a:cxn ang="0">
                  <a:pos x="27" y="16"/>
                </a:cxn>
                <a:cxn ang="0">
                  <a:pos x="34" y="16"/>
                </a:cxn>
                <a:cxn ang="0">
                  <a:pos x="34" y="16"/>
                </a:cxn>
                <a:cxn ang="0">
                  <a:pos x="41" y="18"/>
                </a:cxn>
                <a:cxn ang="0">
                  <a:pos x="47" y="16"/>
                </a:cxn>
                <a:cxn ang="0">
                  <a:pos x="59" y="12"/>
                </a:cxn>
                <a:cxn ang="0">
                  <a:pos x="69" y="7"/>
                </a:cxn>
                <a:cxn ang="0">
                  <a:pos x="74" y="2"/>
                </a:cxn>
                <a:cxn ang="0">
                  <a:pos x="74" y="2"/>
                </a:cxn>
                <a:cxn ang="0">
                  <a:pos x="78" y="0"/>
                </a:cxn>
                <a:cxn ang="0">
                  <a:pos x="78" y="2"/>
                </a:cxn>
                <a:cxn ang="0">
                  <a:pos x="76" y="5"/>
                </a:cxn>
                <a:cxn ang="0">
                  <a:pos x="71" y="11"/>
                </a:cxn>
                <a:cxn ang="0">
                  <a:pos x="71" y="11"/>
                </a:cxn>
                <a:cxn ang="0">
                  <a:pos x="64" y="16"/>
                </a:cxn>
                <a:cxn ang="0">
                  <a:pos x="59" y="19"/>
                </a:cxn>
                <a:cxn ang="0">
                  <a:pos x="59" y="25"/>
                </a:cxn>
                <a:cxn ang="0">
                  <a:pos x="62" y="28"/>
                </a:cxn>
                <a:cxn ang="0">
                  <a:pos x="62" y="28"/>
                </a:cxn>
                <a:cxn ang="0">
                  <a:pos x="64" y="32"/>
                </a:cxn>
                <a:cxn ang="0">
                  <a:pos x="64" y="32"/>
                </a:cxn>
                <a:cxn ang="0">
                  <a:pos x="59" y="33"/>
                </a:cxn>
                <a:cxn ang="0">
                  <a:pos x="54" y="33"/>
                </a:cxn>
                <a:cxn ang="0">
                  <a:pos x="50" y="35"/>
                </a:cxn>
                <a:cxn ang="0">
                  <a:pos x="48" y="39"/>
                </a:cxn>
                <a:cxn ang="0">
                  <a:pos x="48" y="39"/>
                </a:cxn>
                <a:cxn ang="0">
                  <a:pos x="45" y="40"/>
                </a:cxn>
                <a:cxn ang="0">
                  <a:pos x="43" y="44"/>
                </a:cxn>
                <a:cxn ang="0">
                  <a:pos x="36" y="45"/>
                </a:cxn>
                <a:cxn ang="0">
                  <a:pos x="31" y="47"/>
                </a:cxn>
                <a:cxn ang="0">
                  <a:pos x="29" y="47"/>
                </a:cxn>
                <a:cxn ang="0">
                  <a:pos x="27" y="49"/>
                </a:cxn>
                <a:cxn ang="0">
                  <a:pos x="27" y="49"/>
                </a:cxn>
                <a:cxn ang="0">
                  <a:pos x="27" y="51"/>
                </a:cxn>
                <a:cxn ang="0">
                  <a:pos x="26" y="51"/>
                </a:cxn>
                <a:cxn ang="0">
                  <a:pos x="22" y="49"/>
                </a:cxn>
                <a:cxn ang="0">
                  <a:pos x="17" y="49"/>
                </a:cxn>
                <a:cxn ang="0">
                  <a:pos x="17" y="49"/>
                </a:cxn>
                <a:cxn ang="0">
                  <a:pos x="12" y="49"/>
                </a:cxn>
                <a:cxn ang="0">
                  <a:pos x="8" y="47"/>
                </a:cxn>
                <a:cxn ang="0">
                  <a:pos x="5" y="45"/>
                </a:cxn>
                <a:cxn ang="0">
                  <a:pos x="3" y="42"/>
                </a:cxn>
                <a:cxn ang="0">
                  <a:pos x="3" y="42"/>
                </a:cxn>
              </a:cxnLst>
              <a:rect l="0" t="0" r="r" b="b"/>
              <a:pathLst>
                <a:path w="78" h="51">
                  <a:moveTo>
                    <a:pt x="3" y="42"/>
                  </a:moveTo>
                  <a:lnTo>
                    <a:pt x="3" y="42"/>
                  </a:lnTo>
                  <a:lnTo>
                    <a:pt x="0" y="32"/>
                  </a:lnTo>
                  <a:lnTo>
                    <a:pt x="0" y="30"/>
                  </a:lnTo>
                  <a:lnTo>
                    <a:pt x="3" y="30"/>
                  </a:lnTo>
                  <a:lnTo>
                    <a:pt x="3" y="30"/>
                  </a:lnTo>
                  <a:lnTo>
                    <a:pt x="7" y="30"/>
                  </a:lnTo>
                  <a:lnTo>
                    <a:pt x="8" y="26"/>
                  </a:lnTo>
                  <a:lnTo>
                    <a:pt x="12" y="25"/>
                  </a:lnTo>
                  <a:lnTo>
                    <a:pt x="17" y="25"/>
                  </a:lnTo>
                  <a:lnTo>
                    <a:pt x="17" y="25"/>
                  </a:lnTo>
                  <a:lnTo>
                    <a:pt x="21" y="25"/>
                  </a:lnTo>
                  <a:lnTo>
                    <a:pt x="22" y="23"/>
                  </a:lnTo>
                  <a:lnTo>
                    <a:pt x="22" y="19"/>
                  </a:lnTo>
                  <a:lnTo>
                    <a:pt x="24" y="18"/>
                  </a:lnTo>
                  <a:lnTo>
                    <a:pt x="26" y="16"/>
                  </a:lnTo>
                  <a:lnTo>
                    <a:pt x="27" y="16"/>
                  </a:lnTo>
                  <a:lnTo>
                    <a:pt x="34" y="16"/>
                  </a:lnTo>
                  <a:lnTo>
                    <a:pt x="34" y="16"/>
                  </a:lnTo>
                  <a:lnTo>
                    <a:pt x="41" y="18"/>
                  </a:lnTo>
                  <a:lnTo>
                    <a:pt x="47" y="16"/>
                  </a:lnTo>
                  <a:lnTo>
                    <a:pt x="59" y="12"/>
                  </a:lnTo>
                  <a:lnTo>
                    <a:pt x="69" y="7"/>
                  </a:lnTo>
                  <a:lnTo>
                    <a:pt x="74" y="2"/>
                  </a:lnTo>
                  <a:lnTo>
                    <a:pt x="74" y="2"/>
                  </a:lnTo>
                  <a:lnTo>
                    <a:pt x="78" y="0"/>
                  </a:lnTo>
                  <a:lnTo>
                    <a:pt x="78" y="2"/>
                  </a:lnTo>
                  <a:lnTo>
                    <a:pt x="76" y="5"/>
                  </a:lnTo>
                  <a:lnTo>
                    <a:pt x="71" y="11"/>
                  </a:lnTo>
                  <a:lnTo>
                    <a:pt x="71" y="11"/>
                  </a:lnTo>
                  <a:lnTo>
                    <a:pt x="64" y="16"/>
                  </a:lnTo>
                  <a:lnTo>
                    <a:pt x="59" y="19"/>
                  </a:lnTo>
                  <a:lnTo>
                    <a:pt x="59" y="25"/>
                  </a:lnTo>
                  <a:lnTo>
                    <a:pt x="62" y="28"/>
                  </a:lnTo>
                  <a:lnTo>
                    <a:pt x="62" y="28"/>
                  </a:lnTo>
                  <a:lnTo>
                    <a:pt x="64" y="32"/>
                  </a:lnTo>
                  <a:lnTo>
                    <a:pt x="64" y="32"/>
                  </a:lnTo>
                  <a:lnTo>
                    <a:pt x="59" y="33"/>
                  </a:lnTo>
                  <a:lnTo>
                    <a:pt x="54" y="33"/>
                  </a:lnTo>
                  <a:lnTo>
                    <a:pt x="50" y="35"/>
                  </a:lnTo>
                  <a:lnTo>
                    <a:pt x="48" y="39"/>
                  </a:lnTo>
                  <a:lnTo>
                    <a:pt x="48" y="39"/>
                  </a:lnTo>
                  <a:lnTo>
                    <a:pt x="45" y="40"/>
                  </a:lnTo>
                  <a:lnTo>
                    <a:pt x="43" y="44"/>
                  </a:lnTo>
                  <a:lnTo>
                    <a:pt x="36" y="45"/>
                  </a:lnTo>
                  <a:lnTo>
                    <a:pt x="31" y="47"/>
                  </a:lnTo>
                  <a:lnTo>
                    <a:pt x="29" y="47"/>
                  </a:lnTo>
                  <a:lnTo>
                    <a:pt x="27" y="49"/>
                  </a:lnTo>
                  <a:lnTo>
                    <a:pt x="27" y="49"/>
                  </a:lnTo>
                  <a:lnTo>
                    <a:pt x="27" y="51"/>
                  </a:lnTo>
                  <a:lnTo>
                    <a:pt x="26" y="51"/>
                  </a:lnTo>
                  <a:lnTo>
                    <a:pt x="22" y="49"/>
                  </a:lnTo>
                  <a:lnTo>
                    <a:pt x="17" y="49"/>
                  </a:lnTo>
                  <a:lnTo>
                    <a:pt x="17" y="49"/>
                  </a:lnTo>
                  <a:lnTo>
                    <a:pt x="12" y="49"/>
                  </a:lnTo>
                  <a:lnTo>
                    <a:pt x="8" y="47"/>
                  </a:lnTo>
                  <a:lnTo>
                    <a:pt x="5" y="45"/>
                  </a:lnTo>
                  <a:lnTo>
                    <a:pt x="3" y="42"/>
                  </a:lnTo>
                  <a:lnTo>
                    <a:pt x="3" y="4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63" name="Group 1028">
              <a:extLst>
                <a:ext uri="{FF2B5EF4-FFF2-40B4-BE49-F238E27FC236}">
                  <a16:creationId xmlns:a16="http://schemas.microsoft.com/office/drawing/2014/main" id="{DD9B917C-0576-4DB0-A478-025D3EF17B95}"/>
                </a:ext>
              </a:extLst>
            </p:cNvPr>
            <p:cNvGrpSpPr/>
            <p:nvPr/>
          </p:nvGrpSpPr>
          <p:grpSpPr bwMode="auto">
            <a:xfrm>
              <a:off x="5285356" y="3031697"/>
              <a:ext cx="229060" cy="260777"/>
              <a:chOff x="4591050" y="2930525"/>
              <a:chExt cx="206375" cy="234950"/>
            </a:xfrm>
            <a:solidFill>
              <a:srgbClr val="808183">
                <a:lumMod val="60000"/>
                <a:lumOff val="40000"/>
              </a:srgbClr>
            </a:solidFill>
          </p:grpSpPr>
          <p:sp>
            <p:nvSpPr>
              <p:cNvPr id="381" name="Freeform 2220">
                <a:extLst>
                  <a:ext uri="{FF2B5EF4-FFF2-40B4-BE49-F238E27FC236}">
                    <a16:creationId xmlns:a16="http://schemas.microsoft.com/office/drawing/2014/main" id="{CDFAE513-70AA-4AE5-9E5D-2EB42CD1A64A}"/>
                  </a:ext>
                </a:extLst>
              </p:cNvPr>
              <p:cNvSpPr>
                <a:spLocks/>
              </p:cNvSpPr>
              <p:nvPr/>
            </p:nvSpPr>
            <p:spPr bwMode="auto">
              <a:xfrm>
                <a:off x="4679950" y="3140075"/>
                <a:ext cx="69850" cy="25400"/>
              </a:xfrm>
              <a:custGeom>
                <a:avLst/>
                <a:gdLst/>
                <a:ahLst/>
                <a:cxnLst>
                  <a:cxn ang="0">
                    <a:pos x="0" y="16"/>
                  </a:cxn>
                  <a:cxn ang="0">
                    <a:pos x="0" y="16"/>
                  </a:cxn>
                  <a:cxn ang="0">
                    <a:pos x="0" y="9"/>
                  </a:cxn>
                  <a:cxn ang="0">
                    <a:pos x="2" y="7"/>
                  </a:cxn>
                  <a:cxn ang="0">
                    <a:pos x="3" y="5"/>
                  </a:cxn>
                  <a:cxn ang="0">
                    <a:pos x="5" y="2"/>
                  </a:cxn>
                  <a:cxn ang="0">
                    <a:pos x="5" y="2"/>
                  </a:cxn>
                  <a:cxn ang="0">
                    <a:pos x="7" y="0"/>
                  </a:cxn>
                  <a:cxn ang="0">
                    <a:pos x="7" y="0"/>
                  </a:cxn>
                  <a:cxn ang="0">
                    <a:pos x="10" y="2"/>
                  </a:cxn>
                  <a:cxn ang="0">
                    <a:pos x="14" y="5"/>
                  </a:cxn>
                  <a:cxn ang="0">
                    <a:pos x="16" y="5"/>
                  </a:cxn>
                  <a:cxn ang="0">
                    <a:pos x="17" y="5"/>
                  </a:cxn>
                  <a:cxn ang="0">
                    <a:pos x="17" y="5"/>
                  </a:cxn>
                  <a:cxn ang="0">
                    <a:pos x="19" y="3"/>
                  </a:cxn>
                  <a:cxn ang="0">
                    <a:pos x="21" y="3"/>
                  </a:cxn>
                  <a:cxn ang="0">
                    <a:pos x="24" y="9"/>
                  </a:cxn>
                  <a:cxn ang="0">
                    <a:pos x="26" y="12"/>
                  </a:cxn>
                  <a:cxn ang="0">
                    <a:pos x="30" y="14"/>
                  </a:cxn>
                  <a:cxn ang="0">
                    <a:pos x="33" y="12"/>
                  </a:cxn>
                  <a:cxn ang="0">
                    <a:pos x="33" y="12"/>
                  </a:cxn>
                  <a:cxn ang="0">
                    <a:pos x="40" y="12"/>
                  </a:cxn>
                  <a:cxn ang="0">
                    <a:pos x="45" y="12"/>
                  </a:cxn>
                  <a:cxn ang="0">
                    <a:pos x="54" y="14"/>
                  </a:cxn>
                  <a:cxn ang="0">
                    <a:pos x="61" y="16"/>
                  </a:cxn>
                  <a:cxn ang="0">
                    <a:pos x="64" y="16"/>
                  </a:cxn>
                  <a:cxn ang="0">
                    <a:pos x="70" y="16"/>
                  </a:cxn>
                  <a:cxn ang="0">
                    <a:pos x="70" y="16"/>
                  </a:cxn>
                  <a:cxn ang="0">
                    <a:pos x="75" y="16"/>
                  </a:cxn>
                  <a:cxn ang="0">
                    <a:pos x="77" y="17"/>
                  </a:cxn>
                  <a:cxn ang="0">
                    <a:pos x="78" y="21"/>
                  </a:cxn>
                  <a:cxn ang="0">
                    <a:pos x="78" y="24"/>
                  </a:cxn>
                  <a:cxn ang="0">
                    <a:pos x="80" y="24"/>
                  </a:cxn>
                  <a:cxn ang="0">
                    <a:pos x="83" y="23"/>
                  </a:cxn>
                  <a:cxn ang="0">
                    <a:pos x="83" y="23"/>
                  </a:cxn>
                  <a:cxn ang="0">
                    <a:pos x="89" y="19"/>
                  </a:cxn>
                  <a:cxn ang="0">
                    <a:pos x="94" y="19"/>
                  </a:cxn>
                  <a:cxn ang="0">
                    <a:pos x="96" y="21"/>
                  </a:cxn>
                  <a:cxn ang="0">
                    <a:pos x="97" y="23"/>
                  </a:cxn>
                  <a:cxn ang="0">
                    <a:pos x="97" y="24"/>
                  </a:cxn>
                  <a:cxn ang="0">
                    <a:pos x="94" y="28"/>
                  </a:cxn>
                  <a:cxn ang="0">
                    <a:pos x="90" y="30"/>
                  </a:cxn>
                  <a:cxn ang="0">
                    <a:pos x="83" y="30"/>
                  </a:cxn>
                  <a:cxn ang="0">
                    <a:pos x="83" y="30"/>
                  </a:cxn>
                  <a:cxn ang="0">
                    <a:pos x="70" y="31"/>
                  </a:cxn>
                  <a:cxn ang="0">
                    <a:pos x="59" y="33"/>
                  </a:cxn>
                  <a:cxn ang="0">
                    <a:pos x="49" y="33"/>
                  </a:cxn>
                  <a:cxn ang="0">
                    <a:pos x="43" y="31"/>
                  </a:cxn>
                  <a:cxn ang="0">
                    <a:pos x="40" y="30"/>
                  </a:cxn>
                  <a:cxn ang="0">
                    <a:pos x="40" y="30"/>
                  </a:cxn>
                  <a:cxn ang="0">
                    <a:pos x="33" y="24"/>
                  </a:cxn>
                  <a:cxn ang="0">
                    <a:pos x="26" y="23"/>
                  </a:cxn>
                  <a:cxn ang="0">
                    <a:pos x="14" y="21"/>
                  </a:cxn>
                  <a:cxn ang="0">
                    <a:pos x="3" y="21"/>
                  </a:cxn>
                  <a:cxn ang="0">
                    <a:pos x="2" y="19"/>
                  </a:cxn>
                  <a:cxn ang="0">
                    <a:pos x="0" y="16"/>
                  </a:cxn>
                  <a:cxn ang="0">
                    <a:pos x="0" y="16"/>
                  </a:cxn>
                </a:cxnLst>
                <a:rect l="0" t="0" r="r" b="b"/>
                <a:pathLst>
                  <a:path w="97" h="33">
                    <a:moveTo>
                      <a:pt x="0" y="16"/>
                    </a:moveTo>
                    <a:lnTo>
                      <a:pt x="0" y="16"/>
                    </a:lnTo>
                    <a:lnTo>
                      <a:pt x="0" y="9"/>
                    </a:lnTo>
                    <a:lnTo>
                      <a:pt x="2" y="7"/>
                    </a:lnTo>
                    <a:lnTo>
                      <a:pt x="3" y="5"/>
                    </a:lnTo>
                    <a:lnTo>
                      <a:pt x="5" y="2"/>
                    </a:lnTo>
                    <a:lnTo>
                      <a:pt x="5" y="2"/>
                    </a:lnTo>
                    <a:lnTo>
                      <a:pt x="7" y="0"/>
                    </a:lnTo>
                    <a:lnTo>
                      <a:pt x="7" y="0"/>
                    </a:lnTo>
                    <a:lnTo>
                      <a:pt x="10" y="2"/>
                    </a:lnTo>
                    <a:lnTo>
                      <a:pt x="14" y="5"/>
                    </a:lnTo>
                    <a:lnTo>
                      <a:pt x="16" y="5"/>
                    </a:lnTo>
                    <a:lnTo>
                      <a:pt x="17" y="5"/>
                    </a:lnTo>
                    <a:lnTo>
                      <a:pt x="17" y="5"/>
                    </a:lnTo>
                    <a:lnTo>
                      <a:pt x="19" y="3"/>
                    </a:lnTo>
                    <a:lnTo>
                      <a:pt x="21" y="3"/>
                    </a:lnTo>
                    <a:lnTo>
                      <a:pt x="24" y="9"/>
                    </a:lnTo>
                    <a:lnTo>
                      <a:pt x="26" y="12"/>
                    </a:lnTo>
                    <a:lnTo>
                      <a:pt x="30" y="14"/>
                    </a:lnTo>
                    <a:lnTo>
                      <a:pt x="33" y="12"/>
                    </a:lnTo>
                    <a:lnTo>
                      <a:pt x="33" y="12"/>
                    </a:lnTo>
                    <a:lnTo>
                      <a:pt x="40" y="12"/>
                    </a:lnTo>
                    <a:lnTo>
                      <a:pt x="45" y="12"/>
                    </a:lnTo>
                    <a:lnTo>
                      <a:pt x="54" y="14"/>
                    </a:lnTo>
                    <a:lnTo>
                      <a:pt x="61" y="16"/>
                    </a:lnTo>
                    <a:lnTo>
                      <a:pt x="64" y="16"/>
                    </a:lnTo>
                    <a:lnTo>
                      <a:pt x="70" y="16"/>
                    </a:lnTo>
                    <a:lnTo>
                      <a:pt x="70" y="16"/>
                    </a:lnTo>
                    <a:lnTo>
                      <a:pt x="75" y="16"/>
                    </a:lnTo>
                    <a:lnTo>
                      <a:pt x="77" y="17"/>
                    </a:lnTo>
                    <a:lnTo>
                      <a:pt x="78" y="21"/>
                    </a:lnTo>
                    <a:lnTo>
                      <a:pt x="78" y="24"/>
                    </a:lnTo>
                    <a:lnTo>
                      <a:pt x="80" y="24"/>
                    </a:lnTo>
                    <a:lnTo>
                      <a:pt x="83" y="23"/>
                    </a:lnTo>
                    <a:lnTo>
                      <a:pt x="83" y="23"/>
                    </a:lnTo>
                    <a:lnTo>
                      <a:pt x="89" y="19"/>
                    </a:lnTo>
                    <a:lnTo>
                      <a:pt x="94" y="19"/>
                    </a:lnTo>
                    <a:lnTo>
                      <a:pt x="96" y="21"/>
                    </a:lnTo>
                    <a:lnTo>
                      <a:pt x="97" y="23"/>
                    </a:lnTo>
                    <a:lnTo>
                      <a:pt x="97" y="24"/>
                    </a:lnTo>
                    <a:lnTo>
                      <a:pt x="94" y="28"/>
                    </a:lnTo>
                    <a:lnTo>
                      <a:pt x="90" y="30"/>
                    </a:lnTo>
                    <a:lnTo>
                      <a:pt x="83" y="30"/>
                    </a:lnTo>
                    <a:lnTo>
                      <a:pt x="83" y="30"/>
                    </a:lnTo>
                    <a:lnTo>
                      <a:pt x="70" y="31"/>
                    </a:lnTo>
                    <a:lnTo>
                      <a:pt x="59" y="33"/>
                    </a:lnTo>
                    <a:lnTo>
                      <a:pt x="49" y="33"/>
                    </a:lnTo>
                    <a:lnTo>
                      <a:pt x="43" y="31"/>
                    </a:lnTo>
                    <a:lnTo>
                      <a:pt x="40" y="30"/>
                    </a:lnTo>
                    <a:lnTo>
                      <a:pt x="40" y="30"/>
                    </a:lnTo>
                    <a:lnTo>
                      <a:pt x="33" y="24"/>
                    </a:lnTo>
                    <a:lnTo>
                      <a:pt x="26" y="23"/>
                    </a:lnTo>
                    <a:lnTo>
                      <a:pt x="14" y="21"/>
                    </a:lnTo>
                    <a:lnTo>
                      <a:pt x="3" y="21"/>
                    </a:lnTo>
                    <a:lnTo>
                      <a:pt x="2" y="19"/>
                    </a:lnTo>
                    <a:lnTo>
                      <a:pt x="0" y="16"/>
                    </a:lnTo>
                    <a:lnTo>
                      <a:pt x="0"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2" name="Freeform 2221">
                <a:extLst>
                  <a:ext uri="{FF2B5EF4-FFF2-40B4-BE49-F238E27FC236}">
                    <a16:creationId xmlns:a16="http://schemas.microsoft.com/office/drawing/2014/main" id="{6CF61C88-F97E-4994-885E-5F6D0036A3FB}"/>
                  </a:ext>
                </a:extLst>
              </p:cNvPr>
              <p:cNvSpPr>
                <a:spLocks noEditPoints="1"/>
              </p:cNvSpPr>
              <p:nvPr/>
            </p:nvSpPr>
            <p:spPr bwMode="auto">
              <a:xfrm>
                <a:off x="4591050" y="2930525"/>
                <a:ext cx="166688" cy="185738"/>
              </a:xfrm>
              <a:custGeom>
                <a:avLst/>
                <a:gdLst/>
                <a:ahLst/>
                <a:cxnLst>
                  <a:cxn ang="0">
                    <a:pos x="115" y="134"/>
                  </a:cxn>
                  <a:cxn ang="0">
                    <a:pos x="143" y="150"/>
                  </a:cxn>
                  <a:cxn ang="0">
                    <a:pos x="157" y="176"/>
                  </a:cxn>
                  <a:cxn ang="0">
                    <a:pos x="139" y="164"/>
                  </a:cxn>
                  <a:cxn ang="0">
                    <a:pos x="118" y="148"/>
                  </a:cxn>
                  <a:cxn ang="0">
                    <a:pos x="10" y="166"/>
                  </a:cxn>
                  <a:cxn ang="0">
                    <a:pos x="19" y="167"/>
                  </a:cxn>
                  <a:cxn ang="0">
                    <a:pos x="21" y="176"/>
                  </a:cxn>
                  <a:cxn ang="0">
                    <a:pos x="31" y="44"/>
                  </a:cxn>
                  <a:cxn ang="0">
                    <a:pos x="30" y="61"/>
                  </a:cxn>
                  <a:cxn ang="0">
                    <a:pos x="19" y="80"/>
                  </a:cxn>
                  <a:cxn ang="0">
                    <a:pos x="10" y="92"/>
                  </a:cxn>
                  <a:cxn ang="0">
                    <a:pos x="7" y="115"/>
                  </a:cxn>
                  <a:cxn ang="0">
                    <a:pos x="24" y="133"/>
                  </a:cxn>
                  <a:cxn ang="0">
                    <a:pos x="30" y="138"/>
                  </a:cxn>
                  <a:cxn ang="0">
                    <a:pos x="37" y="167"/>
                  </a:cxn>
                  <a:cxn ang="0">
                    <a:pos x="59" y="162"/>
                  </a:cxn>
                  <a:cxn ang="0">
                    <a:pos x="85" y="164"/>
                  </a:cxn>
                  <a:cxn ang="0">
                    <a:pos x="110" y="174"/>
                  </a:cxn>
                  <a:cxn ang="0">
                    <a:pos x="78" y="173"/>
                  </a:cxn>
                  <a:cxn ang="0">
                    <a:pos x="54" y="173"/>
                  </a:cxn>
                  <a:cxn ang="0">
                    <a:pos x="40" y="183"/>
                  </a:cxn>
                  <a:cxn ang="0">
                    <a:pos x="42" y="199"/>
                  </a:cxn>
                  <a:cxn ang="0">
                    <a:pos x="52" y="218"/>
                  </a:cxn>
                  <a:cxn ang="0">
                    <a:pos x="64" y="237"/>
                  </a:cxn>
                  <a:cxn ang="0">
                    <a:pos x="78" y="237"/>
                  </a:cxn>
                  <a:cxn ang="0">
                    <a:pos x="87" y="242"/>
                  </a:cxn>
                  <a:cxn ang="0">
                    <a:pos x="104" y="254"/>
                  </a:cxn>
                  <a:cxn ang="0">
                    <a:pos x="94" y="209"/>
                  </a:cxn>
                  <a:cxn ang="0">
                    <a:pos x="104" y="207"/>
                  </a:cxn>
                  <a:cxn ang="0">
                    <a:pos x="120" y="209"/>
                  </a:cxn>
                  <a:cxn ang="0">
                    <a:pos x="108" y="197"/>
                  </a:cxn>
                  <a:cxn ang="0">
                    <a:pos x="118" y="180"/>
                  </a:cxn>
                  <a:cxn ang="0">
                    <a:pos x="139" y="197"/>
                  </a:cxn>
                  <a:cxn ang="0">
                    <a:pos x="139" y="176"/>
                  </a:cxn>
                  <a:cxn ang="0">
                    <a:pos x="124" y="160"/>
                  </a:cxn>
                  <a:cxn ang="0">
                    <a:pos x="104" y="146"/>
                  </a:cxn>
                  <a:cxn ang="0">
                    <a:pos x="101" y="133"/>
                  </a:cxn>
                  <a:cxn ang="0">
                    <a:pos x="104" y="119"/>
                  </a:cxn>
                  <a:cxn ang="0">
                    <a:pos x="111" y="126"/>
                  </a:cxn>
                  <a:cxn ang="0">
                    <a:pos x="87" y="77"/>
                  </a:cxn>
                  <a:cxn ang="0">
                    <a:pos x="99" y="56"/>
                  </a:cxn>
                  <a:cxn ang="0">
                    <a:pos x="110" y="72"/>
                  </a:cxn>
                  <a:cxn ang="0">
                    <a:pos x="124" y="89"/>
                  </a:cxn>
                  <a:cxn ang="0">
                    <a:pos x="118" y="73"/>
                  </a:cxn>
                  <a:cxn ang="0">
                    <a:pos x="139" y="84"/>
                  </a:cxn>
                  <a:cxn ang="0">
                    <a:pos x="143" y="75"/>
                  </a:cxn>
                  <a:cxn ang="0">
                    <a:pos x="136" y="65"/>
                  </a:cxn>
                  <a:cxn ang="0">
                    <a:pos x="129" y="52"/>
                  </a:cxn>
                  <a:cxn ang="0">
                    <a:pos x="155" y="40"/>
                  </a:cxn>
                  <a:cxn ang="0">
                    <a:pos x="178" y="39"/>
                  </a:cxn>
                  <a:cxn ang="0">
                    <a:pos x="207" y="44"/>
                  </a:cxn>
                  <a:cxn ang="0">
                    <a:pos x="219" y="28"/>
                  </a:cxn>
                  <a:cxn ang="0">
                    <a:pos x="219" y="2"/>
                  </a:cxn>
                  <a:cxn ang="0">
                    <a:pos x="212" y="18"/>
                  </a:cxn>
                  <a:cxn ang="0">
                    <a:pos x="179" y="23"/>
                  </a:cxn>
                  <a:cxn ang="0">
                    <a:pos x="164" y="18"/>
                  </a:cxn>
                  <a:cxn ang="0">
                    <a:pos x="148" y="11"/>
                  </a:cxn>
                  <a:cxn ang="0">
                    <a:pos x="120" y="18"/>
                  </a:cxn>
                  <a:cxn ang="0">
                    <a:pos x="101" y="19"/>
                  </a:cxn>
                  <a:cxn ang="0">
                    <a:pos x="77" y="30"/>
                  </a:cxn>
                  <a:cxn ang="0">
                    <a:pos x="57" y="40"/>
                  </a:cxn>
                </a:cxnLst>
                <a:rect l="0" t="0" r="r" b="b"/>
                <a:pathLst>
                  <a:path w="230" h="256">
                    <a:moveTo>
                      <a:pt x="98" y="141"/>
                    </a:moveTo>
                    <a:lnTo>
                      <a:pt x="98" y="141"/>
                    </a:lnTo>
                    <a:lnTo>
                      <a:pt x="98" y="139"/>
                    </a:lnTo>
                    <a:lnTo>
                      <a:pt x="99" y="138"/>
                    </a:lnTo>
                    <a:lnTo>
                      <a:pt x="104" y="134"/>
                    </a:lnTo>
                    <a:lnTo>
                      <a:pt x="111" y="134"/>
                    </a:lnTo>
                    <a:lnTo>
                      <a:pt x="115" y="134"/>
                    </a:lnTo>
                    <a:lnTo>
                      <a:pt x="117" y="136"/>
                    </a:lnTo>
                    <a:lnTo>
                      <a:pt x="117" y="136"/>
                    </a:lnTo>
                    <a:lnTo>
                      <a:pt x="124" y="141"/>
                    </a:lnTo>
                    <a:lnTo>
                      <a:pt x="129" y="145"/>
                    </a:lnTo>
                    <a:lnTo>
                      <a:pt x="136" y="146"/>
                    </a:lnTo>
                    <a:lnTo>
                      <a:pt x="141" y="148"/>
                    </a:lnTo>
                    <a:lnTo>
                      <a:pt x="143" y="150"/>
                    </a:lnTo>
                    <a:lnTo>
                      <a:pt x="143" y="152"/>
                    </a:lnTo>
                    <a:lnTo>
                      <a:pt x="143" y="152"/>
                    </a:lnTo>
                    <a:lnTo>
                      <a:pt x="146" y="166"/>
                    </a:lnTo>
                    <a:lnTo>
                      <a:pt x="148" y="169"/>
                    </a:lnTo>
                    <a:lnTo>
                      <a:pt x="153" y="173"/>
                    </a:lnTo>
                    <a:lnTo>
                      <a:pt x="153" y="173"/>
                    </a:lnTo>
                    <a:lnTo>
                      <a:pt x="157" y="176"/>
                    </a:lnTo>
                    <a:lnTo>
                      <a:pt x="158" y="180"/>
                    </a:lnTo>
                    <a:lnTo>
                      <a:pt x="157" y="183"/>
                    </a:lnTo>
                    <a:lnTo>
                      <a:pt x="153" y="183"/>
                    </a:lnTo>
                    <a:lnTo>
                      <a:pt x="153" y="183"/>
                    </a:lnTo>
                    <a:lnTo>
                      <a:pt x="148" y="178"/>
                    </a:lnTo>
                    <a:lnTo>
                      <a:pt x="145" y="171"/>
                    </a:lnTo>
                    <a:lnTo>
                      <a:pt x="139" y="164"/>
                    </a:lnTo>
                    <a:lnTo>
                      <a:pt x="136" y="162"/>
                    </a:lnTo>
                    <a:lnTo>
                      <a:pt x="132" y="162"/>
                    </a:lnTo>
                    <a:lnTo>
                      <a:pt x="132" y="162"/>
                    </a:lnTo>
                    <a:lnTo>
                      <a:pt x="127" y="160"/>
                    </a:lnTo>
                    <a:lnTo>
                      <a:pt x="125" y="157"/>
                    </a:lnTo>
                    <a:lnTo>
                      <a:pt x="124" y="153"/>
                    </a:lnTo>
                    <a:lnTo>
                      <a:pt x="118" y="148"/>
                    </a:lnTo>
                    <a:lnTo>
                      <a:pt x="118" y="148"/>
                    </a:lnTo>
                    <a:lnTo>
                      <a:pt x="104" y="141"/>
                    </a:lnTo>
                    <a:lnTo>
                      <a:pt x="98" y="141"/>
                    </a:lnTo>
                    <a:lnTo>
                      <a:pt x="98" y="141"/>
                    </a:lnTo>
                    <a:close/>
                    <a:moveTo>
                      <a:pt x="10" y="169"/>
                    </a:moveTo>
                    <a:lnTo>
                      <a:pt x="10" y="169"/>
                    </a:lnTo>
                    <a:lnTo>
                      <a:pt x="10" y="166"/>
                    </a:lnTo>
                    <a:lnTo>
                      <a:pt x="12" y="164"/>
                    </a:lnTo>
                    <a:lnTo>
                      <a:pt x="14" y="164"/>
                    </a:lnTo>
                    <a:lnTo>
                      <a:pt x="16" y="162"/>
                    </a:lnTo>
                    <a:lnTo>
                      <a:pt x="16" y="162"/>
                    </a:lnTo>
                    <a:lnTo>
                      <a:pt x="17" y="160"/>
                    </a:lnTo>
                    <a:lnTo>
                      <a:pt x="17" y="164"/>
                    </a:lnTo>
                    <a:lnTo>
                      <a:pt x="19" y="167"/>
                    </a:lnTo>
                    <a:lnTo>
                      <a:pt x="23" y="171"/>
                    </a:lnTo>
                    <a:lnTo>
                      <a:pt x="23" y="171"/>
                    </a:lnTo>
                    <a:lnTo>
                      <a:pt x="24" y="174"/>
                    </a:lnTo>
                    <a:lnTo>
                      <a:pt x="24" y="176"/>
                    </a:lnTo>
                    <a:lnTo>
                      <a:pt x="24" y="178"/>
                    </a:lnTo>
                    <a:lnTo>
                      <a:pt x="21" y="176"/>
                    </a:lnTo>
                    <a:lnTo>
                      <a:pt x="21" y="176"/>
                    </a:lnTo>
                    <a:lnTo>
                      <a:pt x="17" y="174"/>
                    </a:lnTo>
                    <a:lnTo>
                      <a:pt x="14" y="174"/>
                    </a:lnTo>
                    <a:lnTo>
                      <a:pt x="10" y="173"/>
                    </a:lnTo>
                    <a:lnTo>
                      <a:pt x="10" y="169"/>
                    </a:lnTo>
                    <a:lnTo>
                      <a:pt x="10" y="169"/>
                    </a:lnTo>
                    <a:close/>
                    <a:moveTo>
                      <a:pt x="31" y="44"/>
                    </a:moveTo>
                    <a:lnTo>
                      <a:pt x="31" y="44"/>
                    </a:lnTo>
                    <a:lnTo>
                      <a:pt x="31" y="47"/>
                    </a:lnTo>
                    <a:lnTo>
                      <a:pt x="33" y="51"/>
                    </a:lnTo>
                    <a:lnTo>
                      <a:pt x="35" y="52"/>
                    </a:lnTo>
                    <a:lnTo>
                      <a:pt x="33" y="58"/>
                    </a:lnTo>
                    <a:lnTo>
                      <a:pt x="33" y="58"/>
                    </a:lnTo>
                    <a:lnTo>
                      <a:pt x="31" y="59"/>
                    </a:lnTo>
                    <a:lnTo>
                      <a:pt x="30" y="61"/>
                    </a:lnTo>
                    <a:lnTo>
                      <a:pt x="28" y="61"/>
                    </a:lnTo>
                    <a:lnTo>
                      <a:pt x="26" y="63"/>
                    </a:lnTo>
                    <a:lnTo>
                      <a:pt x="24" y="65"/>
                    </a:lnTo>
                    <a:lnTo>
                      <a:pt x="23" y="75"/>
                    </a:lnTo>
                    <a:lnTo>
                      <a:pt x="23" y="75"/>
                    </a:lnTo>
                    <a:lnTo>
                      <a:pt x="21" y="79"/>
                    </a:lnTo>
                    <a:lnTo>
                      <a:pt x="19" y="80"/>
                    </a:lnTo>
                    <a:lnTo>
                      <a:pt x="16" y="82"/>
                    </a:lnTo>
                    <a:lnTo>
                      <a:pt x="12" y="84"/>
                    </a:lnTo>
                    <a:lnTo>
                      <a:pt x="9" y="86"/>
                    </a:lnTo>
                    <a:lnTo>
                      <a:pt x="9" y="86"/>
                    </a:lnTo>
                    <a:lnTo>
                      <a:pt x="9" y="87"/>
                    </a:lnTo>
                    <a:lnTo>
                      <a:pt x="10" y="91"/>
                    </a:lnTo>
                    <a:lnTo>
                      <a:pt x="10" y="92"/>
                    </a:lnTo>
                    <a:lnTo>
                      <a:pt x="12" y="94"/>
                    </a:lnTo>
                    <a:lnTo>
                      <a:pt x="12" y="94"/>
                    </a:lnTo>
                    <a:lnTo>
                      <a:pt x="10" y="96"/>
                    </a:lnTo>
                    <a:lnTo>
                      <a:pt x="7" y="98"/>
                    </a:lnTo>
                    <a:lnTo>
                      <a:pt x="0" y="101"/>
                    </a:lnTo>
                    <a:lnTo>
                      <a:pt x="0" y="101"/>
                    </a:lnTo>
                    <a:lnTo>
                      <a:pt x="7" y="115"/>
                    </a:lnTo>
                    <a:lnTo>
                      <a:pt x="12" y="122"/>
                    </a:lnTo>
                    <a:lnTo>
                      <a:pt x="17" y="127"/>
                    </a:lnTo>
                    <a:lnTo>
                      <a:pt x="21" y="131"/>
                    </a:lnTo>
                    <a:lnTo>
                      <a:pt x="21" y="131"/>
                    </a:lnTo>
                    <a:lnTo>
                      <a:pt x="23" y="134"/>
                    </a:lnTo>
                    <a:lnTo>
                      <a:pt x="24" y="133"/>
                    </a:lnTo>
                    <a:lnTo>
                      <a:pt x="24" y="133"/>
                    </a:lnTo>
                    <a:lnTo>
                      <a:pt x="28" y="133"/>
                    </a:lnTo>
                    <a:lnTo>
                      <a:pt x="31" y="133"/>
                    </a:lnTo>
                    <a:lnTo>
                      <a:pt x="37" y="136"/>
                    </a:lnTo>
                    <a:lnTo>
                      <a:pt x="37" y="136"/>
                    </a:lnTo>
                    <a:lnTo>
                      <a:pt x="38" y="138"/>
                    </a:lnTo>
                    <a:lnTo>
                      <a:pt x="37" y="138"/>
                    </a:lnTo>
                    <a:lnTo>
                      <a:pt x="30" y="138"/>
                    </a:lnTo>
                    <a:lnTo>
                      <a:pt x="23" y="139"/>
                    </a:lnTo>
                    <a:lnTo>
                      <a:pt x="23" y="141"/>
                    </a:lnTo>
                    <a:lnTo>
                      <a:pt x="24" y="145"/>
                    </a:lnTo>
                    <a:lnTo>
                      <a:pt x="24" y="145"/>
                    </a:lnTo>
                    <a:lnTo>
                      <a:pt x="31" y="153"/>
                    </a:lnTo>
                    <a:lnTo>
                      <a:pt x="35" y="162"/>
                    </a:lnTo>
                    <a:lnTo>
                      <a:pt x="37" y="167"/>
                    </a:lnTo>
                    <a:lnTo>
                      <a:pt x="38" y="167"/>
                    </a:lnTo>
                    <a:lnTo>
                      <a:pt x="42" y="166"/>
                    </a:lnTo>
                    <a:lnTo>
                      <a:pt x="42" y="166"/>
                    </a:lnTo>
                    <a:lnTo>
                      <a:pt x="45" y="162"/>
                    </a:lnTo>
                    <a:lnTo>
                      <a:pt x="47" y="162"/>
                    </a:lnTo>
                    <a:lnTo>
                      <a:pt x="51" y="164"/>
                    </a:lnTo>
                    <a:lnTo>
                      <a:pt x="59" y="162"/>
                    </a:lnTo>
                    <a:lnTo>
                      <a:pt x="59" y="162"/>
                    </a:lnTo>
                    <a:lnTo>
                      <a:pt x="70" y="162"/>
                    </a:lnTo>
                    <a:lnTo>
                      <a:pt x="73" y="164"/>
                    </a:lnTo>
                    <a:lnTo>
                      <a:pt x="77" y="164"/>
                    </a:lnTo>
                    <a:lnTo>
                      <a:pt x="80" y="164"/>
                    </a:lnTo>
                    <a:lnTo>
                      <a:pt x="80" y="164"/>
                    </a:lnTo>
                    <a:lnTo>
                      <a:pt x="85" y="164"/>
                    </a:lnTo>
                    <a:lnTo>
                      <a:pt x="91" y="167"/>
                    </a:lnTo>
                    <a:lnTo>
                      <a:pt x="96" y="169"/>
                    </a:lnTo>
                    <a:lnTo>
                      <a:pt x="101" y="171"/>
                    </a:lnTo>
                    <a:lnTo>
                      <a:pt x="101" y="171"/>
                    </a:lnTo>
                    <a:lnTo>
                      <a:pt x="106" y="171"/>
                    </a:lnTo>
                    <a:lnTo>
                      <a:pt x="110" y="173"/>
                    </a:lnTo>
                    <a:lnTo>
                      <a:pt x="110" y="174"/>
                    </a:lnTo>
                    <a:lnTo>
                      <a:pt x="110" y="176"/>
                    </a:lnTo>
                    <a:lnTo>
                      <a:pt x="104" y="178"/>
                    </a:lnTo>
                    <a:lnTo>
                      <a:pt x="104" y="178"/>
                    </a:lnTo>
                    <a:lnTo>
                      <a:pt x="96" y="180"/>
                    </a:lnTo>
                    <a:lnTo>
                      <a:pt x="92" y="180"/>
                    </a:lnTo>
                    <a:lnTo>
                      <a:pt x="78" y="173"/>
                    </a:lnTo>
                    <a:lnTo>
                      <a:pt x="78" y="173"/>
                    </a:lnTo>
                    <a:lnTo>
                      <a:pt x="70" y="167"/>
                    </a:lnTo>
                    <a:lnTo>
                      <a:pt x="64" y="166"/>
                    </a:lnTo>
                    <a:lnTo>
                      <a:pt x="61" y="167"/>
                    </a:lnTo>
                    <a:lnTo>
                      <a:pt x="57" y="171"/>
                    </a:lnTo>
                    <a:lnTo>
                      <a:pt x="57" y="171"/>
                    </a:lnTo>
                    <a:lnTo>
                      <a:pt x="56" y="173"/>
                    </a:lnTo>
                    <a:lnTo>
                      <a:pt x="54" y="173"/>
                    </a:lnTo>
                    <a:lnTo>
                      <a:pt x="49" y="173"/>
                    </a:lnTo>
                    <a:lnTo>
                      <a:pt x="45" y="173"/>
                    </a:lnTo>
                    <a:lnTo>
                      <a:pt x="44" y="174"/>
                    </a:lnTo>
                    <a:lnTo>
                      <a:pt x="42" y="178"/>
                    </a:lnTo>
                    <a:lnTo>
                      <a:pt x="42" y="178"/>
                    </a:lnTo>
                    <a:lnTo>
                      <a:pt x="42" y="181"/>
                    </a:lnTo>
                    <a:lnTo>
                      <a:pt x="40" y="183"/>
                    </a:lnTo>
                    <a:lnTo>
                      <a:pt x="38" y="186"/>
                    </a:lnTo>
                    <a:lnTo>
                      <a:pt x="37" y="186"/>
                    </a:lnTo>
                    <a:lnTo>
                      <a:pt x="38" y="190"/>
                    </a:lnTo>
                    <a:lnTo>
                      <a:pt x="38" y="190"/>
                    </a:lnTo>
                    <a:lnTo>
                      <a:pt x="42" y="193"/>
                    </a:lnTo>
                    <a:lnTo>
                      <a:pt x="42" y="197"/>
                    </a:lnTo>
                    <a:lnTo>
                      <a:pt x="42" y="199"/>
                    </a:lnTo>
                    <a:lnTo>
                      <a:pt x="47" y="200"/>
                    </a:lnTo>
                    <a:lnTo>
                      <a:pt x="47" y="200"/>
                    </a:lnTo>
                    <a:lnTo>
                      <a:pt x="51" y="200"/>
                    </a:lnTo>
                    <a:lnTo>
                      <a:pt x="52" y="202"/>
                    </a:lnTo>
                    <a:lnTo>
                      <a:pt x="56" y="206"/>
                    </a:lnTo>
                    <a:lnTo>
                      <a:pt x="54" y="213"/>
                    </a:lnTo>
                    <a:lnTo>
                      <a:pt x="52" y="218"/>
                    </a:lnTo>
                    <a:lnTo>
                      <a:pt x="52" y="218"/>
                    </a:lnTo>
                    <a:lnTo>
                      <a:pt x="52" y="221"/>
                    </a:lnTo>
                    <a:lnTo>
                      <a:pt x="52" y="225"/>
                    </a:lnTo>
                    <a:lnTo>
                      <a:pt x="57" y="234"/>
                    </a:lnTo>
                    <a:lnTo>
                      <a:pt x="61" y="237"/>
                    </a:lnTo>
                    <a:lnTo>
                      <a:pt x="63" y="239"/>
                    </a:lnTo>
                    <a:lnTo>
                      <a:pt x="64" y="237"/>
                    </a:lnTo>
                    <a:lnTo>
                      <a:pt x="66" y="234"/>
                    </a:lnTo>
                    <a:lnTo>
                      <a:pt x="66" y="234"/>
                    </a:lnTo>
                    <a:lnTo>
                      <a:pt x="68" y="228"/>
                    </a:lnTo>
                    <a:lnTo>
                      <a:pt x="68" y="227"/>
                    </a:lnTo>
                    <a:lnTo>
                      <a:pt x="71" y="227"/>
                    </a:lnTo>
                    <a:lnTo>
                      <a:pt x="73" y="228"/>
                    </a:lnTo>
                    <a:lnTo>
                      <a:pt x="78" y="237"/>
                    </a:lnTo>
                    <a:lnTo>
                      <a:pt x="80" y="247"/>
                    </a:lnTo>
                    <a:lnTo>
                      <a:pt x="80" y="247"/>
                    </a:lnTo>
                    <a:lnTo>
                      <a:pt x="80" y="254"/>
                    </a:lnTo>
                    <a:lnTo>
                      <a:pt x="82" y="256"/>
                    </a:lnTo>
                    <a:lnTo>
                      <a:pt x="84" y="256"/>
                    </a:lnTo>
                    <a:lnTo>
                      <a:pt x="85" y="251"/>
                    </a:lnTo>
                    <a:lnTo>
                      <a:pt x="87" y="242"/>
                    </a:lnTo>
                    <a:lnTo>
                      <a:pt x="87" y="242"/>
                    </a:lnTo>
                    <a:lnTo>
                      <a:pt x="89" y="237"/>
                    </a:lnTo>
                    <a:lnTo>
                      <a:pt x="91" y="235"/>
                    </a:lnTo>
                    <a:lnTo>
                      <a:pt x="92" y="237"/>
                    </a:lnTo>
                    <a:lnTo>
                      <a:pt x="96" y="242"/>
                    </a:lnTo>
                    <a:lnTo>
                      <a:pt x="101" y="251"/>
                    </a:lnTo>
                    <a:lnTo>
                      <a:pt x="104" y="254"/>
                    </a:lnTo>
                    <a:lnTo>
                      <a:pt x="108" y="254"/>
                    </a:lnTo>
                    <a:lnTo>
                      <a:pt x="108" y="254"/>
                    </a:lnTo>
                    <a:lnTo>
                      <a:pt x="108" y="254"/>
                    </a:lnTo>
                    <a:lnTo>
                      <a:pt x="108" y="251"/>
                    </a:lnTo>
                    <a:lnTo>
                      <a:pt x="108" y="246"/>
                    </a:lnTo>
                    <a:lnTo>
                      <a:pt x="101" y="227"/>
                    </a:lnTo>
                    <a:lnTo>
                      <a:pt x="94" y="209"/>
                    </a:lnTo>
                    <a:lnTo>
                      <a:pt x="92" y="202"/>
                    </a:lnTo>
                    <a:lnTo>
                      <a:pt x="92" y="200"/>
                    </a:lnTo>
                    <a:lnTo>
                      <a:pt x="94" y="200"/>
                    </a:lnTo>
                    <a:lnTo>
                      <a:pt x="94" y="200"/>
                    </a:lnTo>
                    <a:lnTo>
                      <a:pt x="99" y="202"/>
                    </a:lnTo>
                    <a:lnTo>
                      <a:pt x="103" y="204"/>
                    </a:lnTo>
                    <a:lnTo>
                      <a:pt x="104" y="207"/>
                    </a:lnTo>
                    <a:lnTo>
                      <a:pt x="106" y="211"/>
                    </a:lnTo>
                    <a:lnTo>
                      <a:pt x="106" y="211"/>
                    </a:lnTo>
                    <a:lnTo>
                      <a:pt x="108" y="214"/>
                    </a:lnTo>
                    <a:lnTo>
                      <a:pt x="111" y="214"/>
                    </a:lnTo>
                    <a:lnTo>
                      <a:pt x="118" y="211"/>
                    </a:lnTo>
                    <a:lnTo>
                      <a:pt x="118" y="211"/>
                    </a:lnTo>
                    <a:lnTo>
                      <a:pt x="120" y="209"/>
                    </a:lnTo>
                    <a:lnTo>
                      <a:pt x="122" y="207"/>
                    </a:lnTo>
                    <a:lnTo>
                      <a:pt x="120" y="204"/>
                    </a:lnTo>
                    <a:lnTo>
                      <a:pt x="117" y="200"/>
                    </a:lnTo>
                    <a:lnTo>
                      <a:pt x="111" y="199"/>
                    </a:lnTo>
                    <a:lnTo>
                      <a:pt x="111" y="199"/>
                    </a:lnTo>
                    <a:lnTo>
                      <a:pt x="108" y="199"/>
                    </a:lnTo>
                    <a:lnTo>
                      <a:pt x="108" y="197"/>
                    </a:lnTo>
                    <a:lnTo>
                      <a:pt x="108" y="193"/>
                    </a:lnTo>
                    <a:lnTo>
                      <a:pt x="106" y="190"/>
                    </a:lnTo>
                    <a:lnTo>
                      <a:pt x="106" y="190"/>
                    </a:lnTo>
                    <a:lnTo>
                      <a:pt x="104" y="188"/>
                    </a:lnTo>
                    <a:lnTo>
                      <a:pt x="106" y="185"/>
                    </a:lnTo>
                    <a:lnTo>
                      <a:pt x="111" y="181"/>
                    </a:lnTo>
                    <a:lnTo>
                      <a:pt x="118" y="180"/>
                    </a:lnTo>
                    <a:lnTo>
                      <a:pt x="122" y="180"/>
                    </a:lnTo>
                    <a:lnTo>
                      <a:pt x="124" y="181"/>
                    </a:lnTo>
                    <a:lnTo>
                      <a:pt x="124" y="181"/>
                    </a:lnTo>
                    <a:lnTo>
                      <a:pt x="131" y="192"/>
                    </a:lnTo>
                    <a:lnTo>
                      <a:pt x="136" y="195"/>
                    </a:lnTo>
                    <a:lnTo>
                      <a:pt x="138" y="197"/>
                    </a:lnTo>
                    <a:lnTo>
                      <a:pt x="139" y="197"/>
                    </a:lnTo>
                    <a:lnTo>
                      <a:pt x="139" y="197"/>
                    </a:lnTo>
                    <a:lnTo>
                      <a:pt x="141" y="195"/>
                    </a:lnTo>
                    <a:lnTo>
                      <a:pt x="141" y="193"/>
                    </a:lnTo>
                    <a:lnTo>
                      <a:pt x="141" y="188"/>
                    </a:lnTo>
                    <a:lnTo>
                      <a:pt x="139" y="181"/>
                    </a:lnTo>
                    <a:lnTo>
                      <a:pt x="139" y="176"/>
                    </a:lnTo>
                    <a:lnTo>
                      <a:pt x="139" y="176"/>
                    </a:lnTo>
                    <a:lnTo>
                      <a:pt x="139" y="173"/>
                    </a:lnTo>
                    <a:lnTo>
                      <a:pt x="139" y="171"/>
                    </a:lnTo>
                    <a:lnTo>
                      <a:pt x="134" y="169"/>
                    </a:lnTo>
                    <a:lnTo>
                      <a:pt x="127" y="166"/>
                    </a:lnTo>
                    <a:lnTo>
                      <a:pt x="125" y="164"/>
                    </a:lnTo>
                    <a:lnTo>
                      <a:pt x="124" y="160"/>
                    </a:lnTo>
                    <a:lnTo>
                      <a:pt x="124" y="160"/>
                    </a:lnTo>
                    <a:lnTo>
                      <a:pt x="120" y="157"/>
                    </a:lnTo>
                    <a:lnTo>
                      <a:pt x="118" y="157"/>
                    </a:lnTo>
                    <a:lnTo>
                      <a:pt x="115" y="155"/>
                    </a:lnTo>
                    <a:lnTo>
                      <a:pt x="111" y="152"/>
                    </a:lnTo>
                    <a:lnTo>
                      <a:pt x="111" y="152"/>
                    </a:lnTo>
                    <a:lnTo>
                      <a:pt x="110" y="148"/>
                    </a:lnTo>
                    <a:lnTo>
                      <a:pt x="104" y="146"/>
                    </a:lnTo>
                    <a:lnTo>
                      <a:pt x="94" y="141"/>
                    </a:lnTo>
                    <a:lnTo>
                      <a:pt x="87" y="139"/>
                    </a:lnTo>
                    <a:lnTo>
                      <a:pt x="87" y="138"/>
                    </a:lnTo>
                    <a:lnTo>
                      <a:pt x="92" y="138"/>
                    </a:lnTo>
                    <a:lnTo>
                      <a:pt x="92" y="138"/>
                    </a:lnTo>
                    <a:lnTo>
                      <a:pt x="99" y="136"/>
                    </a:lnTo>
                    <a:lnTo>
                      <a:pt x="101" y="133"/>
                    </a:lnTo>
                    <a:lnTo>
                      <a:pt x="101" y="129"/>
                    </a:lnTo>
                    <a:lnTo>
                      <a:pt x="101" y="126"/>
                    </a:lnTo>
                    <a:lnTo>
                      <a:pt x="98" y="120"/>
                    </a:lnTo>
                    <a:lnTo>
                      <a:pt x="99" y="119"/>
                    </a:lnTo>
                    <a:lnTo>
                      <a:pt x="103" y="117"/>
                    </a:lnTo>
                    <a:lnTo>
                      <a:pt x="103" y="117"/>
                    </a:lnTo>
                    <a:lnTo>
                      <a:pt x="104" y="119"/>
                    </a:lnTo>
                    <a:lnTo>
                      <a:pt x="106" y="120"/>
                    </a:lnTo>
                    <a:lnTo>
                      <a:pt x="106" y="124"/>
                    </a:lnTo>
                    <a:lnTo>
                      <a:pt x="106" y="129"/>
                    </a:lnTo>
                    <a:lnTo>
                      <a:pt x="108" y="129"/>
                    </a:lnTo>
                    <a:lnTo>
                      <a:pt x="110" y="127"/>
                    </a:lnTo>
                    <a:lnTo>
                      <a:pt x="110" y="127"/>
                    </a:lnTo>
                    <a:lnTo>
                      <a:pt x="111" y="126"/>
                    </a:lnTo>
                    <a:lnTo>
                      <a:pt x="113" y="124"/>
                    </a:lnTo>
                    <a:lnTo>
                      <a:pt x="111" y="117"/>
                    </a:lnTo>
                    <a:lnTo>
                      <a:pt x="106" y="110"/>
                    </a:lnTo>
                    <a:lnTo>
                      <a:pt x="101" y="101"/>
                    </a:lnTo>
                    <a:lnTo>
                      <a:pt x="94" y="92"/>
                    </a:lnTo>
                    <a:lnTo>
                      <a:pt x="89" y="86"/>
                    </a:lnTo>
                    <a:lnTo>
                      <a:pt x="87" y="77"/>
                    </a:lnTo>
                    <a:lnTo>
                      <a:pt x="85" y="73"/>
                    </a:lnTo>
                    <a:lnTo>
                      <a:pt x="87" y="68"/>
                    </a:lnTo>
                    <a:lnTo>
                      <a:pt x="87" y="68"/>
                    </a:lnTo>
                    <a:lnTo>
                      <a:pt x="91" y="63"/>
                    </a:lnTo>
                    <a:lnTo>
                      <a:pt x="96" y="58"/>
                    </a:lnTo>
                    <a:lnTo>
                      <a:pt x="98" y="56"/>
                    </a:lnTo>
                    <a:lnTo>
                      <a:pt x="99" y="56"/>
                    </a:lnTo>
                    <a:lnTo>
                      <a:pt x="99" y="59"/>
                    </a:lnTo>
                    <a:lnTo>
                      <a:pt x="99" y="63"/>
                    </a:lnTo>
                    <a:lnTo>
                      <a:pt x="99" y="63"/>
                    </a:lnTo>
                    <a:lnTo>
                      <a:pt x="99" y="66"/>
                    </a:lnTo>
                    <a:lnTo>
                      <a:pt x="101" y="68"/>
                    </a:lnTo>
                    <a:lnTo>
                      <a:pt x="104" y="68"/>
                    </a:lnTo>
                    <a:lnTo>
                      <a:pt x="110" y="72"/>
                    </a:lnTo>
                    <a:lnTo>
                      <a:pt x="111" y="75"/>
                    </a:lnTo>
                    <a:lnTo>
                      <a:pt x="113" y="80"/>
                    </a:lnTo>
                    <a:lnTo>
                      <a:pt x="113" y="80"/>
                    </a:lnTo>
                    <a:lnTo>
                      <a:pt x="115" y="84"/>
                    </a:lnTo>
                    <a:lnTo>
                      <a:pt x="117" y="87"/>
                    </a:lnTo>
                    <a:lnTo>
                      <a:pt x="122" y="89"/>
                    </a:lnTo>
                    <a:lnTo>
                      <a:pt x="124" y="89"/>
                    </a:lnTo>
                    <a:lnTo>
                      <a:pt x="125" y="87"/>
                    </a:lnTo>
                    <a:lnTo>
                      <a:pt x="125" y="86"/>
                    </a:lnTo>
                    <a:lnTo>
                      <a:pt x="124" y="84"/>
                    </a:lnTo>
                    <a:lnTo>
                      <a:pt x="124" y="84"/>
                    </a:lnTo>
                    <a:lnTo>
                      <a:pt x="120" y="79"/>
                    </a:lnTo>
                    <a:lnTo>
                      <a:pt x="118" y="73"/>
                    </a:lnTo>
                    <a:lnTo>
                      <a:pt x="118" y="73"/>
                    </a:lnTo>
                    <a:lnTo>
                      <a:pt x="120" y="73"/>
                    </a:lnTo>
                    <a:lnTo>
                      <a:pt x="127" y="79"/>
                    </a:lnTo>
                    <a:lnTo>
                      <a:pt x="127" y="79"/>
                    </a:lnTo>
                    <a:lnTo>
                      <a:pt x="134" y="86"/>
                    </a:lnTo>
                    <a:lnTo>
                      <a:pt x="138" y="87"/>
                    </a:lnTo>
                    <a:lnTo>
                      <a:pt x="139" y="86"/>
                    </a:lnTo>
                    <a:lnTo>
                      <a:pt x="139" y="84"/>
                    </a:lnTo>
                    <a:lnTo>
                      <a:pt x="134" y="77"/>
                    </a:lnTo>
                    <a:lnTo>
                      <a:pt x="134" y="77"/>
                    </a:lnTo>
                    <a:lnTo>
                      <a:pt x="129" y="70"/>
                    </a:lnTo>
                    <a:lnTo>
                      <a:pt x="129" y="70"/>
                    </a:lnTo>
                    <a:lnTo>
                      <a:pt x="131" y="70"/>
                    </a:lnTo>
                    <a:lnTo>
                      <a:pt x="143" y="75"/>
                    </a:lnTo>
                    <a:lnTo>
                      <a:pt x="143" y="75"/>
                    </a:lnTo>
                    <a:lnTo>
                      <a:pt x="148" y="79"/>
                    </a:lnTo>
                    <a:lnTo>
                      <a:pt x="152" y="79"/>
                    </a:lnTo>
                    <a:lnTo>
                      <a:pt x="152" y="77"/>
                    </a:lnTo>
                    <a:lnTo>
                      <a:pt x="146" y="72"/>
                    </a:lnTo>
                    <a:lnTo>
                      <a:pt x="146" y="72"/>
                    </a:lnTo>
                    <a:lnTo>
                      <a:pt x="139" y="66"/>
                    </a:lnTo>
                    <a:lnTo>
                      <a:pt x="136" y="65"/>
                    </a:lnTo>
                    <a:lnTo>
                      <a:pt x="132" y="65"/>
                    </a:lnTo>
                    <a:lnTo>
                      <a:pt x="132" y="61"/>
                    </a:lnTo>
                    <a:lnTo>
                      <a:pt x="132" y="61"/>
                    </a:lnTo>
                    <a:lnTo>
                      <a:pt x="134" y="59"/>
                    </a:lnTo>
                    <a:lnTo>
                      <a:pt x="132" y="58"/>
                    </a:lnTo>
                    <a:lnTo>
                      <a:pt x="131" y="54"/>
                    </a:lnTo>
                    <a:lnTo>
                      <a:pt x="129" y="52"/>
                    </a:lnTo>
                    <a:lnTo>
                      <a:pt x="129" y="52"/>
                    </a:lnTo>
                    <a:lnTo>
                      <a:pt x="136" y="51"/>
                    </a:lnTo>
                    <a:lnTo>
                      <a:pt x="136" y="51"/>
                    </a:lnTo>
                    <a:lnTo>
                      <a:pt x="141" y="49"/>
                    </a:lnTo>
                    <a:lnTo>
                      <a:pt x="145" y="47"/>
                    </a:lnTo>
                    <a:lnTo>
                      <a:pt x="150" y="44"/>
                    </a:lnTo>
                    <a:lnTo>
                      <a:pt x="155" y="40"/>
                    </a:lnTo>
                    <a:lnTo>
                      <a:pt x="157" y="40"/>
                    </a:lnTo>
                    <a:lnTo>
                      <a:pt x="162" y="42"/>
                    </a:lnTo>
                    <a:lnTo>
                      <a:pt x="162" y="42"/>
                    </a:lnTo>
                    <a:lnTo>
                      <a:pt x="165" y="44"/>
                    </a:lnTo>
                    <a:lnTo>
                      <a:pt x="169" y="44"/>
                    </a:lnTo>
                    <a:lnTo>
                      <a:pt x="172" y="40"/>
                    </a:lnTo>
                    <a:lnTo>
                      <a:pt x="178" y="39"/>
                    </a:lnTo>
                    <a:lnTo>
                      <a:pt x="181" y="39"/>
                    </a:lnTo>
                    <a:lnTo>
                      <a:pt x="185" y="40"/>
                    </a:lnTo>
                    <a:lnTo>
                      <a:pt x="185" y="40"/>
                    </a:lnTo>
                    <a:lnTo>
                      <a:pt x="190" y="42"/>
                    </a:lnTo>
                    <a:lnTo>
                      <a:pt x="195" y="44"/>
                    </a:lnTo>
                    <a:lnTo>
                      <a:pt x="202" y="44"/>
                    </a:lnTo>
                    <a:lnTo>
                      <a:pt x="207" y="44"/>
                    </a:lnTo>
                    <a:lnTo>
                      <a:pt x="209" y="45"/>
                    </a:lnTo>
                    <a:lnTo>
                      <a:pt x="211" y="49"/>
                    </a:lnTo>
                    <a:lnTo>
                      <a:pt x="211" y="49"/>
                    </a:lnTo>
                    <a:lnTo>
                      <a:pt x="214" y="47"/>
                    </a:lnTo>
                    <a:lnTo>
                      <a:pt x="216" y="44"/>
                    </a:lnTo>
                    <a:lnTo>
                      <a:pt x="218" y="35"/>
                    </a:lnTo>
                    <a:lnTo>
                      <a:pt x="219" y="28"/>
                    </a:lnTo>
                    <a:lnTo>
                      <a:pt x="221" y="26"/>
                    </a:lnTo>
                    <a:lnTo>
                      <a:pt x="225" y="25"/>
                    </a:lnTo>
                    <a:lnTo>
                      <a:pt x="225" y="25"/>
                    </a:lnTo>
                    <a:lnTo>
                      <a:pt x="230" y="19"/>
                    </a:lnTo>
                    <a:lnTo>
                      <a:pt x="230" y="14"/>
                    </a:lnTo>
                    <a:lnTo>
                      <a:pt x="228" y="9"/>
                    </a:lnTo>
                    <a:lnTo>
                      <a:pt x="219" y="2"/>
                    </a:lnTo>
                    <a:lnTo>
                      <a:pt x="219" y="2"/>
                    </a:lnTo>
                    <a:lnTo>
                      <a:pt x="214" y="0"/>
                    </a:lnTo>
                    <a:lnTo>
                      <a:pt x="212" y="2"/>
                    </a:lnTo>
                    <a:lnTo>
                      <a:pt x="211" y="5"/>
                    </a:lnTo>
                    <a:lnTo>
                      <a:pt x="212" y="9"/>
                    </a:lnTo>
                    <a:lnTo>
                      <a:pt x="212" y="12"/>
                    </a:lnTo>
                    <a:lnTo>
                      <a:pt x="212" y="18"/>
                    </a:lnTo>
                    <a:lnTo>
                      <a:pt x="211" y="21"/>
                    </a:lnTo>
                    <a:lnTo>
                      <a:pt x="205" y="21"/>
                    </a:lnTo>
                    <a:lnTo>
                      <a:pt x="205" y="21"/>
                    </a:lnTo>
                    <a:lnTo>
                      <a:pt x="195" y="23"/>
                    </a:lnTo>
                    <a:lnTo>
                      <a:pt x="188" y="26"/>
                    </a:lnTo>
                    <a:lnTo>
                      <a:pt x="181" y="25"/>
                    </a:lnTo>
                    <a:lnTo>
                      <a:pt x="179" y="23"/>
                    </a:lnTo>
                    <a:lnTo>
                      <a:pt x="176" y="19"/>
                    </a:lnTo>
                    <a:lnTo>
                      <a:pt x="176" y="19"/>
                    </a:lnTo>
                    <a:lnTo>
                      <a:pt x="172" y="18"/>
                    </a:lnTo>
                    <a:lnTo>
                      <a:pt x="171" y="16"/>
                    </a:lnTo>
                    <a:lnTo>
                      <a:pt x="167" y="18"/>
                    </a:lnTo>
                    <a:lnTo>
                      <a:pt x="165" y="18"/>
                    </a:lnTo>
                    <a:lnTo>
                      <a:pt x="164" y="18"/>
                    </a:lnTo>
                    <a:lnTo>
                      <a:pt x="160" y="14"/>
                    </a:lnTo>
                    <a:lnTo>
                      <a:pt x="160" y="14"/>
                    </a:lnTo>
                    <a:lnTo>
                      <a:pt x="157" y="11"/>
                    </a:lnTo>
                    <a:lnTo>
                      <a:pt x="155" y="11"/>
                    </a:lnTo>
                    <a:lnTo>
                      <a:pt x="152" y="12"/>
                    </a:lnTo>
                    <a:lnTo>
                      <a:pt x="150" y="12"/>
                    </a:lnTo>
                    <a:lnTo>
                      <a:pt x="148" y="11"/>
                    </a:lnTo>
                    <a:lnTo>
                      <a:pt x="148" y="11"/>
                    </a:lnTo>
                    <a:lnTo>
                      <a:pt x="146" y="11"/>
                    </a:lnTo>
                    <a:lnTo>
                      <a:pt x="145" y="11"/>
                    </a:lnTo>
                    <a:lnTo>
                      <a:pt x="138" y="14"/>
                    </a:lnTo>
                    <a:lnTo>
                      <a:pt x="131" y="18"/>
                    </a:lnTo>
                    <a:lnTo>
                      <a:pt x="125" y="18"/>
                    </a:lnTo>
                    <a:lnTo>
                      <a:pt x="120" y="18"/>
                    </a:lnTo>
                    <a:lnTo>
                      <a:pt x="120" y="18"/>
                    </a:lnTo>
                    <a:lnTo>
                      <a:pt x="115" y="18"/>
                    </a:lnTo>
                    <a:lnTo>
                      <a:pt x="113" y="18"/>
                    </a:lnTo>
                    <a:lnTo>
                      <a:pt x="110" y="21"/>
                    </a:lnTo>
                    <a:lnTo>
                      <a:pt x="106" y="23"/>
                    </a:lnTo>
                    <a:lnTo>
                      <a:pt x="101" y="19"/>
                    </a:lnTo>
                    <a:lnTo>
                      <a:pt x="101" y="19"/>
                    </a:lnTo>
                    <a:lnTo>
                      <a:pt x="98" y="21"/>
                    </a:lnTo>
                    <a:lnTo>
                      <a:pt x="96" y="23"/>
                    </a:lnTo>
                    <a:lnTo>
                      <a:pt x="94" y="28"/>
                    </a:lnTo>
                    <a:lnTo>
                      <a:pt x="92" y="30"/>
                    </a:lnTo>
                    <a:lnTo>
                      <a:pt x="89" y="32"/>
                    </a:lnTo>
                    <a:lnTo>
                      <a:pt x="84" y="32"/>
                    </a:lnTo>
                    <a:lnTo>
                      <a:pt x="77" y="30"/>
                    </a:lnTo>
                    <a:lnTo>
                      <a:pt x="77" y="30"/>
                    </a:lnTo>
                    <a:lnTo>
                      <a:pt x="70" y="28"/>
                    </a:lnTo>
                    <a:lnTo>
                      <a:pt x="68" y="30"/>
                    </a:lnTo>
                    <a:lnTo>
                      <a:pt x="66" y="32"/>
                    </a:lnTo>
                    <a:lnTo>
                      <a:pt x="64" y="33"/>
                    </a:lnTo>
                    <a:lnTo>
                      <a:pt x="63" y="37"/>
                    </a:lnTo>
                    <a:lnTo>
                      <a:pt x="57" y="40"/>
                    </a:lnTo>
                    <a:lnTo>
                      <a:pt x="47" y="42"/>
                    </a:lnTo>
                    <a:lnTo>
                      <a:pt x="31" y="44"/>
                    </a:lnTo>
                    <a:lnTo>
                      <a:pt x="31" y="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3" name="Freeform 2222">
                <a:extLst>
                  <a:ext uri="{FF2B5EF4-FFF2-40B4-BE49-F238E27FC236}">
                    <a16:creationId xmlns:a16="http://schemas.microsoft.com/office/drawing/2014/main" id="{B463893D-2AB3-4428-B43E-4FEDBC7C97E7}"/>
                  </a:ext>
                </a:extLst>
              </p:cNvPr>
              <p:cNvSpPr>
                <a:spLocks/>
              </p:cNvSpPr>
              <p:nvPr/>
            </p:nvSpPr>
            <p:spPr bwMode="auto">
              <a:xfrm>
                <a:off x="4783138" y="3114675"/>
                <a:ext cx="14287" cy="19050"/>
              </a:xfrm>
              <a:custGeom>
                <a:avLst/>
                <a:gdLst/>
                <a:ahLst/>
                <a:cxnLst>
                  <a:cxn ang="0">
                    <a:pos x="4" y="27"/>
                  </a:cxn>
                  <a:cxn ang="0">
                    <a:pos x="4" y="27"/>
                  </a:cxn>
                  <a:cxn ang="0">
                    <a:pos x="2" y="23"/>
                  </a:cxn>
                  <a:cxn ang="0">
                    <a:pos x="2" y="20"/>
                  </a:cxn>
                  <a:cxn ang="0">
                    <a:pos x="2" y="18"/>
                  </a:cxn>
                  <a:cxn ang="0">
                    <a:pos x="2" y="14"/>
                  </a:cxn>
                  <a:cxn ang="0">
                    <a:pos x="2" y="14"/>
                  </a:cxn>
                  <a:cxn ang="0">
                    <a:pos x="0" y="13"/>
                  </a:cxn>
                  <a:cxn ang="0">
                    <a:pos x="2" y="9"/>
                  </a:cxn>
                  <a:cxn ang="0">
                    <a:pos x="7" y="4"/>
                  </a:cxn>
                  <a:cxn ang="0">
                    <a:pos x="14" y="0"/>
                  </a:cxn>
                  <a:cxn ang="0">
                    <a:pos x="18" y="0"/>
                  </a:cxn>
                  <a:cxn ang="0">
                    <a:pos x="20" y="0"/>
                  </a:cxn>
                  <a:cxn ang="0">
                    <a:pos x="20" y="0"/>
                  </a:cxn>
                  <a:cxn ang="0">
                    <a:pos x="20" y="2"/>
                  </a:cxn>
                  <a:cxn ang="0">
                    <a:pos x="20" y="6"/>
                  </a:cxn>
                  <a:cxn ang="0">
                    <a:pos x="14" y="16"/>
                  </a:cxn>
                  <a:cxn ang="0">
                    <a:pos x="9" y="25"/>
                  </a:cxn>
                  <a:cxn ang="0">
                    <a:pos x="6" y="27"/>
                  </a:cxn>
                  <a:cxn ang="0">
                    <a:pos x="4" y="27"/>
                  </a:cxn>
                  <a:cxn ang="0">
                    <a:pos x="4" y="27"/>
                  </a:cxn>
                </a:cxnLst>
                <a:rect l="0" t="0" r="r" b="b"/>
                <a:pathLst>
                  <a:path w="20" h="27">
                    <a:moveTo>
                      <a:pt x="4" y="27"/>
                    </a:moveTo>
                    <a:lnTo>
                      <a:pt x="4" y="27"/>
                    </a:lnTo>
                    <a:lnTo>
                      <a:pt x="2" y="23"/>
                    </a:lnTo>
                    <a:lnTo>
                      <a:pt x="2" y="20"/>
                    </a:lnTo>
                    <a:lnTo>
                      <a:pt x="2" y="18"/>
                    </a:lnTo>
                    <a:lnTo>
                      <a:pt x="2" y="14"/>
                    </a:lnTo>
                    <a:lnTo>
                      <a:pt x="2" y="14"/>
                    </a:lnTo>
                    <a:lnTo>
                      <a:pt x="0" y="13"/>
                    </a:lnTo>
                    <a:lnTo>
                      <a:pt x="2" y="9"/>
                    </a:lnTo>
                    <a:lnTo>
                      <a:pt x="7" y="4"/>
                    </a:lnTo>
                    <a:lnTo>
                      <a:pt x="14" y="0"/>
                    </a:lnTo>
                    <a:lnTo>
                      <a:pt x="18" y="0"/>
                    </a:lnTo>
                    <a:lnTo>
                      <a:pt x="20" y="0"/>
                    </a:lnTo>
                    <a:lnTo>
                      <a:pt x="20" y="0"/>
                    </a:lnTo>
                    <a:lnTo>
                      <a:pt x="20" y="2"/>
                    </a:lnTo>
                    <a:lnTo>
                      <a:pt x="20" y="6"/>
                    </a:lnTo>
                    <a:lnTo>
                      <a:pt x="14" y="16"/>
                    </a:lnTo>
                    <a:lnTo>
                      <a:pt x="9" y="25"/>
                    </a:lnTo>
                    <a:lnTo>
                      <a:pt x="6" y="27"/>
                    </a:lnTo>
                    <a:lnTo>
                      <a:pt x="4" y="27"/>
                    </a:lnTo>
                    <a:lnTo>
                      <a:pt x="4" y="2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4" name="Freeform 2223">
                <a:extLst>
                  <a:ext uri="{FF2B5EF4-FFF2-40B4-BE49-F238E27FC236}">
                    <a16:creationId xmlns:a16="http://schemas.microsoft.com/office/drawing/2014/main" id="{94D68D01-596C-4062-A2A4-93FC9B098002}"/>
                  </a:ext>
                </a:extLst>
              </p:cNvPr>
              <p:cNvSpPr>
                <a:spLocks/>
              </p:cNvSpPr>
              <p:nvPr/>
            </p:nvSpPr>
            <p:spPr bwMode="auto">
              <a:xfrm>
                <a:off x="4737100" y="3013075"/>
                <a:ext cx="19050" cy="14288"/>
              </a:xfrm>
              <a:custGeom>
                <a:avLst/>
                <a:gdLst/>
                <a:ahLst/>
                <a:cxnLst>
                  <a:cxn ang="0">
                    <a:pos x="16" y="21"/>
                  </a:cxn>
                  <a:cxn ang="0">
                    <a:pos x="16" y="21"/>
                  </a:cxn>
                  <a:cxn ang="0">
                    <a:pos x="7" y="16"/>
                  </a:cxn>
                  <a:cxn ang="0">
                    <a:pos x="2" y="13"/>
                  </a:cxn>
                  <a:cxn ang="0">
                    <a:pos x="0" y="9"/>
                  </a:cxn>
                  <a:cxn ang="0">
                    <a:pos x="2" y="7"/>
                  </a:cxn>
                  <a:cxn ang="0">
                    <a:pos x="3" y="7"/>
                  </a:cxn>
                  <a:cxn ang="0">
                    <a:pos x="3" y="7"/>
                  </a:cxn>
                  <a:cxn ang="0">
                    <a:pos x="12" y="2"/>
                  </a:cxn>
                  <a:cxn ang="0">
                    <a:pos x="16" y="0"/>
                  </a:cxn>
                  <a:cxn ang="0">
                    <a:pos x="17" y="2"/>
                  </a:cxn>
                  <a:cxn ang="0">
                    <a:pos x="17" y="2"/>
                  </a:cxn>
                  <a:cxn ang="0">
                    <a:pos x="19" y="4"/>
                  </a:cxn>
                  <a:cxn ang="0">
                    <a:pos x="19" y="6"/>
                  </a:cxn>
                  <a:cxn ang="0">
                    <a:pos x="21" y="7"/>
                  </a:cxn>
                  <a:cxn ang="0">
                    <a:pos x="24" y="13"/>
                  </a:cxn>
                  <a:cxn ang="0">
                    <a:pos x="24" y="13"/>
                  </a:cxn>
                  <a:cxn ang="0">
                    <a:pos x="26" y="14"/>
                  </a:cxn>
                  <a:cxn ang="0">
                    <a:pos x="26" y="16"/>
                  </a:cxn>
                  <a:cxn ang="0">
                    <a:pos x="26" y="18"/>
                  </a:cxn>
                  <a:cxn ang="0">
                    <a:pos x="24" y="20"/>
                  </a:cxn>
                  <a:cxn ang="0">
                    <a:pos x="19" y="21"/>
                  </a:cxn>
                  <a:cxn ang="0">
                    <a:pos x="16" y="21"/>
                  </a:cxn>
                  <a:cxn ang="0">
                    <a:pos x="16" y="21"/>
                  </a:cxn>
                </a:cxnLst>
                <a:rect l="0" t="0" r="r" b="b"/>
                <a:pathLst>
                  <a:path w="26" h="21">
                    <a:moveTo>
                      <a:pt x="16" y="21"/>
                    </a:moveTo>
                    <a:lnTo>
                      <a:pt x="16" y="21"/>
                    </a:lnTo>
                    <a:lnTo>
                      <a:pt x="7" y="16"/>
                    </a:lnTo>
                    <a:lnTo>
                      <a:pt x="2" y="13"/>
                    </a:lnTo>
                    <a:lnTo>
                      <a:pt x="0" y="9"/>
                    </a:lnTo>
                    <a:lnTo>
                      <a:pt x="2" y="7"/>
                    </a:lnTo>
                    <a:lnTo>
                      <a:pt x="3" y="7"/>
                    </a:lnTo>
                    <a:lnTo>
                      <a:pt x="3" y="7"/>
                    </a:lnTo>
                    <a:lnTo>
                      <a:pt x="12" y="2"/>
                    </a:lnTo>
                    <a:lnTo>
                      <a:pt x="16" y="0"/>
                    </a:lnTo>
                    <a:lnTo>
                      <a:pt x="17" y="2"/>
                    </a:lnTo>
                    <a:lnTo>
                      <a:pt x="17" y="2"/>
                    </a:lnTo>
                    <a:lnTo>
                      <a:pt x="19" y="4"/>
                    </a:lnTo>
                    <a:lnTo>
                      <a:pt x="19" y="6"/>
                    </a:lnTo>
                    <a:lnTo>
                      <a:pt x="21" y="7"/>
                    </a:lnTo>
                    <a:lnTo>
                      <a:pt x="24" y="13"/>
                    </a:lnTo>
                    <a:lnTo>
                      <a:pt x="24" y="13"/>
                    </a:lnTo>
                    <a:lnTo>
                      <a:pt x="26" y="14"/>
                    </a:lnTo>
                    <a:lnTo>
                      <a:pt x="26" y="16"/>
                    </a:lnTo>
                    <a:lnTo>
                      <a:pt x="26" y="18"/>
                    </a:lnTo>
                    <a:lnTo>
                      <a:pt x="24" y="20"/>
                    </a:lnTo>
                    <a:lnTo>
                      <a:pt x="19" y="21"/>
                    </a:lnTo>
                    <a:lnTo>
                      <a:pt x="16" y="21"/>
                    </a:lnTo>
                    <a:lnTo>
                      <a:pt x="1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64" name="Freeform 2224">
              <a:extLst>
                <a:ext uri="{FF2B5EF4-FFF2-40B4-BE49-F238E27FC236}">
                  <a16:creationId xmlns:a16="http://schemas.microsoft.com/office/drawing/2014/main" id="{49412D2C-20C8-4462-A942-50D75225AFEA}"/>
                </a:ext>
              </a:extLst>
            </p:cNvPr>
            <p:cNvSpPr>
              <a:spLocks/>
            </p:cNvSpPr>
            <p:nvPr/>
          </p:nvSpPr>
          <p:spPr bwMode="auto">
            <a:xfrm>
              <a:off x="5415721" y="3177945"/>
              <a:ext cx="15859" cy="17620"/>
            </a:xfrm>
            <a:custGeom>
              <a:avLst/>
              <a:gdLst/>
              <a:ahLst/>
              <a:cxnLst>
                <a:cxn ang="0">
                  <a:pos x="0" y="0"/>
                </a:cxn>
                <a:cxn ang="0">
                  <a:pos x="0" y="0"/>
                </a:cxn>
                <a:cxn ang="0">
                  <a:pos x="2" y="0"/>
                </a:cxn>
                <a:cxn ang="0">
                  <a:pos x="3" y="0"/>
                </a:cxn>
                <a:cxn ang="0">
                  <a:pos x="7" y="5"/>
                </a:cxn>
                <a:cxn ang="0">
                  <a:pos x="12" y="11"/>
                </a:cxn>
                <a:cxn ang="0">
                  <a:pos x="16" y="16"/>
                </a:cxn>
                <a:cxn ang="0">
                  <a:pos x="16" y="16"/>
                </a:cxn>
                <a:cxn ang="0">
                  <a:pos x="19" y="19"/>
                </a:cxn>
                <a:cxn ang="0">
                  <a:pos x="17" y="23"/>
                </a:cxn>
                <a:cxn ang="0">
                  <a:pos x="16" y="21"/>
                </a:cxn>
                <a:cxn ang="0">
                  <a:pos x="12" y="18"/>
                </a:cxn>
                <a:cxn ang="0">
                  <a:pos x="12" y="18"/>
                </a:cxn>
                <a:cxn ang="0">
                  <a:pos x="3" y="7"/>
                </a:cxn>
                <a:cxn ang="0">
                  <a:pos x="0" y="4"/>
                </a:cxn>
                <a:cxn ang="0">
                  <a:pos x="0" y="0"/>
                </a:cxn>
                <a:cxn ang="0">
                  <a:pos x="0" y="0"/>
                </a:cxn>
              </a:cxnLst>
              <a:rect l="0" t="0" r="r" b="b"/>
              <a:pathLst>
                <a:path w="19" h="23">
                  <a:moveTo>
                    <a:pt x="0" y="0"/>
                  </a:moveTo>
                  <a:lnTo>
                    <a:pt x="0" y="0"/>
                  </a:lnTo>
                  <a:lnTo>
                    <a:pt x="2" y="0"/>
                  </a:lnTo>
                  <a:lnTo>
                    <a:pt x="3" y="0"/>
                  </a:lnTo>
                  <a:lnTo>
                    <a:pt x="7" y="5"/>
                  </a:lnTo>
                  <a:lnTo>
                    <a:pt x="12" y="11"/>
                  </a:lnTo>
                  <a:lnTo>
                    <a:pt x="16" y="16"/>
                  </a:lnTo>
                  <a:lnTo>
                    <a:pt x="16" y="16"/>
                  </a:lnTo>
                  <a:lnTo>
                    <a:pt x="19" y="19"/>
                  </a:lnTo>
                  <a:lnTo>
                    <a:pt x="17" y="23"/>
                  </a:lnTo>
                  <a:lnTo>
                    <a:pt x="16" y="21"/>
                  </a:lnTo>
                  <a:lnTo>
                    <a:pt x="12" y="18"/>
                  </a:lnTo>
                  <a:lnTo>
                    <a:pt x="12" y="18"/>
                  </a:lnTo>
                  <a:lnTo>
                    <a:pt x="3" y="7"/>
                  </a:lnTo>
                  <a:lnTo>
                    <a:pt x="0" y="4"/>
                  </a:lnTo>
                  <a:lnTo>
                    <a:pt x="0" y="0"/>
                  </a:lnTo>
                  <a:lnTo>
                    <a:pt x="0"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5" name="Freeform 2225">
              <a:extLst>
                <a:ext uri="{FF2B5EF4-FFF2-40B4-BE49-F238E27FC236}">
                  <a16:creationId xmlns:a16="http://schemas.microsoft.com/office/drawing/2014/main" id="{E7EC89FA-C1CE-4FC0-A224-7A046F006A7B}"/>
                </a:ext>
              </a:extLst>
            </p:cNvPr>
            <p:cNvSpPr>
              <a:spLocks/>
            </p:cNvSpPr>
            <p:nvPr/>
          </p:nvSpPr>
          <p:spPr bwMode="auto">
            <a:xfrm>
              <a:off x="5297668" y="3008794"/>
              <a:ext cx="70481" cy="58146"/>
            </a:xfrm>
            <a:custGeom>
              <a:avLst/>
              <a:gdLst/>
              <a:ahLst/>
              <a:cxnLst>
                <a:cxn ang="0">
                  <a:pos x="3" y="21"/>
                </a:cxn>
                <a:cxn ang="0">
                  <a:pos x="3" y="32"/>
                </a:cxn>
                <a:cxn ang="0">
                  <a:pos x="2" y="37"/>
                </a:cxn>
                <a:cxn ang="0">
                  <a:pos x="0" y="40"/>
                </a:cxn>
                <a:cxn ang="0">
                  <a:pos x="2" y="44"/>
                </a:cxn>
                <a:cxn ang="0">
                  <a:pos x="2" y="47"/>
                </a:cxn>
                <a:cxn ang="0">
                  <a:pos x="2" y="54"/>
                </a:cxn>
                <a:cxn ang="0">
                  <a:pos x="10" y="68"/>
                </a:cxn>
                <a:cxn ang="0">
                  <a:pos x="14" y="68"/>
                </a:cxn>
                <a:cxn ang="0">
                  <a:pos x="16" y="67"/>
                </a:cxn>
                <a:cxn ang="0">
                  <a:pos x="17" y="72"/>
                </a:cxn>
                <a:cxn ang="0">
                  <a:pos x="33" y="70"/>
                </a:cxn>
                <a:cxn ang="0">
                  <a:pos x="49" y="65"/>
                </a:cxn>
                <a:cxn ang="0">
                  <a:pos x="52" y="60"/>
                </a:cxn>
                <a:cxn ang="0">
                  <a:pos x="56" y="56"/>
                </a:cxn>
                <a:cxn ang="0">
                  <a:pos x="63" y="58"/>
                </a:cxn>
                <a:cxn ang="0">
                  <a:pos x="75" y="60"/>
                </a:cxn>
                <a:cxn ang="0">
                  <a:pos x="80" y="56"/>
                </a:cxn>
                <a:cxn ang="0">
                  <a:pos x="84" y="49"/>
                </a:cxn>
                <a:cxn ang="0">
                  <a:pos x="87" y="47"/>
                </a:cxn>
                <a:cxn ang="0">
                  <a:pos x="87" y="37"/>
                </a:cxn>
                <a:cxn ang="0">
                  <a:pos x="85" y="21"/>
                </a:cxn>
                <a:cxn ang="0">
                  <a:pos x="82" y="16"/>
                </a:cxn>
                <a:cxn ang="0">
                  <a:pos x="71" y="9"/>
                </a:cxn>
                <a:cxn ang="0">
                  <a:pos x="66" y="0"/>
                </a:cxn>
                <a:cxn ang="0">
                  <a:pos x="54" y="2"/>
                </a:cxn>
                <a:cxn ang="0">
                  <a:pos x="40" y="4"/>
                </a:cxn>
                <a:cxn ang="0">
                  <a:pos x="33" y="4"/>
                </a:cxn>
                <a:cxn ang="0">
                  <a:pos x="26" y="7"/>
                </a:cxn>
                <a:cxn ang="0">
                  <a:pos x="17" y="9"/>
                </a:cxn>
                <a:cxn ang="0">
                  <a:pos x="10" y="14"/>
                </a:cxn>
                <a:cxn ang="0">
                  <a:pos x="9" y="21"/>
                </a:cxn>
                <a:cxn ang="0">
                  <a:pos x="3" y="21"/>
                </a:cxn>
              </a:cxnLst>
              <a:rect l="0" t="0" r="r" b="b"/>
              <a:pathLst>
                <a:path w="87" h="72">
                  <a:moveTo>
                    <a:pt x="3" y="21"/>
                  </a:moveTo>
                  <a:lnTo>
                    <a:pt x="3" y="21"/>
                  </a:lnTo>
                  <a:lnTo>
                    <a:pt x="3" y="28"/>
                  </a:lnTo>
                  <a:lnTo>
                    <a:pt x="3" y="32"/>
                  </a:lnTo>
                  <a:lnTo>
                    <a:pt x="3" y="35"/>
                  </a:lnTo>
                  <a:lnTo>
                    <a:pt x="2" y="37"/>
                  </a:lnTo>
                  <a:lnTo>
                    <a:pt x="2" y="37"/>
                  </a:lnTo>
                  <a:lnTo>
                    <a:pt x="0" y="40"/>
                  </a:lnTo>
                  <a:lnTo>
                    <a:pt x="2" y="42"/>
                  </a:lnTo>
                  <a:lnTo>
                    <a:pt x="2" y="44"/>
                  </a:lnTo>
                  <a:lnTo>
                    <a:pt x="2" y="47"/>
                  </a:lnTo>
                  <a:lnTo>
                    <a:pt x="2" y="47"/>
                  </a:lnTo>
                  <a:lnTo>
                    <a:pt x="2" y="51"/>
                  </a:lnTo>
                  <a:lnTo>
                    <a:pt x="2" y="54"/>
                  </a:lnTo>
                  <a:lnTo>
                    <a:pt x="5" y="61"/>
                  </a:lnTo>
                  <a:lnTo>
                    <a:pt x="10" y="68"/>
                  </a:lnTo>
                  <a:lnTo>
                    <a:pt x="12" y="68"/>
                  </a:lnTo>
                  <a:lnTo>
                    <a:pt x="14" y="68"/>
                  </a:lnTo>
                  <a:lnTo>
                    <a:pt x="14" y="68"/>
                  </a:lnTo>
                  <a:lnTo>
                    <a:pt x="16" y="67"/>
                  </a:lnTo>
                  <a:lnTo>
                    <a:pt x="16" y="68"/>
                  </a:lnTo>
                  <a:lnTo>
                    <a:pt x="17" y="72"/>
                  </a:lnTo>
                  <a:lnTo>
                    <a:pt x="17" y="72"/>
                  </a:lnTo>
                  <a:lnTo>
                    <a:pt x="33" y="70"/>
                  </a:lnTo>
                  <a:lnTo>
                    <a:pt x="43" y="68"/>
                  </a:lnTo>
                  <a:lnTo>
                    <a:pt x="49" y="65"/>
                  </a:lnTo>
                  <a:lnTo>
                    <a:pt x="50" y="61"/>
                  </a:lnTo>
                  <a:lnTo>
                    <a:pt x="52" y="60"/>
                  </a:lnTo>
                  <a:lnTo>
                    <a:pt x="54" y="58"/>
                  </a:lnTo>
                  <a:lnTo>
                    <a:pt x="56" y="56"/>
                  </a:lnTo>
                  <a:lnTo>
                    <a:pt x="63" y="58"/>
                  </a:lnTo>
                  <a:lnTo>
                    <a:pt x="63" y="58"/>
                  </a:lnTo>
                  <a:lnTo>
                    <a:pt x="70" y="60"/>
                  </a:lnTo>
                  <a:lnTo>
                    <a:pt x="75" y="60"/>
                  </a:lnTo>
                  <a:lnTo>
                    <a:pt x="78" y="58"/>
                  </a:lnTo>
                  <a:lnTo>
                    <a:pt x="80" y="56"/>
                  </a:lnTo>
                  <a:lnTo>
                    <a:pt x="82" y="51"/>
                  </a:lnTo>
                  <a:lnTo>
                    <a:pt x="84" y="49"/>
                  </a:lnTo>
                  <a:lnTo>
                    <a:pt x="87" y="47"/>
                  </a:lnTo>
                  <a:lnTo>
                    <a:pt x="87" y="47"/>
                  </a:lnTo>
                  <a:lnTo>
                    <a:pt x="87" y="42"/>
                  </a:lnTo>
                  <a:lnTo>
                    <a:pt x="87" y="37"/>
                  </a:lnTo>
                  <a:lnTo>
                    <a:pt x="87" y="30"/>
                  </a:lnTo>
                  <a:lnTo>
                    <a:pt x="85" y="21"/>
                  </a:lnTo>
                  <a:lnTo>
                    <a:pt x="85" y="21"/>
                  </a:lnTo>
                  <a:lnTo>
                    <a:pt x="82" y="16"/>
                  </a:lnTo>
                  <a:lnTo>
                    <a:pt x="77" y="13"/>
                  </a:lnTo>
                  <a:lnTo>
                    <a:pt x="71" y="9"/>
                  </a:lnTo>
                  <a:lnTo>
                    <a:pt x="66" y="0"/>
                  </a:lnTo>
                  <a:lnTo>
                    <a:pt x="66" y="0"/>
                  </a:lnTo>
                  <a:lnTo>
                    <a:pt x="59" y="0"/>
                  </a:lnTo>
                  <a:lnTo>
                    <a:pt x="54" y="2"/>
                  </a:lnTo>
                  <a:lnTo>
                    <a:pt x="47" y="4"/>
                  </a:lnTo>
                  <a:lnTo>
                    <a:pt x="40" y="4"/>
                  </a:lnTo>
                  <a:lnTo>
                    <a:pt x="40" y="4"/>
                  </a:lnTo>
                  <a:lnTo>
                    <a:pt x="33" y="4"/>
                  </a:lnTo>
                  <a:lnTo>
                    <a:pt x="30" y="4"/>
                  </a:lnTo>
                  <a:lnTo>
                    <a:pt x="26" y="7"/>
                  </a:lnTo>
                  <a:lnTo>
                    <a:pt x="17" y="9"/>
                  </a:lnTo>
                  <a:lnTo>
                    <a:pt x="17" y="9"/>
                  </a:lnTo>
                  <a:lnTo>
                    <a:pt x="14" y="13"/>
                  </a:lnTo>
                  <a:lnTo>
                    <a:pt x="10" y="14"/>
                  </a:lnTo>
                  <a:lnTo>
                    <a:pt x="9" y="18"/>
                  </a:lnTo>
                  <a:lnTo>
                    <a:pt x="9" y="21"/>
                  </a:lnTo>
                  <a:lnTo>
                    <a:pt x="7" y="23"/>
                  </a:lnTo>
                  <a:lnTo>
                    <a:pt x="3" y="21"/>
                  </a:lnTo>
                  <a:lnTo>
                    <a:pt x="3"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6" name="Freeform 2226">
              <a:extLst>
                <a:ext uri="{FF2B5EF4-FFF2-40B4-BE49-F238E27FC236}">
                  <a16:creationId xmlns:a16="http://schemas.microsoft.com/office/drawing/2014/main" id="{89B45983-1392-4883-A4AD-D0CE13D0899A}"/>
                </a:ext>
              </a:extLst>
            </p:cNvPr>
            <p:cNvSpPr>
              <a:spLocks/>
            </p:cNvSpPr>
            <p:nvPr/>
          </p:nvSpPr>
          <p:spPr bwMode="auto">
            <a:xfrm>
              <a:off x="5239522" y="2961219"/>
              <a:ext cx="54622" cy="65195"/>
            </a:xfrm>
            <a:custGeom>
              <a:avLst/>
              <a:gdLst/>
              <a:ahLst/>
              <a:cxnLst>
                <a:cxn ang="0">
                  <a:pos x="27" y="4"/>
                </a:cxn>
                <a:cxn ang="0">
                  <a:pos x="38" y="14"/>
                </a:cxn>
                <a:cxn ang="0">
                  <a:pos x="62" y="30"/>
                </a:cxn>
                <a:cxn ang="0">
                  <a:pos x="67" y="35"/>
                </a:cxn>
                <a:cxn ang="0">
                  <a:pos x="67" y="37"/>
                </a:cxn>
                <a:cxn ang="0">
                  <a:pos x="59" y="40"/>
                </a:cxn>
                <a:cxn ang="0">
                  <a:pos x="54" y="44"/>
                </a:cxn>
                <a:cxn ang="0">
                  <a:pos x="55" y="44"/>
                </a:cxn>
                <a:cxn ang="0">
                  <a:pos x="57" y="47"/>
                </a:cxn>
                <a:cxn ang="0">
                  <a:pos x="57" y="49"/>
                </a:cxn>
                <a:cxn ang="0">
                  <a:pos x="52" y="54"/>
                </a:cxn>
                <a:cxn ang="0">
                  <a:pos x="47" y="53"/>
                </a:cxn>
                <a:cxn ang="0">
                  <a:pos x="45" y="47"/>
                </a:cxn>
                <a:cxn ang="0">
                  <a:pos x="43" y="44"/>
                </a:cxn>
                <a:cxn ang="0">
                  <a:pos x="36" y="56"/>
                </a:cxn>
                <a:cxn ang="0">
                  <a:pos x="33" y="65"/>
                </a:cxn>
                <a:cxn ang="0">
                  <a:pos x="31" y="72"/>
                </a:cxn>
                <a:cxn ang="0">
                  <a:pos x="33" y="79"/>
                </a:cxn>
                <a:cxn ang="0">
                  <a:pos x="33" y="84"/>
                </a:cxn>
                <a:cxn ang="0">
                  <a:pos x="22" y="80"/>
                </a:cxn>
                <a:cxn ang="0">
                  <a:pos x="20" y="72"/>
                </a:cxn>
                <a:cxn ang="0">
                  <a:pos x="19" y="67"/>
                </a:cxn>
                <a:cxn ang="0">
                  <a:pos x="8" y="61"/>
                </a:cxn>
                <a:cxn ang="0">
                  <a:pos x="10" y="60"/>
                </a:cxn>
                <a:cxn ang="0">
                  <a:pos x="7" y="56"/>
                </a:cxn>
                <a:cxn ang="0">
                  <a:pos x="1" y="53"/>
                </a:cxn>
                <a:cxn ang="0">
                  <a:pos x="0" y="49"/>
                </a:cxn>
                <a:cxn ang="0">
                  <a:pos x="3" y="44"/>
                </a:cxn>
                <a:cxn ang="0">
                  <a:pos x="0" y="35"/>
                </a:cxn>
                <a:cxn ang="0">
                  <a:pos x="3" y="30"/>
                </a:cxn>
                <a:cxn ang="0">
                  <a:pos x="8" y="25"/>
                </a:cxn>
                <a:cxn ang="0">
                  <a:pos x="12" y="16"/>
                </a:cxn>
                <a:cxn ang="0">
                  <a:pos x="13" y="11"/>
                </a:cxn>
                <a:cxn ang="0">
                  <a:pos x="19" y="14"/>
                </a:cxn>
                <a:cxn ang="0">
                  <a:pos x="20" y="18"/>
                </a:cxn>
                <a:cxn ang="0">
                  <a:pos x="22" y="14"/>
                </a:cxn>
                <a:cxn ang="0">
                  <a:pos x="19" y="6"/>
                </a:cxn>
                <a:cxn ang="0">
                  <a:pos x="19" y="0"/>
                </a:cxn>
                <a:cxn ang="0">
                  <a:pos x="27" y="4"/>
                </a:cxn>
              </a:cxnLst>
              <a:rect l="0" t="0" r="r" b="b"/>
              <a:pathLst>
                <a:path w="67" h="84">
                  <a:moveTo>
                    <a:pt x="27" y="4"/>
                  </a:moveTo>
                  <a:lnTo>
                    <a:pt x="27" y="4"/>
                  </a:lnTo>
                  <a:lnTo>
                    <a:pt x="33" y="9"/>
                  </a:lnTo>
                  <a:lnTo>
                    <a:pt x="38" y="14"/>
                  </a:lnTo>
                  <a:lnTo>
                    <a:pt x="50" y="23"/>
                  </a:lnTo>
                  <a:lnTo>
                    <a:pt x="62" y="30"/>
                  </a:lnTo>
                  <a:lnTo>
                    <a:pt x="66" y="33"/>
                  </a:lnTo>
                  <a:lnTo>
                    <a:pt x="67" y="35"/>
                  </a:lnTo>
                  <a:lnTo>
                    <a:pt x="67" y="35"/>
                  </a:lnTo>
                  <a:lnTo>
                    <a:pt x="67" y="37"/>
                  </a:lnTo>
                  <a:lnTo>
                    <a:pt x="64" y="39"/>
                  </a:lnTo>
                  <a:lnTo>
                    <a:pt x="59" y="40"/>
                  </a:lnTo>
                  <a:lnTo>
                    <a:pt x="54" y="42"/>
                  </a:lnTo>
                  <a:lnTo>
                    <a:pt x="54" y="44"/>
                  </a:lnTo>
                  <a:lnTo>
                    <a:pt x="55" y="44"/>
                  </a:lnTo>
                  <a:lnTo>
                    <a:pt x="55" y="44"/>
                  </a:lnTo>
                  <a:lnTo>
                    <a:pt x="57" y="46"/>
                  </a:lnTo>
                  <a:lnTo>
                    <a:pt x="57" y="47"/>
                  </a:lnTo>
                  <a:lnTo>
                    <a:pt x="55" y="47"/>
                  </a:lnTo>
                  <a:lnTo>
                    <a:pt x="57" y="49"/>
                  </a:lnTo>
                  <a:lnTo>
                    <a:pt x="57" y="49"/>
                  </a:lnTo>
                  <a:lnTo>
                    <a:pt x="52" y="54"/>
                  </a:lnTo>
                  <a:lnTo>
                    <a:pt x="50" y="54"/>
                  </a:lnTo>
                  <a:lnTo>
                    <a:pt x="47" y="53"/>
                  </a:lnTo>
                  <a:lnTo>
                    <a:pt x="45" y="47"/>
                  </a:lnTo>
                  <a:lnTo>
                    <a:pt x="45" y="47"/>
                  </a:lnTo>
                  <a:lnTo>
                    <a:pt x="45" y="46"/>
                  </a:lnTo>
                  <a:lnTo>
                    <a:pt x="43" y="44"/>
                  </a:lnTo>
                  <a:lnTo>
                    <a:pt x="40" y="49"/>
                  </a:lnTo>
                  <a:lnTo>
                    <a:pt x="36" y="56"/>
                  </a:lnTo>
                  <a:lnTo>
                    <a:pt x="33" y="65"/>
                  </a:lnTo>
                  <a:lnTo>
                    <a:pt x="33" y="65"/>
                  </a:lnTo>
                  <a:lnTo>
                    <a:pt x="29" y="68"/>
                  </a:lnTo>
                  <a:lnTo>
                    <a:pt x="31" y="72"/>
                  </a:lnTo>
                  <a:lnTo>
                    <a:pt x="33" y="75"/>
                  </a:lnTo>
                  <a:lnTo>
                    <a:pt x="33" y="79"/>
                  </a:lnTo>
                  <a:lnTo>
                    <a:pt x="33" y="84"/>
                  </a:lnTo>
                  <a:lnTo>
                    <a:pt x="33" y="84"/>
                  </a:lnTo>
                  <a:lnTo>
                    <a:pt x="26" y="82"/>
                  </a:lnTo>
                  <a:lnTo>
                    <a:pt x="22" y="80"/>
                  </a:lnTo>
                  <a:lnTo>
                    <a:pt x="22" y="77"/>
                  </a:lnTo>
                  <a:lnTo>
                    <a:pt x="20" y="72"/>
                  </a:lnTo>
                  <a:lnTo>
                    <a:pt x="20" y="72"/>
                  </a:lnTo>
                  <a:lnTo>
                    <a:pt x="19" y="67"/>
                  </a:lnTo>
                  <a:lnTo>
                    <a:pt x="15" y="63"/>
                  </a:lnTo>
                  <a:lnTo>
                    <a:pt x="8" y="61"/>
                  </a:lnTo>
                  <a:lnTo>
                    <a:pt x="8" y="61"/>
                  </a:lnTo>
                  <a:lnTo>
                    <a:pt x="10" y="60"/>
                  </a:lnTo>
                  <a:lnTo>
                    <a:pt x="10" y="58"/>
                  </a:lnTo>
                  <a:lnTo>
                    <a:pt x="7" y="56"/>
                  </a:lnTo>
                  <a:lnTo>
                    <a:pt x="3" y="54"/>
                  </a:lnTo>
                  <a:lnTo>
                    <a:pt x="1" y="53"/>
                  </a:lnTo>
                  <a:lnTo>
                    <a:pt x="0" y="49"/>
                  </a:lnTo>
                  <a:lnTo>
                    <a:pt x="0" y="49"/>
                  </a:lnTo>
                  <a:lnTo>
                    <a:pt x="3" y="47"/>
                  </a:lnTo>
                  <a:lnTo>
                    <a:pt x="3" y="44"/>
                  </a:lnTo>
                  <a:lnTo>
                    <a:pt x="1" y="40"/>
                  </a:lnTo>
                  <a:lnTo>
                    <a:pt x="0" y="35"/>
                  </a:lnTo>
                  <a:lnTo>
                    <a:pt x="0" y="33"/>
                  </a:lnTo>
                  <a:lnTo>
                    <a:pt x="3" y="30"/>
                  </a:lnTo>
                  <a:lnTo>
                    <a:pt x="3" y="30"/>
                  </a:lnTo>
                  <a:lnTo>
                    <a:pt x="8" y="25"/>
                  </a:lnTo>
                  <a:lnTo>
                    <a:pt x="10" y="20"/>
                  </a:lnTo>
                  <a:lnTo>
                    <a:pt x="12" y="16"/>
                  </a:lnTo>
                  <a:lnTo>
                    <a:pt x="13" y="11"/>
                  </a:lnTo>
                  <a:lnTo>
                    <a:pt x="13" y="11"/>
                  </a:lnTo>
                  <a:lnTo>
                    <a:pt x="17" y="13"/>
                  </a:lnTo>
                  <a:lnTo>
                    <a:pt x="19" y="14"/>
                  </a:lnTo>
                  <a:lnTo>
                    <a:pt x="19" y="18"/>
                  </a:lnTo>
                  <a:lnTo>
                    <a:pt x="20" y="18"/>
                  </a:lnTo>
                  <a:lnTo>
                    <a:pt x="20" y="18"/>
                  </a:lnTo>
                  <a:lnTo>
                    <a:pt x="22" y="14"/>
                  </a:lnTo>
                  <a:lnTo>
                    <a:pt x="20" y="13"/>
                  </a:lnTo>
                  <a:lnTo>
                    <a:pt x="19" y="6"/>
                  </a:lnTo>
                  <a:lnTo>
                    <a:pt x="17" y="2"/>
                  </a:lnTo>
                  <a:lnTo>
                    <a:pt x="19" y="0"/>
                  </a:lnTo>
                  <a:lnTo>
                    <a:pt x="22" y="2"/>
                  </a:lnTo>
                  <a:lnTo>
                    <a:pt x="27" y="4"/>
                  </a:lnTo>
                  <a:lnTo>
                    <a:pt x="27" y="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7" name="Freeform 2227">
              <a:extLst>
                <a:ext uri="{FF2B5EF4-FFF2-40B4-BE49-F238E27FC236}">
                  <a16:creationId xmlns:a16="http://schemas.microsoft.com/office/drawing/2014/main" id="{39E5E009-15F7-44B5-9C98-AD9CC973180B}"/>
                </a:ext>
              </a:extLst>
            </p:cNvPr>
            <p:cNvSpPr>
              <a:spLocks/>
            </p:cNvSpPr>
            <p:nvPr/>
          </p:nvSpPr>
          <p:spPr bwMode="auto">
            <a:xfrm>
              <a:off x="5123230" y="3253710"/>
              <a:ext cx="7048" cy="5286"/>
            </a:xfrm>
            <a:custGeom>
              <a:avLst/>
              <a:gdLst/>
              <a:ahLst/>
              <a:cxnLst>
                <a:cxn ang="0">
                  <a:pos x="0" y="0"/>
                </a:cxn>
                <a:cxn ang="0">
                  <a:pos x="0" y="0"/>
                </a:cxn>
                <a:cxn ang="0">
                  <a:pos x="4" y="0"/>
                </a:cxn>
                <a:cxn ang="0">
                  <a:pos x="5" y="2"/>
                </a:cxn>
                <a:cxn ang="0">
                  <a:pos x="7" y="6"/>
                </a:cxn>
                <a:cxn ang="0">
                  <a:pos x="7" y="9"/>
                </a:cxn>
                <a:cxn ang="0">
                  <a:pos x="7" y="9"/>
                </a:cxn>
                <a:cxn ang="0">
                  <a:pos x="4" y="9"/>
                </a:cxn>
                <a:cxn ang="0">
                  <a:pos x="2" y="6"/>
                </a:cxn>
                <a:cxn ang="0">
                  <a:pos x="0" y="4"/>
                </a:cxn>
                <a:cxn ang="0">
                  <a:pos x="0" y="0"/>
                </a:cxn>
                <a:cxn ang="0">
                  <a:pos x="0" y="0"/>
                </a:cxn>
              </a:cxnLst>
              <a:rect l="0" t="0" r="r" b="b"/>
              <a:pathLst>
                <a:path w="7" h="9">
                  <a:moveTo>
                    <a:pt x="0" y="0"/>
                  </a:moveTo>
                  <a:lnTo>
                    <a:pt x="0" y="0"/>
                  </a:lnTo>
                  <a:lnTo>
                    <a:pt x="4" y="0"/>
                  </a:lnTo>
                  <a:lnTo>
                    <a:pt x="5" y="2"/>
                  </a:lnTo>
                  <a:lnTo>
                    <a:pt x="7" y="6"/>
                  </a:lnTo>
                  <a:lnTo>
                    <a:pt x="7" y="9"/>
                  </a:lnTo>
                  <a:lnTo>
                    <a:pt x="7" y="9"/>
                  </a:lnTo>
                  <a:lnTo>
                    <a:pt x="4" y="9"/>
                  </a:lnTo>
                  <a:lnTo>
                    <a:pt x="2" y="6"/>
                  </a:lnTo>
                  <a:lnTo>
                    <a:pt x="0" y="4"/>
                  </a:lnTo>
                  <a:lnTo>
                    <a:pt x="0" y="0"/>
                  </a:lnTo>
                  <a:lnTo>
                    <a:pt x="0"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8" name="Freeform 2228">
              <a:extLst>
                <a:ext uri="{FF2B5EF4-FFF2-40B4-BE49-F238E27FC236}">
                  <a16:creationId xmlns:a16="http://schemas.microsoft.com/office/drawing/2014/main" id="{5B61B956-9924-42C0-A31E-BB465FC8A7AA}"/>
                </a:ext>
              </a:extLst>
            </p:cNvPr>
            <p:cNvSpPr>
              <a:spLocks/>
            </p:cNvSpPr>
            <p:nvPr/>
          </p:nvSpPr>
          <p:spPr bwMode="auto">
            <a:xfrm>
              <a:off x="5102084" y="2844925"/>
              <a:ext cx="165629" cy="163867"/>
            </a:xfrm>
            <a:custGeom>
              <a:avLst/>
              <a:gdLst/>
              <a:ahLst/>
              <a:cxnLst>
                <a:cxn ang="0">
                  <a:pos x="186" y="80"/>
                </a:cxn>
                <a:cxn ang="0">
                  <a:pos x="178" y="72"/>
                </a:cxn>
                <a:cxn ang="0">
                  <a:pos x="160" y="68"/>
                </a:cxn>
                <a:cxn ang="0">
                  <a:pos x="152" y="73"/>
                </a:cxn>
                <a:cxn ang="0">
                  <a:pos x="134" y="68"/>
                </a:cxn>
                <a:cxn ang="0">
                  <a:pos x="126" y="68"/>
                </a:cxn>
                <a:cxn ang="0">
                  <a:pos x="103" y="68"/>
                </a:cxn>
                <a:cxn ang="0">
                  <a:pos x="92" y="70"/>
                </a:cxn>
                <a:cxn ang="0">
                  <a:pos x="80" y="68"/>
                </a:cxn>
                <a:cxn ang="0">
                  <a:pos x="80" y="89"/>
                </a:cxn>
                <a:cxn ang="0">
                  <a:pos x="91" y="103"/>
                </a:cxn>
                <a:cxn ang="0">
                  <a:pos x="94" y="110"/>
                </a:cxn>
                <a:cxn ang="0">
                  <a:pos x="94" y="117"/>
                </a:cxn>
                <a:cxn ang="0">
                  <a:pos x="119" y="143"/>
                </a:cxn>
                <a:cxn ang="0">
                  <a:pos x="131" y="155"/>
                </a:cxn>
                <a:cxn ang="0">
                  <a:pos x="145" y="171"/>
                </a:cxn>
                <a:cxn ang="0">
                  <a:pos x="146" y="178"/>
                </a:cxn>
                <a:cxn ang="0">
                  <a:pos x="153" y="183"/>
                </a:cxn>
                <a:cxn ang="0">
                  <a:pos x="173" y="195"/>
                </a:cxn>
                <a:cxn ang="0">
                  <a:pos x="183" y="204"/>
                </a:cxn>
                <a:cxn ang="0">
                  <a:pos x="180" y="204"/>
                </a:cxn>
                <a:cxn ang="0">
                  <a:pos x="171" y="204"/>
                </a:cxn>
                <a:cxn ang="0">
                  <a:pos x="145" y="185"/>
                </a:cxn>
                <a:cxn ang="0">
                  <a:pos x="124" y="174"/>
                </a:cxn>
                <a:cxn ang="0">
                  <a:pos x="129" y="166"/>
                </a:cxn>
                <a:cxn ang="0">
                  <a:pos x="94" y="150"/>
                </a:cxn>
                <a:cxn ang="0">
                  <a:pos x="86" y="148"/>
                </a:cxn>
                <a:cxn ang="0">
                  <a:pos x="70" y="129"/>
                </a:cxn>
                <a:cxn ang="0">
                  <a:pos x="58" y="113"/>
                </a:cxn>
                <a:cxn ang="0">
                  <a:pos x="54" y="101"/>
                </a:cxn>
                <a:cxn ang="0">
                  <a:pos x="49" y="82"/>
                </a:cxn>
                <a:cxn ang="0">
                  <a:pos x="37" y="63"/>
                </a:cxn>
                <a:cxn ang="0">
                  <a:pos x="25" y="63"/>
                </a:cxn>
                <a:cxn ang="0">
                  <a:pos x="16" y="89"/>
                </a:cxn>
                <a:cxn ang="0">
                  <a:pos x="0" y="54"/>
                </a:cxn>
                <a:cxn ang="0">
                  <a:pos x="14" y="52"/>
                </a:cxn>
                <a:cxn ang="0">
                  <a:pos x="37" y="45"/>
                </a:cxn>
                <a:cxn ang="0">
                  <a:pos x="47" y="52"/>
                </a:cxn>
                <a:cxn ang="0">
                  <a:pos x="61" y="56"/>
                </a:cxn>
                <a:cxn ang="0">
                  <a:pos x="63" y="45"/>
                </a:cxn>
                <a:cxn ang="0">
                  <a:pos x="77" y="33"/>
                </a:cxn>
                <a:cxn ang="0">
                  <a:pos x="73" y="21"/>
                </a:cxn>
                <a:cxn ang="0">
                  <a:pos x="86" y="12"/>
                </a:cxn>
                <a:cxn ang="0">
                  <a:pos x="96" y="5"/>
                </a:cxn>
                <a:cxn ang="0">
                  <a:pos x="96" y="0"/>
                </a:cxn>
                <a:cxn ang="0">
                  <a:pos x="105" y="2"/>
                </a:cxn>
                <a:cxn ang="0">
                  <a:pos x="134" y="28"/>
                </a:cxn>
                <a:cxn ang="0">
                  <a:pos x="145" y="31"/>
                </a:cxn>
                <a:cxn ang="0">
                  <a:pos x="171" y="38"/>
                </a:cxn>
                <a:cxn ang="0">
                  <a:pos x="180" y="31"/>
                </a:cxn>
                <a:cxn ang="0">
                  <a:pos x="188" y="37"/>
                </a:cxn>
                <a:cxn ang="0">
                  <a:pos x="193" y="59"/>
                </a:cxn>
                <a:cxn ang="0">
                  <a:pos x="206" y="66"/>
                </a:cxn>
                <a:cxn ang="0">
                  <a:pos x="195" y="73"/>
                </a:cxn>
              </a:cxnLst>
              <a:rect l="0" t="0" r="r" b="b"/>
              <a:pathLst>
                <a:path w="207" h="207">
                  <a:moveTo>
                    <a:pt x="193" y="82"/>
                  </a:moveTo>
                  <a:lnTo>
                    <a:pt x="193" y="82"/>
                  </a:lnTo>
                  <a:lnTo>
                    <a:pt x="188" y="82"/>
                  </a:lnTo>
                  <a:lnTo>
                    <a:pt x="186" y="80"/>
                  </a:lnTo>
                  <a:lnTo>
                    <a:pt x="183" y="77"/>
                  </a:lnTo>
                  <a:lnTo>
                    <a:pt x="181" y="72"/>
                  </a:lnTo>
                  <a:lnTo>
                    <a:pt x="180" y="72"/>
                  </a:lnTo>
                  <a:lnTo>
                    <a:pt x="178" y="72"/>
                  </a:lnTo>
                  <a:lnTo>
                    <a:pt x="178" y="72"/>
                  </a:lnTo>
                  <a:lnTo>
                    <a:pt x="173" y="72"/>
                  </a:lnTo>
                  <a:lnTo>
                    <a:pt x="167" y="70"/>
                  </a:lnTo>
                  <a:lnTo>
                    <a:pt x="160" y="68"/>
                  </a:lnTo>
                  <a:lnTo>
                    <a:pt x="157" y="70"/>
                  </a:lnTo>
                  <a:lnTo>
                    <a:pt x="155" y="72"/>
                  </a:lnTo>
                  <a:lnTo>
                    <a:pt x="155" y="72"/>
                  </a:lnTo>
                  <a:lnTo>
                    <a:pt x="152" y="73"/>
                  </a:lnTo>
                  <a:lnTo>
                    <a:pt x="148" y="73"/>
                  </a:lnTo>
                  <a:lnTo>
                    <a:pt x="143" y="72"/>
                  </a:lnTo>
                  <a:lnTo>
                    <a:pt x="136" y="68"/>
                  </a:lnTo>
                  <a:lnTo>
                    <a:pt x="134" y="68"/>
                  </a:lnTo>
                  <a:lnTo>
                    <a:pt x="131" y="68"/>
                  </a:lnTo>
                  <a:lnTo>
                    <a:pt x="131" y="68"/>
                  </a:lnTo>
                  <a:lnTo>
                    <a:pt x="129" y="68"/>
                  </a:lnTo>
                  <a:lnTo>
                    <a:pt x="126" y="68"/>
                  </a:lnTo>
                  <a:lnTo>
                    <a:pt x="117" y="66"/>
                  </a:lnTo>
                  <a:lnTo>
                    <a:pt x="108" y="65"/>
                  </a:lnTo>
                  <a:lnTo>
                    <a:pt x="106" y="66"/>
                  </a:lnTo>
                  <a:lnTo>
                    <a:pt x="103" y="68"/>
                  </a:lnTo>
                  <a:lnTo>
                    <a:pt x="103" y="68"/>
                  </a:lnTo>
                  <a:lnTo>
                    <a:pt x="98" y="77"/>
                  </a:lnTo>
                  <a:lnTo>
                    <a:pt x="96" y="75"/>
                  </a:lnTo>
                  <a:lnTo>
                    <a:pt x="92" y="70"/>
                  </a:lnTo>
                  <a:lnTo>
                    <a:pt x="92" y="70"/>
                  </a:lnTo>
                  <a:lnTo>
                    <a:pt x="87" y="66"/>
                  </a:lnTo>
                  <a:lnTo>
                    <a:pt x="84" y="66"/>
                  </a:lnTo>
                  <a:lnTo>
                    <a:pt x="80" y="68"/>
                  </a:lnTo>
                  <a:lnTo>
                    <a:pt x="79" y="72"/>
                  </a:lnTo>
                  <a:lnTo>
                    <a:pt x="77" y="82"/>
                  </a:lnTo>
                  <a:lnTo>
                    <a:pt x="79" y="85"/>
                  </a:lnTo>
                  <a:lnTo>
                    <a:pt x="80" y="89"/>
                  </a:lnTo>
                  <a:lnTo>
                    <a:pt x="80" y="89"/>
                  </a:lnTo>
                  <a:lnTo>
                    <a:pt x="86" y="92"/>
                  </a:lnTo>
                  <a:lnTo>
                    <a:pt x="87" y="98"/>
                  </a:lnTo>
                  <a:lnTo>
                    <a:pt x="91" y="103"/>
                  </a:lnTo>
                  <a:lnTo>
                    <a:pt x="92" y="106"/>
                  </a:lnTo>
                  <a:lnTo>
                    <a:pt x="92" y="106"/>
                  </a:lnTo>
                  <a:lnTo>
                    <a:pt x="94" y="108"/>
                  </a:lnTo>
                  <a:lnTo>
                    <a:pt x="94" y="110"/>
                  </a:lnTo>
                  <a:lnTo>
                    <a:pt x="92" y="113"/>
                  </a:lnTo>
                  <a:lnTo>
                    <a:pt x="91" y="115"/>
                  </a:lnTo>
                  <a:lnTo>
                    <a:pt x="94" y="117"/>
                  </a:lnTo>
                  <a:lnTo>
                    <a:pt x="94" y="117"/>
                  </a:lnTo>
                  <a:lnTo>
                    <a:pt x="96" y="117"/>
                  </a:lnTo>
                  <a:lnTo>
                    <a:pt x="101" y="120"/>
                  </a:lnTo>
                  <a:lnTo>
                    <a:pt x="110" y="131"/>
                  </a:lnTo>
                  <a:lnTo>
                    <a:pt x="119" y="143"/>
                  </a:lnTo>
                  <a:lnTo>
                    <a:pt x="126" y="148"/>
                  </a:lnTo>
                  <a:lnTo>
                    <a:pt x="126" y="148"/>
                  </a:lnTo>
                  <a:lnTo>
                    <a:pt x="129" y="152"/>
                  </a:lnTo>
                  <a:lnTo>
                    <a:pt x="131" y="155"/>
                  </a:lnTo>
                  <a:lnTo>
                    <a:pt x="133" y="160"/>
                  </a:lnTo>
                  <a:lnTo>
                    <a:pt x="136" y="164"/>
                  </a:lnTo>
                  <a:lnTo>
                    <a:pt x="136" y="164"/>
                  </a:lnTo>
                  <a:lnTo>
                    <a:pt x="145" y="171"/>
                  </a:lnTo>
                  <a:lnTo>
                    <a:pt x="146" y="174"/>
                  </a:lnTo>
                  <a:lnTo>
                    <a:pt x="146" y="176"/>
                  </a:lnTo>
                  <a:lnTo>
                    <a:pt x="146" y="176"/>
                  </a:lnTo>
                  <a:lnTo>
                    <a:pt x="146" y="178"/>
                  </a:lnTo>
                  <a:lnTo>
                    <a:pt x="148" y="178"/>
                  </a:lnTo>
                  <a:lnTo>
                    <a:pt x="150" y="179"/>
                  </a:lnTo>
                  <a:lnTo>
                    <a:pt x="153" y="183"/>
                  </a:lnTo>
                  <a:lnTo>
                    <a:pt x="153" y="183"/>
                  </a:lnTo>
                  <a:lnTo>
                    <a:pt x="157" y="186"/>
                  </a:lnTo>
                  <a:lnTo>
                    <a:pt x="162" y="190"/>
                  </a:lnTo>
                  <a:lnTo>
                    <a:pt x="173" y="195"/>
                  </a:lnTo>
                  <a:lnTo>
                    <a:pt x="173" y="195"/>
                  </a:lnTo>
                  <a:lnTo>
                    <a:pt x="174" y="199"/>
                  </a:lnTo>
                  <a:lnTo>
                    <a:pt x="176" y="200"/>
                  </a:lnTo>
                  <a:lnTo>
                    <a:pt x="180" y="202"/>
                  </a:lnTo>
                  <a:lnTo>
                    <a:pt x="183" y="204"/>
                  </a:lnTo>
                  <a:lnTo>
                    <a:pt x="183" y="206"/>
                  </a:lnTo>
                  <a:lnTo>
                    <a:pt x="181" y="207"/>
                  </a:lnTo>
                  <a:lnTo>
                    <a:pt x="181" y="207"/>
                  </a:lnTo>
                  <a:lnTo>
                    <a:pt x="180" y="204"/>
                  </a:lnTo>
                  <a:lnTo>
                    <a:pt x="174" y="204"/>
                  </a:lnTo>
                  <a:lnTo>
                    <a:pt x="174" y="204"/>
                  </a:lnTo>
                  <a:lnTo>
                    <a:pt x="171" y="204"/>
                  </a:lnTo>
                  <a:lnTo>
                    <a:pt x="171" y="204"/>
                  </a:lnTo>
                  <a:lnTo>
                    <a:pt x="167" y="199"/>
                  </a:lnTo>
                  <a:lnTo>
                    <a:pt x="160" y="192"/>
                  </a:lnTo>
                  <a:lnTo>
                    <a:pt x="153" y="188"/>
                  </a:lnTo>
                  <a:lnTo>
                    <a:pt x="145" y="185"/>
                  </a:lnTo>
                  <a:lnTo>
                    <a:pt x="145" y="185"/>
                  </a:lnTo>
                  <a:lnTo>
                    <a:pt x="129" y="178"/>
                  </a:lnTo>
                  <a:lnTo>
                    <a:pt x="124" y="174"/>
                  </a:lnTo>
                  <a:lnTo>
                    <a:pt x="124" y="174"/>
                  </a:lnTo>
                  <a:lnTo>
                    <a:pt x="127" y="174"/>
                  </a:lnTo>
                  <a:lnTo>
                    <a:pt x="139" y="178"/>
                  </a:lnTo>
                  <a:lnTo>
                    <a:pt x="139" y="178"/>
                  </a:lnTo>
                  <a:lnTo>
                    <a:pt x="129" y="166"/>
                  </a:lnTo>
                  <a:lnTo>
                    <a:pt x="117" y="157"/>
                  </a:lnTo>
                  <a:lnTo>
                    <a:pt x="106" y="152"/>
                  </a:lnTo>
                  <a:lnTo>
                    <a:pt x="101" y="150"/>
                  </a:lnTo>
                  <a:lnTo>
                    <a:pt x="94" y="150"/>
                  </a:lnTo>
                  <a:lnTo>
                    <a:pt x="94" y="150"/>
                  </a:lnTo>
                  <a:lnTo>
                    <a:pt x="87" y="150"/>
                  </a:lnTo>
                  <a:lnTo>
                    <a:pt x="86" y="150"/>
                  </a:lnTo>
                  <a:lnTo>
                    <a:pt x="86" y="148"/>
                  </a:lnTo>
                  <a:lnTo>
                    <a:pt x="82" y="141"/>
                  </a:lnTo>
                  <a:lnTo>
                    <a:pt x="77" y="136"/>
                  </a:lnTo>
                  <a:lnTo>
                    <a:pt x="70" y="129"/>
                  </a:lnTo>
                  <a:lnTo>
                    <a:pt x="70" y="129"/>
                  </a:lnTo>
                  <a:lnTo>
                    <a:pt x="61" y="122"/>
                  </a:lnTo>
                  <a:lnTo>
                    <a:pt x="58" y="119"/>
                  </a:lnTo>
                  <a:lnTo>
                    <a:pt x="58" y="115"/>
                  </a:lnTo>
                  <a:lnTo>
                    <a:pt x="58" y="113"/>
                  </a:lnTo>
                  <a:lnTo>
                    <a:pt x="59" y="112"/>
                  </a:lnTo>
                  <a:lnTo>
                    <a:pt x="59" y="110"/>
                  </a:lnTo>
                  <a:lnTo>
                    <a:pt x="59" y="106"/>
                  </a:lnTo>
                  <a:lnTo>
                    <a:pt x="54" y="101"/>
                  </a:lnTo>
                  <a:lnTo>
                    <a:pt x="54" y="101"/>
                  </a:lnTo>
                  <a:lnTo>
                    <a:pt x="51" y="96"/>
                  </a:lnTo>
                  <a:lnTo>
                    <a:pt x="49" y="91"/>
                  </a:lnTo>
                  <a:lnTo>
                    <a:pt x="49" y="82"/>
                  </a:lnTo>
                  <a:lnTo>
                    <a:pt x="47" y="79"/>
                  </a:lnTo>
                  <a:lnTo>
                    <a:pt x="47" y="75"/>
                  </a:lnTo>
                  <a:lnTo>
                    <a:pt x="42" y="70"/>
                  </a:lnTo>
                  <a:lnTo>
                    <a:pt x="37" y="63"/>
                  </a:lnTo>
                  <a:lnTo>
                    <a:pt x="37" y="63"/>
                  </a:lnTo>
                  <a:lnTo>
                    <a:pt x="32" y="61"/>
                  </a:lnTo>
                  <a:lnTo>
                    <a:pt x="28" y="61"/>
                  </a:lnTo>
                  <a:lnTo>
                    <a:pt x="25" y="63"/>
                  </a:lnTo>
                  <a:lnTo>
                    <a:pt x="23" y="66"/>
                  </a:lnTo>
                  <a:lnTo>
                    <a:pt x="18" y="87"/>
                  </a:lnTo>
                  <a:lnTo>
                    <a:pt x="18" y="87"/>
                  </a:lnTo>
                  <a:lnTo>
                    <a:pt x="16" y="89"/>
                  </a:lnTo>
                  <a:lnTo>
                    <a:pt x="12" y="87"/>
                  </a:lnTo>
                  <a:lnTo>
                    <a:pt x="7" y="79"/>
                  </a:lnTo>
                  <a:lnTo>
                    <a:pt x="2" y="65"/>
                  </a:lnTo>
                  <a:lnTo>
                    <a:pt x="0" y="54"/>
                  </a:lnTo>
                  <a:lnTo>
                    <a:pt x="0" y="54"/>
                  </a:lnTo>
                  <a:lnTo>
                    <a:pt x="0" y="52"/>
                  </a:lnTo>
                  <a:lnTo>
                    <a:pt x="0" y="52"/>
                  </a:lnTo>
                  <a:lnTo>
                    <a:pt x="14" y="52"/>
                  </a:lnTo>
                  <a:lnTo>
                    <a:pt x="23" y="51"/>
                  </a:lnTo>
                  <a:lnTo>
                    <a:pt x="30" y="49"/>
                  </a:lnTo>
                  <a:lnTo>
                    <a:pt x="33" y="47"/>
                  </a:lnTo>
                  <a:lnTo>
                    <a:pt x="37" y="45"/>
                  </a:lnTo>
                  <a:lnTo>
                    <a:pt x="40" y="47"/>
                  </a:lnTo>
                  <a:lnTo>
                    <a:pt x="40" y="47"/>
                  </a:lnTo>
                  <a:lnTo>
                    <a:pt x="45" y="52"/>
                  </a:lnTo>
                  <a:lnTo>
                    <a:pt x="47" y="52"/>
                  </a:lnTo>
                  <a:lnTo>
                    <a:pt x="49" y="51"/>
                  </a:lnTo>
                  <a:lnTo>
                    <a:pt x="52" y="51"/>
                  </a:lnTo>
                  <a:lnTo>
                    <a:pt x="52" y="51"/>
                  </a:lnTo>
                  <a:lnTo>
                    <a:pt x="61" y="56"/>
                  </a:lnTo>
                  <a:lnTo>
                    <a:pt x="63" y="54"/>
                  </a:lnTo>
                  <a:lnTo>
                    <a:pt x="63" y="51"/>
                  </a:lnTo>
                  <a:lnTo>
                    <a:pt x="63" y="51"/>
                  </a:lnTo>
                  <a:lnTo>
                    <a:pt x="63" y="45"/>
                  </a:lnTo>
                  <a:lnTo>
                    <a:pt x="65" y="42"/>
                  </a:lnTo>
                  <a:lnTo>
                    <a:pt x="68" y="38"/>
                  </a:lnTo>
                  <a:lnTo>
                    <a:pt x="73" y="37"/>
                  </a:lnTo>
                  <a:lnTo>
                    <a:pt x="77" y="33"/>
                  </a:lnTo>
                  <a:lnTo>
                    <a:pt x="77" y="33"/>
                  </a:lnTo>
                  <a:lnTo>
                    <a:pt x="77" y="30"/>
                  </a:lnTo>
                  <a:lnTo>
                    <a:pt x="75" y="25"/>
                  </a:lnTo>
                  <a:lnTo>
                    <a:pt x="73" y="21"/>
                  </a:lnTo>
                  <a:lnTo>
                    <a:pt x="73" y="18"/>
                  </a:lnTo>
                  <a:lnTo>
                    <a:pt x="73" y="18"/>
                  </a:lnTo>
                  <a:lnTo>
                    <a:pt x="77" y="14"/>
                  </a:lnTo>
                  <a:lnTo>
                    <a:pt x="86" y="12"/>
                  </a:lnTo>
                  <a:lnTo>
                    <a:pt x="92" y="9"/>
                  </a:lnTo>
                  <a:lnTo>
                    <a:pt x="96" y="7"/>
                  </a:lnTo>
                  <a:lnTo>
                    <a:pt x="96" y="7"/>
                  </a:lnTo>
                  <a:lnTo>
                    <a:pt x="96" y="5"/>
                  </a:lnTo>
                  <a:lnTo>
                    <a:pt x="96" y="4"/>
                  </a:lnTo>
                  <a:lnTo>
                    <a:pt x="96" y="2"/>
                  </a:lnTo>
                  <a:lnTo>
                    <a:pt x="96" y="0"/>
                  </a:lnTo>
                  <a:lnTo>
                    <a:pt x="96" y="0"/>
                  </a:lnTo>
                  <a:lnTo>
                    <a:pt x="98" y="0"/>
                  </a:lnTo>
                  <a:lnTo>
                    <a:pt x="101" y="0"/>
                  </a:lnTo>
                  <a:lnTo>
                    <a:pt x="105" y="2"/>
                  </a:lnTo>
                  <a:lnTo>
                    <a:pt x="105" y="2"/>
                  </a:lnTo>
                  <a:lnTo>
                    <a:pt x="115" y="9"/>
                  </a:lnTo>
                  <a:lnTo>
                    <a:pt x="124" y="14"/>
                  </a:lnTo>
                  <a:lnTo>
                    <a:pt x="131" y="23"/>
                  </a:lnTo>
                  <a:lnTo>
                    <a:pt x="134" y="28"/>
                  </a:lnTo>
                  <a:lnTo>
                    <a:pt x="134" y="30"/>
                  </a:lnTo>
                  <a:lnTo>
                    <a:pt x="138" y="30"/>
                  </a:lnTo>
                  <a:lnTo>
                    <a:pt x="138" y="30"/>
                  </a:lnTo>
                  <a:lnTo>
                    <a:pt x="145" y="31"/>
                  </a:lnTo>
                  <a:lnTo>
                    <a:pt x="153" y="35"/>
                  </a:lnTo>
                  <a:lnTo>
                    <a:pt x="162" y="38"/>
                  </a:lnTo>
                  <a:lnTo>
                    <a:pt x="167" y="40"/>
                  </a:lnTo>
                  <a:lnTo>
                    <a:pt x="171" y="38"/>
                  </a:lnTo>
                  <a:lnTo>
                    <a:pt x="171" y="38"/>
                  </a:lnTo>
                  <a:lnTo>
                    <a:pt x="176" y="37"/>
                  </a:lnTo>
                  <a:lnTo>
                    <a:pt x="178" y="33"/>
                  </a:lnTo>
                  <a:lnTo>
                    <a:pt x="180" y="31"/>
                  </a:lnTo>
                  <a:lnTo>
                    <a:pt x="185" y="31"/>
                  </a:lnTo>
                  <a:lnTo>
                    <a:pt x="185" y="31"/>
                  </a:lnTo>
                  <a:lnTo>
                    <a:pt x="188" y="33"/>
                  </a:lnTo>
                  <a:lnTo>
                    <a:pt x="188" y="37"/>
                  </a:lnTo>
                  <a:lnTo>
                    <a:pt x="190" y="45"/>
                  </a:lnTo>
                  <a:lnTo>
                    <a:pt x="192" y="54"/>
                  </a:lnTo>
                  <a:lnTo>
                    <a:pt x="193" y="59"/>
                  </a:lnTo>
                  <a:lnTo>
                    <a:pt x="193" y="59"/>
                  </a:lnTo>
                  <a:lnTo>
                    <a:pt x="200" y="63"/>
                  </a:lnTo>
                  <a:lnTo>
                    <a:pt x="204" y="65"/>
                  </a:lnTo>
                  <a:lnTo>
                    <a:pt x="207" y="65"/>
                  </a:lnTo>
                  <a:lnTo>
                    <a:pt x="206" y="66"/>
                  </a:lnTo>
                  <a:lnTo>
                    <a:pt x="206" y="66"/>
                  </a:lnTo>
                  <a:lnTo>
                    <a:pt x="204" y="68"/>
                  </a:lnTo>
                  <a:lnTo>
                    <a:pt x="200" y="70"/>
                  </a:lnTo>
                  <a:lnTo>
                    <a:pt x="195" y="73"/>
                  </a:lnTo>
                  <a:lnTo>
                    <a:pt x="193" y="77"/>
                  </a:lnTo>
                  <a:lnTo>
                    <a:pt x="193" y="82"/>
                  </a:lnTo>
                  <a:lnTo>
                    <a:pt x="193" y="8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9" name="Freeform 2229">
              <a:extLst>
                <a:ext uri="{FF2B5EF4-FFF2-40B4-BE49-F238E27FC236}">
                  <a16:creationId xmlns:a16="http://schemas.microsoft.com/office/drawing/2014/main" id="{A8E98317-4217-433F-98C8-6AAD6FFE1ED1}"/>
                </a:ext>
              </a:extLst>
            </p:cNvPr>
            <p:cNvSpPr>
              <a:spLocks/>
            </p:cNvSpPr>
            <p:nvPr/>
          </p:nvSpPr>
          <p:spPr bwMode="auto">
            <a:xfrm>
              <a:off x="4987557" y="2740966"/>
              <a:ext cx="216725" cy="107482"/>
            </a:xfrm>
            <a:custGeom>
              <a:avLst/>
              <a:gdLst/>
              <a:ahLst/>
              <a:cxnLst>
                <a:cxn ang="0">
                  <a:pos x="14" y="73"/>
                </a:cxn>
                <a:cxn ang="0">
                  <a:pos x="28" y="87"/>
                </a:cxn>
                <a:cxn ang="0">
                  <a:pos x="33" y="84"/>
                </a:cxn>
                <a:cxn ang="0">
                  <a:pos x="39" y="75"/>
                </a:cxn>
                <a:cxn ang="0">
                  <a:pos x="51" y="75"/>
                </a:cxn>
                <a:cxn ang="0">
                  <a:pos x="58" y="84"/>
                </a:cxn>
                <a:cxn ang="0">
                  <a:pos x="75" y="73"/>
                </a:cxn>
                <a:cxn ang="0">
                  <a:pos x="91" y="71"/>
                </a:cxn>
                <a:cxn ang="0">
                  <a:pos x="98" y="66"/>
                </a:cxn>
                <a:cxn ang="0">
                  <a:pos x="110" y="71"/>
                </a:cxn>
                <a:cxn ang="0">
                  <a:pos x="115" y="71"/>
                </a:cxn>
                <a:cxn ang="0">
                  <a:pos x="128" y="78"/>
                </a:cxn>
                <a:cxn ang="0">
                  <a:pos x="124" y="70"/>
                </a:cxn>
                <a:cxn ang="0">
                  <a:pos x="122" y="63"/>
                </a:cxn>
                <a:cxn ang="0">
                  <a:pos x="117" y="49"/>
                </a:cxn>
                <a:cxn ang="0">
                  <a:pos x="124" y="40"/>
                </a:cxn>
                <a:cxn ang="0">
                  <a:pos x="140" y="33"/>
                </a:cxn>
                <a:cxn ang="0">
                  <a:pos x="141" y="24"/>
                </a:cxn>
                <a:cxn ang="0">
                  <a:pos x="154" y="19"/>
                </a:cxn>
                <a:cxn ang="0">
                  <a:pos x="159" y="17"/>
                </a:cxn>
                <a:cxn ang="0">
                  <a:pos x="169" y="23"/>
                </a:cxn>
                <a:cxn ang="0">
                  <a:pos x="192" y="14"/>
                </a:cxn>
                <a:cxn ang="0">
                  <a:pos x="195" y="0"/>
                </a:cxn>
                <a:cxn ang="0">
                  <a:pos x="202" y="5"/>
                </a:cxn>
                <a:cxn ang="0">
                  <a:pos x="215" y="7"/>
                </a:cxn>
                <a:cxn ang="0">
                  <a:pos x="242" y="14"/>
                </a:cxn>
                <a:cxn ang="0">
                  <a:pos x="256" y="14"/>
                </a:cxn>
                <a:cxn ang="0">
                  <a:pos x="260" y="31"/>
                </a:cxn>
                <a:cxn ang="0">
                  <a:pos x="270" y="51"/>
                </a:cxn>
                <a:cxn ang="0">
                  <a:pos x="267" y="68"/>
                </a:cxn>
                <a:cxn ang="0">
                  <a:pos x="249" y="66"/>
                </a:cxn>
                <a:cxn ang="0">
                  <a:pos x="251" y="71"/>
                </a:cxn>
                <a:cxn ang="0">
                  <a:pos x="255" y="78"/>
                </a:cxn>
                <a:cxn ang="0">
                  <a:pos x="246" y="85"/>
                </a:cxn>
                <a:cxn ang="0">
                  <a:pos x="248" y="98"/>
                </a:cxn>
                <a:cxn ang="0">
                  <a:pos x="235" y="110"/>
                </a:cxn>
                <a:cxn ang="0">
                  <a:pos x="230" y="113"/>
                </a:cxn>
                <a:cxn ang="0">
                  <a:pos x="222" y="118"/>
                </a:cxn>
                <a:cxn ang="0">
                  <a:pos x="206" y="122"/>
                </a:cxn>
                <a:cxn ang="0">
                  <a:pos x="190" y="125"/>
                </a:cxn>
                <a:cxn ang="0">
                  <a:pos x="178" y="134"/>
                </a:cxn>
                <a:cxn ang="0">
                  <a:pos x="171" y="131"/>
                </a:cxn>
                <a:cxn ang="0">
                  <a:pos x="148" y="127"/>
                </a:cxn>
                <a:cxn ang="0">
                  <a:pos x="101" y="117"/>
                </a:cxn>
                <a:cxn ang="0">
                  <a:pos x="100" y="110"/>
                </a:cxn>
                <a:cxn ang="0">
                  <a:pos x="94" y="106"/>
                </a:cxn>
                <a:cxn ang="0">
                  <a:pos x="96" y="99"/>
                </a:cxn>
                <a:cxn ang="0">
                  <a:pos x="74" y="103"/>
                </a:cxn>
                <a:cxn ang="0">
                  <a:pos x="60" y="106"/>
                </a:cxn>
                <a:cxn ang="0">
                  <a:pos x="53" y="115"/>
                </a:cxn>
                <a:cxn ang="0">
                  <a:pos x="35" y="110"/>
                </a:cxn>
                <a:cxn ang="0">
                  <a:pos x="32" y="105"/>
                </a:cxn>
                <a:cxn ang="0">
                  <a:pos x="23" y="110"/>
                </a:cxn>
                <a:cxn ang="0">
                  <a:pos x="18" y="103"/>
                </a:cxn>
                <a:cxn ang="0">
                  <a:pos x="4" y="101"/>
                </a:cxn>
                <a:cxn ang="0">
                  <a:pos x="7" y="85"/>
                </a:cxn>
              </a:cxnLst>
              <a:rect l="0" t="0" r="r" b="b"/>
              <a:pathLst>
                <a:path w="270" h="134">
                  <a:moveTo>
                    <a:pt x="4" y="77"/>
                  </a:moveTo>
                  <a:lnTo>
                    <a:pt x="4" y="77"/>
                  </a:lnTo>
                  <a:lnTo>
                    <a:pt x="9" y="73"/>
                  </a:lnTo>
                  <a:lnTo>
                    <a:pt x="14" y="73"/>
                  </a:lnTo>
                  <a:lnTo>
                    <a:pt x="18" y="75"/>
                  </a:lnTo>
                  <a:lnTo>
                    <a:pt x="21" y="78"/>
                  </a:lnTo>
                  <a:lnTo>
                    <a:pt x="25" y="85"/>
                  </a:lnTo>
                  <a:lnTo>
                    <a:pt x="28" y="87"/>
                  </a:lnTo>
                  <a:lnTo>
                    <a:pt x="30" y="87"/>
                  </a:lnTo>
                  <a:lnTo>
                    <a:pt x="30" y="87"/>
                  </a:lnTo>
                  <a:lnTo>
                    <a:pt x="33" y="85"/>
                  </a:lnTo>
                  <a:lnTo>
                    <a:pt x="33" y="84"/>
                  </a:lnTo>
                  <a:lnTo>
                    <a:pt x="35" y="78"/>
                  </a:lnTo>
                  <a:lnTo>
                    <a:pt x="35" y="75"/>
                  </a:lnTo>
                  <a:lnTo>
                    <a:pt x="37" y="73"/>
                  </a:lnTo>
                  <a:lnTo>
                    <a:pt x="39" y="75"/>
                  </a:lnTo>
                  <a:lnTo>
                    <a:pt x="39" y="75"/>
                  </a:lnTo>
                  <a:lnTo>
                    <a:pt x="44" y="75"/>
                  </a:lnTo>
                  <a:lnTo>
                    <a:pt x="47" y="75"/>
                  </a:lnTo>
                  <a:lnTo>
                    <a:pt x="51" y="75"/>
                  </a:lnTo>
                  <a:lnTo>
                    <a:pt x="53" y="80"/>
                  </a:lnTo>
                  <a:lnTo>
                    <a:pt x="53" y="80"/>
                  </a:lnTo>
                  <a:lnTo>
                    <a:pt x="54" y="82"/>
                  </a:lnTo>
                  <a:lnTo>
                    <a:pt x="58" y="84"/>
                  </a:lnTo>
                  <a:lnTo>
                    <a:pt x="63" y="82"/>
                  </a:lnTo>
                  <a:lnTo>
                    <a:pt x="68" y="78"/>
                  </a:lnTo>
                  <a:lnTo>
                    <a:pt x="75" y="73"/>
                  </a:lnTo>
                  <a:lnTo>
                    <a:pt x="75" y="73"/>
                  </a:lnTo>
                  <a:lnTo>
                    <a:pt x="79" y="71"/>
                  </a:lnTo>
                  <a:lnTo>
                    <a:pt x="82" y="70"/>
                  </a:lnTo>
                  <a:lnTo>
                    <a:pt x="87" y="71"/>
                  </a:lnTo>
                  <a:lnTo>
                    <a:pt x="91" y="71"/>
                  </a:lnTo>
                  <a:lnTo>
                    <a:pt x="94" y="71"/>
                  </a:lnTo>
                  <a:lnTo>
                    <a:pt x="96" y="68"/>
                  </a:lnTo>
                  <a:lnTo>
                    <a:pt x="96" y="68"/>
                  </a:lnTo>
                  <a:lnTo>
                    <a:pt x="98" y="66"/>
                  </a:lnTo>
                  <a:lnTo>
                    <a:pt x="100" y="66"/>
                  </a:lnTo>
                  <a:lnTo>
                    <a:pt x="103" y="68"/>
                  </a:lnTo>
                  <a:lnTo>
                    <a:pt x="108" y="70"/>
                  </a:lnTo>
                  <a:lnTo>
                    <a:pt x="110" y="71"/>
                  </a:lnTo>
                  <a:lnTo>
                    <a:pt x="112" y="71"/>
                  </a:lnTo>
                  <a:lnTo>
                    <a:pt x="112" y="71"/>
                  </a:lnTo>
                  <a:lnTo>
                    <a:pt x="114" y="70"/>
                  </a:lnTo>
                  <a:lnTo>
                    <a:pt x="115" y="71"/>
                  </a:lnTo>
                  <a:lnTo>
                    <a:pt x="119" y="77"/>
                  </a:lnTo>
                  <a:lnTo>
                    <a:pt x="124" y="80"/>
                  </a:lnTo>
                  <a:lnTo>
                    <a:pt x="126" y="80"/>
                  </a:lnTo>
                  <a:lnTo>
                    <a:pt x="128" y="78"/>
                  </a:lnTo>
                  <a:lnTo>
                    <a:pt x="128" y="78"/>
                  </a:lnTo>
                  <a:lnTo>
                    <a:pt x="129" y="75"/>
                  </a:lnTo>
                  <a:lnTo>
                    <a:pt x="128" y="73"/>
                  </a:lnTo>
                  <a:lnTo>
                    <a:pt x="124" y="70"/>
                  </a:lnTo>
                  <a:lnTo>
                    <a:pt x="121" y="66"/>
                  </a:lnTo>
                  <a:lnTo>
                    <a:pt x="121" y="64"/>
                  </a:lnTo>
                  <a:lnTo>
                    <a:pt x="122" y="63"/>
                  </a:lnTo>
                  <a:lnTo>
                    <a:pt x="122" y="63"/>
                  </a:lnTo>
                  <a:lnTo>
                    <a:pt x="124" y="61"/>
                  </a:lnTo>
                  <a:lnTo>
                    <a:pt x="124" y="58"/>
                  </a:lnTo>
                  <a:lnTo>
                    <a:pt x="121" y="54"/>
                  </a:lnTo>
                  <a:lnTo>
                    <a:pt x="117" y="49"/>
                  </a:lnTo>
                  <a:lnTo>
                    <a:pt x="117" y="45"/>
                  </a:lnTo>
                  <a:lnTo>
                    <a:pt x="121" y="42"/>
                  </a:lnTo>
                  <a:lnTo>
                    <a:pt x="121" y="42"/>
                  </a:lnTo>
                  <a:lnTo>
                    <a:pt x="124" y="40"/>
                  </a:lnTo>
                  <a:lnTo>
                    <a:pt x="128" y="38"/>
                  </a:lnTo>
                  <a:lnTo>
                    <a:pt x="133" y="37"/>
                  </a:lnTo>
                  <a:lnTo>
                    <a:pt x="138" y="35"/>
                  </a:lnTo>
                  <a:lnTo>
                    <a:pt x="140" y="33"/>
                  </a:lnTo>
                  <a:lnTo>
                    <a:pt x="140" y="30"/>
                  </a:lnTo>
                  <a:lnTo>
                    <a:pt x="140" y="30"/>
                  </a:lnTo>
                  <a:lnTo>
                    <a:pt x="141" y="26"/>
                  </a:lnTo>
                  <a:lnTo>
                    <a:pt x="141" y="24"/>
                  </a:lnTo>
                  <a:lnTo>
                    <a:pt x="147" y="24"/>
                  </a:lnTo>
                  <a:lnTo>
                    <a:pt x="148" y="24"/>
                  </a:lnTo>
                  <a:lnTo>
                    <a:pt x="150" y="23"/>
                  </a:lnTo>
                  <a:lnTo>
                    <a:pt x="154" y="19"/>
                  </a:lnTo>
                  <a:lnTo>
                    <a:pt x="154" y="14"/>
                  </a:lnTo>
                  <a:lnTo>
                    <a:pt x="154" y="14"/>
                  </a:lnTo>
                  <a:lnTo>
                    <a:pt x="157" y="16"/>
                  </a:lnTo>
                  <a:lnTo>
                    <a:pt x="159" y="17"/>
                  </a:lnTo>
                  <a:lnTo>
                    <a:pt x="161" y="21"/>
                  </a:lnTo>
                  <a:lnTo>
                    <a:pt x="161" y="23"/>
                  </a:lnTo>
                  <a:lnTo>
                    <a:pt x="162" y="24"/>
                  </a:lnTo>
                  <a:lnTo>
                    <a:pt x="169" y="23"/>
                  </a:lnTo>
                  <a:lnTo>
                    <a:pt x="169" y="23"/>
                  </a:lnTo>
                  <a:lnTo>
                    <a:pt x="187" y="17"/>
                  </a:lnTo>
                  <a:lnTo>
                    <a:pt x="190" y="16"/>
                  </a:lnTo>
                  <a:lnTo>
                    <a:pt x="192" y="14"/>
                  </a:lnTo>
                  <a:lnTo>
                    <a:pt x="194" y="10"/>
                  </a:lnTo>
                  <a:lnTo>
                    <a:pt x="194" y="7"/>
                  </a:lnTo>
                  <a:lnTo>
                    <a:pt x="194" y="7"/>
                  </a:lnTo>
                  <a:lnTo>
                    <a:pt x="195" y="0"/>
                  </a:lnTo>
                  <a:lnTo>
                    <a:pt x="195" y="0"/>
                  </a:lnTo>
                  <a:lnTo>
                    <a:pt x="197" y="2"/>
                  </a:lnTo>
                  <a:lnTo>
                    <a:pt x="201" y="4"/>
                  </a:lnTo>
                  <a:lnTo>
                    <a:pt x="202" y="5"/>
                  </a:lnTo>
                  <a:lnTo>
                    <a:pt x="206" y="5"/>
                  </a:lnTo>
                  <a:lnTo>
                    <a:pt x="206" y="5"/>
                  </a:lnTo>
                  <a:lnTo>
                    <a:pt x="211" y="5"/>
                  </a:lnTo>
                  <a:lnTo>
                    <a:pt x="215" y="7"/>
                  </a:lnTo>
                  <a:lnTo>
                    <a:pt x="225" y="10"/>
                  </a:lnTo>
                  <a:lnTo>
                    <a:pt x="234" y="14"/>
                  </a:lnTo>
                  <a:lnTo>
                    <a:pt x="239" y="16"/>
                  </a:lnTo>
                  <a:lnTo>
                    <a:pt x="242" y="14"/>
                  </a:lnTo>
                  <a:lnTo>
                    <a:pt x="242" y="14"/>
                  </a:lnTo>
                  <a:lnTo>
                    <a:pt x="246" y="12"/>
                  </a:lnTo>
                  <a:lnTo>
                    <a:pt x="249" y="12"/>
                  </a:lnTo>
                  <a:lnTo>
                    <a:pt x="256" y="14"/>
                  </a:lnTo>
                  <a:lnTo>
                    <a:pt x="263" y="19"/>
                  </a:lnTo>
                  <a:lnTo>
                    <a:pt x="263" y="19"/>
                  </a:lnTo>
                  <a:lnTo>
                    <a:pt x="262" y="26"/>
                  </a:lnTo>
                  <a:lnTo>
                    <a:pt x="260" y="31"/>
                  </a:lnTo>
                  <a:lnTo>
                    <a:pt x="260" y="35"/>
                  </a:lnTo>
                  <a:lnTo>
                    <a:pt x="262" y="38"/>
                  </a:lnTo>
                  <a:lnTo>
                    <a:pt x="270" y="51"/>
                  </a:lnTo>
                  <a:lnTo>
                    <a:pt x="270" y="51"/>
                  </a:lnTo>
                  <a:lnTo>
                    <a:pt x="269" y="56"/>
                  </a:lnTo>
                  <a:lnTo>
                    <a:pt x="269" y="63"/>
                  </a:lnTo>
                  <a:lnTo>
                    <a:pt x="269" y="66"/>
                  </a:lnTo>
                  <a:lnTo>
                    <a:pt x="267" y="68"/>
                  </a:lnTo>
                  <a:lnTo>
                    <a:pt x="267" y="68"/>
                  </a:lnTo>
                  <a:lnTo>
                    <a:pt x="267" y="68"/>
                  </a:lnTo>
                  <a:lnTo>
                    <a:pt x="255" y="68"/>
                  </a:lnTo>
                  <a:lnTo>
                    <a:pt x="249" y="66"/>
                  </a:lnTo>
                  <a:lnTo>
                    <a:pt x="246" y="68"/>
                  </a:lnTo>
                  <a:lnTo>
                    <a:pt x="246" y="68"/>
                  </a:lnTo>
                  <a:lnTo>
                    <a:pt x="248" y="70"/>
                  </a:lnTo>
                  <a:lnTo>
                    <a:pt x="251" y="71"/>
                  </a:lnTo>
                  <a:lnTo>
                    <a:pt x="255" y="73"/>
                  </a:lnTo>
                  <a:lnTo>
                    <a:pt x="255" y="75"/>
                  </a:lnTo>
                  <a:lnTo>
                    <a:pt x="255" y="78"/>
                  </a:lnTo>
                  <a:lnTo>
                    <a:pt x="255" y="78"/>
                  </a:lnTo>
                  <a:lnTo>
                    <a:pt x="251" y="80"/>
                  </a:lnTo>
                  <a:lnTo>
                    <a:pt x="249" y="82"/>
                  </a:lnTo>
                  <a:lnTo>
                    <a:pt x="246" y="82"/>
                  </a:lnTo>
                  <a:lnTo>
                    <a:pt x="246" y="85"/>
                  </a:lnTo>
                  <a:lnTo>
                    <a:pt x="246" y="85"/>
                  </a:lnTo>
                  <a:lnTo>
                    <a:pt x="246" y="92"/>
                  </a:lnTo>
                  <a:lnTo>
                    <a:pt x="248" y="96"/>
                  </a:lnTo>
                  <a:lnTo>
                    <a:pt x="248" y="98"/>
                  </a:lnTo>
                  <a:lnTo>
                    <a:pt x="248" y="98"/>
                  </a:lnTo>
                  <a:lnTo>
                    <a:pt x="248" y="98"/>
                  </a:lnTo>
                  <a:lnTo>
                    <a:pt x="235" y="110"/>
                  </a:lnTo>
                  <a:lnTo>
                    <a:pt x="235" y="110"/>
                  </a:lnTo>
                  <a:lnTo>
                    <a:pt x="232" y="110"/>
                  </a:lnTo>
                  <a:lnTo>
                    <a:pt x="230" y="111"/>
                  </a:lnTo>
                  <a:lnTo>
                    <a:pt x="230" y="113"/>
                  </a:lnTo>
                  <a:lnTo>
                    <a:pt x="230" y="113"/>
                  </a:lnTo>
                  <a:lnTo>
                    <a:pt x="230" y="118"/>
                  </a:lnTo>
                  <a:lnTo>
                    <a:pt x="230" y="120"/>
                  </a:lnTo>
                  <a:lnTo>
                    <a:pt x="222" y="118"/>
                  </a:lnTo>
                  <a:lnTo>
                    <a:pt x="222" y="118"/>
                  </a:lnTo>
                  <a:lnTo>
                    <a:pt x="218" y="118"/>
                  </a:lnTo>
                  <a:lnTo>
                    <a:pt x="215" y="120"/>
                  </a:lnTo>
                  <a:lnTo>
                    <a:pt x="213" y="122"/>
                  </a:lnTo>
                  <a:lnTo>
                    <a:pt x="206" y="122"/>
                  </a:lnTo>
                  <a:lnTo>
                    <a:pt x="206" y="122"/>
                  </a:lnTo>
                  <a:lnTo>
                    <a:pt x="199" y="122"/>
                  </a:lnTo>
                  <a:lnTo>
                    <a:pt x="194" y="122"/>
                  </a:lnTo>
                  <a:lnTo>
                    <a:pt x="190" y="125"/>
                  </a:lnTo>
                  <a:lnTo>
                    <a:pt x="185" y="131"/>
                  </a:lnTo>
                  <a:lnTo>
                    <a:pt x="185" y="131"/>
                  </a:lnTo>
                  <a:lnTo>
                    <a:pt x="180" y="134"/>
                  </a:lnTo>
                  <a:lnTo>
                    <a:pt x="178" y="134"/>
                  </a:lnTo>
                  <a:lnTo>
                    <a:pt x="176" y="131"/>
                  </a:lnTo>
                  <a:lnTo>
                    <a:pt x="175" y="131"/>
                  </a:lnTo>
                  <a:lnTo>
                    <a:pt x="171" y="131"/>
                  </a:lnTo>
                  <a:lnTo>
                    <a:pt x="171" y="131"/>
                  </a:lnTo>
                  <a:lnTo>
                    <a:pt x="166" y="132"/>
                  </a:lnTo>
                  <a:lnTo>
                    <a:pt x="162" y="131"/>
                  </a:lnTo>
                  <a:lnTo>
                    <a:pt x="157" y="129"/>
                  </a:lnTo>
                  <a:lnTo>
                    <a:pt x="148" y="127"/>
                  </a:lnTo>
                  <a:lnTo>
                    <a:pt x="148" y="127"/>
                  </a:lnTo>
                  <a:lnTo>
                    <a:pt x="126" y="124"/>
                  </a:lnTo>
                  <a:lnTo>
                    <a:pt x="110" y="120"/>
                  </a:lnTo>
                  <a:lnTo>
                    <a:pt x="101" y="117"/>
                  </a:lnTo>
                  <a:lnTo>
                    <a:pt x="100" y="115"/>
                  </a:lnTo>
                  <a:lnTo>
                    <a:pt x="100" y="111"/>
                  </a:lnTo>
                  <a:lnTo>
                    <a:pt x="100" y="111"/>
                  </a:lnTo>
                  <a:lnTo>
                    <a:pt x="100" y="110"/>
                  </a:lnTo>
                  <a:lnTo>
                    <a:pt x="98" y="108"/>
                  </a:lnTo>
                  <a:lnTo>
                    <a:pt x="96" y="108"/>
                  </a:lnTo>
                  <a:lnTo>
                    <a:pt x="94" y="106"/>
                  </a:lnTo>
                  <a:lnTo>
                    <a:pt x="94" y="106"/>
                  </a:lnTo>
                  <a:lnTo>
                    <a:pt x="96" y="103"/>
                  </a:lnTo>
                  <a:lnTo>
                    <a:pt x="98" y="101"/>
                  </a:lnTo>
                  <a:lnTo>
                    <a:pt x="98" y="99"/>
                  </a:lnTo>
                  <a:lnTo>
                    <a:pt x="96" y="99"/>
                  </a:lnTo>
                  <a:lnTo>
                    <a:pt x="87" y="101"/>
                  </a:lnTo>
                  <a:lnTo>
                    <a:pt x="87" y="101"/>
                  </a:lnTo>
                  <a:lnTo>
                    <a:pt x="81" y="103"/>
                  </a:lnTo>
                  <a:lnTo>
                    <a:pt x="74" y="103"/>
                  </a:lnTo>
                  <a:lnTo>
                    <a:pt x="68" y="103"/>
                  </a:lnTo>
                  <a:lnTo>
                    <a:pt x="63" y="103"/>
                  </a:lnTo>
                  <a:lnTo>
                    <a:pt x="63" y="103"/>
                  </a:lnTo>
                  <a:lnTo>
                    <a:pt x="60" y="106"/>
                  </a:lnTo>
                  <a:lnTo>
                    <a:pt x="58" y="110"/>
                  </a:lnTo>
                  <a:lnTo>
                    <a:pt x="56" y="113"/>
                  </a:lnTo>
                  <a:lnTo>
                    <a:pt x="53" y="115"/>
                  </a:lnTo>
                  <a:lnTo>
                    <a:pt x="53" y="115"/>
                  </a:lnTo>
                  <a:lnTo>
                    <a:pt x="49" y="115"/>
                  </a:lnTo>
                  <a:lnTo>
                    <a:pt x="46" y="113"/>
                  </a:lnTo>
                  <a:lnTo>
                    <a:pt x="42" y="110"/>
                  </a:lnTo>
                  <a:lnTo>
                    <a:pt x="35" y="110"/>
                  </a:lnTo>
                  <a:lnTo>
                    <a:pt x="35" y="110"/>
                  </a:lnTo>
                  <a:lnTo>
                    <a:pt x="33" y="105"/>
                  </a:lnTo>
                  <a:lnTo>
                    <a:pt x="33" y="103"/>
                  </a:lnTo>
                  <a:lnTo>
                    <a:pt x="32" y="105"/>
                  </a:lnTo>
                  <a:lnTo>
                    <a:pt x="28" y="108"/>
                  </a:lnTo>
                  <a:lnTo>
                    <a:pt x="25" y="110"/>
                  </a:lnTo>
                  <a:lnTo>
                    <a:pt x="23" y="110"/>
                  </a:lnTo>
                  <a:lnTo>
                    <a:pt x="23" y="110"/>
                  </a:lnTo>
                  <a:lnTo>
                    <a:pt x="20" y="110"/>
                  </a:lnTo>
                  <a:lnTo>
                    <a:pt x="20" y="108"/>
                  </a:lnTo>
                  <a:lnTo>
                    <a:pt x="18" y="105"/>
                  </a:lnTo>
                  <a:lnTo>
                    <a:pt x="18" y="103"/>
                  </a:lnTo>
                  <a:lnTo>
                    <a:pt x="14" y="101"/>
                  </a:lnTo>
                  <a:lnTo>
                    <a:pt x="11" y="101"/>
                  </a:lnTo>
                  <a:lnTo>
                    <a:pt x="4" y="101"/>
                  </a:lnTo>
                  <a:lnTo>
                    <a:pt x="4" y="101"/>
                  </a:lnTo>
                  <a:lnTo>
                    <a:pt x="2" y="101"/>
                  </a:lnTo>
                  <a:lnTo>
                    <a:pt x="0" y="99"/>
                  </a:lnTo>
                  <a:lnTo>
                    <a:pt x="4" y="92"/>
                  </a:lnTo>
                  <a:lnTo>
                    <a:pt x="7" y="85"/>
                  </a:lnTo>
                  <a:lnTo>
                    <a:pt x="7" y="80"/>
                  </a:lnTo>
                  <a:lnTo>
                    <a:pt x="4" y="77"/>
                  </a:lnTo>
                  <a:lnTo>
                    <a:pt x="4" y="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70" name="Group 1035">
              <a:extLst>
                <a:ext uri="{FF2B5EF4-FFF2-40B4-BE49-F238E27FC236}">
                  <a16:creationId xmlns:a16="http://schemas.microsoft.com/office/drawing/2014/main" id="{AD41D9FB-7A18-4AA2-9452-B7CA2FB2563E}"/>
                </a:ext>
              </a:extLst>
            </p:cNvPr>
            <p:cNvGrpSpPr/>
            <p:nvPr/>
          </p:nvGrpSpPr>
          <p:grpSpPr bwMode="auto">
            <a:xfrm>
              <a:off x="5334671" y="2284609"/>
              <a:ext cx="177962" cy="95148"/>
              <a:chOff x="4635500" y="2257425"/>
              <a:chExt cx="160338" cy="85725"/>
            </a:xfrm>
            <a:solidFill>
              <a:srgbClr val="808183">
                <a:lumMod val="60000"/>
                <a:lumOff val="40000"/>
              </a:srgbClr>
            </a:solidFill>
          </p:grpSpPr>
          <p:sp>
            <p:nvSpPr>
              <p:cNvPr id="378" name="Freeform 2231">
                <a:extLst>
                  <a:ext uri="{FF2B5EF4-FFF2-40B4-BE49-F238E27FC236}">
                    <a16:creationId xmlns:a16="http://schemas.microsoft.com/office/drawing/2014/main" id="{3768E4F8-B6A6-4575-99C1-DDE05124EACB}"/>
                  </a:ext>
                </a:extLst>
              </p:cNvPr>
              <p:cNvSpPr>
                <a:spLocks/>
              </p:cNvSpPr>
              <p:nvPr/>
            </p:nvSpPr>
            <p:spPr bwMode="auto">
              <a:xfrm>
                <a:off x="4676775" y="2257425"/>
                <a:ext cx="119063" cy="85725"/>
              </a:xfrm>
              <a:custGeom>
                <a:avLst/>
                <a:gdLst/>
                <a:ahLst/>
                <a:cxnLst>
                  <a:cxn ang="0">
                    <a:pos x="30" y="99"/>
                  </a:cxn>
                  <a:cxn ang="0">
                    <a:pos x="51" y="90"/>
                  </a:cxn>
                  <a:cxn ang="0">
                    <a:pos x="63" y="87"/>
                  </a:cxn>
                  <a:cxn ang="0">
                    <a:pos x="70" y="90"/>
                  </a:cxn>
                  <a:cxn ang="0">
                    <a:pos x="81" y="99"/>
                  </a:cxn>
                  <a:cxn ang="0">
                    <a:pos x="89" y="101"/>
                  </a:cxn>
                  <a:cxn ang="0">
                    <a:pos x="94" y="104"/>
                  </a:cxn>
                  <a:cxn ang="0">
                    <a:pos x="103" y="115"/>
                  </a:cxn>
                  <a:cxn ang="0">
                    <a:pos x="110" y="118"/>
                  </a:cxn>
                  <a:cxn ang="0">
                    <a:pos x="115" y="116"/>
                  </a:cxn>
                  <a:cxn ang="0">
                    <a:pos x="124" y="115"/>
                  </a:cxn>
                  <a:cxn ang="0">
                    <a:pos x="133" y="118"/>
                  </a:cxn>
                  <a:cxn ang="0">
                    <a:pos x="138" y="116"/>
                  </a:cxn>
                  <a:cxn ang="0">
                    <a:pos x="141" y="109"/>
                  </a:cxn>
                  <a:cxn ang="0">
                    <a:pos x="150" y="102"/>
                  </a:cxn>
                  <a:cxn ang="0">
                    <a:pos x="152" y="99"/>
                  </a:cxn>
                  <a:cxn ang="0">
                    <a:pos x="147" y="89"/>
                  </a:cxn>
                  <a:cxn ang="0">
                    <a:pos x="141" y="78"/>
                  </a:cxn>
                  <a:cxn ang="0">
                    <a:pos x="143" y="75"/>
                  </a:cxn>
                  <a:cxn ang="0">
                    <a:pos x="145" y="71"/>
                  </a:cxn>
                  <a:cxn ang="0">
                    <a:pos x="141" y="59"/>
                  </a:cxn>
                  <a:cxn ang="0">
                    <a:pos x="140" y="52"/>
                  </a:cxn>
                  <a:cxn ang="0">
                    <a:pos x="141" y="45"/>
                  </a:cxn>
                  <a:cxn ang="0">
                    <a:pos x="148" y="38"/>
                  </a:cxn>
                  <a:cxn ang="0">
                    <a:pos x="152" y="29"/>
                  </a:cxn>
                  <a:cxn ang="0">
                    <a:pos x="154" y="24"/>
                  </a:cxn>
                  <a:cxn ang="0">
                    <a:pos x="162" y="19"/>
                  </a:cxn>
                  <a:cxn ang="0">
                    <a:pos x="164" y="15"/>
                  </a:cxn>
                  <a:cxn ang="0">
                    <a:pos x="161" y="10"/>
                  </a:cxn>
                  <a:cxn ang="0">
                    <a:pos x="152" y="14"/>
                  </a:cxn>
                  <a:cxn ang="0">
                    <a:pos x="133" y="14"/>
                  </a:cxn>
                  <a:cxn ang="0">
                    <a:pos x="122" y="10"/>
                  </a:cxn>
                  <a:cxn ang="0">
                    <a:pos x="105" y="3"/>
                  </a:cxn>
                  <a:cxn ang="0">
                    <a:pos x="81" y="0"/>
                  </a:cxn>
                  <a:cxn ang="0">
                    <a:pos x="75" y="0"/>
                  </a:cxn>
                  <a:cxn ang="0">
                    <a:pos x="70" y="1"/>
                  </a:cxn>
                  <a:cxn ang="0">
                    <a:pos x="68" y="7"/>
                  </a:cxn>
                  <a:cxn ang="0">
                    <a:pos x="60" y="8"/>
                  </a:cxn>
                  <a:cxn ang="0">
                    <a:pos x="47" y="7"/>
                  </a:cxn>
                  <a:cxn ang="0">
                    <a:pos x="27" y="12"/>
                  </a:cxn>
                  <a:cxn ang="0">
                    <a:pos x="21" y="17"/>
                  </a:cxn>
                  <a:cxn ang="0">
                    <a:pos x="20" y="19"/>
                  </a:cxn>
                  <a:cxn ang="0">
                    <a:pos x="11" y="22"/>
                  </a:cxn>
                  <a:cxn ang="0">
                    <a:pos x="4" y="28"/>
                  </a:cxn>
                  <a:cxn ang="0">
                    <a:pos x="2" y="33"/>
                  </a:cxn>
                  <a:cxn ang="0">
                    <a:pos x="0" y="48"/>
                  </a:cxn>
                  <a:cxn ang="0">
                    <a:pos x="4" y="61"/>
                  </a:cxn>
                  <a:cxn ang="0">
                    <a:pos x="9" y="68"/>
                  </a:cxn>
                  <a:cxn ang="0">
                    <a:pos x="16" y="76"/>
                  </a:cxn>
                  <a:cxn ang="0">
                    <a:pos x="25" y="76"/>
                  </a:cxn>
                  <a:cxn ang="0">
                    <a:pos x="30" y="75"/>
                  </a:cxn>
                  <a:cxn ang="0">
                    <a:pos x="39" y="73"/>
                  </a:cxn>
                  <a:cxn ang="0">
                    <a:pos x="30" y="99"/>
                  </a:cxn>
                </a:cxnLst>
                <a:rect l="0" t="0" r="r" b="b"/>
                <a:pathLst>
                  <a:path w="164" h="118">
                    <a:moveTo>
                      <a:pt x="30" y="99"/>
                    </a:moveTo>
                    <a:lnTo>
                      <a:pt x="30" y="99"/>
                    </a:lnTo>
                    <a:lnTo>
                      <a:pt x="44" y="95"/>
                    </a:lnTo>
                    <a:lnTo>
                      <a:pt x="51" y="90"/>
                    </a:lnTo>
                    <a:lnTo>
                      <a:pt x="56" y="87"/>
                    </a:lnTo>
                    <a:lnTo>
                      <a:pt x="63" y="87"/>
                    </a:lnTo>
                    <a:lnTo>
                      <a:pt x="63" y="87"/>
                    </a:lnTo>
                    <a:lnTo>
                      <a:pt x="70" y="90"/>
                    </a:lnTo>
                    <a:lnTo>
                      <a:pt x="75" y="94"/>
                    </a:lnTo>
                    <a:lnTo>
                      <a:pt x="81" y="99"/>
                    </a:lnTo>
                    <a:lnTo>
                      <a:pt x="89" y="101"/>
                    </a:lnTo>
                    <a:lnTo>
                      <a:pt x="89" y="101"/>
                    </a:lnTo>
                    <a:lnTo>
                      <a:pt x="91" y="102"/>
                    </a:lnTo>
                    <a:lnTo>
                      <a:pt x="94" y="104"/>
                    </a:lnTo>
                    <a:lnTo>
                      <a:pt x="100" y="111"/>
                    </a:lnTo>
                    <a:lnTo>
                      <a:pt x="103" y="115"/>
                    </a:lnTo>
                    <a:lnTo>
                      <a:pt x="107" y="116"/>
                    </a:lnTo>
                    <a:lnTo>
                      <a:pt x="110" y="118"/>
                    </a:lnTo>
                    <a:lnTo>
                      <a:pt x="115" y="116"/>
                    </a:lnTo>
                    <a:lnTo>
                      <a:pt x="115" y="116"/>
                    </a:lnTo>
                    <a:lnTo>
                      <a:pt x="121" y="115"/>
                    </a:lnTo>
                    <a:lnTo>
                      <a:pt x="124" y="115"/>
                    </a:lnTo>
                    <a:lnTo>
                      <a:pt x="129" y="116"/>
                    </a:lnTo>
                    <a:lnTo>
                      <a:pt x="133" y="118"/>
                    </a:lnTo>
                    <a:lnTo>
                      <a:pt x="135" y="118"/>
                    </a:lnTo>
                    <a:lnTo>
                      <a:pt x="138" y="116"/>
                    </a:lnTo>
                    <a:lnTo>
                      <a:pt x="138" y="116"/>
                    </a:lnTo>
                    <a:lnTo>
                      <a:pt x="141" y="109"/>
                    </a:lnTo>
                    <a:lnTo>
                      <a:pt x="143" y="106"/>
                    </a:lnTo>
                    <a:lnTo>
                      <a:pt x="150" y="102"/>
                    </a:lnTo>
                    <a:lnTo>
                      <a:pt x="152" y="101"/>
                    </a:lnTo>
                    <a:lnTo>
                      <a:pt x="152" y="99"/>
                    </a:lnTo>
                    <a:lnTo>
                      <a:pt x="147" y="89"/>
                    </a:lnTo>
                    <a:lnTo>
                      <a:pt x="147" y="89"/>
                    </a:lnTo>
                    <a:lnTo>
                      <a:pt x="141" y="82"/>
                    </a:lnTo>
                    <a:lnTo>
                      <a:pt x="141" y="78"/>
                    </a:lnTo>
                    <a:lnTo>
                      <a:pt x="141" y="76"/>
                    </a:lnTo>
                    <a:lnTo>
                      <a:pt x="143" y="75"/>
                    </a:lnTo>
                    <a:lnTo>
                      <a:pt x="143" y="73"/>
                    </a:lnTo>
                    <a:lnTo>
                      <a:pt x="145" y="71"/>
                    </a:lnTo>
                    <a:lnTo>
                      <a:pt x="145" y="66"/>
                    </a:lnTo>
                    <a:lnTo>
                      <a:pt x="141" y="59"/>
                    </a:lnTo>
                    <a:lnTo>
                      <a:pt x="141" y="59"/>
                    </a:lnTo>
                    <a:lnTo>
                      <a:pt x="140" y="52"/>
                    </a:lnTo>
                    <a:lnTo>
                      <a:pt x="140" y="48"/>
                    </a:lnTo>
                    <a:lnTo>
                      <a:pt x="141" y="45"/>
                    </a:lnTo>
                    <a:lnTo>
                      <a:pt x="143" y="43"/>
                    </a:lnTo>
                    <a:lnTo>
                      <a:pt x="148" y="38"/>
                    </a:lnTo>
                    <a:lnTo>
                      <a:pt x="152" y="35"/>
                    </a:lnTo>
                    <a:lnTo>
                      <a:pt x="152" y="29"/>
                    </a:lnTo>
                    <a:lnTo>
                      <a:pt x="152" y="29"/>
                    </a:lnTo>
                    <a:lnTo>
                      <a:pt x="154" y="24"/>
                    </a:lnTo>
                    <a:lnTo>
                      <a:pt x="155" y="21"/>
                    </a:lnTo>
                    <a:lnTo>
                      <a:pt x="162" y="19"/>
                    </a:lnTo>
                    <a:lnTo>
                      <a:pt x="164" y="17"/>
                    </a:lnTo>
                    <a:lnTo>
                      <a:pt x="164" y="15"/>
                    </a:lnTo>
                    <a:lnTo>
                      <a:pt x="164" y="14"/>
                    </a:lnTo>
                    <a:lnTo>
                      <a:pt x="161" y="10"/>
                    </a:lnTo>
                    <a:lnTo>
                      <a:pt x="161" y="10"/>
                    </a:lnTo>
                    <a:lnTo>
                      <a:pt x="152" y="14"/>
                    </a:lnTo>
                    <a:lnTo>
                      <a:pt x="141" y="14"/>
                    </a:lnTo>
                    <a:lnTo>
                      <a:pt x="133" y="14"/>
                    </a:lnTo>
                    <a:lnTo>
                      <a:pt x="122" y="10"/>
                    </a:lnTo>
                    <a:lnTo>
                      <a:pt x="122" y="10"/>
                    </a:lnTo>
                    <a:lnTo>
                      <a:pt x="114" y="5"/>
                    </a:lnTo>
                    <a:lnTo>
                      <a:pt x="105" y="3"/>
                    </a:lnTo>
                    <a:lnTo>
                      <a:pt x="94" y="3"/>
                    </a:lnTo>
                    <a:lnTo>
                      <a:pt x="81" y="0"/>
                    </a:lnTo>
                    <a:lnTo>
                      <a:pt x="81" y="0"/>
                    </a:lnTo>
                    <a:lnTo>
                      <a:pt x="75" y="0"/>
                    </a:lnTo>
                    <a:lnTo>
                      <a:pt x="72" y="0"/>
                    </a:lnTo>
                    <a:lnTo>
                      <a:pt x="70" y="1"/>
                    </a:lnTo>
                    <a:lnTo>
                      <a:pt x="70" y="3"/>
                    </a:lnTo>
                    <a:lnTo>
                      <a:pt x="68" y="7"/>
                    </a:lnTo>
                    <a:lnTo>
                      <a:pt x="65" y="8"/>
                    </a:lnTo>
                    <a:lnTo>
                      <a:pt x="60" y="8"/>
                    </a:lnTo>
                    <a:lnTo>
                      <a:pt x="60" y="8"/>
                    </a:lnTo>
                    <a:lnTo>
                      <a:pt x="47" y="7"/>
                    </a:lnTo>
                    <a:lnTo>
                      <a:pt x="35" y="8"/>
                    </a:lnTo>
                    <a:lnTo>
                      <a:pt x="27" y="12"/>
                    </a:lnTo>
                    <a:lnTo>
                      <a:pt x="23" y="14"/>
                    </a:lnTo>
                    <a:lnTo>
                      <a:pt x="21" y="17"/>
                    </a:lnTo>
                    <a:lnTo>
                      <a:pt x="21" y="17"/>
                    </a:lnTo>
                    <a:lnTo>
                      <a:pt x="20" y="19"/>
                    </a:lnTo>
                    <a:lnTo>
                      <a:pt x="18" y="21"/>
                    </a:lnTo>
                    <a:lnTo>
                      <a:pt x="11" y="22"/>
                    </a:lnTo>
                    <a:lnTo>
                      <a:pt x="6" y="26"/>
                    </a:lnTo>
                    <a:lnTo>
                      <a:pt x="4" y="28"/>
                    </a:lnTo>
                    <a:lnTo>
                      <a:pt x="2" y="33"/>
                    </a:lnTo>
                    <a:lnTo>
                      <a:pt x="2" y="33"/>
                    </a:lnTo>
                    <a:lnTo>
                      <a:pt x="0" y="42"/>
                    </a:lnTo>
                    <a:lnTo>
                      <a:pt x="0" y="48"/>
                    </a:lnTo>
                    <a:lnTo>
                      <a:pt x="2" y="54"/>
                    </a:lnTo>
                    <a:lnTo>
                      <a:pt x="4" y="61"/>
                    </a:lnTo>
                    <a:lnTo>
                      <a:pt x="4" y="61"/>
                    </a:lnTo>
                    <a:lnTo>
                      <a:pt x="9" y="68"/>
                    </a:lnTo>
                    <a:lnTo>
                      <a:pt x="13" y="75"/>
                    </a:lnTo>
                    <a:lnTo>
                      <a:pt x="16" y="76"/>
                    </a:lnTo>
                    <a:lnTo>
                      <a:pt x="20" y="78"/>
                    </a:lnTo>
                    <a:lnTo>
                      <a:pt x="25" y="76"/>
                    </a:lnTo>
                    <a:lnTo>
                      <a:pt x="30" y="75"/>
                    </a:lnTo>
                    <a:lnTo>
                      <a:pt x="30" y="75"/>
                    </a:lnTo>
                    <a:lnTo>
                      <a:pt x="37" y="71"/>
                    </a:lnTo>
                    <a:lnTo>
                      <a:pt x="39" y="73"/>
                    </a:lnTo>
                    <a:lnTo>
                      <a:pt x="39" y="75"/>
                    </a:lnTo>
                    <a:lnTo>
                      <a:pt x="30" y="99"/>
                    </a:lnTo>
                    <a:lnTo>
                      <a:pt x="30" y="9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9" name="Freeform 2232">
                <a:extLst>
                  <a:ext uri="{FF2B5EF4-FFF2-40B4-BE49-F238E27FC236}">
                    <a16:creationId xmlns:a16="http://schemas.microsoft.com/office/drawing/2014/main" id="{A2041B5E-0BA3-4894-9F0B-1194959596AE}"/>
                  </a:ext>
                </a:extLst>
              </p:cNvPr>
              <p:cNvSpPr>
                <a:spLocks/>
              </p:cNvSpPr>
              <p:nvPr/>
            </p:nvSpPr>
            <p:spPr bwMode="auto">
              <a:xfrm>
                <a:off x="4635500" y="2298700"/>
                <a:ext cx="38100" cy="28575"/>
              </a:xfrm>
              <a:custGeom>
                <a:avLst/>
                <a:gdLst/>
                <a:ahLst/>
                <a:cxnLst>
                  <a:cxn ang="0">
                    <a:pos x="10" y="38"/>
                  </a:cxn>
                  <a:cxn ang="0">
                    <a:pos x="10" y="38"/>
                  </a:cxn>
                  <a:cxn ang="0">
                    <a:pos x="7" y="38"/>
                  </a:cxn>
                  <a:cxn ang="0">
                    <a:pos x="5" y="37"/>
                  </a:cxn>
                  <a:cxn ang="0">
                    <a:pos x="7" y="35"/>
                  </a:cxn>
                  <a:cxn ang="0">
                    <a:pos x="9" y="33"/>
                  </a:cxn>
                  <a:cxn ang="0">
                    <a:pos x="9" y="33"/>
                  </a:cxn>
                  <a:cxn ang="0">
                    <a:pos x="12" y="30"/>
                  </a:cxn>
                  <a:cxn ang="0">
                    <a:pos x="12" y="26"/>
                  </a:cxn>
                  <a:cxn ang="0">
                    <a:pos x="7" y="25"/>
                  </a:cxn>
                  <a:cxn ang="0">
                    <a:pos x="7" y="25"/>
                  </a:cxn>
                  <a:cxn ang="0">
                    <a:pos x="2" y="21"/>
                  </a:cxn>
                  <a:cxn ang="0">
                    <a:pos x="0" y="19"/>
                  </a:cxn>
                  <a:cxn ang="0">
                    <a:pos x="2" y="18"/>
                  </a:cxn>
                  <a:cxn ang="0">
                    <a:pos x="5" y="16"/>
                  </a:cxn>
                  <a:cxn ang="0">
                    <a:pos x="5" y="16"/>
                  </a:cxn>
                  <a:cxn ang="0">
                    <a:pos x="5" y="16"/>
                  </a:cxn>
                  <a:cxn ang="0">
                    <a:pos x="5" y="14"/>
                  </a:cxn>
                  <a:cxn ang="0">
                    <a:pos x="3" y="11"/>
                  </a:cxn>
                  <a:cxn ang="0">
                    <a:pos x="2" y="9"/>
                  </a:cxn>
                  <a:cxn ang="0">
                    <a:pos x="2" y="7"/>
                  </a:cxn>
                  <a:cxn ang="0">
                    <a:pos x="3" y="7"/>
                  </a:cxn>
                  <a:cxn ang="0">
                    <a:pos x="3" y="7"/>
                  </a:cxn>
                  <a:cxn ang="0">
                    <a:pos x="5" y="7"/>
                  </a:cxn>
                  <a:cxn ang="0">
                    <a:pos x="9" y="9"/>
                  </a:cxn>
                  <a:cxn ang="0">
                    <a:pos x="10" y="11"/>
                  </a:cxn>
                  <a:cxn ang="0">
                    <a:pos x="12" y="9"/>
                  </a:cxn>
                  <a:cxn ang="0">
                    <a:pos x="12" y="9"/>
                  </a:cxn>
                  <a:cxn ang="0">
                    <a:pos x="16" y="4"/>
                  </a:cxn>
                  <a:cxn ang="0">
                    <a:pos x="21" y="0"/>
                  </a:cxn>
                  <a:cxn ang="0">
                    <a:pos x="26" y="0"/>
                  </a:cxn>
                  <a:cxn ang="0">
                    <a:pos x="28" y="2"/>
                  </a:cxn>
                  <a:cxn ang="0">
                    <a:pos x="28" y="2"/>
                  </a:cxn>
                  <a:cxn ang="0">
                    <a:pos x="31" y="2"/>
                  </a:cxn>
                  <a:cxn ang="0">
                    <a:pos x="35" y="2"/>
                  </a:cxn>
                  <a:cxn ang="0">
                    <a:pos x="40" y="4"/>
                  </a:cxn>
                  <a:cxn ang="0">
                    <a:pos x="45" y="5"/>
                  </a:cxn>
                  <a:cxn ang="0">
                    <a:pos x="45" y="5"/>
                  </a:cxn>
                  <a:cxn ang="0">
                    <a:pos x="54" y="9"/>
                  </a:cxn>
                  <a:cxn ang="0">
                    <a:pos x="54" y="11"/>
                  </a:cxn>
                  <a:cxn ang="0">
                    <a:pos x="52" y="11"/>
                  </a:cxn>
                  <a:cxn ang="0">
                    <a:pos x="52" y="11"/>
                  </a:cxn>
                  <a:cxn ang="0">
                    <a:pos x="50" y="11"/>
                  </a:cxn>
                  <a:cxn ang="0">
                    <a:pos x="49" y="11"/>
                  </a:cxn>
                  <a:cxn ang="0">
                    <a:pos x="47" y="11"/>
                  </a:cxn>
                  <a:cxn ang="0">
                    <a:pos x="45" y="12"/>
                  </a:cxn>
                  <a:cxn ang="0">
                    <a:pos x="45" y="12"/>
                  </a:cxn>
                  <a:cxn ang="0">
                    <a:pos x="40" y="18"/>
                  </a:cxn>
                  <a:cxn ang="0">
                    <a:pos x="33" y="21"/>
                  </a:cxn>
                  <a:cxn ang="0">
                    <a:pos x="28" y="23"/>
                  </a:cxn>
                  <a:cxn ang="0">
                    <a:pos x="24" y="23"/>
                  </a:cxn>
                  <a:cxn ang="0">
                    <a:pos x="24" y="23"/>
                  </a:cxn>
                  <a:cxn ang="0">
                    <a:pos x="23" y="23"/>
                  </a:cxn>
                  <a:cxn ang="0">
                    <a:pos x="21" y="23"/>
                  </a:cxn>
                  <a:cxn ang="0">
                    <a:pos x="17" y="26"/>
                  </a:cxn>
                  <a:cxn ang="0">
                    <a:pos x="14" y="35"/>
                  </a:cxn>
                  <a:cxn ang="0">
                    <a:pos x="14" y="35"/>
                  </a:cxn>
                  <a:cxn ang="0">
                    <a:pos x="12" y="38"/>
                  </a:cxn>
                  <a:cxn ang="0">
                    <a:pos x="10" y="38"/>
                  </a:cxn>
                  <a:cxn ang="0">
                    <a:pos x="10" y="38"/>
                  </a:cxn>
                </a:cxnLst>
                <a:rect l="0" t="0" r="r" b="b"/>
                <a:pathLst>
                  <a:path w="54" h="38">
                    <a:moveTo>
                      <a:pt x="10" y="38"/>
                    </a:moveTo>
                    <a:lnTo>
                      <a:pt x="10" y="38"/>
                    </a:lnTo>
                    <a:lnTo>
                      <a:pt x="7" y="38"/>
                    </a:lnTo>
                    <a:lnTo>
                      <a:pt x="5" y="37"/>
                    </a:lnTo>
                    <a:lnTo>
                      <a:pt x="7" y="35"/>
                    </a:lnTo>
                    <a:lnTo>
                      <a:pt x="9" y="33"/>
                    </a:lnTo>
                    <a:lnTo>
                      <a:pt x="9" y="33"/>
                    </a:lnTo>
                    <a:lnTo>
                      <a:pt x="12" y="30"/>
                    </a:lnTo>
                    <a:lnTo>
                      <a:pt x="12" y="26"/>
                    </a:lnTo>
                    <a:lnTo>
                      <a:pt x="7" y="25"/>
                    </a:lnTo>
                    <a:lnTo>
                      <a:pt x="7" y="25"/>
                    </a:lnTo>
                    <a:lnTo>
                      <a:pt x="2" y="21"/>
                    </a:lnTo>
                    <a:lnTo>
                      <a:pt x="0" y="19"/>
                    </a:lnTo>
                    <a:lnTo>
                      <a:pt x="2" y="18"/>
                    </a:lnTo>
                    <a:lnTo>
                      <a:pt x="5" y="16"/>
                    </a:lnTo>
                    <a:lnTo>
                      <a:pt x="5" y="16"/>
                    </a:lnTo>
                    <a:lnTo>
                      <a:pt x="5" y="16"/>
                    </a:lnTo>
                    <a:lnTo>
                      <a:pt x="5" y="14"/>
                    </a:lnTo>
                    <a:lnTo>
                      <a:pt x="3" y="11"/>
                    </a:lnTo>
                    <a:lnTo>
                      <a:pt x="2" y="9"/>
                    </a:lnTo>
                    <a:lnTo>
                      <a:pt x="2" y="7"/>
                    </a:lnTo>
                    <a:lnTo>
                      <a:pt x="3" y="7"/>
                    </a:lnTo>
                    <a:lnTo>
                      <a:pt x="3" y="7"/>
                    </a:lnTo>
                    <a:lnTo>
                      <a:pt x="5" y="7"/>
                    </a:lnTo>
                    <a:lnTo>
                      <a:pt x="9" y="9"/>
                    </a:lnTo>
                    <a:lnTo>
                      <a:pt x="10" y="11"/>
                    </a:lnTo>
                    <a:lnTo>
                      <a:pt x="12" y="9"/>
                    </a:lnTo>
                    <a:lnTo>
                      <a:pt x="12" y="9"/>
                    </a:lnTo>
                    <a:lnTo>
                      <a:pt x="16" y="4"/>
                    </a:lnTo>
                    <a:lnTo>
                      <a:pt x="21" y="0"/>
                    </a:lnTo>
                    <a:lnTo>
                      <a:pt x="26" y="0"/>
                    </a:lnTo>
                    <a:lnTo>
                      <a:pt x="28" y="2"/>
                    </a:lnTo>
                    <a:lnTo>
                      <a:pt x="28" y="2"/>
                    </a:lnTo>
                    <a:lnTo>
                      <a:pt x="31" y="2"/>
                    </a:lnTo>
                    <a:lnTo>
                      <a:pt x="35" y="2"/>
                    </a:lnTo>
                    <a:lnTo>
                      <a:pt x="40" y="4"/>
                    </a:lnTo>
                    <a:lnTo>
                      <a:pt x="45" y="5"/>
                    </a:lnTo>
                    <a:lnTo>
                      <a:pt x="45" y="5"/>
                    </a:lnTo>
                    <a:lnTo>
                      <a:pt x="54" y="9"/>
                    </a:lnTo>
                    <a:lnTo>
                      <a:pt x="54" y="11"/>
                    </a:lnTo>
                    <a:lnTo>
                      <a:pt x="52" y="11"/>
                    </a:lnTo>
                    <a:lnTo>
                      <a:pt x="52" y="11"/>
                    </a:lnTo>
                    <a:lnTo>
                      <a:pt x="50" y="11"/>
                    </a:lnTo>
                    <a:lnTo>
                      <a:pt x="49" y="11"/>
                    </a:lnTo>
                    <a:lnTo>
                      <a:pt x="47" y="11"/>
                    </a:lnTo>
                    <a:lnTo>
                      <a:pt x="45" y="12"/>
                    </a:lnTo>
                    <a:lnTo>
                      <a:pt x="45" y="12"/>
                    </a:lnTo>
                    <a:lnTo>
                      <a:pt x="40" y="18"/>
                    </a:lnTo>
                    <a:lnTo>
                      <a:pt x="33" y="21"/>
                    </a:lnTo>
                    <a:lnTo>
                      <a:pt x="28" y="23"/>
                    </a:lnTo>
                    <a:lnTo>
                      <a:pt x="24" y="23"/>
                    </a:lnTo>
                    <a:lnTo>
                      <a:pt x="24" y="23"/>
                    </a:lnTo>
                    <a:lnTo>
                      <a:pt x="23" y="23"/>
                    </a:lnTo>
                    <a:lnTo>
                      <a:pt x="21" y="23"/>
                    </a:lnTo>
                    <a:lnTo>
                      <a:pt x="17" y="26"/>
                    </a:lnTo>
                    <a:lnTo>
                      <a:pt x="14" y="35"/>
                    </a:lnTo>
                    <a:lnTo>
                      <a:pt x="14" y="35"/>
                    </a:lnTo>
                    <a:lnTo>
                      <a:pt x="12" y="38"/>
                    </a:lnTo>
                    <a:lnTo>
                      <a:pt x="10" y="38"/>
                    </a:lnTo>
                    <a:lnTo>
                      <a:pt x="10"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0" name="Freeform 2233">
                <a:extLst>
                  <a:ext uri="{FF2B5EF4-FFF2-40B4-BE49-F238E27FC236}">
                    <a16:creationId xmlns:a16="http://schemas.microsoft.com/office/drawing/2014/main" id="{62CEB9CB-DC45-47BB-B4E4-9A96EBE46AFB}"/>
                  </a:ext>
                </a:extLst>
              </p:cNvPr>
              <p:cNvSpPr>
                <a:spLocks/>
              </p:cNvSpPr>
              <p:nvPr/>
            </p:nvSpPr>
            <p:spPr bwMode="auto">
              <a:xfrm>
                <a:off x="4640263" y="2281238"/>
                <a:ext cx="26987" cy="14287"/>
              </a:xfrm>
              <a:custGeom>
                <a:avLst/>
                <a:gdLst/>
                <a:ahLst/>
                <a:cxnLst>
                  <a:cxn ang="0">
                    <a:pos x="19" y="21"/>
                  </a:cxn>
                  <a:cxn ang="0">
                    <a:pos x="19" y="21"/>
                  </a:cxn>
                  <a:cxn ang="0">
                    <a:pos x="17" y="21"/>
                  </a:cxn>
                  <a:cxn ang="0">
                    <a:pos x="16" y="19"/>
                  </a:cxn>
                  <a:cxn ang="0">
                    <a:pos x="16" y="15"/>
                  </a:cxn>
                  <a:cxn ang="0">
                    <a:pos x="14" y="12"/>
                  </a:cxn>
                  <a:cxn ang="0">
                    <a:pos x="12" y="10"/>
                  </a:cxn>
                  <a:cxn ang="0">
                    <a:pos x="10" y="10"/>
                  </a:cxn>
                  <a:cxn ang="0">
                    <a:pos x="10" y="10"/>
                  </a:cxn>
                  <a:cxn ang="0">
                    <a:pos x="2" y="9"/>
                  </a:cxn>
                  <a:cxn ang="0">
                    <a:pos x="0" y="9"/>
                  </a:cxn>
                  <a:cxn ang="0">
                    <a:pos x="2" y="7"/>
                  </a:cxn>
                  <a:cxn ang="0">
                    <a:pos x="2" y="7"/>
                  </a:cxn>
                  <a:cxn ang="0">
                    <a:pos x="5" y="5"/>
                  </a:cxn>
                  <a:cxn ang="0">
                    <a:pos x="10" y="5"/>
                  </a:cxn>
                  <a:cxn ang="0">
                    <a:pos x="14" y="5"/>
                  </a:cxn>
                  <a:cxn ang="0">
                    <a:pos x="19" y="2"/>
                  </a:cxn>
                  <a:cxn ang="0">
                    <a:pos x="19" y="2"/>
                  </a:cxn>
                  <a:cxn ang="0">
                    <a:pos x="21" y="0"/>
                  </a:cxn>
                  <a:cxn ang="0">
                    <a:pos x="24" y="0"/>
                  </a:cxn>
                  <a:cxn ang="0">
                    <a:pos x="31" y="7"/>
                  </a:cxn>
                  <a:cxn ang="0">
                    <a:pos x="31" y="7"/>
                  </a:cxn>
                  <a:cxn ang="0">
                    <a:pos x="35" y="10"/>
                  </a:cxn>
                  <a:cxn ang="0">
                    <a:pos x="36" y="12"/>
                  </a:cxn>
                  <a:cxn ang="0">
                    <a:pos x="35" y="14"/>
                  </a:cxn>
                  <a:cxn ang="0">
                    <a:pos x="33" y="14"/>
                  </a:cxn>
                  <a:cxn ang="0">
                    <a:pos x="33" y="14"/>
                  </a:cxn>
                  <a:cxn ang="0">
                    <a:pos x="31" y="14"/>
                  </a:cxn>
                  <a:cxn ang="0">
                    <a:pos x="31" y="15"/>
                  </a:cxn>
                  <a:cxn ang="0">
                    <a:pos x="30" y="15"/>
                  </a:cxn>
                  <a:cxn ang="0">
                    <a:pos x="28" y="15"/>
                  </a:cxn>
                  <a:cxn ang="0">
                    <a:pos x="28" y="15"/>
                  </a:cxn>
                  <a:cxn ang="0">
                    <a:pos x="26" y="15"/>
                  </a:cxn>
                  <a:cxn ang="0">
                    <a:pos x="24" y="19"/>
                  </a:cxn>
                  <a:cxn ang="0">
                    <a:pos x="23" y="21"/>
                  </a:cxn>
                  <a:cxn ang="0">
                    <a:pos x="19" y="21"/>
                  </a:cxn>
                  <a:cxn ang="0">
                    <a:pos x="19" y="21"/>
                  </a:cxn>
                </a:cxnLst>
                <a:rect l="0" t="0" r="r" b="b"/>
                <a:pathLst>
                  <a:path w="36" h="21">
                    <a:moveTo>
                      <a:pt x="19" y="21"/>
                    </a:moveTo>
                    <a:lnTo>
                      <a:pt x="19" y="21"/>
                    </a:lnTo>
                    <a:lnTo>
                      <a:pt x="17" y="21"/>
                    </a:lnTo>
                    <a:lnTo>
                      <a:pt x="16" y="19"/>
                    </a:lnTo>
                    <a:lnTo>
                      <a:pt x="16" y="15"/>
                    </a:lnTo>
                    <a:lnTo>
                      <a:pt x="14" y="12"/>
                    </a:lnTo>
                    <a:lnTo>
                      <a:pt x="12" y="10"/>
                    </a:lnTo>
                    <a:lnTo>
                      <a:pt x="10" y="10"/>
                    </a:lnTo>
                    <a:lnTo>
                      <a:pt x="10" y="10"/>
                    </a:lnTo>
                    <a:lnTo>
                      <a:pt x="2" y="9"/>
                    </a:lnTo>
                    <a:lnTo>
                      <a:pt x="0" y="9"/>
                    </a:lnTo>
                    <a:lnTo>
                      <a:pt x="2" y="7"/>
                    </a:lnTo>
                    <a:lnTo>
                      <a:pt x="2" y="7"/>
                    </a:lnTo>
                    <a:lnTo>
                      <a:pt x="5" y="5"/>
                    </a:lnTo>
                    <a:lnTo>
                      <a:pt x="10" y="5"/>
                    </a:lnTo>
                    <a:lnTo>
                      <a:pt x="14" y="5"/>
                    </a:lnTo>
                    <a:lnTo>
                      <a:pt x="19" y="2"/>
                    </a:lnTo>
                    <a:lnTo>
                      <a:pt x="19" y="2"/>
                    </a:lnTo>
                    <a:lnTo>
                      <a:pt x="21" y="0"/>
                    </a:lnTo>
                    <a:lnTo>
                      <a:pt x="24" y="0"/>
                    </a:lnTo>
                    <a:lnTo>
                      <a:pt x="31" y="7"/>
                    </a:lnTo>
                    <a:lnTo>
                      <a:pt x="31" y="7"/>
                    </a:lnTo>
                    <a:lnTo>
                      <a:pt x="35" y="10"/>
                    </a:lnTo>
                    <a:lnTo>
                      <a:pt x="36" y="12"/>
                    </a:lnTo>
                    <a:lnTo>
                      <a:pt x="35" y="14"/>
                    </a:lnTo>
                    <a:lnTo>
                      <a:pt x="33" y="14"/>
                    </a:lnTo>
                    <a:lnTo>
                      <a:pt x="33" y="14"/>
                    </a:lnTo>
                    <a:lnTo>
                      <a:pt x="31" y="14"/>
                    </a:lnTo>
                    <a:lnTo>
                      <a:pt x="31" y="15"/>
                    </a:lnTo>
                    <a:lnTo>
                      <a:pt x="30" y="15"/>
                    </a:lnTo>
                    <a:lnTo>
                      <a:pt x="28" y="15"/>
                    </a:lnTo>
                    <a:lnTo>
                      <a:pt x="28" y="15"/>
                    </a:lnTo>
                    <a:lnTo>
                      <a:pt x="26" y="15"/>
                    </a:lnTo>
                    <a:lnTo>
                      <a:pt x="24" y="19"/>
                    </a:lnTo>
                    <a:lnTo>
                      <a:pt x="23" y="21"/>
                    </a:lnTo>
                    <a:lnTo>
                      <a:pt x="19" y="21"/>
                    </a:lnTo>
                    <a:lnTo>
                      <a:pt x="19"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71" name="Freeform 2234">
              <a:extLst>
                <a:ext uri="{FF2B5EF4-FFF2-40B4-BE49-F238E27FC236}">
                  <a16:creationId xmlns:a16="http://schemas.microsoft.com/office/drawing/2014/main" id="{99979611-A0D5-4270-872F-9C03D0B43007}"/>
                </a:ext>
              </a:extLst>
            </p:cNvPr>
            <p:cNvSpPr>
              <a:spLocks/>
            </p:cNvSpPr>
            <p:nvPr/>
          </p:nvSpPr>
          <p:spPr bwMode="auto">
            <a:xfrm>
              <a:off x="5981328" y="3109229"/>
              <a:ext cx="38764" cy="35240"/>
            </a:xfrm>
            <a:custGeom>
              <a:avLst/>
              <a:gdLst/>
              <a:ahLst/>
              <a:cxnLst>
                <a:cxn ang="0">
                  <a:pos x="0" y="3"/>
                </a:cxn>
                <a:cxn ang="0">
                  <a:pos x="0" y="3"/>
                </a:cxn>
                <a:cxn ang="0">
                  <a:pos x="4" y="2"/>
                </a:cxn>
                <a:cxn ang="0">
                  <a:pos x="9" y="0"/>
                </a:cxn>
                <a:cxn ang="0">
                  <a:pos x="9" y="0"/>
                </a:cxn>
                <a:cxn ang="0">
                  <a:pos x="12" y="0"/>
                </a:cxn>
                <a:cxn ang="0">
                  <a:pos x="12" y="2"/>
                </a:cxn>
                <a:cxn ang="0">
                  <a:pos x="12" y="7"/>
                </a:cxn>
                <a:cxn ang="0">
                  <a:pos x="12" y="10"/>
                </a:cxn>
                <a:cxn ang="0">
                  <a:pos x="14" y="10"/>
                </a:cxn>
                <a:cxn ang="0">
                  <a:pos x="14" y="10"/>
                </a:cxn>
                <a:cxn ang="0">
                  <a:pos x="14" y="10"/>
                </a:cxn>
                <a:cxn ang="0">
                  <a:pos x="19" y="9"/>
                </a:cxn>
                <a:cxn ang="0">
                  <a:pos x="19" y="10"/>
                </a:cxn>
                <a:cxn ang="0">
                  <a:pos x="21" y="12"/>
                </a:cxn>
                <a:cxn ang="0">
                  <a:pos x="23" y="14"/>
                </a:cxn>
                <a:cxn ang="0">
                  <a:pos x="23" y="14"/>
                </a:cxn>
                <a:cxn ang="0">
                  <a:pos x="26" y="12"/>
                </a:cxn>
                <a:cxn ang="0">
                  <a:pos x="28" y="10"/>
                </a:cxn>
                <a:cxn ang="0">
                  <a:pos x="31" y="10"/>
                </a:cxn>
                <a:cxn ang="0">
                  <a:pos x="33" y="9"/>
                </a:cxn>
                <a:cxn ang="0">
                  <a:pos x="33" y="9"/>
                </a:cxn>
                <a:cxn ang="0">
                  <a:pos x="35" y="10"/>
                </a:cxn>
                <a:cxn ang="0">
                  <a:pos x="37" y="10"/>
                </a:cxn>
                <a:cxn ang="0">
                  <a:pos x="37" y="14"/>
                </a:cxn>
                <a:cxn ang="0">
                  <a:pos x="35" y="17"/>
                </a:cxn>
                <a:cxn ang="0">
                  <a:pos x="35" y="19"/>
                </a:cxn>
                <a:cxn ang="0">
                  <a:pos x="35" y="19"/>
                </a:cxn>
                <a:cxn ang="0">
                  <a:pos x="40" y="23"/>
                </a:cxn>
                <a:cxn ang="0">
                  <a:pos x="42" y="23"/>
                </a:cxn>
                <a:cxn ang="0">
                  <a:pos x="44" y="24"/>
                </a:cxn>
                <a:cxn ang="0">
                  <a:pos x="44" y="24"/>
                </a:cxn>
                <a:cxn ang="0">
                  <a:pos x="44" y="30"/>
                </a:cxn>
                <a:cxn ang="0">
                  <a:pos x="44" y="35"/>
                </a:cxn>
                <a:cxn ang="0">
                  <a:pos x="49" y="43"/>
                </a:cxn>
                <a:cxn ang="0">
                  <a:pos x="49" y="43"/>
                </a:cxn>
                <a:cxn ang="0">
                  <a:pos x="45" y="43"/>
                </a:cxn>
                <a:cxn ang="0">
                  <a:pos x="38" y="42"/>
                </a:cxn>
                <a:cxn ang="0">
                  <a:pos x="38" y="42"/>
                </a:cxn>
                <a:cxn ang="0">
                  <a:pos x="30" y="40"/>
                </a:cxn>
                <a:cxn ang="0">
                  <a:pos x="25" y="37"/>
                </a:cxn>
                <a:cxn ang="0">
                  <a:pos x="14" y="26"/>
                </a:cxn>
                <a:cxn ang="0">
                  <a:pos x="7" y="16"/>
                </a:cxn>
                <a:cxn ang="0">
                  <a:pos x="0" y="3"/>
                </a:cxn>
                <a:cxn ang="0">
                  <a:pos x="0" y="3"/>
                </a:cxn>
              </a:cxnLst>
              <a:rect l="0" t="0" r="r" b="b"/>
              <a:pathLst>
                <a:path w="49" h="43">
                  <a:moveTo>
                    <a:pt x="0" y="3"/>
                  </a:moveTo>
                  <a:lnTo>
                    <a:pt x="0" y="3"/>
                  </a:lnTo>
                  <a:lnTo>
                    <a:pt x="4" y="2"/>
                  </a:lnTo>
                  <a:lnTo>
                    <a:pt x="9" y="0"/>
                  </a:lnTo>
                  <a:lnTo>
                    <a:pt x="9" y="0"/>
                  </a:lnTo>
                  <a:lnTo>
                    <a:pt x="12" y="0"/>
                  </a:lnTo>
                  <a:lnTo>
                    <a:pt x="12" y="2"/>
                  </a:lnTo>
                  <a:lnTo>
                    <a:pt x="12" y="7"/>
                  </a:lnTo>
                  <a:lnTo>
                    <a:pt x="12" y="10"/>
                  </a:lnTo>
                  <a:lnTo>
                    <a:pt x="14" y="10"/>
                  </a:lnTo>
                  <a:lnTo>
                    <a:pt x="14" y="10"/>
                  </a:lnTo>
                  <a:lnTo>
                    <a:pt x="14" y="10"/>
                  </a:lnTo>
                  <a:lnTo>
                    <a:pt x="19" y="9"/>
                  </a:lnTo>
                  <a:lnTo>
                    <a:pt x="19" y="10"/>
                  </a:lnTo>
                  <a:lnTo>
                    <a:pt x="21" y="12"/>
                  </a:lnTo>
                  <a:lnTo>
                    <a:pt x="23" y="14"/>
                  </a:lnTo>
                  <a:lnTo>
                    <a:pt x="23" y="14"/>
                  </a:lnTo>
                  <a:lnTo>
                    <a:pt x="26" y="12"/>
                  </a:lnTo>
                  <a:lnTo>
                    <a:pt x="28" y="10"/>
                  </a:lnTo>
                  <a:lnTo>
                    <a:pt x="31" y="10"/>
                  </a:lnTo>
                  <a:lnTo>
                    <a:pt x="33" y="9"/>
                  </a:lnTo>
                  <a:lnTo>
                    <a:pt x="33" y="9"/>
                  </a:lnTo>
                  <a:lnTo>
                    <a:pt x="35" y="10"/>
                  </a:lnTo>
                  <a:lnTo>
                    <a:pt x="37" y="10"/>
                  </a:lnTo>
                  <a:lnTo>
                    <a:pt x="37" y="14"/>
                  </a:lnTo>
                  <a:lnTo>
                    <a:pt x="35" y="17"/>
                  </a:lnTo>
                  <a:lnTo>
                    <a:pt x="35" y="19"/>
                  </a:lnTo>
                  <a:lnTo>
                    <a:pt x="35" y="19"/>
                  </a:lnTo>
                  <a:lnTo>
                    <a:pt x="40" y="23"/>
                  </a:lnTo>
                  <a:lnTo>
                    <a:pt x="42" y="23"/>
                  </a:lnTo>
                  <a:lnTo>
                    <a:pt x="44" y="24"/>
                  </a:lnTo>
                  <a:lnTo>
                    <a:pt x="44" y="24"/>
                  </a:lnTo>
                  <a:lnTo>
                    <a:pt x="44" y="30"/>
                  </a:lnTo>
                  <a:lnTo>
                    <a:pt x="44" y="35"/>
                  </a:lnTo>
                  <a:lnTo>
                    <a:pt x="49" y="43"/>
                  </a:lnTo>
                  <a:lnTo>
                    <a:pt x="49" y="43"/>
                  </a:lnTo>
                  <a:lnTo>
                    <a:pt x="45" y="43"/>
                  </a:lnTo>
                  <a:lnTo>
                    <a:pt x="38" y="42"/>
                  </a:lnTo>
                  <a:lnTo>
                    <a:pt x="38" y="42"/>
                  </a:lnTo>
                  <a:lnTo>
                    <a:pt x="30" y="40"/>
                  </a:lnTo>
                  <a:lnTo>
                    <a:pt x="25" y="37"/>
                  </a:lnTo>
                  <a:lnTo>
                    <a:pt x="14" y="26"/>
                  </a:lnTo>
                  <a:lnTo>
                    <a:pt x="7" y="16"/>
                  </a:lnTo>
                  <a:lnTo>
                    <a:pt x="0" y="3"/>
                  </a:lnTo>
                  <a:lnTo>
                    <a:pt x="0"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72" name="Group 1037">
              <a:extLst>
                <a:ext uri="{FF2B5EF4-FFF2-40B4-BE49-F238E27FC236}">
                  <a16:creationId xmlns:a16="http://schemas.microsoft.com/office/drawing/2014/main" id="{5F647382-9069-4A67-A138-3905592ADDF8}"/>
                </a:ext>
              </a:extLst>
            </p:cNvPr>
            <p:cNvGrpSpPr/>
            <p:nvPr/>
          </p:nvGrpSpPr>
          <p:grpSpPr bwMode="auto">
            <a:xfrm>
              <a:off x="4947038" y="2369179"/>
              <a:ext cx="128627" cy="146247"/>
              <a:chOff x="4286250" y="2333625"/>
              <a:chExt cx="115888" cy="131763"/>
            </a:xfrm>
            <a:solidFill>
              <a:srgbClr val="808183">
                <a:lumMod val="60000"/>
                <a:lumOff val="40000"/>
              </a:srgbClr>
            </a:solidFill>
          </p:grpSpPr>
          <p:sp>
            <p:nvSpPr>
              <p:cNvPr id="373" name="Freeform 2236">
                <a:extLst>
                  <a:ext uri="{FF2B5EF4-FFF2-40B4-BE49-F238E27FC236}">
                    <a16:creationId xmlns:a16="http://schemas.microsoft.com/office/drawing/2014/main" id="{EDA9A630-82D6-472F-96A0-9FA7BC4D5071}"/>
                  </a:ext>
                </a:extLst>
              </p:cNvPr>
              <p:cNvSpPr>
                <a:spLocks/>
              </p:cNvSpPr>
              <p:nvPr/>
            </p:nvSpPr>
            <p:spPr bwMode="auto">
              <a:xfrm>
                <a:off x="4286250" y="2333625"/>
                <a:ext cx="74613" cy="117475"/>
              </a:xfrm>
              <a:custGeom>
                <a:avLst/>
                <a:gdLst/>
                <a:ahLst/>
                <a:cxnLst>
                  <a:cxn ang="0">
                    <a:pos x="26" y="157"/>
                  </a:cxn>
                  <a:cxn ang="0">
                    <a:pos x="43" y="158"/>
                  </a:cxn>
                  <a:cxn ang="0">
                    <a:pos x="52" y="155"/>
                  </a:cxn>
                  <a:cxn ang="0">
                    <a:pos x="55" y="158"/>
                  </a:cxn>
                  <a:cxn ang="0">
                    <a:pos x="61" y="157"/>
                  </a:cxn>
                  <a:cxn ang="0">
                    <a:pos x="64" y="157"/>
                  </a:cxn>
                  <a:cxn ang="0">
                    <a:pos x="69" y="155"/>
                  </a:cxn>
                  <a:cxn ang="0">
                    <a:pos x="64" y="148"/>
                  </a:cxn>
                  <a:cxn ang="0">
                    <a:pos x="54" y="148"/>
                  </a:cxn>
                  <a:cxn ang="0">
                    <a:pos x="50" y="144"/>
                  </a:cxn>
                  <a:cxn ang="0">
                    <a:pos x="57" y="137"/>
                  </a:cxn>
                  <a:cxn ang="0">
                    <a:pos x="55" y="134"/>
                  </a:cxn>
                  <a:cxn ang="0">
                    <a:pos x="54" y="127"/>
                  </a:cxn>
                  <a:cxn ang="0">
                    <a:pos x="52" y="124"/>
                  </a:cxn>
                  <a:cxn ang="0">
                    <a:pos x="61" y="118"/>
                  </a:cxn>
                  <a:cxn ang="0">
                    <a:pos x="61" y="115"/>
                  </a:cxn>
                  <a:cxn ang="0">
                    <a:pos x="66" y="113"/>
                  </a:cxn>
                  <a:cxn ang="0">
                    <a:pos x="66" y="106"/>
                  </a:cxn>
                  <a:cxn ang="0">
                    <a:pos x="66" y="103"/>
                  </a:cxn>
                  <a:cxn ang="0">
                    <a:pos x="75" y="104"/>
                  </a:cxn>
                  <a:cxn ang="0">
                    <a:pos x="76" y="99"/>
                  </a:cxn>
                  <a:cxn ang="0">
                    <a:pos x="78" y="82"/>
                  </a:cxn>
                  <a:cxn ang="0">
                    <a:pos x="83" y="80"/>
                  </a:cxn>
                  <a:cxn ang="0">
                    <a:pos x="81" y="87"/>
                  </a:cxn>
                  <a:cxn ang="0">
                    <a:pos x="87" y="90"/>
                  </a:cxn>
                  <a:cxn ang="0">
                    <a:pos x="90" y="87"/>
                  </a:cxn>
                  <a:cxn ang="0">
                    <a:pos x="94" y="87"/>
                  </a:cxn>
                  <a:cxn ang="0">
                    <a:pos x="101" y="75"/>
                  </a:cxn>
                  <a:cxn ang="0">
                    <a:pos x="95" y="68"/>
                  </a:cxn>
                  <a:cxn ang="0">
                    <a:pos x="81" y="66"/>
                  </a:cxn>
                  <a:cxn ang="0">
                    <a:pos x="80" y="63"/>
                  </a:cxn>
                  <a:cxn ang="0">
                    <a:pos x="80" y="54"/>
                  </a:cxn>
                  <a:cxn ang="0">
                    <a:pos x="78" y="47"/>
                  </a:cxn>
                  <a:cxn ang="0">
                    <a:pos x="83" y="33"/>
                  </a:cxn>
                  <a:cxn ang="0">
                    <a:pos x="87" y="26"/>
                  </a:cxn>
                  <a:cxn ang="0">
                    <a:pos x="85" y="14"/>
                  </a:cxn>
                  <a:cxn ang="0">
                    <a:pos x="87" y="5"/>
                  </a:cxn>
                  <a:cxn ang="0">
                    <a:pos x="88" y="0"/>
                  </a:cxn>
                  <a:cxn ang="0">
                    <a:pos x="83" y="3"/>
                  </a:cxn>
                  <a:cxn ang="0">
                    <a:pos x="71" y="9"/>
                  </a:cxn>
                  <a:cxn ang="0">
                    <a:pos x="59" y="21"/>
                  </a:cxn>
                  <a:cxn ang="0">
                    <a:pos x="41" y="33"/>
                  </a:cxn>
                  <a:cxn ang="0">
                    <a:pos x="24" y="35"/>
                  </a:cxn>
                  <a:cxn ang="0">
                    <a:pos x="8" y="47"/>
                  </a:cxn>
                  <a:cxn ang="0">
                    <a:pos x="0" y="78"/>
                  </a:cxn>
                  <a:cxn ang="0">
                    <a:pos x="1" y="101"/>
                  </a:cxn>
                  <a:cxn ang="0">
                    <a:pos x="1" y="115"/>
                  </a:cxn>
                  <a:cxn ang="0">
                    <a:pos x="1" y="122"/>
                  </a:cxn>
                  <a:cxn ang="0">
                    <a:pos x="8" y="127"/>
                  </a:cxn>
                  <a:cxn ang="0">
                    <a:pos x="12" y="124"/>
                  </a:cxn>
                  <a:cxn ang="0">
                    <a:pos x="17" y="127"/>
                  </a:cxn>
                  <a:cxn ang="0">
                    <a:pos x="21" y="137"/>
                  </a:cxn>
                  <a:cxn ang="0">
                    <a:pos x="15" y="139"/>
                  </a:cxn>
                  <a:cxn ang="0">
                    <a:pos x="14" y="143"/>
                  </a:cxn>
                  <a:cxn ang="0">
                    <a:pos x="17" y="144"/>
                  </a:cxn>
                  <a:cxn ang="0">
                    <a:pos x="19" y="155"/>
                  </a:cxn>
                </a:cxnLst>
                <a:rect l="0" t="0" r="r" b="b"/>
                <a:pathLst>
                  <a:path w="101" h="160">
                    <a:moveTo>
                      <a:pt x="19" y="155"/>
                    </a:moveTo>
                    <a:lnTo>
                      <a:pt x="19" y="155"/>
                    </a:lnTo>
                    <a:lnTo>
                      <a:pt x="26" y="157"/>
                    </a:lnTo>
                    <a:lnTo>
                      <a:pt x="33" y="157"/>
                    </a:lnTo>
                    <a:lnTo>
                      <a:pt x="33" y="157"/>
                    </a:lnTo>
                    <a:lnTo>
                      <a:pt x="43" y="158"/>
                    </a:lnTo>
                    <a:lnTo>
                      <a:pt x="48" y="160"/>
                    </a:lnTo>
                    <a:lnTo>
                      <a:pt x="48" y="160"/>
                    </a:lnTo>
                    <a:lnTo>
                      <a:pt x="52" y="155"/>
                    </a:lnTo>
                    <a:lnTo>
                      <a:pt x="54" y="155"/>
                    </a:lnTo>
                    <a:lnTo>
                      <a:pt x="54" y="157"/>
                    </a:lnTo>
                    <a:lnTo>
                      <a:pt x="55" y="158"/>
                    </a:lnTo>
                    <a:lnTo>
                      <a:pt x="55" y="158"/>
                    </a:lnTo>
                    <a:lnTo>
                      <a:pt x="59" y="158"/>
                    </a:lnTo>
                    <a:lnTo>
                      <a:pt x="61" y="157"/>
                    </a:lnTo>
                    <a:lnTo>
                      <a:pt x="62" y="157"/>
                    </a:lnTo>
                    <a:lnTo>
                      <a:pt x="64" y="157"/>
                    </a:lnTo>
                    <a:lnTo>
                      <a:pt x="64" y="157"/>
                    </a:lnTo>
                    <a:lnTo>
                      <a:pt x="66" y="158"/>
                    </a:lnTo>
                    <a:lnTo>
                      <a:pt x="69" y="157"/>
                    </a:lnTo>
                    <a:lnTo>
                      <a:pt x="69" y="155"/>
                    </a:lnTo>
                    <a:lnTo>
                      <a:pt x="69" y="153"/>
                    </a:lnTo>
                    <a:lnTo>
                      <a:pt x="64" y="148"/>
                    </a:lnTo>
                    <a:lnTo>
                      <a:pt x="64" y="148"/>
                    </a:lnTo>
                    <a:lnTo>
                      <a:pt x="59" y="146"/>
                    </a:lnTo>
                    <a:lnTo>
                      <a:pt x="55" y="148"/>
                    </a:lnTo>
                    <a:lnTo>
                      <a:pt x="54" y="148"/>
                    </a:lnTo>
                    <a:lnTo>
                      <a:pt x="50" y="146"/>
                    </a:lnTo>
                    <a:lnTo>
                      <a:pt x="50" y="146"/>
                    </a:lnTo>
                    <a:lnTo>
                      <a:pt x="50" y="144"/>
                    </a:lnTo>
                    <a:lnTo>
                      <a:pt x="50" y="143"/>
                    </a:lnTo>
                    <a:lnTo>
                      <a:pt x="54" y="141"/>
                    </a:lnTo>
                    <a:lnTo>
                      <a:pt x="57" y="137"/>
                    </a:lnTo>
                    <a:lnTo>
                      <a:pt x="57" y="136"/>
                    </a:lnTo>
                    <a:lnTo>
                      <a:pt x="55" y="134"/>
                    </a:lnTo>
                    <a:lnTo>
                      <a:pt x="55" y="134"/>
                    </a:lnTo>
                    <a:lnTo>
                      <a:pt x="54" y="132"/>
                    </a:lnTo>
                    <a:lnTo>
                      <a:pt x="54" y="129"/>
                    </a:lnTo>
                    <a:lnTo>
                      <a:pt x="54" y="127"/>
                    </a:lnTo>
                    <a:lnTo>
                      <a:pt x="52" y="124"/>
                    </a:lnTo>
                    <a:lnTo>
                      <a:pt x="52" y="124"/>
                    </a:lnTo>
                    <a:lnTo>
                      <a:pt x="52" y="124"/>
                    </a:lnTo>
                    <a:lnTo>
                      <a:pt x="52" y="122"/>
                    </a:lnTo>
                    <a:lnTo>
                      <a:pt x="57" y="120"/>
                    </a:lnTo>
                    <a:lnTo>
                      <a:pt x="61" y="118"/>
                    </a:lnTo>
                    <a:lnTo>
                      <a:pt x="62" y="117"/>
                    </a:lnTo>
                    <a:lnTo>
                      <a:pt x="61" y="115"/>
                    </a:lnTo>
                    <a:lnTo>
                      <a:pt x="61" y="115"/>
                    </a:lnTo>
                    <a:lnTo>
                      <a:pt x="61" y="115"/>
                    </a:lnTo>
                    <a:lnTo>
                      <a:pt x="62" y="113"/>
                    </a:lnTo>
                    <a:lnTo>
                      <a:pt x="66" y="113"/>
                    </a:lnTo>
                    <a:lnTo>
                      <a:pt x="68" y="110"/>
                    </a:lnTo>
                    <a:lnTo>
                      <a:pt x="68" y="108"/>
                    </a:lnTo>
                    <a:lnTo>
                      <a:pt x="66" y="106"/>
                    </a:lnTo>
                    <a:lnTo>
                      <a:pt x="66" y="106"/>
                    </a:lnTo>
                    <a:lnTo>
                      <a:pt x="64" y="103"/>
                    </a:lnTo>
                    <a:lnTo>
                      <a:pt x="66" y="103"/>
                    </a:lnTo>
                    <a:lnTo>
                      <a:pt x="71" y="104"/>
                    </a:lnTo>
                    <a:lnTo>
                      <a:pt x="73" y="104"/>
                    </a:lnTo>
                    <a:lnTo>
                      <a:pt x="75" y="104"/>
                    </a:lnTo>
                    <a:lnTo>
                      <a:pt x="75" y="104"/>
                    </a:lnTo>
                    <a:lnTo>
                      <a:pt x="76" y="103"/>
                    </a:lnTo>
                    <a:lnTo>
                      <a:pt x="76" y="99"/>
                    </a:lnTo>
                    <a:lnTo>
                      <a:pt x="75" y="90"/>
                    </a:lnTo>
                    <a:lnTo>
                      <a:pt x="76" y="83"/>
                    </a:lnTo>
                    <a:lnTo>
                      <a:pt x="78" y="82"/>
                    </a:lnTo>
                    <a:lnTo>
                      <a:pt x="80" y="80"/>
                    </a:lnTo>
                    <a:lnTo>
                      <a:pt x="80" y="80"/>
                    </a:lnTo>
                    <a:lnTo>
                      <a:pt x="83" y="80"/>
                    </a:lnTo>
                    <a:lnTo>
                      <a:pt x="83" y="82"/>
                    </a:lnTo>
                    <a:lnTo>
                      <a:pt x="81" y="85"/>
                    </a:lnTo>
                    <a:lnTo>
                      <a:pt x="81" y="87"/>
                    </a:lnTo>
                    <a:lnTo>
                      <a:pt x="83" y="89"/>
                    </a:lnTo>
                    <a:lnTo>
                      <a:pt x="83" y="89"/>
                    </a:lnTo>
                    <a:lnTo>
                      <a:pt x="87" y="90"/>
                    </a:lnTo>
                    <a:lnTo>
                      <a:pt x="88" y="89"/>
                    </a:lnTo>
                    <a:lnTo>
                      <a:pt x="88" y="87"/>
                    </a:lnTo>
                    <a:lnTo>
                      <a:pt x="90" y="87"/>
                    </a:lnTo>
                    <a:lnTo>
                      <a:pt x="90" y="87"/>
                    </a:lnTo>
                    <a:lnTo>
                      <a:pt x="92" y="87"/>
                    </a:lnTo>
                    <a:lnTo>
                      <a:pt x="94" y="87"/>
                    </a:lnTo>
                    <a:lnTo>
                      <a:pt x="95" y="85"/>
                    </a:lnTo>
                    <a:lnTo>
                      <a:pt x="101" y="75"/>
                    </a:lnTo>
                    <a:lnTo>
                      <a:pt x="101" y="75"/>
                    </a:lnTo>
                    <a:lnTo>
                      <a:pt x="101" y="71"/>
                    </a:lnTo>
                    <a:lnTo>
                      <a:pt x="101" y="70"/>
                    </a:lnTo>
                    <a:lnTo>
                      <a:pt x="95" y="68"/>
                    </a:lnTo>
                    <a:lnTo>
                      <a:pt x="85" y="68"/>
                    </a:lnTo>
                    <a:lnTo>
                      <a:pt x="85" y="68"/>
                    </a:lnTo>
                    <a:lnTo>
                      <a:pt x="81" y="66"/>
                    </a:lnTo>
                    <a:lnTo>
                      <a:pt x="78" y="66"/>
                    </a:lnTo>
                    <a:lnTo>
                      <a:pt x="78" y="64"/>
                    </a:lnTo>
                    <a:lnTo>
                      <a:pt x="80" y="63"/>
                    </a:lnTo>
                    <a:lnTo>
                      <a:pt x="80" y="63"/>
                    </a:lnTo>
                    <a:lnTo>
                      <a:pt x="81" y="57"/>
                    </a:lnTo>
                    <a:lnTo>
                      <a:pt x="80" y="54"/>
                    </a:lnTo>
                    <a:lnTo>
                      <a:pt x="78" y="50"/>
                    </a:lnTo>
                    <a:lnTo>
                      <a:pt x="78" y="47"/>
                    </a:lnTo>
                    <a:lnTo>
                      <a:pt x="78" y="47"/>
                    </a:lnTo>
                    <a:lnTo>
                      <a:pt x="80" y="38"/>
                    </a:lnTo>
                    <a:lnTo>
                      <a:pt x="81" y="35"/>
                    </a:lnTo>
                    <a:lnTo>
                      <a:pt x="83" y="33"/>
                    </a:lnTo>
                    <a:lnTo>
                      <a:pt x="83" y="33"/>
                    </a:lnTo>
                    <a:lnTo>
                      <a:pt x="85" y="30"/>
                    </a:lnTo>
                    <a:lnTo>
                      <a:pt x="87" y="26"/>
                    </a:lnTo>
                    <a:lnTo>
                      <a:pt x="87" y="21"/>
                    </a:lnTo>
                    <a:lnTo>
                      <a:pt x="85" y="14"/>
                    </a:lnTo>
                    <a:lnTo>
                      <a:pt x="85" y="14"/>
                    </a:lnTo>
                    <a:lnTo>
                      <a:pt x="83" y="10"/>
                    </a:lnTo>
                    <a:lnTo>
                      <a:pt x="83" y="9"/>
                    </a:lnTo>
                    <a:lnTo>
                      <a:pt x="87" y="5"/>
                    </a:lnTo>
                    <a:lnTo>
                      <a:pt x="88" y="2"/>
                    </a:lnTo>
                    <a:lnTo>
                      <a:pt x="88" y="0"/>
                    </a:lnTo>
                    <a:lnTo>
                      <a:pt x="88" y="0"/>
                    </a:lnTo>
                    <a:lnTo>
                      <a:pt x="88" y="0"/>
                    </a:lnTo>
                    <a:lnTo>
                      <a:pt x="85" y="0"/>
                    </a:lnTo>
                    <a:lnTo>
                      <a:pt x="83" y="3"/>
                    </a:lnTo>
                    <a:lnTo>
                      <a:pt x="78" y="5"/>
                    </a:lnTo>
                    <a:lnTo>
                      <a:pt x="71" y="9"/>
                    </a:lnTo>
                    <a:lnTo>
                      <a:pt x="71" y="9"/>
                    </a:lnTo>
                    <a:lnTo>
                      <a:pt x="68" y="9"/>
                    </a:lnTo>
                    <a:lnTo>
                      <a:pt x="64" y="12"/>
                    </a:lnTo>
                    <a:lnTo>
                      <a:pt x="59" y="21"/>
                    </a:lnTo>
                    <a:lnTo>
                      <a:pt x="54" y="26"/>
                    </a:lnTo>
                    <a:lnTo>
                      <a:pt x="48" y="30"/>
                    </a:lnTo>
                    <a:lnTo>
                      <a:pt x="41" y="33"/>
                    </a:lnTo>
                    <a:lnTo>
                      <a:pt x="33" y="33"/>
                    </a:lnTo>
                    <a:lnTo>
                      <a:pt x="33" y="33"/>
                    </a:lnTo>
                    <a:lnTo>
                      <a:pt x="24" y="35"/>
                    </a:lnTo>
                    <a:lnTo>
                      <a:pt x="17" y="36"/>
                    </a:lnTo>
                    <a:lnTo>
                      <a:pt x="12" y="42"/>
                    </a:lnTo>
                    <a:lnTo>
                      <a:pt x="8" y="47"/>
                    </a:lnTo>
                    <a:lnTo>
                      <a:pt x="5" y="54"/>
                    </a:lnTo>
                    <a:lnTo>
                      <a:pt x="3" y="61"/>
                    </a:lnTo>
                    <a:lnTo>
                      <a:pt x="0" y="78"/>
                    </a:lnTo>
                    <a:lnTo>
                      <a:pt x="0" y="78"/>
                    </a:lnTo>
                    <a:lnTo>
                      <a:pt x="0" y="92"/>
                    </a:lnTo>
                    <a:lnTo>
                      <a:pt x="1" y="101"/>
                    </a:lnTo>
                    <a:lnTo>
                      <a:pt x="3" y="108"/>
                    </a:lnTo>
                    <a:lnTo>
                      <a:pt x="1" y="115"/>
                    </a:lnTo>
                    <a:lnTo>
                      <a:pt x="1" y="115"/>
                    </a:lnTo>
                    <a:lnTo>
                      <a:pt x="0" y="120"/>
                    </a:lnTo>
                    <a:lnTo>
                      <a:pt x="0" y="122"/>
                    </a:lnTo>
                    <a:lnTo>
                      <a:pt x="1" y="122"/>
                    </a:lnTo>
                    <a:lnTo>
                      <a:pt x="5" y="124"/>
                    </a:lnTo>
                    <a:lnTo>
                      <a:pt x="5" y="124"/>
                    </a:lnTo>
                    <a:lnTo>
                      <a:pt x="8" y="127"/>
                    </a:lnTo>
                    <a:lnTo>
                      <a:pt x="8" y="125"/>
                    </a:lnTo>
                    <a:lnTo>
                      <a:pt x="10" y="122"/>
                    </a:lnTo>
                    <a:lnTo>
                      <a:pt x="12" y="124"/>
                    </a:lnTo>
                    <a:lnTo>
                      <a:pt x="12" y="124"/>
                    </a:lnTo>
                    <a:lnTo>
                      <a:pt x="15" y="127"/>
                    </a:lnTo>
                    <a:lnTo>
                      <a:pt x="17" y="127"/>
                    </a:lnTo>
                    <a:lnTo>
                      <a:pt x="21" y="131"/>
                    </a:lnTo>
                    <a:lnTo>
                      <a:pt x="21" y="137"/>
                    </a:lnTo>
                    <a:lnTo>
                      <a:pt x="21" y="137"/>
                    </a:lnTo>
                    <a:lnTo>
                      <a:pt x="21" y="143"/>
                    </a:lnTo>
                    <a:lnTo>
                      <a:pt x="17" y="141"/>
                    </a:lnTo>
                    <a:lnTo>
                      <a:pt x="15" y="139"/>
                    </a:lnTo>
                    <a:lnTo>
                      <a:pt x="15" y="139"/>
                    </a:lnTo>
                    <a:lnTo>
                      <a:pt x="14" y="143"/>
                    </a:lnTo>
                    <a:lnTo>
                      <a:pt x="14" y="143"/>
                    </a:lnTo>
                    <a:lnTo>
                      <a:pt x="14" y="146"/>
                    </a:lnTo>
                    <a:lnTo>
                      <a:pt x="15" y="146"/>
                    </a:lnTo>
                    <a:lnTo>
                      <a:pt x="17" y="144"/>
                    </a:lnTo>
                    <a:lnTo>
                      <a:pt x="19" y="144"/>
                    </a:lnTo>
                    <a:lnTo>
                      <a:pt x="19" y="144"/>
                    </a:lnTo>
                    <a:lnTo>
                      <a:pt x="19" y="155"/>
                    </a:lnTo>
                    <a:lnTo>
                      <a:pt x="19" y="15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4" name="Freeform 2237">
                <a:extLst>
                  <a:ext uri="{FF2B5EF4-FFF2-40B4-BE49-F238E27FC236}">
                    <a16:creationId xmlns:a16="http://schemas.microsoft.com/office/drawing/2014/main" id="{4A2DC3AB-AD78-4FD6-85D9-EE8431209B91}"/>
                  </a:ext>
                </a:extLst>
              </p:cNvPr>
              <p:cNvSpPr>
                <a:spLocks/>
              </p:cNvSpPr>
              <p:nvPr/>
            </p:nvSpPr>
            <p:spPr bwMode="auto">
              <a:xfrm>
                <a:off x="4329113" y="2420938"/>
                <a:ext cx="28575" cy="19050"/>
              </a:xfrm>
              <a:custGeom>
                <a:avLst/>
                <a:gdLst/>
                <a:ahLst/>
                <a:cxnLst>
                  <a:cxn ang="0">
                    <a:pos x="38" y="25"/>
                  </a:cxn>
                  <a:cxn ang="0">
                    <a:pos x="38" y="25"/>
                  </a:cxn>
                  <a:cxn ang="0">
                    <a:pos x="33" y="28"/>
                  </a:cxn>
                  <a:cxn ang="0">
                    <a:pos x="28" y="30"/>
                  </a:cxn>
                  <a:cxn ang="0">
                    <a:pos x="19" y="28"/>
                  </a:cxn>
                  <a:cxn ang="0">
                    <a:pos x="19" y="28"/>
                  </a:cxn>
                  <a:cxn ang="0">
                    <a:pos x="16" y="26"/>
                  </a:cxn>
                  <a:cxn ang="0">
                    <a:pos x="14" y="25"/>
                  </a:cxn>
                  <a:cxn ang="0">
                    <a:pos x="16" y="23"/>
                  </a:cxn>
                  <a:cxn ang="0">
                    <a:pos x="14" y="23"/>
                  </a:cxn>
                  <a:cxn ang="0">
                    <a:pos x="14" y="23"/>
                  </a:cxn>
                  <a:cxn ang="0">
                    <a:pos x="12" y="23"/>
                  </a:cxn>
                  <a:cxn ang="0">
                    <a:pos x="11" y="23"/>
                  </a:cxn>
                  <a:cxn ang="0">
                    <a:pos x="11" y="23"/>
                  </a:cxn>
                  <a:cxn ang="0">
                    <a:pos x="9" y="21"/>
                  </a:cxn>
                  <a:cxn ang="0">
                    <a:pos x="9" y="21"/>
                  </a:cxn>
                  <a:cxn ang="0">
                    <a:pos x="5" y="14"/>
                  </a:cxn>
                  <a:cxn ang="0">
                    <a:pos x="2" y="9"/>
                  </a:cxn>
                  <a:cxn ang="0">
                    <a:pos x="2" y="9"/>
                  </a:cxn>
                  <a:cxn ang="0">
                    <a:pos x="0" y="7"/>
                  </a:cxn>
                  <a:cxn ang="0">
                    <a:pos x="0" y="4"/>
                  </a:cxn>
                  <a:cxn ang="0">
                    <a:pos x="2" y="4"/>
                  </a:cxn>
                  <a:cxn ang="0">
                    <a:pos x="5" y="4"/>
                  </a:cxn>
                  <a:cxn ang="0">
                    <a:pos x="5" y="4"/>
                  </a:cxn>
                  <a:cxn ang="0">
                    <a:pos x="9" y="4"/>
                  </a:cxn>
                  <a:cxn ang="0">
                    <a:pos x="14" y="2"/>
                  </a:cxn>
                  <a:cxn ang="0">
                    <a:pos x="19" y="0"/>
                  </a:cxn>
                  <a:cxn ang="0">
                    <a:pos x="23" y="0"/>
                  </a:cxn>
                  <a:cxn ang="0">
                    <a:pos x="23" y="0"/>
                  </a:cxn>
                  <a:cxn ang="0">
                    <a:pos x="30" y="4"/>
                  </a:cxn>
                  <a:cxn ang="0">
                    <a:pos x="31" y="4"/>
                  </a:cxn>
                  <a:cxn ang="0">
                    <a:pos x="31" y="2"/>
                  </a:cxn>
                  <a:cxn ang="0">
                    <a:pos x="31" y="2"/>
                  </a:cxn>
                  <a:cxn ang="0">
                    <a:pos x="31" y="0"/>
                  </a:cxn>
                  <a:cxn ang="0">
                    <a:pos x="35" y="2"/>
                  </a:cxn>
                  <a:cxn ang="0">
                    <a:pos x="37" y="4"/>
                  </a:cxn>
                  <a:cxn ang="0">
                    <a:pos x="37" y="7"/>
                  </a:cxn>
                  <a:cxn ang="0">
                    <a:pos x="37" y="7"/>
                  </a:cxn>
                  <a:cxn ang="0">
                    <a:pos x="37" y="11"/>
                  </a:cxn>
                  <a:cxn ang="0">
                    <a:pos x="38" y="16"/>
                  </a:cxn>
                  <a:cxn ang="0">
                    <a:pos x="40" y="21"/>
                  </a:cxn>
                  <a:cxn ang="0">
                    <a:pos x="38" y="23"/>
                  </a:cxn>
                  <a:cxn ang="0">
                    <a:pos x="38" y="25"/>
                  </a:cxn>
                  <a:cxn ang="0">
                    <a:pos x="38" y="25"/>
                  </a:cxn>
                </a:cxnLst>
                <a:rect l="0" t="0" r="r" b="b"/>
                <a:pathLst>
                  <a:path w="40" h="30">
                    <a:moveTo>
                      <a:pt x="38" y="25"/>
                    </a:moveTo>
                    <a:lnTo>
                      <a:pt x="38" y="25"/>
                    </a:lnTo>
                    <a:lnTo>
                      <a:pt x="33" y="28"/>
                    </a:lnTo>
                    <a:lnTo>
                      <a:pt x="28" y="30"/>
                    </a:lnTo>
                    <a:lnTo>
                      <a:pt x="19" y="28"/>
                    </a:lnTo>
                    <a:lnTo>
                      <a:pt x="19" y="28"/>
                    </a:lnTo>
                    <a:lnTo>
                      <a:pt x="16" y="26"/>
                    </a:lnTo>
                    <a:lnTo>
                      <a:pt x="14" y="25"/>
                    </a:lnTo>
                    <a:lnTo>
                      <a:pt x="16" y="23"/>
                    </a:lnTo>
                    <a:lnTo>
                      <a:pt x="14" y="23"/>
                    </a:lnTo>
                    <a:lnTo>
                      <a:pt x="14" y="23"/>
                    </a:lnTo>
                    <a:lnTo>
                      <a:pt x="12" y="23"/>
                    </a:lnTo>
                    <a:lnTo>
                      <a:pt x="11" y="23"/>
                    </a:lnTo>
                    <a:lnTo>
                      <a:pt x="11" y="23"/>
                    </a:lnTo>
                    <a:lnTo>
                      <a:pt x="9" y="21"/>
                    </a:lnTo>
                    <a:lnTo>
                      <a:pt x="9" y="21"/>
                    </a:lnTo>
                    <a:lnTo>
                      <a:pt x="5" y="14"/>
                    </a:lnTo>
                    <a:lnTo>
                      <a:pt x="2" y="9"/>
                    </a:lnTo>
                    <a:lnTo>
                      <a:pt x="2" y="9"/>
                    </a:lnTo>
                    <a:lnTo>
                      <a:pt x="0" y="7"/>
                    </a:lnTo>
                    <a:lnTo>
                      <a:pt x="0" y="4"/>
                    </a:lnTo>
                    <a:lnTo>
                      <a:pt x="2" y="4"/>
                    </a:lnTo>
                    <a:lnTo>
                      <a:pt x="5" y="4"/>
                    </a:lnTo>
                    <a:lnTo>
                      <a:pt x="5" y="4"/>
                    </a:lnTo>
                    <a:lnTo>
                      <a:pt x="9" y="4"/>
                    </a:lnTo>
                    <a:lnTo>
                      <a:pt x="14" y="2"/>
                    </a:lnTo>
                    <a:lnTo>
                      <a:pt x="19" y="0"/>
                    </a:lnTo>
                    <a:lnTo>
                      <a:pt x="23" y="0"/>
                    </a:lnTo>
                    <a:lnTo>
                      <a:pt x="23" y="0"/>
                    </a:lnTo>
                    <a:lnTo>
                      <a:pt x="30" y="4"/>
                    </a:lnTo>
                    <a:lnTo>
                      <a:pt x="31" y="4"/>
                    </a:lnTo>
                    <a:lnTo>
                      <a:pt x="31" y="2"/>
                    </a:lnTo>
                    <a:lnTo>
                      <a:pt x="31" y="2"/>
                    </a:lnTo>
                    <a:lnTo>
                      <a:pt x="31" y="0"/>
                    </a:lnTo>
                    <a:lnTo>
                      <a:pt x="35" y="2"/>
                    </a:lnTo>
                    <a:lnTo>
                      <a:pt x="37" y="4"/>
                    </a:lnTo>
                    <a:lnTo>
                      <a:pt x="37" y="7"/>
                    </a:lnTo>
                    <a:lnTo>
                      <a:pt x="37" y="7"/>
                    </a:lnTo>
                    <a:lnTo>
                      <a:pt x="37" y="11"/>
                    </a:lnTo>
                    <a:lnTo>
                      <a:pt x="38" y="16"/>
                    </a:lnTo>
                    <a:lnTo>
                      <a:pt x="40" y="21"/>
                    </a:lnTo>
                    <a:lnTo>
                      <a:pt x="38" y="23"/>
                    </a:lnTo>
                    <a:lnTo>
                      <a:pt x="38" y="25"/>
                    </a:lnTo>
                    <a:lnTo>
                      <a:pt x="38"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5" name="Freeform 2238">
                <a:extLst>
                  <a:ext uri="{FF2B5EF4-FFF2-40B4-BE49-F238E27FC236}">
                    <a16:creationId xmlns:a16="http://schemas.microsoft.com/office/drawing/2014/main" id="{1ADCF3AD-C25E-4316-A455-75CE90BBF8D4}"/>
                  </a:ext>
                </a:extLst>
              </p:cNvPr>
              <p:cNvSpPr>
                <a:spLocks/>
              </p:cNvSpPr>
              <p:nvPr/>
            </p:nvSpPr>
            <p:spPr bwMode="auto">
              <a:xfrm>
                <a:off x="4357688" y="2398713"/>
                <a:ext cx="44450" cy="61912"/>
              </a:xfrm>
              <a:custGeom>
                <a:avLst/>
                <a:gdLst/>
                <a:ahLst/>
                <a:cxnLst>
                  <a:cxn ang="0">
                    <a:pos x="40" y="85"/>
                  </a:cxn>
                  <a:cxn ang="0">
                    <a:pos x="38" y="80"/>
                  </a:cxn>
                  <a:cxn ang="0">
                    <a:pos x="37" y="73"/>
                  </a:cxn>
                  <a:cxn ang="0">
                    <a:pos x="32" y="68"/>
                  </a:cxn>
                  <a:cxn ang="0">
                    <a:pos x="33" y="64"/>
                  </a:cxn>
                  <a:cxn ang="0">
                    <a:pos x="33" y="62"/>
                  </a:cxn>
                  <a:cxn ang="0">
                    <a:pos x="28" y="59"/>
                  </a:cxn>
                  <a:cxn ang="0">
                    <a:pos x="26" y="57"/>
                  </a:cxn>
                  <a:cxn ang="0">
                    <a:pos x="30" y="57"/>
                  </a:cxn>
                  <a:cxn ang="0">
                    <a:pos x="32" y="54"/>
                  </a:cxn>
                  <a:cxn ang="0">
                    <a:pos x="30" y="50"/>
                  </a:cxn>
                  <a:cxn ang="0">
                    <a:pos x="26" y="50"/>
                  </a:cxn>
                  <a:cxn ang="0">
                    <a:pos x="23" y="50"/>
                  </a:cxn>
                  <a:cxn ang="0">
                    <a:pos x="16" y="50"/>
                  </a:cxn>
                  <a:cxn ang="0">
                    <a:pos x="14" y="48"/>
                  </a:cxn>
                  <a:cxn ang="0">
                    <a:pos x="12" y="45"/>
                  </a:cxn>
                  <a:cxn ang="0">
                    <a:pos x="9" y="43"/>
                  </a:cxn>
                  <a:cxn ang="0">
                    <a:pos x="11" y="42"/>
                  </a:cxn>
                  <a:cxn ang="0">
                    <a:pos x="11" y="36"/>
                  </a:cxn>
                  <a:cxn ang="0">
                    <a:pos x="9" y="31"/>
                  </a:cxn>
                  <a:cxn ang="0">
                    <a:pos x="9" y="31"/>
                  </a:cxn>
                  <a:cxn ang="0">
                    <a:pos x="5" y="26"/>
                  </a:cxn>
                  <a:cxn ang="0">
                    <a:pos x="0" y="22"/>
                  </a:cxn>
                  <a:cxn ang="0">
                    <a:pos x="2" y="21"/>
                  </a:cxn>
                  <a:cxn ang="0">
                    <a:pos x="9" y="21"/>
                  </a:cxn>
                  <a:cxn ang="0">
                    <a:pos x="19" y="19"/>
                  </a:cxn>
                  <a:cxn ang="0">
                    <a:pos x="21" y="15"/>
                  </a:cxn>
                  <a:cxn ang="0">
                    <a:pos x="19" y="10"/>
                  </a:cxn>
                  <a:cxn ang="0">
                    <a:pos x="14" y="8"/>
                  </a:cxn>
                  <a:cxn ang="0">
                    <a:pos x="16" y="7"/>
                  </a:cxn>
                  <a:cxn ang="0">
                    <a:pos x="21" y="8"/>
                  </a:cxn>
                  <a:cxn ang="0">
                    <a:pos x="30" y="10"/>
                  </a:cxn>
                  <a:cxn ang="0">
                    <a:pos x="32" y="8"/>
                  </a:cxn>
                  <a:cxn ang="0">
                    <a:pos x="32" y="19"/>
                  </a:cxn>
                  <a:cxn ang="0">
                    <a:pos x="32" y="22"/>
                  </a:cxn>
                  <a:cxn ang="0">
                    <a:pos x="35" y="24"/>
                  </a:cxn>
                  <a:cxn ang="0">
                    <a:pos x="37" y="21"/>
                  </a:cxn>
                  <a:cxn ang="0">
                    <a:pos x="38" y="12"/>
                  </a:cxn>
                  <a:cxn ang="0">
                    <a:pos x="38" y="10"/>
                  </a:cxn>
                  <a:cxn ang="0">
                    <a:pos x="42" y="3"/>
                  </a:cxn>
                  <a:cxn ang="0">
                    <a:pos x="52" y="0"/>
                  </a:cxn>
                  <a:cxn ang="0">
                    <a:pos x="61" y="3"/>
                  </a:cxn>
                  <a:cxn ang="0">
                    <a:pos x="61" y="8"/>
                  </a:cxn>
                  <a:cxn ang="0">
                    <a:pos x="61" y="12"/>
                  </a:cxn>
                  <a:cxn ang="0">
                    <a:pos x="59" y="26"/>
                  </a:cxn>
                  <a:cxn ang="0">
                    <a:pos x="56" y="29"/>
                  </a:cxn>
                  <a:cxn ang="0">
                    <a:pos x="51" y="31"/>
                  </a:cxn>
                  <a:cxn ang="0">
                    <a:pos x="47" y="36"/>
                  </a:cxn>
                  <a:cxn ang="0">
                    <a:pos x="51" y="40"/>
                  </a:cxn>
                  <a:cxn ang="0">
                    <a:pos x="58" y="45"/>
                  </a:cxn>
                  <a:cxn ang="0">
                    <a:pos x="52" y="48"/>
                  </a:cxn>
                  <a:cxn ang="0">
                    <a:pos x="45" y="52"/>
                  </a:cxn>
                  <a:cxn ang="0">
                    <a:pos x="45" y="55"/>
                  </a:cxn>
                  <a:cxn ang="0">
                    <a:pos x="45" y="59"/>
                  </a:cxn>
                  <a:cxn ang="0">
                    <a:pos x="44" y="62"/>
                  </a:cxn>
                  <a:cxn ang="0">
                    <a:pos x="40" y="62"/>
                  </a:cxn>
                  <a:cxn ang="0">
                    <a:pos x="37" y="64"/>
                  </a:cxn>
                  <a:cxn ang="0">
                    <a:pos x="42" y="66"/>
                  </a:cxn>
                  <a:cxn ang="0">
                    <a:pos x="45" y="71"/>
                  </a:cxn>
                  <a:cxn ang="0">
                    <a:pos x="44" y="75"/>
                  </a:cxn>
                  <a:cxn ang="0">
                    <a:pos x="42" y="82"/>
                  </a:cxn>
                  <a:cxn ang="0">
                    <a:pos x="42" y="85"/>
                  </a:cxn>
                  <a:cxn ang="0">
                    <a:pos x="40" y="85"/>
                  </a:cxn>
                </a:cxnLst>
                <a:rect l="0" t="0" r="r" b="b"/>
                <a:pathLst>
                  <a:path w="63" h="85">
                    <a:moveTo>
                      <a:pt x="40" y="85"/>
                    </a:moveTo>
                    <a:lnTo>
                      <a:pt x="40" y="85"/>
                    </a:lnTo>
                    <a:lnTo>
                      <a:pt x="38" y="82"/>
                    </a:lnTo>
                    <a:lnTo>
                      <a:pt x="38" y="80"/>
                    </a:lnTo>
                    <a:lnTo>
                      <a:pt x="38" y="76"/>
                    </a:lnTo>
                    <a:lnTo>
                      <a:pt x="37" y="73"/>
                    </a:lnTo>
                    <a:lnTo>
                      <a:pt x="37" y="73"/>
                    </a:lnTo>
                    <a:lnTo>
                      <a:pt x="32" y="68"/>
                    </a:lnTo>
                    <a:lnTo>
                      <a:pt x="32" y="66"/>
                    </a:lnTo>
                    <a:lnTo>
                      <a:pt x="33" y="64"/>
                    </a:lnTo>
                    <a:lnTo>
                      <a:pt x="33" y="64"/>
                    </a:lnTo>
                    <a:lnTo>
                      <a:pt x="33" y="62"/>
                    </a:lnTo>
                    <a:lnTo>
                      <a:pt x="32" y="61"/>
                    </a:lnTo>
                    <a:lnTo>
                      <a:pt x="28" y="59"/>
                    </a:lnTo>
                    <a:lnTo>
                      <a:pt x="26" y="57"/>
                    </a:lnTo>
                    <a:lnTo>
                      <a:pt x="26" y="57"/>
                    </a:lnTo>
                    <a:lnTo>
                      <a:pt x="28" y="57"/>
                    </a:lnTo>
                    <a:lnTo>
                      <a:pt x="30" y="57"/>
                    </a:lnTo>
                    <a:lnTo>
                      <a:pt x="32" y="57"/>
                    </a:lnTo>
                    <a:lnTo>
                      <a:pt x="32" y="54"/>
                    </a:lnTo>
                    <a:lnTo>
                      <a:pt x="32" y="54"/>
                    </a:lnTo>
                    <a:lnTo>
                      <a:pt x="30" y="50"/>
                    </a:lnTo>
                    <a:lnTo>
                      <a:pt x="28" y="50"/>
                    </a:lnTo>
                    <a:lnTo>
                      <a:pt x="26" y="50"/>
                    </a:lnTo>
                    <a:lnTo>
                      <a:pt x="23" y="50"/>
                    </a:lnTo>
                    <a:lnTo>
                      <a:pt x="23" y="50"/>
                    </a:lnTo>
                    <a:lnTo>
                      <a:pt x="19" y="50"/>
                    </a:lnTo>
                    <a:lnTo>
                      <a:pt x="16" y="50"/>
                    </a:lnTo>
                    <a:lnTo>
                      <a:pt x="14" y="50"/>
                    </a:lnTo>
                    <a:lnTo>
                      <a:pt x="14" y="48"/>
                    </a:lnTo>
                    <a:lnTo>
                      <a:pt x="14" y="48"/>
                    </a:lnTo>
                    <a:lnTo>
                      <a:pt x="12" y="45"/>
                    </a:lnTo>
                    <a:lnTo>
                      <a:pt x="11" y="43"/>
                    </a:lnTo>
                    <a:lnTo>
                      <a:pt x="9" y="43"/>
                    </a:lnTo>
                    <a:lnTo>
                      <a:pt x="11" y="42"/>
                    </a:lnTo>
                    <a:lnTo>
                      <a:pt x="11" y="42"/>
                    </a:lnTo>
                    <a:lnTo>
                      <a:pt x="12" y="38"/>
                    </a:lnTo>
                    <a:lnTo>
                      <a:pt x="11" y="36"/>
                    </a:lnTo>
                    <a:lnTo>
                      <a:pt x="9" y="35"/>
                    </a:lnTo>
                    <a:lnTo>
                      <a:pt x="9" y="31"/>
                    </a:lnTo>
                    <a:lnTo>
                      <a:pt x="9" y="31"/>
                    </a:lnTo>
                    <a:lnTo>
                      <a:pt x="9" y="31"/>
                    </a:lnTo>
                    <a:lnTo>
                      <a:pt x="9" y="29"/>
                    </a:lnTo>
                    <a:lnTo>
                      <a:pt x="5" y="26"/>
                    </a:lnTo>
                    <a:lnTo>
                      <a:pt x="0" y="24"/>
                    </a:lnTo>
                    <a:lnTo>
                      <a:pt x="0" y="22"/>
                    </a:lnTo>
                    <a:lnTo>
                      <a:pt x="2" y="21"/>
                    </a:lnTo>
                    <a:lnTo>
                      <a:pt x="2" y="21"/>
                    </a:lnTo>
                    <a:lnTo>
                      <a:pt x="5" y="21"/>
                    </a:lnTo>
                    <a:lnTo>
                      <a:pt x="9" y="21"/>
                    </a:lnTo>
                    <a:lnTo>
                      <a:pt x="14" y="21"/>
                    </a:lnTo>
                    <a:lnTo>
                      <a:pt x="19" y="19"/>
                    </a:lnTo>
                    <a:lnTo>
                      <a:pt x="19" y="19"/>
                    </a:lnTo>
                    <a:lnTo>
                      <a:pt x="21" y="15"/>
                    </a:lnTo>
                    <a:lnTo>
                      <a:pt x="23" y="14"/>
                    </a:lnTo>
                    <a:lnTo>
                      <a:pt x="19" y="10"/>
                    </a:lnTo>
                    <a:lnTo>
                      <a:pt x="16" y="8"/>
                    </a:lnTo>
                    <a:lnTo>
                      <a:pt x="14" y="8"/>
                    </a:lnTo>
                    <a:lnTo>
                      <a:pt x="16" y="7"/>
                    </a:lnTo>
                    <a:lnTo>
                      <a:pt x="16" y="7"/>
                    </a:lnTo>
                    <a:lnTo>
                      <a:pt x="18" y="7"/>
                    </a:lnTo>
                    <a:lnTo>
                      <a:pt x="21" y="8"/>
                    </a:lnTo>
                    <a:lnTo>
                      <a:pt x="26" y="10"/>
                    </a:lnTo>
                    <a:lnTo>
                      <a:pt x="30" y="10"/>
                    </a:lnTo>
                    <a:lnTo>
                      <a:pt x="30" y="10"/>
                    </a:lnTo>
                    <a:lnTo>
                      <a:pt x="32" y="8"/>
                    </a:lnTo>
                    <a:lnTo>
                      <a:pt x="33" y="10"/>
                    </a:lnTo>
                    <a:lnTo>
                      <a:pt x="32" y="19"/>
                    </a:lnTo>
                    <a:lnTo>
                      <a:pt x="32" y="19"/>
                    </a:lnTo>
                    <a:lnTo>
                      <a:pt x="32" y="22"/>
                    </a:lnTo>
                    <a:lnTo>
                      <a:pt x="33" y="24"/>
                    </a:lnTo>
                    <a:lnTo>
                      <a:pt x="35" y="24"/>
                    </a:lnTo>
                    <a:lnTo>
                      <a:pt x="37" y="21"/>
                    </a:lnTo>
                    <a:lnTo>
                      <a:pt x="37" y="21"/>
                    </a:lnTo>
                    <a:lnTo>
                      <a:pt x="38" y="14"/>
                    </a:lnTo>
                    <a:lnTo>
                      <a:pt x="38" y="12"/>
                    </a:lnTo>
                    <a:lnTo>
                      <a:pt x="38" y="10"/>
                    </a:lnTo>
                    <a:lnTo>
                      <a:pt x="38" y="10"/>
                    </a:lnTo>
                    <a:lnTo>
                      <a:pt x="38" y="7"/>
                    </a:lnTo>
                    <a:lnTo>
                      <a:pt x="42" y="3"/>
                    </a:lnTo>
                    <a:lnTo>
                      <a:pt x="47" y="1"/>
                    </a:lnTo>
                    <a:lnTo>
                      <a:pt x="52" y="0"/>
                    </a:lnTo>
                    <a:lnTo>
                      <a:pt x="52" y="0"/>
                    </a:lnTo>
                    <a:lnTo>
                      <a:pt x="61" y="3"/>
                    </a:lnTo>
                    <a:lnTo>
                      <a:pt x="63" y="5"/>
                    </a:lnTo>
                    <a:lnTo>
                      <a:pt x="61" y="8"/>
                    </a:lnTo>
                    <a:lnTo>
                      <a:pt x="61" y="8"/>
                    </a:lnTo>
                    <a:lnTo>
                      <a:pt x="61" y="12"/>
                    </a:lnTo>
                    <a:lnTo>
                      <a:pt x="61" y="19"/>
                    </a:lnTo>
                    <a:lnTo>
                      <a:pt x="59" y="26"/>
                    </a:lnTo>
                    <a:lnTo>
                      <a:pt x="58" y="28"/>
                    </a:lnTo>
                    <a:lnTo>
                      <a:pt x="56" y="29"/>
                    </a:lnTo>
                    <a:lnTo>
                      <a:pt x="56" y="29"/>
                    </a:lnTo>
                    <a:lnTo>
                      <a:pt x="51" y="31"/>
                    </a:lnTo>
                    <a:lnTo>
                      <a:pt x="47" y="33"/>
                    </a:lnTo>
                    <a:lnTo>
                      <a:pt x="47" y="36"/>
                    </a:lnTo>
                    <a:lnTo>
                      <a:pt x="51" y="40"/>
                    </a:lnTo>
                    <a:lnTo>
                      <a:pt x="51" y="40"/>
                    </a:lnTo>
                    <a:lnTo>
                      <a:pt x="56" y="43"/>
                    </a:lnTo>
                    <a:lnTo>
                      <a:pt x="58" y="45"/>
                    </a:lnTo>
                    <a:lnTo>
                      <a:pt x="56" y="47"/>
                    </a:lnTo>
                    <a:lnTo>
                      <a:pt x="52" y="48"/>
                    </a:lnTo>
                    <a:lnTo>
                      <a:pt x="52" y="48"/>
                    </a:lnTo>
                    <a:lnTo>
                      <a:pt x="45" y="52"/>
                    </a:lnTo>
                    <a:lnTo>
                      <a:pt x="45" y="54"/>
                    </a:lnTo>
                    <a:lnTo>
                      <a:pt x="45" y="55"/>
                    </a:lnTo>
                    <a:lnTo>
                      <a:pt x="45" y="55"/>
                    </a:lnTo>
                    <a:lnTo>
                      <a:pt x="45" y="59"/>
                    </a:lnTo>
                    <a:lnTo>
                      <a:pt x="45" y="61"/>
                    </a:lnTo>
                    <a:lnTo>
                      <a:pt x="44" y="62"/>
                    </a:lnTo>
                    <a:lnTo>
                      <a:pt x="40" y="62"/>
                    </a:lnTo>
                    <a:lnTo>
                      <a:pt x="40" y="62"/>
                    </a:lnTo>
                    <a:lnTo>
                      <a:pt x="38" y="62"/>
                    </a:lnTo>
                    <a:lnTo>
                      <a:pt x="37" y="64"/>
                    </a:lnTo>
                    <a:lnTo>
                      <a:pt x="42" y="66"/>
                    </a:lnTo>
                    <a:lnTo>
                      <a:pt x="42" y="66"/>
                    </a:lnTo>
                    <a:lnTo>
                      <a:pt x="45" y="69"/>
                    </a:lnTo>
                    <a:lnTo>
                      <a:pt x="45" y="71"/>
                    </a:lnTo>
                    <a:lnTo>
                      <a:pt x="44" y="75"/>
                    </a:lnTo>
                    <a:lnTo>
                      <a:pt x="44" y="75"/>
                    </a:lnTo>
                    <a:lnTo>
                      <a:pt x="42" y="78"/>
                    </a:lnTo>
                    <a:lnTo>
                      <a:pt x="42" y="82"/>
                    </a:lnTo>
                    <a:lnTo>
                      <a:pt x="42" y="85"/>
                    </a:lnTo>
                    <a:lnTo>
                      <a:pt x="42" y="85"/>
                    </a:lnTo>
                    <a:lnTo>
                      <a:pt x="40" y="85"/>
                    </a:lnTo>
                    <a:lnTo>
                      <a:pt x="40" y="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6" name="Freeform 2239">
                <a:extLst>
                  <a:ext uri="{FF2B5EF4-FFF2-40B4-BE49-F238E27FC236}">
                    <a16:creationId xmlns:a16="http://schemas.microsoft.com/office/drawing/2014/main" id="{B1D631BE-A1D4-45E9-AF69-F44A3B9C43DB}"/>
                  </a:ext>
                </a:extLst>
              </p:cNvPr>
              <p:cNvSpPr>
                <a:spLocks/>
              </p:cNvSpPr>
              <p:nvPr/>
            </p:nvSpPr>
            <p:spPr bwMode="auto">
              <a:xfrm>
                <a:off x="4391025" y="2439988"/>
                <a:ext cx="7938" cy="6350"/>
              </a:xfrm>
              <a:custGeom>
                <a:avLst/>
                <a:gdLst/>
                <a:ahLst/>
                <a:cxnLst>
                  <a:cxn ang="0">
                    <a:pos x="2" y="3"/>
                  </a:cxn>
                  <a:cxn ang="0">
                    <a:pos x="2" y="3"/>
                  </a:cxn>
                  <a:cxn ang="0">
                    <a:pos x="6" y="0"/>
                  </a:cxn>
                  <a:cxn ang="0">
                    <a:pos x="9" y="0"/>
                  </a:cxn>
                  <a:cxn ang="0">
                    <a:pos x="13" y="2"/>
                  </a:cxn>
                  <a:cxn ang="0">
                    <a:pos x="13" y="2"/>
                  </a:cxn>
                  <a:cxn ang="0">
                    <a:pos x="13" y="2"/>
                  </a:cxn>
                  <a:cxn ang="0">
                    <a:pos x="13" y="3"/>
                  </a:cxn>
                  <a:cxn ang="0">
                    <a:pos x="7" y="7"/>
                  </a:cxn>
                  <a:cxn ang="0">
                    <a:pos x="2" y="7"/>
                  </a:cxn>
                  <a:cxn ang="0">
                    <a:pos x="0" y="7"/>
                  </a:cxn>
                  <a:cxn ang="0">
                    <a:pos x="2" y="3"/>
                  </a:cxn>
                </a:cxnLst>
                <a:rect l="0" t="0" r="r" b="b"/>
                <a:pathLst>
                  <a:path w="13" h="7">
                    <a:moveTo>
                      <a:pt x="2" y="3"/>
                    </a:moveTo>
                    <a:lnTo>
                      <a:pt x="2" y="3"/>
                    </a:lnTo>
                    <a:lnTo>
                      <a:pt x="6" y="0"/>
                    </a:lnTo>
                    <a:lnTo>
                      <a:pt x="9" y="0"/>
                    </a:lnTo>
                    <a:lnTo>
                      <a:pt x="13" y="2"/>
                    </a:lnTo>
                    <a:lnTo>
                      <a:pt x="13" y="2"/>
                    </a:lnTo>
                    <a:lnTo>
                      <a:pt x="13" y="2"/>
                    </a:lnTo>
                    <a:lnTo>
                      <a:pt x="13" y="3"/>
                    </a:lnTo>
                    <a:lnTo>
                      <a:pt x="7" y="7"/>
                    </a:lnTo>
                    <a:lnTo>
                      <a:pt x="2" y="7"/>
                    </a:lnTo>
                    <a:lnTo>
                      <a:pt x="0" y="7"/>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7" name="Freeform 2240">
                <a:extLst>
                  <a:ext uri="{FF2B5EF4-FFF2-40B4-BE49-F238E27FC236}">
                    <a16:creationId xmlns:a16="http://schemas.microsoft.com/office/drawing/2014/main" id="{572A2A83-3B01-4F69-B64B-F96714019F83}"/>
                  </a:ext>
                </a:extLst>
              </p:cNvPr>
              <p:cNvSpPr>
                <a:spLocks/>
              </p:cNvSpPr>
              <p:nvPr/>
            </p:nvSpPr>
            <p:spPr bwMode="auto">
              <a:xfrm>
                <a:off x="4362450" y="2460625"/>
                <a:ext cx="7938" cy="4763"/>
              </a:xfrm>
              <a:custGeom>
                <a:avLst/>
                <a:gdLst/>
                <a:ahLst/>
                <a:cxnLst>
                  <a:cxn ang="0">
                    <a:pos x="0" y="0"/>
                  </a:cxn>
                  <a:cxn ang="0">
                    <a:pos x="0" y="0"/>
                  </a:cxn>
                  <a:cxn ang="0">
                    <a:pos x="4" y="0"/>
                  </a:cxn>
                  <a:cxn ang="0">
                    <a:pos x="7" y="0"/>
                  </a:cxn>
                  <a:cxn ang="0">
                    <a:pos x="9" y="2"/>
                  </a:cxn>
                  <a:cxn ang="0">
                    <a:pos x="11" y="5"/>
                  </a:cxn>
                  <a:cxn ang="0">
                    <a:pos x="11" y="5"/>
                  </a:cxn>
                  <a:cxn ang="0">
                    <a:pos x="7" y="5"/>
                  </a:cxn>
                  <a:cxn ang="0">
                    <a:pos x="4" y="5"/>
                  </a:cxn>
                  <a:cxn ang="0">
                    <a:pos x="0" y="2"/>
                  </a:cxn>
                  <a:cxn ang="0">
                    <a:pos x="0" y="2"/>
                  </a:cxn>
                  <a:cxn ang="0">
                    <a:pos x="0" y="0"/>
                  </a:cxn>
                </a:cxnLst>
                <a:rect l="0" t="0" r="r" b="b"/>
                <a:pathLst>
                  <a:path w="11" h="5">
                    <a:moveTo>
                      <a:pt x="0" y="0"/>
                    </a:moveTo>
                    <a:lnTo>
                      <a:pt x="0" y="0"/>
                    </a:lnTo>
                    <a:lnTo>
                      <a:pt x="4" y="0"/>
                    </a:lnTo>
                    <a:lnTo>
                      <a:pt x="7" y="0"/>
                    </a:lnTo>
                    <a:lnTo>
                      <a:pt x="9" y="2"/>
                    </a:lnTo>
                    <a:lnTo>
                      <a:pt x="11" y="5"/>
                    </a:lnTo>
                    <a:lnTo>
                      <a:pt x="11" y="5"/>
                    </a:lnTo>
                    <a:lnTo>
                      <a:pt x="7" y="5"/>
                    </a:lnTo>
                    <a:lnTo>
                      <a:pt x="4" y="5"/>
                    </a:lnTo>
                    <a:lnTo>
                      <a:pt x="0" y="2"/>
                    </a:lnTo>
                    <a:lnTo>
                      <a:pt x="0" y="2"/>
                    </a:lnTo>
                    <a:lnTo>
                      <a:pt x="0" y="0"/>
                    </a:lnTo>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grpSp>
      <p:sp>
        <p:nvSpPr>
          <p:cNvPr id="567" name="Rectangle 566"/>
          <p:cNvSpPr/>
          <p:nvPr/>
        </p:nvSpPr>
        <p:spPr>
          <a:xfrm>
            <a:off x="0" y="6581428"/>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BCABF"/>
              </a:solidFill>
              <a:effectLst/>
              <a:uLnTx/>
              <a:uFillTx/>
              <a:latin typeface="Arial" panose="020B0604020202020204"/>
              <a:ea typeface="+mn-ea"/>
              <a:cs typeface="+mn-cs"/>
            </a:endParaRPr>
          </a:p>
        </p:txBody>
      </p:sp>
      <p:sp>
        <p:nvSpPr>
          <p:cNvPr id="568" name="Slide Number Placeholder 5"/>
          <p:cNvSpPr txBox="1">
            <a:spLocks/>
          </p:cNvSpPr>
          <p:nvPr/>
        </p:nvSpPr>
        <p:spPr>
          <a:xfrm>
            <a:off x="11303071" y="6614834"/>
            <a:ext cx="685800" cy="228600"/>
          </a:xfrm>
          <a:prstGeom prst="rect">
            <a:avLst/>
          </a:prstGeom>
        </p:spPr>
        <p:txBody>
          <a:bodyPr vert="horz" lIns="91440" tIns="45720" rIns="91440" bIns="45720" rtlCol="0" anchor="ctr"/>
          <a:lstStyle>
            <a:defPPr>
              <a:defRPr lang="en-US"/>
            </a:defPPr>
            <a:lvl1pPr marL="0" algn="r" defTabSz="457200" rtl="0" eaLnBrk="1" latinLnBrk="0" hangingPunct="1">
              <a:defRPr sz="1000" b="1"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0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1" name="Title 1">
            <a:extLst>
              <a:ext uri="{FF2B5EF4-FFF2-40B4-BE49-F238E27FC236}">
                <a16:creationId xmlns:a16="http://schemas.microsoft.com/office/drawing/2014/main" id="{0CFE3342-24FB-47CF-BA67-F58F30AC7722}"/>
              </a:ext>
            </a:extLst>
          </p:cNvPr>
          <p:cNvSpPr txBox="1">
            <a:spLocks/>
          </p:cNvSpPr>
          <p:nvPr/>
        </p:nvSpPr>
        <p:spPr>
          <a:xfrm>
            <a:off x="455107" y="38833"/>
            <a:ext cx="748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60" normalizeH="0" baseline="0" noProof="0">
                <a:ln>
                  <a:noFill/>
                </a:ln>
                <a:solidFill>
                  <a:srgbClr val="3F3F3F"/>
                </a:solidFill>
                <a:effectLst/>
                <a:uLnTx/>
                <a:uFillTx/>
                <a:latin typeface="Arial" panose="020B0604020202020204" pitchFamily="34" charset="0"/>
                <a:ea typeface="+mj-ea"/>
                <a:cs typeface="Arial" panose="020B0604020202020204" pitchFamily="34" charset="0"/>
              </a:rPr>
              <a:t>Global Presence</a:t>
            </a:r>
          </a:p>
        </p:txBody>
      </p:sp>
    </p:spTree>
    <p:extLst>
      <p:ext uri="{BB962C8B-B14F-4D97-AF65-F5344CB8AC3E}">
        <p14:creationId xmlns:p14="http://schemas.microsoft.com/office/powerpoint/2010/main" val="23526114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8F721507-7A5E-FCCF-EF9D-FEDC395296B0}"/>
              </a:ext>
            </a:extLst>
          </p:cNvPr>
          <p:cNvGrpSpPr>
            <a:grpSpLocks/>
          </p:cNvGrpSpPr>
          <p:nvPr/>
        </p:nvGrpSpPr>
        <p:grpSpPr>
          <a:xfrm>
            <a:off x="432768" y="1381302"/>
            <a:ext cx="6099727" cy="5043379"/>
            <a:chOff x="-186681" y="1239088"/>
            <a:chExt cx="6099727" cy="5234842"/>
          </a:xfrm>
        </p:grpSpPr>
        <p:graphicFrame>
          <p:nvGraphicFramePr>
            <p:cNvPr id="18" name="Chart 17">
              <a:extLst>
                <a:ext uri="{FF2B5EF4-FFF2-40B4-BE49-F238E27FC236}">
                  <a16:creationId xmlns:a16="http://schemas.microsoft.com/office/drawing/2014/main" id="{ED49E86A-2EA6-0B9A-3179-311131A91F74}"/>
                </a:ext>
              </a:extLst>
            </p:cNvPr>
            <p:cNvGraphicFramePr>
              <a:graphicFrameLocks/>
            </p:cNvGraphicFramePr>
            <p:nvPr/>
          </p:nvGraphicFramePr>
          <p:xfrm>
            <a:off x="238596" y="1458345"/>
            <a:ext cx="4882021" cy="5015585"/>
          </p:xfrm>
          <a:graphic>
            <a:graphicData uri="http://schemas.openxmlformats.org/drawingml/2006/chart">
              <c:chart xmlns:c="http://schemas.openxmlformats.org/drawingml/2006/chart" xmlns:r="http://schemas.openxmlformats.org/officeDocument/2006/relationships" r:id="rId2"/>
            </a:graphicData>
          </a:graphic>
        </p:graphicFrame>
        <p:sp>
          <p:nvSpPr>
            <p:cNvPr id="22" name="Title 5">
              <a:extLst>
                <a:ext uri="{FF2B5EF4-FFF2-40B4-BE49-F238E27FC236}">
                  <a16:creationId xmlns:a16="http://schemas.microsoft.com/office/drawing/2014/main" id="{3DA1B9AD-D7C8-03C6-214F-10FD283FCB36}"/>
                </a:ext>
              </a:extLst>
            </p:cNvPr>
            <p:cNvSpPr txBox="1">
              <a:spLocks/>
            </p:cNvSpPr>
            <p:nvPr/>
          </p:nvSpPr>
          <p:spPr>
            <a:xfrm>
              <a:off x="337129" y="1239088"/>
              <a:ext cx="4507619" cy="3230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r>
                <a:rPr kumimoji="0" lang="en-US" sz="1600" b="1" i="0" u="none" strike="noStrike" kern="1200" cap="none" spc="0" normalizeH="0" baseline="0" noProof="0">
                  <a:ln>
                    <a:noFill/>
                  </a:ln>
                  <a:solidFill>
                    <a:prstClr val="black"/>
                  </a:solidFill>
                  <a:effectLst/>
                  <a:uLnTx/>
                  <a:uFillTx/>
                  <a:latin typeface="Arial"/>
                  <a:ea typeface="+mj-lt"/>
                  <a:cs typeface="Arial"/>
                </a:rPr>
                <a:t>2024 % of Total Reported Sales</a:t>
              </a:r>
              <a:endParaRPr kumimoji="0" lang="en-US" sz="16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6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600" b="1" i="0" u="none" strike="noStrike" kern="1200" cap="none" spc="0" normalizeH="0" baseline="0" noProof="0">
                <a:ln>
                  <a:noFill/>
                </a:ln>
                <a:solidFill>
                  <a:srgbClr val="474747"/>
                </a:solidFill>
                <a:effectLst/>
                <a:uLnTx/>
                <a:uFillTx/>
                <a:latin typeface="Arial"/>
                <a:ea typeface="+mj-ea"/>
                <a:cs typeface="Arial"/>
              </a:endParaRPr>
            </a:p>
          </p:txBody>
        </p:sp>
        <p:sp>
          <p:nvSpPr>
            <p:cNvPr id="23" name="Title 5">
              <a:extLst>
                <a:ext uri="{FF2B5EF4-FFF2-40B4-BE49-F238E27FC236}">
                  <a16:creationId xmlns:a16="http://schemas.microsoft.com/office/drawing/2014/main" id="{7FC37669-33B8-19FF-0171-AF2B29521243}"/>
                </a:ext>
              </a:extLst>
            </p:cNvPr>
            <p:cNvSpPr txBox="1">
              <a:spLocks/>
            </p:cNvSpPr>
            <p:nvPr/>
          </p:nvSpPr>
          <p:spPr>
            <a:xfrm>
              <a:off x="4387106" y="2177812"/>
              <a:ext cx="1280048" cy="3230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Proprietary Drug Delivery Systems</a:t>
              </a:r>
              <a:r>
                <a:rPr kumimoji="0" lang="en-US" sz="1200" b="0" i="0" u="none" strike="noStrike" kern="1200" cap="none" spc="0" normalizeH="0" baseline="30000" noProof="0">
                  <a:ln>
                    <a:noFill/>
                  </a:ln>
                  <a:solidFill>
                    <a:prstClr val="black"/>
                  </a:solidFill>
                  <a:effectLst/>
                  <a:uLnTx/>
                  <a:uFillTx/>
                  <a:latin typeface="Arial"/>
                  <a:ea typeface="+mj-lt"/>
                  <a:cs typeface="Arial"/>
                </a:rPr>
                <a:t>2</a:t>
              </a:r>
            </a:p>
          </p:txBody>
        </p:sp>
        <p:sp>
          <p:nvSpPr>
            <p:cNvPr id="24" name="Title 5">
              <a:extLst>
                <a:ext uri="{FF2B5EF4-FFF2-40B4-BE49-F238E27FC236}">
                  <a16:creationId xmlns:a16="http://schemas.microsoft.com/office/drawing/2014/main" id="{26AF13AA-D212-1C85-64D2-8977360BC44A}"/>
                </a:ext>
              </a:extLst>
            </p:cNvPr>
            <p:cNvSpPr txBox="1">
              <a:spLocks/>
            </p:cNvSpPr>
            <p:nvPr/>
          </p:nvSpPr>
          <p:spPr>
            <a:xfrm>
              <a:off x="4409960" y="5423573"/>
              <a:ext cx="1503086" cy="1743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Injectables</a:t>
              </a:r>
              <a:endParaRPr kumimoji="0" lang="en-US" sz="1200" b="0" i="0" u="none" strike="noStrike" kern="1200" cap="none" spc="0" normalizeH="0" baseline="30000" noProof="0">
                <a:ln>
                  <a:noFill/>
                </a:ln>
                <a:solidFill>
                  <a:prstClr val="black"/>
                </a:solidFill>
                <a:effectLst/>
                <a:uLnTx/>
                <a:uFillTx/>
                <a:latin typeface="Arial"/>
                <a:ea typeface="+mj-lt"/>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sp>
          <p:nvSpPr>
            <p:cNvPr id="25" name="Title 5">
              <a:extLst>
                <a:ext uri="{FF2B5EF4-FFF2-40B4-BE49-F238E27FC236}">
                  <a16:creationId xmlns:a16="http://schemas.microsoft.com/office/drawing/2014/main" id="{6BF5DC0C-BB5E-A38D-FB8E-BA10ED645CAC}"/>
                </a:ext>
              </a:extLst>
            </p:cNvPr>
            <p:cNvSpPr txBox="1">
              <a:spLocks/>
            </p:cNvSpPr>
            <p:nvPr/>
          </p:nvSpPr>
          <p:spPr>
            <a:xfrm>
              <a:off x="3687951" y="5937744"/>
              <a:ext cx="1398310" cy="15595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Active Material Science Solutions</a:t>
              </a:r>
              <a:endParaRPr kumimoji="0" lang="en-US" sz="1200" b="0" i="0" u="none" strike="noStrike" kern="1200" cap="none" spc="0" normalizeH="0" baseline="30000" noProof="0">
                <a:ln>
                  <a:noFill/>
                </a:ln>
                <a:solidFill>
                  <a:prstClr val="black"/>
                </a:solidFill>
                <a:effectLst/>
                <a:uLnTx/>
                <a:uFillTx/>
                <a:latin typeface="Arial"/>
                <a:ea typeface="+mj-lt"/>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sp>
          <p:nvSpPr>
            <p:cNvPr id="26" name="Title 5">
              <a:extLst>
                <a:ext uri="{FF2B5EF4-FFF2-40B4-BE49-F238E27FC236}">
                  <a16:creationId xmlns:a16="http://schemas.microsoft.com/office/drawing/2014/main" id="{03556EBB-01BC-CDAF-94F9-C9C4E87B0571}"/>
                </a:ext>
              </a:extLst>
            </p:cNvPr>
            <p:cNvSpPr txBox="1">
              <a:spLocks/>
            </p:cNvSpPr>
            <p:nvPr/>
          </p:nvSpPr>
          <p:spPr>
            <a:xfrm>
              <a:off x="822266" y="5841394"/>
              <a:ext cx="548520" cy="1743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Beauty</a:t>
              </a: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sp>
          <p:nvSpPr>
            <p:cNvPr id="27" name="Title 5">
              <a:extLst>
                <a:ext uri="{FF2B5EF4-FFF2-40B4-BE49-F238E27FC236}">
                  <a16:creationId xmlns:a16="http://schemas.microsoft.com/office/drawing/2014/main" id="{2AB8C1F2-4854-8F23-5581-5A127F70C088}"/>
                </a:ext>
              </a:extLst>
            </p:cNvPr>
            <p:cNvSpPr txBox="1">
              <a:spLocks/>
            </p:cNvSpPr>
            <p:nvPr/>
          </p:nvSpPr>
          <p:spPr>
            <a:xfrm>
              <a:off x="-186681" y="4103956"/>
              <a:ext cx="716582" cy="2491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Personal Care</a:t>
              </a:r>
              <a:endParaRPr kumimoji="0" lang="en-US" sz="1200" b="0" i="0" u="none" strike="noStrike" kern="1200" cap="none" spc="0" normalizeH="0" baseline="30000" noProof="0">
                <a:ln>
                  <a:noFill/>
                </a:ln>
                <a:solidFill>
                  <a:prstClr val="black"/>
                </a:solidFill>
                <a:effectLst/>
                <a:uLnTx/>
                <a:uFillTx/>
                <a:latin typeface="Arial"/>
                <a:ea typeface="+mj-lt"/>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sp>
          <p:nvSpPr>
            <p:cNvPr id="28" name="Title 5">
              <a:extLst>
                <a:ext uri="{FF2B5EF4-FFF2-40B4-BE49-F238E27FC236}">
                  <a16:creationId xmlns:a16="http://schemas.microsoft.com/office/drawing/2014/main" id="{E7330A50-E4DB-117A-4831-E67DF92712F3}"/>
                </a:ext>
              </a:extLst>
            </p:cNvPr>
            <p:cNvSpPr txBox="1">
              <a:spLocks/>
            </p:cNvSpPr>
            <p:nvPr/>
          </p:nvSpPr>
          <p:spPr>
            <a:xfrm>
              <a:off x="-164383" y="2709837"/>
              <a:ext cx="1003024" cy="1426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Home Care</a:t>
              </a:r>
              <a:endParaRPr kumimoji="0" lang="en-US" sz="1200" b="0" i="0" u="none" strike="noStrike" kern="1200" cap="none" spc="0" normalizeH="0" baseline="30000" noProof="0">
                <a:ln>
                  <a:noFill/>
                </a:ln>
                <a:solidFill>
                  <a:prstClr val="black"/>
                </a:solidFill>
                <a:effectLst/>
                <a:uLnTx/>
                <a:uFillTx/>
                <a:latin typeface="Arial"/>
                <a:ea typeface="+mj-lt"/>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sp>
          <p:nvSpPr>
            <p:cNvPr id="29" name="Title 5">
              <a:extLst>
                <a:ext uri="{FF2B5EF4-FFF2-40B4-BE49-F238E27FC236}">
                  <a16:creationId xmlns:a16="http://schemas.microsoft.com/office/drawing/2014/main" id="{1D4B780D-7823-EF80-F4BA-7A10799470BA}"/>
                </a:ext>
              </a:extLst>
            </p:cNvPr>
            <p:cNvSpPr txBox="1">
              <a:spLocks/>
            </p:cNvSpPr>
            <p:nvPr/>
          </p:nvSpPr>
          <p:spPr>
            <a:xfrm>
              <a:off x="918705" y="2048835"/>
              <a:ext cx="452081" cy="1743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Food</a:t>
              </a:r>
              <a:endParaRPr kumimoji="0" lang="en-US" sz="1200" b="0" i="0" u="none" strike="noStrike" kern="1200" cap="none" spc="0" normalizeH="0" baseline="30000" noProof="0">
                <a:ln>
                  <a:noFill/>
                </a:ln>
                <a:solidFill>
                  <a:prstClr val="black"/>
                </a:solidFill>
                <a:effectLst/>
                <a:uLnTx/>
                <a:uFillTx/>
                <a:latin typeface="Arial"/>
                <a:ea typeface="+mj-lt"/>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sp>
          <p:nvSpPr>
            <p:cNvPr id="30" name="Title 5">
              <a:extLst>
                <a:ext uri="{FF2B5EF4-FFF2-40B4-BE49-F238E27FC236}">
                  <a16:creationId xmlns:a16="http://schemas.microsoft.com/office/drawing/2014/main" id="{77EF3C43-EC09-0BCC-DA6A-AE0A286836AE}"/>
                </a:ext>
              </a:extLst>
            </p:cNvPr>
            <p:cNvSpPr txBox="1">
              <a:spLocks/>
            </p:cNvSpPr>
            <p:nvPr/>
          </p:nvSpPr>
          <p:spPr>
            <a:xfrm>
              <a:off x="1572316" y="1663733"/>
              <a:ext cx="729469" cy="1743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669A8C"/>
                </a:buClr>
                <a:buSzTx/>
                <a:buFontTx/>
                <a:buNone/>
                <a:tabLst/>
                <a:defRPr/>
              </a:pPr>
              <a:r>
                <a:rPr kumimoji="0" lang="en-US" sz="1200" b="0" i="0" u="none" strike="noStrike" kern="1200" cap="none" spc="0" normalizeH="0" baseline="0" noProof="0">
                  <a:ln>
                    <a:noFill/>
                  </a:ln>
                  <a:solidFill>
                    <a:prstClr val="black"/>
                  </a:solidFill>
                  <a:effectLst/>
                  <a:uLnTx/>
                  <a:uFillTx/>
                  <a:latin typeface="Arial"/>
                  <a:ea typeface="+mj-lt"/>
                  <a:cs typeface="Arial"/>
                </a:rPr>
                <a:t>Beverage</a:t>
              </a:r>
              <a:endParaRPr kumimoji="0" lang="en-US" sz="1200" b="0" i="0" u="none" strike="noStrike" kern="1200" cap="none" spc="0" normalizeH="0" baseline="30000" noProof="0">
                <a:ln>
                  <a:noFill/>
                </a:ln>
                <a:solidFill>
                  <a:prstClr val="black"/>
                </a:solidFill>
                <a:effectLst/>
                <a:uLnTx/>
                <a:uFillTx/>
                <a:latin typeface="Arial"/>
                <a:ea typeface="+mj-lt"/>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a:p>
              <a:pPr marL="461645" marR="0" lvl="0" indent="-461645" algn="ctr" defTabSz="914400" rtl="0" eaLnBrk="1" fontAlgn="auto" latinLnBrk="0" hangingPunct="1">
                <a:lnSpc>
                  <a:spcPct val="90000"/>
                </a:lnSpc>
                <a:spcBef>
                  <a:spcPct val="0"/>
                </a:spcBef>
                <a:spcAft>
                  <a:spcPts val="0"/>
                </a:spcAft>
                <a:buClr>
                  <a:srgbClr val="669A8C"/>
                </a:buClr>
                <a:buSzTx/>
                <a:buFont typeface="Arial"/>
                <a:buChar char="•"/>
                <a:tabLst/>
                <a:defRPr/>
              </a:pPr>
              <a:endParaRPr kumimoji="0" lang="en-US" sz="1200" b="1" i="0" u="none" strike="noStrike" kern="1200" cap="none" spc="0" normalizeH="0" baseline="0" noProof="0">
                <a:ln>
                  <a:noFill/>
                </a:ln>
                <a:solidFill>
                  <a:srgbClr val="474747"/>
                </a:solidFill>
                <a:effectLst/>
                <a:uLnTx/>
                <a:uFillTx/>
                <a:latin typeface="Arial"/>
                <a:ea typeface="+mj-lt"/>
                <a:cs typeface="Arial"/>
              </a:endParaRPr>
            </a:p>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endParaRPr kumimoji="0" lang="en-US" sz="1200" b="1" i="0" u="none" strike="noStrike" kern="1200" cap="none" spc="0" normalizeH="0" baseline="0" noProof="0">
                <a:ln>
                  <a:noFill/>
                </a:ln>
                <a:solidFill>
                  <a:srgbClr val="474747"/>
                </a:solidFill>
                <a:effectLst/>
                <a:uLnTx/>
                <a:uFillTx/>
                <a:latin typeface="Arial"/>
                <a:ea typeface="+mj-ea"/>
                <a:cs typeface="Arial"/>
              </a:endParaRPr>
            </a:p>
          </p:txBody>
        </p:sp>
      </p:grpSp>
      <p:sp>
        <p:nvSpPr>
          <p:cNvPr id="2" name="Title 1">
            <a:extLst>
              <a:ext uri="{FF2B5EF4-FFF2-40B4-BE49-F238E27FC236}">
                <a16:creationId xmlns:a16="http://schemas.microsoft.com/office/drawing/2014/main" id="{6ACF175B-95FB-B23A-A11E-40E6401C9F90}"/>
              </a:ext>
            </a:extLst>
          </p:cNvPr>
          <p:cNvSpPr txBox="1">
            <a:spLocks/>
          </p:cNvSpPr>
          <p:nvPr/>
        </p:nvSpPr>
        <p:spPr>
          <a:xfrm>
            <a:off x="283210" y="220896"/>
            <a:ext cx="10460990" cy="628360"/>
          </a:xfrm>
          <a:prstGeom prst="rect">
            <a:avLst/>
          </a:prstGeom>
        </p:spPr>
        <p:txBody>
          <a:bodyPr/>
          <a:lst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Global Leader in Drug and Consumer Product Dosing, Dispensing and Protection Technologies</a:t>
            </a:r>
          </a:p>
        </p:txBody>
      </p:sp>
      <p:sp>
        <p:nvSpPr>
          <p:cNvPr id="21" name="TextBox 20">
            <a:extLst>
              <a:ext uri="{FF2B5EF4-FFF2-40B4-BE49-F238E27FC236}">
                <a16:creationId xmlns:a16="http://schemas.microsoft.com/office/drawing/2014/main" id="{648DE26C-6461-CE2C-C2D6-FB7CAF82523F}"/>
              </a:ext>
            </a:extLst>
          </p:cNvPr>
          <p:cNvSpPr txBox="1"/>
          <p:nvPr/>
        </p:nvSpPr>
        <p:spPr>
          <a:xfrm>
            <a:off x="2349019" y="6379629"/>
            <a:ext cx="5923391" cy="52322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Arial"/>
                <a:ea typeface="+mn-ea"/>
                <a:cs typeface="Arial"/>
              </a:rPr>
              <a:t>1: 2024 Annual Revenu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Arial"/>
                <a:ea typeface="+mn-ea"/>
                <a:cs typeface="Arial"/>
              </a:rPr>
              <a:t>2: Proprietary Drug Delivery Devices includes Prescription, Consumer Healthcare and Digital Health Marke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black">
                    <a:lumMod val="65000"/>
                    <a:lumOff val="35000"/>
                  </a:prstClr>
                </a:solidFill>
                <a:effectLst/>
                <a:uLnTx/>
                <a:uFillTx/>
                <a:latin typeface="Arial"/>
                <a:ea typeface="+mn-lt"/>
                <a:cs typeface="Arial"/>
              </a:rPr>
              <a:t>3:</a:t>
            </a:r>
            <a:r>
              <a:rPr kumimoji="0" lang="en-US" sz="700" b="0" i="0" u="none" strike="noStrike" kern="1200" cap="none" spc="0" normalizeH="0" baseline="0" noProof="0">
                <a:ln>
                  <a:noFill/>
                </a:ln>
                <a:solidFill>
                  <a:prstClr val="black">
                    <a:lumMod val="65000"/>
                    <a:lumOff val="35000"/>
                  </a:prstClr>
                </a:solidFill>
                <a:effectLst/>
                <a:uLnTx/>
                <a:uFillTx/>
                <a:latin typeface="Arial"/>
                <a:ea typeface="+mn-lt"/>
                <a:cs typeface="Arial"/>
              </a:rPr>
              <a:t> See “Forward-Looking Statements and Non-GAAP Financial Measures” slide for definitions and Appendix for GAAP reconcili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Arial"/>
                <a:ea typeface="+mn-lt"/>
                <a:cs typeface="Arial"/>
              </a:rPr>
              <a:t>4: Segment percentages calculated as the percentage of Adjusted EBITDA for Reportable Segments</a:t>
            </a:r>
            <a:endParaRPr kumimoji="0" lang="en-US" sz="1800" b="0" i="0" u="none" strike="noStrike" kern="1200" cap="none" spc="0" normalizeH="0" baseline="0" noProof="0">
              <a:ln>
                <a:noFill/>
              </a:ln>
              <a:solidFill>
                <a:prstClr val="black">
                  <a:lumMod val="65000"/>
                  <a:lumOff val="35000"/>
                </a:prstClr>
              </a:solidFill>
              <a:effectLst/>
              <a:uLnTx/>
              <a:uFillTx/>
              <a:latin typeface="Arial"/>
              <a:ea typeface="+mn-ea"/>
              <a:cs typeface="Arial"/>
            </a:endParaRPr>
          </a:p>
        </p:txBody>
      </p:sp>
      <p:sp>
        <p:nvSpPr>
          <p:cNvPr id="36" name="Title 5">
            <a:extLst>
              <a:ext uri="{FF2B5EF4-FFF2-40B4-BE49-F238E27FC236}">
                <a16:creationId xmlns:a16="http://schemas.microsoft.com/office/drawing/2014/main" id="{733CB716-2FEA-3BC7-C30A-CE7895005682}"/>
              </a:ext>
            </a:extLst>
          </p:cNvPr>
          <p:cNvSpPr txBox="1">
            <a:spLocks/>
          </p:cNvSpPr>
          <p:nvPr/>
        </p:nvSpPr>
        <p:spPr>
          <a:xfrm>
            <a:off x="10159507" y="4330168"/>
            <a:ext cx="883143" cy="31125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r>
              <a:rPr kumimoji="0" lang="en-US" sz="1400" b="1" i="0" u="none" strike="noStrike" kern="1200" cap="none" spc="0" normalizeH="0" baseline="0" noProof="0">
                <a:ln>
                  <a:noFill/>
                </a:ln>
                <a:solidFill>
                  <a:prstClr val="white"/>
                </a:solidFill>
                <a:effectLst/>
                <a:uLnTx/>
                <a:uFillTx/>
                <a:latin typeface="Arial"/>
                <a:ea typeface="+mj-lt"/>
                <a:cs typeface="Arial"/>
              </a:rPr>
              <a:t>Pharma</a:t>
            </a:r>
            <a:endParaRPr kumimoji="0" lang="en-US" sz="1400" b="1" i="0" u="none" strike="noStrike" kern="1200" cap="none" spc="0" normalizeH="0" baseline="30000" noProof="0">
              <a:ln>
                <a:noFill/>
              </a:ln>
              <a:solidFill>
                <a:prstClr val="white"/>
              </a:solidFill>
              <a:effectLst/>
              <a:uLnTx/>
              <a:uFillTx/>
              <a:latin typeface="Arial"/>
              <a:ea typeface="+mj-lt"/>
              <a:cs typeface="Arial"/>
            </a:endParaRPr>
          </a:p>
        </p:txBody>
      </p:sp>
      <p:sp>
        <p:nvSpPr>
          <p:cNvPr id="37" name="Title 5">
            <a:extLst>
              <a:ext uri="{FF2B5EF4-FFF2-40B4-BE49-F238E27FC236}">
                <a16:creationId xmlns:a16="http://schemas.microsoft.com/office/drawing/2014/main" id="{46E57EDE-1BA3-6AF2-5644-672F8E6F8C9B}"/>
              </a:ext>
            </a:extLst>
          </p:cNvPr>
          <p:cNvSpPr txBox="1">
            <a:spLocks/>
          </p:cNvSpPr>
          <p:nvPr/>
        </p:nvSpPr>
        <p:spPr>
          <a:xfrm>
            <a:off x="7494730" y="3509488"/>
            <a:ext cx="598952" cy="31125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r>
              <a:rPr kumimoji="0" lang="en-US" sz="1400" b="1" i="0" u="none" strike="noStrike" kern="1200" cap="none" spc="0" normalizeH="0" baseline="0" noProof="0">
                <a:ln>
                  <a:noFill/>
                </a:ln>
                <a:solidFill>
                  <a:prstClr val="white"/>
                </a:solidFill>
                <a:effectLst/>
                <a:uLnTx/>
                <a:uFillTx/>
                <a:latin typeface="Arial"/>
                <a:ea typeface="+mj-lt"/>
                <a:cs typeface="Arial"/>
              </a:rPr>
              <a:t>Beauty</a:t>
            </a:r>
            <a:endParaRPr kumimoji="0" lang="en-US" sz="1400" b="1" i="0" u="none" strike="noStrike" kern="1200" cap="none" spc="0" normalizeH="0" baseline="30000" noProof="0">
              <a:ln>
                <a:noFill/>
              </a:ln>
              <a:solidFill>
                <a:prstClr val="white"/>
              </a:solidFill>
              <a:effectLst/>
              <a:uLnTx/>
              <a:uFillTx/>
              <a:latin typeface="Arial"/>
              <a:ea typeface="+mj-lt"/>
              <a:cs typeface="Arial"/>
            </a:endParaRPr>
          </a:p>
        </p:txBody>
      </p:sp>
      <p:sp>
        <p:nvSpPr>
          <p:cNvPr id="38" name="Title 5">
            <a:extLst>
              <a:ext uri="{FF2B5EF4-FFF2-40B4-BE49-F238E27FC236}">
                <a16:creationId xmlns:a16="http://schemas.microsoft.com/office/drawing/2014/main" id="{11C3C4EF-FA29-3C09-1E04-59E5366DBEED}"/>
              </a:ext>
            </a:extLst>
          </p:cNvPr>
          <p:cNvSpPr txBox="1">
            <a:spLocks/>
          </p:cNvSpPr>
          <p:nvPr/>
        </p:nvSpPr>
        <p:spPr>
          <a:xfrm>
            <a:off x="8082576" y="2445395"/>
            <a:ext cx="938873" cy="31125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rgbClr val="47474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669A8C"/>
              </a:buClr>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j-lt"/>
                <a:cs typeface="Arial"/>
              </a:rPr>
              <a:t>Closures</a:t>
            </a:r>
            <a:endParaRPr kumimoji="0" lang="en-US" sz="1400" b="1" i="0" u="none" strike="noStrike" kern="1200" cap="none" spc="0" normalizeH="0" baseline="30000" noProof="0" dirty="0">
              <a:ln>
                <a:noFill/>
              </a:ln>
              <a:solidFill>
                <a:prstClr val="white"/>
              </a:solidFill>
              <a:effectLst/>
              <a:uLnTx/>
              <a:uFillTx/>
              <a:latin typeface="Arial"/>
              <a:ea typeface="+mj-lt"/>
              <a:cs typeface="Arial"/>
            </a:endParaRPr>
          </a:p>
        </p:txBody>
      </p:sp>
      <p:sp>
        <p:nvSpPr>
          <p:cNvPr id="3" name="Slide Number Placeholder 2">
            <a:extLst>
              <a:ext uri="{FF2B5EF4-FFF2-40B4-BE49-F238E27FC236}">
                <a16:creationId xmlns:a16="http://schemas.microsoft.com/office/drawing/2014/main" id="{98F0F9C3-6CF0-583F-E866-A3DF1A5E79A2}"/>
              </a:ext>
            </a:extLst>
          </p:cNvPr>
          <p:cNvSpPr>
            <a:spLocks noGrp="1"/>
          </p:cNvSpPr>
          <p:nvPr>
            <p:ph type="sldNum" sz="quarter" idx="4"/>
          </p:nvPr>
        </p:nvSpPr>
        <p:spPr>
          <a:xfrm>
            <a:off x="916559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82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D08A45C2-5A87-4255-A637-40451A143F49}" type="slidenum">
              <a:rPr lang="en-US" smtClean="0">
                <a:solidFill>
                  <a:prstClr val="black">
                    <a:tint val="82000"/>
                  </a:prstClr>
                </a:solidFill>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prstClr val="black">
                  <a:tint val="82000"/>
                </a:prstClr>
              </a:solidFill>
              <a:effectLst/>
              <a:uLnTx/>
              <a:uFillTx/>
              <a:latin typeface="Arial" panose="020B0604020202020204" pitchFamily="34" charset="0"/>
              <a:ea typeface="+mn-ea"/>
              <a:cs typeface="Arial" panose="020B0604020202020204" pitchFamily="34" charset="0"/>
            </a:endParaRPr>
          </a:p>
        </p:txBody>
      </p:sp>
      <p:grpSp>
        <p:nvGrpSpPr>
          <p:cNvPr id="4" name="Group 3">
            <a:extLst>
              <a:ext uri="{FF2B5EF4-FFF2-40B4-BE49-F238E27FC236}">
                <a16:creationId xmlns:a16="http://schemas.microsoft.com/office/drawing/2014/main" id="{EA877E38-782C-E1EC-DE95-8DDC3191D155}"/>
              </a:ext>
            </a:extLst>
          </p:cNvPr>
          <p:cNvGrpSpPr/>
          <p:nvPr/>
        </p:nvGrpSpPr>
        <p:grpSpPr>
          <a:xfrm>
            <a:off x="6767837" y="1776726"/>
            <a:ext cx="5270480" cy="2672904"/>
            <a:chOff x="3397338" y="1229145"/>
            <a:chExt cx="9432837" cy="4783828"/>
          </a:xfrm>
        </p:grpSpPr>
        <p:grpSp>
          <p:nvGrpSpPr>
            <p:cNvPr id="5" name="Group 4">
              <a:extLst>
                <a:ext uri="{FF2B5EF4-FFF2-40B4-BE49-F238E27FC236}">
                  <a16:creationId xmlns:a16="http://schemas.microsoft.com/office/drawing/2014/main" id="{73CF8BFE-7E31-29E9-E028-87DAAB5735E2}"/>
                </a:ext>
              </a:extLst>
            </p:cNvPr>
            <p:cNvGrpSpPr/>
            <p:nvPr/>
          </p:nvGrpSpPr>
          <p:grpSpPr>
            <a:xfrm>
              <a:off x="3397338" y="1229145"/>
              <a:ext cx="9432837" cy="4783828"/>
              <a:chOff x="1282624" y="706994"/>
              <a:chExt cx="9626748" cy="5444011"/>
            </a:xfrm>
          </p:grpSpPr>
          <p:grpSp>
            <p:nvGrpSpPr>
              <p:cNvPr id="10" name="Group 9">
                <a:extLst>
                  <a:ext uri="{FF2B5EF4-FFF2-40B4-BE49-F238E27FC236}">
                    <a16:creationId xmlns:a16="http://schemas.microsoft.com/office/drawing/2014/main" id="{B9F22972-0549-EEA1-0A98-440E65C0430D}"/>
                  </a:ext>
                </a:extLst>
              </p:cNvPr>
              <p:cNvGrpSpPr/>
              <p:nvPr/>
            </p:nvGrpSpPr>
            <p:grpSpPr>
              <a:xfrm>
                <a:off x="1282624" y="706994"/>
                <a:ext cx="9626748" cy="5444011"/>
                <a:chOff x="455695" y="1000104"/>
                <a:chExt cx="9584241" cy="5476174"/>
              </a:xfrm>
              <a:solidFill>
                <a:schemeClr val="bg1">
                  <a:lumMod val="85000"/>
                </a:schemeClr>
              </a:solidFill>
            </p:grpSpPr>
            <p:sp>
              <p:nvSpPr>
                <p:cNvPr id="74" name="Freeform 1683">
                  <a:extLst>
                    <a:ext uri="{FF2B5EF4-FFF2-40B4-BE49-F238E27FC236}">
                      <a16:creationId xmlns:a16="http://schemas.microsoft.com/office/drawing/2014/main" id="{B8CA5491-FA48-549D-C95C-15151F35E44C}"/>
                    </a:ext>
                  </a:extLst>
                </p:cNvPr>
                <p:cNvSpPr>
                  <a:spLocks/>
                </p:cNvSpPr>
                <p:nvPr/>
              </p:nvSpPr>
              <p:spPr bwMode="auto">
                <a:xfrm>
                  <a:off x="3133938" y="1000104"/>
                  <a:ext cx="1705618" cy="1238687"/>
                </a:xfrm>
                <a:custGeom>
                  <a:avLst/>
                  <a:gdLst/>
                  <a:ahLst/>
                  <a:cxnLst>
                    <a:cxn ang="0">
                      <a:pos x="1725" y="965"/>
                    </a:cxn>
                    <a:cxn ang="0">
                      <a:pos x="1506" y="1055"/>
                    </a:cxn>
                    <a:cxn ang="0">
                      <a:pos x="1386" y="1114"/>
                    </a:cxn>
                    <a:cxn ang="0">
                      <a:pos x="1267" y="1193"/>
                    </a:cxn>
                    <a:cxn ang="0">
                      <a:pos x="1239" y="1181"/>
                    </a:cxn>
                    <a:cxn ang="0">
                      <a:pos x="1217" y="1210"/>
                    </a:cxn>
                    <a:cxn ang="0">
                      <a:pos x="1145" y="1252"/>
                    </a:cxn>
                    <a:cxn ang="0">
                      <a:pos x="1105" y="1301"/>
                    </a:cxn>
                    <a:cxn ang="0">
                      <a:pos x="1083" y="1379"/>
                    </a:cxn>
                    <a:cxn ang="0">
                      <a:pos x="1076" y="1428"/>
                    </a:cxn>
                    <a:cxn ang="0">
                      <a:pos x="1029" y="1546"/>
                    </a:cxn>
                    <a:cxn ang="0">
                      <a:pos x="936" y="1501"/>
                    </a:cxn>
                    <a:cxn ang="0">
                      <a:pos x="879" y="1503"/>
                    </a:cxn>
                    <a:cxn ang="0">
                      <a:pos x="830" y="1454"/>
                    </a:cxn>
                    <a:cxn ang="0">
                      <a:pos x="785" y="1377"/>
                    </a:cxn>
                    <a:cxn ang="0">
                      <a:pos x="745" y="1301"/>
                    </a:cxn>
                    <a:cxn ang="0">
                      <a:pos x="797" y="1269"/>
                    </a:cxn>
                    <a:cxn ang="0">
                      <a:pos x="722" y="1249"/>
                    </a:cxn>
                    <a:cxn ang="0">
                      <a:pos x="706" y="1135"/>
                    </a:cxn>
                    <a:cxn ang="0">
                      <a:pos x="686" y="1048"/>
                    </a:cxn>
                    <a:cxn ang="0">
                      <a:pos x="767" y="968"/>
                    </a:cxn>
                    <a:cxn ang="0">
                      <a:pos x="646" y="899"/>
                    </a:cxn>
                    <a:cxn ang="0">
                      <a:pos x="719" y="865"/>
                    </a:cxn>
                    <a:cxn ang="0">
                      <a:pos x="618" y="857"/>
                    </a:cxn>
                    <a:cxn ang="0">
                      <a:pos x="635" y="768"/>
                    </a:cxn>
                    <a:cxn ang="0">
                      <a:pos x="576" y="674"/>
                    </a:cxn>
                    <a:cxn ang="0">
                      <a:pos x="464" y="559"/>
                    </a:cxn>
                    <a:cxn ang="0">
                      <a:pos x="287" y="538"/>
                    </a:cxn>
                    <a:cxn ang="0">
                      <a:pos x="215" y="557"/>
                    </a:cxn>
                    <a:cxn ang="0">
                      <a:pos x="74" y="472"/>
                    </a:cxn>
                    <a:cxn ang="0">
                      <a:pos x="67" y="432"/>
                    </a:cxn>
                    <a:cxn ang="0">
                      <a:pos x="163" y="334"/>
                    </a:cxn>
                    <a:cxn ang="0">
                      <a:pos x="193" y="246"/>
                    </a:cxn>
                    <a:cxn ang="0">
                      <a:pos x="421" y="131"/>
                    </a:cxn>
                    <a:cxn ang="0">
                      <a:pos x="741" y="131"/>
                    </a:cxn>
                    <a:cxn ang="0">
                      <a:pos x="814" y="87"/>
                    </a:cxn>
                    <a:cxn ang="0">
                      <a:pos x="1004" y="101"/>
                    </a:cxn>
                    <a:cxn ang="0">
                      <a:pos x="1084" y="63"/>
                    </a:cxn>
                    <a:cxn ang="0">
                      <a:pos x="1147" y="56"/>
                    </a:cxn>
                    <a:cxn ang="0">
                      <a:pos x="1269" y="16"/>
                    </a:cxn>
                    <a:cxn ang="0">
                      <a:pos x="1473" y="40"/>
                    </a:cxn>
                    <a:cxn ang="0">
                      <a:pos x="1685" y="51"/>
                    </a:cxn>
                    <a:cxn ang="0">
                      <a:pos x="1518" y="117"/>
                    </a:cxn>
                    <a:cxn ang="0">
                      <a:pos x="1647" y="148"/>
                    </a:cxn>
                    <a:cxn ang="0">
                      <a:pos x="1748" y="188"/>
                    </a:cxn>
                    <a:cxn ang="0">
                      <a:pos x="1904" y="162"/>
                    </a:cxn>
                    <a:cxn ang="0">
                      <a:pos x="2032" y="190"/>
                    </a:cxn>
                    <a:cxn ang="0">
                      <a:pos x="1920" y="228"/>
                    </a:cxn>
                    <a:cxn ang="0">
                      <a:pos x="1838" y="279"/>
                    </a:cxn>
                    <a:cxn ang="0">
                      <a:pos x="1887" y="322"/>
                    </a:cxn>
                    <a:cxn ang="0">
                      <a:pos x="1809" y="415"/>
                    </a:cxn>
                    <a:cxn ang="0">
                      <a:pos x="1911" y="460"/>
                    </a:cxn>
                    <a:cxn ang="0">
                      <a:pos x="1765" y="502"/>
                    </a:cxn>
                    <a:cxn ang="0">
                      <a:pos x="1880" y="570"/>
                    </a:cxn>
                    <a:cxn ang="0">
                      <a:pos x="1845" y="643"/>
                    </a:cxn>
                    <a:cxn ang="0">
                      <a:pos x="1788" y="684"/>
                    </a:cxn>
                    <a:cxn ang="0">
                      <a:pos x="1701" y="711"/>
                    </a:cxn>
                    <a:cxn ang="0">
                      <a:pos x="1743" y="812"/>
                    </a:cxn>
                    <a:cxn ang="0">
                      <a:pos x="1793" y="848"/>
                    </a:cxn>
                    <a:cxn ang="0">
                      <a:pos x="1701" y="869"/>
                    </a:cxn>
                    <a:cxn ang="0">
                      <a:pos x="1591" y="885"/>
                    </a:cxn>
                    <a:cxn ang="0">
                      <a:pos x="1595" y="932"/>
                    </a:cxn>
                  </a:cxnLst>
                  <a:rect l="0" t="0" r="r" b="b"/>
                  <a:pathLst>
                    <a:path w="2126" h="1546">
                      <a:moveTo>
                        <a:pt x="1647" y="926"/>
                      </a:moveTo>
                      <a:lnTo>
                        <a:pt x="1647" y="926"/>
                      </a:lnTo>
                      <a:lnTo>
                        <a:pt x="1654" y="923"/>
                      </a:lnTo>
                      <a:lnTo>
                        <a:pt x="1659" y="921"/>
                      </a:lnTo>
                      <a:lnTo>
                        <a:pt x="1666" y="919"/>
                      </a:lnTo>
                      <a:lnTo>
                        <a:pt x="1671" y="919"/>
                      </a:lnTo>
                      <a:lnTo>
                        <a:pt x="1682" y="921"/>
                      </a:lnTo>
                      <a:lnTo>
                        <a:pt x="1692" y="926"/>
                      </a:lnTo>
                      <a:lnTo>
                        <a:pt x="1704" y="932"/>
                      </a:lnTo>
                      <a:lnTo>
                        <a:pt x="1715" y="937"/>
                      </a:lnTo>
                      <a:lnTo>
                        <a:pt x="1727" y="939"/>
                      </a:lnTo>
                      <a:lnTo>
                        <a:pt x="1741" y="940"/>
                      </a:lnTo>
                      <a:lnTo>
                        <a:pt x="1741" y="940"/>
                      </a:lnTo>
                      <a:lnTo>
                        <a:pt x="1765" y="937"/>
                      </a:lnTo>
                      <a:lnTo>
                        <a:pt x="1779" y="937"/>
                      </a:lnTo>
                      <a:lnTo>
                        <a:pt x="1781" y="937"/>
                      </a:lnTo>
                      <a:lnTo>
                        <a:pt x="1781" y="939"/>
                      </a:lnTo>
                      <a:lnTo>
                        <a:pt x="1769" y="946"/>
                      </a:lnTo>
                      <a:lnTo>
                        <a:pt x="1769" y="946"/>
                      </a:lnTo>
                      <a:lnTo>
                        <a:pt x="1760" y="951"/>
                      </a:lnTo>
                      <a:lnTo>
                        <a:pt x="1756" y="954"/>
                      </a:lnTo>
                      <a:lnTo>
                        <a:pt x="1753" y="958"/>
                      </a:lnTo>
                      <a:lnTo>
                        <a:pt x="1751" y="960"/>
                      </a:lnTo>
                      <a:lnTo>
                        <a:pt x="1749" y="961"/>
                      </a:lnTo>
                      <a:lnTo>
                        <a:pt x="1737" y="961"/>
                      </a:lnTo>
                      <a:lnTo>
                        <a:pt x="1737" y="961"/>
                      </a:lnTo>
                      <a:lnTo>
                        <a:pt x="1729" y="963"/>
                      </a:lnTo>
                      <a:lnTo>
                        <a:pt x="1725" y="965"/>
                      </a:lnTo>
                      <a:lnTo>
                        <a:pt x="1725" y="968"/>
                      </a:lnTo>
                      <a:lnTo>
                        <a:pt x="1725" y="970"/>
                      </a:lnTo>
                      <a:lnTo>
                        <a:pt x="1725" y="973"/>
                      </a:lnTo>
                      <a:lnTo>
                        <a:pt x="1725" y="977"/>
                      </a:lnTo>
                      <a:lnTo>
                        <a:pt x="1722" y="979"/>
                      </a:lnTo>
                      <a:lnTo>
                        <a:pt x="1715" y="980"/>
                      </a:lnTo>
                      <a:lnTo>
                        <a:pt x="1715" y="980"/>
                      </a:lnTo>
                      <a:lnTo>
                        <a:pt x="1706" y="982"/>
                      </a:lnTo>
                      <a:lnTo>
                        <a:pt x="1697" y="986"/>
                      </a:lnTo>
                      <a:lnTo>
                        <a:pt x="1683" y="993"/>
                      </a:lnTo>
                      <a:lnTo>
                        <a:pt x="1671" y="1003"/>
                      </a:lnTo>
                      <a:lnTo>
                        <a:pt x="1659" y="1015"/>
                      </a:lnTo>
                      <a:lnTo>
                        <a:pt x="1659" y="1015"/>
                      </a:lnTo>
                      <a:lnTo>
                        <a:pt x="1652" y="1020"/>
                      </a:lnTo>
                      <a:lnTo>
                        <a:pt x="1642" y="1024"/>
                      </a:lnTo>
                      <a:lnTo>
                        <a:pt x="1615" y="1031"/>
                      </a:lnTo>
                      <a:lnTo>
                        <a:pt x="1584" y="1036"/>
                      </a:lnTo>
                      <a:lnTo>
                        <a:pt x="1567" y="1041"/>
                      </a:lnTo>
                      <a:lnTo>
                        <a:pt x="1551" y="1047"/>
                      </a:lnTo>
                      <a:lnTo>
                        <a:pt x="1551" y="1047"/>
                      </a:lnTo>
                      <a:lnTo>
                        <a:pt x="1537" y="1050"/>
                      </a:lnTo>
                      <a:lnTo>
                        <a:pt x="1528" y="1052"/>
                      </a:lnTo>
                      <a:lnTo>
                        <a:pt x="1521" y="1052"/>
                      </a:lnTo>
                      <a:lnTo>
                        <a:pt x="1516" y="1050"/>
                      </a:lnTo>
                      <a:lnTo>
                        <a:pt x="1513" y="1048"/>
                      </a:lnTo>
                      <a:lnTo>
                        <a:pt x="1511" y="1048"/>
                      </a:lnTo>
                      <a:lnTo>
                        <a:pt x="1507" y="1050"/>
                      </a:lnTo>
                      <a:lnTo>
                        <a:pt x="1506" y="1055"/>
                      </a:lnTo>
                      <a:lnTo>
                        <a:pt x="1506" y="1055"/>
                      </a:lnTo>
                      <a:lnTo>
                        <a:pt x="1500" y="1060"/>
                      </a:lnTo>
                      <a:lnTo>
                        <a:pt x="1495" y="1064"/>
                      </a:lnTo>
                      <a:lnTo>
                        <a:pt x="1488" y="1067"/>
                      </a:lnTo>
                      <a:lnTo>
                        <a:pt x="1481" y="1069"/>
                      </a:lnTo>
                      <a:lnTo>
                        <a:pt x="1474" y="1069"/>
                      </a:lnTo>
                      <a:lnTo>
                        <a:pt x="1467" y="1067"/>
                      </a:lnTo>
                      <a:lnTo>
                        <a:pt x="1453" y="1064"/>
                      </a:lnTo>
                      <a:lnTo>
                        <a:pt x="1453" y="1064"/>
                      </a:lnTo>
                      <a:lnTo>
                        <a:pt x="1424" y="1045"/>
                      </a:lnTo>
                      <a:lnTo>
                        <a:pt x="1415" y="1040"/>
                      </a:lnTo>
                      <a:lnTo>
                        <a:pt x="1415" y="1041"/>
                      </a:lnTo>
                      <a:lnTo>
                        <a:pt x="1420" y="1048"/>
                      </a:lnTo>
                      <a:lnTo>
                        <a:pt x="1420" y="1048"/>
                      </a:lnTo>
                      <a:lnTo>
                        <a:pt x="1427" y="1057"/>
                      </a:lnTo>
                      <a:lnTo>
                        <a:pt x="1433" y="1062"/>
                      </a:lnTo>
                      <a:lnTo>
                        <a:pt x="1434" y="1067"/>
                      </a:lnTo>
                      <a:lnTo>
                        <a:pt x="1434" y="1071"/>
                      </a:lnTo>
                      <a:lnTo>
                        <a:pt x="1433" y="1074"/>
                      </a:lnTo>
                      <a:lnTo>
                        <a:pt x="1431" y="1076"/>
                      </a:lnTo>
                      <a:lnTo>
                        <a:pt x="1422" y="1078"/>
                      </a:lnTo>
                      <a:lnTo>
                        <a:pt x="1422" y="1078"/>
                      </a:lnTo>
                      <a:lnTo>
                        <a:pt x="1417" y="1078"/>
                      </a:lnTo>
                      <a:lnTo>
                        <a:pt x="1412" y="1080"/>
                      </a:lnTo>
                      <a:lnTo>
                        <a:pt x="1401" y="1088"/>
                      </a:lnTo>
                      <a:lnTo>
                        <a:pt x="1393" y="1101"/>
                      </a:lnTo>
                      <a:lnTo>
                        <a:pt x="1386" y="1114"/>
                      </a:lnTo>
                      <a:lnTo>
                        <a:pt x="1386" y="1114"/>
                      </a:lnTo>
                      <a:lnTo>
                        <a:pt x="1382" y="1123"/>
                      </a:lnTo>
                      <a:lnTo>
                        <a:pt x="1375" y="1134"/>
                      </a:lnTo>
                      <a:lnTo>
                        <a:pt x="1366" y="1142"/>
                      </a:lnTo>
                      <a:lnTo>
                        <a:pt x="1356" y="1153"/>
                      </a:lnTo>
                      <a:lnTo>
                        <a:pt x="1333" y="1170"/>
                      </a:lnTo>
                      <a:lnTo>
                        <a:pt x="1325" y="1175"/>
                      </a:lnTo>
                      <a:lnTo>
                        <a:pt x="1316" y="1179"/>
                      </a:lnTo>
                      <a:lnTo>
                        <a:pt x="1316" y="1179"/>
                      </a:lnTo>
                      <a:lnTo>
                        <a:pt x="1314" y="1177"/>
                      </a:lnTo>
                      <a:lnTo>
                        <a:pt x="1314" y="1177"/>
                      </a:lnTo>
                      <a:lnTo>
                        <a:pt x="1312" y="1175"/>
                      </a:lnTo>
                      <a:lnTo>
                        <a:pt x="1309" y="1174"/>
                      </a:lnTo>
                      <a:lnTo>
                        <a:pt x="1309" y="1174"/>
                      </a:lnTo>
                      <a:lnTo>
                        <a:pt x="1309" y="1175"/>
                      </a:lnTo>
                      <a:lnTo>
                        <a:pt x="1307" y="1175"/>
                      </a:lnTo>
                      <a:lnTo>
                        <a:pt x="1307" y="1179"/>
                      </a:lnTo>
                      <a:lnTo>
                        <a:pt x="1307" y="1182"/>
                      </a:lnTo>
                      <a:lnTo>
                        <a:pt x="1307" y="1184"/>
                      </a:lnTo>
                      <a:lnTo>
                        <a:pt x="1305" y="1186"/>
                      </a:lnTo>
                      <a:lnTo>
                        <a:pt x="1305" y="1186"/>
                      </a:lnTo>
                      <a:lnTo>
                        <a:pt x="1292" y="1193"/>
                      </a:lnTo>
                      <a:lnTo>
                        <a:pt x="1285" y="1195"/>
                      </a:lnTo>
                      <a:lnTo>
                        <a:pt x="1281" y="1195"/>
                      </a:lnTo>
                      <a:lnTo>
                        <a:pt x="1279" y="1193"/>
                      </a:lnTo>
                      <a:lnTo>
                        <a:pt x="1279" y="1193"/>
                      </a:lnTo>
                      <a:lnTo>
                        <a:pt x="1276" y="1193"/>
                      </a:lnTo>
                      <a:lnTo>
                        <a:pt x="1274" y="1193"/>
                      </a:lnTo>
                      <a:lnTo>
                        <a:pt x="1267" y="1193"/>
                      </a:lnTo>
                      <a:lnTo>
                        <a:pt x="1265" y="1196"/>
                      </a:lnTo>
                      <a:lnTo>
                        <a:pt x="1264" y="1198"/>
                      </a:lnTo>
                      <a:lnTo>
                        <a:pt x="1265" y="1200"/>
                      </a:lnTo>
                      <a:lnTo>
                        <a:pt x="1265" y="1200"/>
                      </a:lnTo>
                      <a:lnTo>
                        <a:pt x="1267" y="1202"/>
                      </a:lnTo>
                      <a:lnTo>
                        <a:pt x="1267" y="1205"/>
                      </a:lnTo>
                      <a:lnTo>
                        <a:pt x="1265" y="1207"/>
                      </a:lnTo>
                      <a:lnTo>
                        <a:pt x="1260" y="1203"/>
                      </a:lnTo>
                      <a:lnTo>
                        <a:pt x="1260" y="1203"/>
                      </a:lnTo>
                      <a:lnTo>
                        <a:pt x="1257" y="1202"/>
                      </a:lnTo>
                      <a:lnTo>
                        <a:pt x="1253" y="1202"/>
                      </a:lnTo>
                      <a:lnTo>
                        <a:pt x="1246" y="1210"/>
                      </a:lnTo>
                      <a:lnTo>
                        <a:pt x="1246" y="1210"/>
                      </a:lnTo>
                      <a:lnTo>
                        <a:pt x="1241" y="1215"/>
                      </a:lnTo>
                      <a:lnTo>
                        <a:pt x="1236" y="1217"/>
                      </a:lnTo>
                      <a:lnTo>
                        <a:pt x="1231" y="1217"/>
                      </a:lnTo>
                      <a:lnTo>
                        <a:pt x="1225" y="1215"/>
                      </a:lnTo>
                      <a:lnTo>
                        <a:pt x="1225" y="1215"/>
                      </a:lnTo>
                      <a:lnTo>
                        <a:pt x="1224" y="1214"/>
                      </a:lnTo>
                      <a:lnTo>
                        <a:pt x="1224" y="1212"/>
                      </a:lnTo>
                      <a:lnTo>
                        <a:pt x="1225" y="1207"/>
                      </a:lnTo>
                      <a:lnTo>
                        <a:pt x="1229" y="1200"/>
                      </a:lnTo>
                      <a:lnTo>
                        <a:pt x="1229" y="1195"/>
                      </a:lnTo>
                      <a:lnTo>
                        <a:pt x="1229" y="1195"/>
                      </a:lnTo>
                      <a:lnTo>
                        <a:pt x="1231" y="1189"/>
                      </a:lnTo>
                      <a:lnTo>
                        <a:pt x="1234" y="1188"/>
                      </a:lnTo>
                      <a:lnTo>
                        <a:pt x="1238" y="1184"/>
                      </a:lnTo>
                      <a:lnTo>
                        <a:pt x="1239" y="1181"/>
                      </a:lnTo>
                      <a:lnTo>
                        <a:pt x="1239" y="1181"/>
                      </a:lnTo>
                      <a:lnTo>
                        <a:pt x="1243" y="1177"/>
                      </a:lnTo>
                      <a:lnTo>
                        <a:pt x="1248" y="1174"/>
                      </a:lnTo>
                      <a:lnTo>
                        <a:pt x="1250" y="1170"/>
                      </a:lnTo>
                      <a:lnTo>
                        <a:pt x="1245" y="1170"/>
                      </a:lnTo>
                      <a:lnTo>
                        <a:pt x="1245" y="1170"/>
                      </a:lnTo>
                      <a:lnTo>
                        <a:pt x="1236" y="1170"/>
                      </a:lnTo>
                      <a:lnTo>
                        <a:pt x="1231" y="1168"/>
                      </a:lnTo>
                      <a:lnTo>
                        <a:pt x="1227" y="1168"/>
                      </a:lnTo>
                      <a:lnTo>
                        <a:pt x="1224" y="1168"/>
                      </a:lnTo>
                      <a:lnTo>
                        <a:pt x="1224" y="1168"/>
                      </a:lnTo>
                      <a:lnTo>
                        <a:pt x="1224" y="1170"/>
                      </a:lnTo>
                      <a:lnTo>
                        <a:pt x="1224" y="1172"/>
                      </a:lnTo>
                      <a:lnTo>
                        <a:pt x="1229" y="1174"/>
                      </a:lnTo>
                      <a:lnTo>
                        <a:pt x="1231" y="1175"/>
                      </a:lnTo>
                      <a:lnTo>
                        <a:pt x="1232" y="1179"/>
                      </a:lnTo>
                      <a:lnTo>
                        <a:pt x="1231" y="1181"/>
                      </a:lnTo>
                      <a:lnTo>
                        <a:pt x="1229" y="1184"/>
                      </a:lnTo>
                      <a:lnTo>
                        <a:pt x="1229" y="1184"/>
                      </a:lnTo>
                      <a:lnTo>
                        <a:pt x="1222" y="1188"/>
                      </a:lnTo>
                      <a:lnTo>
                        <a:pt x="1222" y="1191"/>
                      </a:lnTo>
                      <a:lnTo>
                        <a:pt x="1224" y="1193"/>
                      </a:lnTo>
                      <a:lnTo>
                        <a:pt x="1220" y="1198"/>
                      </a:lnTo>
                      <a:lnTo>
                        <a:pt x="1220" y="1198"/>
                      </a:lnTo>
                      <a:lnTo>
                        <a:pt x="1217" y="1202"/>
                      </a:lnTo>
                      <a:lnTo>
                        <a:pt x="1217" y="1203"/>
                      </a:lnTo>
                      <a:lnTo>
                        <a:pt x="1218" y="1207"/>
                      </a:lnTo>
                      <a:lnTo>
                        <a:pt x="1217" y="1210"/>
                      </a:lnTo>
                      <a:lnTo>
                        <a:pt x="1217" y="1210"/>
                      </a:lnTo>
                      <a:lnTo>
                        <a:pt x="1213" y="1215"/>
                      </a:lnTo>
                      <a:lnTo>
                        <a:pt x="1208" y="1215"/>
                      </a:lnTo>
                      <a:lnTo>
                        <a:pt x="1203" y="1215"/>
                      </a:lnTo>
                      <a:lnTo>
                        <a:pt x="1194" y="1217"/>
                      </a:lnTo>
                      <a:lnTo>
                        <a:pt x="1194" y="1217"/>
                      </a:lnTo>
                      <a:lnTo>
                        <a:pt x="1184" y="1217"/>
                      </a:lnTo>
                      <a:lnTo>
                        <a:pt x="1177" y="1217"/>
                      </a:lnTo>
                      <a:lnTo>
                        <a:pt x="1170" y="1217"/>
                      </a:lnTo>
                      <a:lnTo>
                        <a:pt x="1164" y="1217"/>
                      </a:lnTo>
                      <a:lnTo>
                        <a:pt x="1164" y="1217"/>
                      </a:lnTo>
                      <a:lnTo>
                        <a:pt x="1159" y="1221"/>
                      </a:lnTo>
                      <a:lnTo>
                        <a:pt x="1154" y="1221"/>
                      </a:lnTo>
                      <a:lnTo>
                        <a:pt x="1152" y="1221"/>
                      </a:lnTo>
                      <a:lnTo>
                        <a:pt x="1154" y="1222"/>
                      </a:lnTo>
                      <a:lnTo>
                        <a:pt x="1161" y="1226"/>
                      </a:lnTo>
                      <a:lnTo>
                        <a:pt x="1161" y="1226"/>
                      </a:lnTo>
                      <a:lnTo>
                        <a:pt x="1170" y="1231"/>
                      </a:lnTo>
                      <a:lnTo>
                        <a:pt x="1171" y="1235"/>
                      </a:lnTo>
                      <a:lnTo>
                        <a:pt x="1170" y="1235"/>
                      </a:lnTo>
                      <a:lnTo>
                        <a:pt x="1164" y="1235"/>
                      </a:lnTo>
                      <a:lnTo>
                        <a:pt x="1164" y="1235"/>
                      </a:lnTo>
                      <a:lnTo>
                        <a:pt x="1161" y="1235"/>
                      </a:lnTo>
                      <a:lnTo>
                        <a:pt x="1159" y="1236"/>
                      </a:lnTo>
                      <a:lnTo>
                        <a:pt x="1156" y="1243"/>
                      </a:lnTo>
                      <a:lnTo>
                        <a:pt x="1152" y="1247"/>
                      </a:lnTo>
                      <a:lnTo>
                        <a:pt x="1151" y="1250"/>
                      </a:lnTo>
                      <a:lnTo>
                        <a:pt x="1145" y="1252"/>
                      </a:lnTo>
                      <a:lnTo>
                        <a:pt x="1140" y="1250"/>
                      </a:lnTo>
                      <a:lnTo>
                        <a:pt x="1140" y="1250"/>
                      </a:lnTo>
                      <a:lnTo>
                        <a:pt x="1128" y="1249"/>
                      </a:lnTo>
                      <a:lnTo>
                        <a:pt x="1123" y="1249"/>
                      </a:lnTo>
                      <a:lnTo>
                        <a:pt x="1117" y="1249"/>
                      </a:lnTo>
                      <a:lnTo>
                        <a:pt x="1116" y="1252"/>
                      </a:lnTo>
                      <a:lnTo>
                        <a:pt x="1114" y="1255"/>
                      </a:lnTo>
                      <a:lnTo>
                        <a:pt x="1117" y="1259"/>
                      </a:lnTo>
                      <a:lnTo>
                        <a:pt x="1123" y="1266"/>
                      </a:lnTo>
                      <a:lnTo>
                        <a:pt x="1123" y="1266"/>
                      </a:lnTo>
                      <a:lnTo>
                        <a:pt x="1135" y="1278"/>
                      </a:lnTo>
                      <a:lnTo>
                        <a:pt x="1138" y="1287"/>
                      </a:lnTo>
                      <a:lnTo>
                        <a:pt x="1138" y="1289"/>
                      </a:lnTo>
                      <a:lnTo>
                        <a:pt x="1138" y="1290"/>
                      </a:lnTo>
                      <a:lnTo>
                        <a:pt x="1131" y="1290"/>
                      </a:lnTo>
                      <a:lnTo>
                        <a:pt x="1131" y="1290"/>
                      </a:lnTo>
                      <a:lnTo>
                        <a:pt x="1126" y="1290"/>
                      </a:lnTo>
                      <a:lnTo>
                        <a:pt x="1121" y="1292"/>
                      </a:lnTo>
                      <a:lnTo>
                        <a:pt x="1114" y="1294"/>
                      </a:lnTo>
                      <a:lnTo>
                        <a:pt x="1110" y="1294"/>
                      </a:lnTo>
                      <a:lnTo>
                        <a:pt x="1105" y="1292"/>
                      </a:lnTo>
                      <a:lnTo>
                        <a:pt x="1105" y="1292"/>
                      </a:lnTo>
                      <a:lnTo>
                        <a:pt x="1100" y="1292"/>
                      </a:lnTo>
                      <a:lnTo>
                        <a:pt x="1098" y="1292"/>
                      </a:lnTo>
                      <a:lnTo>
                        <a:pt x="1098" y="1294"/>
                      </a:lnTo>
                      <a:lnTo>
                        <a:pt x="1098" y="1296"/>
                      </a:lnTo>
                      <a:lnTo>
                        <a:pt x="1102" y="1299"/>
                      </a:lnTo>
                      <a:lnTo>
                        <a:pt x="1105" y="1301"/>
                      </a:lnTo>
                      <a:lnTo>
                        <a:pt x="1112" y="1303"/>
                      </a:lnTo>
                      <a:lnTo>
                        <a:pt x="1119" y="1304"/>
                      </a:lnTo>
                      <a:lnTo>
                        <a:pt x="1119" y="1304"/>
                      </a:lnTo>
                      <a:lnTo>
                        <a:pt x="1130" y="1304"/>
                      </a:lnTo>
                      <a:lnTo>
                        <a:pt x="1131" y="1306"/>
                      </a:lnTo>
                      <a:lnTo>
                        <a:pt x="1133" y="1308"/>
                      </a:lnTo>
                      <a:lnTo>
                        <a:pt x="1131" y="1313"/>
                      </a:lnTo>
                      <a:lnTo>
                        <a:pt x="1133" y="1323"/>
                      </a:lnTo>
                      <a:lnTo>
                        <a:pt x="1133" y="1323"/>
                      </a:lnTo>
                      <a:lnTo>
                        <a:pt x="1133" y="1329"/>
                      </a:lnTo>
                      <a:lnTo>
                        <a:pt x="1131" y="1332"/>
                      </a:lnTo>
                      <a:lnTo>
                        <a:pt x="1126" y="1339"/>
                      </a:lnTo>
                      <a:lnTo>
                        <a:pt x="1119" y="1344"/>
                      </a:lnTo>
                      <a:lnTo>
                        <a:pt x="1116" y="1350"/>
                      </a:lnTo>
                      <a:lnTo>
                        <a:pt x="1114" y="1355"/>
                      </a:lnTo>
                      <a:lnTo>
                        <a:pt x="1114" y="1355"/>
                      </a:lnTo>
                      <a:lnTo>
                        <a:pt x="1114" y="1358"/>
                      </a:lnTo>
                      <a:lnTo>
                        <a:pt x="1112" y="1360"/>
                      </a:lnTo>
                      <a:lnTo>
                        <a:pt x="1107" y="1356"/>
                      </a:lnTo>
                      <a:lnTo>
                        <a:pt x="1105" y="1356"/>
                      </a:lnTo>
                      <a:lnTo>
                        <a:pt x="1102" y="1355"/>
                      </a:lnTo>
                      <a:lnTo>
                        <a:pt x="1100" y="1358"/>
                      </a:lnTo>
                      <a:lnTo>
                        <a:pt x="1098" y="1363"/>
                      </a:lnTo>
                      <a:lnTo>
                        <a:pt x="1098" y="1363"/>
                      </a:lnTo>
                      <a:lnTo>
                        <a:pt x="1097" y="1370"/>
                      </a:lnTo>
                      <a:lnTo>
                        <a:pt x="1093" y="1374"/>
                      </a:lnTo>
                      <a:lnTo>
                        <a:pt x="1088" y="1377"/>
                      </a:lnTo>
                      <a:lnTo>
                        <a:pt x="1083" y="1379"/>
                      </a:lnTo>
                      <a:lnTo>
                        <a:pt x="1070" y="1381"/>
                      </a:lnTo>
                      <a:lnTo>
                        <a:pt x="1067" y="1383"/>
                      </a:lnTo>
                      <a:lnTo>
                        <a:pt x="1063" y="1386"/>
                      </a:lnTo>
                      <a:lnTo>
                        <a:pt x="1063" y="1386"/>
                      </a:lnTo>
                      <a:lnTo>
                        <a:pt x="1062" y="1388"/>
                      </a:lnTo>
                      <a:lnTo>
                        <a:pt x="1062" y="1390"/>
                      </a:lnTo>
                      <a:lnTo>
                        <a:pt x="1067" y="1391"/>
                      </a:lnTo>
                      <a:lnTo>
                        <a:pt x="1072" y="1395"/>
                      </a:lnTo>
                      <a:lnTo>
                        <a:pt x="1074" y="1397"/>
                      </a:lnTo>
                      <a:lnTo>
                        <a:pt x="1076" y="1402"/>
                      </a:lnTo>
                      <a:lnTo>
                        <a:pt x="1076" y="1402"/>
                      </a:lnTo>
                      <a:lnTo>
                        <a:pt x="1076" y="1405"/>
                      </a:lnTo>
                      <a:lnTo>
                        <a:pt x="1072" y="1405"/>
                      </a:lnTo>
                      <a:lnTo>
                        <a:pt x="1063" y="1403"/>
                      </a:lnTo>
                      <a:lnTo>
                        <a:pt x="1055" y="1400"/>
                      </a:lnTo>
                      <a:lnTo>
                        <a:pt x="1055" y="1402"/>
                      </a:lnTo>
                      <a:lnTo>
                        <a:pt x="1056" y="1407"/>
                      </a:lnTo>
                      <a:lnTo>
                        <a:pt x="1056" y="1407"/>
                      </a:lnTo>
                      <a:lnTo>
                        <a:pt x="1062" y="1410"/>
                      </a:lnTo>
                      <a:lnTo>
                        <a:pt x="1065" y="1412"/>
                      </a:lnTo>
                      <a:lnTo>
                        <a:pt x="1067" y="1412"/>
                      </a:lnTo>
                      <a:lnTo>
                        <a:pt x="1069" y="1412"/>
                      </a:lnTo>
                      <a:lnTo>
                        <a:pt x="1070" y="1410"/>
                      </a:lnTo>
                      <a:lnTo>
                        <a:pt x="1072" y="1412"/>
                      </a:lnTo>
                      <a:lnTo>
                        <a:pt x="1074" y="1414"/>
                      </a:lnTo>
                      <a:lnTo>
                        <a:pt x="1076" y="1419"/>
                      </a:lnTo>
                      <a:lnTo>
                        <a:pt x="1076" y="1419"/>
                      </a:lnTo>
                      <a:lnTo>
                        <a:pt x="1076" y="1428"/>
                      </a:lnTo>
                      <a:lnTo>
                        <a:pt x="1074" y="1437"/>
                      </a:lnTo>
                      <a:lnTo>
                        <a:pt x="1065" y="1459"/>
                      </a:lnTo>
                      <a:lnTo>
                        <a:pt x="1056" y="1480"/>
                      </a:lnTo>
                      <a:lnTo>
                        <a:pt x="1053" y="1489"/>
                      </a:lnTo>
                      <a:lnTo>
                        <a:pt x="1055" y="1496"/>
                      </a:lnTo>
                      <a:lnTo>
                        <a:pt x="1055" y="1496"/>
                      </a:lnTo>
                      <a:lnTo>
                        <a:pt x="1055" y="1501"/>
                      </a:lnTo>
                      <a:lnTo>
                        <a:pt x="1055" y="1504"/>
                      </a:lnTo>
                      <a:lnTo>
                        <a:pt x="1051" y="1506"/>
                      </a:lnTo>
                      <a:lnTo>
                        <a:pt x="1048" y="1508"/>
                      </a:lnTo>
                      <a:lnTo>
                        <a:pt x="1039" y="1513"/>
                      </a:lnTo>
                      <a:lnTo>
                        <a:pt x="1036" y="1515"/>
                      </a:lnTo>
                      <a:lnTo>
                        <a:pt x="1034" y="1518"/>
                      </a:lnTo>
                      <a:lnTo>
                        <a:pt x="1034" y="1518"/>
                      </a:lnTo>
                      <a:lnTo>
                        <a:pt x="1032" y="1520"/>
                      </a:lnTo>
                      <a:lnTo>
                        <a:pt x="1032" y="1520"/>
                      </a:lnTo>
                      <a:lnTo>
                        <a:pt x="1037" y="1518"/>
                      </a:lnTo>
                      <a:lnTo>
                        <a:pt x="1039" y="1518"/>
                      </a:lnTo>
                      <a:lnTo>
                        <a:pt x="1043" y="1520"/>
                      </a:lnTo>
                      <a:lnTo>
                        <a:pt x="1044" y="1522"/>
                      </a:lnTo>
                      <a:lnTo>
                        <a:pt x="1044" y="1529"/>
                      </a:lnTo>
                      <a:lnTo>
                        <a:pt x="1044" y="1529"/>
                      </a:lnTo>
                      <a:lnTo>
                        <a:pt x="1044" y="1534"/>
                      </a:lnTo>
                      <a:lnTo>
                        <a:pt x="1043" y="1539"/>
                      </a:lnTo>
                      <a:lnTo>
                        <a:pt x="1039" y="1543"/>
                      </a:lnTo>
                      <a:lnTo>
                        <a:pt x="1036" y="1545"/>
                      </a:lnTo>
                      <a:lnTo>
                        <a:pt x="1032" y="1546"/>
                      </a:lnTo>
                      <a:lnTo>
                        <a:pt x="1029" y="1546"/>
                      </a:lnTo>
                      <a:lnTo>
                        <a:pt x="1018" y="1541"/>
                      </a:lnTo>
                      <a:lnTo>
                        <a:pt x="1018" y="1541"/>
                      </a:lnTo>
                      <a:lnTo>
                        <a:pt x="1011" y="1534"/>
                      </a:lnTo>
                      <a:lnTo>
                        <a:pt x="1006" y="1531"/>
                      </a:lnTo>
                      <a:lnTo>
                        <a:pt x="1004" y="1531"/>
                      </a:lnTo>
                      <a:lnTo>
                        <a:pt x="1003" y="1531"/>
                      </a:lnTo>
                      <a:lnTo>
                        <a:pt x="994" y="1538"/>
                      </a:lnTo>
                      <a:lnTo>
                        <a:pt x="994" y="1538"/>
                      </a:lnTo>
                      <a:lnTo>
                        <a:pt x="990" y="1539"/>
                      </a:lnTo>
                      <a:lnTo>
                        <a:pt x="985" y="1541"/>
                      </a:lnTo>
                      <a:lnTo>
                        <a:pt x="982" y="1541"/>
                      </a:lnTo>
                      <a:lnTo>
                        <a:pt x="976" y="1539"/>
                      </a:lnTo>
                      <a:lnTo>
                        <a:pt x="973" y="1538"/>
                      </a:lnTo>
                      <a:lnTo>
                        <a:pt x="971" y="1534"/>
                      </a:lnTo>
                      <a:lnTo>
                        <a:pt x="973" y="1531"/>
                      </a:lnTo>
                      <a:lnTo>
                        <a:pt x="975" y="1525"/>
                      </a:lnTo>
                      <a:lnTo>
                        <a:pt x="975" y="1525"/>
                      </a:lnTo>
                      <a:lnTo>
                        <a:pt x="980" y="1518"/>
                      </a:lnTo>
                      <a:lnTo>
                        <a:pt x="980" y="1515"/>
                      </a:lnTo>
                      <a:lnTo>
                        <a:pt x="980" y="1513"/>
                      </a:lnTo>
                      <a:lnTo>
                        <a:pt x="975" y="1513"/>
                      </a:lnTo>
                      <a:lnTo>
                        <a:pt x="964" y="1513"/>
                      </a:lnTo>
                      <a:lnTo>
                        <a:pt x="957" y="1513"/>
                      </a:lnTo>
                      <a:lnTo>
                        <a:pt x="949" y="1511"/>
                      </a:lnTo>
                      <a:lnTo>
                        <a:pt x="949" y="1511"/>
                      </a:lnTo>
                      <a:lnTo>
                        <a:pt x="940" y="1506"/>
                      </a:lnTo>
                      <a:lnTo>
                        <a:pt x="936" y="1504"/>
                      </a:lnTo>
                      <a:lnTo>
                        <a:pt x="936" y="1501"/>
                      </a:lnTo>
                      <a:lnTo>
                        <a:pt x="938" y="1496"/>
                      </a:lnTo>
                      <a:lnTo>
                        <a:pt x="945" y="1487"/>
                      </a:lnTo>
                      <a:lnTo>
                        <a:pt x="945" y="1487"/>
                      </a:lnTo>
                      <a:lnTo>
                        <a:pt x="949" y="1484"/>
                      </a:lnTo>
                      <a:lnTo>
                        <a:pt x="949" y="1478"/>
                      </a:lnTo>
                      <a:lnTo>
                        <a:pt x="949" y="1475"/>
                      </a:lnTo>
                      <a:lnTo>
                        <a:pt x="947" y="1471"/>
                      </a:lnTo>
                      <a:lnTo>
                        <a:pt x="943" y="1468"/>
                      </a:lnTo>
                      <a:lnTo>
                        <a:pt x="942" y="1468"/>
                      </a:lnTo>
                      <a:lnTo>
                        <a:pt x="942" y="1470"/>
                      </a:lnTo>
                      <a:lnTo>
                        <a:pt x="942" y="1473"/>
                      </a:lnTo>
                      <a:lnTo>
                        <a:pt x="942" y="1473"/>
                      </a:lnTo>
                      <a:lnTo>
                        <a:pt x="942" y="1477"/>
                      </a:lnTo>
                      <a:lnTo>
                        <a:pt x="940" y="1478"/>
                      </a:lnTo>
                      <a:lnTo>
                        <a:pt x="935" y="1482"/>
                      </a:lnTo>
                      <a:lnTo>
                        <a:pt x="926" y="1485"/>
                      </a:lnTo>
                      <a:lnTo>
                        <a:pt x="917" y="1492"/>
                      </a:lnTo>
                      <a:lnTo>
                        <a:pt x="917" y="1492"/>
                      </a:lnTo>
                      <a:lnTo>
                        <a:pt x="914" y="1494"/>
                      </a:lnTo>
                      <a:lnTo>
                        <a:pt x="912" y="1494"/>
                      </a:lnTo>
                      <a:lnTo>
                        <a:pt x="908" y="1491"/>
                      </a:lnTo>
                      <a:lnTo>
                        <a:pt x="907" y="1491"/>
                      </a:lnTo>
                      <a:lnTo>
                        <a:pt x="903" y="1489"/>
                      </a:lnTo>
                      <a:lnTo>
                        <a:pt x="898" y="1491"/>
                      </a:lnTo>
                      <a:lnTo>
                        <a:pt x="891" y="1494"/>
                      </a:lnTo>
                      <a:lnTo>
                        <a:pt x="891" y="1494"/>
                      </a:lnTo>
                      <a:lnTo>
                        <a:pt x="884" y="1499"/>
                      </a:lnTo>
                      <a:lnTo>
                        <a:pt x="879" y="1503"/>
                      </a:lnTo>
                      <a:lnTo>
                        <a:pt x="874" y="1503"/>
                      </a:lnTo>
                      <a:lnTo>
                        <a:pt x="870" y="1503"/>
                      </a:lnTo>
                      <a:lnTo>
                        <a:pt x="867" y="1501"/>
                      </a:lnTo>
                      <a:lnTo>
                        <a:pt x="865" y="1498"/>
                      </a:lnTo>
                      <a:lnTo>
                        <a:pt x="861" y="1491"/>
                      </a:lnTo>
                      <a:lnTo>
                        <a:pt x="861" y="1491"/>
                      </a:lnTo>
                      <a:lnTo>
                        <a:pt x="861" y="1487"/>
                      </a:lnTo>
                      <a:lnTo>
                        <a:pt x="861" y="1484"/>
                      </a:lnTo>
                      <a:lnTo>
                        <a:pt x="865" y="1482"/>
                      </a:lnTo>
                      <a:lnTo>
                        <a:pt x="867" y="1482"/>
                      </a:lnTo>
                      <a:lnTo>
                        <a:pt x="868" y="1480"/>
                      </a:lnTo>
                      <a:lnTo>
                        <a:pt x="867" y="1478"/>
                      </a:lnTo>
                      <a:lnTo>
                        <a:pt x="867" y="1478"/>
                      </a:lnTo>
                      <a:lnTo>
                        <a:pt x="865" y="1477"/>
                      </a:lnTo>
                      <a:lnTo>
                        <a:pt x="861" y="1475"/>
                      </a:lnTo>
                      <a:lnTo>
                        <a:pt x="856" y="1475"/>
                      </a:lnTo>
                      <a:lnTo>
                        <a:pt x="853" y="1475"/>
                      </a:lnTo>
                      <a:lnTo>
                        <a:pt x="851" y="1473"/>
                      </a:lnTo>
                      <a:lnTo>
                        <a:pt x="851" y="1470"/>
                      </a:lnTo>
                      <a:lnTo>
                        <a:pt x="853" y="1466"/>
                      </a:lnTo>
                      <a:lnTo>
                        <a:pt x="853" y="1466"/>
                      </a:lnTo>
                      <a:lnTo>
                        <a:pt x="853" y="1463"/>
                      </a:lnTo>
                      <a:lnTo>
                        <a:pt x="851" y="1461"/>
                      </a:lnTo>
                      <a:lnTo>
                        <a:pt x="841" y="1461"/>
                      </a:lnTo>
                      <a:lnTo>
                        <a:pt x="832" y="1461"/>
                      </a:lnTo>
                      <a:lnTo>
                        <a:pt x="830" y="1459"/>
                      </a:lnTo>
                      <a:lnTo>
                        <a:pt x="830" y="1454"/>
                      </a:lnTo>
                      <a:lnTo>
                        <a:pt x="830" y="1454"/>
                      </a:lnTo>
                      <a:lnTo>
                        <a:pt x="834" y="1447"/>
                      </a:lnTo>
                      <a:lnTo>
                        <a:pt x="834" y="1442"/>
                      </a:lnTo>
                      <a:lnTo>
                        <a:pt x="832" y="1440"/>
                      </a:lnTo>
                      <a:lnTo>
                        <a:pt x="827" y="1442"/>
                      </a:lnTo>
                      <a:lnTo>
                        <a:pt x="827" y="1442"/>
                      </a:lnTo>
                      <a:lnTo>
                        <a:pt x="825" y="1442"/>
                      </a:lnTo>
                      <a:lnTo>
                        <a:pt x="823" y="1440"/>
                      </a:lnTo>
                      <a:lnTo>
                        <a:pt x="823" y="1435"/>
                      </a:lnTo>
                      <a:lnTo>
                        <a:pt x="821" y="1428"/>
                      </a:lnTo>
                      <a:lnTo>
                        <a:pt x="820" y="1426"/>
                      </a:lnTo>
                      <a:lnTo>
                        <a:pt x="816" y="1428"/>
                      </a:lnTo>
                      <a:lnTo>
                        <a:pt x="816" y="1428"/>
                      </a:lnTo>
                      <a:lnTo>
                        <a:pt x="813" y="1428"/>
                      </a:lnTo>
                      <a:lnTo>
                        <a:pt x="813" y="1426"/>
                      </a:lnTo>
                      <a:lnTo>
                        <a:pt x="813" y="1423"/>
                      </a:lnTo>
                      <a:lnTo>
                        <a:pt x="814" y="1419"/>
                      </a:lnTo>
                      <a:lnTo>
                        <a:pt x="813" y="1416"/>
                      </a:lnTo>
                      <a:lnTo>
                        <a:pt x="811" y="1412"/>
                      </a:lnTo>
                      <a:lnTo>
                        <a:pt x="806" y="1409"/>
                      </a:lnTo>
                      <a:lnTo>
                        <a:pt x="806" y="1409"/>
                      </a:lnTo>
                      <a:lnTo>
                        <a:pt x="797" y="1405"/>
                      </a:lnTo>
                      <a:lnTo>
                        <a:pt x="792" y="1402"/>
                      </a:lnTo>
                      <a:lnTo>
                        <a:pt x="790" y="1397"/>
                      </a:lnTo>
                      <a:lnTo>
                        <a:pt x="790" y="1391"/>
                      </a:lnTo>
                      <a:lnTo>
                        <a:pt x="790" y="1391"/>
                      </a:lnTo>
                      <a:lnTo>
                        <a:pt x="790" y="1386"/>
                      </a:lnTo>
                      <a:lnTo>
                        <a:pt x="788" y="1383"/>
                      </a:lnTo>
                      <a:lnTo>
                        <a:pt x="785" y="1377"/>
                      </a:lnTo>
                      <a:lnTo>
                        <a:pt x="781" y="1370"/>
                      </a:lnTo>
                      <a:lnTo>
                        <a:pt x="781" y="1369"/>
                      </a:lnTo>
                      <a:lnTo>
                        <a:pt x="781" y="1365"/>
                      </a:lnTo>
                      <a:lnTo>
                        <a:pt x="781" y="1365"/>
                      </a:lnTo>
                      <a:lnTo>
                        <a:pt x="781" y="1362"/>
                      </a:lnTo>
                      <a:lnTo>
                        <a:pt x="781" y="1360"/>
                      </a:lnTo>
                      <a:lnTo>
                        <a:pt x="776" y="1360"/>
                      </a:lnTo>
                      <a:lnTo>
                        <a:pt x="767" y="1358"/>
                      </a:lnTo>
                      <a:lnTo>
                        <a:pt x="764" y="1356"/>
                      </a:lnTo>
                      <a:lnTo>
                        <a:pt x="760" y="1351"/>
                      </a:lnTo>
                      <a:lnTo>
                        <a:pt x="760" y="1351"/>
                      </a:lnTo>
                      <a:lnTo>
                        <a:pt x="750" y="1334"/>
                      </a:lnTo>
                      <a:lnTo>
                        <a:pt x="748" y="1329"/>
                      </a:lnTo>
                      <a:lnTo>
                        <a:pt x="748" y="1325"/>
                      </a:lnTo>
                      <a:lnTo>
                        <a:pt x="748" y="1322"/>
                      </a:lnTo>
                      <a:lnTo>
                        <a:pt x="748" y="1322"/>
                      </a:lnTo>
                      <a:lnTo>
                        <a:pt x="750" y="1320"/>
                      </a:lnTo>
                      <a:lnTo>
                        <a:pt x="748" y="1318"/>
                      </a:lnTo>
                      <a:lnTo>
                        <a:pt x="747" y="1315"/>
                      </a:lnTo>
                      <a:lnTo>
                        <a:pt x="743" y="1311"/>
                      </a:lnTo>
                      <a:lnTo>
                        <a:pt x="745" y="1309"/>
                      </a:lnTo>
                      <a:lnTo>
                        <a:pt x="747" y="1309"/>
                      </a:lnTo>
                      <a:lnTo>
                        <a:pt x="747" y="1309"/>
                      </a:lnTo>
                      <a:lnTo>
                        <a:pt x="748" y="1308"/>
                      </a:lnTo>
                      <a:lnTo>
                        <a:pt x="748" y="1306"/>
                      </a:lnTo>
                      <a:lnTo>
                        <a:pt x="747" y="1303"/>
                      </a:lnTo>
                      <a:lnTo>
                        <a:pt x="745" y="1301"/>
                      </a:lnTo>
                      <a:lnTo>
                        <a:pt x="745" y="1301"/>
                      </a:lnTo>
                      <a:lnTo>
                        <a:pt x="755" y="1299"/>
                      </a:lnTo>
                      <a:lnTo>
                        <a:pt x="755" y="1299"/>
                      </a:lnTo>
                      <a:lnTo>
                        <a:pt x="762" y="1297"/>
                      </a:lnTo>
                      <a:lnTo>
                        <a:pt x="766" y="1297"/>
                      </a:lnTo>
                      <a:lnTo>
                        <a:pt x="767" y="1294"/>
                      </a:lnTo>
                      <a:lnTo>
                        <a:pt x="766" y="1292"/>
                      </a:lnTo>
                      <a:lnTo>
                        <a:pt x="766" y="1290"/>
                      </a:lnTo>
                      <a:lnTo>
                        <a:pt x="766" y="1289"/>
                      </a:lnTo>
                      <a:lnTo>
                        <a:pt x="769" y="1287"/>
                      </a:lnTo>
                      <a:lnTo>
                        <a:pt x="774" y="1287"/>
                      </a:lnTo>
                      <a:lnTo>
                        <a:pt x="774" y="1287"/>
                      </a:lnTo>
                      <a:lnTo>
                        <a:pt x="781" y="1287"/>
                      </a:lnTo>
                      <a:lnTo>
                        <a:pt x="783" y="1285"/>
                      </a:lnTo>
                      <a:lnTo>
                        <a:pt x="781" y="1283"/>
                      </a:lnTo>
                      <a:lnTo>
                        <a:pt x="780" y="1282"/>
                      </a:lnTo>
                      <a:lnTo>
                        <a:pt x="773" y="1278"/>
                      </a:lnTo>
                      <a:lnTo>
                        <a:pt x="773" y="1276"/>
                      </a:lnTo>
                      <a:lnTo>
                        <a:pt x="776" y="1273"/>
                      </a:lnTo>
                      <a:lnTo>
                        <a:pt x="776" y="1273"/>
                      </a:lnTo>
                      <a:lnTo>
                        <a:pt x="780" y="1273"/>
                      </a:lnTo>
                      <a:lnTo>
                        <a:pt x="785" y="1273"/>
                      </a:lnTo>
                      <a:lnTo>
                        <a:pt x="794" y="1280"/>
                      </a:lnTo>
                      <a:lnTo>
                        <a:pt x="801" y="1283"/>
                      </a:lnTo>
                      <a:lnTo>
                        <a:pt x="802" y="1283"/>
                      </a:lnTo>
                      <a:lnTo>
                        <a:pt x="802" y="1278"/>
                      </a:lnTo>
                      <a:lnTo>
                        <a:pt x="802" y="1278"/>
                      </a:lnTo>
                      <a:lnTo>
                        <a:pt x="801" y="1275"/>
                      </a:lnTo>
                      <a:lnTo>
                        <a:pt x="797" y="1269"/>
                      </a:lnTo>
                      <a:lnTo>
                        <a:pt x="794" y="1266"/>
                      </a:lnTo>
                      <a:lnTo>
                        <a:pt x="788" y="1264"/>
                      </a:lnTo>
                      <a:lnTo>
                        <a:pt x="785" y="1264"/>
                      </a:lnTo>
                      <a:lnTo>
                        <a:pt x="780" y="1266"/>
                      </a:lnTo>
                      <a:lnTo>
                        <a:pt x="774" y="1268"/>
                      </a:lnTo>
                      <a:lnTo>
                        <a:pt x="769" y="1271"/>
                      </a:lnTo>
                      <a:lnTo>
                        <a:pt x="769" y="1271"/>
                      </a:lnTo>
                      <a:lnTo>
                        <a:pt x="764" y="1273"/>
                      </a:lnTo>
                      <a:lnTo>
                        <a:pt x="762" y="1273"/>
                      </a:lnTo>
                      <a:lnTo>
                        <a:pt x="760" y="1268"/>
                      </a:lnTo>
                      <a:lnTo>
                        <a:pt x="759" y="1266"/>
                      </a:lnTo>
                      <a:lnTo>
                        <a:pt x="757" y="1266"/>
                      </a:lnTo>
                      <a:lnTo>
                        <a:pt x="748" y="1280"/>
                      </a:lnTo>
                      <a:lnTo>
                        <a:pt x="748" y="1280"/>
                      </a:lnTo>
                      <a:lnTo>
                        <a:pt x="743" y="1289"/>
                      </a:lnTo>
                      <a:lnTo>
                        <a:pt x="738" y="1294"/>
                      </a:lnTo>
                      <a:lnTo>
                        <a:pt x="733" y="1296"/>
                      </a:lnTo>
                      <a:lnTo>
                        <a:pt x="731" y="1294"/>
                      </a:lnTo>
                      <a:lnTo>
                        <a:pt x="729" y="1290"/>
                      </a:lnTo>
                      <a:lnTo>
                        <a:pt x="727" y="1285"/>
                      </a:lnTo>
                      <a:lnTo>
                        <a:pt x="727" y="1273"/>
                      </a:lnTo>
                      <a:lnTo>
                        <a:pt x="727" y="1273"/>
                      </a:lnTo>
                      <a:lnTo>
                        <a:pt x="727" y="1266"/>
                      </a:lnTo>
                      <a:lnTo>
                        <a:pt x="726" y="1262"/>
                      </a:lnTo>
                      <a:lnTo>
                        <a:pt x="724" y="1261"/>
                      </a:lnTo>
                      <a:lnTo>
                        <a:pt x="722" y="1254"/>
                      </a:lnTo>
                      <a:lnTo>
                        <a:pt x="722" y="1254"/>
                      </a:lnTo>
                      <a:lnTo>
                        <a:pt x="722" y="1249"/>
                      </a:lnTo>
                      <a:lnTo>
                        <a:pt x="720" y="1245"/>
                      </a:lnTo>
                      <a:lnTo>
                        <a:pt x="717" y="1240"/>
                      </a:lnTo>
                      <a:lnTo>
                        <a:pt x="713" y="1238"/>
                      </a:lnTo>
                      <a:lnTo>
                        <a:pt x="712" y="1235"/>
                      </a:lnTo>
                      <a:lnTo>
                        <a:pt x="712" y="1231"/>
                      </a:lnTo>
                      <a:lnTo>
                        <a:pt x="712" y="1231"/>
                      </a:lnTo>
                      <a:lnTo>
                        <a:pt x="712" y="1228"/>
                      </a:lnTo>
                      <a:lnTo>
                        <a:pt x="712" y="1224"/>
                      </a:lnTo>
                      <a:lnTo>
                        <a:pt x="708" y="1217"/>
                      </a:lnTo>
                      <a:lnTo>
                        <a:pt x="701" y="1214"/>
                      </a:lnTo>
                      <a:lnTo>
                        <a:pt x="693" y="1212"/>
                      </a:lnTo>
                      <a:lnTo>
                        <a:pt x="693" y="1212"/>
                      </a:lnTo>
                      <a:lnTo>
                        <a:pt x="691" y="1210"/>
                      </a:lnTo>
                      <a:lnTo>
                        <a:pt x="689" y="1210"/>
                      </a:lnTo>
                      <a:lnTo>
                        <a:pt x="689" y="1205"/>
                      </a:lnTo>
                      <a:lnTo>
                        <a:pt x="687" y="1200"/>
                      </a:lnTo>
                      <a:lnTo>
                        <a:pt x="684" y="1195"/>
                      </a:lnTo>
                      <a:lnTo>
                        <a:pt x="679" y="1191"/>
                      </a:lnTo>
                      <a:lnTo>
                        <a:pt x="679" y="1191"/>
                      </a:lnTo>
                      <a:lnTo>
                        <a:pt x="673" y="1184"/>
                      </a:lnTo>
                      <a:lnTo>
                        <a:pt x="672" y="1179"/>
                      </a:lnTo>
                      <a:lnTo>
                        <a:pt x="672" y="1172"/>
                      </a:lnTo>
                      <a:lnTo>
                        <a:pt x="675" y="1163"/>
                      </a:lnTo>
                      <a:lnTo>
                        <a:pt x="680" y="1156"/>
                      </a:lnTo>
                      <a:lnTo>
                        <a:pt x="687" y="1149"/>
                      </a:lnTo>
                      <a:lnTo>
                        <a:pt x="696" y="1142"/>
                      </a:lnTo>
                      <a:lnTo>
                        <a:pt x="706" y="1135"/>
                      </a:lnTo>
                      <a:lnTo>
                        <a:pt x="706" y="1135"/>
                      </a:lnTo>
                      <a:lnTo>
                        <a:pt x="686" y="1135"/>
                      </a:lnTo>
                      <a:lnTo>
                        <a:pt x="672" y="1134"/>
                      </a:lnTo>
                      <a:lnTo>
                        <a:pt x="666" y="1132"/>
                      </a:lnTo>
                      <a:lnTo>
                        <a:pt x="663" y="1128"/>
                      </a:lnTo>
                      <a:lnTo>
                        <a:pt x="663" y="1123"/>
                      </a:lnTo>
                      <a:lnTo>
                        <a:pt x="665" y="1118"/>
                      </a:lnTo>
                      <a:lnTo>
                        <a:pt x="665" y="1118"/>
                      </a:lnTo>
                      <a:lnTo>
                        <a:pt x="672" y="1097"/>
                      </a:lnTo>
                      <a:lnTo>
                        <a:pt x="673" y="1090"/>
                      </a:lnTo>
                      <a:lnTo>
                        <a:pt x="673" y="1085"/>
                      </a:lnTo>
                      <a:lnTo>
                        <a:pt x="673" y="1085"/>
                      </a:lnTo>
                      <a:lnTo>
                        <a:pt x="673" y="1081"/>
                      </a:lnTo>
                      <a:lnTo>
                        <a:pt x="677" y="1080"/>
                      </a:lnTo>
                      <a:lnTo>
                        <a:pt x="686" y="1074"/>
                      </a:lnTo>
                      <a:lnTo>
                        <a:pt x="689" y="1073"/>
                      </a:lnTo>
                      <a:lnTo>
                        <a:pt x="693" y="1069"/>
                      </a:lnTo>
                      <a:lnTo>
                        <a:pt x="693" y="1067"/>
                      </a:lnTo>
                      <a:lnTo>
                        <a:pt x="687" y="1064"/>
                      </a:lnTo>
                      <a:lnTo>
                        <a:pt x="687" y="1064"/>
                      </a:lnTo>
                      <a:lnTo>
                        <a:pt x="682" y="1059"/>
                      </a:lnTo>
                      <a:lnTo>
                        <a:pt x="682" y="1057"/>
                      </a:lnTo>
                      <a:lnTo>
                        <a:pt x="684" y="1057"/>
                      </a:lnTo>
                      <a:lnTo>
                        <a:pt x="686" y="1055"/>
                      </a:lnTo>
                      <a:lnTo>
                        <a:pt x="686" y="1055"/>
                      </a:lnTo>
                      <a:lnTo>
                        <a:pt x="686" y="1052"/>
                      </a:lnTo>
                      <a:lnTo>
                        <a:pt x="686" y="1052"/>
                      </a:lnTo>
                      <a:lnTo>
                        <a:pt x="684" y="1050"/>
                      </a:lnTo>
                      <a:lnTo>
                        <a:pt x="686" y="1048"/>
                      </a:lnTo>
                      <a:lnTo>
                        <a:pt x="693" y="1045"/>
                      </a:lnTo>
                      <a:lnTo>
                        <a:pt x="703" y="1043"/>
                      </a:lnTo>
                      <a:lnTo>
                        <a:pt x="708" y="1041"/>
                      </a:lnTo>
                      <a:lnTo>
                        <a:pt x="712" y="1038"/>
                      </a:lnTo>
                      <a:lnTo>
                        <a:pt x="712" y="1038"/>
                      </a:lnTo>
                      <a:lnTo>
                        <a:pt x="715" y="1036"/>
                      </a:lnTo>
                      <a:lnTo>
                        <a:pt x="720" y="1036"/>
                      </a:lnTo>
                      <a:lnTo>
                        <a:pt x="729" y="1038"/>
                      </a:lnTo>
                      <a:lnTo>
                        <a:pt x="740" y="1040"/>
                      </a:lnTo>
                      <a:lnTo>
                        <a:pt x="747" y="1040"/>
                      </a:lnTo>
                      <a:lnTo>
                        <a:pt x="754" y="1038"/>
                      </a:lnTo>
                      <a:lnTo>
                        <a:pt x="754" y="1038"/>
                      </a:lnTo>
                      <a:lnTo>
                        <a:pt x="762" y="1033"/>
                      </a:lnTo>
                      <a:lnTo>
                        <a:pt x="762" y="1031"/>
                      </a:lnTo>
                      <a:lnTo>
                        <a:pt x="762" y="1029"/>
                      </a:lnTo>
                      <a:lnTo>
                        <a:pt x="759" y="1024"/>
                      </a:lnTo>
                      <a:lnTo>
                        <a:pt x="759" y="1019"/>
                      </a:lnTo>
                      <a:lnTo>
                        <a:pt x="759" y="1013"/>
                      </a:lnTo>
                      <a:lnTo>
                        <a:pt x="759" y="1013"/>
                      </a:lnTo>
                      <a:lnTo>
                        <a:pt x="762" y="1000"/>
                      </a:lnTo>
                      <a:lnTo>
                        <a:pt x="767" y="987"/>
                      </a:lnTo>
                      <a:lnTo>
                        <a:pt x="773" y="975"/>
                      </a:lnTo>
                      <a:lnTo>
                        <a:pt x="774" y="970"/>
                      </a:lnTo>
                      <a:lnTo>
                        <a:pt x="774" y="965"/>
                      </a:lnTo>
                      <a:lnTo>
                        <a:pt x="774" y="965"/>
                      </a:lnTo>
                      <a:lnTo>
                        <a:pt x="773" y="963"/>
                      </a:lnTo>
                      <a:lnTo>
                        <a:pt x="773" y="963"/>
                      </a:lnTo>
                      <a:lnTo>
                        <a:pt x="767" y="968"/>
                      </a:lnTo>
                      <a:lnTo>
                        <a:pt x="766" y="972"/>
                      </a:lnTo>
                      <a:lnTo>
                        <a:pt x="762" y="975"/>
                      </a:lnTo>
                      <a:lnTo>
                        <a:pt x="759" y="975"/>
                      </a:lnTo>
                      <a:lnTo>
                        <a:pt x="757" y="973"/>
                      </a:lnTo>
                      <a:lnTo>
                        <a:pt x="757" y="973"/>
                      </a:lnTo>
                      <a:lnTo>
                        <a:pt x="754" y="968"/>
                      </a:lnTo>
                      <a:lnTo>
                        <a:pt x="755" y="963"/>
                      </a:lnTo>
                      <a:lnTo>
                        <a:pt x="757" y="956"/>
                      </a:lnTo>
                      <a:lnTo>
                        <a:pt x="755" y="953"/>
                      </a:lnTo>
                      <a:lnTo>
                        <a:pt x="754" y="951"/>
                      </a:lnTo>
                      <a:lnTo>
                        <a:pt x="747" y="947"/>
                      </a:lnTo>
                      <a:lnTo>
                        <a:pt x="734" y="946"/>
                      </a:lnTo>
                      <a:lnTo>
                        <a:pt x="734" y="946"/>
                      </a:lnTo>
                      <a:lnTo>
                        <a:pt x="724" y="944"/>
                      </a:lnTo>
                      <a:lnTo>
                        <a:pt x="717" y="942"/>
                      </a:lnTo>
                      <a:lnTo>
                        <a:pt x="713" y="937"/>
                      </a:lnTo>
                      <a:lnTo>
                        <a:pt x="710" y="933"/>
                      </a:lnTo>
                      <a:lnTo>
                        <a:pt x="705" y="930"/>
                      </a:lnTo>
                      <a:lnTo>
                        <a:pt x="700" y="926"/>
                      </a:lnTo>
                      <a:lnTo>
                        <a:pt x="693" y="923"/>
                      </a:lnTo>
                      <a:lnTo>
                        <a:pt x="680" y="921"/>
                      </a:lnTo>
                      <a:lnTo>
                        <a:pt x="680" y="921"/>
                      </a:lnTo>
                      <a:lnTo>
                        <a:pt x="666" y="919"/>
                      </a:lnTo>
                      <a:lnTo>
                        <a:pt x="653" y="913"/>
                      </a:lnTo>
                      <a:lnTo>
                        <a:pt x="647" y="909"/>
                      </a:lnTo>
                      <a:lnTo>
                        <a:pt x="644" y="906"/>
                      </a:lnTo>
                      <a:lnTo>
                        <a:pt x="644" y="902"/>
                      </a:lnTo>
                      <a:lnTo>
                        <a:pt x="646" y="899"/>
                      </a:lnTo>
                      <a:lnTo>
                        <a:pt x="646" y="899"/>
                      </a:lnTo>
                      <a:lnTo>
                        <a:pt x="651" y="897"/>
                      </a:lnTo>
                      <a:lnTo>
                        <a:pt x="659" y="895"/>
                      </a:lnTo>
                      <a:lnTo>
                        <a:pt x="682" y="895"/>
                      </a:lnTo>
                      <a:lnTo>
                        <a:pt x="705" y="899"/>
                      </a:lnTo>
                      <a:lnTo>
                        <a:pt x="715" y="900"/>
                      </a:lnTo>
                      <a:lnTo>
                        <a:pt x="724" y="906"/>
                      </a:lnTo>
                      <a:lnTo>
                        <a:pt x="724" y="906"/>
                      </a:lnTo>
                      <a:lnTo>
                        <a:pt x="738" y="913"/>
                      </a:lnTo>
                      <a:lnTo>
                        <a:pt x="752" y="916"/>
                      </a:lnTo>
                      <a:lnTo>
                        <a:pt x="760" y="918"/>
                      </a:lnTo>
                      <a:lnTo>
                        <a:pt x="762" y="916"/>
                      </a:lnTo>
                      <a:lnTo>
                        <a:pt x="760" y="914"/>
                      </a:lnTo>
                      <a:lnTo>
                        <a:pt x="760" y="914"/>
                      </a:lnTo>
                      <a:lnTo>
                        <a:pt x="757" y="909"/>
                      </a:lnTo>
                      <a:lnTo>
                        <a:pt x="754" y="904"/>
                      </a:lnTo>
                      <a:lnTo>
                        <a:pt x="755" y="899"/>
                      </a:lnTo>
                      <a:lnTo>
                        <a:pt x="760" y="892"/>
                      </a:lnTo>
                      <a:lnTo>
                        <a:pt x="760" y="892"/>
                      </a:lnTo>
                      <a:lnTo>
                        <a:pt x="760" y="892"/>
                      </a:lnTo>
                      <a:lnTo>
                        <a:pt x="760" y="890"/>
                      </a:lnTo>
                      <a:lnTo>
                        <a:pt x="754" y="888"/>
                      </a:lnTo>
                      <a:lnTo>
                        <a:pt x="738" y="883"/>
                      </a:lnTo>
                      <a:lnTo>
                        <a:pt x="727" y="879"/>
                      </a:lnTo>
                      <a:lnTo>
                        <a:pt x="722" y="876"/>
                      </a:lnTo>
                      <a:lnTo>
                        <a:pt x="717" y="871"/>
                      </a:lnTo>
                      <a:lnTo>
                        <a:pt x="717" y="869"/>
                      </a:lnTo>
                      <a:lnTo>
                        <a:pt x="719" y="865"/>
                      </a:lnTo>
                      <a:lnTo>
                        <a:pt x="719" y="865"/>
                      </a:lnTo>
                      <a:lnTo>
                        <a:pt x="722" y="860"/>
                      </a:lnTo>
                      <a:lnTo>
                        <a:pt x="720" y="859"/>
                      </a:lnTo>
                      <a:lnTo>
                        <a:pt x="717" y="857"/>
                      </a:lnTo>
                      <a:lnTo>
                        <a:pt x="712" y="855"/>
                      </a:lnTo>
                      <a:lnTo>
                        <a:pt x="708" y="855"/>
                      </a:lnTo>
                      <a:lnTo>
                        <a:pt x="705" y="853"/>
                      </a:lnTo>
                      <a:lnTo>
                        <a:pt x="706" y="850"/>
                      </a:lnTo>
                      <a:lnTo>
                        <a:pt x="712" y="846"/>
                      </a:lnTo>
                      <a:lnTo>
                        <a:pt x="712" y="846"/>
                      </a:lnTo>
                      <a:lnTo>
                        <a:pt x="712" y="845"/>
                      </a:lnTo>
                      <a:lnTo>
                        <a:pt x="712" y="845"/>
                      </a:lnTo>
                      <a:lnTo>
                        <a:pt x="710" y="841"/>
                      </a:lnTo>
                      <a:lnTo>
                        <a:pt x="705" y="838"/>
                      </a:lnTo>
                      <a:lnTo>
                        <a:pt x="696" y="836"/>
                      </a:lnTo>
                      <a:lnTo>
                        <a:pt x="687" y="834"/>
                      </a:lnTo>
                      <a:lnTo>
                        <a:pt x="679" y="836"/>
                      </a:lnTo>
                      <a:lnTo>
                        <a:pt x="672" y="841"/>
                      </a:lnTo>
                      <a:lnTo>
                        <a:pt x="668" y="845"/>
                      </a:lnTo>
                      <a:lnTo>
                        <a:pt x="665" y="848"/>
                      </a:lnTo>
                      <a:lnTo>
                        <a:pt x="665" y="848"/>
                      </a:lnTo>
                      <a:lnTo>
                        <a:pt x="659" y="857"/>
                      </a:lnTo>
                      <a:lnTo>
                        <a:pt x="654" y="860"/>
                      </a:lnTo>
                      <a:lnTo>
                        <a:pt x="647" y="860"/>
                      </a:lnTo>
                      <a:lnTo>
                        <a:pt x="642" y="860"/>
                      </a:lnTo>
                      <a:lnTo>
                        <a:pt x="630" y="857"/>
                      </a:lnTo>
                      <a:lnTo>
                        <a:pt x="623" y="855"/>
                      </a:lnTo>
                      <a:lnTo>
                        <a:pt x="618" y="857"/>
                      </a:lnTo>
                      <a:lnTo>
                        <a:pt x="618" y="857"/>
                      </a:lnTo>
                      <a:lnTo>
                        <a:pt x="614" y="859"/>
                      </a:lnTo>
                      <a:lnTo>
                        <a:pt x="611" y="859"/>
                      </a:lnTo>
                      <a:lnTo>
                        <a:pt x="607" y="855"/>
                      </a:lnTo>
                      <a:lnTo>
                        <a:pt x="606" y="853"/>
                      </a:lnTo>
                      <a:lnTo>
                        <a:pt x="600" y="845"/>
                      </a:lnTo>
                      <a:lnTo>
                        <a:pt x="595" y="838"/>
                      </a:lnTo>
                      <a:lnTo>
                        <a:pt x="595" y="838"/>
                      </a:lnTo>
                      <a:lnTo>
                        <a:pt x="593" y="836"/>
                      </a:lnTo>
                      <a:lnTo>
                        <a:pt x="597" y="834"/>
                      </a:lnTo>
                      <a:lnTo>
                        <a:pt x="607" y="832"/>
                      </a:lnTo>
                      <a:lnTo>
                        <a:pt x="612" y="831"/>
                      </a:lnTo>
                      <a:lnTo>
                        <a:pt x="616" y="829"/>
                      </a:lnTo>
                      <a:lnTo>
                        <a:pt x="616" y="825"/>
                      </a:lnTo>
                      <a:lnTo>
                        <a:pt x="614" y="820"/>
                      </a:lnTo>
                      <a:lnTo>
                        <a:pt x="614" y="820"/>
                      </a:lnTo>
                      <a:lnTo>
                        <a:pt x="604" y="808"/>
                      </a:lnTo>
                      <a:lnTo>
                        <a:pt x="602" y="803"/>
                      </a:lnTo>
                      <a:lnTo>
                        <a:pt x="600" y="798"/>
                      </a:lnTo>
                      <a:lnTo>
                        <a:pt x="600" y="792"/>
                      </a:lnTo>
                      <a:lnTo>
                        <a:pt x="604" y="789"/>
                      </a:lnTo>
                      <a:lnTo>
                        <a:pt x="609" y="785"/>
                      </a:lnTo>
                      <a:lnTo>
                        <a:pt x="616" y="784"/>
                      </a:lnTo>
                      <a:lnTo>
                        <a:pt x="616" y="784"/>
                      </a:lnTo>
                      <a:lnTo>
                        <a:pt x="623" y="782"/>
                      </a:lnTo>
                      <a:lnTo>
                        <a:pt x="630" y="778"/>
                      </a:lnTo>
                      <a:lnTo>
                        <a:pt x="633" y="773"/>
                      </a:lnTo>
                      <a:lnTo>
                        <a:pt x="635" y="768"/>
                      </a:lnTo>
                      <a:lnTo>
                        <a:pt x="635" y="763"/>
                      </a:lnTo>
                      <a:lnTo>
                        <a:pt x="633" y="758"/>
                      </a:lnTo>
                      <a:lnTo>
                        <a:pt x="626" y="752"/>
                      </a:lnTo>
                      <a:lnTo>
                        <a:pt x="618" y="749"/>
                      </a:lnTo>
                      <a:lnTo>
                        <a:pt x="618" y="749"/>
                      </a:lnTo>
                      <a:lnTo>
                        <a:pt x="611" y="747"/>
                      </a:lnTo>
                      <a:lnTo>
                        <a:pt x="607" y="744"/>
                      </a:lnTo>
                      <a:lnTo>
                        <a:pt x="609" y="738"/>
                      </a:lnTo>
                      <a:lnTo>
                        <a:pt x="611" y="735"/>
                      </a:lnTo>
                      <a:lnTo>
                        <a:pt x="614" y="730"/>
                      </a:lnTo>
                      <a:lnTo>
                        <a:pt x="616" y="724"/>
                      </a:lnTo>
                      <a:lnTo>
                        <a:pt x="614" y="721"/>
                      </a:lnTo>
                      <a:lnTo>
                        <a:pt x="607" y="716"/>
                      </a:lnTo>
                      <a:lnTo>
                        <a:pt x="607" y="716"/>
                      </a:lnTo>
                      <a:lnTo>
                        <a:pt x="597" y="712"/>
                      </a:lnTo>
                      <a:lnTo>
                        <a:pt x="592" y="707"/>
                      </a:lnTo>
                      <a:lnTo>
                        <a:pt x="592" y="704"/>
                      </a:lnTo>
                      <a:lnTo>
                        <a:pt x="593" y="702"/>
                      </a:lnTo>
                      <a:lnTo>
                        <a:pt x="595" y="698"/>
                      </a:lnTo>
                      <a:lnTo>
                        <a:pt x="597" y="695"/>
                      </a:lnTo>
                      <a:lnTo>
                        <a:pt x="597" y="691"/>
                      </a:lnTo>
                      <a:lnTo>
                        <a:pt x="592" y="688"/>
                      </a:lnTo>
                      <a:lnTo>
                        <a:pt x="592" y="688"/>
                      </a:lnTo>
                      <a:lnTo>
                        <a:pt x="586" y="684"/>
                      </a:lnTo>
                      <a:lnTo>
                        <a:pt x="585" y="681"/>
                      </a:lnTo>
                      <a:lnTo>
                        <a:pt x="581" y="676"/>
                      </a:lnTo>
                      <a:lnTo>
                        <a:pt x="579" y="674"/>
                      </a:lnTo>
                      <a:lnTo>
                        <a:pt x="576" y="674"/>
                      </a:lnTo>
                      <a:lnTo>
                        <a:pt x="558" y="679"/>
                      </a:lnTo>
                      <a:lnTo>
                        <a:pt x="558" y="679"/>
                      </a:lnTo>
                      <a:lnTo>
                        <a:pt x="550" y="681"/>
                      </a:lnTo>
                      <a:lnTo>
                        <a:pt x="546" y="681"/>
                      </a:lnTo>
                      <a:lnTo>
                        <a:pt x="546" y="679"/>
                      </a:lnTo>
                      <a:lnTo>
                        <a:pt x="550" y="676"/>
                      </a:lnTo>
                      <a:lnTo>
                        <a:pt x="560" y="665"/>
                      </a:lnTo>
                      <a:lnTo>
                        <a:pt x="565" y="658"/>
                      </a:lnTo>
                      <a:lnTo>
                        <a:pt x="569" y="653"/>
                      </a:lnTo>
                      <a:lnTo>
                        <a:pt x="569" y="653"/>
                      </a:lnTo>
                      <a:lnTo>
                        <a:pt x="569" y="650"/>
                      </a:lnTo>
                      <a:lnTo>
                        <a:pt x="567" y="646"/>
                      </a:lnTo>
                      <a:lnTo>
                        <a:pt x="560" y="639"/>
                      </a:lnTo>
                      <a:lnTo>
                        <a:pt x="532" y="622"/>
                      </a:lnTo>
                      <a:lnTo>
                        <a:pt x="518" y="613"/>
                      </a:lnTo>
                      <a:lnTo>
                        <a:pt x="506" y="604"/>
                      </a:lnTo>
                      <a:lnTo>
                        <a:pt x="503" y="601"/>
                      </a:lnTo>
                      <a:lnTo>
                        <a:pt x="501" y="597"/>
                      </a:lnTo>
                      <a:lnTo>
                        <a:pt x="501" y="594"/>
                      </a:lnTo>
                      <a:lnTo>
                        <a:pt x="503" y="592"/>
                      </a:lnTo>
                      <a:lnTo>
                        <a:pt x="503" y="592"/>
                      </a:lnTo>
                      <a:lnTo>
                        <a:pt x="508" y="587"/>
                      </a:lnTo>
                      <a:lnTo>
                        <a:pt x="510" y="583"/>
                      </a:lnTo>
                      <a:lnTo>
                        <a:pt x="508" y="580"/>
                      </a:lnTo>
                      <a:lnTo>
                        <a:pt x="503" y="576"/>
                      </a:lnTo>
                      <a:lnTo>
                        <a:pt x="487" y="570"/>
                      </a:lnTo>
                      <a:lnTo>
                        <a:pt x="464" y="559"/>
                      </a:lnTo>
                      <a:lnTo>
                        <a:pt x="464" y="559"/>
                      </a:lnTo>
                      <a:lnTo>
                        <a:pt x="454" y="554"/>
                      </a:lnTo>
                      <a:lnTo>
                        <a:pt x="445" y="552"/>
                      </a:lnTo>
                      <a:lnTo>
                        <a:pt x="440" y="552"/>
                      </a:lnTo>
                      <a:lnTo>
                        <a:pt x="435" y="552"/>
                      </a:lnTo>
                      <a:lnTo>
                        <a:pt x="430" y="552"/>
                      </a:lnTo>
                      <a:lnTo>
                        <a:pt x="424" y="550"/>
                      </a:lnTo>
                      <a:lnTo>
                        <a:pt x="421" y="545"/>
                      </a:lnTo>
                      <a:lnTo>
                        <a:pt x="421" y="545"/>
                      </a:lnTo>
                      <a:lnTo>
                        <a:pt x="414" y="542"/>
                      </a:lnTo>
                      <a:lnTo>
                        <a:pt x="407" y="540"/>
                      </a:lnTo>
                      <a:lnTo>
                        <a:pt x="388" y="538"/>
                      </a:lnTo>
                      <a:lnTo>
                        <a:pt x="367" y="536"/>
                      </a:lnTo>
                      <a:lnTo>
                        <a:pt x="355" y="535"/>
                      </a:lnTo>
                      <a:lnTo>
                        <a:pt x="344" y="533"/>
                      </a:lnTo>
                      <a:lnTo>
                        <a:pt x="344" y="533"/>
                      </a:lnTo>
                      <a:lnTo>
                        <a:pt x="336" y="531"/>
                      </a:lnTo>
                      <a:lnTo>
                        <a:pt x="330" y="531"/>
                      </a:lnTo>
                      <a:lnTo>
                        <a:pt x="325" y="535"/>
                      </a:lnTo>
                      <a:lnTo>
                        <a:pt x="322" y="538"/>
                      </a:lnTo>
                      <a:lnTo>
                        <a:pt x="320" y="542"/>
                      </a:lnTo>
                      <a:lnTo>
                        <a:pt x="316" y="543"/>
                      </a:lnTo>
                      <a:lnTo>
                        <a:pt x="311" y="543"/>
                      </a:lnTo>
                      <a:lnTo>
                        <a:pt x="306" y="540"/>
                      </a:lnTo>
                      <a:lnTo>
                        <a:pt x="306" y="540"/>
                      </a:lnTo>
                      <a:lnTo>
                        <a:pt x="299" y="535"/>
                      </a:lnTo>
                      <a:lnTo>
                        <a:pt x="294" y="533"/>
                      </a:lnTo>
                      <a:lnTo>
                        <a:pt x="290" y="535"/>
                      </a:lnTo>
                      <a:lnTo>
                        <a:pt x="287" y="538"/>
                      </a:lnTo>
                      <a:lnTo>
                        <a:pt x="283" y="542"/>
                      </a:lnTo>
                      <a:lnTo>
                        <a:pt x="278" y="545"/>
                      </a:lnTo>
                      <a:lnTo>
                        <a:pt x="271" y="549"/>
                      </a:lnTo>
                      <a:lnTo>
                        <a:pt x="261" y="549"/>
                      </a:lnTo>
                      <a:lnTo>
                        <a:pt x="261" y="549"/>
                      </a:lnTo>
                      <a:lnTo>
                        <a:pt x="252" y="547"/>
                      </a:lnTo>
                      <a:lnTo>
                        <a:pt x="249" y="545"/>
                      </a:lnTo>
                      <a:lnTo>
                        <a:pt x="247" y="542"/>
                      </a:lnTo>
                      <a:lnTo>
                        <a:pt x="249" y="538"/>
                      </a:lnTo>
                      <a:lnTo>
                        <a:pt x="250" y="536"/>
                      </a:lnTo>
                      <a:lnTo>
                        <a:pt x="249" y="535"/>
                      </a:lnTo>
                      <a:lnTo>
                        <a:pt x="245" y="535"/>
                      </a:lnTo>
                      <a:lnTo>
                        <a:pt x="236" y="538"/>
                      </a:lnTo>
                      <a:lnTo>
                        <a:pt x="236" y="538"/>
                      </a:lnTo>
                      <a:lnTo>
                        <a:pt x="228" y="542"/>
                      </a:lnTo>
                      <a:lnTo>
                        <a:pt x="221" y="542"/>
                      </a:lnTo>
                      <a:lnTo>
                        <a:pt x="217" y="542"/>
                      </a:lnTo>
                      <a:lnTo>
                        <a:pt x="215" y="538"/>
                      </a:lnTo>
                      <a:lnTo>
                        <a:pt x="210" y="535"/>
                      </a:lnTo>
                      <a:lnTo>
                        <a:pt x="207" y="533"/>
                      </a:lnTo>
                      <a:lnTo>
                        <a:pt x="202" y="535"/>
                      </a:lnTo>
                      <a:lnTo>
                        <a:pt x="202" y="535"/>
                      </a:lnTo>
                      <a:lnTo>
                        <a:pt x="198" y="535"/>
                      </a:lnTo>
                      <a:lnTo>
                        <a:pt x="198" y="538"/>
                      </a:lnTo>
                      <a:lnTo>
                        <a:pt x="200" y="542"/>
                      </a:lnTo>
                      <a:lnTo>
                        <a:pt x="210" y="552"/>
                      </a:lnTo>
                      <a:lnTo>
                        <a:pt x="215" y="556"/>
                      </a:lnTo>
                      <a:lnTo>
                        <a:pt x="215" y="557"/>
                      </a:lnTo>
                      <a:lnTo>
                        <a:pt x="215" y="559"/>
                      </a:lnTo>
                      <a:lnTo>
                        <a:pt x="210" y="557"/>
                      </a:lnTo>
                      <a:lnTo>
                        <a:pt x="196" y="554"/>
                      </a:lnTo>
                      <a:lnTo>
                        <a:pt x="196" y="554"/>
                      </a:lnTo>
                      <a:lnTo>
                        <a:pt x="158" y="543"/>
                      </a:lnTo>
                      <a:lnTo>
                        <a:pt x="127" y="535"/>
                      </a:lnTo>
                      <a:lnTo>
                        <a:pt x="118" y="529"/>
                      </a:lnTo>
                      <a:lnTo>
                        <a:pt x="116" y="528"/>
                      </a:lnTo>
                      <a:lnTo>
                        <a:pt x="114" y="526"/>
                      </a:lnTo>
                      <a:lnTo>
                        <a:pt x="114" y="523"/>
                      </a:lnTo>
                      <a:lnTo>
                        <a:pt x="118" y="521"/>
                      </a:lnTo>
                      <a:lnTo>
                        <a:pt x="128" y="517"/>
                      </a:lnTo>
                      <a:lnTo>
                        <a:pt x="128" y="517"/>
                      </a:lnTo>
                      <a:lnTo>
                        <a:pt x="139" y="512"/>
                      </a:lnTo>
                      <a:lnTo>
                        <a:pt x="141" y="512"/>
                      </a:lnTo>
                      <a:lnTo>
                        <a:pt x="141" y="510"/>
                      </a:lnTo>
                      <a:lnTo>
                        <a:pt x="134" y="507"/>
                      </a:lnTo>
                      <a:lnTo>
                        <a:pt x="121" y="505"/>
                      </a:lnTo>
                      <a:lnTo>
                        <a:pt x="88" y="500"/>
                      </a:lnTo>
                      <a:lnTo>
                        <a:pt x="73" y="496"/>
                      </a:lnTo>
                      <a:lnTo>
                        <a:pt x="61" y="491"/>
                      </a:lnTo>
                      <a:lnTo>
                        <a:pt x="61" y="491"/>
                      </a:lnTo>
                      <a:lnTo>
                        <a:pt x="55" y="488"/>
                      </a:lnTo>
                      <a:lnTo>
                        <a:pt x="54" y="486"/>
                      </a:lnTo>
                      <a:lnTo>
                        <a:pt x="54" y="482"/>
                      </a:lnTo>
                      <a:lnTo>
                        <a:pt x="54" y="481"/>
                      </a:lnTo>
                      <a:lnTo>
                        <a:pt x="62" y="475"/>
                      </a:lnTo>
                      <a:lnTo>
                        <a:pt x="74" y="472"/>
                      </a:lnTo>
                      <a:lnTo>
                        <a:pt x="92" y="467"/>
                      </a:lnTo>
                      <a:lnTo>
                        <a:pt x="111" y="465"/>
                      </a:lnTo>
                      <a:lnTo>
                        <a:pt x="151" y="460"/>
                      </a:lnTo>
                      <a:lnTo>
                        <a:pt x="151" y="460"/>
                      </a:lnTo>
                      <a:lnTo>
                        <a:pt x="217" y="456"/>
                      </a:lnTo>
                      <a:lnTo>
                        <a:pt x="228" y="455"/>
                      </a:lnTo>
                      <a:lnTo>
                        <a:pt x="235" y="453"/>
                      </a:lnTo>
                      <a:lnTo>
                        <a:pt x="238" y="449"/>
                      </a:lnTo>
                      <a:lnTo>
                        <a:pt x="236" y="444"/>
                      </a:lnTo>
                      <a:lnTo>
                        <a:pt x="236" y="444"/>
                      </a:lnTo>
                      <a:lnTo>
                        <a:pt x="233" y="441"/>
                      </a:lnTo>
                      <a:lnTo>
                        <a:pt x="226" y="439"/>
                      </a:lnTo>
                      <a:lnTo>
                        <a:pt x="217" y="441"/>
                      </a:lnTo>
                      <a:lnTo>
                        <a:pt x="207" y="442"/>
                      </a:lnTo>
                      <a:lnTo>
                        <a:pt x="182" y="448"/>
                      </a:lnTo>
                      <a:lnTo>
                        <a:pt x="167" y="449"/>
                      </a:lnTo>
                      <a:lnTo>
                        <a:pt x="153" y="449"/>
                      </a:lnTo>
                      <a:lnTo>
                        <a:pt x="153" y="449"/>
                      </a:lnTo>
                      <a:lnTo>
                        <a:pt x="127" y="449"/>
                      </a:lnTo>
                      <a:lnTo>
                        <a:pt x="108" y="448"/>
                      </a:lnTo>
                      <a:lnTo>
                        <a:pt x="101" y="446"/>
                      </a:lnTo>
                      <a:lnTo>
                        <a:pt x="94" y="444"/>
                      </a:lnTo>
                      <a:lnTo>
                        <a:pt x="88" y="441"/>
                      </a:lnTo>
                      <a:lnTo>
                        <a:pt x="85" y="435"/>
                      </a:lnTo>
                      <a:lnTo>
                        <a:pt x="85" y="435"/>
                      </a:lnTo>
                      <a:lnTo>
                        <a:pt x="80" y="432"/>
                      </a:lnTo>
                      <a:lnTo>
                        <a:pt x="76" y="430"/>
                      </a:lnTo>
                      <a:lnTo>
                        <a:pt x="67" y="432"/>
                      </a:lnTo>
                      <a:lnTo>
                        <a:pt x="59" y="432"/>
                      </a:lnTo>
                      <a:lnTo>
                        <a:pt x="54" y="430"/>
                      </a:lnTo>
                      <a:lnTo>
                        <a:pt x="50" y="427"/>
                      </a:lnTo>
                      <a:lnTo>
                        <a:pt x="50" y="427"/>
                      </a:lnTo>
                      <a:lnTo>
                        <a:pt x="45" y="423"/>
                      </a:lnTo>
                      <a:lnTo>
                        <a:pt x="41" y="422"/>
                      </a:lnTo>
                      <a:lnTo>
                        <a:pt x="33" y="422"/>
                      </a:lnTo>
                      <a:lnTo>
                        <a:pt x="24" y="418"/>
                      </a:lnTo>
                      <a:lnTo>
                        <a:pt x="17" y="416"/>
                      </a:lnTo>
                      <a:lnTo>
                        <a:pt x="10" y="409"/>
                      </a:lnTo>
                      <a:lnTo>
                        <a:pt x="10" y="409"/>
                      </a:lnTo>
                      <a:lnTo>
                        <a:pt x="3" y="402"/>
                      </a:lnTo>
                      <a:lnTo>
                        <a:pt x="0" y="397"/>
                      </a:lnTo>
                      <a:lnTo>
                        <a:pt x="0" y="390"/>
                      </a:lnTo>
                      <a:lnTo>
                        <a:pt x="5" y="383"/>
                      </a:lnTo>
                      <a:lnTo>
                        <a:pt x="13" y="378"/>
                      </a:lnTo>
                      <a:lnTo>
                        <a:pt x="27" y="373"/>
                      </a:lnTo>
                      <a:lnTo>
                        <a:pt x="48" y="368"/>
                      </a:lnTo>
                      <a:lnTo>
                        <a:pt x="73" y="362"/>
                      </a:lnTo>
                      <a:lnTo>
                        <a:pt x="73" y="362"/>
                      </a:lnTo>
                      <a:lnTo>
                        <a:pt x="97" y="359"/>
                      </a:lnTo>
                      <a:lnTo>
                        <a:pt x="113" y="355"/>
                      </a:lnTo>
                      <a:lnTo>
                        <a:pt x="123" y="350"/>
                      </a:lnTo>
                      <a:lnTo>
                        <a:pt x="130" y="347"/>
                      </a:lnTo>
                      <a:lnTo>
                        <a:pt x="135" y="343"/>
                      </a:lnTo>
                      <a:lnTo>
                        <a:pt x="141" y="340"/>
                      </a:lnTo>
                      <a:lnTo>
                        <a:pt x="149" y="338"/>
                      </a:lnTo>
                      <a:lnTo>
                        <a:pt x="163" y="334"/>
                      </a:lnTo>
                      <a:lnTo>
                        <a:pt x="163" y="334"/>
                      </a:lnTo>
                      <a:lnTo>
                        <a:pt x="179" y="333"/>
                      </a:lnTo>
                      <a:lnTo>
                        <a:pt x="195" y="333"/>
                      </a:lnTo>
                      <a:lnTo>
                        <a:pt x="221" y="334"/>
                      </a:lnTo>
                      <a:lnTo>
                        <a:pt x="233" y="334"/>
                      </a:lnTo>
                      <a:lnTo>
                        <a:pt x="243" y="334"/>
                      </a:lnTo>
                      <a:lnTo>
                        <a:pt x="252" y="329"/>
                      </a:lnTo>
                      <a:lnTo>
                        <a:pt x="261" y="322"/>
                      </a:lnTo>
                      <a:lnTo>
                        <a:pt x="261" y="322"/>
                      </a:lnTo>
                      <a:lnTo>
                        <a:pt x="269" y="314"/>
                      </a:lnTo>
                      <a:lnTo>
                        <a:pt x="275" y="303"/>
                      </a:lnTo>
                      <a:lnTo>
                        <a:pt x="276" y="293"/>
                      </a:lnTo>
                      <a:lnTo>
                        <a:pt x="278" y="284"/>
                      </a:lnTo>
                      <a:lnTo>
                        <a:pt x="276" y="277"/>
                      </a:lnTo>
                      <a:lnTo>
                        <a:pt x="275" y="270"/>
                      </a:lnTo>
                      <a:lnTo>
                        <a:pt x="269" y="267"/>
                      </a:lnTo>
                      <a:lnTo>
                        <a:pt x="262" y="267"/>
                      </a:lnTo>
                      <a:lnTo>
                        <a:pt x="262" y="267"/>
                      </a:lnTo>
                      <a:lnTo>
                        <a:pt x="243" y="268"/>
                      </a:lnTo>
                      <a:lnTo>
                        <a:pt x="222" y="268"/>
                      </a:lnTo>
                      <a:lnTo>
                        <a:pt x="212" y="267"/>
                      </a:lnTo>
                      <a:lnTo>
                        <a:pt x="203" y="265"/>
                      </a:lnTo>
                      <a:lnTo>
                        <a:pt x="196" y="261"/>
                      </a:lnTo>
                      <a:lnTo>
                        <a:pt x="191" y="258"/>
                      </a:lnTo>
                      <a:lnTo>
                        <a:pt x="191" y="258"/>
                      </a:lnTo>
                      <a:lnTo>
                        <a:pt x="189" y="254"/>
                      </a:lnTo>
                      <a:lnTo>
                        <a:pt x="189" y="253"/>
                      </a:lnTo>
                      <a:lnTo>
                        <a:pt x="193" y="246"/>
                      </a:lnTo>
                      <a:lnTo>
                        <a:pt x="202" y="240"/>
                      </a:lnTo>
                      <a:lnTo>
                        <a:pt x="212" y="235"/>
                      </a:lnTo>
                      <a:lnTo>
                        <a:pt x="238" y="221"/>
                      </a:lnTo>
                      <a:lnTo>
                        <a:pt x="264" y="207"/>
                      </a:lnTo>
                      <a:lnTo>
                        <a:pt x="264" y="207"/>
                      </a:lnTo>
                      <a:lnTo>
                        <a:pt x="276" y="200"/>
                      </a:lnTo>
                      <a:lnTo>
                        <a:pt x="290" y="193"/>
                      </a:lnTo>
                      <a:lnTo>
                        <a:pt x="304" y="188"/>
                      </a:lnTo>
                      <a:lnTo>
                        <a:pt x="320" y="185"/>
                      </a:lnTo>
                      <a:lnTo>
                        <a:pt x="336" y="183"/>
                      </a:lnTo>
                      <a:lnTo>
                        <a:pt x="353" y="183"/>
                      </a:lnTo>
                      <a:lnTo>
                        <a:pt x="370" y="185"/>
                      </a:lnTo>
                      <a:lnTo>
                        <a:pt x="388" y="188"/>
                      </a:lnTo>
                      <a:lnTo>
                        <a:pt x="388" y="188"/>
                      </a:lnTo>
                      <a:lnTo>
                        <a:pt x="398" y="192"/>
                      </a:lnTo>
                      <a:lnTo>
                        <a:pt x="405" y="190"/>
                      </a:lnTo>
                      <a:lnTo>
                        <a:pt x="412" y="186"/>
                      </a:lnTo>
                      <a:lnTo>
                        <a:pt x="416" y="183"/>
                      </a:lnTo>
                      <a:lnTo>
                        <a:pt x="417" y="176"/>
                      </a:lnTo>
                      <a:lnTo>
                        <a:pt x="417" y="169"/>
                      </a:lnTo>
                      <a:lnTo>
                        <a:pt x="414" y="162"/>
                      </a:lnTo>
                      <a:lnTo>
                        <a:pt x="409" y="153"/>
                      </a:lnTo>
                      <a:lnTo>
                        <a:pt x="409" y="153"/>
                      </a:lnTo>
                      <a:lnTo>
                        <a:pt x="405" y="148"/>
                      </a:lnTo>
                      <a:lnTo>
                        <a:pt x="405" y="145"/>
                      </a:lnTo>
                      <a:lnTo>
                        <a:pt x="405" y="141"/>
                      </a:lnTo>
                      <a:lnTo>
                        <a:pt x="410" y="136"/>
                      </a:lnTo>
                      <a:lnTo>
                        <a:pt x="421" y="131"/>
                      </a:lnTo>
                      <a:lnTo>
                        <a:pt x="437" y="126"/>
                      </a:lnTo>
                      <a:lnTo>
                        <a:pt x="458" y="122"/>
                      </a:lnTo>
                      <a:lnTo>
                        <a:pt x="485" y="117"/>
                      </a:lnTo>
                      <a:lnTo>
                        <a:pt x="522" y="113"/>
                      </a:lnTo>
                      <a:lnTo>
                        <a:pt x="522" y="113"/>
                      </a:lnTo>
                      <a:lnTo>
                        <a:pt x="557" y="108"/>
                      </a:lnTo>
                      <a:lnTo>
                        <a:pt x="585" y="103"/>
                      </a:lnTo>
                      <a:lnTo>
                        <a:pt x="625" y="94"/>
                      </a:lnTo>
                      <a:lnTo>
                        <a:pt x="637" y="92"/>
                      </a:lnTo>
                      <a:lnTo>
                        <a:pt x="649" y="94"/>
                      </a:lnTo>
                      <a:lnTo>
                        <a:pt x="658" y="99"/>
                      </a:lnTo>
                      <a:lnTo>
                        <a:pt x="668" y="108"/>
                      </a:lnTo>
                      <a:lnTo>
                        <a:pt x="668" y="108"/>
                      </a:lnTo>
                      <a:lnTo>
                        <a:pt x="672" y="115"/>
                      </a:lnTo>
                      <a:lnTo>
                        <a:pt x="673" y="120"/>
                      </a:lnTo>
                      <a:lnTo>
                        <a:pt x="675" y="134"/>
                      </a:lnTo>
                      <a:lnTo>
                        <a:pt x="675" y="146"/>
                      </a:lnTo>
                      <a:lnTo>
                        <a:pt x="672" y="157"/>
                      </a:lnTo>
                      <a:lnTo>
                        <a:pt x="670" y="166"/>
                      </a:lnTo>
                      <a:lnTo>
                        <a:pt x="680" y="150"/>
                      </a:lnTo>
                      <a:lnTo>
                        <a:pt x="680" y="150"/>
                      </a:lnTo>
                      <a:lnTo>
                        <a:pt x="687" y="141"/>
                      </a:lnTo>
                      <a:lnTo>
                        <a:pt x="694" y="136"/>
                      </a:lnTo>
                      <a:lnTo>
                        <a:pt x="701" y="132"/>
                      </a:lnTo>
                      <a:lnTo>
                        <a:pt x="708" y="129"/>
                      </a:lnTo>
                      <a:lnTo>
                        <a:pt x="717" y="129"/>
                      </a:lnTo>
                      <a:lnTo>
                        <a:pt x="726" y="129"/>
                      </a:lnTo>
                      <a:lnTo>
                        <a:pt x="741" y="131"/>
                      </a:lnTo>
                      <a:lnTo>
                        <a:pt x="754" y="134"/>
                      </a:lnTo>
                      <a:lnTo>
                        <a:pt x="764" y="139"/>
                      </a:lnTo>
                      <a:lnTo>
                        <a:pt x="771" y="139"/>
                      </a:lnTo>
                      <a:lnTo>
                        <a:pt x="771" y="139"/>
                      </a:lnTo>
                      <a:lnTo>
                        <a:pt x="771" y="138"/>
                      </a:lnTo>
                      <a:lnTo>
                        <a:pt x="771" y="138"/>
                      </a:lnTo>
                      <a:lnTo>
                        <a:pt x="767" y="134"/>
                      </a:lnTo>
                      <a:lnTo>
                        <a:pt x="767" y="131"/>
                      </a:lnTo>
                      <a:lnTo>
                        <a:pt x="771" y="129"/>
                      </a:lnTo>
                      <a:lnTo>
                        <a:pt x="773" y="127"/>
                      </a:lnTo>
                      <a:lnTo>
                        <a:pt x="783" y="127"/>
                      </a:lnTo>
                      <a:lnTo>
                        <a:pt x="794" y="129"/>
                      </a:lnTo>
                      <a:lnTo>
                        <a:pt x="802" y="131"/>
                      </a:lnTo>
                      <a:lnTo>
                        <a:pt x="807" y="131"/>
                      </a:lnTo>
                      <a:lnTo>
                        <a:pt x="809" y="129"/>
                      </a:lnTo>
                      <a:lnTo>
                        <a:pt x="807" y="127"/>
                      </a:lnTo>
                      <a:lnTo>
                        <a:pt x="795" y="120"/>
                      </a:lnTo>
                      <a:lnTo>
                        <a:pt x="795" y="120"/>
                      </a:lnTo>
                      <a:lnTo>
                        <a:pt x="771" y="103"/>
                      </a:lnTo>
                      <a:lnTo>
                        <a:pt x="764" y="96"/>
                      </a:lnTo>
                      <a:lnTo>
                        <a:pt x="760" y="92"/>
                      </a:lnTo>
                      <a:lnTo>
                        <a:pt x="760" y="91"/>
                      </a:lnTo>
                      <a:lnTo>
                        <a:pt x="762" y="89"/>
                      </a:lnTo>
                      <a:lnTo>
                        <a:pt x="769" y="85"/>
                      </a:lnTo>
                      <a:lnTo>
                        <a:pt x="780" y="85"/>
                      </a:lnTo>
                      <a:lnTo>
                        <a:pt x="797" y="85"/>
                      </a:lnTo>
                      <a:lnTo>
                        <a:pt x="797" y="85"/>
                      </a:lnTo>
                      <a:lnTo>
                        <a:pt x="814" y="87"/>
                      </a:lnTo>
                      <a:lnTo>
                        <a:pt x="830" y="91"/>
                      </a:lnTo>
                      <a:lnTo>
                        <a:pt x="858" y="98"/>
                      </a:lnTo>
                      <a:lnTo>
                        <a:pt x="884" y="108"/>
                      </a:lnTo>
                      <a:lnTo>
                        <a:pt x="900" y="112"/>
                      </a:lnTo>
                      <a:lnTo>
                        <a:pt x="915" y="115"/>
                      </a:lnTo>
                      <a:lnTo>
                        <a:pt x="915" y="115"/>
                      </a:lnTo>
                      <a:lnTo>
                        <a:pt x="931" y="119"/>
                      </a:lnTo>
                      <a:lnTo>
                        <a:pt x="943" y="122"/>
                      </a:lnTo>
                      <a:lnTo>
                        <a:pt x="952" y="127"/>
                      </a:lnTo>
                      <a:lnTo>
                        <a:pt x="959" y="132"/>
                      </a:lnTo>
                      <a:lnTo>
                        <a:pt x="964" y="136"/>
                      </a:lnTo>
                      <a:lnTo>
                        <a:pt x="969" y="139"/>
                      </a:lnTo>
                      <a:lnTo>
                        <a:pt x="976" y="143"/>
                      </a:lnTo>
                      <a:lnTo>
                        <a:pt x="985" y="143"/>
                      </a:lnTo>
                      <a:lnTo>
                        <a:pt x="985" y="143"/>
                      </a:lnTo>
                      <a:lnTo>
                        <a:pt x="990" y="141"/>
                      </a:lnTo>
                      <a:lnTo>
                        <a:pt x="992" y="139"/>
                      </a:lnTo>
                      <a:lnTo>
                        <a:pt x="994" y="138"/>
                      </a:lnTo>
                      <a:lnTo>
                        <a:pt x="994" y="134"/>
                      </a:lnTo>
                      <a:lnTo>
                        <a:pt x="994" y="129"/>
                      </a:lnTo>
                      <a:lnTo>
                        <a:pt x="992" y="122"/>
                      </a:lnTo>
                      <a:lnTo>
                        <a:pt x="989" y="115"/>
                      </a:lnTo>
                      <a:lnTo>
                        <a:pt x="990" y="108"/>
                      </a:lnTo>
                      <a:lnTo>
                        <a:pt x="992" y="106"/>
                      </a:lnTo>
                      <a:lnTo>
                        <a:pt x="994" y="105"/>
                      </a:lnTo>
                      <a:lnTo>
                        <a:pt x="999" y="103"/>
                      </a:lnTo>
                      <a:lnTo>
                        <a:pt x="1004" y="101"/>
                      </a:lnTo>
                      <a:lnTo>
                        <a:pt x="1004" y="101"/>
                      </a:lnTo>
                      <a:lnTo>
                        <a:pt x="1013" y="99"/>
                      </a:lnTo>
                      <a:lnTo>
                        <a:pt x="1016" y="98"/>
                      </a:lnTo>
                      <a:lnTo>
                        <a:pt x="1016" y="96"/>
                      </a:lnTo>
                      <a:lnTo>
                        <a:pt x="1013" y="92"/>
                      </a:lnTo>
                      <a:lnTo>
                        <a:pt x="999" y="87"/>
                      </a:lnTo>
                      <a:lnTo>
                        <a:pt x="982" y="80"/>
                      </a:lnTo>
                      <a:lnTo>
                        <a:pt x="962" y="73"/>
                      </a:lnTo>
                      <a:lnTo>
                        <a:pt x="950" y="68"/>
                      </a:lnTo>
                      <a:lnTo>
                        <a:pt x="949" y="66"/>
                      </a:lnTo>
                      <a:lnTo>
                        <a:pt x="950" y="65"/>
                      </a:lnTo>
                      <a:lnTo>
                        <a:pt x="966" y="65"/>
                      </a:lnTo>
                      <a:lnTo>
                        <a:pt x="966" y="65"/>
                      </a:lnTo>
                      <a:lnTo>
                        <a:pt x="1056" y="68"/>
                      </a:lnTo>
                      <a:lnTo>
                        <a:pt x="1090" y="72"/>
                      </a:lnTo>
                      <a:lnTo>
                        <a:pt x="1103" y="73"/>
                      </a:lnTo>
                      <a:lnTo>
                        <a:pt x="1116" y="77"/>
                      </a:lnTo>
                      <a:lnTo>
                        <a:pt x="1116" y="77"/>
                      </a:lnTo>
                      <a:lnTo>
                        <a:pt x="1128" y="79"/>
                      </a:lnTo>
                      <a:lnTo>
                        <a:pt x="1138" y="80"/>
                      </a:lnTo>
                      <a:lnTo>
                        <a:pt x="1154" y="80"/>
                      </a:lnTo>
                      <a:lnTo>
                        <a:pt x="1159" y="79"/>
                      </a:lnTo>
                      <a:lnTo>
                        <a:pt x="1159" y="77"/>
                      </a:lnTo>
                      <a:lnTo>
                        <a:pt x="1159" y="77"/>
                      </a:lnTo>
                      <a:lnTo>
                        <a:pt x="1154" y="73"/>
                      </a:lnTo>
                      <a:lnTo>
                        <a:pt x="1144" y="72"/>
                      </a:lnTo>
                      <a:lnTo>
                        <a:pt x="1144" y="72"/>
                      </a:lnTo>
                      <a:lnTo>
                        <a:pt x="1114" y="66"/>
                      </a:lnTo>
                      <a:lnTo>
                        <a:pt x="1084" y="63"/>
                      </a:lnTo>
                      <a:lnTo>
                        <a:pt x="1053" y="59"/>
                      </a:lnTo>
                      <a:lnTo>
                        <a:pt x="1018" y="58"/>
                      </a:lnTo>
                      <a:lnTo>
                        <a:pt x="1018" y="58"/>
                      </a:lnTo>
                      <a:lnTo>
                        <a:pt x="983" y="58"/>
                      </a:lnTo>
                      <a:lnTo>
                        <a:pt x="950" y="58"/>
                      </a:lnTo>
                      <a:lnTo>
                        <a:pt x="926" y="58"/>
                      </a:lnTo>
                      <a:lnTo>
                        <a:pt x="917" y="56"/>
                      </a:lnTo>
                      <a:lnTo>
                        <a:pt x="912" y="52"/>
                      </a:lnTo>
                      <a:lnTo>
                        <a:pt x="912" y="52"/>
                      </a:lnTo>
                      <a:lnTo>
                        <a:pt x="912" y="51"/>
                      </a:lnTo>
                      <a:lnTo>
                        <a:pt x="914" y="49"/>
                      </a:lnTo>
                      <a:lnTo>
                        <a:pt x="917" y="45"/>
                      </a:lnTo>
                      <a:lnTo>
                        <a:pt x="926" y="44"/>
                      </a:lnTo>
                      <a:lnTo>
                        <a:pt x="938" y="42"/>
                      </a:lnTo>
                      <a:lnTo>
                        <a:pt x="969" y="38"/>
                      </a:lnTo>
                      <a:lnTo>
                        <a:pt x="1006" y="33"/>
                      </a:lnTo>
                      <a:lnTo>
                        <a:pt x="1006" y="33"/>
                      </a:lnTo>
                      <a:lnTo>
                        <a:pt x="1023" y="32"/>
                      </a:lnTo>
                      <a:lnTo>
                        <a:pt x="1039" y="30"/>
                      </a:lnTo>
                      <a:lnTo>
                        <a:pt x="1055" y="32"/>
                      </a:lnTo>
                      <a:lnTo>
                        <a:pt x="1069" y="33"/>
                      </a:lnTo>
                      <a:lnTo>
                        <a:pt x="1081" y="35"/>
                      </a:lnTo>
                      <a:lnTo>
                        <a:pt x="1093" y="40"/>
                      </a:lnTo>
                      <a:lnTo>
                        <a:pt x="1112" y="49"/>
                      </a:lnTo>
                      <a:lnTo>
                        <a:pt x="1112" y="49"/>
                      </a:lnTo>
                      <a:lnTo>
                        <a:pt x="1123" y="52"/>
                      </a:lnTo>
                      <a:lnTo>
                        <a:pt x="1135" y="56"/>
                      </a:lnTo>
                      <a:lnTo>
                        <a:pt x="1147" y="56"/>
                      </a:lnTo>
                      <a:lnTo>
                        <a:pt x="1159" y="56"/>
                      </a:lnTo>
                      <a:lnTo>
                        <a:pt x="1180" y="52"/>
                      </a:lnTo>
                      <a:lnTo>
                        <a:pt x="1194" y="49"/>
                      </a:lnTo>
                      <a:lnTo>
                        <a:pt x="1194" y="49"/>
                      </a:lnTo>
                      <a:lnTo>
                        <a:pt x="1199" y="47"/>
                      </a:lnTo>
                      <a:lnTo>
                        <a:pt x="1208" y="45"/>
                      </a:lnTo>
                      <a:lnTo>
                        <a:pt x="1224" y="42"/>
                      </a:lnTo>
                      <a:lnTo>
                        <a:pt x="1229" y="42"/>
                      </a:lnTo>
                      <a:lnTo>
                        <a:pt x="1232" y="40"/>
                      </a:lnTo>
                      <a:lnTo>
                        <a:pt x="1229" y="38"/>
                      </a:lnTo>
                      <a:lnTo>
                        <a:pt x="1220" y="37"/>
                      </a:lnTo>
                      <a:lnTo>
                        <a:pt x="1220" y="37"/>
                      </a:lnTo>
                      <a:lnTo>
                        <a:pt x="1208" y="35"/>
                      </a:lnTo>
                      <a:lnTo>
                        <a:pt x="1199" y="32"/>
                      </a:lnTo>
                      <a:lnTo>
                        <a:pt x="1192" y="28"/>
                      </a:lnTo>
                      <a:lnTo>
                        <a:pt x="1189" y="25"/>
                      </a:lnTo>
                      <a:lnTo>
                        <a:pt x="1189" y="19"/>
                      </a:lnTo>
                      <a:lnTo>
                        <a:pt x="1191" y="18"/>
                      </a:lnTo>
                      <a:lnTo>
                        <a:pt x="1196" y="16"/>
                      </a:lnTo>
                      <a:lnTo>
                        <a:pt x="1204" y="14"/>
                      </a:lnTo>
                      <a:lnTo>
                        <a:pt x="1204" y="14"/>
                      </a:lnTo>
                      <a:lnTo>
                        <a:pt x="1218" y="14"/>
                      </a:lnTo>
                      <a:lnTo>
                        <a:pt x="1227" y="11"/>
                      </a:lnTo>
                      <a:lnTo>
                        <a:pt x="1238" y="11"/>
                      </a:lnTo>
                      <a:lnTo>
                        <a:pt x="1255" y="14"/>
                      </a:lnTo>
                      <a:lnTo>
                        <a:pt x="1255" y="14"/>
                      </a:lnTo>
                      <a:lnTo>
                        <a:pt x="1264" y="16"/>
                      </a:lnTo>
                      <a:lnTo>
                        <a:pt x="1269" y="16"/>
                      </a:lnTo>
                      <a:lnTo>
                        <a:pt x="1269" y="14"/>
                      </a:lnTo>
                      <a:lnTo>
                        <a:pt x="1269" y="12"/>
                      </a:lnTo>
                      <a:lnTo>
                        <a:pt x="1271" y="9"/>
                      </a:lnTo>
                      <a:lnTo>
                        <a:pt x="1278" y="7"/>
                      </a:lnTo>
                      <a:lnTo>
                        <a:pt x="1288" y="5"/>
                      </a:lnTo>
                      <a:lnTo>
                        <a:pt x="1309" y="5"/>
                      </a:lnTo>
                      <a:lnTo>
                        <a:pt x="1309" y="5"/>
                      </a:lnTo>
                      <a:lnTo>
                        <a:pt x="1332" y="5"/>
                      </a:lnTo>
                      <a:lnTo>
                        <a:pt x="1351" y="5"/>
                      </a:lnTo>
                      <a:lnTo>
                        <a:pt x="1387" y="2"/>
                      </a:lnTo>
                      <a:lnTo>
                        <a:pt x="1408" y="0"/>
                      </a:lnTo>
                      <a:lnTo>
                        <a:pt x="1434" y="0"/>
                      </a:lnTo>
                      <a:lnTo>
                        <a:pt x="1467" y="2"/>
                      </a:lnTo>
                      <a:lnTo>
                        <a:pt x="1507" y="5"/>
                      </a:lnTo>
                      <a:lnTo>
                        <a:pt x="1507" y="5"/>
                      </a:lnTo>
                      <a:lnTo>
                        <a:pt x="1565" y="11"/>
                      </a:lnTo>
                      <a:lnTo>
                        <a:pt x="1617" y="18"/>
                      </a:lnTo>
                      <a:lnTo>
                        <a:pt x="1638" y="21"/>
                      </a:lnTo>
                      <a:lnTo>
                        <a:pt x="1652" y="25"/>
                      </a:lnTo>
                      <a:lnTo>
                        <a:pt x="1655" y="25"/>
                      </a:lnTo>
                      <a:lnTo>
                        <a:pt x="1655" y="26"/>
                      </a:lnTo>
                      <a:lnTo>
                        <a:pt x="1654" y="28"/>
                      </a:lnTo>
                      <a:lnTo>
                        <a:pt x="1650" y="30"/>
                      </a:lnTo>
                      <a:lnTo>
                        <a:pt x="1650" y="30"/>
                      </a:lnTo>
                      <a:lnTo>
                        <a:pt x="1612" y="33"/>
                      </a:lnTo>
                      <a:lnTo>
                        <a:pt x="1561" y="35"/>
                      </a:lnTo>
                      <a:lnTo>
                        <a:pt x="1511" y="38"/>
                      </a:lnTo>
                      <a:lnTo>
                        <a:pt x="1473" y="40"/>
                      </a:lnTo>
                      <a:lnTo>
                        <a:pt x="1473" y="40"/>
                      </a:lnTo>
                      <a:lnTo>
                        <a:pt x="1417" y="45"/>
                      </a:lnTo>
                      <a:lnTo>
                        <a:pt x="1408" y="47"/>
                      </a:lnTo>
                      <a:lnTo>
                        <a:pt x="1406" y="49"/>
                      </a:lnTo>
                      <a:lnTo>
                        <a:pt x="1412" y="51"/>
                      </a:lnTo>
                      <a:lnTo>
                        <a:pt x="1427" y="52"/>
                      </a:lnTo>
                      <a:lnTo>
                        <a:pt x="1427" y="52"/>
                      </a:lnTo>
                      <a:lnTo>
                        <a:pt x="1445" y="52"/>
                      </a:lnTo>
                      <a:lnTo>
                        <a:pt x="1460" y="52"/>
                      </a:lnTo>
                      <a:lnTo>
                        <a:pt x="1487" y="47"/>
                      </a:lnTo>
                      <a:lnTo>
                        <a:pt x="1500" y="44"/>
                      </a:lnTo>
                      <a:lnTo>
                        <a:pt x="1518" y="42"/>
                      </a:lnTo>
                      <a:lnTo>
                        <a:pt x="1537" y="42"/>
                      </a:lnTo>
                      <a:lnTo>
                        <a:pt x="1561" y="44"/>
                      </a:lnTo>
                      <a:lnTo>
                        <a:pt x="1561" y="44"/>
                      </a:lnTo>
                      <a:lnTo>
                        <a:pt x="1586" y="44"/>
                      </a:lnTo>
                      <a:lnTo>
                        <a:pt x="1607" y="44"/>
                      </a:lnTo>
                      <a:lnTo>
                        <a:pt x="1626" y="42"/>
                      </a:lnTo>
                      <a:lnTo>
                        <a:pt x="1640" y="38"/>
                      </a:lnTo>
                      <a:lnTo>
                        <a:pt x="1654" y="37"/>
                      </a:lnTo>
                      <a:lnTo>
                        <a:pt x="1664" y="35"/>
                      </a:lnTo>
                      <a:lnTo>
                        <a:pt x="1673" y="37"/>
                      </a:lnTo>
                      <a:lnTo>
                        <a:pt x="1682" y="40"/>
                      </a:lnTo>
                      <a:lnTo>
                        <a:pt x="1682" y="40"/>
                      </a:lnTo>
                      <a:lnTo>
                        <a:pt x="1685" y="42"/>
                      </a:lnTo>
                      <a:lnTo>
                        <a:pt x="1687" y="45"/>
                      </a:lnTo>
                      <a:lnTo>
                        <a:pt x="1687" y="49"/>
                      </a:lnTo>
                      <a:lnTo>
                        <a:pt x="1685" y="51"/>
                      </a:lnTo>
                      <a:lnTo>
                        <a:pt x="1680" y="56"/>
                      </a:lnTo>
                      <a:lnTo>
                        <a:pt x="1673" y="59"/>
                      </a:lnTo>
                      <a:lnTo>
                        <a:pt x="1668" y="63"/>
                      </a:lnTo>
                      <a:lnTo>
                        <a:pt x="1666" y="65"/>
                      </a:lnTo>
                      <a:lnTo>
                        <a:pt x="1683" y="63"/>
                      </a:lnTo>
                      <a:lnTo>
                        <a:pt x="1683" y="63"/>
                      </a:lnTo>
                      <a:lnTo>
                        <a:pt x="1699" y="59"/>
                      </a:lnTo>
                      <a:lnTo>
                        <a:pt x="1715" y="59"/>
                      </a:lnTo>
                      <a:lnTo>
                        <a:pt x="1730" y="59"/>
                      </a:lnTo>
                      <a:lnTo>
                        <a:pt x="1744" y="63"/>
                      </a:lnTo>
                      <a:lnTo>
                        <a:pt x="1770" y="68"/>
                      </a:lnTo>
                      <a:lnTo>
                        <a:pt x="1795" y="73"/>
                      </a:lnTo>
                      <a:lnTo>
                        <a:pt x="1795" y="73"/>
                      </a:lnTo>
                      <a:lnTo>
                        <a:pt x="1802" y="77"/>
                      </a:lnTo>
                      <a:lnTo>
                        <a:pt x="1803" y="79"/>
                      </a:lnTo>
                      <a:lnTo>
                        <a:pt x="1803" y="80"/>
                      </a:lnTo>
                      <a:lnTo>
                        <a:pt x="1798" y="84"/>
                      </a:lnTo>
                      <a:lnTo>
                        <a:pt x="1788" y="89"/>
                      </a:lnTo>
                      <a:lnTo>
                        <a:pt x="1758" y="99"/>
                      </a:lnTo>
                      <a:lnTo>
                        <a:pt x="1727" y="106"/>
                      </a:lnTo>
                      <a:lnTo>
                        <a:pt x="1727" y="106"/>
                      </a:lnTo>
                      <a:lnTo>
                        <a:pt x="1702" y="112"/>
                      </a:lnTo>
                      <a:lnTo>
                        <a:pt x="1676" y="113"/>
                      </a:lnTo>
                      <a:lnTo>
                        <a:pt x="1622" y="113"/>
                      </a:lnTo>
                      <a:lnTo>
                        <a:pt x="1568" y="113"/>
                      </a:lnTo>
                      <a:lnTo>
                        <a:pt x="1542" y="113"/>
                      </a:lnTo>
                      <a:lnTo>
                        <a:pt x="1518" y="117"/>
                      </a:lnTo>
                      <a:lnTo>
                        <a:pt x="1518" y="117"/>
                      </a:lnTo>
                      <a:lnTo>
                        <a:pt x="1467" y="124"/>
                      </a:lnTo>
                      <a:lnTo>
                        <a:pt x="1424" y="132"/>
                      </a:lnTo>
                      <a:lnTo>
                        <a:pt x="1408" y="136"/>
                      </a:lnTo>
                      <a:lnTo>
                        <a:pt x="1398" y="141"/>
                      </a:lnTo>
                      <a:lnTo>
                        <a:pt x="1396" y="143"/>
                      </a:lnTo>
                      <a:lnTo>
                        <a:pt x="1394" y="146"/>
                      </a:lnTo>
                      <a:lnTo>
                        <a:pt x="1396" y="148"/>
                      </a:lnTo>
                      <a:lnTo>
                        <a:pt x="1399" y="152"/>
                      </a:lnTo>
                      <a:lnTo>
                        <a:pt x="1399" y="152"/>
                      </a:lnTo>
                      <a:lnTo>
                        <a:pt x="1403" y="152"/>
                      </a:lnTo>
                      <a:lnTo>
                        <a:pt x="1408" y="152"/>
                      </a:lnTo>
                      <a:lnTo>
                        <a:pt x="1424" y="150"/>
                      </a:lnTo>
                      <a:lnTo>
                        <a:pt x="1474" y="138"/>
                      </a:lnTo>
                      <a:lnTo>
                        <a:pt x="1506" y="132"/>
                      </a:lnTo>
                      <a:lnTo>
                        <a:pt x="1541" y="127"/>
                      </a:lnTo>
                      <a:lnTo>
                        <a:pt x="1577" y="122"/>
                      </a:lnTo>
                      <a:lnTo>
                        <a:pt x="1612" y="122"/>
                      </a:lnTo>
                      <a:lnTo>
                        <a:pt x="1612" y="122"/>
                      </a:lnTo>
                      <a:lnTo>
                        <a:pt x="1642" y="124"/>
                      </a:lnTo>
                      <a:lnTo>
                        <a:pt x="1661" y="126"/>
                      </a:lnTo>
                      <a:lnTo>
                        <a:pt x="1671" y="127"/>
                      </a:lnTo>
                      <a:lnTo>
                        <a:pt x="1675" y="129"/>
                      </a:lnTo>
                      <a:lnTo>
                        <a:pt x="1675" y="131"/>
                      </a:lnTo>
                      <a:lnTo>
                        <a:pt x="1675" y="132"/>
                      </a:lnTo>
                      <a:lnTo>
                        <a:pt x="1675" y="134"/>
                      </a:lnTo>
                      <a:lnTo>
                        <a:pt x="1668" y="139"/>
                      </a:lnTo>
                      <a:lnTo>
                        <a:pt x="1647" y="148"/>
                      </a:lnTo>
                      <a:lnTo>
                        <a:pt x="1647" y="148"/>
                      </a:lnTo>
                      <a:lnTo>
                        <a:pt x="1636" y="153"/>
                      </a:lnTo>
                      <a:lnTo>
                        <a:pt x="1633" y="157"/>
                      </a:lnTo>
                      <a:lnTo>
                        <a:pt x="1635" y="159"/>
                      </a:lnTo>
                      <a:lnTo>
                        <a:pt x="1642" y="159"/>
                      </a:lnTo>
                      <a:lnTo>
                        <a:pt x="1662" y="155"/>
                      </a:lnTo>
                      <a:lnTo>
                        <a:pt x="1689" y="150"/>
                      </a:lnTo>
                      <a:lnTo>
                        <a:pt x="1689" y="150"/>
                      </a:lnTo>
                      <a:lnTo>
                        <a:pt x="1699" y="146"/>
                      </a:lnTo>
                      <a:lnTo>
                        <a:pt x="1704" y="141"/>
                      </a:lnTo>
                      <a:lnTo>
                        <a:pt x="1708" y="136"/>
                      </a:lnTo>
                      <a:lnTo>
                        <a:pt x="1708" y="131"/>
                      </a:lnTo>
                      <a:lnTo>
                        <a:pt x="1711" y="127"/>
                      </a:lnTo>
                      <a:lnTo>
                        <a:pt x="1716" y="124"/>
                      </a:lnTo>
                      <a:lnTo>
                        <a:pt x="1727" y="120"/>
                      </a:lnTo>
                      <a:lnTo>
                        <a:pt x="1746" y="119"/>
                      </a:lnTo>
                      <a:lnTo>
                        <a:pt x="1746" y="119"/>
                      </a:lnTo>
                      <a:lnTo>
                        <a:pt x="1765" y="120"/>
                      </a:lnTo>
                      <a:lnTo>
                        <a:pt x="1772" y="122"/>
                      </a:lnTo>
                      <a:lnTo>
                        <a:pt x="1777" y="124"/>
                      </a:lnTo>
                      <a:lnTo>
                        <a:pt x="1783" y="127"/>
                      </a:lnTo>
                      <a:lnTo>
                        <a:pt x="1786" y="131"/>
                      </a:lnTo>
                      <a:lnTo>
                        <a:pt x="1788" y="136"/>
                      </a:lnTo>
                      <a:lnTo>
                        <a:pt x="1788" y="139"/>
                      </a:lnTo>
                      <a:lnTo>
                        <a:pt x="1786" y="145"/>
                      </a:lnTo>
                      <a:lnTo>
                        <a:pt x="1784" y="150"/>
                      </a:lnTo>
                      <a:lnTo>
                        <a:pt x="1776" y="162"/>
                      </a:lnTo>
                      <a:lnTo>
                        <a:pt x="1763" y="174"/>
                      </a:lnTo>
                      <a:lnTo>
                        <a:pt x="1748" y="188"/>
                      </a:lnTo>
                      <a:lnTo>
                        <a:pt x="1748" y="188"/>
                      </a:lnTo>
                      <a:lnTo>
                        <a:pt x="1734" y="199"/>
                      </a:lnTo>
                      <a:lnTo>
                        <a:pt x="1727" y="207"/>
                      </a:lnTo>
                      <a:lnTo>
                        <a:pt x="1725" y="211"/>
                      </a:lnTo>
                      <a:lnTo>
                        <a:pt x="1727" y="213"/>
                      </a:lnTo>
                      <a:lnTo>
                        <a:pt x="1729" y="213"/>
                      </a:lnTo>
                      <a:lnTo>
                        <a:pt x="1737" y="209"/>
                      </a:lnTo>
                      <a:lnTo>
                        <a:pt x="1749" y="204"/>
                      </a:lnTo>
                      <a:lnTo>
                        <a:pt x="1767" y="195"/>
                      </a:lnTo>
                      <a:lnTo>
                        <a:pt x="1786" y="183"/>
                      </a:lnTo>
                      <a:lnTo>
                        <a:pt x="1786" y="183"/>
                      </a:lnTo>
                      <a:lnTo>
                        <a:pt x="1805" y="171"/>
                      </a:lnTo>
                      <a:lnTo>
                        <a:pt x="1821" y="160"/>
                      </a:lnTo>
                      <a:lnTo>
                        <a:pt x="1835" y="153"/>
                      </a:lnTo>
                      <a:lnTo>
                        <a:pt x="1845" y="150"/>
                      </a:lnTo>
                      <a:lnTo>
                        <a:pt x="1852" y="148"/>
                      </a:lnTo>
                      <a:lnTo>
                        <a:pt x="1857" y="148"/>
                      </a:lnTo>
                      <a:lnTo>
                        <a:pt x="1857" y="150"/>
                      </a:lnTo>
                      <a:lnTo>
                        <a:pt x="1854" y="153"/>
                      </a:lnTo>
                      <a:lnTo>
                        <a:pt x="1854" y="153"/>
                      </a:lnTo>
                      <a:lnTo>
                        <a:pt x="1850" y="157"/>
                      </a:lnTo>
                      <a:lnTo>
                        <a:pt x="1850" y="159"/>
                      </a:lnTo>
                      <a:lnTo>
                        <a:pt x="1852" y="159"/>
                      </a:lnTo>
                      <a:lnTo>
                        <a:pt x="1863" y="160"/>
                      </a:lnTo>
                      <a:lnTo>
                        <a:pt x="1884" y="159"/>
                      </a:lnTo>
                      <a:lnTo>
                        <a:pt x="1894" y="159"/>
                      </a:lnTo>
                      <a:lnTo>
                        <a:pt x="1904" y="162"/>
                      </a:lnTo>
                      <a:lnTo>
                        <a:pt x="1904" y="162"/>
                      </a:lnTo>
                      <a:lnTo>
                        <a:pt x="1913" y="162"/>
                      </a:lnTo>
                      <a:lnTo>
                        <a:pt x="1918" y="160"/>
                      </a:lnTo>
                      <a:lnTo>
                        <a:pt x="1924" y="155"/>
                      </a:lnTo>
                      <a:lnTo>
                        <a:pt x="1927" y="150"/>
                      </a:lnTo>
                      <a:lnTo>
                        <a:pt x="1932" y="143"/>
                      </a:lnTo>
                      <a:lnTo>
                        <a:pt x="1941" y="136"/>
                      </a:lnTo>
                      <a:lnTo>
                        <a:pt x="1953" y="132"/>
                      </a:lnTo>
                      <a:lnTo>
                        <a:pt x="1971" y="129"/>
                      </a:lnTo>
                      <a:lnTo>
                        <a:pt x="1971" y="129"/>
                      </a:lnTo>
                      <a:lnTo>
                        <a:pt x="1995" y="129"/>
                      </a:lnTo>
                      <a:lnTo>
                        <a:pt x="2023" y="131"/>
                      </a:lnTo>
                      <a:lnTo>
                        <a:pt x="2051" y="134"/>
                      </a:lnTo>
                      <a:lnTo>
                        <a:pt x="2079" y="138"/>
                      </a:lnTo>
                      <a:lnTo>
                        <a:pt x="2101" y="143"/>
                      </a:lnTo>
                      <a:lnTo>
                        <a:pt x="2119" y="148"/>
                      </a:lnTo>
                      <a:lnTo>
                        <a:pt x="2124" y="152"/>
                      </a:lnTo>
                      <a:lnTo>
                        <a:pt x="2126" y="153"/>
                      </a:lnTo>
                      <a:lnTo>
                        <a:pt x="2126" y="157"/>
                      </a:lnTo>
                      <a:lnTo>
                        <a:pt x="2120" y="159"/>
                      </a:lnTo>
                      <a:lnTo>
                        <a:pt x="2120" y="159"/>
                      </a:lnTo>
                      <a:lnTo>
                        <a:pt x="2099" y="169"/>
                      </a:lnTo>
                      <a:lnTo>
                        <a:pt x="2082" y="180"/>
                      </a:lnTo>
                      <a:lnTo>
                        <a:pt x="2073" y="183"/>
                      </a:lnTo>
                      <a:lnTo>
                        <a:pt x="2065" y="186"/>
                      </a:lnTo>
                      <a:lnTo>
                        <a:pt x="2054" y="188"/>
                      </a:lnTo>
                      <a:lnTo>
                        <a:pt x="2044" y="188"/>
                      </a:lnTo>
                      <a:lnTo>
                        <a:pt x="2044" y="188"/>
                      </a:lnTo>
                      <a:lnTo>
                        <a:pt x="2032" y="190"/>
                      </a:lnTo>
                      <a:lnTo>
                        <a:pt x="2028" y="190"/>
                      </a:lnTo>
                      <a:lnTo>
                        <a:pt x="2028" y="192"/>
                      </a:lnTo>
                      <a:lnTo>
                        <a:pt x="2028" y="195"/>
                      </a:lnTo>
                      <a:lnTo>
                        <a:pt x="2033" y="199"/>
                      </a:lnTo>
                      <a:lnTo>
                        <a:pt x="2039" y="202"/>
                      </a:lnTo>
                      <a:lnTo>
                        <a:pt x="2040" y="206"/>
                      </a:lnTo>
                      <a:lnTo>
                        <a:pt x="2040" y="207"/>
                      </a:lnTo>
                      <a:lnTo>
                        <a:pt x="2039" y="209"/>
                      </a:lnTo>
                      <a:lnTo>
                        <a:pt x="2028" y="211"/>
                      </a:lnTo>
                      <a:lnTo>
                        <a:pt x="2028" y="211"/>
                      </a:lnTo>
                      <a:lnTo>
                        <a:pt x="2002" y="213"/>
                      </a:lnTo>
                      <a:lnTo>
                        <a:pt x="1981" y="216"/>
                      </a:lnTo>
                      <a:lnTo>
                        <a:pt x="1962" y="218"/>
                      </a:lnTo>
                      <a:lnTo>
                        <a:pt x="1953" y="216"/>
                      </a:lnTo>
                      <a:lnTo>
                        <a:pt x="1943" y="216"/>
                      </a:lnTo>
                      <a:lnTo>
                        <a:pt x="1943" y="216"/>
                      </a:lnTo>
                      <a:lnTo>
                        <a:pt x="1934" y="214"/>
                      </a:lnTo>
                      <a:lnTo>
                        <a:pt x="1927" y="214"/>
                      </a:lnTo>
                      <a:lnTo>
                        <a:pt x="1915" y="220"/>
                      </a:lnTo>
                      <a:lnTo>
                        <a:pt x="1908" y="221"/>
                      </a:lnTo>
                      <a:lnTo>
                        <a:pt x="1899" y="225"/>
                      </a:lnTo>
                      <a:lnTo>
                        <a:pt x="1887" y="225"/>
                      </a:lnTo>
                      <a:lnTo>
                        <a:pt x="1873" y="225"/>
                      </a:lnTo>
                      <a:lnTo>
                        <a:pt x="1873" y="225"/>
                      </a:lnTo>
                      <a:lnTo>
                        <a:pt x="1857" y="225"/>
                      </a:lnTo>
                      <a:lnTo>
                        <a:pt x="1875" y="227"/>
                      </a:lnTo>
                      <a:lnTo>
                        <a:pt x="1906" y="228"/>
                      </a:lnTo>
                      <a:lnTo>
                        <a:pt x="1920" y="228"/>
                      </a:lnTo>
                      <a:lnTo>
                        <a:pt x="1932" y="228"/>
                      </a:lnTo>
                      <a:lnTo>
                        <a:pt x="1932" y="228"/>
                      </a:lnTo>
                      <a:lnTo>
                        <a:pt x="1943" y="227"/>
                      </a:lnTo>
                      <a:lnTo>
                        <a:pt x="1955" y="227"/>
                      </a:lnTo>
                      <a:lnTo>
                        <a:pt x="1976" y="228"/>
                      </a:lnTo>
                      <a:lnTo>
                        <a:pt x="1985" y="230"/>
                      </a:lnTo>
                      <a:lnTo>
                        <a:pt x="1990" y="232"/>
                      </a:lnTo>
                      <a:lnTo>
                        <a:pt x="1990" y="233"/>
                      </a:lnTo>
                      <a:lnTo>
                        <a:pt x="1990" y="235"/>
                      </a:lnTo>
                      <a:lnTo>
                        <a:pt x="1985" y="239"/>
                      </a:lnTo>
                      <a:lnTo>
                        <a:pt x="1985" y="239"/>
                      </a:lnTo>
                      <a:lnTo>
                        <a:pt x="1964" y="247"/>
                      </a:lnTo>
                      <a:lnTo>
                        <a:pt x="1939" y="253"/>
                      </a:lnTo>
                      <a:lnTo>
                        <a:pt x="1927" y="254"/>
                      </a:lnTo>
                      <a:lnTo>
                        <a:pt x="1913" y="254"/>
                      </a:lnTo>
                      <a:lnTo>
                        <a:pt x="1899" y="253"/>
                      </a:lnTo>
                      <a:lnTo>
                        <a:pt x="1887" y="251"/>
                      </a:lnTo>
                      <a:lnTo>
                        <a:pt x="1887" y="251"/>
                      </a:lnTo>
                      <a:lnTo>
                        <a:pt x="1880" y="249"/>
                      </a:lnTo>
                      <a:lnTo>
                        <a:pt x="1873" y="251"/>
                      </a:lnTo>
                      <a:lnTo>
                        <a:pt x="1861" y="253"/>
                      </a:lnTo>
                      <a:lnTo>
                        <a:pt x="1849" y="260"/>
                      </a:lnTo>
                      <a:lnTo>
                        <a:pt x="1840" y="267"/>
                      </a:lnTo>
                      <a:lnTo>
                        <a:pt x="1835" y="274"/>
                      </a:lnTo>
                      <a:lnTo>
                        <a:pt x="1835" y="275"/>
                      </a:lnTo>
                      <a:lnTo>
                        <a:pt x="1835" y="277"/>
                      </a:lnTo>
                      <a:lnTo>
                        <a:pt x="1835" y="279"/>
                      </a:lnTo>
                      <a:lnTo>
                        <a:pt x="1838" y="279"/>
                      </a:lnTo>
                      <a:lnTo>
                        <a:pt x="1850" y="277"/>
                      </a:lnTo>
                      <a:lnTo>
                        <a:pt x="1850" y="277"/>
                      </a:lnTo>
                      <a:lnTo>
                        <a:pt x="1866" y="272"/>
                      </a:lnTo>
                      <a:lnTo>
                        <a:pt x="1882" y="267"/>
                      </a:lnTo>
                      <a:lnTo>
                        <a:pt x="1915" y="261"/>
                      </a:lnTo>
                      <a:lnTo>
                        <a:pt x="1929" y="261"/>
                      </a:lnTo>
                      <a:lnTo>
                        <a:pt x="1938" y="261"/>
                      </a:lnTo>
                      <a:lnTo>
                        <a:pt x="1941" y="263"/>
                      </a:lnTo>
                      <a:lnTo>
                        <a:pt x="1941" y="265"/>
                      </a:lnTo>
                      <a:lnTo>
                        <a:pt x="1941" y="267"/>
                      </a:lnTo>
                      <a:lnTo>
                        <a:pt x="1939" y="270"/>
                      </a:lnTo>
                      <a:lnTo>
                        <a:pt x="1939" y="270"/>
                      </a:lnTo>
                      <a:lnTo>
                        <a:pt x="1929" y="280"/>
                      </a:lnTo>
                      <a:lnTo>
                        <a:pt x="1918" y="286"/>
                      </a:lnTo>
                      <a:lnTo>
                        <a:pt x="1906" y="289"/>
                      </a:lnTo>
                      <a:lnTo>
                        <a:pt x="1889" y="291"/>
                      </a:lnTo>
                      <a:lnTo>
                        <a:pt x="1889" y="291"/>
                      </a:lnTo>
                      <a:lnTo>
                        <a:pt x="1878" y="293"/>
                      </a:lnTo>
                      <a:lnTo>
                        <a:pt x="1871" y="294"/>
                      </a:lnTo>
                      <a:lnTo>
                        <a:pt x="1868" y="298"/>
                      </a:lnTo>
                      <a:lnTo>
                        <a:pt x="1866" y="303"/>
                      </a:lnTo>
                      <a:lnTo>
                        <a:pt x="1866" y="308"/>
                      </a:lnTo>
                      <a:lnTo>
                        <a:pt x="1870" y="312"/>
                      </a:lnTo>
                      <a:lnTo>
                        <a:pt x="1873" y="315"/>
                      </a:lnTo>
                      <a:lnTo>
                        <a:pt x="1880" y="319"/>
                      </a:lnTo>
                      <a:lnTo>
                        <a:pt x="1880" y="319"/>
                      </a:lnTo>
                      <a:lnTo>
                        <a:pt x="1887" y="321"/>
                      </a:lnTo>
                      <a:lnTo>
                        <a:pt x="1887" y="322"/>
                      </a:lnTo>
                      <a:lnTo>
                        <a:pt x="1887" y="324"/>
                      </a:lnTo>
                      <a:lnTo>
                        <a:pt x="1885" y="327"/>
                      </a:lnTo>
                      <a:lnTo>
                        <a:pt x="1880" y="331"/>
                      </a:lnTo>
                      <a:lnTo>
                        <a:pt x="1868" y="341"/>
                      </a:lnTo>
                      <a:lnTo>
                        <a:pt x="1857" y="348"/>
                      </a:lnTo>
                      <a:lnTo>
                        <a:pt x="1857" y="348"/>
                      </a:lnTo>
                      <a:lnTo>
                        <a:pt x="1854" y="350"/>
                      </a:lnTo>
                      <a:lnTo>
                        <a:pt x="1849" y="352"/>
                      </a:lnTo>
                      <a:lnTo>
                        <a:pt x="1838" y="350"/>
                      </a:lnTo>
                      <a:lnTo>
                        <a:pt x="1831" y="352"/>
                      </a:lnTo>
                      <a:lnTo>
                        <a:pt x="1826" y="354"/>
                      </a:lnTo>
                      <a:lnTo>
                        <a:pt x="1819" y="361"/>
                      </a:lnTo>
                      <a:lnTo>
                        <a:pt x="1816" y="369"/>
                      </a:lnTo>
                      <a:lnTo>
                        <a:pt x="1816" y="369"/>
                      </a:lnTo>
                      <a:lnTo>
                        <a:pt x="1810" y="381"/>
                      </a:lnTo>
                      <a:lnTo>
                        <a:pt x="1805" y="394"/>
                      </a:lnTo>
                      <a:lnTo>
                        <a:pt x="1793" y="416"/>
                      </a:lnTo>
                      <a:lnTo>
                        <a:pt x="1788" y="425"/>
                      </a:lnTo>
                      <a:lnTo>
                        <a:pt x="1786" y="432"/>
                      </a:lnTo>
                      <a:lnTo>
                        <a:pt x="1786" y="435"/>
                      </a:lnTo>
                      <a:lnTo>
                        <a:pt x="1788" y="437"/>
                      </a:lnTo>
                      <a:lnTo>
                        <a:pt x="1790" y="437"/>
                      </a:lnTo>
                      <a:lnTo>
                        <a:pt x="1793" y="437"/>
                      </a:lnTo>
                      <a:lnTo>
                        <a:pt x="1793" y="437"/>
                      </a:lnTo>
                      <a:lnTo>
                        <a:pt x="1798" y="435"/>
                      </a:lnTo>
                      <a:lnTo>
                        <a:pt x="1802" y="430"/>
                      </a:lnTo>
                      <a:lnTo>
                        <a:pt x="1805" y="420"/>
                      </a:lnTo>
                      <a:lnTo>
                        <a:pt x="1809" y="415"/>
                      </a:lnTo>
                      <a:lnTo>
                        <a:pt x="1816" y="413"/>
                      </a:lnTo>
                      <a:lnTo>
                        <a:pt x="1828" y="413"/>
                      </a:lnTo>
                      <a:lnTo>
                        <a:pt x="1845" y="418"/>
                      </a:lnTo>
                      <a:lnTo>
                        <a:pt x="1845" y="418"/>
                      </a:lnTo>
                      <a:lnTo>
                        <a:pt x="1877" y="432"/>
                      </a:lnTo>
                      <a:lnTo>
                        <a:pt x="1887" y="435"/>
                      </a:lnTo>
                      <a:lnTo>
                        <a:pt x="1892" y="439"/>
                      </a:lnTo>
                      <a:lnTo>
                        <a:pt x="1892" y="442"/>
                      </a:lnTo>
                      <a:lnTo>
                        <a:pt x="1889" y="442"/>
                      </a:lnTo>
                      <a:lnTo>
                        <a:pt x="1866" y="439"/>
                      </a:lnTo>
                      <a:lnTo>
                        <a:pt x="1866" y="439"/>
                      </a:lnTo>
                      <a:lnTo>
                        <a:pt x="1842" y="434"/>
                      </a:lnTo>
                      <a:lnTo>
                        <a:pt x="1835" y="432"/>
                      </a:lnTo>
                      <a:lnTo>
                        <a:pt x="1830" y="434"/>
                      </a:lnTo>
                      <a:lnTo>
                        <a:pt x="1830" y="435"/>
                      </a:lnTo>
                      <a:lnTo>
                        <a:pt x="1830" y="435"/>
                      </a:lnTo>
                      <a:lnTo>
                        <a:pt x="1833" y="441"/>
                      </a:lnTo>
                      <a:lnTo>
                        <a:pt x="1856" y="455"/>
                      </a:lnTo>
                      <a:lnTo>
                        <a:pt x="1856" y="455"/>
                      </a:lnTo>
                      <a:lnTo>
                        <a:pt x="1870" y="462"/>
                      </a:lnTo>
                      <a:lnTo>
                        <a:pt x="1878" y="465"/>
                      </a:lnTo>
                      <a:lnTo>
                        <a:pt x="1885" y="463"/>
                      </a:lnTo>
                      <a:lnTo>
                        <a:pt x="1891" y="460"/>
                      </a:lnTo>
                      <a:lnTo>
                        <a:pt x="1894" y="456"/>
                      </a:lnTo>
                      <a:lnTo>
                        <a:pt x="1899" y="455"/>
                      </a:lnTo>
                      <a:lnTo>
                        <a:pt x="1903" y="455"/>
                      </a:lnTo>
                      <a:lnTo>
                        <a:pt x="1911" y="460"/>
                      </a:lnTo>
                      <a:lnTo>
                        <a:pt x="1911" y="460"/>
                      </a:lnTo>
                      <a:lnTo>
                        <a:pt x="1917" y="467"/>
                      </a:lnTo>
                      <a:lnTo>
                        <a:pt x="1922" y="475"/>
                      </a:lnTo>
                      <a:lnTo>
                        <a:pt x="1922" y="482"/>
                      </a:lnTo>
                      <a:lnTo>
                        <a:pt x="1920" y="489"/>
                      </a:lnTo>
                      <a:lnTo>
                        <a:pt x="1917" y="496"/>
                      </a:lnTo>
                      <a:lnTo>
                        <a:pt x="1911" y="500"/>
                      </a:lnTo>
                      <a:lnTo>
                        <a:pt x="1904" y="502"/>
                      </a:lnTo>
                      <a:lnTo>
                        <a:pt x="1896" y="498"/>
                      </a:lnTo>
                      <a:lnTo>
                        <a:pt x="1896" y="498"/>
                      </a:lnTo>
                      <a:lnTo>
                        <a:pt x="1877" y="491"/>
                      </a:lnTo>
                      <a:lnTo>
                        <a:pt x="1866" y="488"/>
                      </a:lnTo>
                      <a:lnTo>
                        <a:pt x="1856" y="486"/>
                      </a:lnTo>
                      <a:lnTo>
                        <a:pt x="1845" y="486"/>
                      </a:lnTo>
                      <a:lnTo>
                        <a:pt x="1835" y="488"/>
                      </a:lnTo>
                      <a:lnTo>
                        <a:pt x="1823" y="493"/>
                      </a:lnTo>
                      <a:lnTo>
                        <a:pt x="1812" y="498"/>
                      </a:lnTo>
                      <a:lnTo>
                        <a:pt x="1812" y="498"/>
                      </a:lnTo>
                      <a:lnTo>
                        <a:pt x="1803" y="505"/>
                      </a:lnTo>
                      <a:lnTo>
                        <a:pt x="1796" y="505"/>
                      </a:lnTo>
                      <a:lnTo>
                        <a:pt x="1791" y="503"/>
                      </a:lnTo>
                      <a:lnTo>
                        <a:pt x="1788" y="500"/>
                      </a:lnTo>
                      <a:lnTo>
                        <a:pt x="1784" y="496"/>
                      </a:lnTo>
                      <a:lnTo>
                        <a:pt x="1781" y="493"/>
                      </a:lnTo>
                      <a:lnTo>
                        <a:pt x="1776" y="491"/>
                      </a:lnTo>
                      <a:lnTo>
                        <a:pt x="1769" y="495"/>
                      </a:lnTo>
                      <a:lnTo>
                        <a:pt x="1769" y="495"/>
                      </a:lnTo>
                      <a:lnTo>
                        <a:pt x="1765" y="500"/>
                      </a:lnTo>
                      <a:lnTo>
                        <a:pt x="1765" y="502"/>
                      </a:lnTo>
                      <a:lnTo>
                        <a:pt x="1765" y="502"/>
                      </a:lnTo>
                      <a:lnTo>
                        <a:pt x="1769" y="505"/>
                      </a:lnTo>
                      <a:lnTo>
                        <a:pt x="1776" y="507"/>
                      </a:lnTo>
                      <a:lnTo>
                        <a:pt x="1783" y="509"/>
                      </a:lnTo>
                      <a:lnTo>
                        <a:pt x="1790" y="512"/>
                      </a:lnTo>
                      <a:lnTo>
                        <a:pt x="1795" y="517"/>
                      </a:lnTo>
                      <a:lnTo>
                        <a:pt x="1795" y="519"/>
                      </a:lnTo>
                      <a:lnTo>
                        <a:pt x="1795" y="523"/>
                      </a:lnTo>
                      <a:lnTo>
                        <a:pt x="1795" y="523"/>
                      </a:lnTo>
                      <a:lnTo>
                        <a:pt x="1796" y="526"/>
                      </a:lnTo>
                      <a:lnTo>
                        <a:pt x="1798" y="529"/>
                      </a:lnTo>
                      <a:lnTo>
                        <a:pt x="1805" y="531"/>
                      </a:lnTo>
                      <a:lnTo>
                        <a:pt x="1816" y="533"/>
                      </a:lnTo>
                      <a:lnTo>
                        <a:pt x="1826" y="533"/>
                      </a:lnTo>
                      <a:lnTo>
                        <a:pt x="1850" y="533"/>
                      </a:lnTo>
                      <a:lnTo>
                        <a:pt x="1859" y="535"/>
                      </a:lnTo>
                      <a:lnTo>
                        <a:pt x="1863" y="536"/>
                      </a:lnTo>
                      <a:lnTo>
                        <a:pt x="1864" y="540"/>
                      </a:lnTo>
                      <a:lnTo>
                        <a:pt x="1864" y="540"/>
                      </a:lnTo>
                      <a:lnTo>
                        <a:pt x="1866" y="543"/>
                      </a:lnTo>
                      <a:lnTo>
                        <a:pt x="1863" y="547"/>
                      </a:lnTo>
                      <a:lnTo>
                        <a:pt x="1856" y="550"/>
                      </a:lnTo>
                      <a:lnTo>
                        <a:pt x="1852" y="552"/>
                      </a:lnTo>
                      <a:lnTo>
                        <a:pt x="1852" y="554"/>
                      </a:lnTo>
                      <a:lnTo>
                        <a:pt x="1856" y="557"/>
                      </a:lnTo>
                      <a:lnTo>
                        <a:pt x="1866" y="563"/>
                      </a:lnTo>
                      <a:lnTo>
                        <a:pt x="1866" y="563"/>
                      </a:lnTo>
                      <a:lnTo>
                        <a:pt x="1880" y="570"/>
                      </a:lnTo>
                      <a:lnTo>
                        <a:pt x="1880" y="570"/>
                      </a:lnTo>
                      <a:lnTo>
                        <a:pt x="1878" y="571"/>
                      </a:lnTo>
                      <a:lnTo>
                        <a:pt x="1875" y="571"/>
                      </a:lnTo>
                      <a:lnTo>
                        <a:pt x="1871" y="573"/>
                      </a:lnTo>
                      <a:lnTo>
                        <a:pt x="1871" y="576"/>
                      </a:lnTo>
                      <a:lnTo>
                        <a:pt x="1877" y="582"/>
                      </a:lnTo>
                      <a:lnTo>
                        <a:pt x="1877" y="582"/>
                      </a:lnTo>
                      <a:lnTo>
                        <a:pt x="1880" y="590"/>
                      </a:lnTo>
                      <a:lnTo>
                        <a:pt x="1882" y="597"/>
                      </a:lnTo>
                      <a:lnTo>
                        <a:pt x="1880" y="603"/>
                      </a:lnTo>
                      <a:lnTo>
                        <a:pt x="1875" y="608"/>
                      </a:lnTo>
                      <a:lnTo>
                        <a:pt x="1870" y="611"/>
                      </a:lnTo>
                      <a:lnTo>
                        <a:pt x="1863" y="611"/>
                      </a:lnTo>
                      <a:lnTo>
                        <a:pt x="1857" y="610"/>
                      </a:lnTo>
                      <a:lnTo>
                        <a:pt x="1852" y="604"/>
                      </a:lnTo>
                      <a:lnTo>
                        <a:pt x="1852" y="604"/>
                      </a:lnTo>
                      <a:lnTo>
                        <a:pt x="1849" y="603"/>
                      </a:lnTo>
                      <a:lnTo>
                        <a:pt x="1847" y="601"/>
                      </a:lnTo>
                      <a:lnTo>
                        <a:pt x="1844" y="603"/>
                      </a:lnTo>
                      <a:lnTo>
                        <a:pt x="1840" y="604"/>
                      </a:lnTo>
                      <a:lnTo>
                        <a:pt x="1835" y="610"/>
                      </a:lnTo>
                      <a:lnTo>
                        <a:pt x="1831" y="617"/>
                      </a:lnTo>
                      <a:lnTo>
                        <a:pt x="1828" y="625"/>
                      </a:lnTo>
                      <a:lnTo>
                        <a:pt x="1830" y="634"/>
                      </a:lnTo>
                      <a:lnTo>
                        <a:pt x="1831" y="637"/>
                      </a:lnTo>
                      <a:lnTo>
                        <a:pt x="1835" y="639"/>
                      </a:lnTo>
                      <a:lnTo>
                        <a:pt x="1838" y="641"/>
                      </a:lnTo>
                      <a:lnTo>
                        <a:pt x="1845" y="643"/>
                      </a:lnTo>
                      <a:lnTo>
                        <a:pt x="1845" y="643"/>
                      </a:lnTo>
                      <a:lnTo>
                        <a:pt x="1857" y="644"/>
                      </a:lnTo>
                      <a:lnTo>
                        <a:pt x="1868" y="646"/>
                      </a:lnTo>
                      <a:lnTo>
                        <a:pt x="1877" y="648"/>
                      </a:lnTo>
                      <a:lnTo>
                        <a:pt x="1882" y="651"/>
                      </a:lnTo>
                      <a:lnTo>
                        <a:pt x="1885" y="655"/>
                      </a:lnTo>
                      <a:lnTo>
                        <a:pt x="1885" y="658"/>
                      </a:lnTo>
                      <a:lnTo>
                        <a:pt x="1882" y="662"/>
                      </a:lnTo>
                      <a:lnTo>
                        <a:pt x="1875" y="665"/>
                      </a:lnTo>
                      <a:lnTo>
                        <a:pt x="1875" y="665"/>
                      </a:lnTo>
                      <a:lnTo>
                        <a:pt x="1864" y="669"/>
                      </a:lnTo>
                      <a:lnTo>
                        <a:pt x="1857" y="669"/>
                      </a:lnTo>
                      <a:lnTo>
                        <a:pt x="1852" y="669"/>
                      </a:lnTo>
                      <a:lnTo>
                        <a:pt x="1847" y="665"/>
                      </a:lnTo>
                      <a:lnTo>
                        <a:pt x="1838" y="660"/>
                      </a:lnTo>
                      <a:lnTo>
                        <a:pt x="1831" y="657"/>
                      </a:lnTo>
                      <a:lnTo>
                        <a:pt x="1821" y="655"/>
                      </a:lnTo>
                      <a:lnTo>
                        <a:pt x="1821" y="655"/>
                      </a:lnTo>
                      <a:lnTo>
                        <a:pt x="1809" y="655"/>
                      </a:lnTo>
                      <a:lnTo>
                        <a:pt x="1798" y="658"/>
                      </a:lnTo>
                      <a:lnTo>
                        <a:pt x="1788" y="664"/>
                      </a:lnTo>
                      <a:lnTo>
                        <a:pt x="1781" y="669"/>
                      </a:lnTo>
                      <a:lnTo>
                        <a:pt x="1776" y="674"/>
                      </a:lnTo>
                      <a:lnTo>
                        <a:pt x="1776" y="679"/>
                      </a:lnTo>
                      <a:lnTo>
                        <a:pt x="1776" y="681"/>
                      </a:lnTo>
                      <a:lnTo>
                        <a:pt x="1779" y="683"/>
                      </a:lnTo>
                      <a:lnTo>
                        <a:pt x="1788" y="684"/>
                      </a:lnTo>
                      <a:lnTo>
                        <a:pt x="1788" y="684"/>
                      </a:lnTo>
                      <a:lnTo>
                        <a:pt x="1810" y="686"/>
                      </a:lnTo>
                      <a:lnTo>
                        <a:pt x="1821" y="686"/>
                      </a:lnTo>
                      <a:lnTo>
                        <a:pt x="1831" y="690"/>
                      </a:lnTo>
                      <a:lnTo>
                        <a:pt x="1838" y="693"/>
                      </a:lnTo>
                      <a:lnTo>
                        <a:pt x="1842" y="698"/>
                      </a:lnTo>
                      <a:lnTo>
                        <a:pt x="1844" y="700"/>
                      </a:lnTo>
                      <a:lnTo>
                        <a:pt x="1844" y="704"/>
                      </a:lnTo>
                      <a:lnTo>
                        <a:pt x="1838" y="712"/>
                      </a:lnTo>
                      <a:lnTo>
                        <a:pt x="1838" y="712"/>
                      </a:lnTo>
                      <a:lnTo>
                        <a:pt x="1833" y="719"/>
                      </a:lnTo>
                      <a:lnTo>
                        <a:pt x="1828" y="721"/>
                      </a:lnTo>
                      <a:lnTo>
                        <a:pt x="1824" y="721"/>
                      </a:lnTo>
                      <a:lnTo>
                        <a:pt x="1821" y="721"/>
                      </a:lnTo>
                      <a:lnTo>
                        <a:pt x="1816" y="719"/>
                      </a:lnTo>
                      <a:lnTo>
                        <a:pt x="1810" y="719"/>
                      </a:lnTo>
                      <a:lnTo>
                        <a:pt x="1802" y="721"/>
                      </a:lnTo>
                      <a:lnTo>
                        <a:pt x="1791" y="728"/>
                      </a:lnTo>
                      <a:lnTo>
                        <a:pt x="1791" y="728"/>
                      </a:lnTo>
                      <a:lnTo>
                        <a:pt x="1786" y="731"/>
                      </a:lnTo>
                      <a:lnTo>
                        <a:pt x="1779" y="733"/>
                      </a:lnTo>
                      <a:lnTo>
                        <a:pt x="1774" y="733"/>
                      </a:lnTo>
                      <a:lnTo>
                        <a:pt x="1767" y="733"/>
                      </a:lnTo>
                      <a:lnTo>
                        <a:pt x="1755" y="730"/>
                      </a:lnTo>
                      <a:lnTo>
                        <a:pt x="1743" y="724"/>
                      </a:lnTo>
                      <a:lnTo>
                        <a:pt x="1730" y="718"/>
                      </a:lnTo>
                      <a:lnTo>
                        <a:pt x="1718" y="712"/>
                      </a:lnTo>
                      <a:lnTo>
                        <a:pt x="1706" y="709"/>
                      </a:lnTo>
                      <a:lnTo>
                        <a:pt x="1701" y="711"/>
                      </a:lnTo>
                      <a:lnTo>
                        <a:pt x="1696" y="711"/>
                      </a:lnTo>
                      <a:lnTo>
                        <a:pt x="1696" y="711"/>
                      </a:lnTo>
                      <a:lnTo>
                        <a:pt x="1676" y="721"/>
                      </a:lnTo>
                      <a:lnTo>
                        <a:pt x="1664" y="730"/>
                      </a:lnTo>
                      <a:lnTo>
                        <a:pt x="1657" y="733"/>
                      </a:lnTo>
                      <a:lnTo>
                        <a:pt x="1650" y="735"/>
                      </a:lnTo>
                      <a:lnTo>
                        <a:pt x="1643" y="737"/>
                      </a:lnTo>
                      <a:lnTo>
                        <a:pt x="1635" y="737"/>
                      </a:lnTo>
                      <a:lnTo>
                        <a:pt x="1635" y="737"/>
                      </a:lnTo>
                      <a:lnTo>
                        <a:pt x="1655" y="742"/>
                      </a:lnTo>
                      <a:lnTo>
                        <a:pt x="1668" y="745"/>
                      </a:lnTo>
                      <a:lnTo>
                        <a:pt x="1673" y="751"/>
                      </a:lnTo>
                      <a:lnTo>
                        <a:pt x="1675" y="754"/>
                      </a:lnTo>
                      <a:lnTo>
                        <a:pt x="1675" y="758"/>
                      </a:lnTo>
                      <a:lnTo>
                        <a:pt x="1673" y="761"/>
                      </a:lnTo>
                      <a:lnTo>
                        <a:pt x="1676" y="766"/>
                      </a:lnTo>
                      <a:lnTo>
                        <a:pt x="1683" y="771"/>
                      </a:lnTo>
                      <a:lnTo>
                        <a:pt x="1683" y="771"/>
                      </a:lnTo>
                      <a:lnTo>
                        <a:pt x="1690" y="775"/>
                      </a:lnTo>
                      <a:lnTo>
                        <a:pt x="1692" y="780"/>
                      </a:lnTo>
                      <a:lnTo>
                        <a:pt x="1692" y="784"/>
                      </a:lnTo>
                      <a:lnTo>
                        <a:pt x="1692" y="785"/>
                      </a:lnTo>
                      <a:lnTo>
                        <a:pt x="1692" y="789"/>
                      </a:lnTo>
                      <a:lnTo>
                        <a:pt x="1697" y="794"/>
                      </a:lnTo>
                      <a:lnTo>
                        <a:pt x="1706" y="799"/>
                      </a:lnTo>
                      <a:lnTo>
                        <a:pt x="1723" y="806"/>
                      </a:lnTo>
                      <a:lnTo>
                        <a:pt x="1723" y="806"/>
                      </a:lnTo>
                      <a:lnTo>
                        <a:pt x="1743" y="812"/>
                      </a:lnTo>
                      <a:lnTo>
                        <a:pt x="1758" y="817"/>
                      </a:lnTo>
                      <a:lnTo>
                        <a:pt x="1763" y="818"/>
                      </a:lnTo>
                      <a:lnTo>
                        <a:pt x="1767" y="822"/>
                      </a:lnTo>
                      <a:lnTo>
                        <a:pt x="1769" y="825"/>
                      </a:lnTo>
                      <a:lnTo>
                        <a:pt x="1767" y="831"/>
                      </a:lnTo>
                      <a:lnTo>
                        <a:pt x="1767" y="831"/>
                      </a:lnTo>
                      <a:lnTo>
                        <a:pt x="1767" y="836"/>
                      </a:lnTo>
                      <a:lnTo>
                        <a:pt x="1770" y="836"/>
                      </a:lnTo>
                      <a:lnTo>
                        <a:pt x="1779" y="834"/>
                      </a:lnTo>
                      <a:lnTo>
                        <a:pt x="1788" y="831"/>
                      </a:lnTo>
                      <a:lnTo>
                        <a:pt x="1790" y="831"/>
                      </a:lnTo>
                      <a:lnTo>
                        <a:pt x="1788" y="832"/>
                      </a:lnTo>
                      <a:lnTo>
                        <a:pt x="1784" y="838"/>
                      </a:lnTo>
                      <a:lnTo>
                        <a:pt x="1784" y="838"/>
                      </a:lnTo>
                      <a:lnTo>
                        <a:pt x="1779" y="843"/>
                      </a:lnTo>
                      <a:lnTo>
                        <a:pt x="1776" y="845"/>
                      </a:lnTo>
                      <a:lnTo>
                        <a:pt x="1769" y="848"/>
                      </a:lnTo>
                      <a:lnTo>
                        <a:pt x="1767" y="848"/>
                      </a:lnTo>
                      <a:lnTo>
                        <a:pt x="1765" y="850"/>
                      </a:lnTo>
                      <a:lnTo>
                        <a:pt x="1767" y="857"/>
                      </a:lnTo>
                      <a:lnTo>
                        <a:pt x="1767" y="857"/>
                      </a:lnTo>
                      <a:lnTo>
                        <a:pt x="1769" y="860"/>
                      </a:lnTo>
                      <a:lnTo>
                        <a:pt x="1769" y="862"/>
                      </a:lnTo>
                      <a:lnTo>
                        <a:pt x="1774" y="860"/>
                      </a:lnTo>
                      <a:lnTo>
                        <a:pt x="1779" y="859"/>
                      </a:lnTo>
                      <a:lnTo>
                        <a:pt x="1784" y="853"/>
                      </a:lnTo>
                      <a:lnTo>
                        <a:pt x="1790" y="850"/>
                      </a:lnTo>
                      <a:lnTo>
                        <a:pt x="1793" y="848"/>
                      </a:lnTo>
                      <a:lnTo>
                        <a:pt x="1795" y="848"/>
                      </a:lnTo>
                      <a:lnTo>
                        <a:pt x="1796" y="850"/>
                      </a:lnTo>
                      <a:lnTo>
                        <a:pt x="1796" y="857"/>
                      </a:lnTo>
                      <a:lnTo>
                        <a:pt x="1796" y="857"/>
                      </a:lnTo>
                      <a:lnTo>
                        <a:pt x="1796" y="867"/>
                      </a:lnTo>
                      <a:lnTo>
                        <a:pt x="1798" y="878"/>
                      </a:lnTo>
                      <a:lnTo>
                        <a:pt x="1802" y="899"/>
                      </a:lnTo>
                      <a:lnTo>
                        <a:pt x="1803" y="907"/>
                      </a:lnTo>
                      <a:lnTo>
                        <a:pt x="1803" y="913"/>
                      </a:lnTo>
                      <a:lnTo>
                        <a:pt x="1800" y="918"/>
                      </a:lnTo>
                      <a:lnTo>
                        <a:pt x="1793" y="918"/>
                      </a:lnTo>
                      <a:lnTo>
                        <a:pt x="1793" y="918"/>
                      </a:lnTo>
                      <a:lnTo>
                        <a:pt x="1781" y="916"/>
                      </a:lnTo>
                      <a:lnTo>
                        <a:pt x="1772" y="914"/>
                      </a:lnTo>
                      <a:lnTo>
                        <a:pt x="1767" y="913"/>
                      </a:lnTo>
                      <a:lnTo>
                        <a:pt x="1760" y="916"/>
                      </a:lnTo>
                      <a:lnTo>
                        <a:pt x="1760" y="916"/>
                      </a:lnTo>
                      <a:lnTo>
                        <a:pt x="1755" y="918"/>
                      </a:lnTo>
                      <a:lnTo>
                        <a:pt x="1748" y="918"/>
                      </a:lnTo>
                      <a:lnTo>
                        <a:pt x="1739" y="916"/>
                      </a:lnTo>
                      <a:lnTo>
                        <a:pt x="1730" y="913"/>
                      </a:lnTo>
                      <a:lnTo>
                        <a:pt x="1722" y="909"/>
                      </a:lnTo>
                      <a:lnTo>
                        <a:pt x="1715" y="904"/>
                      </a:lnTo>
                      <a:lnTo>
                        <a:pt x="1709" y="897"/>
                      </a:lnTo>
                      <a:lnTo>
                        <a:pt x="1706" y="890"/>
                      </a:lnTo>
                      <a:lnTo>
                        <a:pt x="1706" y="890"/>
                      </a:lnTo>
                      <a:lnTo>
                        <a:pt x="1704" y="876"/>
                      </a:lnTo>
                      <a:lnTo>
                        <a:pt x="1701" y="869"/>
                      </a:lnTo>
                      <a:lnTo>
                        <a:pt x="1694" y="862"/>
                      </a:lnTo>
                      <a:lnTo>
                        <a:pt x="1682" y="859"/>
                      </a:lnTo>
                      <a:lnTo>
                        <a:pt x="1682" y="859"/>
                      </a:lnTo>
                      <a:lnTo>
                        <a:pt x="1669" y="853"/>
                      </a:lnTo>
                      <a:lnTo>
                        <a:pt x="1659" y="848"/>
                      </a:lnTo>
                      <a:lnTo>
                        <a:pt x="1647" y="845"/>
                      </a:lnTo>
                      <a:lnTo>
                        <a:pt x="1628" y="841"/>
                      </a:lnTo>
                      <a:lnTo>
                        <a:pt x="1628" y="841"/>
                      </a:lnTo>
                      <a:lnTo>
                        <a:pt x="1610" y="841"/>
                      </a:lnTo>
                      <a:lnTo>
                        <a:pt x="1605" y="841"/>
                      </a:lnTo>
                      <a:lnTo>
                        <a:pt x="1605" y="843"/>
                      </a:lnTo>
                      <a:lnTo>
                        <a:pt x="1607" y="845"/>
                      </a:lnTo>
                      <a:lnTo>
                        <a:pt x="1612" y="846"/>
                      </a:lnTo>
                      <a:lnTo>
                        <a:pt x="1631" y="852"/>
                      </a:lnTo>
                      <a:lnTo>
                        <a:pt x="1631" y="852"/>
                      </a:lnTo>
                      <a:lnTo>
                        <a:pt x="1643" y="853"/>
                      </a:lnTo>
                      <a:lnTo>
                        <a:pt x="1652" y="855"/>
                      </a:lnTo>
                      <a:lnTo>
                        <a:pt x="1659" y="859"/>
                      </a:lnTo>
                      <a:lnTo>
                        <a:pt x="1662" y="862"/>
                      </a:lnTo>
                      <a:lnTo>
                        <a:pt x="1662" y="867"/>
                      </a:lnTo>
                      <a:lnTo>
                        <a:pt x="1657" y="871"/>
                      </a:lnTo>
                      <a:lnTo>
                        <a:pt x="1650" y="874"/>
                      </a:lnTo>
                      <a:lnTo>
                        <a:pt x="1638" y="879"/>
                      </a:lnTo>
                      <a:lnTo>
                        <a:pt x="1638" y="879"/>
                      </a:lnTo>
                      <a:lnTo>
                        <a:pt x="1605" y="890"/>
                      </a:lnTo>
                      <a:lnTo>
                        <a:pt x="1601" y="890"/>
                      </a:lnTo>
                      <a:lnTo>
                        <a:pt x="1598" y="890"/>
                      </a:lnTo>
                      <a:lnTo>
                        <a:pt x="1591" y="885"/>
                      </a:lnTo>
                      <a:lnTo>
                        <a:pt x="1591" y="885"/>
                      </a:lnTo>
                      <a:lnTo>
                        <a:pt x="1586" y="879"/>
                      </a:lnTo>
                      <a:lnTo>
                        <a:pt x="1586" y="879"/>
                      </a:lnTo>
                      <a:lnTo>
                        <a:pt x="1584" y="881"/>
                      </a:lnTo>
                      <a:lnTo>
                        <a:pt x="1579" y="890"/>
                      </a:lnTo>
                      <a:lnTo>
                        <a:pt x="1570" y="904"/>
                      </a:lnTo>
                      <a:lnTo>
                        <a:pt x="1570" y="904"/>
                      </a:lnTo>
                      <a:lnTo>
                        <a:pt x="1567" y="911"/>
                      </a:lnTo>
                      <a:lnTo>
                        <a:pt x="1563" y="916"/>
                      </a:lnTo>
                      <a:lnTo>
                        <a:pt x="1565" y="919"/>
                      </a:lnTo>
                      <a:lnTo>
                        <a:pt x="1568" y="921"/>
                      </a:lnTo>
                      <a:lnTo>
                        <a:pt x="1581" y="919"/>
                      </a:lnTo>
                      <a:lnTo>
                        <a:pt x="1605" y="918"/>
                      </a:lnTo>
                      <a:lnTo>
                        <a:pt x="1605" y="918"/>
                      </a:lnTo>
                      <a:lnTo>
                        <a:pt x="1626" y="916"/>
                      </a:lnTo>
                      <a:lnTo>
                        <a:pt x="1631" y="916"/>
                      </a:lnTo>
                      <a:lnTo>
                        <a:pt x="1635" y="916"/>
                      </a:lnTo>
                      <a:lnTo>
                        <a:pt x="1635" y="918"/>
                      </a:lnTo>
                      <a:lnTo>
                        <a:pt x="1635" y="919"/>
                      </a:lnTo>
                      <a:lnTo>
                        <a:pt x="1628" y="925"/>
                      </a:lnTo>
                      <a:lnTo>
                        <a:pt x="1628" y="925"/>
                      </a:lnTo>
                      <a:lnTo>
                        <a:pt x="1624" y="926"/>
                      </a:lnTo>
                      <a:lnTo>
                        <a:pt x="1622" y="926"/>
                      </a:lnTo>
                      <a:lnTo>
                        <a:pt x="1617" y="925"/>
                      </a:lnTo>
                      <a:lnTo>
                        <a:pt x="1614" y="923"/>
                      </a:lnTo>
                      <a:lnTo>
                        <a:pt x="1608" y="925"/>
                      </a:lnTo>
                      <a:lnTo>
                        <a:pt x="1603" y="926"/>
                      </a:lnTo>
                      <a:lnTo>
                        <a:pt x="1595" y="932"/>
                      </a:lnTo>
                      <a:lnTo>
                        <a:pt x="1595" y="932"/>
                      </a:lnTo>
                      <a:lnTo>
                        <a:pt x="1588" y="939"/>
                      </a:lnTo>
                      <a:lnTo>
                        <a:pt x="1584" y="942"/>
                      </a:lnTo>
                      <a:lnTo>
                        <a:pt x="1584" y="946"/>
                      </a:lnTo>
                      <a:lnTo>
                        <a:pt x="1584" y="949"/>
                      </a:lnTo>
                      <a:lnTo>
                        <a:pt x="1588" y="949"/>
                      </a:lnTo>
                      <a:lnTo>
                        <a:pt x="1591" y="947"/>
                      </a:lnTo>
                      <a:lnTo>
                        <a:pt x="1596" y="946"/>
                      </a:lnTo>
                      <a:lnTo>
                        <a:pt x="1601" y="942"/>
                      </a:lnTo>
                      <a:lnTo>
                        <a:pt x="1601" y="942"/>
                      </a:lnTo>
                      <a:lnTo>
                        <a:pt x="1608" y="935"/>
                      </a:lnTo>
                      <a:lnTo>
                        <a:pt x="1614" y="933"/>
                      </a:lnTo>
                      <a:lnTo>
                        <a:pt x="1619" y="932"/>
                      </a:lnTo>
                      <a:lnTo>
                        <a:pt x="1624" y="932"/>
                      </a:lnTo>
                      <a:lnTo>
                        <a:pt x="1635" y="932"/>
                      </a:lnTo>
                      <a:lnTo>
                        <a:pt x="1642" y="930"/>
                      </a:lnTo>
                      <a:lnTo>
                        <a:pt x="1647" y="926"/>
                      </a:lnTo>
                      <a:lnTo>
                        <a:pt x="1647" y="9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5" name="Freeform 1684">
                  <a:extLst>
                    <a:ext uri="{FF2B5EF4-FFF2-40B4-BE49-F238E27FC236}">
                      <a16:creationId xmlns:a16="http://schemas.microsoft.com/office/drawing/2014/main" id="{B580115E-7318-E4D0-3776-96933216E571}"/>
                    </a:ext>
                  </a:extLst>
                </p:cNvPr>
                <p:cNvSpPr>
                  <a:spLocks/>
                </p:cNvSpPr>
                <p:nvPr/>
              </p:nvSpPr>
              <p:spPr bwMode="auto">
                <a:xfrm>
                  <a:off x="1889968" y="3340040"/>
                  <a:ext cx="854571" cy="646654"/>
                </a:xfrm>
                <a:custGeom>
                  <a:avLst/>
                  <a:gdLst/>
                  <a:ahLst/>
                  <a:cxnLst>
                    <a:cxn ang="0">
                      <a:pos x="911" y="700"/>
                    </a:cxn>
                    <a:cxn ang="0">
                      <a:pos x="930" y="721"/>
                    </a:cxn>
                    <a:cxn ang="0">
                      <a:pos x="880" y="782"/>
                    </a:cxn>
                    <a:cxn ang="0">
                      <a:pos x="873" y="806"/>
                    </a:cxn>
                    <a:cxn ang="0">
                      <a:pos x="798" y="737"/>
                    </a:cxn>
                    <a:cxn ang="0">
                      <a:pos x="721" y="758"/>
                    </a:cxn>
                    <a:cxn ang="0">
                      <a:pos x="547" y="674"/>
                    </a:cxn>
                    <a:cxn ang="0">
                      <a:pos x="483" y="643"/>
                    </a:cxn>
                    <a:cxn ang="0">
                      <a:pos x="408" y="575"/>
                    </a:cxn>
                    <a:cxn ang="0">
                      <a:pos x="418" y="510"/>
                    </a:cxn>
                    <a:cxn ang="0">
                      <a:pos x="385" y="436"/>
                    </a:cxn>
                    <a:cxn ang="0">
                      <a:pos x="305" y="341"/>
                    </a:cxn>
                    <a:cxn ang="0">
                      <a:pos x="272" y="305"/>
                    </a:cxn>
                    <a:cxn ang="0">
                      <a:pos x="262" y="268"/>
                    </a:cxn>
                    <a:cxn ang="0">
                      <a:pos x="216" y="220"/>
                    </a:cxn>
                    <a:cxn ang="0">
                      <a:pos x="150" y="108"/>
                    </a:cxn>
                    <a:cxn ang="0">
                      <a:pos x="110" y="54"/>
                    </a:cxn>
                    <a:cxn ang="0">
                      <a:pos x="79" y="51"/>
                    </a:cxn>
                    <a:cxn ang="0">
                      <a:pos x="114" y="150"/>
                    </a:cxn>
                    <a:cxn ang="0">
                      <a:pos x="173" y="242"/>
                    </a:cxn>
                    <a:cxn ang="0">
                      <a:pos x="216" y="336"/>
                    </a:cxn>
                    <a:cxn ang="0">
                      <a:pos x="230" y="382"/>
                    </a:cxn>
                    <a:cxn ang="0">
                      <a:pos x="256" y="394"/>
                    </a:cxn>
                    <a:cxn ang="0">
                      <a:pos x="262" y="439"/>
                    </a:cxn>
                    <a:cxn ang="0">
                      <a:pos x="199" y="382"/>
                    </a:cxn>
                    <a:cxn ang="0">
                      <a:pos x="173" y="333"/>
                    </a:cxn>
                    <a:cxn ang="0">
                      <a:pos x="152" y="282"/>
                    </a:cxn>
                    <a:cxn ang="0">
                      <a:pos x="77" y="223"/>
                    </a:cxn>
                    <a:cxn ang="0">
                      <a:pos x="103" y="207"/>
                    </a:cxn>
                    <a:cxn ang="0">
                      <a:pos x="53" y="136"/>
                    </a:cxn>
                    <a:cxn ang="0">
                      <a:pos x="0" y="9"/>
                    </a:cxn>
                    <a:cxn ang="0">
                      <a:pos x="371" y="44"/>
                    </a:cxn>
                    <a:cxn ang="0">
                      <a:pos x="446" y="141"/>
                    </a:cxn>
                    <a:cxn ang="0">
                      <a:pos x="495" y="164"/>
                    </a:cxn>
                    <a:cxn ang="0">
                      <a:pos x="530" y="127"/>
                    </a:cxn>
                    <a:cxn ang="0">
                      <a:pos x="596" y="209"/>
                    </a:cxn>
                    <a:cxn ang="0">
                      <a:pos x="648" y="294"/>
                    </a:cxn>
                    <a:cxn ang="0">
                      <a:pos x="693" y="312"/>
                    </a:cxn>
                    <a:cxn ang="0">
                      <a:pos x="686" y="355"/>
                    </a:cxn>
                    <a:cxn ang="0">
                      <a:pos x="676" y="453"/>
                    </a:cxn>
                    <a:cxn ang="0">
                      <a:pos x="688" y="505"/>
                    </a:cxn>
                    <a:cxn ang="0">
                      <a:pos x="709" y="552"/>
                    </a:cxn>
                    <a:cxn ang="0">
                      <a:pos x="760" y="625"/>
                    </a:cxn>
                    <a:cxn ang="0">
                      <a:pos x="798" y="651"/>
                    </a:cxn>
                    <a:cxn ang="0">
                      <a:pos x="859" y="629"/>
                    </a:cxn>
                    <a:cxn ang="0">
                      <a:pos x="887" y="636"/>
                    </a:cxn>
                    <a:cxn ang="0">
                      <a:pos x="902" y="624"/>
                    </a:cxn>
                    <a:cxn ang="0">
                      <a:pos x="923" y="601"/>
                    </a:cxn>
                    <a:cxn ang="0">
                      <a:pos x="935" y="570"/>
                    </a:cxn>
                    <a:cxn ang="0">
                      <a:pos x="941" y="524"/>
                    </a:cxn>
                    <a:cxn ang="0">
                      <a:pos x="996" y="505"/>
                    </a:cxn>
                    <a:cxn ang="0">
                      <a:pos x="1047" y="507"/>
                    </a:cxn>
                    <a:cxn ang="0">
                      <a:pos x="1045" y="502"/>
                    </a:cxn>
                    <a:cxn ang="0">
                      <a:pos x="1064" y="509"/>
                    </a:cxn>
                    <a:cxn ang="0">
                      <a:pos x="1049" y="547"/>
                    </a:cxn>
                    <a:cxn ang="0">
                      <a:pos x="1031" y="587"/>
                    </a:cxn>
                    <a:cxn ang="0">
                      <a:pos x="1033" y="601"/>
                    </a:cxn>
                    <a:cxn ang="0">
                      <a:pos x="1029" y="644"/>
                    </a:cxn>
                    <a:cxn ang="0">
                      <a:pos x="1019" y="629"/>
                    </a:cxn>
                    <a:cxn ang="0">
                      <a:pos x="1007" y="637"/>
                    </a:cxn>
                    <a:cxn ang="0">
                      <a:pos x="986" y="657"/>
                    </a:cxn>
                  </a:cxnLst>
                  <a:rect l="0" t="0" r="r" b="b"/>
                  <a:pathLst>
                    <a:path w="1066" h="806">
                      <a:moveTo>
                        <a:pt x="981" y="665"/>
                      </a:moveTo>
                      <a:lnTo>
                        <a:pt x="918" y="665"/>
                      </a:lnTo>
                      <a:lnTo>
                        <a:pt x="918" y="690"/>
                      </a:lnTo>
                      <a:lnTo>
                        <a:pt x="901" y="690"/>
                      </a:lnTo>
                      <a:lnTo>
                        <a:pt x="901" y="690"/>
                      </a:lnTo>
                      <a:lnTo>
                        <a:pt x="906" y="691"/>
                      </a:lnTo>
                      <a:lnTo>
                        <a:pt x="908" y="695"/>
                      </a:lnTo>
                      <a:lnTo>
                        <a:pt x="911" y="700"/>
                      </a:lnTo>
                      <a:lnTo>
                        <a:pt x="911" y="700"/>
                      </a:lnTo>
                      <a:lnTo>
                        <a:pt x="915" y="704"/>
                      </a:lnTo>
                      <a:lnTo>
                        <a:pt x="920" y="707"/>
                      </a:lnTo>
                      <a:lnTo>
                        <a:pt x="925" y="711"/>
                      </a:lnTo>
                      <a:lnTo>
                        <a:pt x="927" y="712"/>
                      </a:lnTo>
                      <a:lnTo>
                        <a:pt x="928" y="718"/>
                      </a:lnTo>
                      <a:lnTo>
                        <a:pt x="928" y="718"/>
                      </a:lnTo>
                      <a:lnTo>
                        <a:pt x="930" y="721"/>
                      </a:lnTo>
                      <a:lnTo>
                        <a:pt x="932" y="723"/>
                      </a:lnTo>
                      <a:lnTo>
                        <a:pt x="935" y="725"/>
                      </a:lnTo>
                      <a:lnTo>
                        <a:pt x="937" y="725"/>
                      </a:lnTo>
                      <a:lnTo>
                        <a:pt x="937" y="726"/>
                      </a:lnTo>
                      <a:lnTo>
                        <a:pt x="935" y="738"/>
                      </a:lnTo>
                      <a:lnTo>
                        <a:pt x="892" y="738"/>
                      </a:lnTo>
                      <a:lnTo>
                        <a:pt x="874" y="775"/>
                      </a:lnTo>
                      <a:lnTo>
                        <a:pt x="880" y="782"/>
                      </a:lnTo>
                      <a:lnTo>
                        <a:pt x="880" y="782"/>
                      </a:lnTo>
                      <a:lnTo>
                        <a:pt x="876" y="787"/>
                      </a:lnTo>
                      <a:lnTo>
                        <a:pt x="876" y="791"/>
                      </a:lnTo>
                      <a:lnTo>
                        <a:pt x="876" y="796"/>
                      </a:lnTo>
                      <a:lnTo>
                        <a:pt x="876" y="796"/>
                      </a:lnTo>
                      <a:lnTo>
                        <a:pt x="876" y="799"/>
                      </a:lnTo>
                      <a:lnTo>
                        <a:pt x="876" y="803"/>
                      </a:lnTo>
                      <a:lnTo>
                        <a:pt x="873" y="806"/>
                      </a:lnTo>
                      <a:lnTo>
                        <a:pt x="873" y="806"/>
                      </a:lnTo>
                      <a:lnTo>
                        <a:pt x="862" y="794"/>
                      </a:lnTo>
                      <a:lnTo>
                        <a:pt x="854" y="784"/>
                      </a:lnTo>
                      <a:lnTo>
                        <a:pt x="840" y="765"/>
                      </a:lnTo>
                      <a:lnTo>
                        <a:pt x="831" y="756"/>
                      </a:lnTo>
                      <a:lnTo>
                        <a:pt x="822" y="747"/>
                      </a:lnTo>
                      <a:lnTo>
                        <a:pt x="812" y="742"/>
                      </a:lnTo>
                      <a:lnTo>
                        <a:pt x="798" y="737"/>
                      </a:lnTo>
                      <a:lnTo>
                        <a:pt x="798" y="737"/>
                      </a:lnTo>
                      <a:lnTo>
                        <a:pt x="784" y="737"/>
                      </a:lnTo>
                      <a:lnTo>
                        <a:pt x="772" y="738"/>
                      </a:lnTo>
                      <a:lnTo>
                        <a:pt x="761" y="744"/>
                      </a:lnTo>
                      <a:lnTo>
                        <a:pt x="753" y="749"/>
                      </a:lnTo>
                      <a:lnTo>
                        <a:pt x="744" y="754"/>
                      </a:lnTo>
                      <a:lnTo>
                        <a:pt x="733" y="758"/>
                      </a:lnTo>
                      <a:lnTo>
                        <a:pt x="721" y="758"/>
                      </a:lnTo>
                      <a:lnTo>
                        <a:pt x="706" y="754"/>
                      </a:lnTo>
                      <a:lnTo>
                        <a:pt x="706" y="754"/>
                      </a:lnTo>
                      <a:lnTo>
                        <a:pt x="664" y="738"/>
                      </a:lnTo>
                      <a:lnTo>
                        <a:pt x="619" y="718"/>
                      </a:lnTo>
                      <a:lnTo>
                        <a:pt x="596" y="705"/>
                      </a:lnTo>
                      <a:lnTo>
                        <a:pt x="577" y="695"/>
                      </a:lnTo>
                      <a:lnTo>
                        <a:pt x="559" y="684"/>
                      </a:lnTo>
                      <a:lnTo>
                        <a:pt x="547" y="674"/>
                      </a:lnTo>
                      <a:lnTo>
                        <a:pt x="547" y="674"/>
                      </a:lnTo>
                      <a:lnTo>
                        <a:pt x="537" y="665"/>
                      </a:lnTo>
                      <a:lnTo>
                        <a:pt x="528" y="660"/>
                      </a:lnTo>
                      <a:lnTo>
                        <a:pt x="519" y="657"/>
                      </a:lnTo>
                      <a:lnTo>
                        <a:pt x="511" y="655"/>
                      </a:lnTo>
                      <a:lnTo>
                        <a:pt x="502" y="653"/>
                      </a:lnTo>
                      <a:lnTo>
                        <a:pt x="493" y="650"/>
                      </a:lnTo>
                      <a:lnTo>
                        <a:pt x="483" y="643"/>
                      </a:lnTo>
                      <a:lnTo>
                        <a:pt x="472" y="634"/>
                      </a:lnTo>
                      <a:lnTo>
                        <a:pt x="472" y="634"/>
                      </a:lnTo>
                      <a:lnTo>
                        <a:pt x="462" y="624"/>
                      </a:lnTo>
                      <a:lnTo>
                        <a:pt x="451" y="617"/>
                      </a:lnTo>
                      <a:lnTo>
                        <a:pt x="436" y="604"/>
                      </a:lnTo>
                      <a:lnTo>
                        <a:pt x="422" y="592"/>
                      </a:lnTo>
                      <a:lnTo>
                        <a:pt x="415" y="585"/>
                      </a:lnTo>
                      <a:lnTo>
                        <a:pt x="408" y="575"/>
                      </a:lnTo>
                      <a:lnTo>
                        <a:pt x="408" y="575"/>
                      </a:lnTo>
                      <a:lnTo>
                        <a:pt x="404" y="564"/>
                      </a:lnTo>
                      <a:lnTo>
                        <a:pt x="404" y="554"/>
                      </a:lnTo>
                      <a:lnTo>
                        <a:pt x="408" y="545"/>
                      </a:lnTo>
                      <a:lnTo>
                        <a:pt x="411" y="536"/>
                      </a:lnTo>
                      <a:lnTo>
                        <a:pt x="415" y="528"/>
                      </a:lnTo>
                      <a:lnTo>
                        <a:pt x="418" y="519"/>
                      </a:lnTo>
                      <a:lnTo>
                        <a:pt x="418" y="510"/>
                      </a:lnTo>
                      <a:lnTo>
                        <a:pt x="413" y="500"/>
                      </a:lnTo>
                      <a:lnTo>
                        <a:pt x="413" y="500"/>
                      </a:lnTo>
                      <a:lnTo>
                        <a:pt x="410" y="489"/>
                      </a:lnTo>
                      <a:lnTo>
                        <a:pt x="406" y="481"/>
                      </a:lnTo>
                      <a:lnTo>
                        <a:pt x="404" y="472"/>
                      </a:lnTo>
                      <a:lnTo>
                        <a:pt x="401" y="462"/>
                      </a:lnTo>
                      <a:lnTo>
                        <a:pt x="396" y="449"/>
                      </a:lnTo>
                      <a:lnTo>
                        <a:pt x="385" y="436"/>
                      </a:lnTo>
                      <a:lnTo>
                        <a:pt x="370" y="416"/>
                      </a:lnTo>
                      <a:lnTo>
                        <a:pt x="347" y="394"/>
                      </a:lnTo>
                      <a:lnTo>
                        <a:pt x="347" y="394"/>
                      </a:lnTo>
                      <a:lnTo>
                        <a:pt x="333" y="378"/>
                      </a:lnTo>
                      <a:lnTo>
                        <a:pt x="323" y="368"/>
                      </a:lnTo>
                      <a:lnTo>
                        <a:pt x="314" y="352"/>
                      </a:lnTo>
                      <a:lnTo>
                        <a:pt x="310" y="347"/>
                      </a:lnTo>
                      <a:lnTo>
                        <a:pt x="305" y="341"/>
                      </a:lnTo>
                      <a:lnTo>
                        <a:pt x="298" y="336"/>
                      </a:lnTo>
                      <a:lnTo>
                        <a:pt x="286" y="329"/>
                      </a:lnTo>
                      <a:lnTo>
                        <a:pt x="286" y="329"/>
                      </a:lnTo>
                      <a:lnTo>
                        <a:pt x="279" y="326"/>
                      </a:lnTo>
                      <a:lnTo>
                        <a:pt x="276" y="321"/>
                      </a:lnTo>
                      <a:lnTo>
                        <a:pt x="272" y="317"/>
                      </a:lnTo>
                      <a:lnTo>
                        <a:pt x="272" y="314"/>
                      </a:lnTo>
                      <a:lnTo>
                        <a:pt x="272" y="305"/>
                      </a:lnTo>
                      <a:lnTo>
                        <a:pt x="274" y="298"/>
                      </a:lnTo>
                      <a:lnTo>
                        <a:pt x="277" y="289"/>
                      </a:lnTo>
                      <a:lnTo>
                        <a:pt x="277" y="282"/>
                      </a:lnTo>
                      <a:lnTo>
                        <a:pt x="276" y="279"/>
                      </a:lnTo>
                      <a:lnTo>
                        <a:pt x="272" y="275"/>
                      </a:lnTo>
                      <a:lnTo>
                        <a:pt x="269" y="272"/>
                      </a:lnTo>
                      <a:lnTo>
                        <a:pt x="262" y="268"/>
                      </a:lnTo>
                      <a:lnTo>
                        <a:pt x="262" y="268"/>
                      </a:lnTo>
                      <a:lnTo>
                        <a:pt x="249" y="263"/>
                      </a:lnTo>
                      <a:lnTo>
                        <a:pt x="241" y="256"/>
                      </a:lnTo>
                      <a:lnTo>
                        <a:pt x="237" y="251"/>
                      </a:lnTo>
                      <a:lnTo>
                        <a:pt x="234" y="244"/>
                      </a:lnTo>
                      <a:lnTo>
                        <a:pt x="229" y="232"/>
                      </a:lnTo>
                      <a:lnTo>
                        <a:pt x="225" y="227"/>
                      </a:lnTo>
                      <a:lnTo>
                        <a:pt x="216" y="220"/>
                      </a:lnTo>
                      <a:lnTo>
                        <a:pt x="216" y="220"/>
                      </a:lnTo>
                      <a:lnTo>
                        <a:pt x="206" y="211"/>
                      </a:lnTo>
                      <a:lnTo>
                        <a:pt x="195" y="200"/>
                      </a:lnTo>
                      <a:lnTo>
                        <a:pt x="187" y="188"/>
                      </a:lnTo>
                      <a:lnTo>
                        <a:pt x="176" y="173"/>
                      </a:lnTo>
                      <a:lnTo>
                        <a:pt x="169" y="157"/>
                      </a:lnTo>
                      <a:lnTo>
                        <a:pt x="161" y="141"/>
                      </a:lnTo>
                      <a:lnTo>
                        <a:pt x="155" y="124"/>
                      </a:lnTo>
                      <a:lnTo>
                        <a:pt x="150" y="108"/>
                      </a:lnTo>
                      <a:lnTo>
                        <a:pt x="150" y="108"/>
                      </a:lnTo>
                      <a:lnTo>
                        <a:pt x="141" y="84"/>
                      </a:lnTo>
                      <a:lnTo>
                        <a:pt x="136" y="70"/>
                      </a:lnTo>
                      <a:lnTo>
                        <a:pt x="133" y="65"/>
                      </a:lnTo>
                      <a:lnTo>
                        <a:pt x="128" y="63"/>
                      </a:lnTo>
                      <a:lnTo>
                        <a:pt x="119" y="58"/>
                      </a:lnTo>
                      <a:lnTo>
                        <a:pt x="119" y="58"/>
                      </a:lnTo>
                      <a:lnTo>
                        <a:pt x="110" y="54"/>
                      </a:lnTo>
                      <a:lnTo>
                        <a:pt x="107" y="54"/>
                      </a:lnTo>
                      <a:lnTo>
                        <a:pt x="101" y="54"/>
                      </a:lnTo>
                      <a:lnTo>
                        <a:pt x="89" y="47"/>
                      </a:lnTo>
                      <a:lnTo>
                        <a:pt x="89" y="47"/>
                      </a:lnTo>
                      <a:lnTo>
                        <a:pt x="86" y="46"/>
                      </a:lnTo>
                      <a:lnTo>
                        <a:pt x="82" y="46"/>
                      </a:lnTo>
                      <a:lnTo>
                        <a:pt x="81" y="47"/>
                      </a:lnTo>
                      <a:lnTo>
                        <a:pt x="79" y="51"/>
                      </a:lnTo>
                      <a:lnTo>
                        <a:pt x="79" y="61"/>
                      </a:lnTo>
                      <a:lnTo>
                        <a:pt x="81" y="75"/>
                      </a:lnTo>
                      <a:lnTo>
                        <a:pt x="84" y="91"/>
                      </a:lnTo>
                      <a:lnTo>
                        <a:pt x="89" y="106"/>
                      </a:lnTo>
                      <a:lnTo>
                        <a:pt x="94" y="120"/>
                      </a:lnTo>
                      <a:lnTo>
                        <a:pt x="101" y="133"/>
                      </a:lnTo>
                      <a:lnTo>
                        <a:pt x="101" y="133"/>
                      </a:lnTo>
                      <a:lnTo>
                        <a:pt x="114" y="150"/>
                      </a:lnTo>
                      <a:lnTo>
                        <a:pt x="128" y="167"/>
                      </a:lnTo>
                      <a:lnTo>
                        <a:pt x="141" y="185"/>
                      </a:lnTo>
                      <a:lnTo>
                        <a:pt x="147" y="195"/>
                      </a:lnTo>
                      <a:lnTo>
                        <a:pt x="150" y="206"/>
                      </a:lnTo>
                      <a:lnTo>
                        <a:pt x="150" y="206"/>
                      </a:lnTo>
                      <a:lnTo>
                        <a:pt x="155" y="216"/>
                      </a:lnTo>
                      <a:lnTo>
                        <a:pt x="161" y="227"/>
                      </a:lnTo>
                      <a:lnTo>
                        <a:pt x="173" y="242"/>
                      </a:lnTo>
                      <a:lnTo>
                        <a:pt x="185" y="256"/>
                      </a:lnTo>
                      <a:lnTo>
                        <a:pt x="190" y="265"/>
                      </a:lnTo>
                      <a:lnTo>
                        <a:pt x="195" y="275"/>
                      </a:lnTo>
                      <a:lnTo>
                        <a:pt x="195" y="275"/>
                      </a:lnTo>
                      <a:lnTo>
                        <a:pt x="201" y="293"/>
                      </a:lnTo>
                      <a:lnTo>
                        <a:pt x="204" y="305"/>
                      </a:lnTo>
                      <a:lnTo>
                        <a:pt x="208" y="317"/>
                      </a:lnTo>
                      <a:lnTo>
                        <a:pt x="216" y="336"/>
                      </a:lnTo>
                      <a:lnTo>
                        <a:pt x="216" y="336"/>
                      </a:lnTo>
                      <a:lnTo>
                        <a:pt x="222" y="347"/>
                      </a:lnTo>
                      <a:lnTo>
                        <a:pt x="225" y="354"/>
                      </a:lnTo>
                      <a:lnTo>
                        <a:pt x="225" y="361"/>
                      </a:lnTo>
                      <a:lnTo>
                        <a:pt x="227" y="366"/>
                      </a:lnTo>
                      <a:lnTo>
                        <a:pt x="227" y="373"/>
                      </a:lnTo>
                      <a:lnTo>
                        <a:pt x="227" y="376"/>
                      </a:lnTo>
                      <a:lnTo>
                        <a:pt x="230" y="382"/>
                      </a:lnTo>
                      <a:lnTo>
                        <a:pt x="230" y="382"/>
                      </a:lnTo>
                      <a:lnTo>
                        <a:pt x="234" y="383"/>
                      </a:lnTo>
                      <a:lnTo>
                        <a:pt x="237" y="383"/>
                      </a:lnTo>
                      <a:lnTo>
                        <a:pt x="242" y="382"/>
                      </a:lnTo>
                      <a:lnTo>
                        <a:pt x="244" y="380"/>
                      </a:lnTo>
                      <a:lnTo>
                        <a:pt x="248" y="382"/>
                      </a:lnTo>
                      <a:lnTo>
                        <a:pt x="253" y="385"/>
                      </a:lnTo>
                      <a:lnTo>
                        <a:pt x="256" y="394"/>
                      </a:lnTo>
                      <a:lnTo>
                        <a:pt x="256" y="394"/>
                      </a:lnTo>
                      <a:lnTo>
                        <a:pt x="267" y="409"/>
                      </a:lnTo>
                      <a:lnTo>
                        <a:pt x="272" y="422"/>
                      </a:lnTo>
                      <a:lnTo>
                        <a:pt x="272" y="425"/>
                      </a:lnTo>
                      <a:lnTo>
                        <a:pt x="270" y="429"/>
                      </a:lnTo>
                      <a:lnTo>
                        <a:pt x="267" y="434"/>
                      </a:lnTo>
                      <a:lnTo>
                        <a:pt x="262" y="439"/>
                      </a:lnTo>
                      <a:lnTo>
                        <a:pt x="262" y="439"/>
                      </a:lnTo>
                      <a:lnTo>
                        <a:pt x="255" y="441"/>
                      </a:lnTo>
                      <a:lnTo>
                        <a:pt x="251" y="441"/>
                      </a:lnTo>
                      <a:lnTo>
                        <a:pt x="248" y="437"/>
                      </a:lnTo>
                      <a:lnTo>
                        <a:pt x="244" y="429"/>
                      </a:lnTo>
                      <a:lnTo>
                        <a:pt x="239" y="420"/>
                      </a:lnTo>
                      <a:lnTo>
                        <a:pt x="230" y="408"/>
                      </a:lnTo>
                      <a:lnTo>
                        <a:pt x="218" y="395"/>
                      </a:lnTo>
                      <a:lnTo>
                        <a:pt x="199" y="382"/>
                      </a:lnTo>
                      <a:lnTo>
                        <a:pt x="199" y="382"/>
                      </a:lnTo>
                      <a:lnTo>
                        <a:pt x="190" y="375"/>
                      </a:lnTo>
                      <a:lnTo>
                        <a:pt x="183" y="368"/>
                      </a:lnTo>
                      <a:lnTo>
                        <a:pt x="178" y="362"/>
                      </a:lnTo>
                      <a:lnTo>
                        <a:pt x="175" y="355"/>
                      </a:lnTo>
                      <a:lnTo>
                        <a:pt x="173" y="350"/>
                      </a:lnTo>
                      <a:lnTo>
                        <a:pt x="171" y="343"/>
                      </a:lnTo>
                      <a:lnTo>
                        <a:pt x="173" y="333"/>
                      </a:lnTo>
                      <a:lnTo>
                        <a:pt x="175" y="322"/>
                      </a:lnTo>
                      <a:lnTo>
                        <a:pt x="175" y="312"/>
                      </a:lnTo>
                      <a:lnTo>
                        <a:pt x="173" y="307"/>
                      </a:lnTo>
                      <a:lnTo>
                        <a:pt x="171" y="301"/>
                      </a:lnTo>
                      <a:lnTo>
                        <a:pt x="168" y="296"/>
                      </a:lnTo>
                      <a:lnTo>
                        <a:pt x="164" y="291"/>
                      </a:lnTo>
                      <a:lnTo>
                        <a:pt x="164" y="291"/>
                      </a:lnTo>
                      <a:lnTo>
                        <a:pt x="152" y="282"/>
                      </a:lnTo>
                      <a:lnTo>
                        <a:pt x="141" y="275"/>
                      </a:lnTo>
                      <a:lnTo>
                        <a:pt x="119" y="263"/>
                      </a:lnTo>
                      <a:lnTo>
                        <a:pt x="100" y="251"/>
                      </a:lnTo>
                      <a:lnTo>
                        <a:pt x="91" y="244"/>
                      </a:lnTo>
                      <a:lnTo>
                        <a:pt x="82" y="234"/>
                      </a:lnTo>
                      <a:lnTo>
                        <a:pt x="82" y="234"/>
                      </a:lnTo>
                      <a:lnTo>
                        <a:pt x="77" y="227"/>
                      </a:lnTo>
                      <a:lnTo>
                        <a:pt x="77" y="223"/>
                      </a:lnTo>
                      <a:lnTo>
                        <a:pt x="79" y="223"/>
                      </a:lnTo>
                      <a:lnTo>
                        <a:pt x="84" y="223"/>
                      </a:lnTo>
                      <a:lnTo>
                        <a:pt x="89" y="223"/>
                      </a:lnTo>
                      <a:lnTo>
                        <a:pt x="96" y="221"/>
                      </a:lnTo>
                      <a:lnTo>
                        <a:pt x="98" y="220"/>
                      </a:lnTo>
                      <a:lnTo>
                        <a:pt x="101" y="216"/>
                      </a:lnTo>
                      <a:lnTo>
                        <a:pt x="103" y="213"/>
                      </a:lnTo>
                      <a:lnTo>
                        <a:pt x="103" y="207"/>
                      </a:lnTo>
                      <a:lnTo>
                        <a:pt x="103" y="207"/>
                      </a:lnTo>
                      <a:lnTo>
                        <a:pt x="103" y="195"/>
                      </a:lnTo>
                      <a:lnTo>
                        <a:pt x="100" y="185"/>
                      </a:lnTo>
                      <a:lnTo>
                        <a:pt x="94" y="174"/>
                      </a:lnTo>
                      <a:lnTo>
                        <a:pt x="86" y="167"/>
                      </a:lnTo>
                      <a:lnTo>
                        <a:pt x="68" y="152"/>
                      </a:lnTo>
                      <a:lnTo>
                        <a:pt x="60" y="145"/>
                      </a:lnTo>
                      <a:lnTo>
                        <a:pt x="53" y="136"/>
                      </a:lnTo>
                      <a:lnTo>
                        <a:pt x="53" y="136"/>
                      </a:lnTo>
                      <a:lnTo>
                        <a:pt x="47" y="127"/>
                      </a:lnTo>
                      <a:lnTo>
                        <a:pt x="42" y="119"/>
                      </a:lnTo>
                      <a:lnTo>
                        <a:pt x="35" y="94"/>
                      </a:lnTo>
                      <a:lnTo>
                        <a:pt x="23" y="59"/>
                      </a:lnTo>
                      <a:lnTo>
                        <a:pt x="14" y="37"/>
                      </a:lnTo>
                      <a:lnTo>
                        <a:pt x="0" y="9"/>
                      </a:lnTo>
                      <a:lnTo>
                        <a:pt x="0" y="9"/>
                      </a:lnTo>
                      <a:lnTo>
                        <a:pt x="44" y="5"/>
                      </a:lnTo>
                      <a:lnTo>
                        <a:pt x="84" y="0"/>
                      </a:lnTo>
                      <a:lnTo>
                        <a:pt x="81" y="11"/>
                      </a:lnTo>
                      <a:lnTo>
                        <a:pt x="81" y="11"/>
                      </a:lnTo>
                      <a:lnTo>
                        <a:pt x="213" y="65"/>
                      </a:lnTo>
                      <a:lnTo>
                        <a:pt x="314" y="65"/>
                      </a:lnTo>
                      <a:lnTo>
                        <a:pt x="314" y="44"/>
                      </a:lnTo>
                      <a:lnTo>
                        <a:pt x="371" y="44"/>
                      </a:lnTo>
                      <a:lnTo>
                        <a:pt x="371" y="44"/>
                      </a:lnTo>
                      <a:lnTo>
                        <a:pt x="394" y="65"/>
                      </a:lnTo>
                      <a:lnTo>
                        <a:pt x="427" y="99"/>
                      </a:lnTo>
                      <a:lnTo>
                        <a:pt x="427" y="99"/>
                      </a:lnTo>
                      <a:lnTo>
                        <a:pt x="432" y="106"/>
                      </a:lnTo>
                      <a:lnTo>
                        <a:pt x="436" y="113"/>
                      </a:lnTo>
                      <a:lnTo>
                        <a:pt x="441" y="133"/>
                      </a:lnTo>
                      <a:lnTo>
                        <a:pt x="446" y="141"/>
                      </a:lnTo>
                      <a:lnTo>
                        <a:pt x="453" y="150"/>
                      </a:lnTo>
                      <a:lnTo>
                        <a:pt x="462" y="157"/>
                      </a:lnTo>
                      <a:lnTo>
                        <a:pt x="474" y="164"/>
                      </a:lnTo>
                      <a:lnTo>
                        <a:pt x="474" y="164"/>
                      </a:lnTo>
                      <a:lnTo>
                        <a:pt x="481" y="166"/>
                      </a:lnTo>
                      <a:lnTo>
                        <a:pt x="486" y="167"/>
                      </a:lnTo>
                      <a:lnTo>
                        <a:pt x="491" y="166"/>
                      </a:lnTo>
                      <a:lnTo>
                        <a:pt x="495" y="164"/>
                      </a:lnTo>
                      <a:lnTo>
                        <a:pt x="498" y="157"/>
                      </a:lnTo>
                      <a:lnTo>
                        <a:pt x="502" y="150"/>
                      </a:lnTo>
                      <a:lnTo>
                        <a:pt x="504" y="140"/>
                      </a:lnTo>
                      <a:lnTo>
                        <a:pt x="509" y="133"/>
                      </a:lnTo>
                      <a:lnTo>
                        <a:pt x="512" y="129"/>
                      </a:lnTo>
                      <a:lnTo>
                        <a:pt x="518" y="127"/>
                      </a:lnTo>
                      <a:lnTo>
                        <a:pt x="523" y="127"/>
                      </a:lnTo>
                      <a:lnTo>
                        <a:pt x="530" y="127"/>
                      </a:lnTo>
                      <a:lnTo>
                        <a:pt x="530" y="127"/>
                      </a:lnTo>
                      <a:lnTo>
                        <a:pt x="537" y="131"/>
                      </a:lnTo>
                      <a:lnTo>
                        <a:pt x="544" y="133"/>
                      </a:lnTo>
                      <a:lnTo>
                        <a:pt x="554" y="141"/>
                      </a:lnTo>
                      <a:lnTo>
                        <a:pt x="565" y="153"/>
                      </a:lnTo>
                      <a:lnTo>
                        <a:pt x="573" y="166"/>
                      </a:lnTo>
                      <a:lnTo>
                        <a:pt x="587" y="195"/>
                      </a:lnTo>
                      <a:lnTo>
                        <a:pt x="596" y="209"/>
                      </a:lnTo>
                      <a:lnTo>
                        <a:pt x="605" y="221"/>
                      </a:lnTo>
                      <a:lnTo>
                        <a:pt x="605" y="221"/>
                      </a:lnTo>
                      <a:lnTo>
                        <a:pt x="613" y="234"/>
                      </a:lnTo>
                      <a:lnTo>
                        <a:pt x="620" y="246"/>
                      </a:lnTo>
                      <a:lnTo>
                        <a:pt x="629" y="270"/>
                      </a:lnTo>
                      <a:lnTo>
                        <a:pt x="634" y="281"/>
                      </a:lnTo>
                      <a:lnTo>
                        <a:pt x="643" y="291"/>
                      </a:lnTo>
                      <a:lnTo>
                        <a:pt x="648" y="294"/>
                      </a:lnTo>
                      <a:lnTo>
                        <a:pt x="657" y="298"/>
                      </a:lnTo>
                      <a:lnTo>
                        <a:pt x="666" y="300"/>
                      </a:lnTo>
                      <a:lnTo>
                        <a:pt x="674" y="303"/>
                      </a:lnTo>
                      <a:lnTo>
                        <a:pt x="674" y="303"/>
                      </a:lnTo>
                      <a:lnTo>
                        <a:pt x="681" y="305"/>
                      </a:lnTo>
                      <a:lnTo>
                        <a:pt x="686" y="308"/>
                      </a:lnTo>
                      <a:lnTo>
                        <a:pt x="692" y="312"/>
                      </a:lnTo>
                      <a:lnTo>
                        <a:pt x="693" y="312"/>
                      </a:lnTo>
                      <a:lnTo>
                        <a:pt x="693" y="312"/>
                      </a:lnTo>
                      <a:lnTo>
                        <a:pt x="693" y="312"/>
                      </a:lnTo>
                      <a:lnTo>
                        <a:pt x="697" y="308"/>
                      </a:lnTo>
                      <a:lnTo>
                        <a:pt x="700" y="308"/>
                      </a:lnTo>
                      <a:lnTo>
                        <a:pt x="700" y="308"/>
                      </a:lnTo>
                      <a:lnTo>
                        <a:pt x="697" y="324"/>
                      </a:lnTo>
                      <a:lnTo>
                        <a:pt x="692" y="338"/>
                      </a:lnTo>
                      <a:lnTo>
                        <a:pt x="686" y="355"/>
                      </a:lnTo>
                      <a:lnTo>
                        <a:pt x="681" y="383"/>
                      </a:lnTo>
                      <a:lnTo>
                        <a:pt x="681" y="383"/>
                      </a:lnTo>
                      <a:lnTo>
                        <a:pt x="679" y="413"/>
                      </a:lnTo>
                      <a:lnTo>
                        <a:pt x="679" y="430"/>
                      </a:lnTo>
                      <a:lnTo>
                        <a:pt x="679" y="439"/>
                      </a:lnTo>
                      <a:lnTo>
                        <a:pt x="678" y="448"/>
                      </a:lnTo>
                      <a:lnTo>
                        <a:pt x="678" y="448"/>
                      </a:lnTo>
                      <a:lnTo>
                        <a:pt x="676" y="453"/>
                      </a:lnTo>
                      <a:lnTo>
                        <a:pt x="676" y="455"/>
                      </a:lnTo>
                      <a:lnTo>
                        <a:pt x="678" y="458"/>
                      </a:lnTo>
                      <a:lnTo>
                        <a:pt x="679" y="465"/>
                      </a:lnTo>
                      <a:lnTo>
                        <a:pt x="679" y="465"/>
                      </a:lnTo>
                      <a:lnTo>
                        <a:pt x="681" y="491"/>
                      </a:lnTo>
                      <a:lnTo>
                        <a:pt x="685" y="500"/>
                      </a:lnTo>
                      <a:lnTo>
                        <a:pt x="686" y="503"/>
                      </a:lnTo>
                      <a:lnTo>
                        <a:pt x="688" y="505"/>
                      </a:lnTo>
                      <a:lnTo>
                        <a:pt x="688" y="505"/>
                      </a:lnTo>
                      <a:lnTo>
                        <a:pt x="690" y="505"/>
                      </a:lnTo>
                      <a:lnTo>
                        <a:pt x="692" y="509"/>
                      </a:lnTo>
                      <a:lnTo>
                        <a:pt x="693" y="521"/>
                      </a:lnTo>
                      <a:lnTo>
                        <a:pt x="699" y="535"/>
                      </a:lnTo>
                      <a:lnTo>
                        <a:pt x="702" y="543"/>
                      </a:lnTo>
                      <a:lnTo>
                        <a:pt x="709" y="552"/>
                      </a:lnTo>
                      <a:lnTo>
                        <a:pt x="709" y="552"/>
                      </a:lnTo>
                      <a:lnTo>
                        <a:pt x="718" y="566"/>
                      </a:lnTo>
                      <a:lnTo>
                        <a:pt x="725" y="578"/>
                      </a:lnTo>
                      <a:lnTo>
                        <a:pt x="733" y="601"/>
                      </a:lnTo>
                      <a:lnTo>
                        <a:pt x="739" y="610"/>
                      </a:lnTo>
                      <a:lnTo>
                        <a:pt x="742" y="617"/>
                      </a:lnTo>
                      <a:lnTo>
                        <a:pt x="749" y="622"/>
                      </a:lnTo>
                      <a:lnTo>
                        <a:pt x="760" y="625"/>
                      </a:lnTo>
                      <a:lnTo>
                        <a:pt x="760" y="625"/>
                      </a:lnTo>
                      <a:lnTo>
                        <a:pt x="772" y="627"/>
                      </a:lnTo>
                      <a:lnTo>
                        <a:pt x="779" y="632"/>
                      </a:lnTo>
                      <a:lnTo>
                        <a:pt x="786" y="636"/>
                      </a:lnTo>
                      <a:lnTo>
                        <a:pt x="787" y="641"/>
                      </a:lnTo>
                      <a:lnTo>
                        <a:pt x="793" y="648"/>
                      </a:lnTo>
                      <a:lnTo>
                        <a:pt x="794" y="650"/>
                      </a:lnTo>
                      <a:lnTo>
                        <a:pt x="798" y="651"/>
                      </a:lnTo>
                      <a:lnTo>
                        <a:pt x="798" y="651"/>
                      </a:lnTo>
                      <a:lnTo>
                        <a:pt x="807" y="648"/>
                      </a:lnTo>
                      <a:lnTo>
                        <a:pt x="814" y="643"/>
                      </a:lnTo>
                      <a:lnTo>
                        <a:pt x="822" y="639"/>
                      </a:lnTo>
                      <a:lnTo>
                        <a:pt x="836" y="637"/>
                      </a:lnTo>
                      <a:lnTo>
                        <a:pt x="836" y="637"/>
                      </a:lnTo>
                      <a:lnTo>
                        <a:pt x="850" y="634"/>
                      </a:lnTo>
                      <a:lnTo>
                        <a:pt x="855" y="631"/>
                      </a:lnTo>
                      <a:lnTo>
                        <a:pt x="859" y="629"/>
                      </a:lnTo>
                      <a:lnTo>
                        <a:pt x="866" y="627"/>
                      </a:lnTo>
                      <a:lnTo>
                        <a:pt x="866" y="627"/>
                      </a:lnTo>
                      <a:lnTo>
                        <a:pt x="876" y="625"/>
                      </a:lnTo>
                      <a:lnTo>
                        <a:pt x="883" y="627"/>
                      </a:lnTo>
                      <a:lnTo>
                        <a:pt x="885" y="629"/>
                      </a:lnTo>
                      <a:lnTo>
                        <a:pt x="887" y="634"/>
                      </a:lnTo>
                      <a:lnTo>
                        <a:pt x="887" y="634"/>
                      </a:lnTo>
                      <a:lnTo>
                        <a:pt x="887" y="636"/>
                      </a:lnTo>
                      <a:lnTo>
                        <a:pt x="888" y="637"/>
                      </a:lnTo>
                      <a:lnTo>
                        <a:pt x="895" y="637"/>
                      </a:lnTo>
                      <a:lnTo>
                        <a:pt x="901" y="636"/>
                      </a:lnTo>
                      <a:lnTo>
                        <a:pt x="906" y="632"/>
                      </a:lnTo>
                      <a:lnTo>
                        <a:pt x="906" y="632"/>
                      </a:lnTo>
                      <a:lnTo>
                        <a:pt x="906" y="629"/>
                      </a:lnTo>
                      <a:lnTo>
                        <a:pt x="906" y="625"/>
                      </a:lnTo>
                      <a:lnTo>
                        <a:pt x="902" y="624"/>
                      </a:lnTo>
                      <a:lnTo>
                        <a:pt x="899" y="622"/>
                      </a:lnTo>
                      <a:lnTo>
                        <a:pt x="899" y="620"/>
                      </a:lnTo>
                      <a:lnTo>
                        <a:pt x="901" y="618"/>
                      </a:lnTo>
                      <a:lnTo>
                        <a:pt x="901" y="618"/>
                      </a:lnTo>
                      <a:lnTo>
                        <a:pt x="908" y="615"/>
                      </a:lnTo>
                      <a:lnTo>
                        <a:pt x="916" y="608"/>
                      </a:lnTo>
                      <a:lnTo>
                        <a:pt x="920" y="604"/>
                      </a:lnTo>
                      <a:lnTo>
                        <a:pt x="923" y="601"/>
                      </a:lnTo>
                      <a:lnTo>
                        <a:pt x="925" y="594"/>
                      </a:lnTo>
                      <a:lnTo>
                        <a:pt x="927" y="587"/>
                      </a:lnTo>
                      <a:lnTo>
                        <a:pt x="927" y="587"/>
                      </a:lnTo>
                      <a:lnTo>
                        <a:pt x="928" y="582"/>
                      </a:lnTo>
                      <a:lnTo>
                        <a:pt x="928" y="578"/>
                      </a:lnTo>
                      <a:lnTo>
                        <a:pt x="932" y="575"/>
                      </a:lnTo>
                      <a:lnTo>
                        <a:pt x="934" y="573"/>
                      </a:lnTo>
                      <a:lnTo>
                        <a:pt x="935" y="570"/>
                      </a:lnTo>
                      <a:lnTo>
                        <a:pt x="935" y="559"/>
                      </a:lnTo>
                      <a:lnTo>
                        <a:pt x="935" y="559"/>
                      </a:lnTo>
                      <a:lnTo>
                        <a:pt x="934" y="547"/>
                      </a:lnTo>
                      <a:lnTo>
                        <a:pt x="935" y="540"/>
                      </a:lnTo>
                      <a:lnTo>
                        <a:pt x="939" y="535"/>
                      </a:lnTo>
                      <a:lnTo>
                        <a:pt x="939" y="530"/>
                      </a:lnTo>
                      <a:lnTo>
                        <a:pt x="939" y="530"/>
                      </a:lnTo>
                      <a:lnTo>
                        <a:pt x="941" y="524"/>
                      </a:lnTo>
                      <a:lnTo>
                        <a:pt x="942" y="521"/>
                      </a:lnTo>
                      <a:lnTo>
                        <a:pt x="948" y="519"/>
                      </a:lnTo>
                      <a:lnTo>
                        <a:pt x="953" y="516"/>
                      </a:lnTo>
                      <a:lnTo>
                        <a:pt x="967" y="512"/>
                      </a:lnTo>
                      <a:lnTo>
                        <a:pt x="982" y="509"/>
                      </a:lnTo>
                      <a:lnTo>
                        <a:pt x="982" y="509"/>
                      </a:lnTo>
                      <a:lnTo>
                        <a:pt x="993" y="507"/>
                      </a:lnTo>
                      <a:lnTo>
                        <a:pt x="996" y="505"/>
                      </a:lnTo>
                      <a:lnTo>
                        <a:pt x="1002" y="502"/>
                      </a:lnTo>
                      <a:lnTo>
                        <a:pt x="1012" y="500"/>
                      </a:lnTo>
                      <a:lnTo>
                        <a:pt x="1012" y="500"/>
                      </a:lnTo>
                      <a:lnTo>
                        <a:pt x="1019" y="500"/>
                      </a:lnTo>
                      <a:lnTo>
                        <a:pt x="1026" y="500"/>
                      </a:lnTo>
                      <a:lnTo>
                        <a:pt x="1036" y="503"/>
                      </a:lnTo>
                      <a:lnTo>
                        <a:pt x="1043" y="507"/>
                      </a:lnTo>
                      <a:lnTo>
                        <a:pt x="1047" y="507"/>
                      </a:lnTo>
                      <a:lnTo>
                        <a:pt x="1049" y="507"/>
                      </a:lnTo>
                      <a:lnTo>
                        <a:pt x="1049" y="507"/>
                      </a:lnTo>
                      <a:lnTo>
                        <a:pt x="1052" y="505"/>
                      </a:lnTo>
                      <a:lnTo>
                        <a:pt x="1052" y="503"/>
                      </a:lnTo>
                      <a:lnTo>
                        <a:pt x="1047" y="502"/>
                      </a:lnTo>
                      <a:lnTo>
                        <a:pt x="1047" y="502"/>
                      </a:lnTo>
                      <a:lnTo>
                        <a:pt x="1045" y="502"/>
                      </a:lnTo>
                      <a:lnTo>
                        <a:pt x="1045" y="502"/>
                      </a:lnTo>
                      <a:lnTo>
                        <a:pt x="1049" y="500"/>
                      </a:lnTo>
                      <a:lnTo>
                        <a:pt x="1054" y="498"/>
                      </a:lnTo>
                      <a:lnTo>
                        <a:pt x="1056" y="500"/>
                      </a:lnTo>
                      <a:lnTo>
                        <a:pt x="1057" y="502"/>
                      </a:lnTo>
                      <a:lnTo>
                        <a:pt x="1057" y="502"/>
                      </a:lnTo>
                      <a:lnTo>
                        <a:pt x="1061" y="505"/>
                      </a:lnTo>
                      <a:lnTo>
                        <a:pt x="1063" y="507"/>
                      </a:lnTo>
                      <a:lnTo>
                        <a:pt x="1064" y="509"/>
                      </a:lnTo>
                      <a:lnTo>
                        <a:pt x="1064" y="512"/>
                      </a:lnTo>
                      <a:lnTo>
                        <a:pt x="1064" y="512"/>
                      </a:lnTo>
                      <a:lnTo>
                        <a:pt x="1064" y="517"/>
                      </a:lnTo>
                      <a:lnTo>
                        <a:pt x="1066" y="521"/>
                      </a:lnTo>
                      <a:lnTo>
                        <a:pt x="1064" y="526"/>
                      </a:lnTo>
                      <a:lnTo>
                        <a:pt x="1056" y="538"/>
                      </a:lnTo>
                      <a:lnTo>
                        <a:pt x="1056" y="538"/>
                      </a:lnTo>
                      <a:lnTo>
                        <a:pt x="1049" y="547"/>
                      </a:lnTo>
                      <a:lnTo>
                        <a:pt x="1045" y="554"/>
                      </a:lnTo>
                      <a:lnTo>
                        <a:pt x="1042" y="566"/>
                      </a:lnTo>
                      <a:lnTo>
                        <a:pt x="1042" y="575"/>
                      </a:lnTo>
                      <a:lnTo>
                        <a:pt x="1040" y="578"/>
                      </a:lnTo>
                      <a:lnTo>
                        <a:pt x="1036" y="580"/>
                      </a:lnTo>
                      <a:lnTo>
                        <a:pt x="1036" y="580"/>
                      </a:lnTo>
                      <a:lnTo>
                        <a:pt x="1031" y="585"/>
                      </a:lnTo>
                      <a:lnTo>
                        <a:pt x="1031" y="587"/>
                      </a:lnTo>
                      <a:lnTo>
                        <a:pt x="1033" y="589"/>
                      </a:lnTo>
                      <a:lnTo>
                        <a:pt x="1038" y="589"/>
                      </a:lnTo>
                      <a:lnTo>
                        <a:pt x="1038" y="589"/>
                      </a:lnTo>
                      <a:lnTo>
                        <a:pt x="1042" y="587"/>
                      </a:lnTo>
                      <a:lnTo>
                        <a:pt x="1043" y="589"/>
                      </a:lnTo>
                      <a:lnTo>
                        <a:pt x="1036" y="596"/>
                      </a:lnTo>
                      <a:lnTo>
                        <a:pt x="1036" y="596"/>
                      </a:lnTo>
                      <a:lnTo>
                        <a:pt x="1033" y="601"/>
                      </a:lnTo>
                      <a:lnTo>
                        <a:pt x="1035" y="601"/>
                      </a:lnTo>
                      <a:lnTo>
                        <a:pt x="1038" y="599"/>
                      </a:lnTo>
                      <a:lnTo>
                        <a:pt x="1040" y="601"/>
                      </a:lnTo>
                      <a:lnTo>
                        <a:pt x="1040" y="603"/>
                      </a:lnTo>
                      <a:lnTo>
                        <a:pt x="1040" y="603"/>
                      </a:lnTo>
                      <a:lnTo>
                        <a:pt x="1036" y="615"/>
                      </a:lnTo>
                      <a:lnTo>
                        <a:pt x="1033" y="631"/>
                      </a:lnTo>
                      <a:lnTo>
                        <a:pt x="1029" y="644"/>
                      </a:lnTo>
                      <a:lnTo>
                        <a:pt x="1028" y="648"/>
                      </a:lnTo>
                      <a:lnTo>
                        <a:pt x="1026" y="646"/>
                      </a:lnTo>
                      <a:lnTo>
                        <a:pt x="1026" y="646"/>
                      </a:lnTo>
                      <a:lnTo>
                        <a:pt x="1024" y="639"/>
                      </a:lnTo>
                      <a:lnTo>
                        <a:pt x="1021" y="636"/>
                      </a:lnTo>
                      <a:lnTo>
                        <a:pt x="1019" y="634"/>
                      </a:lnTo>
                      <a:lnTo>
                        <a:pt x="1019" y="629"/>
                      </a:lnTo>
                      <a:lnTo>
                        <a:pt x="1019" y="629"/>
                      </a:lnTo>
                      <a:lnTo>
                        <a:pt x="1022" y="624"/>
                      </a:lnTo>
                      <a:lnTo>
                        <a:pt x="1021" y="620"/>
                      </a:lnTo>
                      <a:lnTo>
                        <a:pt x="1019" y="620"/>
                      </a:lnTo>
                      <a:lnTo>
                        <a:pt x="1017" y="622"/>
                      </a:lnTo>
                      <a:lnTo>
                        <a:pt x="1017" y="622"/>
                      </a:lnTo>
                      <a:lnTo>
                        <a:pt x="1010" y="637"/>
                      </a:lnTo>
                      <a:lnTo>
                        <a:pt x="1010" y="637"/>
                      </a:lnTo>
                      <a:lnTo>
                        <a:pt x="1007" y="637"/>
                      </a:lnTo>
                      <a:lnTo>
                        <a:pt x="1003" y="639"/>
                      </a:lnTo>
                      <a:lnTo>
                        <a:pt x="998" y="648"/>
                      </a:lnTo>
                      <a:lnTo>
                        <a:pt x="995" y="657"/>
                      </a:lnTo>
                      <a:lnTo>
                        <a:pt x="995" y="660"/>
                      </a:lnTo>
                      <a:lnTo>
                        <a:pt x="993" y="662"/>
                      </a:lnTo>
                      <a:lnTo>
                        <a:pt x="993" y="662"/>
                      </a:lnTo>
                      <a:lnTo>
                        <a:pt x="989" y="660"/>
                      </a:lnTo>
                      <a:lnTo>
                        <a:pt x="986" y="657"/>
                      </a:lnTo>
                      <a:lnTo>
                        <a:pt x="984" y="657"/>
                      </a:lnTo>
                      <a:lnTo>
                        <a:pt x="982" y="658"/>
                      </a:lnTo>
                      <a:lnTo>
                        <a:pt x="981" y="665"/>
                      </a:lnTo>
                      <a:lnTo>
                        <a:pt x="981" y="66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6" name="Freeform 1685">
                  <a:extLst>
                    <a:ext uri="{FF2B5EF4-FFF2-40B4-BE49-F238E27FC236}">
                      <a16:creationId xmlns:a16="http://schemas.microsoft.com/office/drawing/2014/main" id="{9D8F18B9-E85D-6C39-133D-6D299F62B7C7}"/>
                    </a:ext>
                  </a:extLst>
                </p:cNvPr>
                <p:cNvSpPr>
                  <a:spLocks/>
                </p:cNvSpPr>
                <p:nvPr/>
              </p:nvSpPr>
              <p:spPr bwMode="auto">
                <a:xfrm>
                  <a:off x="3105747" y="4302097"/>
                  <a:ext cx="1101251" cy="1358503"/>
                </a:xfrm>
                <a:custGeom>
                  <a:avLst/>
                  <a:gdLst/>
                  <a:ahLst/>
                  <a:cxnLst>
                    <a:cxn ang="0">
                      <a:pos x="695" y="1610"/>
                    </a:cxn>
                    <a:cxn ang="0">
                      <a:pos x="636" y="1568"/>
                    </a:cxn>
                    <a:cxn ang="0">
                      <a:pos x="583" y="1535"/>
                    </a:cxn>
                    <a:cxn ang="0">
                      <a:pos x="623" y="1462"/>
                    </a:cxn>
                    <a:cxn ang="0">
                      <a:pos x="703" y="1335"/>
                    </a:cxn>
                    <a:cxn ang="0">
                      <a:pos x="688" y="1265"/>
                    </a:cxn>
                    <a:cxn ang="0">
                      <a:pos x="646" y="1250"/>
                    </a:cxn>
                    <a:cxn ang="0">
                      <a:pos x="604" y="1175"/>
                    </a:cxn>
                    <a:cxn ang="0">
                      <a:pos x="564" y="1130"/>
                    </a:cxn>
                    <a:cxn ang="0">
                      <a:pos x="562" y="1053"/>
                    </a:cxn>
                    <a:cxn ang="0">
                      <a:pos x="550" y="962"/>
                    </a:cxn>
                    <a:cxn ang="0">
                      <a:pos x="488" y="915"/>
                    </a:cxn>
                    <a:cxn ang="0">
                      <a:pos x="442" y="795"/>
                    </a:cxn>
                    <a:cxn ang="0">
                      <a:pos x="387" y="773"/>
                    </a:cxn>
                    <a:cxn ang="0">
                      <a:pos x="299" y="661"/>
                    </a:cxn>
                    <a:cxn ang="0">
                      <a:pos x="204" y="684"/>
                    </a:cxn>
                    <a:cxn ang="0">
                      <a:pos x="120" y="691"/>
                    </a:cxn>
                    <a:cxn ang="0">
                      <a:pos x="78" y="651"/>
                    </a:cxn>
                    <a:cxn ang="0">
                      <a:pos x="28" y="618"/>
                    </a:cxn>
                    <a:cxn ang="0">
                      <a:pos x="14" y="508"/>
                    </a:cxn>
                    <a:cxn ang="0">
                      <a:pos x="98" y="409"/>
                    </a:cxn>
                    <a:cxn ang="0">
                      <a:pos x="151" y="323"/>
                    </a:cxn>
                    <a:cxn ang="0">
                      <a:pos x="139" y="233"/>
                    </a:cxn>
                    <a:cxn ang="0">
                      <a:pos x="165" y="198"/>
                    </a:cxn>
                    <a:cxn ang="0">
                      <a:pos x="198" y="139"/>
                    </a:cxn>
                    <a:cxn ang="0">
                      <a:pos x="239" y="158"/>
                    </a:cxn>
                    <a:cxn ang="0">
                      <a:pos x="296" y="193"/>
                    </a:cxn>
                    <a:cxn ang="0">
                      <a:pos x="350" y="141"/>
                    </a:cxn>
                    <a:cxn ang="0">
                      <a:pos x="348" y="113"/>
                    </a:cxn>
                    <a:cxn ang="0">
                      <a:pos x="380" y="66"/>
                    </a:cxn>
                    <a:cxn ang="0">
                      <a:pos x="454" y="29"/>
                    </a:cxn>
                    <a:cxn ang="0">
                      <a:pos x="489" y="10"/>
                    </a:cxn>
                    <a:cxn ang="0">
                      <a:pos x="489" y="104"/>
                    </a:cxn>
                    <a:cxn ang="0">
                      <a:pos x="517" y="167"/>
                    </a:cxn>
                    <a:cxn ang="0">
                      <a:pos x="569" y="151"/>
                    </a:cxn>
                    <a:cxn ang="0">
                      <a:pos x="632" y="142"/>
                    </a:cxn>
                    <a:cxn ang="0">
                      <a:pos x="663" y="111"/>
                    </a:cxn>
                    <a:cxn ang="0">
                      <a:pos x="705" y="123"/>
                    </a:cxn>
                    <a:cxn ang="0">
                      <a:pos x="740" y="128"/>
                    </a:cxn>
                    <a:cxn ang="0">
                      <a:pos x="791" y="41"/>
                    </a:cxn>
                    <a:cxn ang="0">
                      <a:pos x="808" y="115"/>
                    </a:cxn>
                    <a:cxn ang="0">
                      <a:pos x="831" y="148"/>
                    </a:cxn>
                    <a:cxn ang="0">
                      <a:pos x="811" y="215"/>
                    </a:cxn>
                    <a:cxn ang="0">
                      <a:pos x="791" y="250"/>
                    </a:cxn>
                    <a:cxn ang="0">
                      <a:pos x="811" y="275"/>
                    </a:cxn>
                    <a:cxn ang="0">
                      <a:pos x="885" y="235"/>
                    </a:cxn>
                    <a:cxn ang="0">
                      <a:pos x="900" y="264"/>
                    </a:cxn>
                    <a:cxn ang="0">
                      <a:pos x="992" y="276"/>
                    </a:cxn>
                    <a:cxn ang="0">
                      <a:pos x="1033" y="330"/>
                    </a:cxn>
                    <a:cxn ang="0">
                      <a:pos x="1078" y="325"/>
                    </a:cxn>
                    <a:cxn ang="0">
                      <a:pos x="1236" y="374"/>
                    </a:cxn>
                    <a:cxn ang="0">
                      <a:pos x="1329" y="435"/>
                    </a:cxn>
                    <a:cxn ang="0">
                      <a:pos x="1370" y="567"/>
                    </a:cxn>
                    <a:cxn ang="0">
                      <a:pos x="1266" y="750"/>
                    </a:cxn>
                    <a:cxn ang="0">
                      <a:pos x="1222" y="847"/>
                    </a:cxn>
                    <a:cxn ang="0">
                      <a:pos x="1219" y="985"/>
                    </a:cxn>
                    <a:cxn ang="0">
                      <a:pos x="1163" y="1119"/>
                    </a:cxn>
                    <a:cxn ang="0">
                      <a:pos x="1125" y="1201"/>
                    </a:cxn>
                    <a:cxn ang="0">
                      <a:pos x="1048" y="1210"/>
                    </a:cxn>
                    <a:cxn ang="0">
                      <a:pos x="928" y="1285"/>
                    </a:cxn>
                    <a:cxn ang="0">
                      <a:pos x="885" y="1448"/>
                    </a:cxn>
                    <a:cxn ang="0">
                      <a:pos x="796" y="1598"/>
                    </a:cxn>
                  </a:cxnLst>
                  <a:rect l="0" t="0" r="r" b="b"/>
                  <a:pathLst>
                    <a:path w="1372" h="1694">
                      <a:moveTo>
                        <a:pt x="716" y="1694"/>
                      </a:moveTo>
                      <a:lnTo>
                        <a:pt x="716" y="1694"/>
                      </a:lnTo>
                      <a:lnTo>
                        <a:pt x="714" y="1681"/>
                      </a:lnTo>
                      <a:lnTo>
                        <a:pt x="714" y="1675"/>
                      </a:lnTo>
                      <a:lnTo>
                        <a:pt x="717" y="1668"/>
                      </a:lnTo>
                      <a:lnTo>
                        <a:pt x="721" y="1662"/>
                      </a:lnTo>
                      <a:lnTo>
                        <a:pt x="724" y="1659"/>
                      </a:lnTo>
                      <a:lnTo>
                        <a:pt x="726" y="1654"/>
                      </a:lnTo>
                      <a:lnTo>
                        <a:pt x="726" y="1648"/>
                      </a:lnTo>
                      <a:lnTo>
                        <a:pt x="723" y="1641"/>
                      </a:lnTo>
                      <a:lnTo>
                        <a:pt x="723" y="1641"/>
                      </a:lnTo>
                      <a:lnTo>
                        <a:pt x="709" y="1621"/>
                      </a:lnTo>
                      <a:lnTo>
                        <a:pt x="703" y="1615"/>
                      </a:lnTo>
                      <a:lnTo>
                        <a:pt x="695" y="1610"/>
                      </a:lnTo>
                      <a:lnTo>
                        <a:pt x="695" y="1610"/>
                      </a:lnTo>
                      <a:lnTo>
                        <a:pt x="688" y="1603"/>
                      </a:lnTo>
                      <a:lnTo>
                        <a:pt x="683" y="1598"/>
                      </a:lnTo>
                      <a:lnTo>
                        <a:pt x="677" y="1593"/>
                      </a:lnTo>
                      <a:lnTo>
                        <a:pt x="667" y="1587"/>
                      </a:lnTo>
                      <a:lnTo>
                        <a:pt x="667" y="1587"/>
                      </a:lnTo>
                      <a:lnTo>
                        <a:pt x="662" y="1582"/>
                      </a:lnTo>
                      <a:lnTo>
                        <a:pt x="656" y="1579"/>
                      </a:lnTo>
                      <a:lnTo>
                        <a:pt x="651" y="1570"/>
                      </a:lnTo>
                      <a:lnTo>
                        <a:pt x="648" y="1567"/>
                      </a:lnTo>
                      <a:lnTo>
                        <a:pt x="644" y="1565"/>
                      </a:lnTo>
                      <a:lnTo>
                        <a:pt x="641" y="1565"/>
                      </a:lnTo>
                      <a:lnTo>
                        <a:pt x="636" y="1568"/>
                      </a:lnTo>
                      <a:lnTo>
                        <a:pt x="636" y="1568"/>
                      </a:lnTo>
                      <a:lnTo>
                        <a:pt x="630" y="1572"/>
                      </a:lnTo>
                      <a:lnTo>
                        <a:pt x="627" y="1572"/>
                      </a:lnTo>
                      <a:lnTo>
                        <a:pt x="625" y="1570"/>
                      </a:lnTo>
                      <a:lnTo>
                        <a:pt x="625" y="1565"/>
                      </a:lnTo>
                      <a:lnTo>
                        <a:pt x="623" y="1560"/>
                      </a:lnTo>
                      <a:lnTo>
                        <a:pt x="622" y="1553"/>
                      </a:lnTo>
                      <a:lnTo>
                        <a:pt x="618" y="1546"/>
                      </a:lnTo>
                      <a:lnTo>
                        <a:pt x="611" y="1537"/>
                      </a:lnTo>
                      <a:lnTo>
                        <a:pt x="611" y="1537"/>
                      </a:lnTo>
                      <a:lnTo>
                        <a:pt x="602" y="1532"/>
                      </a:lnTo>
                      <a:lnTo>
                        <a:pt x="597" y="1530"/>
                      </a:lnTo>
                      <a:lnTo>
                        <a:pt x="592" y="1532"/>
                      </a:lnTo>
                      <a:lnTo>
                        <a:pt x="587" y="1533"/>
                      </a:lnTo>
                      <a:lnTo>
                        <a:pt x="583" y="1535"/>
                      </a:lnTo>
                      <a:lnTo>
                        <a:pt x="578" y="1537"/>
                      </a:lnTo>
                      <a:lnTo>
                        <a:pt x="575" y="1535"/>
                      </a:lnTo>
                      <a:lnTo>
                        <a:pt x="571" y="1530"/>
                      </a:lnTo>
                      <a:lnTo>
                        <a:pt x="571" y="1530"/>
                      </a:lnTo>
                      <a:lnTo>
                        <a:pt x="576" y="1525"/>
                      </a:lnTo>
                      <a:lnTo>
                        <a:pt x="578" y="1521"/>
                      </a:lnTo>
                      <a:lnTo>
                        <a:pt x="582" y="1516"/>
                      </a:lnTo>
                      <a:lnTo>
                        <a:pt x="589" y="1513"/>
                      </a:lnTo>
                      <a:lnTo>
                        <a:pt x="589" y="1513"/>
                      </a:lnTo>
                      <a:lnTo>
                        <a:pt x="592" y="1511"/>
                      </a:lnTo>
                      <a:lnTo>
                        <a:pt x="595" y="1507"/>
                      </a:lnTo>
                      <a:lnTo>
                        <a:pt x="601" y="1499"/>
                      </a:lnTo>
                      <a:lnTo>
                        <a:pt x="608" y="1485"/>
                      </a:lnTo>
                      <a:lnTo>
                        <a:pt x="623" y="1462"/>
                      </a:lnTo>
                      <a:lnTo>
                        <a:pt x="623" y="1462"/>
                      </a:lnTo>
                      <a:lnTo>
                        <a:pt x="641" y="1441"/>
                      </a:lnTo>
                      <a:lnTo>
                        <a:pt x="658" y="1424"/>
                      </a:lnTo>
                      <a:lnTo>
                        <a:pt x="676" y="1412"/>
                      </a:lnTo>
                      <a:lnTo>
                        <a:pt x="691" y="1403"/>
                      </a:lnTo>
                      <a:lnTo>
                        <a:pt x="691" y="1403"/>
                      </a:lnTo>
                      <a:lnTo>
                        <a:pt x="698" y="1398"/>
                      </a:lnTo>
                      <a:lnTo>
                        <a:pt x="703" y="1392"/>
                      </a:lnTo>
                      <a:lnTo>
                        <a:pt x="709" y="1385"/>
                      </a:lnTo>
                      <a:lnTo>
                        <a:pt x="710" y="1377"/>
                      </a:lnTo>
                      <a:lnTo>
                        <a:pt x="710" y="1368"/>
                      </a:lnTo>
                      <a:lnTo>
                        <a:pt x="710" y="1358"/>
                      </a:lnTo>
                      <a:lnTo>
                        <a:pt x="707" y="1347"/>
                      </a:lnTo>
                      <a:lnTo>
                        <a:pt x="703" y="1335"/>
                      </a:lnTo>
                      <a:lnTo>
                        <a:pt x="703" y="1335"/>
                      </a:lnTo>
                      <a:lnTo>
                        <a:pt x="698" y="1326"/>
                      </a:lnTo>
                      <a:lnTo>
                        <a:pt x="695" y="1321"/>
                      </a:lnTo>
                      <a:lnTo>
                        <a:pt x="693" y="1319"/>
                      </a:lnTo>
                      <a:lnTo>
                        <a:pt x="690" y="1321"/>
                      </a:lnTo>
                      <a:lnTo>
                        <a:pt x="684" y="1325"/>
                      </a:lnTo>
                      <a:lnTo>
                        <a:pt x="681" y="1326"/>
                      </a:lnTo>
                      <a:lnTo>
                        <a:pt x="676" y="1325"/>
                      </a:lnTo>
                      <a:lnTo>
                        <a:pt x="676" y="1325"/>
                      </a:lnTo>
                      <a:lnTo>
                        <a:pt x="679" y="1319"/>
                      </a:lnTo>
                      <a:lnTo>
                        <a:pt x="683" y="1311"/>
                      </a:lnTo>
                      <a:lnTo>
                        <a:pt x="686" y="1288"/>
                      </a:lnTo>
                      <a:lnTo>
                        <a:pt x="688" y="1276"/>
                      </a:lnTo>
                      <a:lnTo>
                        <a:pt x="688" y="1265"/>
                      </a:lnTo>
                      <a:lnTo>
                        <a:pt x="686" y="1257"/>
                      </a:lnTo>
                      <a:lnTo>
                        <a:pt x="683" y="1250"/>
                      </a:lnTo>
                      <a:lnTo>
                        <a:pt x="683" y="1250"/>
                      </a:lnTo>
                      <a:lnTo>
                        <a:pt x="679" y="1248"/>
                      </a:lnTo>
                      <a:lnTo>
                        <a:pt x="676" y="1246"/>
                      </a:lnTo>
                      <a:lnTo>
                        <a:pt x="672" y="1246"/>
                      </a:lnTo>
                      <a:lnTo>
                        <a:pt x="669" y="1248"/>
                      </a:lnTo>
                      <a:lnTo>
                        <a:pt x="663" y="1253"/>
                      </a:lnTo>
                      <a:lnTo>
                        <a:pt x="660" y="1255"/>
                      </a:lnTo>
                      <a:lnTo>
                        <a:pt x="655" y="1255"/>
                      </a:lnTo>
                      <a:lnTo>
                        <a:pt x="655" y="1255"/>
                      </a:lnTo>
                      <a:lnTo>
                        <a:pt x="649" y="1255"/>
                      </a:lnTo>
                      <a:lnTo>
                        <a:pt x="648" y="1253"/>
                      </a:lnTo>
                      <a:lnTo>
                        <a:pt x="646" y="1250"/>
                      </a:lnTo>
                      <a:lnTo>
                        <a:pt x="646" y="1243"/>
                      </a:lnTo>
                      <a:lnTo>
                        <a:pt x="644" y="1222"/>
                      </a:lnTo>
                      <a:lnTo>
                        <a:pt x="641" y="1206"/>
                      </a:lnTo>
                      <a:lnTo>
                        <a:pt x="637" y="1189"/>
                      </a:lnTo>
                      <a:lnTo>
                        <a:pt x="637" y="1189"/>
                      </a:lnTo>
                      <a:lnTo>
                        <a:pt x="636" y="1182"/>
                      </a:lnTo>
                      <a:lnTo>
                        <a:pt x="632" y="1178"/>
                      </a:lnTo>
                      <a:lnTo>
                        <a:pt x="627" y="1175"/>
                      </a:lnTo>
                      <a:lnTo>
                        <a:pt x="623" y="1171"/>
                      </a:lnTo>
                      <a:lnTo>
                        <a:pt x="615" y="1171"/>
                      </a:lnTo>
                      <a:lnTo>
                        <a:pt x="609" y="1171"/>
                      </a:lnTo>
                      <a:lnTo>
                        <a:pt x="608" y="1173"/>
                      </a:lnTo>
                      <a:lnTo>
                        <a:pt x="608" y="1173"/>
                      </a:lnTo>
                      <a:lnTo>
                        <a:pt x="604" y="1175"/>
                      </a:lnTo>
                      <a:lnTo>
                        <a:pt x="597" y="1177"/>
                      </a:lnTo>
                      <a:lnTo>
                        <a:pt x="580" y="1177"/>
                      </a:lnTo>
                      <a:lnTo>
                        <a:pt x="571" y="1175"/>
                      </a:lnTo>
                      <a:lnTo>
                        <a:pt x="564" y="1171"/>
                      </a:lnTo>
                      <a:lnTo>
                        <a:pt x="561" y="1170"/>
                      </a:lnTo>
                      <a:lnTo>
                        <a:pt x="559" y="1168"/>
                      </a:lnTo>
                      <a:lnTo>
                        <a:pt x="559" y="1166"/>
                      </a:lnTo>
                      <a:lnTo>
                        <a:pt x="559" y="1166"/>
                      </a:lnTo>
                      <a:lnTo>
                        <a:pt x="561" y="1159"/>
                      </a:lnTo>
                      <a:lnTo>
                        <a:pt x="561" y="1154"/>
                      </a:lnTo>
                      <a:lnTo>
                        <a:pt x="559" y="1147"/>
                      </a:lnTo>
                      <a:lnTo>
                        <a:pt x="562" y="1137"/>
                      </a:lnTo>
                      <a:lnTo>
                        <a:pt x="562" y="1137"/>
                      </a:lnTo>
                      <a:lnTo>
                        <a:pt x="564" y="1130"/>
                      </a:lnTo>
                      <a:lnTo>
                        <a:pt x="564" y="1123"/>
                      </a:lnTo>
                      <a:lnTo>
                        <a:pt x="562" y="1116"/>
                      </a:lnTo>
                      <a:lnTo>
                        <a:pt x="561" y="1109"/>
                      </a:lnTo>
                      <a:lnTo>
                        <a:pt x="555" y="1096"/>
                      </a:lnTo>
                      <a:lnTo>
                        <a:pt x="552" y="1086"/>
                      </a:lnTo>
                      <a:lnTo>
                        <a:pt x="552" y="1086"/>
                      </a:lnTo>
                      <a:lnTo>
                        <a:pt x="557" y="1081"/>
                      </a:lnTo>
                      <a:lnTo>
                        <a:pt x="561" y="1077"/>
                      </a:lnTo>
                      <a:lnTo>
                        <a:pt x="561" y="1074"/>
                      </a:lnTo>
                      <a:lnTo>
                        <a:pt x="559" y="1067"/>
                      </a:lnTo>
                      <a:lnTo>
                        <a:pt x="559" y="1067"/>
                      </a:lnTo>
                      <a:lnTo>
                        <a:pt x="557" y="1063"/>
                      </a:lnTo>
                      <a:lnTo>
                        <a:pt x="559" y="1060"/>
                      </a:lnTo>
                      <a:lnTo>
                        <a:pt x="562" y="1053"/>
                      </a:lnTo>
                      <a:lnTo>
                        <a:pt x="566" y="1044"/>
                      </a:lnTo>
                      <a:lnTo>
                        <a:pt x="568" y="1039"/>
                      </a:lnTo>
                      <a:lnTo>
                        <a:pt x="568" y="1034"/>
                      </a:lnTo>
                      <a:lnTo>
                        <a:pt x="568" y="1034"/>
                      </a:lnTo>
                      <a:lnTo>
                        <a:pt x="569" y="1023"/>
                      </a:lnTo>
                      <a:lnTo>
                        <a:pt x="573" y="1002"/>
                      </a:lnTo>
                      <a:lnTo>
                        <a:pt x="575" y="992"/>
                      </a:lnTo>
                      <a:lnTo>
                        <a:pt x="571" y="982"/>
                      </a:lnTo>
                      <a:lnTo>
                        <a:pt x="569" y="976"/>
                      </a:lnTo>
                      <a:lnTo>
                        <a:pt x="566" y="973"/>
                      </a:lnTo>
                      <a:lnTo>
                        <a:pt x="562" y="969"/>
                      </a:lnTo>
                      <a:lnTo>
                        <a:pt x="555" y="966"/>
                      </a:lnTo>
                      <a:lnTo>
                        <a:pt x="555" y="966"/>
                      </a:lnTo>
                      <a:lnTo>
                        <a:pt x="550" y="962"/>
                      </a:lnTo>
                      <a:lnTo>
                        <a:pt x="545" y="959"/>
                      </a:lnTo>
                      <a:lnTo>
                        <a:pt x="542" y="954"/>
                      </a:lnTo>
                      <a:lnTo>
                        <a:pt x="542" y="948"/>
                      </a:lnTo>
                      <a:lnTo>
                        <a:pt x="542" y="936"/>
                      </a:lnTo>
                      <a:lnTo>
                        <a:pt x="545" y="924"/>
                      </a:lnTo>
                      <a:lnTo>
                        <a:pt x="545" y="924"/>
                      </a:lnTo>
                      <a:lnTo>
                        <a:pt x="545" y="919"/>
                      </a:lnTo>
                      <a:lnTo>
                        <a:pt x="542" y="917"/>
                      </a:lnTo>
                      <a:lnTo>
                        <a:pt x="536" y="915"/>
                      </a:lnTo>
                      <a:lnTo>
                        <a:pt x="529" y="915"/>
                      </a:lnTo>
                      <a:lnTo>
                        <a:pt x="510" y="917"/>
                      </a:lnTo>
                      <a:lnTo>
                        <a:pt x="491" y="917"/>
                      </a:lnTo>
                      <a:lnTo>
                        <a:pt x="491" y="917"/>
                      </a:lnTo>
                      <a:lnTo>
                        <a:pt x="488" y="915"/>
                      </a:lnTo>
                      <a:lnTo>
                        <a:pt x="484" y="912"/>
                      </a:lnTo>
                      <a:lnTo>
                        <a:pt x="482" y="907"/>
                      </a:lnTo>
                      <a:lnTo>
                        <a:pt x="481" y="901"/>
                      </a:lnTo>
                      <a:lnTo>
                        <a:pt x="477" y="886"/>
                      </a:lnTo>
                      <a:lnTo>
                        <a:pt x="475" y="867"/>
                      </a:lnTo>
                      <a:lnTo>
                        <a:pt x="474" y="847"/>
                      </a:lnTo>
                      <a:lnTo>
                        <a:pt x="472" y="830"/>
                      </a:lnTo>
                      <a:lnTo>
                        <a:pt x="467" y="814"/>
                      </a:lnTo>
                      <a:lnTo>
                        <a:pt x="465" y="809"/>
                      </a:lnTo>
                      <a:lnTo>
                        <a:pt x="461" y="804"/>
                      </a:lnTo>
                      <a:lnTo>
                        <a:pt x="461" y="804"/>
                      </a:lnTo>
                      <a:lnTo>
                        <a:pt x="454" y="799"/>
                      </a:lnTo>
                      <a:lnTo>
                        <a:pt x="447" y="797"/>
                      </a:lnTo>
                      <a:lnTo>
                        <a:pt x="442" y="795"/>
                      </a:lnTo>
                      <a:lnTo>
                        <a:pt x="439" y="797"/>
                      </a:lnTo>
                      <a:lnTo>
                        <a:pt x="434" y="797"/>
                      </a:lnTo>
                      <a:lnTo>
                        <a:pt x="430" y="797"/>
                      </a:lnTo>
                      <a:lnTo>
                        <a:pt x="425" y="795"/>
                      </a:lnTo>
                      <a:lnTo>
                        <a:pt x="418" y="790"/>
                      </a:lnTo>
                      <a:lnTo>
                        <a:pt x="418" y="790"/>
                      </a:lnTo>
                      <a:lnTo>
                        <a:pt x="413" y="785"/>
                      </a:lnTo>
                      <a:lnTo>
                        <a:pt x="409" y="783"/>
                      </a:lnTo>
                      <a:lnTo>
                        <a:pt x="406" y="783"/>
                      </a:lnTo>
                      <a:lnTo>
                        <a:pt x="402" y="783"/>
                      </a:lnTo>
                      <a:lnTo>
                        <a:pt x="399" y="781"/>
                      </a:lnTo>
                      <a:lnTo>
                        <a:pt x="394" y="778"/>
                      </a:lnTo>
                      <a:lnTo>
                        <a:pt x="387" y="773"/>
                      </a:lnTo>
                      <a:lnTo>
                        <a:pt x="387" y="773"/>
                      </a:lnTo>
                      <a:lnTo>
                        <a:pt x="378" y="766"/>
                      </a:lnTo>
                      <a:lnTo>
                        <a:pt x="369" y="762"/>
                      </a:lnTo>
                      <a:lnTo>
                        <a:pt x="353" y="757"/>
                      </a:lnTo>
                      <a:lnTo>
                        <a:pt x="338" y="750"/>
                      </a:lnTo>
                      <a:lnTo>
                        <a:pt x="329" y="745"/>
                      </a:lnTo>
                      <a:lnTo>
                        <a:pt x="320" y="736"/>
                      </a:lnTo>
                      <a:lnTo>
                        <a:pt x="320" y="736"/>
                      </a:lnTo>
                      <a:lnTo>
                        <a:pt x="312" y="727"/>
                      </a:lnTo>
                      <a:lnTo>
                        <a:pt x="305" y="717"/>
                      </a:lnTo>
                      <a:lnTo>
                        <a:pt x="299" y="706"/>
                      </a:lnTo>
                      <a:lnTo>
                        <a:pt x="298" y="694"/>
                      </a:lnTo>
                      <a:lnTo>
                        <a:pt x="296" y="684"/>
                      </a:lnTo>
                      <a:lnTo>
                        <a:pt x="298" y="672"/>
                      </a:lnTo>
                      <a:lnTo>
                        <a:pt x="299" y="661"/>
                      </a:lnTo>
                      <a:lnTo>
                        <a:pt x="303" y="649"/>
                      </a:lnTo>
                      <a:lnTo>
                        <a:pt x="303" y="649"/>
                      </a:lnTo>
                      <a:lnTo>
                        <a:pt x="303" y="644"/>
                      </a:lnTo>
                      <a:lnTo>
                        <a:pt x="303" y="640"/>
                      </a:lnTo>
                      <a:lnTo>
                        <a:pt x="301" y="637"/>
                      </a:lnTo>
                      <a:lnTo>
                        <a:pt x="299" y="635"/>
                      </a:lnTo>
                      <a:lnTo>
                        <a:pt x="293" y="633"/>
                      </a:lnTo>
                      <a:lnTo>
                        <a:pt x="282" y="635"/>
                      </a:lnTo>
                      <a:lnTo>
                        <a:pt x="270" y="639"/>
                      </a:lnTo>
                      <a:lnTo>
                        <a:pt x="254" y="646"/>
                      </a:lnTo>
                      <a:lnTo>
                        <a:pt x="240" y="654"/>
                      </a:lnTo>
                      <a:lnTo>
                        <a:pt x="225" y="665"/>
                      </a:lnTo>
                      <a:lnTo>
                        <a:pt x="225" y="665"/>
                      </a:lnTo>
                      <a:lnTo>
                        <a:pt x="204" y="684"/>
                      </a:lnTo>
                      <a:lnTo>
                        <a:pt x="197" y="689"/>
                      </a:lnTo>
                      <a:lnTo>
                        <a:pt x="190" y="694"/>
                      </a:lnTo>
                      <a:lnTo>
                        <a:pt x="185" y="696"/>
                      </a:lnTo>
                      <a:lnTo>
                        <a:pt x="176" y="694"/>
                      </a:lnTo>
                      <a:lnTo>
                        <a:pt x="165" y="693"/>
                      </a:lnTo>
                      <a:lnTo>
                        <a:pt x="151" y="687"/>
                      </a:lnTo>
                      <a:lnTo>
                        <a:pt x="151" y="687"/>
                      </a:lnTo>
                      <a:lnTo>
                        <a:pt x="146" y="687"/>
                      </a:lnTo>
                      <a:lnTo>
                        <a:pt x="141" y="687"/>
                      </a:lnTo>
                      <a:lnTo>
                        <a:pt x="136" y="689"/>
                      </a:lnTo>
                      <a:lnTo>
                        <a:pt x="129" y="693"/>
                      </a:lnTo>
                      <a:lnTo>
                        <a:pt x="125" y="693"/>
                      </a:lnTo>
                      <a:lnTo>
                        <a:pt x="120" y="691"/>
                      </a:lnTo>
                      <a:lnTo>
                        <a:pt x="120" y="691"/>
                      </a:lnTo>
                      <a:lnTo>
                        <a:pt x="118" y="689"/>
                      </a:lnTo>
                      <a:lnTo>
                        <a:pt x="117" y="687"/>
                      </a:lnTo>
                      <a:lnTo>
                        <a:pt x="113" y="677"/>
                      </a:lnTo>
                      <a:lnTo>
                        <a:pt x="113" y="666"/>
                      </a:lnTo>
                      <a:lnTo>
                        <a:pt x="113" y="654"/>
                      </a:lnTo>
                      <a:lnTo>
                        <a:pt x="113" y="635"/>
                      </a:lnTo>
                      <a:lnTo>
                        <a:pt x="111" y="630"/>
                      </a:lnTo>
                      <a:lnTo>
                        <a:pt x="111" y="630"/>
                      </a:lnTo>
                      <a:lnTo>
                        <a:pt x="110" y="632"/>
                      </a:lnTo>
                      <a:lnTo>
                        <a:pt x="110" y="632"/>
                      </a:lnTo>
                      <a:lnTo>
                        <a:pt x="104" y="637"/>
                      </a:lnTo>
                      <a:lnTo>
                        <a:pt x="98" y="644"/>
                      </a:lnTo>
                      <a:lnTo>
                        <a:pt x="89" y="647"/>
                      </a:lnTo>
                      <a:lnTo>
                        <a:pt x="78" y="651"/>
                      </a:lnTo>
                      <a:lnTo>
                        <a:pt x="70" y="652"/>
                      </a:lnTo>
                      <a:lnTo>
                        <a:pt x="63" y="651"/>
                      </a:lnTo>
                      <a:lnTo>
                        <a:pt x="59" y="649"/>
                      </a:lnTo>
                      <a:lnTo>
                        <a:pt x="57" y="647"/>
                      </a:lnTo>
                      <a:lnTo>
                        <a:pt x="56" y="642"/>
                      </a:lnTo>
                      <a:lnTo>
                        <a:pt x="56" y="639"/>
                      </a:lnTo>
                      <a:lnTo>
                        <a:pt x="56" y="639"/>
                      </a:lnTo>
                      <a:lnTo>
                        <a:pt x="54" y="630"/>
                      </a:lnTo>
                      <a:lnTo>
                        <a:pt x="50" y="625"/>
                      </a:lnTo>
                      <a:lnTo>
                        <a:pt x="45" y="623"/>
                      </a:lnTo>
                      <a:lnTo>
                        <a:pt x="40" y="623"/>
                      </a:lnTo>
                      <a:lnTo>
                        <a:pt x="35" y="623"/>
                      </a:lnTo>
                      <a:lnTo>
                        <a:pt x="30" y="621"/>
                      </a:lnTo>
                      <a:lnTo>
                        <a:pt x="28" y="618"/>
                      </a:lnTo>
                      <a:lnTo>
                        <a:pt x="28" y="612"/>
                      </a:lnTo>
                      <a:lnTo>
                        <a:pt x="28" y="612"/>
                      </a:lnTo>
                      <a:lnTo>
                        <a:pt x="28" y="609"/>
                      </a:lnTo>
                      <a:lnTo>
                        <a:pt x="28" y="604"/>
                      </a:lnTo>
                      <a:lnTo>
                        <a:pt x="23" y="593"/>
                      </a:lnTo>
                      <a:lnTo>
                        <a:pt x="9" y="565"/>
                      </a:lnTo>
                      <a:lnTo>
                        <a:pt x="3" y="550"/>
                      </a:lnTo>
                      <a:lnTo>
                        <a:pt x="2" y="543"/>
                      </a:lnTo>
                      <a:lnTo>
                        <a:pt x="0" y="536"/>
                      </a:lnTo>
                      <a:lnTo>
                        <a:pt x="2" y="527"/>
                      </a:lnTo>
                      <a:lnTo>
                        <a:pt x="3" y="520"/>
                      </a:lnTo>
                      <a:lnTo>
                        <a:pt x="9" y="515"/>
                      </a:lnTo>
                      <a:lnTo>
                        <a:pt x="14" y="508"/>
                      </a:lnTo>
                      <a:lnTo>
                        <a:pt x="14" y="508"/>
                      </a:lnTo>
                      <a:lnTo>
                        <a:pt x="21" y="501"/>
                      </a:lnTo>
                      <a:lnTo>
                        <a:pt x="24" y="492"/>
                      </a:lnTo>
                      <a:lnTo>
                        <a:pt x="28" y="484"/>
                      </a:lnTo>
                      <a:lnTo>
                        <a:pt x="30" y="473"/>
                      </a:lnTo>
                      <a:lnTo>
                        <a:pt x="31" y="463"/>
                      </a:lnTo>
                      <a:lnTo>
                        <a:pt x="35" y="452"/>
                      </a:lnTo>
                      <a:lnTo>
                        <a:pt x="40" y="444"/>
                      </a:lnTo>
                      <a:lnTo>
                        <a:pt x="49" y="433"/>
                      </a:lnTo>
                      <a:lnTo>
                        <a:pt x="49" y="433"/>
                      </a:lnTo>
                      <a:lnTo>
                        <a:pt x="57" y="426"/>
                      </a:lnTo>
                      <a:lnTo>
                        <a:pt x="66" y="421"/>
                      </a:lnTo>
                      <a:lnTo>
                        <a:pt x="78" y="416"/>
                      </a:lnTo>
                      <a:lnTo>
                        <a:pt x="91" y="412"/>
                      </a:lnTo>
                      <a:lnTo>
                        <a:pt x="98" y="409"/>
                      </a:lnTo>
                      <a:lnTo>
                        <a:pt x="106" y="402"/>
                      </a:lnTo>
                      <a:lnTo>
                        <a:pt x="106" y="402"/>
                      </a:lnTo>
                      <a:lnTo>
                        <a:pt x="115" y="397"/>
                      </a:lnTo>
                      <a:lnTo>
                        <a:pt x="120" y="397"/>
                      </a:lnTo>
                      <a:lnTo>
                        <a:pt x="124" y="397"/>
                      </a:lnTo>
                      <a:lnTo>
                        <a:pt x="125" y="400"/>
                      </a:lnTo>
                      <a:lnTo>
                        <a:pt x="127" y="402"/>
                      </a:lnTo>
                      <a:lnTo>
                        <a:pt x="131" y="404"/>
                      </a:lnTo>
                      <a:lnTo>
                        <a:pt x="134" y="404"/>
                      </a:lnTo>
                      <a:lnTo>
                        <a:pt x="139" y="402"/>
                      </a:lnTo>
                      <a:lnTo>
                        <a:pt x="139" y="402"/>
                      </a:lnTo>
                      <a:lnTo>
                        <a:pt x="141" y="384"/>
                      </a:lnTo>
                      <a:lnTo>
                        <a:pt x="146" y="355"/>
                      </a:lnTo>
                      <a:lnTo>
                        <a:pt x="151" y="323"/>
                      </a:lnTo>
                      <a:lnTo>
                        <a:pt x="155" y="296"/>
                      </a:lnTo>
                      <a:lnTo>
                        <a:pt x="155" y="296"/>
                      </a:lnTo>
                      <a:lnTo>
                        <a:pt x="157" y="287"/>
                      </a:lnTo>
                      <a:lnTo>
                        <a:pt x="157" y="280"/>
                      </a:lnTo>
                      <a:lnTo>
                        <a:pt x="155" y="269"/>
                      </a:lnTo>
                      <a:lnTo>
                        <a:pt x="151" y="261"/>
                      </a:lnTo>
                      <a:lnTo>
                        <a:pt x="151" y="257"/>
                      </a:lnTo>
                      <a:lnTo>
                        <a:pt x="151" y="252"/>
                      </a:lnTo>
                      <a:lnTo>
                        <a:pt x="151" y="252"/>
                      </a:lnTo>
                      <a:lnTo>
                        <a:pt x="151" y="247"/>
                      </a:lnTo>
                      <a:lnTo>
                        <a:pt x="151" y="245"/>
                      </a:lnTo>
                      <a:lnTo>
                        <a:pt x="146" y="242"/>
                      </a:lnTo>
                      <a:lnTo>
                        <a:pt x="143" y="238"/>
                      </a:lnTo>
                      <a:lnTo>
                        <a:pt x="139" y="233"/>
                      </a:lnTo>
                      <a:lnTo>
                        <a:pt x="136" y="222"/>
                      </a:lnTo>
                      <a:lnTo>
                        <a:pt x="134" y="207"/>
                      </a:lnTo>
                      <a:lnTo>
                        <a:pt x="134" y="207"/>
                      </a:lnTo>
                      <a:lnTo>
                        <a:pt x="134" y="202"/>
                      </a:lnTo>
                      <a:lnTo>
                        <a:pt x="136" y="200"/>
                      </a:lnTo>
                      <a:lnTo>
                        <a:pt x="138" y="196"/>
                      </a:lnTo>
                      <a:lnTo>
                        <a:pt x="141" y="196"/>
                      </a:lnTo>
                      <a:lnTo>
                        <a:pt x="146" y="195"/>
                      </a:lnTo>
                      <a:lnTo>
                        <a:pt x="151" y="193"/>
                      </a:lnTo>
                      <a:lnTo>
                        <a:pt x="151" y="193"/>
                      </a:lnTo>
                      <a:lnTo>
                        <a:pt x="153" y="193"/>
                      </a:lnTo>
                      <a:lnTo>
                        <a:pt x="157" y="193"/>
                      </a:lnTo>
                      <a:lnTo>
                        <a:pt x="165" y="198"/>
                      </a:lnTo>
                      <a:lnTo>
                        <a:pt x="165" y="198"/>
                      </a:lnTo>
                      <a:lnTo>
                        <a:pt x="165" y="198"/>
                      </a:lnTo>
                      <a:lnTo>
                        <a:pt x="167" y="196"/>
                      </a:lnTo>
                      <a:lnTo>
                        <a:pt x="167" y="189"/>
                      </a:lnTo>
                      <a:lnTo>
                        <a:pt x="164" y="182"/>
                      </a:lnTo>
                      <a:lnTo>
                        <a:pt x="160" y="179"/>
                      </a:lnTo>
                      <a:lnTo>
                        <a:pt x="158" y="179"/>
                      </a:lnTo>
                      <a:lnTo>
                        <a:pt x="158" y="179"/>
                      </a:lnTo>
                      <a:lnTo>
                        <a:pt x="143" y="179"/>
                      </a:lnTo>
                      <a:lnTo>
                        <a:pt x="141" y="149"/>
                      </a:lnTo>
                      <a:lnTo>
                        <a:pt x="200" y="149"/>
                      </a:lnTo>
                      <a:lnTo>
                        <a:pt x="200" y="149"/>
                      </a:lnTo>
                      <a:lnTo>
                        <a:pt x="198" y="144"/>
                      </a:lnTo>
                      <a:lnTo>
                        <a:pt x="198" y="139"/>
                      </a:lnTo>
                      <a:lnTo>
                        <a:pt x="198" y="139"/>
                      </a:lnTo>
                      <a:lnTo>
                        <a:pt x="200" y="139"/>
                      </a:lnTo>
                      <a:lnTo>
                        <a:pt x="205" y="146"/>
                      </a:lnTo>
                      <a:lnTo>
                        <a:pt x="205" y="146"/>
                      </a:lnTo>
                      <a:lnTo>
                        <a:pt x="209" y="149"/>
                      </a:lnTo>
                      <a:lnTo>
                        <a:pt x="211" y="149"/>
                      </a:lnTo>
                      <a:lnTo>
                        <a:pt x="214" y="146"/>
                      </a:lnTo>
                      <a:lnTo>
                        <a:pt x="218" y="142"/>
                      </a:lnTo>
                      <a:lnTo>
                        <a:pt x="221" y="135"/>
                      </a:lnTo>
                      <a:lnTo>
                        <a:pt x="225" y="132"/>
                      </a:lnTo>
                      <a:lnTo>
                        <a:pt x="226" y="132"/>
                      </a:lnTo>
                      <a:lnTo>
                        <a:pt x="226" y="132"/>
                      </a:lnTo>
                      <a:lnTo>
                        <a:pt x="233" y="142"/>
                      </a:lnTo>
                      <a:lnTo>
                        <a:pt x="237" y="151"/>
                      </a:lnTo>
                      <a:lnTo>
                        <a:pt x="239" y="158"/>
                      </a:lnTo>
                      <a:lnTo>
                        <a:pt x="239" y="165"/>
                      </a:lnTo>
                      <a:lnTo>
                        <a:pt x="239" y="170"/>
                      </a:lnTo>
                      <a:lnTo>
                        <a:pt x="239" y="174"/>
                      </a:lnTo>
                      <a:lnTo>
                        <a:pt x="242" y="174"/>
                      </a:lnTo>
                      <a:lnTo>
                        <a:pt x="247" y="172"/>
                      </a:lnTo>
                      <a:lnTo>
                        <a:pt x="247" y="172"/>
                      </a:lnTo>
                      <a:lnTo>
                        <a:pt x="251" y="179"/>
                      </a:lnTo>
                      <a:lnTo>
                        <a:pt x="256" y="184"/>
                      </a:lnTo>
                      <a:lnTo>
                        <a:pt x="261" y="186"/>
                      </a:lnTo>
                      <a:lnTo>
                        <a:pt x="268" y="188"/>
                      </a:lnTo>
                      <a:lnTo>
                        <a:pt x="279" y="189"/>
                      </a:lnTo>
                      <a:lnTo>
                        <a:pt x="291" y="193"/>
                      </a:lnTo>
                      <a:lnTo>
                        <a:pt x="291" y="193"/>
                      </a:lnTo>
                      <a:lnTo>
                        <a:pt x="296" y="193"/>
                      </a:lnTo>
                      <a:lnTo>
                        <a:pt x="299" y="191"/>
                      </a:lnTo>
                      <a:lnTo>
                        <a:pt x="303" y="188"/>
                      </a:lnTo>
                      <a:lnTo>
                        <a:pt x="306" y="184"/>
                      </a:lnTo>
                      <a:lnTo>
                        <a:pt x="310" y="179"/>
                      </a:lnTo>
                      <a:lnTo>
                        <a:pt x="315" y="174"/>
                      </a:lnTo>
                      <a:lnTo>
                        <a:pt x="322" y="168"/>
                      </a:lnTo>
                      <a:lnTo>
                        <a:pt x="331" y="167"/>
                      </a:lnTo>
                      <a:lnTo>
                        <a:pt x="331" y="167"/>
                      </a:lnTo>
                      <a:lnTo>
                        <a:pt x="340" y="163"/>
                      </a:lnTo>
                      <a:lnTo>
                        <a:pt x="343" y="160"/>
                      </a:lnTo>
                      <a:lnTo>
                        <a:pt x="345" y="156"/>
                      </a:lnTo>
                      <a:lnTo>
                        <a:pt x="346" y="153"/>
                      </a:lnTo>
                      <a:lnTo>
                        <a:pt x="348" y="144"/>
                      </a:lnTo>
                      <a:lnTo>
                        <a:pt x="350" y="141"/>
                      </a:lnTo>
                      <a:lnTo>
                        <a:pt x="357" y="135"/>
                      </a:lnTo>
                      <a:lnTo>
                        <a:pt x="357" y="135"/>
                      </a:lnTo>
                      <a:lnTo>
                        <a:pt x="362" y="132"/>
                      </a:lnTo>
                      <a:lnTo>
                        <a:pt x="367" y="128"/>
                      </a:lnTo>
                      <a:lnTo>
                        <a:pt x="369" y="125"/>
                      </a:lnTo>
                      <a:lnTo>
                        <a:pt x="369" y="121"/>
                      </a:lnTo>
                      <a:lnTo>
                        <a:pt x="369" y="118"/>
                      </a:lnTo>
                      <a:lnTo>
                        <a:pt x="366" y="118"/>
                      </a:lnTo>
                      <a:lnTo>
                        <a:pt x="362" y="116"/>
                      </a:lnTo>
                      <a:lnTo>
                        <a:pt x="357" y="118"/>
                      </a:lnTo>
                      <a:lnTo>
                        <a:pt x="357" y="118"/>
                      </a:lnTo>
                      <a:lnTo>
                        <a:pt x="353" y="118"/>
                      </a:lnTo>
                      <a:lnTo>
                        <a:pt x="352" y="118"/>
                      </a:lnTo>
                      <a:lnTo>
                        <a:pt x="348" y="113"/>
                      </a:lnTo>
                      <a:lnTo>
                        <a:pt x="345" y="106"/>
                      </a:lnTo>
                      <a:lnTo>
                        <a:pt x="341" y="95"/>
                      </a:lnTo>
                      <a:lnTo>
                        <a:pt x="336" y="74"/>
                      </a:lnTo>
                      <a:lnTo>
                        <a:pt x="333" y="64"/>
                      </a:lnTo>
                      <a:lnTo>
                        <a:pt x="327" y="55"/>
                      </a:lnTo>
                      <a:lnTo>
                        <a:pt x="327" y="55"/>
                      </a:lnTo>
                      <a:lnTo>
                        <a:pt x="324" y="50"/>
                      </a:lnTo>
                      <a:lnTo>
                        <a:pt x="324" y="48"/>
                      </a:lnTo>
                      <a:lnTo>
                        <a:pt x="326" y="48"/>
                      </a:lnTo>
                      <a:lnTo>
                        <a:pt x="331" y="47"/>
                      </a:lnTo>
                      <a:lnTo>
                        <a:pt x="338" y="48"/>
                      </a:lnTo>
                      <a:lnTo>
                        <a:pt x="357" y="55"/>
                      </a:lnTo>
                      <a:lnTo>
                        <a:pt x="380" y="66"/>
                      </a:lnTo>
                      <a:lnTo>
                        <a:pt x="380" y="66"/>
                      </a:lnTo>
                      <a:lnTo>
                        <a:pt x="387" y="69"/>
                      </a:lnTo>
                      <a:lnTo>
                        <a:pt x="392" y="69"/>
                      </a:lnTo>
                      <a:lnTo>
                        <a:pt x="394" y="66"/>
                      </a:lnTo>
                      <a:lnTo>
                        <a:pt x="394" y="61"/>
                      </a:lnTo>
                      <a:lnTo>
                        <a:pt x="394" y="55"/>
                      </a:lnTo>
                      <a:lnTo>
                        <a:pt x="395" y="52"/>
                      </a:lnTo>
                      <a:lnTo>
                        <a:pt x="397" y="48"/>
                      </a:lnTo>
                      <a:lnTo>
                        <a:pt x="402" y="47"/>
                      </a:lnTo>
                      <a:lnTo>
                        <a:pt x="402" y="47"/>
                      </a:lnTo>
                      <a:lnTo>
                        <a:pt x="411" y="47"/>
                      </a:lnTo>
                      <a:lnTo>
                        <a:pt x="421" y="45"/>
                      </a:lnTo>
                      <a:lnTo>
                        <a:pt x="434" y="41"/>
                      </a:lnTo>
                      <a:lnTo>
                        <a:pt x="444" y="36"/>
                      </a:lnTo>
                      <a:lnTo>
                        <a:pt x="454" y="29"/>
                      </a:lnTo>
                      <a:lnTo>
                        <a:pt x="461" y="20"/>
                      </a:lnTo>
                      <a:lnTo>
                        <a:pt x="463" y="17"/>
                      </a:lnTo>
                      <a:lnTo>
                        <a:pt x="463" y="12"/>
                      </a:lnTo>
                      <a:lnTo>
                        <a:pt x="463" y="8"/>
                      </a:lnTo>
                      <a:lnTo>
                        <a:pt x="463" y="3"/>
                      </a:lnTo>
                      <a:lnTo>
                        <a:pt x="463" y="3"/>
                      </a:lnTo>
                      <a:lnTo>
                        <a:pt x="468" y="3"/>
                      </a:lnTo>
                      <a:lnTo>
                        <a:pt x="477" y="1"/>
                      </a:lnTo>
                      <a:lnTo>
                        <a:pt x="477" y="1"/>
                      </a:lnTo>
                      <a:lnTo>
                        <a:pt x="481" y="0"/>
                      </a:lnTo>
                      <a:lnTo>
                        <a:pt x="482" y="1"/>
                      </a:lnTo>
                      <a:lnTo>
                        <a:pt x="486" y="3"/>
                      </a:lnTo>
                      <a:lnTo>
                        <a:pt x="488" y="5"/>
                      </a:lnTo>
                      <a:lnTo>
                        <a:pt x="489" y="10"/>
                      </a:lnTo>
                      <a:lnTo>
                        <a:pt x="489" y="14"/>
                      </a:lnTo>
                      <a:lnTo>
                        <a:pt x="488" y="19"/>
                      </a:lnTo>
                      <a:lnTo>
                        <a:pt x="486" y="24"/>
                      </a:lnTo>
                      <a:lnTo>
                        <a:pt x="486" y="24"/>
                      </a:lnTo>
                      <a:lnTo>
                        <a:pt x="484" y="29"/>
                      </a:lnTo>
                      <a:lnTo>
                        <a:pt x="486" y="33"/>
                      </a:lnTo>
                      <a:lnTo>
                        <a:pt x="495" y="40"/>
                      </a:lnTo>
                      <a:lnTo>
                        <a:pt x="498" y="41"/>
                      </a:lnTo>
                      <a:lnTo>
                        <a:pt x="501" y="47"/>
                      </a:lnTo>
                      <a:lnTo>
                        <a:pt x="501" y="54"/>
                      </a:lnTo>
                      <a:lnTo>
                        <a:pt x="500" y="62"/>
                      </a:lnTo>
                      <a:lnTo>
                        <a:pt x="500" y="62"/>
                      </a:lnTo>
                      <a:lnTo>
                        <a:pt x="495" y="76"/>
                      </a:lnTo>
                      <a:lnTo>
                        <a:pt x="489" y="104"/>
                      </a:lnTo>
                      <a:lnTo>
                        <a:pt x="489" y="104"/>
                      </a:lnTo>
                      <a:lnTo>
                        <a:pt x="488" y="113"/>
                      </a:lnTo>
                      <a:lnTo>
                        <a:pt x="488" y="118"/>
                      </a:lnTo>
                      <a:lnTo>
                        <a:pt x="489" y="121"/>
                      </a:lnTo>
                      <a:lnTo>
                        <a:pt x="491" y="123"/>
                      </a:lnTo>
                      <a:lnTo>
                        <a:pt x="495" y="127"/>
                      </a:lnTo>
                      <a:lnTo>
                        <a:pt x="496" y="132"/>
                      </a:lnTo>
                      <a:lnTo>
                        <a:pt x="496" y="139"/>
                      </a:lnTo>
                      <a:lnTo>
                        <a:pt x="496" y="139"/>
                      </a:lnTo>
                      <a:lnTo>
                        <a:pt x="498" y="146"/>
                      </a:lnTo>
                      <a:lnTo>
                        <a:pt x="501" y="151"/>
                      </a:lnTo>
                      <a:lnTo>
                        <a:pt x="505" y="158"/>
                      </a:lnTo>
                      <a:lnTo>
                        <a:pt x="512" y="163"/>
                      </a:lnTo>
                      <a:lnTo>
                        <a:pt x="517" y="167"/>
                      </a:lnTo>
                      <a:lnTo>
                        <a:pt x="524" y="170"/>
                      </a:lnTo>
                      <a:lnTo>
                        <a:pt x="529" y="172"/>
                      </a:lnTo>
                      <a:lnTo>
                        <a:pt x="535" y="170"/>
                      </a:lnTo>
                      <a:lnTo>
                        <a:pt x="535" y="170"/>
                      </a:lnTo>
                      <a:lnTo>
                        <a:pt x="538" y="168"/>
                      </a:lnTo>
                      <a:lnTo>
                        <a:pt x="540" y="167"/>
                      </a:lnTo>
                      <a:lnTo>
                        <a:pt x="542" y="162"/>
                      </a:lnTo>
                      <a:lnTo>
                        <a:pt x="545" y="160"/>
                      </a:lnTo>
                      <a:lnTo>
                        <a:pt x="547" y="158"/>
                      </a:lnTo>
                      <a:lnTo>
                        <a:pt x="552" y="160"/>
                      </a:lnTo>
                      <a:lnTo>
                        <a:pt x="552" y="160"/>
                      </a:lnTo>
                      <a:lnTo>
                        <a:pt x="557" y="160"/>
                      </a:lnTo>
                      <a:lnTo>
                        <a:pt x="561" y="158"/>
                      </a:lnTo>
                      <a:lnTo>
                        <a:pt x="569" y="151"/>
                      </a:lnTo>
                      <a:lnTo>
                        <a:pt x="576" y="144"/>
                      </a:lnTo>
                      <a:lnTo>
                        <a:pt x="580" y="142"/>
                      </a:lnTo>
                      <a:lnTo>
                        <a:pt x="585" y="139"/>
                      </a:lnTo>
                      <a:lnTo>
                        <a:pt x="585" y="139"/>
                      </a:lnTo>
                      <a:lnTo>
                        <a:pt x="590" y="139"/>
                      </a:lnTo>
                      <a:lnTo>
                        <a:pt x="594" y="141"/>
                      </a:lnTo>
                      <a:lnTo>
                        <a:pt x="601" y="142"/>
                      </a:lnTo>
                      <a:lnTo>
                        <a:pt x="611" y="141"/>
                      </a:lnTo>
                      <a:lnTo>
                        <a:pt x="611" y="141"/>
                      </a:lnTo>
                      <a:lnTo>
                        <a:pt x="618" y="142"/>
                      </a:lnTo>
                      <a:lnTo>
                        <a:pt x="627" y="146"/>
                      </a:lnTo>
                      <a:lnTo>
                        <a:pt x="630" y="146"/>
                      </a:lnTo>
                      <a:lnTo>
                        <a:pt x="632" y="144"/>
                      </a:lnTo>
                      <a:lnTo>
                        <a:pt x="632" y="142"/>
                      </a:lnTo>
                      <a:lnTo>
                        <a:pt x="630" y="137"/>
                      </a:lnTo>
                      <a:lnTo>
                        <a:pt x="630" y="137"/>
                      </a:lnTo>
                      <a:lnTo>
                        <a:pt x="627" y="128"/>
                      </a:lnTo>
                      <a:lnTo>
                        <a:pt x="627" y="121"/>
                      </a:lnTo>
                      <a:lnTo>
                        <a:pt x="627" y="120"/>
                      </a:lnTo>
                      <a:lnTo>
                        <a:pt x="629" y="120"/>
                      </a:lnTo>
                      <a:lnTo>
                        <a:pt x="632" y="120"/>
                      </a:lnTo>
                      <a:lnTo>
                        <a:pt x="636" y="121"/>
                      </a:lnTo>
                      <a:lnTo>
                        <a:pt x="636" y="121"/>
                      </a:lnTo>
                      <a:lnTo>
                        <a:pt x="641" y="123"/>
                      </a:lnTo>
                      <a:lnTo>
                        <a:pt x="646" y="121"/>
                      </a:lnTo>
                      <a:lnTo>
                        <a:pt x="655" y="116"/>
                      </a:lnTo>
                      <a:lnTo>
                        <a:pt x="662" y="113"/>
                      </a:lnTo>
                      <a:lnTo>
                        <a:pt x="663" y="111"/>
                      </a:lnTo>
                      <a:lnTo>
                        <a:pt x="665" y="113"/>
                      </a:lnTo>
                      <a:lnTo>
                        <a:pt x="665" y="113"/>
                      </a:lnTo>
                      <a:lnTo>
                        <a:pt x="667" y="118"/>
                      </a:lnTo>
                      <a:lnTo>
                        <a:pt x="670" y="120"/>
                      </a:lnTo>
                      <a:lnTo>
                        <a:pt x="674" y="121"/>
                      </a:lnTo>
                      <a:lnTo>
                        <a:pt x="677" y="125"/>
                      </a:lnTo>
                      <a:lnTo>
                        <a:pt x="677" y="125"/>
                      </a:lnTo>
                      <a:lnTo>
                        <a:pt x="684" y="130"/>
                      </a:lnTo>
                      <a:lnTo>
                        <a:pt x="690" y="134"/>
                      </a:lnTo>
                      <a:lnTo>
                        <a:pt x="695" y="132"/>
                      </a:lnTo>
                      <a:lnTo>
                        <a:pt x="700" y="128"/>
                      </a:lnTo>
                      <a:lnTo>
                        <a:pt x="700" y="128"/>
                      </a:lnTo>
                      <a:lnTo>
                        <a:pt x="702" y="125"/>
                      </a:lnTo>
                      <a:lnTo>
                        <a:pt x="705" y="123"/>
                      </a:lnTo>
                      <a:lnTo>
                        <a:pt x="707" y="125"/>
                      </a:lnTo>
                      <a:lnTo>
                        <a:pt x="709" y="125"/>
                      </a:lnTo>
                      <a:lnTo>
                        <a:pt x="712" y="128"/>
                      </a:lnTo>
                      <a:lnTo>
                        <a:pt x="714" y="128"/>
                      </a:lnTo>
                      <a:lnTo>
                        <a:pt x="717" y="127"/>
                      </a:lnTo>
                      <a:lnTo>
                        <a:pt x="717" y="127"/>
                      </a:lnTo>
                      <a:lnTo>
                        <a:pt x="719" y="125"/>
                      </a:lnTo>
                      <a:lnTo>
                        <a:pt x="721" y="123"/>
                      </a:lnTo>
                      <a:lnTo>
                        <a:pt x="723" y="127"/>
                      </a:lnTo>
                      <a:lnTo>
                        <a:pt x="726" y="130"/>
                      </a:lnTo>
                      <a:lnTo>
                        <a:pt x="730" y="130"/>
                      </a:lnTo>
                      <a:lnTo>
                        <a:pt x="735" y="130"/>
                      </a:lnTo>
                      <a:lnTo>
                        <a:pt x="735" y="130"/>
                      </a:lnTo>
                      <a:lnTo>
                        <a:pt x="740" y="128"/>
                      </a:lnTo>
                      <a:lnTo>
                        <a:pt x="743" y="125"/>
                      </a:lnTo>
                      <a:lnTo>
                        <a:pt x="749" y="111"/>
                      </a:lnTo>
                      <a:lnTo>
                        <a:pt x="756" y="95"/>
                      </a:lnTo>
                      <a:lnTo>
                        <a:pt x="761" y="81"/>
                      </a:lnTo>
                      <a:lnTo>
                        <a:pt x="761" y="81"/>
                      </a:lnTo>
                      <a:lnTo>
                        <a:pt x="778" y="52"/>
                      </a:lnTo>
                      <a:lnTo>
                        <a:pt x="778" y="52"/>
                      </a:lnTo>
                      <a:lnTo>
                        <a:pt x="784" y="47"/>
                      </a:lnTo>
                      <a:lnTo>
                        <a:pt x="784" y="41"/>
                      </a:lnTo>
                      <a:lnTo>
                        <a:pt x="784" y="40"/>
                      </a:lnTo>
                      <a:lnTo>
                        <a:pt x="785" y="38"/>
                      </a:lnTo>
                      <a:lnTo>
                        <a:pt x="785" y="38"/>
                      </a:lnTo>
                      <a:lnTo>
                        <a:pt x="787" y="38"/>
                      </a:lnTo>
                      <a:lnTo>
                        <a:pt x="791" y="41"/>
                      </a:lnTo>
                      <a:lnTo>
                        <a:pt x="796" y="54"/>
                      </a:lnTo>
                      <a:lnTo>
                        <a:pt x="796" y="54"/>
                      </a:lnTo>
                      <a:lnTo>
                        <a:pt x="797" y="57"/>
                      </a:lnTo>
                      <a:lnTo>
                        <a:pt x="799" y="59"/>
                      </a:lnTo>
                      <a:lnTo>
                        <a:pt x="801" y="59"/>
                      </a:lnTo>
                      <a:lnTo>
                        <a:pt x="801" y="64"/>
                      </a:lnTo>
                      <a:lnTo>
                        <a:pt x="801" y="64"/>
                      </a:lnTo>
                      <a:lnTo>
                        <a:pt x="803" y="83"/>
                      </a:lnTo>
                      <a:lnTo>
                        <a:pt x="804" y="101"/>
                      </a:lnTo>
                      <a:lnTo>
                        <a:pt x="804" y="101"/>
                      </a:lnTo>
                      <a:lnTo>
                        <a:pt x="808" y="108"/>
                      </a:lnTo>
                      <a:lnTo>
                        <a:pt x="808" y="111"/>
                      </a:lnTo>
                      <a:lnTo>
                        <a:pt x="808" y="115"/>
                      </a:lnTo>
                      <a:lnTo>
                        <a:pt x="808" y="115"/>
                      </a:lnTo>
                      <a:lnTo>
                        <a:pt x="810" y="118"/>
                      </a:lnTo>
                      <a:lnTo>
                        <a:pt x="811" y="120"/>
                      </a:lnTo>
                      <a:lnTo>
                        <a:pt x="813" y="123"/>
                      </a:lnTo>
                      <a:lnTo>
                        <a:pt x="815" y="127"/>
                      </a:lnTo>
                      <a:lnTo>
                        <a:pt x="815" y="127"/>
                      </a:lnTo>
                      <a:lnTo>
                        <a:pt x="815" y="130"/>
                      </a:lnTo>
                      <a:lnTo>
                        <a:pt x="815" y="132"/>
                      </a:lnTo>
                      <a:lnTo>
                        <a:pt x="817" y="134"/>
                      </a:lnTo>
                      <a:lnTo>
                        <a:pt x="818" y="139"/>
                      </a:lnTo>
                      <a:lnTo>
                        <a:pt x="818" y="139"/>
                      </a:lnTo>
                      <a:lnTo>
                        <a:pt x="818" y="142"/>
                      </a:lnTo>
                      <a:lnTo>
                        <a:pt x="820" y="146"/>
                      </a:lnTo>
                      <a:lnTo>
                        <a:pt x="824" y="148"/>
                      </a:lnTo>
                      <a:lnTo>
                        <a:pt x="831" y="148"/>
                      </a:lnTo>
                      <a:lnTo>
                        <a:pt x="831" y="148"/>
                      </a:lnTo>
                      <a:lnTo>
                        <a:pt x="834" y="148"/>
                      </a:lnTo>
                      <a:lnTo>
                        <a:pt x="838" y="151"/>
                      </a:lnTo>
                      <a:lnTo>
                        <a:pt x="841" y="156"/>
                      </a:lnTo>
                      <a:lnTo>
                        <a:pt x="843" y="163"/>
                      </a:lnTo>
                      <a:lnTo>
                        <a:pt x="843" y="168"/>
                      </a:lnTo>
                      <a:lnTo>
                        <a:pt x="843" y="174"/>
                      </a:lnTo>
                      <a:lnTo>
                        <a:pt x="841" y="179"/>
                      </a:lnTo>
                      <a:lnTo>
                        <a:pt x="838" y="181"/>
                      </a:lnTo>
                      <a:lnTo>
                        <a:pt x="838" y="181"/>
                      </a:lnTo>
                      <a:lnTo>
                        <a:pt x="832" y="184"/>
                      </a:lnTo>
                      <a:lnTo>
                        <a:pt x="829" y="189"/>
                      </a:lnTo>
                      <a:lnTo>
                        <a:pt x="820" y="202"/>
                      </a:lnTo>
                      <a:lnTo>
                        <a:pt x="811" y="215"/>
                      </a:lnTo>
                      <a:lnTo>
                        <a:pt x="806" y="221"/>
                      </a:lnTo>
                      <a:lnTo>
                        <a:pt x="799" y="224"/>
                      </a:lnTo>
                      <a:lnTo>
                        <a:pt x="799" y="224"/>
                      </a:lnTo>
                      <a:lnTo>
                        <a:pt x="794" y="228"/>
                      </a:lnTo>
                      <a:lnTo>
                        <a:pt x="791" y="229"/>
                      </a:lnTo>
                      <a:lnTo>
                        <a:pt x="789" y="233"/>
                      </a:lnTo>
                      <a:lnTo>
                        <a:pt x="789" y="236"/>
                      </a:lnTo>
                      <a:lnTo>
                        <a:pt x="787" y="242"/>
                      </a:lnTo>
                      <a:lnTo>
                        <a:pt x="787" y="247"/>
                      </a:lnTo>
                      <a:lnTo>
                        <a:pt x="785" y="250"/>
                      </a:lnTo>
                      <a:lnTo>
                        <a:pt x="785" y="250"/>
                      </a:lnTo>
                      <a:lnTo>
                        <a:pt x="784" y="254"/>
                      </a:lnTo>
                      <a:lnTo>
                        <a:pt x="784" y="254"/>
                      </a:lnTo>
                      <a:lnTo>
                        <a:pt x="791" y="250"/>
                      </a:lnTo>
                      <a:lnTo>
                        <a:pt x="794" y="250"/>
                      </a:lnTo>
                      <a:lnTo>
                        <a:pt x="797" y="252"/>
                      </a:lnTo>
                      <a:lnTo>
                        <a:pt x="799" y="256"/>
                      </a:lnTo>
                      <a:lnTo>
                        <a:pt x="797" y="262"/>
                      </a:lnTo>
                      <a:lnTo>
                        <a:pt x="797" y="262"/>
                      </a:lnTo>
                      <a:lnTo>
                        <a:pt x="796" y="269"/>
                      </a:lnTo>
                      <a:lnTo>
                        <a:pt x="796" y="271"/>
                      </a:lnTo>
                      <a:lnTo>
                        <a:pt x="801" y="268"/>
                      </a:lnTo>
                      <a:lnTo>
                        <a:pt x="803" y="266"/>
                      </a:lnTo>
                      <a:lnTo>
                        <a:pt x="806" y="264"/>
                      </a:lnTo>
                      <a:lnTo>
                        <a:pt x="810" y="264"/>
                      </a:lnTo>
                      <a:lnTo>
                        <a:pt x="811" y="269"/>
                      </a:lnTo>
                      <a:lnTo>
                        <a:pt x="811" y="269"/>
                      </a:lnTo>
                      <a:lnTo>
                        <a:pt x="811" y="275"/>
                      </a:lnTo>
                      <a:lnTo>
                        <a:pt x="811" y="271"/>
                      </a:lnTo>
                      <a:lnTo>
                        <a:pt x="810" y="264"/>
                      </a:lnTo>
                      <a:lnTo>
                        <a:pt x="810" y="254"/>
                      </a:lnTo>
                      <a:lnTo>
                        <a:pt x="811" y="243"/>
                      </a:lnTo>
                      <a:lnTo>
                        <a:pt x="815" y="235"/>
                      </a:lnTo>
                      <a:lnTo>
                        <a:pt x="818" y="231"/>
                      </a:lnTo>
                      <a:lnTo>
                        <a:pt x="824" y="229"/>
                      </a:lnTo>
                      <a:lnTo>
                        <a:pt x="827" y="228"/>
                      </a:lnTo>
                      <a:lnTo>
                        <a:pt x="834" y="229"/>
                      </a:lnTo>
                      <a:lnTo>
                        <a:pt x="834" y="229"/>
                      </a:lnTo>
                      <a:lnTo>
                        <a:pt x="853" y="231"/>
                      </a:lnTo>
                      <a:lnTo>
                        <a:pt x="862" y="231"/>
                      </a:lnTo>
                      <a:lnTo>
                        <a:pt x="869" y="229"/>
                      </a:lnTo>
                      <a:lnTo>
                        <a:pt x="885" y="235"/>
                      </a:lnTo>
                      <a:lnTo>
                        <a:pt x="885" y="235"/>
                      </a:lnTo>
                      <a:lnTo>
                        <a:pt x="893" y="238"/>
                      </a:lnTo>
                      <a:lnTo>
                        <a:pt x="895" y="240"/>
                      </a:lnTo>
                      <a:lnTo>
                        <a:pt x="895" y="243"/>
                      </a:lnTo>
                      <a:lnTo>
                        <a:pt x="895" y="249"/>
                      </a:lnTo>
                      <a:lnTo>
                        <a:pt x="891" y="256"/>
                      </a:lnTo>
                      <a:lnTo>
                        <a:pt x="885" y="268"/>
                      </a:lnTo>
                      <a:lnTo>
                        <a:pt x="881" y="275"/>
                      </a:lnTo>
                      <a:lnTo>
                        <a:pt x="883" y="282"/>
                      </a:lnTo>
                      <a:lnTo>
                        <a:pt x="883" y="282"/>
                      </a:lnTo>
                      <a:lnTo>
                        <a:pt x="885" y="285"/>
                      </a:lnTo>
                      <a:lnTo>
                        <a:pt x="888" y="285"/>
                      </a:lnTo>
                      <a:lnTo>
                        <a:pt x="895" y="273"/>
                      </a:lnTo>
                      <a:lnTo>
                        <a:pt x="900" y="264"/>
                      </a:lnTo>
                      <a:lnTo>
                        <a:pt x="907" y="257"/>
                      </a:lnTo>
                      <a:lnTo>
                        <a:pt x="916" y="252"/>
                      </a:lnTo>
                      <a:lnTo>
                        <a:pt x="921" y="252"/>
                      </a:lnTo>
                      <a:lnTo>
                        <a:pt x="926" y="250"/>
                      </a:lnTo>
                      <a:lnTo>
                        <a:pt x="926" y="250"/>
                      </a:lnTo>
                      <a:lnTo>
                        <a:pt x="944" y="254"/>
                      </a:lnTo>
                      <a:lnTo>
                        <a:pt x="952" y="257"/>
                      </a:lnTo>
                      <a:lnTo>
                        <a:pt x="959" y="261"/>
                      </a:lnTo>
                      <a:lnTo>
                        <a:pt x="968" y="261"/>
                      </a:lnTo>
                      <a:lnTo>
                        <a:pt x="968" y="261"/>
                      </a:lnTo>
                      <a:lnTo>
                        <a:pt x="973" y="262"/>
                      </a:lnTo>
                      <a:lnTo>
                        <a:pt x="977" y="264"/>
                      </a:lnTo>
                      <a:lnTo>
                        <a:pt x="984" y="269"/>
                      </a:lnTo>
                      <a:lnTo>
                        <a:pt x="992" y="276"/>
                      </a:lnTo>
                      <a:lnTo>
                        <a:pt x="999" y="280"/>
                      </a:lnTo>
                      <a:lnTo>
                        <a:pt x="1008" y="283"/>
                      </a:lnTo>
                      <a:lnTo>
                        <a:pt x="1008" y="283"/>
                      </a:lnTo>
                      <a:lnTo>
                        <a:pt x="1015" y="285"/>
                      </a:lnTo>
                      <a:lnTo>
                        <a:pt x="1022" y="289"/>
                      </a:lnTo>
                      <a:lnTo>
                        <a:pt x="1026" y="292"/>
                      </a:lnTo>
                      <a:lnTo>
                        <a:pt x="1027" y="296"/>
                      </a:lnTo>
                      <a:lnTo>
                        <a:pt x="1031" y="304"/>
                      </a:lnTo>
                      <a:lnTo>
                        <a:pt x="1033" y="308"/>
                      </a:lnTo>
                      <a:lnTo>
                        <a:pt x="1034" y="313"/>
                      </a:lnTo>
                      <a:lnTo>
                        <a:pt x="1034" y="313"/>
                      </a:lnTo>
                      <a:lnTo>
                        <a:pt x="1036" y="316"/>
                      </a:lnTo>
                      <a:lnTo>
                        <a:pt x="1036" y="320"/>
                      </a:lnTo>
                      <a:lnTo>
                        <a:pt x="1033" y="330"/>
                      </a:lnTo>
                      <a:lnTo>
                        <a:pt x="1029" y="343"/>
                      </a:lnTo>
                      <a:lnTo>
                        <a:pt x="1027" y="348"/>
                      </a:lnTo>
                      <a:lnTo>
                        <a:pt x="1029" y="351"/>
                      </a:lnTo>
                      <a:lnTo>
                        <a:pt x="1029" y="351"/>
                      </a:lnTo>
                      <a:lnTo>
                        <a:pt x="1031" y="351"/>
                      </a:lnTo>
                      <a:lnTo>
                        <a:pt x="1033" y="351"/>
                      </a:lnTo>
                      <a:lnTo>
                        <a:pt x="1036" y="350"/>
                      </a:lnTo>
                      <a:lnTo>
                        <a:pt x="1046" y="337"/>
                      </a:lnTo>
                      <a:lnTo>
                        <a:pt x="1053" y="332"/>
                      </a:lnTo>
                      <a:lnTo>
                        <a:pt x="1062" y="327"/>
                      </a:lnTo>
                      <a:lnTo>
                        <a:pt x="1069" y="323"/>
                      </a:lnTo>
                      <a:lnTo>
                        <a:pt x="1073" y="323"/>
                      </a:lnTo>
                      <a:lnTo>
                        <a:pt x="1078" y="325"/>
                      </a:lnTo>
                      <a:lnTo>
                        <a:pt x="1078" y="325"/>
                      </a:lnTo>
                      <a:lnTo>
                        <a:pt x="1095" y="332"/>
                      </a:lnTo>
                      <a:lnTo>
                        <a:pt x="1114" y="339"/>
                      </a:lnTo>
                      <a:lnTo>
                        <a:pt x="1125" y="341"/>
                      </a:lnTo>
                      <a:lnTo>
                        <a:pt x="1137" y="343"/>
                      </a:lnTo>
                      <a:lnTo>
                        <a:pt x="1149" y="343"/>
                      </a:lnTo>
                      <a:lnTo>
                        <a:pt x="1161" y="341"/>
                      </a:lnTo>
                      <a:lnTo>
                        <a:pt x="1161" y="341"/>
                      </a:lnTo>
                      <a:lnTo>
                        <a:pt x="1175" y="339"/>
                      </a:lnTo>
                      <a:lnTo>
                        <a:pt x="1186" y="341"/>
                      </a:lnTo>
                      <a:lnTo>
                        <a:pt x="1194" y="343"/>
                      </a:lnTo>
                      <a:lnTo>
                        <a:pt x="1203" y="346"/>
                      </a:lnTo>
                      <a:lnTo>
                        <a:pt x="1210" y="353"/>
                      </a:lnTo>
                      <a:lnTo>
                        <a:pt x="1219" y="358"/>
                      </a:lnTo>
                      <a:lnTo>
                        <a:pt x="1236" y="374"/>
                      </a:lnTo>
                      <a:lnTo>
                        <a:pt x="1236" y="374"/>
                      </a:lnTo>
                      <a:lnTo>
                        <a:pt x="1245" y="383"/>
                      </a:lnTo>
                      <a:lnTo>
                        <a:pt x="1250" y="390"/>
                      </a:lnTo>
                      <a:lnTo>
                        <a:pt x="1255" y="400"/>
                      </a:lnTo>
                      <a:lnTo>
                        <a:pt x="1259" y="405"/>
                      </a:lnTo>
                      <a:lnTo>
                        <a:pt x="1264" y="410"/>
                      </a:lnTo>
                      <a:lnTo>
                        <a:pt x="1273" y="417"/>
                      </a:lnTo>
                      <a:lnTo>
                        <a:pt x="1285" y="426"/>
                      </a:lnTo>
                      <a:lnTo>
                        <a:pt x="1285" y="426"/>
                      </a:lnTo>
                      <a:lnTo>
                        <a:pt x="1299" y="433"/>
                      </a:lnTo>
                      <a:lnTo>
                        <a:pt x="1308" y="437"/>
                      </a:lnTo>
                      <a:lnTo>
                        <a:pt x="1316" y="437"/>
                      </a:lnTo>
                      <a:lnTo>
                        <a:pt x="1323" y="437"/>
                      </a:lnTo>
                      <a:lnTo>
                        <a:pt x="1329" y="435"/>
                      </a:lnTo>
                      <a:lnTo>
                        <a:pt x="1334" y="435"/>
                      </a:lnTo>
                      <a:lnTo>
                        <a:pt x="1339" y="438"/>
                      </a:lnTo>
                      <a:lnTo>
                        <a:pt x="1346" y="444"/>
                      </a:lnTo>
                      <a:lnTo>
                        <a:pt x="1346" y="444"/>
                      </a:lnTo>
                      <a:lnTo>
                        <a:pt x="1353" y="451"/>
                      </a:lnTo>
                      <a:lnTo>
                        <a:pt x="1358" y="459"/>
                      </a:lnTo>
                      <a:lnTo>
                        <a:pt x="1362" y="468"/>
                      </a:lnTo>
                      <a:lnTo>
                        <a:pt x="1365" y="478"/>
                      </a:lnTo>
                      <a:lnTo>
                        <a:pt x="1369" y="501"/>
                      </a:lnTo>
                      <a:lnTo>
                        <a:pt x="1372" y="529"/>
                      </a:lnTo>
                      <a:lnTo>
                        <a:pt x="1372" y="529"/>
                      </a:lnTo>
                      <a:lnTo>
                        <a:pt x="1372" y="543"/>
                      </a:lnTo>
                      <a:lnTo>
                        <a:pt x="1372" y="555"/>
                      </a:lnTo>
                      <a:lnTo>
                        <a:pt x="1370" y="567"/>
                      </a:lnTo>
                      <a:lnTo>
                        <a:pt x="1367" y="579"/>
                      </a:lnTo>
                      <a:lnTo>
                        <a:pt x="1360" y="592"/>
                      </a:lnTo>
                      <a:lnTo>
                        <a:pt x="1353" y="605"/>
                      </a:lnTo>
                      <a:lnTo>
                        <a:pt x="1336" y="639"/>
                      </a:lnTo>
                      <a:lnTo>
                        <a:pt x="1336" y="639"/>
                      </a:lnTo>
                      <a:lnTo>
                        <a:pt x="1325" y="654"/>
                      </a:lnTo>
                      <a:lnTo>
                        <a:pt x="1316" y="665"/>
                      </a:lnTo>
                      <a:lnTo>
                        <a:pt x="1302" y="679"/>
                      </a:lnTo>
                      <a:lnTo>
                        <a:pt x="1297" y="686"/>
                      </a:lnTo>
                      <a:lnTo>
                        <a:pt x="1292" y="693"/>
                      </a:lnTo>
                      <a:lnTo>
                        <a:pt x="1285" y="705"/>
                      </a:lnTo>
                      <a:lnTo>
                        <a:pt x="1278" y="720"/>
                      </a:lnTo>
                      <a:lnTo>
                        <a:pt x="1278" y="720"/>
                      </a:lnTo>
                      <a:lnTo>
                        <a:pt x="1266" y="750"/>
                      </a:lnTo>
                      <a:lnTo>
                        <a:pt x="1261" y="762"/>
                      </a:lnTo>
                      <a:lnTo>
                        <a:pt x="1257" y="769"/>
                      </a:lnTo>
                      <a:lnTo>
                        <a:pt x="1252" y="774"/>
                      </a:lnTo>
                      <a:lnTo>
                        <a:pt x="1248" y="774"/>
                      </a:lnTo>
                      <a:lnTo>
                        <a:pt x="1243" y="771"/>
                      </a:lnTo>
                      <a:lnTo>
                        <a:pt x="1238" y="762"/>
                      </a:lnTo>
                      <a:lnTo>
                        <a:pt x="1238" y="762"/>
                      </a:lnTo>
                      <a:lnTo>
                        <a:pt x="1236" y="759"/>
                      </a:lnTo>
                      <a:lnTo>
                        <a:pt x="1233" y="757"/>
                      </a:lnTo>
                      <a:lnTo>
                        <a:pt x="1231" y="759"/>
                      </a:lnTo>
                      <a:lnTo>
                        <a:pt x="1231" y="760"/>
                      </a:lnTo>
                      <a:lnTo>
                        <a:pt x="1228" y="771"/>
                      </a:lnTo>
                      <a:lnTo>
                        <a:pt x="1226" y="785"/>
                      </a:lnTo>
                      <a:lnTo>
                        <a:pt x="1222" y="847"/>
                      </a:lnTo>
                      <a:lnTo>
                        <a:pt x="1222" y="847"/>
                      </a:lnTo>
                      <a:lnTo>
                        <a:pt x="1222" y="858"/>
                      </a:lnTo>
                      <a:lnTo>
                        <a:pt x="1222" y="865"/>
                      </a:lnTo>
                      <a:lnTo>
                        <a:pt x="1226" y="879"/>
                      </a:lnTo>
                      <a:lnTo>
                        <a:pt x="1228" y="888"/>
                      </a:lnTo>
                      <a:lnTo>
                        <a:pt x="1229" y="896"/>
                      </a:lnTo>
                      <a:lnTo>
                        <a:pt x="1228" y="907"/>
                      </a:lnTo>
                      <a:lnTo>
                        <a:pt x="1226" y="917"/>
                      </a:lnTo>
                      <a:lnTo>
                        <a:pt x="1226" y="917"/>
                      </a:lnTo>
                      <a:lnTo>
                        <a:pt x="1222" y="931"/>
                      </a:lnTo>
                      <a:lnTo>
                        <a:pt x="1221" y="943"/>
                      </a:lnTo>
                      <a:lnTo>
                        <a:pt x="1221" y="968"/>
                      </a:lnTo>
                      <a:lnTo>
                        <a:pt x="1221" y="976"/>
                      </a:lnTo>
                      <a:lnTo>
                        <a:pt x="1219" y="985"/>
                      </a:lnTo>
                      <a:lnTo>
                        <a:pt x="1215" y="992"/>
                      </a:lnTo>
                      <a:lnTo>
                        <a:pt x="1210" y="997"/>
                      </a:lnTo>
                      <a:lnTo>
                        <a:pt x="1210" y="997"/>
                      </a:lnTo>
                      <a:lnTo>
                        <a:pt x="1205" y="1001"/>
                      </a:lnTo>
                      <a:lnTo>
                        <a:pt x="1203" y="1008"/>
                      </a:lnTo>
                      <a:lnTo>
                        <a:pt x="1201" y="1015"/>
                      </a:lnTo>
                      <a:lnTo>
                        <a:pt x="1203" y="1023"/>
                      </a:lnTo>
                      <a:lnTo>
                        <a:pt x="1203" y="1034"/>
                      </a:lnTo>
                      <a:lnTo>
                        <a:pt x="1201" y="1044"/>
                      </a:lnTo>
                      <a:lnTo>
                        <a:pt x="1198" y="1058"/>
                      </a:lnTo>
                      <a:lnTo>
                        <a:pt x="1193" y="1072"/>
                      </a:lnTo>
                      <a:lnTo>
                        <a:pt x="1193" y="1072"/>
                      </a:lnTo>
                      <a:lnTo>
                        <a:pt x="1177" y="1098"/>
                      </a:lnTo>
                      <a:lnTo>
                        <a:pt x="1163" y="1119"/>
                      </a:lnTo>
                      <a:lnTo>
                        <a:pt x="1158" y="1128"/>
                      </a:lnTo>
                      <a:lnTo>
                        <a:pt x="1154" y="1135"/>
                      </a:lnTo>
                      <a:lnTo>
                        <a:pt x="1153" y="1143"/>
                      </a:lnTo>
                      <a:lnTo>
                        <a:pt x="1154" y="1152"/>
                      </a:lnTo>
                      <a:lnTo>
                        <a:pt x="1154" y="1152"/>
                      </a:lnTo>
                      <a:lnTo>
                        <a:pt x="1156" y="1156"/>
                      </a:lnTo>
                      <a:lnTo>
                        <a:pt x="1156" y="1159"/>
                      </a:lnTo>
                      <a:lnTo>
                        <a:pt x="1153" y="1166"/>
                      </a:lnTo>
                      <a:lnTo>
                        <a:pt x="1147" y="1173"/>
                      </a:lnTo>
                      <a:lnTo>
                        <a:pt x="1140" y="1178"/>
                      </a:lnTo>
                      <a:lnTo>
                        <a:pt x="1128" y="1189"/>
                      </a:lnTo>
                      <a:lnTo>
                        <a:pt x="1125" y="1194"/>
                      </a:lnTo>
                      <a:lnTo>
                        <a:pt x="1125" y="1197"/>
                      </a:lnTo>
                      <a:lnTo>
                        <a:pt x="1125" y="1201"/>
                      </a:lnTo>
                      <a:lnTo>
                        <a:pt x="1125" y="1201"/>
                      </a:lnTo>
                      <a:lnTo>
                        <a:pt x="1127" y="1204"/>
                      </a:lnTo>
                      <a:lnTo>
                        <a:pt x="1125" y="1208"/>
                      </a:lnTo>
                      <a:lnTo>
                        <a:pt x="1120" y="1210"/>
                      </a:lnTo>
                      <a:lnTo>
                        <a:pt x="1113" y="1210"/>
                      </a:lnTo>
                      <a:lnTo>
                        <a:pt x="1095" y="1210"/>
                      </a:lnTo>
                      <a:lnTo>
                        <a:pt x="1085" y="1210"/>
                      </a:lnTo>
                      <a:lnTo>
                        <a:pt x="1074" y="1211"/>
                      </a:lnTo>
                      <a:lnTo>
                        <a:pt x="1074" y="1211"/>
                      </a:lnTo>
                      <a:lnTo>
                        <a:pt x="1064" y="1213"/>
                      </a:lnTo>
                      <a:lnTo>
                        <a:pt x="1059" y="1213"/>
                      </a:lnTo>
                      <a:lnTo>
                        <a:pt x="1055" y="1213"/>
                      </a:lnTo>
                      <a:lnTo>
                        <a:pt x="1052" y="1211"/>
                      </a:lnTo>
                      <a:lnTo>
                        <a:pt x="1048" y="1210"/>
                      </a:lnTo>
                      <a:lnTo>
                        <a:pt x="1045" y="1210"/>
                      </a:lnTo>
                      <a:lnTo>
                        <a:pt x="1038" y="1211"/>
                      </a:lnTo>
                      <a:lnTo>
                        <a:pt x="1038" y="1211"/>
                      </a:lnTo>
                      <a:lnTo>
                        <a:pt x="1031" y="1215"/>
                      </a:lnTo>
                      <a:lnTo>
                        <a:pt x="1026" y="1218"/>
                      </a:lnTo>
                      <a:lnTo>
                        <a:pt x="1013" y="1231"/>
                      </a:lnTo>
                      <a:lnTo>
                        <a:pt x="1005" y="1239"/>
                      </a:lnTo>
                      <a:lnTo>
                        <a:pt x="994" y="1246"/>
                      </a:lnTo>
                      <a:lnTo>
                        <a:pt x="979" y="1255"/>
                      </a:lnTo>
                      <a:lnTo>
                        <a:pt x="958" y="1265"/>
                      </a:lnTo>
                      <a:lnTo>
                        <a:pt x="958" y="1265"/>
                      </a:lnTo>
                      <a:lnTo>
                        <a:pt x="949" y="1271"/>
                      </a:lnTo>
                      <a:lnTo>
                        <a:pt x="939" y="1276"/>
                      </a:lnTo>
                      <a:lnTo>
                        <a:pt x="928" y="1285"/>
                      </a:lnTo>
                      <a:lnTo>
                        <a:pt x="918" y="1295"/>
                      </a:lnTo>
                      <a:lnTo>
                        <a:pt x="907" y="1305"/>
                      </a:lnTo>
                      <a:lnTo>
                        <a:pt x="900" y="1318"/>
                      </a:lnTo>
                      <a:lnTo>
                        <a:pt x="895" y="1332"/>
                      </a:lnTo>
                      <a:lnTo>
                        <a:pt x="891" y="1345"/>
                      </a:lnTo>
                      <a:lnTo>
                        <a:pt x="891" y="1345"/>
                      </a:lnTo>
                      <a:lnTo>
                        <a:pt x="891" y="1359"/>
                      </a:lnTo>
                      <a:lnTo>
                        <a:pt x="891" y="1373"/>
                      </a:lnTo>
                      <a:lnTo>
                        <a:pt x="893" y="1399"/>
                      </a:lnTo>
                      <a:lnTo>
                        <a:pt x="893" y="1412"/>
                      </a:lnTo>
                      <a:lnTo>
                        <a:pt x="891" y="1424"/>
                      </a:lnTo>
                      <a:lnTo>
                        <a:pt x="890" y="1436"/>
                      </a:lnTo>
                      <a:lnTo>
                        <a:pt x="885" y="1448"/>
                      </a:lnTo>
                      <a:lnTo>
                        <a:pt x="885" y="1448"/>
                      </a:lnTo>
                      <a:lnTo>
                        <a:pt x="879" y="1457"/>
                      </a:lnTo>
                      <a:lnTo>
                        <a:pt x="876" y="1462"/>
                      </a:lnTo>
                      <a:lnTo>
                        <a:pt x="869" y="1469"/>
                      </a:lnTo>
                      <a:lnTo>
                        <a:pt x="864" y="1474"/>
                      </a:lnTo>
                      <a:lnTo>
                        <a:pt x="858" y="1480"/>
                      </a:lnTo>
                      <a:lnTo>
                        <a:pt x="853" y="1488"/>
                      </a:lnTo>
                      <a:lnTo>
                        <a:pt x="846" y="1502"/>
                      </a:lnTo>
                      <a:lnTo>
                        <a:pt x="846" y="1502"/>
                      </a:lnTo>
                      <a:lnTo>
                        <a:pt x="832" y="1533"/>
                      </a:lnTo>
                      <a:lnTo>
                        <a:pt x="822" y="1560"/>
                      </a:lnTo>
                      <a:lnTo>
                        <a:pt x="810" y="1580"/>
                      </a:lnTo>
                      <a:lnTo>
                        <a:pt x="803" y="1589"/>
                      </a:lnTo>
                      <a:lnTo>
                        <a:pt x="796" y="1598"/>
                      </a:lnTo>
                      <a:lnTo>
                        <a:pt x="796" y="1598"/>
                      </a:lnTo>
                      <a:lnTo>
                        <a:pt x="775" y="1615"/>
                      </a:lnTo>
                      <a:lnTo>
                        <a:pt x="763" y="1626"/>
                      </a:lnTo>
                      <a:lnTo>
                        <a:pt x="759" y="1633"/>
                      </a:lnTo>
                      <a:lnTo>
                        <a:pt x="756" y="1640"/>
                      </a:lnTo>
                      <a:lnTo>
                        <a:pt x="749" y="1661"/>
                      </a:lnTo>
                      <a:lnTo>
                        <a:pt x="749" y="1661"/>
                      </a:lnTo>
                      <a:lnTo>
                        <a:pt x="747" y="1668"/>
                      </a:lnTo>
                      <a:lnTo>
                        <a:pt x="743" y="1671"/>
                      </a:lnTo>
                      <a:lnTo>
                        <a:pt x="735" y="1678"/>
                      </a:lnTo>
                      <a:lnTo>
                        <a:pt x="724" y="1683"/>
                      </a:lnTo>
                      <a:lnTo>
                        <a:pt x="719" y="1687"/>
                      </a:lnTo>
                      <a:lnTo>
                        <a:pt x="716" y="1694"/>
                      </a:lnTo>
                      <a:lnTo>
                        <a:pt x="716" y="169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7" name="Freeform 1686">
                  <a:extLst>
                    <a:ext uri="{FF2B5EF4-FFF2-40B4-BE49-F238E27FC236}">
                      <a16:creationId xmlns:a16="http://schemas.microsoft.com/office/drawing/2014/main" id="{BDFDD466-CCA7-4EE8-02FD-A6FBABDE1A46}"/>
                    </a:ext>
                  </a:extLst>
                </p:cNvPr>
                <p:cNvSpPr>
                  <a:spLocks/>
                </p:cNvSpPr>
                <p:nvPr/>
              </p:nvSpPr>
              <p:spPr bwMode="auto">
                <a:xfrm>
                  <a:off x="3227323" y="4811314"/>
                  <a:ext cx="338304" cy="459883"/>
                </a:xfrm>
                <a:custGeom>
                  <a:avLst/>
                  <a:gdLst/>
                  <a:ahLst/>
                  <a:cxnLst>
                    <a:cxn ang="0">
                      <a:pos x="25" y="61"/>
                    </a:cxn>
                    <a:cxn ang="0">
                      <a:pos x="53" y="51"/>
                    </a:cxn>
                    <a:cxn ang="0">
                      <a:pos x="103" y="13"/>
                    </a:cxn>
                    <a:cxn ang="0">
                      <a:pos x="148" y="2"/>
                    </a:cxn>
                    <a:cxn ang="0">
                      <a:pos x="152" y="16"/>
                    </a:cxn>
                    <a:cxn ang="0">
                      <a:pos x="145" y="51"/>
                    </a:cxn>
                    <a:cxn ang="0">
                      <a:pos x="161" y="94"/>
                    </a:cxn>
                    <a:cxn ang="0">
                      <a:pos x="187" y="117"/>
                    </a:cxn>
                    <a:cxn ang="0">
                      <a:pos x="236" y="140"/>
                    </a:cxn>
                    <a:cxn ang="0">
                      <a:pos x="251" y="150"/>
                    </a:cxn>
                    <a:cxn ang="0">
                      <a:pos x="267" y="157"/>
                    </a:cxn>
                    <a:cxn ang="0">
                      <a:pos x="283" y="164"/>
                    </a:cxn>
                    <a:cxn ang="0">
                      <a:pos x="303" y="166"/>
                    </a:cxn>
                    <a:cxn ang="0">
                      <a:pos x="316" y="181"/>
                    </a:cxn>
                    <a:cxn ang="0">
                      <a:pos x="326" y="253"/>
                    </a:cxn>
                    <a:cxn ang="0">
                      <a:pos x="337" y="282"/>
                    </a:cxn>
                    <a:cxn ang="0">
                      <a:pos x="378" y="282"/>
                    </a:cxn>
                    <a:cxn ang="0">
                      <a:pos x="394" y="291"/>
                    </a:cxn>
                    <a:cxn ang="0">
                      <a:pos x="391" y="321"/>
                    </a:cxn>
                    <a:cxn ang="0">
                      <a:pos x="404" y="333"/>
                    </a:cxn>
                    <a:cxn ang="0">
                      <a:pos x="420" y="349"/>
                    </a:cxn>
                    <a:cxn ang="0">
                      <a:pos x="417" y="401"/>
                    </a:cxn>
                    <a:cxn ang="0">
                      <a:pos x="411" y="420"/>
                    </a:cxn>
                    <a:cxn ang="0">
                      <a:pos x="408" y="434"/>
                    </a:cxn>
                    <a:cxn ang="0">
                      <a:pos x="401" y="453"/>
                    </a:cxn>
                    <a:cxn ang="0">
                      <a:pos x="399" y="436"/>
                    </a:cxn>
                    <a:cxn ang="0">
                      <a:pos x="368" y="418"/>
                    </a:cxn>
                    <a:cxn ang="0">
                      <a:pos x="326" y="420"/>
                    </a:cxn>
                    <a:cxn ang="0">
                      <a:pos x="281" y="429"/>
                    </a:cxn>
                    <a:cxn ang="0">
                      <a:pos x="270" y="441"/>
                    </a:cxn>
                    <a:cxn ang="0">
                      <a:pos x="256" y="484"/>
                    </a:cxn>
                    <a:cxn ang="0">
                      <a:pos x="243" y="545"/>
                    </a:cxn>
                    <a:cxn ang="0">
                      <a:pos x="234" y="533"/>
                    </a:cxn>
                    <a:cxn ang="0">
                      <a:pos x="201" y="533"/>
                    </a:cxn>
                    <a:cxn ang="0">
                      <a:pos x="185" y="570"/>
                    </a:cxn>
                    <a:cxn ang="0">
                      <a:pos x="175" y="544"/>
                    </a:cxn>
                    <a:cxn ang="0">
                      <a:pos x="147" y="540"/>
                    </a:cxn>
                    <a:cxn ang="0">
                      <a:pos x="129" y="535"/>
                    </a:cxn>
                    <a:cxn ang="0">
                      <a:pos x="117" y="524"/>
                    </a:cxn>
                    <a:cxn ang="0">
                      <a:pos x="114" y="531"/>
                    </a:cxn>
                    <a:cxn ang="0">
                      <a:pos x="107" y="542"/>
                    </a:cxn>
                    <a:cxn ang="0">
                      <a:pos x="91" y="563"/>
                    </a:cxn>
                    <a:cxn ang="0">
                      <a:pos x="74" y="573"/>
                    </a:cxn>
                    <a:cxn ang="0">
                      <a:pos x="60" y="557"/>
                    </a:cxn>
                    <a:cxn ang="0">
                      <a:pos x="44" y="490"/>
                    </a:cxn>
                    <a:cxn ang="0">
                      <a:pos x="35" y="483"/>
                    </a:cxn>
                    <a:cxn ang="0">
                      <a:pos x="35" y="470"/>
                    </a:cxn>
                    <a:cxn ang="0">
                      <a:pos x="30" y="455"/>
                    </a:cxn>
                    <a:cxn ang="0">
                      <a:pos x="37" y="443"/>
                    </a:cxn>
                    <a:cxn ang="0">
                      <a:pos x="32" y="430"/>
                    </a:cxn>
                    <a:cxn ang="0">
                      <a:pos x="39" y="418"/>
                    </a:cxn>
                    <a:cxn ang="0">
                      <a:pos x="25" y="401"/>
                    </a:cxn>
                    <a:cxn ang="0">
                      <a:pos x="16" y="366"/>
                    </a:cxn>
                    <a:cxn ang="0">
                      <a:pos x="13" y="357"/>
                    </a:cxn>
                    <a:cxn ang="0">
                      <a:pos x="2" y="335"/>
                    </a:cxn>
                    <a:cxn ang="0">
                      <a:pos x="20" y="298"/>
                    </a:cxn>
                    <a:cxn ang="0">
                      <a:pos x="16" y="279"/>
                    </a:cxn>
                    <a:cxn ang="0">
                      <a:pos x="4" y="267"/>
                    </a:cxn>
                    <a:cxn ang="0">
                      <a:pos x="11" y="244"/>
                    </a:cxn>
                    <a:cxn ang="0">
                      <a:pos x="6" y="225"/>
                    </a:cxn>
                    <a:cxn ang="0">
                      <a:pos x="18" y="204"/>
                    </a:cxn>
                    <a:cxn ang="0">
                      <a:pos x="23" y="183"/>
                    </a:cxn>
                    <a:cxn ang="0">
                      <a:pos x="30" y="129"/>
                    </a:cxn>
                  </a:cxnLst>
                  <a:rect l="0" t="0" r="r" b="b"/>
                  <a:pathLst>
                    <a:path w="424" h="573">
                      <a:moveTo>
                        <a:pt x="0" y="54"/>
                      </a:moveTo>
                      <a:lnTo>
                        <a:pt x="0" y="54"/>
                      </a:lnTo>
                      <a:lnTo>
                        <a:pt x="14" y="60"/>
                      </a:lnTo>
                      <a:lnTo>
                        <a:pt x="25" y="61"/>
                      </a:lnTo>
                      <a:lnTo>
                        <a:pt x="34" y="63"/>
                      </a:lnTo>
                      <a:lnTo>
                        <a:pt x="39" y="61"/>
                      </a:lnTo>
                      <a:lnTo>
                        <a:pt x="46" y="56"/>
                      </a:lnTo>
                      <a:lnTo>
                        <a:pt x="53" y="51"/>
                      </a:lnTo>
                      <a:lnTo>
                        <a:pt x="74" y="32"/>
                      </a:lnTo>
                      <a:lnTo>
                        <a:pt x="74" y="32"/>
                      </a:lnTo>
                      <a:lnTo>
                        <a:pt x="89" y="21"/>
                      </a:lnTo>
                      <a:lnTo>
                        <a:pt x="103" y="13"/>
                      </a:lnTo>
                      <a:lnTo>
                        <a:pt x="119" y="6"/>
                      </a:lnTo>
                      <a:lnTo>
                        <a:pt x="131" y="2"/>
                      </a:lnTo>
                      <a:lnTo>
                        <a:pt x="142" y="0"/>
                      </a:lnTo>
                      <a:lnTo>
                        <a:pt x="148" y="2"/>
                      </a:lnTo>
                      <a:lnTo>
                        <a:pt x="150" y="4"/>
                      </a:lnTo>
                      <a:lnTo>
                        <a:pt x="152" y="7"/>
                      </a:lnTo>
                      <a:lnTo>
                        <a:pt x="152" y="11"/>
                      </a:lnTo>
                      <a:lnTo>
                        <a:pt x="152" y="16"/>
                      </a:lnTo>
                      <a:lnTo>
                        <a:pt x="152" y="16"/>
                      </a:lnTo>
                      <a:lnTo>
                        <a:pt x="148" y="28"/>
                      </a:lnTo>
                      <a:lnTo>
                        <a:pt x="147" y="39"/>
                      </a:lnTo>
                      <a:lnTo>
                        <a:pt x="145" y="51"/>
                      </a:lnTo>
                      <a:lnTo>
                        <a:pt x="147" y="61"/>
                      </a:lnTo>
                      <a:lnTo>
                        <a:pt x="148" y="73"/>
                      </a:lnTo>
                      <a:lnTo>
                        <a:pt x="154" y="84"/>
                      </a:lnTo>
                      <a:lnTo>
                        <a:pt x="161" y="94"/>
                      </a:lnTo>
                      <a:lnTo>
                        <a:pt x="169" y="103"/>
                      </a:lnTo>
                      <a:lnTo>
                        <a:pt x="169" y="103"/>
                      </a:lnTo>
                      <a:lnTo>
                        <a:pt x="178" y="112"/>
                      </a:lnTo>
                      <a:lnTo>
                        <a:pt x="187" y="117"/>
                      </a:lnTo>
                      <a:lnTo>
                        <a:pt x="202" y="124"/>
                      </a:lnTo>
                      <a:lnTo>
                        <a:pt x="218" y="129"/>
                      </a:lnTo>
                      <a:lnTo>
                        <a:pt x="227" y="133"/>
                      </a:lnTo>
                      <a:lnTo>
                        <a:pt x="236" y="140"/>
                      </a:lnTo>
                      <a:lnTo>
                        <a:pt x="236" y="140"/>
                      </a:lnTo>
                      <a:lnTo>
                        <a:pt x="243" y="145"/>
                      </a:lnTo>
                      <a:lnTo>
                        <a:pt x="248" y="148"/>
                      </a:lnTo>
                      <a:lnTo>
                        <a:pt x="251" y="150"/>
                      </a:lnTo>
                      <a:lnTo>
                        <a:pt x="255" y="150"/>
                      </a:lnTo>
                      <a:lnTo>
                        <a:pt x="258" y="150"/>
                      </a:lnTo>
                      <a:lnTo>
                        <a:pt x="262" y="152"/>
                      </a:lnTo>
                      <a:lnTo>
                        <a:pt x="267" y="157"/>
                      </a:lnTo>
                      <a:lnTo>
                        <a:pt x="267" y="157"/>
                      </a:lnTo>
                      <a:lnTo>
                        <a:pt x="274" y="162"/>
                      </a:lnTo>
                      <a:lnTo>
                        <a:pt x="279" y="164"/>
                      </a:lnTo>
                      <a:lnTo>
                        <a:pt x="283" y="164"/>
                      </a:lnTo>
                      <a:lnTo>
                        <a:pt x="288" y="164"/>
                      </a:lnTo>
                      <a:lnTo>
                        <a:pt x="291" y="162"/>
                      </a:lnTo>
                      <a:lnTo>
                        <a:pt x="296" y="164"/>
                      </a:lnTo>
                      <a:lnTo>
                        <a:pt x="303" y="166"/>
                      </a:lnTo>
                      <a:lnTo>
                        <a:pt x="310" y="171"/>
                      </a:lnTo>
                      <a:lnTo>
                        <a:pt x="310" y="171"/>
                      </a:lnTo>
                      <a:lnTo>
                        <a:pt x="314" y="176"/>
                      </a:lnTo>
                      <a:lnTo>
                        <a:pt x="316" y="181"/>
                      </a:lnTo>
                      <a:lnTo>
                        <a:pt x="321" y="197"/>
                      </a:lnTo>
                      <a:lnTo>
                        <a:pt x="323" y="214"/>
                      </a:lnTo>
                      <a:lnTo>
                        <a:pt x="324" y="234"/>
                      </a:lnTo>
                      <a:lnTo>
                        <a:pt x="326" y="253"/>
                      </a:lnTo>
                      <a:lnTo>
                        <a:pt x="330" y="268"/>
                      </a:lnTo>
                      <a:lnTo>
                        <a:pt x="331" y="274"/>
                      </a:lnTo>
                      <a:lnTo>
                        <a:pt x="333" y="279"/>
                      </a:lnTo>
                      <a:lnTo>
                        <a:pt x="337" y="282"/>
                      </a:lnTo>
                      <a:lnTo>
                        <a:pt x="340" y="284"/>
                      </a:lnTo>
                      <a:lnTo>
                        <a:pt x="340" y="284"/>
                      </a:lnTo>
                      <a:lnTo>
                        <a:pt x="359" y="284"/>
                      </a:lnTo>
                      <a:lnTo>
                        <a:pt x="378" y="282"/>
                      </a:lnTo>
                      <a:lnTo>
                        <a:pt x="385" y="282"/>
                      </a:lnTo>
                      <a:lnTo>
                        <a:pt x="391" y="284"/>
                      </a:lnTo>
                      <a:lnTo>
                        <a:pt x="394" y="286"/>
                      </a:lnTo>
                      <a:lnTo>
                        <a:pt x="394" y="291"/>
                      </a:lnTo>
                      <a:lnTo>
                        <a:pt x="394" y="291"/>
                      </a:lnTo>
                      <a:lnTo>
                        <a:pt x="391" y="303"/>
                      </a:lnTo>
                      <a:lnTo>
                        <a:pt x="391" y="315"/>
                      </a:lnTo>
                      <a:lnTo>
                        <a:pt x="391" y="321"/>
                      </a:lnTo>
                      <a:lnTo>
                        <a:pt x="394" y="326"/>
                      </a:lnTo>
                      <a:lnTo>
                        <a:pt x="399" y="329"/>
                      </a:lnTo>
                      <a:lnTo>
                        <a:pt x="404" y="333"/>
                      </a:lnTo>
                      <a:lnTo>
                        <a:pt x="404" y="333"/>
                      </a:lnTo>
                      <a:lnTo>
                        <a:pt x="411" y="336"/>
                      </a:lnTo>
                      <a:lnTo>
                        <a:pt x="415" y="340"/>
                      </a:lnTo>
                      <a:lnTo>
                        <a:pt x="418" y="343"/>
                      </a:lnTo>
                      <a:lnTo>
                        <a:pt x="420" y="349"/>
                      </a:lnTo>
                      <a:lnTo>
                        <a:pt x="424" y="359"/>
                      </a:lnTo>
                      <a:lnTo>
                        <a:pt x="422" y="369"/>
                      </a:lnTo>
                      <a:lnTo>
                        <a:pt x="418" y="390"/>
                      </a:lnTo>
                      <a:lnTo>
                        <a:pt x="417" y="401"/>
                      </a:lnTo>
                      <a:lnTo>
                        <a:pt x="417" y="401"/>
                      </a:lnTo>
                      <a:lnTo>
                        <a:pt x="417" y="406"/>
                      </a:lnTo>
                      <a:lnTo>
                        <a:pt x="415" y="411"/>
                      </a:lnTo>
                      <a:lnTo>
                        <a:pt x="411" y="420"/>
                      </a:lnTo>
                      <a:lnTo>
                        <a:pt x="408" y="427"/>
                      </a:lnTo>
                      <a:lnTo>
                        <a:pt x="406" y="430"/>
                      </a:lnTo>
                      <a:lnTo>
                        <a:pt x="408" y="434"/>
                      </a:lnTo>
                      <a:lnTo>
                        <a:pt x="408" y="434"/>
                      </a:lnTo>
                      <a:lnTo>
                        <a:pt x="410" y="441"/>
                      </a:lnTo>
                      <a:lnTo>
                        <a:pt x="410" y="444"/>
                      </a:lnTo>
                      <a:lnTo>
                        <a:pt x="406" y="448"/>
                      </a:lnTo>
                      <a:lnTo>
                        <a:pt x="401" y="453"/>
                      </a:lnTo>
                      <a:lnTo>
                        <a:pt x="401" y="453"/>
                      </a:lnTo>
                      <a:lnTo>
                        <a:pt x="401" y="444"/>
                      </a:lnTo>
                      <a:lnTo>
                        <a:pt x="401" y="441"/>
                      </a:lnTo>
                      <a:lnTo>
                        <a:pt x="399" y="436"/>
                      </a:lnTo>
                      <a:lnTo>
                        <a:pt x="391" y="430"/>
                      </a:lnTo>
                      <a:lnTo>
                        <a:pt x="391" y="430"/>
                      </a:lnTo>
                      <a:lnTo>
                        <a:pt x="378" y="423"/>
                      </a:lnTo>
                      <a:lnTo>
                        <a:pt x="368" y="418"/>
                      </a:lnTo>
                      <a:lnTo>
                        <a:pt x="361" y="416"/>
                      </a:lnTo>
                      <a:lnTo>
                        <a:pt x="350" y="416"/>
                      </a:lnTo>
                      <a:lnTo>
                        <a:pt x="340" y="416"/>
                      </a:lnTo>
                      <a:lnTo>
                        <a:pt x="326" y="420"/>
                      </a:lnTo>
                      <a:lnTo>
                        <a:pt x="326" y="420"/>
                      </a:lnTo>
                      <a:lnTo>
                        <a:pt x="302" y="423"/>
                      </a:lnTo>
                      <a:lnTo>
                        <a:pt x="286" y="427"/>
                      </a:lnTo>
                      <a:lnTo>
                        <a:pt x="281" y="429"/>
                      </a:lnTo>
                      <a:lnTo>
                        <a:pt x="277" y="430"/>
                      </a:lnTo>
                      <a:lnTo>
                        <a:pt x="274" y="436"/>
                      </a:lnTo>
                      <a:lnTo>
                        <a:pt x="270" y="441"/>
                      </a:lnTo>
                      <a:lnTo>
                        <a:pt x="270" y="441"/>
                      </a:lnTo>
                      <a:lnTo>
                        <a:pt x="262" y="462"/>
                      </a:lnTo>
                      <a:lnTo>
                        <a:pt x="258" y="470"/>
                      </a:lnTo>
                      <a:lnTo>
                        <a:pt x="256" y="484"/>
                      </a:lnTo>
                      <a:lnTo>
                        <a:pt x="256" y="484"/>
                      </a:lnTo>
                      <a:lnTo>
                        <a:pt x="255" y="502"/>
                      </a:lnTo>
                      <a:lnTo>
                        <a:pt x="251" y="517"/>
                      </a:lnTo>
                      <a:lnTo>
                        <a:pt x="246" y="533"/>
                      </a:lnTo>
                      <a:lnTo>
                        <a:pt x="243" y="545"/>
                      </a:lnTo>
                      <a:lnTo>
                        <a:pt x="243" y="545"/>
                      </a:lnTo>
                      <a:lnTo>
                        <a:pt x="239" y="537"/>
                      </a:lnTo>
                      <a:lnTo>
                        <a:pt x="237" y="535"/>
                      </a:lnTo>
                      <a:lnTo>
                        <a:pt x="234" y="533"/>
                      </a:lnTo>
                      <a:lnTo>
                        <a:pt x="234" y="533"/>
                      </a:lnTo>
                      <a:lnTo>
                        <a:pt x="204" y="533"/>
                      </a:lnTo>
                      <a:lnTo>
                        <a:pt x="204" y="533"/>
                      </a:lnTo>
                      <a:lnTo>
                        <a:pt x="201" y="533"/>
                      </a:lnTo>
                      <a:lnTo>
                        <a:pt x="199" y="535"/>
                      </a:lnTo>
                      <a:lnTo>
                        <a:pt x="194" y="542"/>
                      </a:lnTo>
                      <a:lnTo>
                        <a:pt x="189" y="552"/>
                      </a:lnTo>
                      <a:lnTo>
                        <a:pt x="185" y="570"/>
                      </a:lnTo>
                      <a:lnTo>
                        <a:pt x="185" y="570"/>
                      </a:lnTo>
                      <a:lnTo>
                        <a:pt x="182" y="557"/>
                      </a:lnTo>
                      <a:lnTo>
                        <a:pt x="178" y="551"/>
                      </a:lnTo>
                      <a:lnTo>
                        <a:pt x="175" y="544"/>
                      </a:lnTo>
                      <a:lnTo>
                        <a:pt x="169" y="540"/>
                      </a:lnTo>
                      <a:lnTo>
                        <a:pt x="166" y="538"/>
                      </a:lnTo>
                      <a:lnTo>
                        <a:pt x="159" y="538"/>
                      </a:lnTo>
                      <a:lnTo>
                        <a:pt x="147" y="540"/>
                      </a:lnTo>
                      <a:lnTo>
                        <a:pt x="147" y="540"/>
                      </a:lnTo>
                      <a:lnTo>
                        <a:pt x="140" y="540"/>
                      </a:lnTo>
                      <a:lnTo>
                        <a:pt x="135" y="538"/>
                      </a:lnTo>
                      <a:lnTo>
                        <a:pt x="129" y="535"/>
                      </a:lnTo>
                      <a:lnTo>
                        <a:pt x="128" y="531"/>
                      </a:lnTo>
                      <a:lnTo>
                        <a:pt x="122" y="526"/>
                      </a:lnTo>
                      <a:lnTo>
                        <a:pt x="119" y="524"/>
                      </a:lnTo>
                      <a:lnTo>
                        <a:pt x="117" y="524"/>
                      </a:lnTo>
                      <a:lnTo>
                        <a:pt x="117" y="524"/>
                      </a:lnTo>
                      <a:lnTo>
                        <a:pt x="115" y="524"/>
                      </a:lnTo>
                      <a:lnTo>
                        <a:pt x="115" y="526"/>
                      </a:lnTo>
                      <a:lnTo>
                        <a:pt x="114" y="531"/>
                      </a:lnTo>
                      <a:lnTo>
                        <a:pt x="112" y="537"/>
                      </a:lnTo>
                      <a:lnTo>
                        <a:pt x="110" y="538"/>
                      </a:lnTo>
                      <a:lnTo>
                        <a:pt x="107" y="542"/>
                      </a:lnTo>
                      <a:lnTo>
                        <a:pt x="107" y="542"/>
                      </a:lnTo>
                      <a:lnTo>
                        <a:pt x="101" y="544"/>
                      </a:lnTo>
                      <a:lnTo>
                        <a:pt x="100" y="547"/>
                      </a:lnTo>
                      <a:lnTo>
                        <a:pt x="95" y="554"/>
                      </a:lnTo>
                      <a:lnTo>
                        <a:pt x="91" y="563"/>
                      </a:lnTo>
                      <a:lnTo>
                        <a:pt x="88" y="566"/>
                      </a:lnTo>
                      <a:lnTo>
                        <a:pt x="82" y="570"/>
                      </a:lnTo>
                      <a:lnTo>
                        <a:pt x="82" y="570"/>
                      </a:lnTo>
                      <a:lnTo>
                        <a:pt x="74" y="573"/>
                      </a:lnTo>
                      <a:lnTo>
                        <a:pt x="67" y="573"/>
                      </a:lnTo>
                      <a:lnTo>
                        <a:pt x="63" y="571"/>
                      </a:lnTo>
                      <a:lnTo>
                        <a:pt x="61" y="568"/>
                      </a:lnTo>
                      <a:lnTo>
                        <a:pt x="60" y="557"/>
                      </a:lnTo>
                      <a:lnTo>
                        <a:pt x="60" y="557"/>
                      </a:lnTo>
                      <a:lnTo>
                        <a:pt x="51" y="512"/>
                      </a:lnTo>
                      <a:lnTo>
                        <a:pt x="46" y="495"/>
                      </a:lnTo>
                      <a:lnTo>
                        <a:pt x="44" y="490"/>
                      </a:lnTo>
                      <a:lnTo>
                        <a:pt x="41" y="486"/>
                      </a:lnTo>
                      <a:lnTo>
                        <a:pt x="41" y="486"/>
                      </a:lnTo>
                      <a:lnTo>
                        <a:pt x="37" y="486"/>
                      </a:lnTo>
                      <a:lnTo>
                        <a:pt x="35" y="483"/>
                      </a:lnTo>
                      <a:lnTo>
                        <a:pt x="37" y="479"/>
                      </a:lnTo>
                      <a:lnTo>
                        <a:pt x="37" y="474"/>
                      </a:lnTo>
                      <a:lnTo>
                        <a:pt x="37" y="472"/>
                      </a:lnTo>
                      <a:lnTo>
                        <a:pt x="35" y="470"/>
                      </a:lnTo>
                      <a:lnTo>
                        <a:pt x="35" y="470"/>
                      </a:lnTo>
                      <a:lnTo>
                        <a:pt x="30" y="467"/>
                      </a:lnTo>
                      <a:lnTo>
                        <a:pt x="28" y="462"/>
                      </a:lnTo>
                      <a:lnTo>
                        <a:pt x="30" y="455"/>
                      </a:lnTo>
                      <a:lnTo>
                        <a:pt x="35" y="448"/>
                      </a:lnTo>
                      <a:lnTo>
                        <a:pt x="35" y="448"/>
                      </a:lnTo>
                      <a:lnTo>
                        <a:pt x="37" y="444"/>
                      </a:lnTo>
                      <a:lnTo>
                        <a:pt x="37" y="443"/>
                      </a:lnTo>
                      <a:lnTo>
                        <a:pt x="34" y="437"/>
                      </a:lnTo>
                      <a:lnTo>
                        <a:pt x="32" y="436"/>
                      </a:lnTo>
                      <a:lnTo>
                        <a:pt x="32" y="434"/>
                      </a:lnTo>
                      <a:lnTo>
                        <a:pt x="32" y="430"/>
                      </a:lnTo>
                      <a:lnTo>
                        <a:pt x="35" y="427"/>
                      </a:lnTo>
                      <a:lnTo>
                        <a:pt x="35" y="427"/>
                      </a:lnTo>
                      <a:lnTo>
                        <a:pt x="37" y="422"/>
                      </a:lnTo>
                      <a:lnTo>
                        <a:pt x="39" y="418"/>
                      </a:lnTo>
                      <a:lnTo>
                        <a:pt x="35" y="415"/>
                      </a:lnTo>
                      <a:lnTo>
                        <a:pt x="28" y="410"/>
                      </a:lnTo>
                      <a:lnTo>
                        <a:pt x="28" y="410"/>
                      </a:lnTo>
                      <a:lnTo>
                        <a:pt x="25" y="401"/>
                      </a:lnTo>
                      <a:lnTo>
                        <a:pt x="20" y="389"/>
                      </a:lnTo>
                      <a:lnTo>
                        <a:pt x="16" y="375"/>
                      </a:lnTo>
                      <a:lnTo>
                        <a:pt x="16" y="369"/>
                      </a:lnTo>
                      <a:lnTo>
                        <a:pt x="16" y="366"/>
                      </a:lnTo>
                      <a:lnTo>
                        <a:pt x="16" y="366"/>
                      </a:lnTo>
                      <a:lnTo>
                        <a:pt x="16" y="362"/>
                      </a:lnTo>
                      <a:lnTo>
                        <a:pt x="16" y="361"/>
                      </a:lnTo>
                      <a:lnTo>
                        <a:pt x="13" y="357"/>
                      </a:lnTo>
                      <a:lnTo>
                        <a:pt x="7" y="350"/>
                      </a:lnTo>
                      <a:lnTo>
                        <a:pt x="4" y="343"/>
                      </a:lnTo>
                      <a:lnTo>
                        <a:pt x="2" y="335"/>
                      </a:lnTo>
                      <a:lnTo>
                        <a:pt x="2" y="335"/>
                      </a:lnTo>
                      <a:lnTo>
                        <a:pt x="4" y="329"/>
                      </a:lnTo>
                      <a:lnTo>
                        <a:pt x="7" y="322"/>
                      </a:lnTo>
                      <a:lnTo>
                        <a:pt x="16" y="307"/>
                      </a:lnTo>
                      <a:lnTo>
                        <a:pt x="20" y="298"/>
                      </a:lnTo>
                      <a:lnTo>
                        <a:pt x="20" y="289"/>
                      </a:lnTo>
                      <a:lnTo>
                        <a:pt x="20" y="286"/>
                      </a:lnTo>
                      <a:lnTo>
                        <a:pt x="18" y="282"/>
                      </a:lnTo>
                      <a:lnTo>
                        <a:pt x="16" y="279"/>
                      </a:lnTo>
                      <a:lnTo>
                        <a:pt x="11" y="277"/>
                      </a:lnTo>
                      <a:lnTo>
                        <a:pt x="11" y="277"/>
                      </a:lnTo>
                      <a:lnTo>
                        <a:pt x="6" y="272"/>
                      </a:lnTo>
                      <a:lnTo>
                        <a:pt x="4" y="267"/>
                      </a:lnTo>
                      <a:lnTo>
                        <a:pt x="4" y="262"/>
                      </a:lnTo>
                      <a:lnTo>
                        <a:pt x="6" y="256"/>
                      </a:lnTo>
                      <a:lnTo>
                        <a:pt x="9" y="249"/>
                      </a:lnTo>
                      <a:lnTo>
                        <a:pt x="11" y="244"/>
                      </a:lnTo>
                      <a:lnTo>
                        <a:pt x="11" y="237"/>
                      </a:lnTo>
                      <a:lnTo>
                        <a:pt x="9" y="230"/>
                      </a:lnTo>
                      <a:lnTo>
                        <a:pt x="9" y="230"/>
                      </a:lnTo>
                      <a:lnTo>
                        <a:pt x="6" y="225"/>
                      </a:lnTo>
                      <a:lnTo>
                        <a:pt x="6" y="220"/>
                      </a:lnTo>
                      <a:lnTo>
                        <a:pt x="9" y="214"/>
                      </a:lnTo>
                      <a:lnTo>
                        <a:pt x="13" y="209"/>
                      </a:lnTo>
                      <a:lnTo>
                        <a:pt x="18" y="204"/>
                      </a:lnTo>
                      <a:lnTo>
                        <a:pt x="21" y="199"/>
                      </a:lnTo>
                      <a:lnTo>
                        <a:pt x="23" y="192"/>
                      </a:lnTo>
                      <a:lnTo>
                        <a:pt x="23" y="183"/>
                      </a:lnTo>
                      <a:lnTo>
                        <a:pt x="23" y="183"/>
                      </a:lnTo>
                      <a:lnTo>
                        <a:pt x="21" y="173"/>
                      </a:lnTo>
                      <a:lnTo>
                        <a:pt x="21" y="162"/>
                      </a:lnTo>
                      <a:lnTo>
                        <a:pt x="25" y="143"/>
                      </a:lnTo>
                      <a:lnTo>
                        <a:pt x="30" y="129"/>
                      </a:lnTo>
                      <a:lnTo>
                        <a:pt x="32" y="124"/>
                      </a:lnTo>
                      <a:lnTo>
                        <a:pt x="0" y="5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8" name="Freeform 1687">
                  <a:extLst>
                    <a:ext uri="{FF2B5EF4-FFF2-40B4-BE49-F238E27FC236}">
                      <a16:creationId xmlns:a16="http://schemas.microsoft.com/office/drawing/2014/main" id="{75994B6E-66CA-A883-59E6-7ABD8E770D4F}"/>
                    </a:ext>
                  </a:extLst>
                </p:cNvPr>
                <p:cNvSpPr>
                  <a:spLocks/>
                </p:cNvSpPr>
                <p:nvPr/>
              </p:nvSpPr>
              <p:spPr bwMode="auto">
                <a:xfrm>
                  <a:off x="3063453" y="5094869"/>
                  <a:ext cx="241395" cy="1381409"/>
                </a:xfrm>
                <a:custGeom>
                  <a:avLst/>
                  <a:gdLst/>
                  <a:ahLst/>
                  <a:cxnLst>
                    <a:cxn ang="0">
                      <a:pos x="252" y="87"/>
                    </a:cxn>
                    <a:cxn ang="0">
                      <a:pos x="252" y="144"/>
                    </a:cxn>
                    <a:cxn ang="0">
                      <a:pos x="301" y="256"/>
                    </a:cxn>
                    <a:cxn ang="0">
                      <a:pos x="252" y="390"/>
                    </a:cxn>
                    <a:cxn ang="0">
                      <a:pos x="214" y="482"/>
                    </a:cxn>
                    <a:cxn ang="0">
                      <a:pos x="182" y="612"/>
                    </a:cxn>
                    <a:cxn ang="0">
                      <a:pos x="209" y="707"/>
                    </a:cxn>
                    <a:cxn ang="0">
                      <a:pos x="188" y="834"/>
                    </a:cxn>
                    <a:cxn ang="0">
                      <a:pos x="168" y="950"/>
                    </a:cxn>
                    <a:cxn ang="0">
                      <a:pos x="137" y="1048"/>
                    </a:cxn>
                    <a:cxn ang="0">
                      <a:pos x="130" y="1126"/>
                    </a:cxn>
                    <a:cxn ang="0">
                      <a:pos x="142" y="1211"/>
                    </a:cxn>
                    <a:cxn ang="0">
                      <a:pos x="130" y="1255"/>
                    </a:cxn>
                    <a:cxn ang="0">
                      <a:pos x="137" y="1302"/>
                    </a:cxn>
                    <a:cxn ang="0">
                      <a:pos x="135" y="1370"/>
                    </a:cxn>
                    <a:cxn ang="0">
                      <a:pos x="118" y="1438"/>
                    </a:cxn>
                    <a:cxn ang="0">
                      <a:pos x="80" y="1528"/>
                    </a:cxn>
                    <a:cxn ang="0">
                      <a:pos x="120" y="1603"/>
                    </a:cxn>
                    <a:cxn ang="0">
                      <a:pos x="252" y="1638"/>
                    </a:cxn>
                    <a:cxn ang="0">
                      <a:pos x="188" y="1657"/>
                    </a:cxn>
                    <a:cxn ang="0">
                      <a:pos x="141" y="1718"/>
                    </a:cxn>
                    <a:cxn ang="0">
                      <a:pos x="137" y="1692"/>
                    </a:cxn>
                    <a:cxn ang="0">
                      <a:pos x="128" y="1682"/>
                    </a:cxn>
                    <a:cxn ang="0">
                      <a:pos x="90" y="1688"/>
                    </a:cxn>
                    <a:cxn ang="0">
                      <a:pos x="113" y="1666"/>
                    </a:cxn>
                    <a:cxn ang="0">
                      <a:pos x="121" y="1650"/>
                    </a:cxn>
                    <a:cxn ang="0">
                      <a:pos x="95" y="1669"/>
                    </a:cxn>
                    <a:cxn ang="0">
                      <a:pos x="87" y="1664"/>
                    </a:cxn>
                    <a:cxn ang="0">
                      <a:pos x="74" y="1633"/>
                    </a:cxn>
                    <a:cxn ang="0">
                      <a:pos x="99" y="1622"/>
                    </a:cxn>
                    <a:cxn ang="0">
                      <a:pos x="87" y="1593"/>
                    </a:cxn>
                    <a:cxn ang="0">
                      <a:pos x="87" y="1628"/>
                    </a:cxn>
                    <a:cxn ang="0">
                      <a:pos x="64" y="1605"/>
                    </a:cxn>
                    <a:cxn ang="0">
                      <a:pos x="59" y="1581"/>
                    </a:cxn>
                    <a:cxn ang="0">
                      <a:pos x="71" y="1551"/>
                    </a:cxn>
                    <a:cxn ang="0">
                      <a:pos x="59" y="1542"/>
                    </a:cxn>
                    <a:cxn ang="0">
                      <a:pos x="59" y="1532"/>
                    </a:cxn>
                    <a:cxn ang="0">
                      <a:pos x="48" y="1500"/>
                    </a:cxn>
                    <a:cxn ang="0">
                      <a:pos x="52" y="1492"/>
                    </a:cxn>
                    <a:cxn ang="0">
                      <a:pos x="61" y="1443"/>
                    </a:cxn>
                    <a:cxn ang="0">
                      <a:pos x="55" y="1415"/>
                    </a:cxn>
                    <a:cxn ang="0">
                      <a:pos x="67" y="1405"/>
                    </a:cxn>
                    <a:cxn ang="0">
                      <a:pos x="48" y="1393"/>
                    </a:cxn>
                    <a:cxn ang="0">
                      <a:pos x="48" y="1354"/>
                    </a:cxn>
                    <a:cxn ang="0">
                      <a:pos x="7" y="1363"/>
                    </a:cxn>
                    <a:cxn ang="0">
                      <a:pos x="43" y="1311"/>
                    </a:cxn>
                    <a:cxn ang="0">
                      <a:pos x="66" y="1345"/>
                    </a:cxn>
                    <a:cxn ang="0">
                      <a:pos x="81" y="1271"/>
                    </a:cxn>
                    <a:cxn ang="0">
                      <a:pos x="88" y="1222"/>
                    </a:cxn>
                    <a:cxn ang="0">
                      <a:pos x="102" y="1131"/>
                    </a:cxn>
                    <a:cxn ang="0">
                      <a:pos x="109" y="1103"/>
                    </a:cxn>
                    <a:cxn ang="0">
                      <a:pos x="61" y="1081"/>
                    </a:cxn>
                    <a:cxn ang="0">
                      <a:pos x="85" y="978"/>
                    </a:cxn>
                    <a:cxn ang="0">
                      <a:pos x="87" y="888"/>
                    </a:cxn>
                    <a:cxn ang="0">
                      <a:pos x="120" y="795"/>
                    </a:cxn>
                    <a:cxn ang="0">
                      <a:pos x="153" y="670"/>
                    </a:cxn>
                    <a:cxn ang="0">
                      <a:pos x="148" y="517"/>
                    </a:cxn>
                    <a:cxn ang="0">
                      <a:pos x="175" y="405"/>
                    </a:cxn>
                    <a:cxn ang="0">
                      <a:pos x="182" y="264"/>
                    </a:cxn>
                    <a:cxn ang="0">
                      <a:pos x="193" y="142"/>
                    </a:cxn>
                    <a:cxn ang="0">
                      <a:pos x="207" y="19"/>
                    </a:cxn>
                  </a:cxnLst>
                  <a:rect l="0" t="0" r="r" b="b"/>
                  <a:pathLst>
                    <a:path w="303" h="1722">
                      <a:moveTo>
                        <a:pt x="217" y="0"/>
                      </a:moveTo>
                      <a:lnTo>
                        <a:pt x="217" y="0"/>
                      </a:lnTo>
                      <a:lnTo>
                        <a:pt x="219" y="8"/>
                      </a:lnTo>
                      <a:lnTo>
                        <a:pt x="222" y="15"/>
                      </a:lnTo>
                      <a:lnTo>
                        <a:pt x="228" y="22"/>
                      </a:lnTo>
                      <a:lnTo>
                        <a:pt x="231" y="26"/>
                      </a:lnTo>
                      <a:lnTo>
                        <a:pt x="231" y="27"/>
                      </a:lnTo>
                      <a:lnTo>
                        <a:pt x="231" y="31"/>
                      </a:lnTo>
                      <a:lnTo>
                        <a:pt x="231" y="31"/>
                      </a:lnTo>
                      <a:lnTo>
                        <a:pt x="231" y="34"/>
                      </a:lnTo>
                      <a:lnTo>
                        <a:pt x="231" y="40"/>
                      </a:lnTo>
                      <a:lnTo>
                        <a:pt x="235" y="54"/>
                      </a:lnTo>
                      <a:lnTo>
                        <a:pt x="240" y="66"/>
                      </a:lnTo>
                      <a:lnTo>
                        <a:pt x="243" y="75"/>
                      </a:lnTo>
                      <a:lnTo>
                        <a:pt x="243" y="75"/>
                      </a:lnTo>
                      <a:lnTo>
                        <a:pt x="250" y="80"/>
                      </a:lnTo>
                      <a:lnTo>
                        <a:pt x="254" y="83"/>
                      </a:lnTo>
                      <a:lnTo>
                        <a:pt x="252" y="87"/>
                      </a:lnTo>
                      <a:lnTo>
                        <a:pt x="250" y="92"/>
                      </a:lnTo>
                      <a:lnTo>
                        <a:pt x="250" y="92"/>
                      </a:lnTo>
                      <a:lnTo>
                        <a:pt x="247" y="95"/>
                      </a:lnTo>
                      <a:lnTo>
                        <a:pt x="247" y="99"/>
                      </a:lnTo>
                      <a:lnTo>
                        <a:pt x="247" y="101"/>
                      </a:lnTo>
                      <a:lnTo>
                        <a:pt x="249" y="102"/>
                      </a:lnTo>
                      <a:lnTo>
                        <a:pt x="252" y="108"/>
                      </a:lnTo>
                      <a:lnTo>
                        <a:pt x="252" y="109"/>
                      </a:lnTo>
                      <a:lnTo>
                        <a:pt x="250" y="113"/>
                      </a:lnTo>
                      <a:lnTo>
                        <a:pt x="250" y="113"/>
                      </a:lnTo>
                      <a:lnTo>
                        <a:pt x="245" y="120"/>
                      </a:lnTo>
                      <a:lnTo>
                        <a:pt x="243" y="127"/>
                      </a:lnTo>
                      <a:lnTo>
                        <a:pt x="245" y="132"/>
                      </a:lnTo>
                      <a:lnTo>
                        <a:pt x="250" y="135"/>
                      </a:lnTo>
                      <a:lnTo>
                        <a:pt x="250" y="135"/>
                      </a:lnTo>
                      <a:lnTo>
                        <a:pt x="252" y="137"/>
                      </a:lnTo>
                      <a:lnTo>
                        <a:pt x="252" y="139"/>
                      </a:lnTo>
                      <a:lnTo>
                        <a:pt x="252" y="144"/>
                      </a:lnTo>
                      <a:lnTo>
                        <a:pt x="250" y="148"/>
                      </a:lnTo>
                      <a:lnTo>
                        <a:pt x="252" y="151"/>
                      </a:lnTo>
                      <a:lnTo>
                        <a:pt x="256" y="151"/>
                      </a:lnTo>
                      <a:lnTo>
                        <a:pt x="256" y="151"/>
                      </a:lnTo>
                      <a:lnTo>
                        <a:pt x="259" y="155"/>
                      </a:lnTo>
                      <a:lnTo>
                        <a:pt x="261" y="160"/>
                      </a:lnTo>
                      <a:lnTo>
                        <a:pt x="266" y="177"/>
                      </a:lnTo>
                      <a:lnTo>
                        <a:pt x="275" y="222"/>
                      </a:lnTo>
                      <a:lnTo>
                        <a:pt x="275" y="222"/>
                      </a:lnTo>
                      <a:lnTo>
                        <a:pt x="276" y="233"/>
                      </a:lnTo>
                      <a:lnTo>
                        <a:pt x="278" y="236"/>
                      </a:lnTo>
                      <a:lnTo>
                        <a:pt x="282" y="238"/>
                      </a:lnTo>
                      <a:lnTo>
                        <a:pt x="289" y="238"/>
                      </a:lnTo>
                      <a:lnTo>
                        <a:pt x="297" y="235"/>
                      </a:lnTo>
                      <a:lnTo>
                        <a:pt x="297" y="235"/>
                      </a:lnTo>
                      <a:lnTo>
                        <a:pt x="303" y="240"/>
                      </a:lnTo>
                      <a:lnTo>
                        <a:pt x="303" y="245"/>
                      </a:lnTo>
                      <a:lnTo>
                        <a:pt x="301" y="256"/>
                      </a:lnTo>
                      <a:lnTo>
                        <a:pt x="301" y="256"/>
                      </a:lnTo>
                      <a:lnTo>
                        <a:pt x="301" y="266"/>
                      </a:lnTo>
                      <a:lnTo>
                        <a:pt x="297" y="276"/>
                      </a:lnTo>
                      <a:lnTo>
                        <a:pt x="294" y="287"/>
                      </a:lnTo>
                      <a:lnTo>
                        <a:pt x="290" y="290"/>
                      </a:lnTo>
                      <a:lnTo>
                        <a:pt x="287" y="292"/>
                      </a:lnTo>
                      <a:lnTo>
                        <a:pt x="287" y="292"/>
                      </a:lnTo>
                      <a:lnTo>
                        <a:pt x="276" y="297"/>
                      </a:lnTo>
                      <a:lnTo>
                        <a:pt x="264" y="304"/>
                      </a:lnTo>
                      <a:lnTo>
                        <a:pt x="259" y="310"/>
                      </a:lnTo>
                      <a:lnTo>
                        <a:pt x="256" y="315"/>
                      </a:lnTo>
                      <a:lnTo>
                        <a:pt x="254" y="322"/>
                      </a:lnTo>
                      <a:lnTo>
                        <a:pt x="254" y="329"/>
                      </a:lnTo>
                      <a:lnTo>
                        <a:pt x="254" y="329"/>
                      </a:lnTo>
                      <a:lnTo>
                        <a:pt x="256" y="334"/>
                      </a:lnTo>
                      <a:lnTo>
                        <a:pt x="254" y="343"/>
                      </a:lnTo>
                      <a:lnTo>
                        <a:pt x="252" y="365"/>
                      </a:lnTo>
                      <a:lnTo>
                        <a:pt x="252" y="390"/>
                      </a:lnTo>
                      <a:lnTo>
                        <a:pt x="254" y="400"/>
                      </a:lnTo>
                      <a:lnTo>
                        <a:pt x="256" y="409"/>
                      </a:lnTo>
                      <a:lnTo>
                        <a:pt x="256" y="409"/>
                      </a:lnTo>
                      <a:lnTo>
                        <a:pt x="261" y="417"/>
                      </a:lnTo>
                      <a:lnTo>
                        <a:pt x="261" y="423"/>
                      </a:lnTo>
                      <a:lnTo>
                        <a:pt x="259" y="424"/>
                      </a:lnTo>
                      <a:lnTo>
                        <a:pt x="256" y="424"/>
                      </a:lnTo>
                      <a:lnTo>
                        <a:pt x="250" y="426"/>
                      </a:lnTo>
                      <a:lnTo>
                        <a:pt x="245" y="428"/>
                      </a:lnTo>
                      <a:lnTo>
                        <a:pt x="240" y="433"/>
                      </a:lnTo>
                      <a:lnTo>
                        <a:pt x="235" y="444"/>
                      </a:lnTo>
                      <a:lnTo>
                        <a:pt x="235" y="444"/>
                      </a:lnTo>
                      <a:lnTo>
                        <a:pt x="226" y="470"/>
                      </a:lnTo>
                      <a:lnTo>
                        <a:pt x="224" y="471"/>
                      </a:lnTo>
                      <a:lnTo>
                        <a:pt x="219" y="473"/>
                      </a:lnTo>
                      <a:lnTo>
                        <a:pt x="219" y="473"/>
                      </a:lnTo>
                      <a:lnTo>
                        <a:pt x="217" y="477"/>
                      </a:lnTo>
                      <a:lnTo>
                        <a:pt x="214" y="482"/>
                      </a:lnTo>
                      <a:lnTo>
                        <a:pt x="210" y="496"/>
                      </a:lnTo>
                      <a:lnTo>
                        <a:pt x="209" y="510"/>
                      </a:lnTo>
                      <a:lnTo>
                        <a:pt x="205" y="515"/>
                      </a:lnTo>
                      <a:lnTo>
                        <a:pt x="203" y="518"/>
                      </a:lnTo>
                      <a:lnTo>
                        <a:pt x="203" y="518"/>
                      </a:lnTo>
                      <a:lnTo>
                        <a:pt x="200" y="524"/>
                      </a:lnTo>
                      <a:lnTo>
                        <a:pt x="200" y="529"/>
                      </a:lnTo>
                      <a:lnTo>
                        <a:pt x="202" y="543"/>
                      </a:lnTo>
                      <a:lnTo>
                        <a:pt x="205" y="557"/>
                      </a:lnTo>
                      <a:lnTo>
                        <a:pt x="205" y="564"/>
                      </a:lnTo>
                      <a:lnTo>
                        <a:pt x="203" y="569"/>
                      </a:lnTo>
                      <a:lnTo>
                        <a:pt x="203" y="569"/>
                      </a:lnTo>
                      <a:lnTo>
                        <a:pt x="202" y="572"/>
                      </a:lnTo>
                      <a:lnTo>
                        <a:pt x="198" y="572"/>
                      </a:lnTo>
                      <a:lnTo>
                        <a:pt x="195" y="576"/>
                      </a:lnTo>
                      <a:lnTo>
                        <a:pt x="191" y="585"/>
                      </a:lnTo>
                      <a:lnTo>
                        <a:pt x="191" y="585"/>
                      </a:lnTo>
                      <a:lnTo>
                        <a:pt x="182" y="612"/>
                      </a:lnTo>
                      <a:lnTo>
                        <a:pt x="181" y="623"/>
                      </a:lnTo>
                      <a:lnTo>
                        <a:pt x="181" y="626"/>
                      </a:lnTo>
                      <a:lnTo>
                        <a:pt x="181" y="630"/>
                      </a:lnTo>
                      <a:lnTo>
                        <a:pt x="181" y="630"/>
                      </a:lnTo>
                      <a:lnTo>
                        <a:pt x="186" y="640"/>
                      </a:lnTo>
                      <a:lnTo>
                        <a:pt x="189" y="653"/>
                      </a:lnTo>
                      <a:lnTo>
                        <a:pt x="198" y="679"/>
                      </a:lnTo>
                      <a:lnTo>
                        <a:pt x="198" y="679"/>
                      </a:lnTo>
                      <a:lnTo>
                        <a:pt x="198" y="684"/>
                      </a:lnTo>
                      <a:lnTo>
                        <a:pt x="198" y="689"/>
                      </a:lnTo>
                      <a:lnTo>
                        <a:pt x="196" y="698"/>
                      </a:lnTo>
                      <a:lnTo>
                        <a:pt x="196" y="701"/>
                      </a:lnTo>
                      <a:lnTo>
                        <a:pt x="196" y="703"/>
                      </a:lnTo>
                      <a:lnTo>
                        <a:pt x="198" y="705"/>
                      </a:lnTo>
                      <a:lnTo>
                        <a:pt x="203" y="705"/>
                      </a:lnTo>
                      <a:lnTo>
                        <a:pt x="203" y="705"/>
                      </a:lnTo>
                      <a:lnTo>
                        <a:pt x="207" y="705"/>
                      </a:lnTo>
                      <a:lnTo>
                        <a:pt x="209" y="707"/>
                      </a:lnTo>
                      <a:lnTo>
                        <a:pt x="209" y="708"/>
                      </a:lnTo>
                      <a:lnTo>
                        <a:pt x="207" y="712"/>
                      </a:lnTo>
                      <a:lnTo>
                        <a:pt x="205" y="722"/>
                      </a:lnTo>
                      <a:lnTo>
                        <a:pt x="205" y="729"/>
                      </a:lnTo>
                      <a:lnTo>
                        <a:pt x="205" y="736"/>
                      </a:lnTo>
                      <a:lnTo>
                        <a:pt x="205" y="736"/>
                      </a:lnTo>
                      <a:lnTo>
                        <a:pt x="207" y="743"/>
                      </a:lnTo>
                      <a:lnTo>
                        <a:pt x="205" y="747"/>
                      </a:lnTo>
                      <a:lnTo>
                        <a:pt x="202" y="754"/>
                      </a:lnTo>
                      <a:lnTo>
                        <a:pt x="198" y="757"/>
                      </a:lnTo>
                      <a:lnTo>
                        <a:pt x="195" y="762"/>
                      </a:lnTo>
                      <a:lnTo>
                        <a:pt x="191" y="771"/>
                      </a:lnTo>
                      <a:lnTo>
                        <a:pt x="189" y="781"/>
                      </a:lnTo>
                      <a:lnTo>
                        <a:pt x="189" y="781"/>
                      </a:lnTo>
                      <a:lnTo>
                        <a:pt x="188" y="804"/>
                      </a:lnTo>
                      <a:lnTo>
                        <a:pt x="188" y="818"/>
                      </a:lnTo>
                      <a:lnTo>
                        <a:pt x="189" y="828"/>
                      </a:lnTo>
                      <a:lnTo>
                        <a:pt x="188" y="834"/>
                      </a:lnTo>
                      <a:lnTo>
                        <a:pt x="184" y="839"/>
                      </a:lnTo>
                      <a:lnTo>
                        <a:pt x="184" y="839"/>
                      </a:lnTo>
                      <a:lnTo>
                        <a:pt x="179" y="844"/>
                      </a:lnTo>
                      <a:lnTo>
                        <a:pt x="175" y="849"/>
                      </a:lnTo>
                      <a:lnTo>
                        <a:pt x="168" y="853"/>
                      </a:lnTo>
                      <a:lnTo>
                        <a:pt x="165" y="855"/>
                      </a:lnTo>
                      <a:lnTo>
                        <a:pt x="162" y="860"/>
                      </a:lnTo>
                      <a:lnTo>
                        <a:pt x="162" y="860"/>
                      </a:lnTo>
                      <a:lnTo>
                        <a:pt x="162" y="870"/>
                      </a:lnTo>
                      <a:lnTo>
                        <a:pt x="162" y="884"/>
                      </a:lnTo>
                      <a:lnTo>
                        <a:pt x="162" y="896"/>
                      </a:lnTo>
                      <a:lnTo>
                        <a:pt x="160" y="908"/>
                      </a:lnTo>
                      <a:lnTo>
                        <a:pt x="160" y="908"/>
                      </a:lnTo>
                      <a:lnTo>
                        <a:pt x="160" y="915"/>
                      </a:lnTo>
                      <a:lnTo>
                        <a:pt x="162" y="922"/>
                      </a:lnTo>
                      <a:lnTo>
                        <a:pt x="167" y="936"/>
                      </a:lnTo>
                      <a:lnTo>
                        <a:pt x="168" y="943"/>
                      </a:lnTo>
                      <a:lnTo>
                        <a:pt x="168" y="950"/>
                      </a:lnTo>
                      <a:lnTo>
                        <a:pt x="168" y="957"/>
                      </a:lnTo>
                      <a:lnTo>
                        <a:pt x="163" y="961"/>
                      </a:lnTo>
                      <a:lnTo>
                        <a:pt x="163" y="961"/>
                      </a:lnTo>
                      <a:lnTo>
                        <a:pt x="156" y="968"/>
                      </a:lnTo>
                      <a:lnTo>
                        <a:pt x="153" y="975"/>
                      </a:lnTo>
                      <a:lnTo>
                        <a:pt x="151" y="980"/>
                      </a:lnTo>
                      <a:lnTo>
                        <a:pt x="151" y="985"/>
                      </a:lnTo>
                      <a:lnTo>
                        <a:pt x="151" y="996"/>
                      </a:lnTo>
                      <a:lnTo>
                        <a:pt x="149" y="999"/>
                      </a:lnTo>
                      <a:lnTo>
                        <a:pt x="146" y="1003"/>
                      </a:lnTo>
                      <a:lnTo>
                        <a:pt x="146" y="1003"/>
                      </a:lnTo>
                      <a:lnTo>
                        <a:pt x="142" y="1008"/>
                      </a:lnTo>
                      <a:lnTo>
                        <a:pt x="141" y="1013"/>
                      </a:lnTo>
                      <a:lnTo>
                        <a:pt x="142" y="1023"/>
                      </a:lnTo>
                      <a:lnTo>
                        <a:pt x="142" y="1030"/>
                      </a:lnTo>
                      <a:lnTo>
                        <a:pt x="142" y="1037"/>
                      </a:lnTo>
                      <a:lnTo>
                        <a:pt x="141" y="1043"/>
                      </a:lnTo>
                      <a:lnTo>
                        <a:pt x="137" y="1048"/>
                      </a:lnTo>
                      <a:lnTo>
                        <a:pt x="137" y="1048"/>
                      </a:lnTo>
                      <a:lnTo>
                        <a:pt x="130" y="1055"/>
                      </a:lnTo>
                      <a:lnTo>
                        <a:pt x="130" y="1056"/>
                      </a:lnTo>
                      <a:lnTo>
                        <a:pt x="132" y="1058"/>
                      </a:lnTo>
                      <a:lnTo>
                        <a:pt x="134" y="1065"/>
                      </a:lnTo>
                      <a:lnTo>
                        <a:pt x="135" y="1070"/>
                      </a:lnTo>
                      <a:lnTo>
                        <a:pt x="135" y="1081"/>
                      </a:lnTo>
                      <a:lnTo>
                        <a:pt x="135" y="1081"/>
                      </a:lnTo>
                      <a:lnTo>
                        <a:pt x="135" y="1098"/>
                      </a:lnTo>
                      <a:lnTo>
                        <a:pt x="137" y="1110"/>
                      </a:lnTo>
                      <a:lnTo>
                        <a:pt x="139" y="1119"/>
                      </a:lnTo>
                      <a:lnTo>
                        <a:pt x="139" y="1123"/>
                      </a:lnTo>
                      <a:lnTo>
                        <a:pt x="139" y="1126"/>
                      </a:lnTo>
                      <a:lnTo>
                        <a:pt x="139" y="1126"/>
                      </a:lnTo>
                      <a:lnTo>
                        <a:pt x="137" y="1128"/>
                      </a:lnTo>
                      <a:lnTo>
                        <a:pt x="135" y="1128"/>
                      </a:lnTo>
                      <a:lnTo>
                        <a:pt x="132" y="1126"/>
                      </a:lnTo>
                      <a:lnTo>
                        <a:pt x="130" y="1126"/>
                      </a:lnTo>
                      <a:lnTo>
                        <a:pt x="128" y="1128"/>
                      </a:lnTo>
                      <a:lnTo>
                        <a:pt x="125" y="1142"/>
                      </a:lnTo>
                      <a:lnTo>
                        <a:pt x="125" y="1142"/>
                      </a:lnTo>
                      <a:lnTo>
                        <a:pt x="125" y="1152"/>
                      </a:lnTo>
                      <a:lnTo>
                        <a:pt x="125" y="1159"/>
                      </a:lnTo>
                      <a:lnTo>
                        <a:pt x="127" y="1164"/>
                      </a:lnTo>
                      <a:lnTo>
                        <a:pt x="128" y="1166"/>
                      </a:lnTo>
                      <a:lnTo>
                        <a:pt x="134" y="1170"/>
                      </a:lnTo>
                      <a:lnTo>
                        <a:pt x="139" y="1173"/>
                      </a:lnTo>
                      <a:lnTo>
                        <a:pt x="139" y="1173"/>
                      </a:lnTo>
                      <a:lnTo>
                        <a:pt x="141" y="1177"/>
                      </a:lnTo>
                      <a:lnTo>
                        <a:pt x="141" y="1182"/>
                      </a:lnTo>
                      <a:lnTo>
                        <a:pt x="137" y="1192"/>
                      </a:lnTo>
                      <a:lnTo>
                        <a:pt x="137" y="1203"/>
                      </a:lnTo>
                      <a:lnTo>
                        <a:pt x="137" y="1206"/>
                      </a:lnTo>
                      <a:lnTo>
                        <a:pt x="141" y="1210"/>
                      </a:lnTo>
                      <a:lnTo>
                        <a:pt x="141" y="1210"/>
                      </a:lnTo>
                      <a:lnTo>
                        <a:pt x="142" y="1211"/>
                      </a:lnTo>
                      <a:lnTo>
                        <a:pt x="142" y="1217"/>
                      </a:lnTo>
                      <a:lnTo>
                        <a:pt x="137" y="1227"/>
                      </a:lnTo>
                      <a:lnTo>
                        <a:pt x="135" y="1232"/>
                      </a:lnTo>
                      <a:lnTo>
                        <a:pt x="135" y="1236"/>
                      </a:lnTo>
                      <a:lnTo>
                        <a:pt x="139" y="1238"/>
                      </a:lnTo>
                      <a:lnTo>
                        <a:pt x="144" y="1238"/>
                      </a:lnTo>
                      <a:lnTo>
                        <a:pt x="144" y="1238"/>
                      </a:lnTo>
                      <a:lnTo>
                        <a:pt x="153" y="1236"/>
                      </a:lnTo>
                      <a:lnTo>
                        <a:pt x="158" y="1238"/>
                      </a:lnTo>
                      <a:lnTo>
                        <a:pt x="162" y="1241"/>
                      </a:lnTo>
                      <a:lnTo>
                        <a:pt x="162" y="1245"/>
                      </a:lnTo>
                      <a:lnTo>
                        <a:pt x="160" y="1250"/>
                      </a:lnTo>
                      <a:lnTo>
                        <a:pt x="156" y="1253"/>
                      </a:lnTo>
                      <a:lnTo>
                        <a:pt x="151" y="1255"/>
                      </a:lnTo>
                      <a:lnTo>
                        <a:pt x="144" y="1255"/>
                      </a:lnTo>
                      <a:lnTo>
                        <a:pt x="144" y="1255"/>
                      </a:lnTo>
                      <a:lnTo>
                        <a:pt x="134" y="1253"/>
                      </a:lnTo>
                      <a:lnTo>
                        <a:pt x="130" y="1255"/>
                      </a:lnTo>
                      <a:lnTo>
                        <a:pt x="128" y="1257"/>
                      </a:lnTo>
                      <a:lnTo>
                        <a:pt x="128" y="1258"/>
                      </a:lnTo>
                      <a:lnTo>
                        <a:pt x="130" y="1260"/>
                      </a:lnTo>
                      <a:lnTo>
                        <a:pt x="134" y="1262"/>
                      </a:lnTo>
                      <a:lnTo>
                        <a:pt x="139" y="1264"/>
                      </a:lnTo>
                      <a:lnTo>
                        <a:pt x="139" y="1264"/>
                      </a:lnTo>
                      <a:lnTo>
                        <a:pt x="144" y="1265"/>
                      </a:lnTo>
                      <a:lnTo>
                        <a:pt x="148" y="1267"/>
                      </a:lnTo>
                      <a:lnTo>
                        <a:pt x="151" y="1271"/>
                      </a:lnTo>
                      <a:lnTo>
                        <a:pt x="153" y="1276"/>
                      </a:lnTo>
                      <a:lnTo>
                        <a:pt x="153" y="1279"/>
                      </a:lnTo>
                      <a:lnTo>
                        <a:pt x="151" y="1285"/>
                      </a:lnTo>
                      <a:lnTo>
                        <a:pt x="148" y="1288"/>
                      </a:lnTo>
                      <a:lnTo>
                        <a:pt x="142" y="1292"/>
                      </a:lnTo>
                      <a:lnTo>
                        <a:pt x="142" y="1292"/>
                      </a:lnTo>
                      <a:lnTo>
                        <a:pt x="139" y="1295"/>
                      </a:lnTo>
                      <a:lnTo>
                        <a:pt x="137" y="1298"/>
                      </a:lnTo>
                      <a:lnTo>
                        <a:pt x="137" y="1302"/>
                      </a:lnTo>
                      <a:lnTo>
                        <a:pt x="139" y="1305"/>
                      </a:lnTo>
                      <a:lnTo>
                        <a:pt x="142" y="1312"/>
                      </a:lnTo>
                      <a:lnTo>
                        <a:pt x="142" y="1316"/>
                      </a:lnTo>
                      <a:lnTo>
                        <a:pt x="139" y="1319"/>
                      </a:lnTo>
                      <a:lnTo>
                        <a:pt x="139" y="1319"/>
                      </a:lnTo>
                      <a:lnTo>
                        <a:pt x="137" y="1323"/>
                      </a:lnTo>
                      <a:lnTo>
                        <a:pt x="137" y="1326"/>
                      </a:lnTo>
                      <a:lnTo>
                        <a:pt x="141" y="1335"/>
                      </a:lnTo>
                      <a:lnTo>
                        <a:pt x="142" y="1339"/>
                      </a:lnTo>
                      <a:lnTo>
                        <a:pt x="142" y="1344"/>
                      </a:lnTo>
                      <a:lnTo>
                        <a:pt x="142" y="1349"/>
                      </a:lnTo>
                      <a:lnTo>
                        <a:pt x="139" y="1352"/>
                      </a:lnTo>
                      <a:lnTo>
                        <a:pt x="139" y="1352"/>
                      </a:lnTo>
                      <a:lnTo>
                        <a:pt x="134" y="1358"/>
                      </a:lnTo>
                      <a:lnTo>
                        <a:pt x="132" y="1361"/>
                      </a:lnTo>
                      <a:lnTo>
                        <a:pt x="132" y="1365"/>
                      </a:lnTo>
                      <a:lnTo>
                        <a:pt x="134" y="1366"/>
                      </a:lnTo>
                      <a:lnTo>
                        <a:pt x="135" y="1370"/>
                      </a:lnTo>
                      <a:lnTo>
                        <a:pt x="135" y="1372"/>
                      </a:lnTo>
                      <a:lnTo>
                        <a:pt x="134" y="1375"/>
                      </a:lnTo>
                      <a:lnTo>
                        <a:pt x="128" y="1380"/>
                      </a:lnTo>
                      <a:lnTo>
                        <a:pt x="128" y="1380"/>
                      </a:lnTo>
                      <a:lnTo>
                        <a:pt x="120" y="1389"/>
                      </a:lnTo>
                      <a:lnTo>
                        <a:pt x="116" y="1396"/>
                      </a:lnTo>
                      <a:lnTo>
                        <a:pt x="116" y="1401"/>
                      </a:lnTo>
                      <a:lnTo>
                        <a:pt x="116" y="1403"/>
                      </a:lnTo>
                      <a:lnTo>
                        <a:pt x="113" y="1406"/>
                      </a:lnTo>
                      <a:lnTo>
                        <a:pt x="113" y="1406"/>
                      </a:lnTo>
                      <a:lnTo>
                        <a:pt x="111" y="1410"/>
                      </a:lnTo>
                      <a:lnTo>
                        <a:pt x="113" y="1413"/>
                      </a:lnTo>
                      <a:lnTo>
                        <a:pt x="118" y="1422"/>
                      </a:lnTo>
                      <a:lnTo>
                        <a:pt x="120" y="1426"/>
                      </a:lnTo>
                      <a:lnTo>
                        <a:pt x="121" y="1429"/>
                      </a:lnTo>
                      <a:lnTo>
                        <a:pt x="120" y="1433"/>
                      </a:lnTo>
                      <a:lnTo>
                        <a:pt x="118" y="1438"/>
                      </a:lnTo>
                      <a:lnTo>
                        <a:pt x="118" y="1438"/>
                      </a:lnTo>
                      <a:lnTo>
                        <a:pt x="113" y="1441"/>
                      </a:lnTo>
                      <a:lnTo>
                        <a:pt x="108" y="1448"/>
                      </a:lnTo>
                      <a:lnTo>
                        <a:pt x="101" y="1466"/>
                      </a:lnTo>
                      <a:lnTo>
                        <a:pt x="94" y="1480"/>
                      </a:lnTo>
                      <a:lnTo>
                        <a:pt x="90" y="1483"/>
                      </a:lnTo>
                      <a:lnTo>
                        <a:pt x="87" y="1483"/>
                      </a:lnTo>
                      <a:lnTo>
                        <a:pt x="87" y="1483"/>
                      </a:lnTo>
                      <a:lnTo>
                        <a:pt x="80" y="1483"/>
                      </a:lnTo>
                      <a:lnTo>
                        <a:pt x="78" y="1485"/>
                      </a:lnTo>
                      <a:lnTo>
                        <a:pt x="76" y="1487"/>
                      </a:lnTo>
                      <a:lnTo>
                        <a:pt x="76" y="1492"/>
                      </a:lnTo>
                      <a:lnTo>
                        <a:pt x="78" y="1502"/>
                      </a:lnTo>
                      <a:lnTo>
                        <a:pt x="78" y="1507"/>
                      </a:lnTo>
                      <a:lnTo>
                        <a:pt x="78" y="1511"/>
                      </a:lnTo>
                      <a:lnTo>
                        <a:pt x="78" y="1511"/>
                      </a:lnTo>
                      <a:lnTo>
                        <a:pt x="76" y="1523"/>
                      </a:lnTo>
                      <a:lnTo>
                        <a:pt x="78" y="1527"/>
                      </a:lnTo>
                      <a:lnTo>
                        <a:pt x="80" y="1528"/>
                      </a:lnTo>
                      <a:lnTo>
                        <a:pt x="83" y="1534"/>
                      </a:lnTo>
                      <a:lnTo>
                        <a:pt x="85" y="1539"/>
                      </a:lnTo>
                      <a:lnTo>
                        <a:pt x="87" y="1546"/>
                      </a:lnTo>
                      <a:lnTo>
                        <a:pt x="87" y="1546"/>
                      </a:lnTo>
                      <a:lnTo>
                        <a:pt x="88" y="1553"/>
                      </a:lnTo>
                      <a:lnTo>
                        <a:pt x="90" y="1556"/>
                      </a:lnTo>
                      <a:lnTo>
                        <a:pt x="92" y="1558"/>
                      </a:lnTo>
                      <a:lnTo>
                        <a:pt x="95" y="1556"/>
                      </a:lnTo>
                      <a:lnTo>
                        <a:pt x="102" y="1551"/>
                      </a:lnTo>
                      <a:lnTo>
                        <a:pt x="108" y="1549"/>
                      </a:lnTo>
                      <a:lnTo>
                        <a:pt x="113" y="1549"/>
                      </a:lnTo>
                      <a:lnTo>
                        <a:pt x="113" y="1549"/>
                      </a:lnTo>
                      <a:lnTo>
                        <a:pt x="114" y="1549"/>
                      </a:lnTo>
                      <a:lnTo>
                        <a:pt x="116" y="1551"/>
                      </a:lnTo>
                      <a:lnTo>
                        <a:pt x="118" y="1558"/>
                      </a:lnTo>
                      <a:lnTo>
                        <a:pt x="118" y="1575"/>
                      </a:lnTo>
                      <a:lnTo>
                        <a:pt x="118" y="1596"/>
                      </a:lnTo>
                      <a:lnTo>
                        <a:pt x="120" y="1603"/>
                      </a:lnTo>
                      <a:lnTo>
                        <a:pt x="121" y="1607"/>
                      </a:lnTo>
                      <a:lnTo>
                        <a:pt x="123" y="1607"/>
                      </a:lnTo>
                      <a:lnTo>
                        <a:pt x="123" y="1607"/>
                      </a:lnTo>
                      <a:lnTo>
                        <a:pt x="127" y="1610"/>
                      </a:lnTo>
                      <a:lnTo>
                        <a:pt x="128" y="1612"/>
                      </a:lnTo>
                      <a:lnTo>
                        <a:pt x="130" y="1617"/>
                      </a:lnTo>
                      <a:lnTo>
                        <a:pt x="132" y="1621"/>
                      </a:lnTo>
                      <a:lnTo>
                        <a:pt x="132" y="1622"/>
                      </a:lnTo>
                      <a:lnTo>
                        <a:pt x="135" y="1622"/>
                      </a:lnTo>
                      <a:lnTo>
                        <a:pt x="141" y="1624"/>
                      </a:lnTo>
                      <a:lnTo>
                        <a:pt x="141" y="1624"/>
                      </a:lnTo>
                      <a:lnTo>
                        <a:pt x="200" y="1624"/>
                      </a:lnTo>
                      <a:lnTo>
                        <a:pt x="200" y="1624"/>
                      </a:lnTo>
                      <a:lnTo>
                        <a:pt x="207" y="1626"/>
                      </a:lnTo>
                      <a:lnTo>
                        <a:pt x="215" y="1628"/>
                      </a:lnTo>
                      <a:lnTo>
                        <a:pt x="233" y="1631"/>
                      </a:lnTo>
                      <a:lnTo>
                        <a:pt x="247" y="1635"/>
                      </a:lnTo>
                      <a:lnTo>
                        <a:pt x="252" y="1638"/>
                      </a:lnTo>
                      <a:lnTo>
                        <a:pt x="256" y="1643"/>
                      </a:lnTo>
                      <a:lnTo>
                        <a:pt x="256" y="1643"/>
                      </a:lnTo>
                      <a:lnTo>
                        <a:pt x="249" y="1640"/>
                      </a:lnTo>
                      <a:lnTo>
                        <a:pt x="236" y="1636"/>
                      </a:lnTo>
                      <a:lnTo>
                        <a:pt x="236" y="1636"/>
                      </a:lnTo>
                      <a:lnTo>
                        <a:pt x="228" y="1636"/>
                      </a:lnTo>
                      <a:lnTo>
                        <a:pt x="224" y="1636"/>
                      </a:lnTo>
                      <a:lnTo>
                        <a:pt x="219" y="1638"/>
                      </a:lnTo>
                      <a:lnTo>
                        <a:pt x="215" y="1645"/>
                      </a:lnTo>
                      <a:lnTo>
                        <a:pt x="215" y="1645"/>
                      </a:lnTo>
                      <a:lnTo>
                        <a:pt x="210" y="1648"/>
                      </a:lnTo>
                      <a:lnTo>
                        <a:pt x="207" y="1648"/>
                      </a:lnTo>
                      <a:lnTo>
                        <a:pt x="203" y="1648"/>
                      </a:lnTo>
                      <a:lnTo>
                        <a:pt x="200" y="1648"/>
                      </a:lnTo>
                      <a:lnTo>
                        <a:pt x="196" y="1652"/>
                      </a:lnTo>
                      <a:lnTo>
                        <a:pt x="196" y="1652"/>
                      </a:lnTo>
                      <a:lnTo>
                        <a:pt x="193" y="1655"/>
                      </a:lnTo>
                      <a:lnTo>
                        <a:pt x="188" y="1657"/>
                      </a:lnTo>
                      <a:lnTo>
                        <a:pt x="181" y="1657"/>
                      </a:lnTo>
                      <a:lnTo>
                        <a:pt x="177" y="1659"/>
                      </a:lnTo>
                      <a:lnTo>
                        <a:pt x="175" y="1661"/>
                      </a:lnTo>
                      <a:lnTo>
                        <a:pt x="174" y="1664"/>
                      </a:lnTo>
                      <a:lnTo>
                        <a:pt x="174" y="1669"/>
                      </a:lnTo>
                      <a:lnTo>
                        <a:pt x="174" y="1669"/>
                      </a:lnTo>
                      <a:lnTo>
                        <a:pt x="172" y="1678"/>
                      </a:lnTo>
                      <a:lnTo>
                        <a:pt x="170" y="1682"/>
                      </a:lnTo>
                      <a:lnTo>
                        <a:pt x="168" y="1688"/>
                      </a:lnTo>
                      <a:lnTo>
                        <a:pt x="167" y="1699"/>
                      </a:lnTo>
                      <a:lnTo>
                        <a:pt x="167" y="1699"/>
                      </a:lnTo>
                      <a:lnTo>
                        <a:pt x="167" y="1711"/>
                      </a:lnTo>
                      <a:lnTo>
                        <a:pt x="165" y="1718"/>
                      </a:lnTo>
                      <a:lnTo>
                        <a:pt x="162" y="1720"/>
                      </a:lnTo>
                      <a:lnTo>
                        <a:pt x="155" y="1722"/>
                      </a:lnTo>
                      <a:lnTo>
                        <a:pt x="155" y="1722"/>
                      </a:lnTo>
                      <a:lnTo>
                        <a:pt x="146" y="1722"/>
                      </a:lnTo>
                      <a:lnTo>
                        <a:pt x="141" y="1718"/>
                      </a:lnTo>
                      <a:lnTo>
                        <a:pt x="137" y="1715"/>
                      </a:lnTo>
                      <a:lnTo>
                        <a:pt x="134" y="1715"/>
                      </a:lnTo>
                      <a:lnTo>
                        <a:pt x="134" y="1715"/>
                      </a:lnTo>
                      <a:lnTo>
                        <a:pt x="128" y="1711"/>
                      </a:lnTo>
                      <a:lnTo>
                        <a:pt x="123" y="1706"/>
                      </a:lnTo>
                      <a:lnTo>
                        <a:pt x="118" y="1699"/>
                      </a:lnTo>
                      <a:lnTo>
                        <a:pt x="116" y="1695"/>
                      </a:lnTo>
                      <a:lnTo>
                        <a:pt x="116" y="1695"/>
                      </a:lnTo>
                      <a:lnTo>
                        <a:pt x="116" y="1692"/>
                      </a:lnTo>
                      <a:lnTo>
                        <a:pt x="121" y="1690"/>
                      </a:lnTo>
                      <a:lnTo>
                        <a:pt x="127" y="1690"/>
                      </a:lnTo>
                      <a:lnTo>
                        <a:pt x="127" y="1690"/>
                      </a:lnTo>
                      <a:lnTo>
                        <a:pt x="130" y="1692"/>
                      </a:lnTo>
                      <a:lnTo>
                        <a:pt x="132" y="1690"/>
                      </a:lnTo>
                      <a:lnTo>
                        <a:pt x="132" y="1688"/>
                      </a:lnTo>
                      <a:lnTo>
                        <a:pt x="135" y="1690"/>
                      </a:lnTo>
                      <a:lnTo>
                        <a:pt x="135" y="1690"/>
                      </a:lnTo>
                      <a:lnTo>
                        <a:pt x="137" y="1692"/>
                      </a:lnTo>
                      <a:lnTo>
                        <a:pt x="139" y="1690"/>
                      </a:lnTo>
                      <a:lnTo>
                        <a:pt x="141" y="1687"/>
                      </a:lnTo>
                      <a:lnTo>
                        <a:pt x="144" y="1685"/>
                      </a:lnTo>
                      <a:lnTo>
                        <a:pt x="144" y="1685"/>
                      </a:lnTo>
                      <a:lnTo>
                        <a:pt x="153" y="1680"/>
                      </a:lnTo>
                      <a:lnTo>
                        <a:pt x="158" y="1675"/>
                      </a:lnTo>
                      <a:lnTo>
                        <a:pt x="160" y="1669"/>
                      </a:lnTo>
                      <a:lnTo>
                        <a:pt x="160" y="1666"/>
                      </a:lnTo>
                      <a:lnTo>
                        <a:pt x="158" y="1664"/>
                      </a:lnTo>
                      <a:lnTo>
                        <a:pt x="158" y="1664"/>
                      </a:lnTo>
                      <a:lnTo>
                        <a:pt x="155" y="1664"/>
                      </a:lnTo>
                      <a:lnTo>
                        <a:pt x="151" y="1666"/>
                      </a:lnTo>
                      <a:lnTo>
                        <a:pt x="146" y="1669"/>
                      </a:lnTo>
                      <a:lnTo>
                        <a:pt x="139" y="1673"/>
                      </a:lnTo>
                      <a:lnTo>
                        <a:pt x="139" y="1673"/>
                      </a:lnTo>
                      <a:lnTo>
                        <a:pt x="134" y="1676"/>
                      </a:lnTo>
                      <a:lnTo>
                        <a:pt x="132" y="1680"/>
                      </a:lnTo>
                      <a:lnTo>
                        <a:pt x="128" y="1682"/>
                      </a:lnTo>
                      <a:lnTo>
                        <a:pt x="120" y="1678"/>
                      </a:lnTo>
                      <a:lnTo>
                        <a:pt x="120" y="1678"/>
                      </a:lnTo>
                      <a:lnTo>
                        <a:pt x="114" y="1678"/>
                      </a:lnTo>
                      <a:lnTo>
                        <a:pt x="118" y="1680"/>
                      </a:lnTo>
                      <a:lnTo>
                        <a:pt x="121" y="1683"/>
                      </a:lnTo>
                      <a:lnTo>
                        <a:pt x="121" y="1685"/>
                      </a:lnTo>
                      <a:lnTo>
                        <a:pt x="121" y="1685"/>
                      </a:lnTo>
                      <a:lnTo>
                        <a:pt x="121" y="1685"/>
                      </a:lnTo>
                      <a:lnTo>
                        <a:pt x="116" y="1687"/>
                      </a:lnTo>
                      <a:lnTo>
                        <a:pt x="113" y="1690"/>
                      </a:lnTo>
                      <a:lnTo>
                        <a:pt x="111" y="1694"/>
                      </a:lnTo>
                      <a:lnTo>
                        <a:pt x="113" y="1699"/>
                      </a:lnTo>
                      <a:lnTo>
                        <a:pt x="113" y="1699"/>
                      </a:lnTo>
                      <a:lnTo>
                        <a:pt x="114" y="1702"/>
                      </a:lnTo>
                      <a:lnTo>
                        <a:pt x="113" y="1704"/>
                      </a:lnTo>
                      <a:lnTo>
                        <a:pt x="102" y="1697"/>
                      </a:lnTo>
                      <a:lnTo>
                        <a:pt x="102" y="1697"/>
                      </a:lnTo>
                      <a:lnTo>
                        <a:pt x="90" y="1688"/>
                      </a:lnTo>
                      <a:lnTo>
                        <a:pt x="87" y="1685"/>
                      </a:lnTo>
                      <a:lnTo>
                        <a:pt x="87" y="1685"/>
                      </a:lnTo>
                      <a:lnTo>
                        <a:pt x="90" y="1685"/>
                      </a:lnTo>
                      <a:lnTo>
                        <a:pt x="90" y="1685"/>
                      </a:lnTo>
                      <a:lnTo>
                        <a:pt x="95" y="1685"/>
                      </a:lnTo>
                      <a:lnTo>
                        <a:pt x="101" y="1687"/>
                      </a:lnTo>
                      <a:lnTo>
                        <a:pt x="102" y="1687"/>
                      </a:lnTo>
                      <a:lnTo>
                        <a:pt x="101" y="1683"/>
                      </a:lnTo>
                      <a:lnTo>
                        <a:pt x="101" y="1683"/>
                      </a:lnTo>
                      <a:lnTo>
                        <a:pt x="99" y="1682"/>
                      </a:lnTo>
                      <a:lnTo>
                        <a:pt x="99" y="1680"/>
                      </a:lnTo>
                      <a:lnTo>
                        <a:pt x="101" y="1678"/>
                      </a:lnTo>
                      <a:lnTo>
                        <a:pt x="99" y="1675"/>
                      </a:lnTo>
                      <a:lnTo>
                        <a:pt x="99" y="1675"/>
                      </a:lnTo>
                      <a:lnTo>
                        <a:pt x="99" y="1669"/>
                      </a:lnTo>
                      <a:lnTo>
                        <a:pt x="102" y="1666"/>
                      </a:lnTo>
                      <a:lnTo>
                        <a:pt x="108" y="1664"/>
                      </a:lnTo>
                      <a:lnTo>
                        <a:pt x="113" y="1666"/>
                      </a:lnTo>
                      <a:lnTo>
                        <a:pt x="113" y="1666"/>
                      </a:lnTo>
                      <a:lnTo>
                        <a:pt x="114" y="1668"/>
                      </a:lnTo>
                      <a:lnTo>
                        <a:pt x="116" y="1668"/>
                      </a:lnTo>
                      <a:lnTo>
                        <a:pt x="120" y="1662"/>
                      </a:lnTo>
                      <a:lnTo>
                        <a:pt x="123" y="1657"/>
                      </a:lnTo>
                      <a:lnTo>
                        <a:pt x="125" y="1657"/>
                      </a:lnTo>
                      <a:lnTo>
                        <a:pt x="128" y="1657"/>
                      </a:lnTo>
                      <a:lnTo>
                        <a:pt x="128" y="1657"/>
                      </a:lnTo>
                      <a:lnTo>
                        <a:pt x="135" y="1659"/>
                      </a:lnTo>
                      <a:lnTo>
                        <a:pt x="142" y="1659"/>
                      </a:lnTo>
                      <a:lnTo>
                        <a:pt x="146" y="1659"/>
                      </a:lnTo>
                      <a:lnTo>
                        <a:pt x="149" y="1655"/>
                      </a:lnTo>
                      <a:lnTo>
                        <a:pt x="149" y="1655"/>
                      </a:lnTo>
                      <a:lnTo>
                        <a:pt x="149" y="1654"/>
                      </a:lnTo>
                      <a:lnTo>
                        <a:pt x="146" y="1652"/>
                      </a:lnTo>
                      <a:lnTo>
                        <a:pt x="137" y="1650"/>
                      </a:lnTo>
                      <a:lnTo>
                        <a:pt x="125" y="1650"/>
                      </a:lnTo>
                      <a:lnTo>
                        <a:pt x="121" y="1650"/>
                      </a:lnTo>
                      <a:lnTo>
                        <a:pt x="118" y="1654"/>
                      </a:lnTo>
                      <a:lnTo>
                        <a:pt x="118" y="1654"/>
                      </a:lnTo>
                      <a:lnTo>
                        <a:pt x="114" y="1655"/>
                      </a:lnTo>
                      <a:lnTo>
                        <a:pt x="113" y="1654"/>
                      </a:lnTo>
                      <a:lnTo>
                        <a:pt x="111" y="1652"/>
                      </a:lnTo>
                      <a:lnTo>
                        <a:pt x="104" y="1650"/>
                      </a:lnTo>
                      <a:lnTo>
                        <a:pt x="104" y="1650"/>
                      </a:lnTo>
                      <a:lnTo>
                        <a:pt x="101" y="1652"/>
                      </a:lnTo>
                      <a:lnTo>
                        <a:pt x="101" y="1652"/>
                      </a:lnTo>
                      <a:lnTo>
                        <a:pt x="104" y="1654"/>
                      </a:lnTo>
                      <a:lnTo>
                        <a:pt x="106" y="1657"/>
                      </a:lnTo>
                      <a:lnTo>
                        <a:pt x="106" y="1657"/>
                      </a:lnTo>
                      <a:lnTo>
                        <a:pt x="106" y="1659"/>
                      </a:lnTo>
                      <a:lnTo>
                        <a:pt x="104" y="1661"/>
                      </a:lnTo>
                      <a:lnTo>
                        <a:pt x="101" y="1662"/>
                      </a:lnTo>
                      <a:lnTo>
                        <a:pt x="97" y="1664"/>
                      </a:lnTo>
                      <a:lnTo>
                        <a:pt x="95" y="1668"/>
                      </a:lnTo>
                      <a:lnTo>
                        <a:pt x="95" y="1669"/>
                      </a:lnTo>
                      <a:lnTo>
                        <a:pt x="95" y="1669"/>
                      </a:lnTo>
                      <a:lnTo>
                        <a:pt x="95" y="1675"/>
                      </a:lnTo>
                      <a:lnTo>
                        <a:pt x="94" y="1678"/>
                      </a:lnTo>
                      <a:lnTo>
                        <a:pt x="90" y="1680"/>
                      </a:lnTo>
                      <a:lnTo>
                        <a:pt x="83" y="1678"/>
                      </a:lnTo>
                      <a:lnTo>
                        <a:pt x="83" y="1678"/>
                      </a:lnTo>
                      <a:lnTo>
                        <a:pt x="80" y="1676"/>
                      </a:lnTo>
                      <a:lnTo>
                        <a:pt x="81" y="1675"/>
                      </a:lnTo>
                      <a:lnTo>
                        <a:pt x="85" y="1673"/>
                      </a:lnTo>
                      <a:lnTo>
                        <a:pt x="85" y="1671"/>
                      </a:lnTo>
                      <a:lnTo>
                        <a:pt x="85" y="1669"/>
                      </a:lnTo>
                      <a:lnTo>
                        <a:pt x="85" y="1669"/>
                      </a:lnTo>
                      <a:lnTo>
                        <a:pt x="80" y="1666"/>
                      </a:lnTo>
                      <a:lnTo>
                        <a:pt x="80" y="1664"/>
                      </a:lnTo>
                      <a:lnTo>
                        <a:pt x="83" y="1664"/>
                      </a:lnTo>
                      <a:lnTo>
                        <a:pt x="83" y="1664"/>
                      </a:lnTo>
                      <a:lnTo>
                        <a:pt x="85" y="1664"/>
                      </a:lnTo>
                      <a:lnTo>
                        <a:pt x="87" y="1664"/>
                      </a:lnTo>
                      <a:lnTo>
                        <a:pt x="87" y="1659"/>
                      </a:lnTo>
                      <a:lnTo>
                        <a:pt x="83" y="1655"/>
                      </a:lnTo>
                      <a:lnTo>
                        <a:pt x="80" y="1655"/>
                      </a:lnTo>
                      <a:lnTo>
                        <a:pt x="78" y="1657"/>
                      </a:lnTo>
                      <a:lnTo>
                        <a:pt x="78" y="1657"/>
                      </a:lnTo>
                      <a:lnTo>
                        <a:pt x="73" y="1661"/>
                      </a:lnTo>
                      <a:lnTo>
                        <a:pt x="73" y="1661"/>
                      </a:lnTo>
                      <a:lnTo>
                        <a:pt x="71" y="1661"/>
                      </a:lnTo>
                      <a:lnTo>
                        <a:pt x="71" y="1657"/>
                      </a:lnTo>
                      <a:lnTo>
                        <a:pt x="74" y="1650"/>
                      </a:lnTo>
                      <a:lnTo>
                        <a:pt x="74" y="1650"/>
                      </a:lnTo>
                      <a:lnTo>
                        <a:pt x="76" y="1647"/>
                      </a:lnTo>
                      <a:lnTo>
                        <a:pt x="74" y="1645"/>
                      </a:lnTo>
                      <a:lnTo>
                        <a:pt x="71" y="1643"/>
                      </a:lnTo>
                      <a:lnTo>
                        <a:pt x="74" y="1638"/>
                      </a:lnTo>
                      <a:lnTo>
                        <a:pt x="74" y="1638"/>
                      </a:lnTo>
                      <a:lnTo>
                        <a:pt x="74" y="1636"/>
                      </a:lnTo>
                      <a:lnTo>
                        <a:pt x="74" y="1633"/>
                      </a:lnTo>
                      <a:lnTo>
                        <a:pt x="71" y="1628"/>
                      </a:lnTo>
                      <a:lnTo>
                        <a:pt x="69" y="1626"/>
                      </a:lnTo>
                      <a:lnTo>
                        <a:pt x="69" y="1624"/>
                      </a:lnTo>
                      <a:lnTo>
                        <a:pt x="71" y="1624"/>
                      </a:lnTo>
                      <a:lnTo>
                        <a:pt x="71" y="1624"/>
                      </a:lnTo>
                      <a:lnTo>
                        <a:pt x="76" y="1628"/>
                      </a:lnTo>
                      <a:lnTo>
                        <a:pt x="80" y="1633"/>
                      </a:lnTo>
                      <a:lnTo>
                        <a:pt x="83" y="1635"/>
                      </a:lnTo>
                      <a:lnTo>
                        <a:pt x="85" y="1636"/>
                      </a:lnTo>
                      <a:lnTo>
                        <a:pt x="87" y="1635"/>
                      </a:lnTo>
                      <a:lnTo>
                        <a:pt x="87" y="1635"/>
                      </a:lnTo>
                      <a:lnTo>
                        <a:pt x="92" y="1628"/>
                      </a:lnTo>
                      <a:lnTo>
                        <a:pt x="94" y="1628"/>
                      </a:lnTo>
                      <a:lnTo>
                        <a:pt x="95" y="1631"/>
                      </a:lnTo>
                      <a:lnTo>
                        <a:pt x="95" y="1631"/>
                      </a:lnTo>
                      <a:lnTo>
                        <a:pt x="95" y="1633"/>
                      </a:lnTo>
                      <a:lnTo>
                        <a:pt x="97" y="1633"/>
                      </a:lnTo>
                      <a:lnTo>
                        <a:pt x="99" y="1622"/>
                      </a:lnTo>
                      <a:lnTo>
                        <a:pt x="99" y="1622"/>
                      </a:lnTo>
                      <a:lnTo>
                        <a:pt x="101" y="1621"/>
                      </a:lnTo>
                      <a:lnTo>
                        <a:pt x="102" y="1621"/>
                      </a:lnTo>
                      <a:lnTo>
                        <a:pt x="108" y="1626"/>
                      </a:lnTo>
                      <a:lnTo>
                        <a:pt x="111" y="1629"/>
                      </a:lnTo>
                      <a:lnTo>
                        <a:pt x="109" y="1628"/>
                      </a:lnTo>
                      <a:lnTo>
                        <a:pt x="109" y="1628"/>
                      </a:lnTo>
                      <a:lnTo>
                        <a:pt x="108" y="1622"/>
                      </a:lnTo>
                      <a:lnTo>
                        <a:pt x="109" y="1621"/>
                      </a:lnTo>
                      <a:lnTo>
                        <a:pt x="113" y="1619"/>
                      </a:lnTo>
                      <a:lnTo>
                        <a:pt x="114" y="1614"/>
                      </a:lnTo>
                      <a:lnTo>
                        <a:pt x="114" y="1614"/>
                      </a:lnTo>
                      <a:lnTo>
                        <a:pt x="113" y="1607"/>
                      </a:lnTo>
                      <a:lnTo>
                        <a:pt x="109" y="1603"/>
                      </a:lnTo>
                      <a:lnTo>
                        <a:pt x="97" y="1596"/>
                      </a:lnTo>
                      <a:lnTo>
                        <a:pt x="97" y="1596"/>
                      </a:lnTo>
                      <a:lnTo>
                        <a:pt x="90" y="1593"/>
                      </a:lnTo>
                      <a:lnTo>
                        <a:pt x="87" y="1593"/>
                      </a:lnTo>
                      <a:lnTo>
                        <a:pt x="88" y="1596"/>
                      </a:lnTo>
                      <a:lnTo>
                        <a:pt x="97" y="1600"/>
                      </a:lnTo>
                      <a:lnTo>
                        <a:pt x="97" y="1600"/>
                      </a:lnTo>
                      <a:lnTo>
                        <a:pt x="104" y="1605"/>
                      </a:lnTo>
                      <a:lnTo>
                        <a:pt x="109" y="1608"/>
                      </a:lnTo>
                      <a:lnTo>
                        <a:pt x="109" y="1610"/>
                      </a:lnTo>
                      <a:lnTo>
                        <a:pt x="109" y="1612"/>
                      </a:lnTo>
                      <a:lnTo>
                        <a:pt x="102" y="1612"/>
                      </a:lnTo>
                      <a:lnTo>
                        <a:pt x="102" y="1612"/>
                      </a:lnTo>
                      <a:lnTo>
                        <a:pt x="97" y="1610"/>
                      </a:lnTo>
                      <a:lnTo>
                        <a:pt x="95" y="1612"/>
                      </a:lnTo>
                      <a:lnTo>
                        <a:pt x="95" y="1614"/>
                      </a:lnTo>
                      <a:lnTo>
                        <a:pt x="94" y="1615"/>
                      </a:lnTo>
                      <a:lnTo>
                        <a:pt x="94" y="1615"/>
                      </a:lnTo>
                      <a:lnTo>
                        <a:pt x="92" y="1617"/>
                      </a:lnTo>
                      <a:lnTo>
                        <a:pt x="90" y="1621"/>
                      </a:lnTo>
                      <a:lnTo>
                        <a:pt x="87" y="1628"/>
                      </a:lnTo>
                      <a:lnTo>
                        <a:pt x="87" y="1628"/>
                      </a:lnTo>
                      <a:lnTo>
                        <a:pt x="85" y="1629"/>
                      </a:lnTo>
                      <a:lnTo>
                        <a:pt x="83" y="1628"/>
                      </a:lnTo>
                      <a:lnTo>
                        <a:pt x="78" y="1624"/>
                      </a:lnTo>
                      <a:lnTo>
                        <a:pt x="74" y="1617"/>
                      </a:lnTo>
                      <a:lnTo>
                        <a:pt x="73" y="1615"/>
                      </a:lnTo>
                      <a:lnTo>
                        <a:pt x="74" y="1615"/>
                      </a:lnTo>
                      <a:lnTo>
                        <a:pt x="74" y="1615"/>
                      </a:lnTo>
                      <a:lnTo>
                        <a:pt x="78" y="1615"/>
                      </a:lnTo>
                      <a:lnTo>
                        <a:pt x="76" y="1610"/>
                      </a:lnTo>
                      <a:lnTo>
                        <a:pt x="76" y="1610"/>
                      </a:lnTo>
                      <a:lnTo>
                        <a:pt x="74" y="1607"/>
                      </a:lnTo>
                      <a:lnTo>
                        <a:pt x="74" y="1607"/>
                      </a:lnTo>
                      <a:lnTo>
                        <a:pt x="71" y="1608"/>
                      </a:lnTo>
                      <a:lnTo>
                        <a:pt x="69" y="1610"/>
                      </a:lnTo>
                      <a:lnTo>
                        <a:pt x="67" y="1610"/>
                      </a:lnTo>
                      <a:lnTo>
                        <a:pt x="66" y="1608"/>
                      </a:lnTo>
                      <a:lnTo>
                        <a:pt x="66" y="1608"/>
                      </a:lnTo>
                      <a:lnTo>
                        <a:pt x="64" y="1605"/>
                      </a:lnTo>
                      <a:lnTo>
                        <a:pt x="64" y="1601"/>
                      </a:lnTo>
                      <a:lnTo>
                        <a:pt x="64" y="1600"/>
                      </a:lnTo>
                      <a:lnTo>
                        <a:pt x="64" y="1596"/>
                      </a:lnTo>
                      <a:lnTo>
                        <a:pt x="64" y="1596"/>
                      </a:lnTo>
                      <a:lnTo>
                        <a:pt x="62" y="1593"/>
                      </a:lnTo>
                      <a:lnTo>
                        <a:pt x="62" y="1591"/>
                      </a:lnTo>
                      <a:lnTo>
                        <a:pt x="66" y="1591"/>
                      </a:lnTo>
                      <a:lnTo>
                        <a:pt x="67" y="1594"/>
                      </a:lnTo>
                      <a:lnTo>
                        <a:pt x="67" y="1594"/>
                      </a:lnTo>
                      <a:lnTo>
                        <a:pt x="71" y="1598"/>
                      </a:lnTo>
                      <a:lnTo>
                        <a:pt x="73" y="1598"/>
                      </a:lnTo>
                      <a:lnTo>
                        <a:pt x="73" y="1594"/>
                      </a:lnTo>
                      <a:lnTo>
                        <a:pt x="71" y="1589"/>
                      </a:lnTo>
                      <a:lnTo>
                        <a:pt x="71" y="1589"/>
                      </a:lnTo>
                      <a:lnTo>
                        <a:pt x="67" y="1582"/>
                      </a:lnTo>
                      <a:lnTo>
                        <a:pt x="62" y="1581"/>
                      </a:lnTo>
                      <a:lnTo>
                        <a:pt x="62" y="1581"/>
                      </a:lnTo>
                      <a:lnTo>
                        <a:pt x="59" y="1581"/>
                      </a:lnTo>
                      <a:lnTo>
                        <a:pt x="57" y="1581"/>
                      </a:lnTo>
                      <a:lnTo>
                        <a:pt x="55" y="1581"/>
                      </a:lnTo>
                      <a:lnTo>
                        <a:pt x="55" y="1575"/>
                      </a:lnTo>
                      <a:lnTo>
                        <a:pt x="55" y="1575"/>
                      </a:lnTo>
                      <a:lnTo>
                        <a:pt x="55" y="1572"/>
                      </a:lnTo>
                      <a:lnTo>
                        <a:pt x="54" y="1572"/>
                      </a:lnTo>
                      <a:lnTo>
                        <a:pt x="54" y="1572"/>
                      </a:lnTo>
                      <a:lnTo>
                        <a:pt x="54" y="1570"/>
                      </a:lnTo>
                      <a:lnTo>
                        <a:pt x="54" y="1570"/>
                      </a:lnTo>
                      <a:lnTo>
                        <a:pt x="54" y="1567"/>
                      </a:lnTo>
                      <a:lnTo>
                        <a:pt x="54" y="1565"/>
                      </a:lnTo>
                      <a:lnTo>
                        <a:pt x="55" y="1563"/>
                      </a:lnTo>
                      <a:lnTo>
                        <a:pt x="59" y="1565"/>
                      </a:lnTo>
                      <a:lnTo>
                        <a:pt x="59" y="1565"/>
                      </a:lnTo>
                      <a:lnTo>
                        <a:pt x="64" y="1565"/>
                      </a:lnTo>
                      <a:lnTo>
                        <a:pt x="66" y="1561"/>
                      </a:lnTo>
                      <a:lnTo>
                        <a:pt x="71" y="1551"/>
                      </a:lnTo>
                      <a:lnTo>
                        <a:pt x="71" y="1551"/>
                      </a:lnTo>
                      <a:lnTo>
                        <a:pt x="73" y="1544"/>
                      </a:lnTo>
                      <a:lnTo>
                        <a:pt x="73" y="1540"/>
                      </a:lnTo>
                      <a:lnTo>
                        <a:pt x="71" y="1542"/>
                      </a:lnTo>
                      <a:lnTo>
                        <a:pt x="67" y="1549"/>
                      </a:lnTo>
                      <a:lnTo>
                        <a:pt x="67" y="1549"/>
                      </a:lnTo>
                      <a:lnTo>
                        <a:pt x="64" y="1556"/>
                      </a:lnTo>
                      <a:lnTo>
                        <a:pt x="61" y="1560"/>
                      </a:lnTo>
                      <a:lnTo>
                        <a:pt x="59" y="1560"/>
                      </a:lnTo>
                      <a:lnTo>
                        <a:pt x="55" y="1554"/>
                      </a:lnTo>
                      <a:lnTo>
                        <a:pt x="55" y="1554"/>
                      </a:lnTo>
                      <a:lnTo>
                        <a:pt x="52" y="1546"/>
                      </a:lnTo>
                      <a:lnTo>
                        <a:pt x="52" y="1546"/>
                      </a:lnTo>
                      <a:lnTo>
                        <a:pt x="55" y="1546"/>
                      </a:lnTo>
                      <a:lnTo>
                        <a:pt x="55" y="1546"/>
                      </a:lnTo>
                      <a:lnTo>
                        <a:pt x="62" y="1547"/>
                      </a:lnTo>
                      <a:lnTo>
                        <a:pt x="62" y="1546"/>
                      </a:lnTo>
                      <a:lnTo>
                        <a:pt x="59" y="1542"/>
                      </a:lnTo>
                      <a:lnTo>
                        <a:pt x="59" y="1542"/>
                      </a:lnTo>
                      <a:lnTo>
                        <a:pt x="55" y="1540"/>
                      </a:lnTo>
                      <a:lnTo>
                        <a:pt x="54" y="1539"/>
                      </a:lnTo>
                      <a:lnTo>
                        <a:pt x="50" y="1540"/>
                      </a:lnTo>
                      <a:lnTo>
                        <a:pt x="47" y="1539"/>
                      </a:lnTo>
                      <a:lnTo>
                        <a:pt x="47" y="1539"/>
                      </a:lnTo>
                      <a:lnTo>
                        <a:pt x="45" y="1537"/>
                      </a:lnTo>
                      <a:lnTo>
                        <a:pt x="43" y="1534"/>
                      </a:lnTo>
                      <a:lnTo>
                        <a:pt x="41" y="1532"/>
                      </a:lnTo>
                      <a:lnTo>
                        <a:pt x="38" y="1530"/>
                      </a:lnTo>
                      <a:lnTo>
                        <a:pt x="38" y="1530"/>
                      </a:lnTo>
                      <a:lnTo>
                        <a:pt x="36" y="1528"/>
                      </a:lnTo>
                      <a:lnTo>
                        <a:pt x="34" y="1527"/>
                      </a:lnTo>
                      <a:lnTo>
                        <a:pt x="38" y="1525"/>
                      </a:lnTo>
                      <a:lnTo>
                        <a:pt x="43" y="1525"/>
                      </a:lnTo>
                      <a:lnTo>
                        <a:pt x="48" y="1527"/>
                      </a:lnTo>
                      <a:lnTo>
                        <a:pt x="48" y="1527"/>
                      </a:lnTo>
                      <a:lnTo>
                        <a:pt x="57" y="1532"/>
                      </a:lnTo>
                      <a:lnTo>
                        <a:pt x="59" y="1532"/>
                      </a:lnTo>
                      <a:lnTo>
                        <a:pt x="55" y="1528"/>
                      </a:lnTo>
                      <a:lnTo>
                        <a:pt x="55" y="1528"/>
                      </a:lnTo>
                      <a:lnTo>
                        <a:pt x="48" y="1520"/>
                      </a:lnTo>
                      <a:lnTo>
                        <a:pt x="48" y="1518"/>
                      </a:lnTo>
                      <a:lnTo>
                        <a:pt x="48" y="1518"/>
                      </a:lnTo>
                      <a:lnTo>
                        <a:pt x="55" y="1518"/>
                      </a:lnTo>
                      <a:lnTo>
                        <a:pt x="55" y="1518"/>
                      </a:lnTo>
                      <a:lnTo>
                        <a:pt x="61" y="1520"/>
                      </a:lnTo>
                      <a:lnTo>
                        <a:pt x="62" y="1520"/>
                      </a:lnTo>
                      <a:lnTo>
                        <a:pt x="62" y="1520"/>
                      </a:lnTo>
                      <a:lnTo>
                        <a:pt x="52" y="1513"/>
                      </a:lnTo>
                      <a:lnTo>
                        <a:pt x="52" y="1513"/>
                      </a:lnTo>
                      <a:lnTo>
                        <a:pt x="48" y="1509"/>
                      </a:lnTo>
                      <a:lnTo>
                        <a:pt x="50" y="1507"/>
                      </a:lnTo>
                      <a:lnTo>
                        <a:pt x="52" y="1506"/>
                      </a:lnTo>
                      <a:lnTo>
                        <a:pt x="50" y="1502"/>
                      </a:lnTo>
                      <a:lnTo>
                        <a:pt x="50" y="1502"/>
                      </a:lnTo>
                      <a:lnTo>
                        <a:pt x="48" y="1500"/>
                      </a:lnTo>
                      <a:lnTo>
                        <a:pt x="48" y="1500"/>
                      </a:lnTo>
                      <a:lnTo>
                        <a:pt x="52" y="1497"/>
                      </a:lnTo>
                      <a:lnTo>
                        <a:pt x="57" y="1497"/>
                      </a:lnTo>
                      <a:lnTo>
                        <a:pt x="62" y="1499"/>
                      </a:lnTo>
                      <a:lnTo>
                        <a:pt x="62" y="1499"/>
                      </a:lnTo>
                      <a:lnTo>
                        <a:pt x="66" y="1500"/>
                      </a:lnTo>
                      <a:lnTo>
                        <a:pt x="64" y="1499"/>
                      </a:lnTo>
                      <a:lnTo>
                        <a:pt x="61" y="1493"/>
                      </a:lnTo>
                      <a:lnTo>
                        <a:pt x="59" y="1488"/>
                      </a:lnTo>
                      <a:lnTo>
                        <a:pt x="59" y="1488"/>
                      </a:lnTo>
                      <a:lnTo>
                        <a:pt x="59" y="1481"/>
                      </a:lnTo>
                      <a:lnTo>
                        <a:pt x="59" y="1478"/>
                      </a:lnTo>
                      <a:lnTo>
                        <a:pt x="59" y="1474"/>
                      </a:lnTo>
                      <a:lnTo>
                        <a:pt x="57" y="1474"/>
                      </a:lnTo>
                      <a:lnTo>
                        <a:pt x="57" y="1474"/>
                      </a:lnTo>
                      <a:lnTo>
                        <a:pt x="55" y="1480"/>
                      </a:lnTo>
                      <a:lnTo>
                        <a:pt x="54" y="1487"/>
                      </a:lnTo>
                      <a:lnTo>
                        <a:pt x="52" y="1492"/>
                      </a:lnTo>
                      <a:lnTo>
                        <a:pt x="52" y="1493"/>
                      </a:lnTo>
                      <a:lnTo>
                        <a:pt x="50" y="1493"/>
                      </a:lnTo>
                      <a:lnTo>
                        <a:pt x="50" y="1493"/>
                      </a:lnTo>
                      <a:lnTo>
                        <a:pt x="48" y="1492"/>
                      </a:lnTo>
                      <a:lnTo>
                        <a:pt x="47" y="1485"/>
                      </a:lnTo>
                      <a:lnTo>
                        <a:pt x="45" y="1467"/>
                      </a:lnTo>
                      <a:lnTo>
                        <a:pt x="45" y="1467"/>
                      </a:lnTo>
                      <a:lnTo>
                        <a:pt x="45" y="1460"/>
                      </a:lnTo>
                      <a:lnTo>
                        <a:pt x="45" y="1455"/>
                      </a:lnTo>
                      <a:lnTo>
                        <a:pt x="48" y="1445"/>
                      </a:lnTo>
                      <a:lnTo>
                        <a:pt x="48" y="1445"/>
                      </a:lnTo>
                      <a:lnTo>
                        <a:pt x="50" y="1441"/>
                      </a:lnTo>
                      <a:lnTo>
                        <a:pt x="52" y="1441"/>
                      </a:lnTo>
                      <a:lnTo>
                        <a:pt x="55" y="1441"/>
                      </a:lnTo>
                      <a:lnTo>
                        <a:pt x="59" y="1445"/>
                      </a:lnTo>
                      <a:lnTo>
                        <a:pt x="61" y="1445"/>
                      </a:lnTo>
                      <a:lnTo>
                        <a:pt x="61" y="1443"/>
                      </a:lnTo>
                      <a:lnTo>
                        <a:pt x="61" y="1443"/>
                      </a:lnTo>
                      <a:lnTo>
                        <a:pt x="61" y="1441"/>
                      </a:lnTo>
                      <a:lnTo>
                        <a:pt x="61" y="1440"/>
                      </a:lnTo>
                      <a:lnTo>
                        <a:pt x="62" y="1438"/>
                      </a:lnTo>
                      <a:lnTo>
                        <a:pt x="59" y="1436"/>
                      </a:lnTo>
                      <a:lnTo>
                        <a:pt x="59" y="1436"/>
                      </a:lnTo>
                      <a:lnTo>
                        <a:pt x="50" y="1431"/>
                      </a:lnTo>
                      <a:lnTo>
                        <a:pt x="47" y="1427"/>
                      </a:lnTo>
                      <a:lnTo>
                        <a:pt x="45" y="1424"/>
                      </a:lnTo>
                      <a:lnTo>
                        <a:pt x="45" y="1424"/>
                      </a:lnTo>
                      <a:lnTo>
                        <a:pt x="43" y="1420"/>
                      </a:lnTo>
                      <a:lnTo>
                        <a:pt x="41" y="1420"/>
                      </a:lnTo>
                      <a:lnTo>
                        <a:pt x="40" y="1420"/>
                      </a:lnTo>
                      <a:lnTo>
                        <a:pt x="38" y="1419"/>
                      </a:lnTo>
                      <a:lnTo>
                        <a:pt x="38" y="1419"/>
                      </a:lnTo>
                      <a:lnTo>
                        <a:pt x="36" y="1417"/>
                      </a:lnTo>
                      <a:lnTo>
                        <a:pt x="38" y="1417"/>
                      </a:lnTo>
                      <a:lnTo>
                        <a:pt x="41" y="1415"/>
                      </a:lnTo>
                      <a:lnTo>
                        <a:pt x="55" y="1415"/>
                      </a:lnTo>
                      <a:lnTo>
                        <a:pt x="55" y="1415"/>
                      </a:lnTo>
                      <a:lnTo>
                        <a:pt x="61" y="1417"/>
                      </a:lnTo>
                      <a:lnTo>
                        <a:pt x="66" y="1419"/>
                      </a:lnTo>
                      <a:lnTo>
                        <a:pt x="78" y="1427"/>
                      </a:lnTo>
                      <a:lnTo>
                        <a:pt x="78" y="1427"/>
                      </a:lnTo>
                      <a:lnTo>
                        <a:pt x="81" y="1429"/>
                      </a:lnTo>
                      <a:lnTo>
                        <a:pt x="81" y="1427"/>
                      </a:lnTo>
                      <a:lnTo>
                        <a:pt x="78" y="1422"/>
                      </a:lnTo>
                      <a:lnTo>
                        <a:pt x="74" y="1417"/>
                      </a:lnTo>
                      <a:lnTo>
                        <a:pt x="74" y="1413"/>
                      </a:lnTo>
                      <a:lnTo>
                        <a:pt x="74" y="1412"/>
                      </a:lnTo>
                      <a:lnTo>
                        <a:pt x="74" y="1412"/>
                      </a:lnTo>
                      <a:lnTo>
                        <a:pt x="76" y="1412"/>
                      </a:lnTo>
                      <a:lnTo>
                        <a:pt x="76" y="1410"/>
                      </a:lnTo>
                      <a:lnTo>
                        <a:pt x="74" y="1406"/>
                      </a:lnTo>
                      <a:lnTo>
                        <a:pt x="71" y="1403"/>
                      </a:lnTo>
                      <a:lnTo>
                        <a:pt x="69" y="1403"/>
                      </a:lnTo>
                      <a:lnTo>
                        <a:pt x="67" y="1405"/>
                      </a:lnTo>
                      <a:lnTo>
                        <a:pt x="67" y="1405"/>
                      </a:lnTo>
                      <a:lnTo>
                        <a:pt x="67" y="1406"/>
                      </a:lnTo>
                      <a:lnTo>
                        <a:pt x="66" y="1408"/>
                      </a:lnTo>
                      <a:lnTo>
                        <a:pt x="64" y="1406"/>
                      </a:lnTo>
                      <a:lnTo>
                        <a:pt x="57" y="1405"/>
                      </a:lnTo>
                      <a:lnTo>
                        <a:pt x="50" y="1405"/>
                      </a:lnTo>
                      <a:lnTo>
                        <a:pt x="50" y="1405"/>
                      </a:lnTo>
                      <a:lnTo>
                        <a:pt x="43" y="1405"/>
                      </a:lnTo>
                      <a:lnTo>
                        <a:pt x="38" y="1405"/>
                      </a:lnTo>
                      <a:lnTo>
                        <a:pt x="36" y="1401"/>
                      </a:lnTo>
                      <a:lnTo>
                        <a:pt x="38" y="1398"/>
                      </a:lnTo>
                      <a:lnTo>
                        <a:pt x="38" y="1398"/>
                      </a:lnTo>
                      <a:lnTo>
                        <a:pt x="40" y="1394"/>
                      </a:lnTo>
                      <a:lnTo>
                        <a:pt x="43" y="1394"/>
                      </a:lnTo>
                      <a:lnTo>
                        <a:pt x="50" y="1394"/>
                      </a:lnTo>
                      <a:lnTo>
                        <a:pt x="50" y="1394"/>
                      </a:lnTo>
                      <a:lnTo>
                        <a:pt x="52" y="1394"/>
                      </a:lnTo>
                      <a:lnTo>
                        <a:pt x="48" y="1393"/>
                      </a:lnTo>
                      <a:lnTo>
                        <a:pt x="45" y="1389"/>
                      </a:lnTo>
                      <a:lnTo>
                        <a:pt x="43" y="1386"/>
                      </a:lnTo>
                      <a:lnTo>
                        <a:pt x="45" y="1382"/>
                      </a:lnTo>
                      <a:lnTo>
                        <a:pt x="45" y="1382"/>
                      </a:lnTo>
                      <a:lnTo>
                        <a:pt x="47" y="1379"/>
                      </a:lnTo>
                      <a:lnTo>
                        <a:pt x="50" y="1377"/>
                      </a:lnTo>
                      <a:lnTo>
                        <a:pt x="55" y="1377"/>
                      </a:lnTo>
                      <a:lnTo>
                        <a:pt x="59" y="1375"/>
                      </a:lnTo>
                      <a:lnTo>
                        <a:pt x="61" y="1373"/>
                      </a:lnTo>
                      <a:lnTo>
                        <a:pt x="62" y="1372"/>
                      </a:lnTo>
                      <a:lnTo>
                        <a:pt x="62" y="1372"/>
                      </a:lnTo>
                      <a:lnTo>
                        <a:pt x="62" y="1366"/>
                      </a:lnTo>
                      <a:lnTo>
                        <a:pt x="61" y="1365"/>
                      </a:lnTo>
                      <a:lnTo>
                        <a:pt x="57" y="1363"/>
                      </a:lnTo>
                      <a:lnTo>
                        <a:pt x="54" y="1359"/>
                      </a:lnTo>
                      <a:lnTo>
                        <a:pt x="54" y="1359"/>
                      </a:lnTo>
                      <a:lnTo>
                        <a:pt x="50" y="1356"/>
                      </a:lnTo>
                      <a:lnTo>
                        <a:pt x="48" y="1354"/>
                      </a:lnTo>
                      <a:lnTo>
                        <a:pt x="45" y="1354"/>
                      </a:lnTo>
                      <a:lnTo>
                        <a:pt x="43" y="1358"/>
                      </a:lnTo>
                      <a:lnTo>
                        <a:pt x="43" y="1358"/>
                      </a:lnTo>
                      <a:lnTo>
                        <a:pt x="43" y="1359"/>
                      </a:lnTo>
                      <a:lnTo>
                        <a:pt x="41" y="1361"/>
                      </a:lnTo>
                      <a:lnTo>
                        <a:pt x="34" y="1359"/>
                      </a:lnTo>
                      <a:lnTo>
                        <a:pt x="27" y="1356"/>
                      </a:lnTo>
                      <a:lnTo>
                        <a:pt x="24" y="1351"/>
                      </a:lnTo>
                      <a:lnTo>
                        <a:pt x="24" y="1351"/>
                      </a:lnTo>
                      <a:lnTo>
                        <a:pt x="20" y="1345"/>
                      </a:lnTo>
                      <a:lnTo>
                        <a:pt x="19" y="1344"/>
                      </a:lnTo>
                      <a:lnTo>
                        <a:pt x="15" y="1345"/>
                      </a:lnTo>
                      <a:lnTo>
                        <a:pt x="14" y="1349"/>
                      </a:lnTo>
                      <a:lnTo>
                        <a:pt x="12" y="1354"/>
                      </a:lnTo>
                      <a:lnTo>
                        <a:pt x="12" y="1354"/>
                      </a:lnTo>
                      <a:lnTo>
                        <a:pt x="12" y="1359"/>
                      </a:lnTo>
                      <a:lnTo>
                        <a:pt x="10" y="1363"/>
                      </a:lnTo>
                      <a:lnTo>
                        <a:pt x="7" y="1363"/>
                      </a:lnTo>
                      <a:lnTo>
                        <a:pt x="1" y="1356"/>
                      </a:lnTo>
                      <a:lnTo>
                        <a:pt x="1" y="1356"/>
                      </a:lnTo>
                      <a:lnTo>
                        <a:pt x="0" y="1352"/>
                      </a:lnTo>
                      <a:lnTo>
                        <a:pt x="0" y="1349"/>
                      </a:lnTo>
                      <a:lnTo>
                        <a:pt x="1" y="1345"/>
                      </a:lnTo>
                      <a:lnTo>
                        <a:pt x="3" y="1342"/>
                      </a:lnTo>
                      <a:lnTo>
                        <a:pt x="14" y="1335"/>
                      </a:lnTo>
                      <a:lnTo>
                        <a:pt x="26" y="1328"/>
                      </a:lnTo>
                      <a:lnTo>
                        <a:pt x="26" y="1328"/>
                      </a:lnTo>
                      <a:lnTo>
                        <a:pt x="31" y="1323"/>
                      </a:lnTo>
                      <a:lnTo>
                        <a:pt x="34" y="1319"/>
                      </a:lnTo>
                      <a:lnTo>
                        <a:pt x="36" y="1316"/>
                      </a:lnTo>
                      <a:lnTo>
                        <a:pt x="36" y="1312"/>
                      </a:lnTo>
                      <a:lnTo>
                        <a:pt x="36" y="1309"/>
                      </a:lnTo>
                      <a:lnTo>
                        <a:pt x="38" y="1307"/>
                      </a:lnTo>
                      <a:lnTo>
                        <a:pt x="40" y="1309"/>
                      </a:lnTo>
                      <a:lnTo>
                        <a:pt x="40" y="1309"/>
                      </a:lnTo>
                      <a:lnTo>
                        <a:pt x="43" y="1311"/>
                      </a:lnTo>
                      <a:lnTo>
                        <a:pt x="45" y="1309"/>
                      </a:lnTo>
                      <a:lnTo>
                        <a:pt x="45" y="1307"/>
                      </a:lnTo>
                      <a:lnTo>
                        <a:pt x="52" y="1307"/>
                      </a:lnTo>
                      <a:lnTo>
                        <a:pt x="52" y="1307"/>
                      </a:lnTo>
                      <a:lnTo>
                        <a:pt x="55" y="1307"/>
                      </a:lnTo>
                      <a:lnTo>
                        <a:pt x="57" y="1307"/>
                      </a:lnTo>
                      <a:lnTo>
                        <a:pt x="57" y="1312"/>
                      </a:lnTo>
                      <a:lnTo>
                        <a:pt x="57" y="1318"/>
                      </a:lnTo>
                      <a:lnTo>
                        <a:pt x="59" y="1319"/>
                      </a:lnTo>
                      <a:lnTo>
                        <a:pt x="62" y="1323"/>
                      </a:lnTo>
                      <a:lnTo>
                        <a:pt x="62" y="1323"/>
                      </a:lnTo>
                      <a:lnTo>
                        <a:pt x="66" y="1326"/>
                      </a:lnTo>
                      <a:lnTo>
                        <a:pt x="66" y="1330"/>
                      </a:lnTo>
                      <a:lnTo>
                        <a:pt x="66" y="1339"/>
                      </a:lnTo>
                      <a:lnTo>
                        <a:pt x="64" y="1345"/>
                      </a:lnTo>
                      <a:lnTo>
                        <a:pt x="64" y="1345"/>
                      </a:lnTo>
                      <a:lnTo>
                        <a:pt x="66" y="1345"/>
                      </a:lnTo>
                      <a:lnTo>
                        <a:pt x="66" y="1345"/>
                      </a:lnTo>
                      <a:lnTo>
                        <a:pt x="71" y="1340"/>
                      </a:lnTo>
                      <a:lnTo>
                        <a:pt x="73" y="1335"/>
                      </a:lnTo>
                      <a:lnTo>
                        <a:pt x="73" y="1328"/>
                      </a:lnTo>
                      <a:lnTo>
                        <a:pt x="74" y="1316"/>
                      </a:lnTo>
                      <a:lnTo>
                        <a:pt x="74" y="1316"/>
                      </a:lnTo>
                      <a:lnTo>
                        <a:pt x="76" y="1307"/>
                      </a:lnTo>
                      <a:lnTo>
                        <a:pt x="76" y="1302"/>
                      </a:lnTo>
                      <a:lnTo>
                        <a:pt x="76" y="1298"/>
                      </a:lnTo>
                      <a:lnTo>
                        <a:pt x="76" y="1293"/>
                      </a:lnTo>
                      <a:lnTo>
                        <a:pt x="76" y="1293"/>
                      </a:lnTo>
                      <a:lnTo>
                        <a:pt x="80" y="1288"/>
                      </a:lnTo>
                      <a:lnTo>
                        <a:pt x="83" y="1285"/>
                      </a:lnTo>
                      <a:lnTo>
                        <a:pt x="87" y="1281"/>
                      </a:lnTo>
                      <a:lnTo>
                        <a:pt x="87" y="1279"/>
                      </a:lnTo>
                      <a:lnTo>
                        <a:pt x="85" y="1279"/>
                      </a:lnTo>
                      <a:lnTo>
                        <a:pt x="85" y="1279"/>
                      </a:lnTo>
                      <a:lnTo>
                        <a:pt x="83" y="1274"/>
                      </a:lnTo>
                      <a:lnTo>
                        <a:pt x="81" y="1271"/>
                      </a:lnTo>
                      <a:lnTo>
                        <a:pt x="83" y="1269"/>
                      </a:lnTo>
                      <a:lnTo>
                        <a:pt x="88" y="1265"/>
                      </a:lnTo>
                      <a:lnTo>
                        <a:pt x="88" y="1265"/>
                      </a:lnTo>
                      <a:lnTo>
                        <a:pt x="94" y="1264"/>
                      </a:lnTo>
                      <a:lnTo>
                        <a:pt x="99" y="1260"/>
                      </a:lnTo>
                      <a:lnTo>
                        <a:pt x="102" y="1255"/>
                      </a:lnTo>
                      <a:lnTo>
                        <a:pt x="106" y="1250"/>
                      </a:lnTo>
                      <a:lnTo>
                        <a:pt x="106" y="1250"/>
                      </a:lnTo>
                      <a:lnTo>
                        <a:pt x="108" y="1243"/>
                      </a:lnTo>
                      <a:lnTo>
                        <a:pt x="108" y="1238"/>
                      </a:lnTo>
                      <a:lnTo>
                        <a:pt x="104" y="1234"/>
                      </a:lnTo>
                      <a:lnTo>
                        <a:pt x="97" y="1231"/>
                      </a:lnTo>
                      <a:lnTo>
                        <a:pt x="97" y="1231"/>
                      </a:lnTo>
                      <a:lnTo>
                        <a:pt x="92" y="1229"/>
                      </a:lnTo>
                      <a:lnTo>
                        <a:pt x="88" y="1227"/>
                      </a:lnTo>
                      <a:lnTo>
                        <a:pt x="87" y="1224"/>
                      </a:lnTo>
                      <a:lnTo>
                        <a:pt x="88" y="1222"/>
                      </a:lnTo>
                      <a:lnTo>
                        <a:pt x="88" y="1222"/>
                      </a:lnTo>
                      <a:lnTo>
                        <a:pt x="92" y="1217"/>
                      </a:lnTo>
                      <a:lnTo>
                        <a:pt x="94" y="1210"/>
                      </a:lnTo>
                      <a:lnTo>
                        <a:pt x="95" y="1201"/>
                      </a:lnTo>
                      <a:lnTo>
                        <a:pt x="92" y="1191"/>
                      </a:lnTo>
                      <a:lnTo>
                        <a:pt x="92" y="1191"/>
                      </a:lnTo>
                      <a:lnTo>
                        <a:pt x="92" y="1187"/>
                      </a:lnTo>
                      <a:lnTo>
                        <a:pt x="92" y="1182"/>
                      </a:lnTo>
                      <a:lnTo>
                        <a:pt x="97" y="1177"/>
                      </a:lnTo>
                      <a:lnTo>
                        <a:pt x="102" y="1170"/>
                      </a:lnTo>
                      <a:lnTo>
                        <a:pt x="104" y="1164"/>
                      </a:lnTo>
                      <a:lnTo>
                        <a:pt x="102" y="1159"/>
                      </a:lnTo>
                      <a:lnTo>
                        <a:pt x="102" y="1159"/>
                      </a:lnTo>
                      <a:lnTo>
                        <a:pt x="101" y="1150"/>
                      </a:lnTo>
                      <a:lnTo>
                        <a:pt x="102" y="1145"/>
                      </a:lnTo>
                      <a:lnTo>
                        <a:pt x="104" y="1142"/>
                      </a:lnTo>
                      <a:lnTo>
                        <a:pt x="102" y="1137"/>
                      </a:lnTo>
                      <a:lnTo>
                        <a:pt x="102" y="1137"/>
                      </a:lnTo>
                      <a:lnTo>
                        <a:pt x="102" y="1131"/>
                      </a:lnTo>
                      <a:lnTo>
                        <a:pt x="104" y="1130"/>
                      </a:lnTo>
                      <a:lnTo>
                        <a:pt x="108" y="1130"/>
                      </a:lnTo>
                      <a:lnTo>
                        <a:pt x="111" y="1135"/>
                      </a:lnTo>
                      <a:lnTo>
                        <a:pt x="111" y="1135"/>
                      </a:lnTo>
                      <a:lnTo>
                        <a:pt x="113" y="1137"/>
                      </a:lnTo>
                      <a:lnTo>
                        <a:pt x="114" y="1135"/>
                      </a:lnTo>
                      <a:lnTo>
                        <a:pt x="116" y="1130"/>
                      </a:lnTo>
                      <a:lnTo>
                        <a:pt x="114" y="1126"/>
                      </a:lnTo>
                      <a:lnTo>
                        <a:pt x="113" y="1123"/>
                      </a:lnTo>
                      <a:lnTo>
                        <a:pt x="109" y="1121"/>
                      </a:lnTo>
                      <a:lnTo>
                        <a:pt x="104" y="1119"/>
                      </a:lnTo>
                      <a:lnTo>
                        <a:pt x="104" y="1119"/>
                      </a:lnTo>
                      <a:lnTo>
                        <a:pt x="101" y="1117"/>
                      </a:lnTo>
                      <a:lnTo>
                        <a:pt x="101" y="1116"/>
                      </a:lnTo>
                      <a:lnTo>
                        <a:pt x="104" y="1112"/>
                      </a:lnTo>
                      <a:lnTo>
                        <a:pt x="109" y="1107"/>
                      </a:lnTo>
                      <a:lnTo>
                        <a:pt x="111" y="1105"/>
                      </a:lnTo>
                      <a:lnTo>
                        <a:pt x="109" y="1103"/>
                      </a:lnTo>
                      <a:lnTo>
                        <a:pt x="109" y="1103"/>
                      </a:lnTo>
                      <a:lnTo>
                        <a:pt x="106" y="1102"/>
                      </a:lnTo>
                      <a:lnTo>
                        <a:pt x="102" y="1098"/>
                      </a:lnTo>
                      <a:lnTo>
                        <a:pt x="99" y="1093"/>
                      </a:lnTo>
                      <a:lnTo>
                        <a:pt x="97" y="1093"/>
                      </a:lnTo>
                      <a:lnTo>
                        <a:pt x="95" y="1093"/>
                      </a:lnTo>
                      <a:lnTo>
                        <a:pt x="92" y="1100"/>
                      </a:lnTo>
                      <a:lnTo>
                        <a:pt x="92" y="1100"/>
                      </a:lnTo>
                      <a:lnTo>
                        <a:pt x="90" y="1103"/>
                      </a:lnTo>
                      <a:lnTo>
                        <a:pt x="87" y="1107"/>
                      </a:lnTo>
                      <a:lnTo>
                        <a:pt x="85" y="1109"/>
                      </a:lnTo>
                      <a:lnTo>
                        <a:pt x="80" y="1109"/>
                      </a:lnTo>
                      <a:lnTo>
                        <a:pt x="76" y="1107"/>
                      </a:lnTo>
                      <a:lnTo>
                        <a:pt x="73" y="1103"/>
                      </a:lnTo>
                      <a:lnTo>
                        <a:pt x="67" y="1097"/>
                      </a:lnTo>
                      <a:lnTo>
                        <a:pt x="64" y="1090"/>
                      </a:lnTo>
                      <a:lnTo>
                        <a:pt x="64" y="1090"/>
                      </a:lnTo>
                      <a:lnTo>
                        <a:pt x="61" y="1081"/>
                      </a:lnTo>
                      <a:lnTo>
                        <a:pt x="61" y="1076"/>
                      </a:lnTo>
                      <a:lnTo>
                        <a:pt x="61" y="1070"/>
                      </a:lnTo>
                      <a:lnTo>
                        <a:pt x="61" y="1065"/>
                      </a:lnTo>
                      <a:lnTo>
                        <a:pt x="66" y="1053"/>
                      </a:lnTo>
                      <a:lnTo>
                        <a:pt x="67" y="1043"/>
                      </a:lnTo>
                      <a:lnTo>
                        <a:pt x="69" y="1029"/>
                      </a:lnTo>
                      <a:lnTo>
                        <a:pt x="69" y="1029"/>
                      </a:lnTo>
                      <a:lnTo>
                        <a:pt x="69" y="1020"/>
                      </a:lnTo>
                      <a:lnTo>
                        <a:pt x="71" y="1016"/>
                      </a:lnTo>
                      <a:lnTo>
                        <a:pt x="73" y="1015"/>
                      </a:lnTo>
                      <a:lnTo>
                        <a:pt x="76" y="1015"/>
                      </a:lnTo>
                      <a:lnTo>
                        <a:pt x="78" y="1015"/>
                      </a:lnTo>
                      <a:lnTo>
                        <a:pt x="80" y="1013"/>
                      </a:lnTo>
                      <a:lnTo>
                        <a:pt x="83" y="1008"/>
                      </a:lnTo>
                      <a:lnTo>
                        <a:pt x="85" y="997"/>
                      </a:lnTo>
                      <a:lnTo>
                        <a:pt x="85" y="997"/>
                      </a:lnTo>
                      <a:lnTo>
                        <a:pt x="87" y="985"/>
                      </a:lnTo>
                      <a:lnTo>
                        <a:pt x="85" y="978"/>
                      </a:lnTo>
                      <a:lnTo>
                        <a:pt x="85" y="971"/>
                      </a:lnTo>
                      <a:lnTo>
                        <a:pt x="81" y="966"/>
                      </a:lnTo>
                      <a:lnTo>
                        <a:pt x="78" y="957"/>
                      </a:lnTo>
                      <a:lnTo>
                        <a:pt x="76" y="950"/>
                      </a:lnTo>
                      <a:lnTo>
                        <a:pt x="78" y="940"/>
                      </a:lnTo>
                      <a:lnTo>
                        <a:pt x="78" y="940"/>
                      </a:lnTo>
                      <a:lnTo>
                        <a:pt x="78" y="931"/>
                      </a:lnTo>
                      <a:lnTo>
                        <a:pt x="78" y="924"/>
                      </a:lnTo>
                      <a:lnTo>
                        <a:pt x="74" y="917"/>
                      </a:lnTo>
                      <a:lnTo>
                        <a:pt x="73" y="910"/>
                      </a:lnTo>
                      <a:lnTo>
                        <a:pt x="71" y="903"/>
                      </a:lnTo>
                      <a:lnTo>
                        <a:pt x="73" y="893"/>
                      </a:lnTo>
                      <a:lnTo>
                        <a:pt x="73" y="893"/>
                      </a:lnTo>
                      <a:lnTo>
                        <a:pt x="73" y="889"/>
                      </a:lnTo>
                      <a:lnTo>
                        <a:pt x="74" y="888"/>
                      </a:lnTo>
                      <a:lnTo>
                        <a:pt x="81" y="889"/>
                      </a:lnTo>
                      <a:lnTo>
                        <a:pt x="85" y="889"/>
                      </a:lnTo>
                      <a:lnTo>
                        <a:pt x="87" y="888"/>
                      </a:lnTo>
                      <a:lnTo>
                        <a:pt x="88" y="882"/>
                      </a:lnTo>
                      <a:lnTo>
                        <a:pt x="90" y="872"/>
                      </a:lnTo>
                      <a:lnTo>
                        <a:pt x="90" y="872"/>
                      </a:lnTo>
                      <a:lnTo>
                        <a:pt x="92" y="863"/>
                      </a:lnTo>
                      <a:lnTo>
                        <a:pt x="92" y="863"/>
                      </a:lnTo>
                      <a:lnTo>
                        <a:pt x="94" y="863"/>
                      </a:lnTo>
                      <a:lnTo>
                        <a:pt x="95" y="865"/>
                      </a:lnTo>
                      <a:lnTo>
                        <a:pt x="97" y="863"/>
                      </a:lnTo>
                      <a:lnTo>
                        <a:pt x="99" y="858"/>
                      </a:lnTo>
                      <a:lnTo>
                        <a:pt x="99" y="848"/>
                      </a:lnTo>
                      <a:lnTo>
                        <a:pt x="99" y="848"/>
                      </a:lnTo>
                      <a:lnTo>
                        <a:pt x="102" y="835"/>
                      </a:lnTo>
                      <a:lnTo>
                        <a:pt x="104" y="830"/>
                      </a:lnTo>
                      <a:lnTo>
                        <a:pt x="108" y="827"/>
                      </a:lnTo>
                      <a:lnTo>
                        <a:pt x="109" y="820"/>
                      </a:lnTo>
                      <a:lnTo>
                        <a:pt x="109" y="820"/>
                      </a:lnTo>
                      <a:lnTo>
                        <a:pt x="113" y="809"/>
                      </a:lnTo>
                      <a:lnTo>
                        <a:pt x="120" y="795"/>
                      </a:lnTo>
                      <a:lnTo>
                        <a:pt x="127" y="778"/>
                      </a:lnTo>
                      <a:lnTo>
                        <a:pt x="128" y="767"/>
                      </a:lnTo>
                      <a:lnTo>
                        <a:pt x="130" y="754"/>
                      </a:lnTo>
                      <a:lnTo>
                        <a:pt x="130" y="754"/>
                      </a:lnTo>
                      <a:lnTo>
                        <a:pt x="132" y="743"/>
                      </a:lnTo>
                      <a:lnTo>
                        <a:pt x="134" y="736"/>
                      </a:lnTo>
                      <a:lnTo>
                        <a:pt x="135" y="731"/>
                      </a:lnTo>
                      <a:lnTo>
                        <a:pt x="139" y="727"/>
                      </a:lnTo>
                      <a:lnTo>
                        <a:pt x="141" y="726"/>
                      </a:lnTo>
                      <a:lnTo>
                        <a:pt x="142" y="724"/>
                      </a:lnTo>
                      <a:lnTo>
                        <a:pt x="142" y="719"/>
                      </a:lnTo>
                      <a:lnTo>
                        <a:pt x="141" y="712"/>
                      </a:lnTo>
                      <a:lnTo>
                        <a:pt x="141" y="712"/>
                      </a:lnTo>
                      <a:lnTo>
                        <a:pt x="141" y="705"/>
                      </a:lnTo>
                      <a:lnTo>
                        <a:pt x="141" y="698"/>
                      </a:lnTo>
                      <a:lnTo>
                        <a:pt x="146" y="686"/>
                      </a:lnTo>
                      <a:lnTo>
                        <a:pt x="151" y="675"/>
                      </a:lnTo>
                      <a:lnTo>
                        <a:pt x="153" y="670"/>
                      </a:lnTo>
                      <a:lnTo>
                        <a:pt x="151" y="665"/>
                      </a:lnTo>
                      <a:lnTo>
                        <a:pt x="151" y="665"/>
                      </a:lnTo>
                      <a:lnTo>
                        <a:pt x="148" y="654"/>
                      </a:lnTo>
                      <a:lnTo>
                        <a:pt x="146" y="644"/>
                      </a:lnTo>
                      <a:lnTo>
                        <a:pt x="146" y="630"/>
                      </a:lnTo>
                      <a:lnTo>
                        <a:pt x="142" y="611"/>
                      </a:lnTo>
                      <a:lnTo>
                        <a:pt x="142" y="611"/>
                      </a:lnTo>
                      <a:lnTo>
                        <a:pt x="139" y="590"/>
                      </a:lnTo>
                      <a:lnTo>
                        <a:pt x="141" y="583"/>
                      </a:lnTo>
                      <a:lnTo>
                        <a:pt x="141" y="578"/>
                      </a:lnTo>
                      <a:lnTo>
                        <a:pt x="146" y="569"/>
                      </a:lnTo>
                      <a:lnTo>
                        <a:pt x="151" y="564"/>
                      </a:lnTo>
                      <a:lnTo>
                        <a:pt x="151" y="564"/>
                      </a:lnTo>
                      <a:lnTo>
                        <a:pt x="153" y="559"/>
                      </a:lnTo>
                      <a:lnTo>
                        <a:pt x="155" y="555"/>
                      </a:lnTo>
                      <a:lnTo>
                        <a:pt x="156" y="545"/>
                      </a:lnTo>
                      <a:lnTo>
                        <a:pt x="153" y="531"/>
                      </a:lnTo>
                      <a:lnTo>
                        <a:pt x="148" y="517"/>
                      </a:lnTo>
                      <a:lnTo>
                        <a:pt x="148" y="517"/>
                      </a:lnTo>
                      <a:lnTo>
                        <a:pt x="146" y="512"/>
                      </a:lnTo>
                      <a:lnTo>
                        <a:pt x="146" y="506"/>
                      </a:lnTo>
                      <a:lnTo>
                        <a:pt x="148" y="503"/>
                      </a:lnTo>
                      <a:lnTo>
                        <a:pt x="151" y="501"/>
                      </a:lnTo>
                      <a:lnTo>
                        <a:pt x="155" y="496"/>
                      </a:lnTo>
                      <a:lnTo>
                        <a:pt x="156" y="491"/>
                      </a:lnTo>
                      <a:lnTo>
                        <a:pt x="160" y="484"/>
                      </a:lnTo>
                      <a:lnTo>
                        <a:pt x="160" y="473"/>
                      </a:lnTo>
                      <a:lnTo>
                        <a:pt x="160" y="473"/>
                      </a:lnTo>
                      <a:lnTo>
                        <a:pt x="163" y="456"/>
                      </a:lnTo>
                      <a:lnTo>
                        <a:pt x="165" y="451"/>
                      </a:lnTo>
                      <a:lnTo>
                        <a:pt x="168" y="447"/>
                      </a:lnTo>
                      <a:lnTo>
                        <a:pt x="167" y="438"/>
                      </a:lnTo>
                      <a:lnTo>
                        <a:pt x="167" y="438"/>
                      </a:lnTo>
                      <a:lnTo>
                        <a:pt x="167" y="431"/>
                      </a:lnTo>
                      <a:lnTo>
                        <a:pt x="168" y="423"/>
                      </a:lnTo>
                      <a:lnTo>
                        <a:pt x="175" y="405"/>
                      </a:lnTo>
                      <a:lnTo>
                        <a:pt x="179" y="390"/>
                      </a:lnTo>
                      <a:lnTo>
                        <a:pt x="181" y="383"/>
                      </a:lnTo>
                      <a:lnTo>
                        <a:pt x="179" y="376"/>
                      </a:lnTo>
                      <a:lnTo>
                        <a:pt x="179" y="376"/>
                      </a:lnTo>
                      <a:lnTo>
                        <a:pt x="177" y="370"/>
                      </a:lnTo>
                      <a:lnTo>
                        <a:pt x="177" y="367"/>
                      </a:lnTo>
                      <a:lnTo>
                        <a:pt x="181" y="357"/>
                      </a:lnTo>
                      <a:lnTo>
                        <a:pt x="184" y="350"/>
                      </a:lnTo>
                      <a:lnTo>
                        <a:pt x="184" y="343"/>
                      </a:lnTo>
                      <a:lnTo>
                        <a:pt x="184" y="334"/>
                      </a:lnTo>
                      <a:lnTo>
                        <a:pt x="182" y="323"/>
                      </a:lnTo>
                      <a:lnTo>
                        <a:pt x="182" y="323"/>
                      </a:lnTo>
                      <a:lnTo>
                        <a:pt x="181" y="313"/>
                      </a:lnTo>
                      <a:lnTo>
                        <a:pt x="181" y="303"/>
                      </a:lnTo>
                      <a:lnTo>
                        <a:pt x="182" y="283"/>
                      </a:lnTo>
                      <a:lnTo>
                        <a:pt x="184" y="271"/>
                      </a:lnTo>
                      <a:lnTo>
                        <a:pt x="184" y="268"/>
                      </a:lnTo>
                      <a:lnTo>
                        <a:pt x="182" y="264"/>
                      </a:lnTo>
                      <a:lnTo>
                        <a:pt x="182" y="264"/>
                      </a:lnTo>
                      <a:lnTo>
                        <a:pt x="179" y="263"/>
                      </a:lnTo>
                      <a:lnTo>
                        <a:pt x="179" y="259"/>
                      </a:lnTo>
                      <a:lnTo>
                        <a:pt x="179" y="254"/>
                      </a:lnTo>
                      <a:lnTo>
                        <a:pt x="182" y="247"/>
                      </a:lnTo>
                      <a:lnTo>
                        <a:pt x="184" y="247"/>
                      </a:lnTo>
                      <a:lnTo>
                        <a:pt x="186" y="245"/>
                      </a:lnTo>
                      <a:lnTo>
                        <a:pt x="186" y="245"/>
                      </a:lnTo>
                      <a:lnTo>
                        <a:pt x="188" y="245"/>
                      </a:lnTo>
                      <a:lnTo>
                        <a:pt x="188" y="245"/>
                      </a:lnTo>
                      <a:lnTo>
                        <a:pt x="189" y="236"/>
                      </a:lnTo>
                      <a:lnTo>
                        <a:pt x="191" y="221"/>
                      </a:lnTo>
                      <a:lnTo>
                        <a:pt x="196" y="196"/>
                      </a:lnTo>
                      <a:lnTo>
                        <a:pt x="196" y="196"/>
                      </a:lnTo>
                      <a:lnTo>
                        <a:pt x="198" y="182"/>
                      </a:lnTo>
                      <a:lnTo>
                        <a:pt x="198" y="172"/>
                      </a:lnTo>
                      <a:lnTo>
                        <a:pt x="196" y="156"/>
                      </a:lnTo>
                      <a:lnTo>
                        <a:pt x="193" y="142"/>
                      </a:lnTo>
                      <a:lnTo>
                        <a:pt x="193" y="134"/>
                      </a:lnTo>
                      <a:lnTo>
                        <a:pt x="195" y="125"/>
                      </a:lnTo>
                      <a:lnTo>
                        <a:pt x="195" y="125"/>
                      </a:lnTo>
                      <a:lnTo>
                        <a:pt x="195" y="115"/>
                      </a:lnTo>
                      <a:lnTo>
                        <a:pt x="195" y="108"/>
                      </a:lnTo>
                      <a:lnTo>
                        <a:pt x="193" y="97"/>
                      </a:lnTo>
                      <a:lnTo>
                        <a:pt x="191" y="90"/>
                      </a:lnTo>
                      <a:lnTo>
                        <a:pt x="191" y="80"/>
                      </a:lnTo>
                      <a:lnTo>
                        <a:pt x="191" y="80"/>
                      </a:lnTo>
                      <a:lnTo>
                        <a:pt x="191" y="73"/>
                      </a:lnTo>
                      <a:lnTo>
                        <a:pt x="189" y="71"/>
                      </a:lnTo>
                      <a:lnTo>
                        <a:pt x="188" y="62"/>
                      </a:lnTo>
                      <a:lnTo>
                        <a:pt x="188" y="40"/>
                      </a:lnTo>
                      <a:lnTo>
                        <a:pt x="188" y="40"/>
                      </a:lnTo>
                      <a:lnTo>
                        <a:pt x="198" y="34"/>
                      </a:lnTo>
                      <a:lnTo>
                        <a:pt x="205" y="29"/>
                      </a:lnTo>
                      <a:lnTo>
                        <a:pt x="207" y="24"/>
                      </a:lnTo>
                      <a:lnTo>
                        <a:pt x="207" y="19"/>
                      </a:lnTo>
                      <a:lnTo>
                        <a:pt x="203" y="12"/>
                      </a:lnTo>
                      <a:lnTo>
                        <a:pt x="203" y="10"/>
                      </a:lnTo>
                      <a:lnTo>
                        <a:pt x="205" y="8"/>
                      </a:lnTo>
                      <a:lnTo>
                        <a:pt x="205" y="8"/>
                      </a:lnTo>
                      <a:lnTo>
                        <a:pt x="210" y="8"/>
                      </a:lnTo>
                      <a:lnTo>
                        <a:pt x="212" y="8"/>
                      </a:lnTo>
                      <a:lnTo>
                        <a:pt x="215" y="5"/>
                      </a:lnTo>
                      <a:lnTo>
                        <a:pt x="217" y="0"/>
                      </a:lnTo>
                      <a:lnTo>
                        <a:pt x="217"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9" name="Freeform 1688">
                  <a:extLst>
                    <a:ext uri="{FF2B5EF4-FFF2-40B4-BE49-F238E27FC236}">
                      <a16:creationId xmlns:a16="http://schemas.microsoft.com/office/drawing/2014/main" id="{A8C6FC27-A8E2-1F4B-9889-6C60DBBC947A}"/>
                    </a:ext>
                  </a:extLst>
                </p:cNvPr>
                <p:cNvSpPr>
                  <a:spLocks/>
                </p:cNvSpPr>
                <p:nvPr/>
              </p:nvSpPr>
              <p:spPr bwMode="auto">
                <a:xfrm>
                  <a:off x="3421144" y="5144331"/>
                  <a:ext cx="236108" cy="290729"/>
                </a:xfrm>
                <a:custGeom>
                  <a:avLst/>
                  <a:gdLst/>
                  <a:ahLst/>
                  <a:cxnLst>
                    <a:cxn ang="0">
                      <a:pos x="283" y="289"/>
                    </a:cxn>
                    <a:cxn ang="0">
                      <a:pos x="278" y="316"/>
                    </a:cxn>
                    <a:cxn ang="0">
                      <a:pos x="264" y="335"/>
                    </a:cxn>
                    <a:cxn ang="0">
                      <a:pos x="249" y="352"/>
                    </a:cxn>
                    <a:cxn ang="0">
                      <a:pos x="245" y="359"/>
                    </a:cxn>
                    <a:cxn ang="0">
                      <a:pos x="236" y="356"/>
                    </a:cxn>
                    <a:cxn ang="0">
                      <a:pos x="222" y="357"/>
                    </a:cxn>
                    <a:cxn ang="0">
                      <a:pos x="210" y="363"/>
                    </a:cxn>
                    <a:cxn ang="0">
                      <a:pos x="182" y="357"/>
                    </a:cxn>
                    <a:cxn ang="0">
                      <a:pos x="165" y="354"/>
                    </a:cxn>
                    <a:cxn ang="0">
                      <a:pos x="142" y="356"/>
                    </a:cxn>
                    <a:cxn ang="0">
                      <a:pos x="141" y="347"/>
                    </a:cxn>
                    <a:cxn ang="0">
                      <a:pos x="149" y="336"/>
                    </a:cxn>
                    <a:cxn ang="0">
                      <a:pos x="158" y="323"/>
                    </a:cxn>
                    <a:cxn ang="0">
                      <a:pos x="158" y="307"/>
                    </a:cxn>
                    <a:cxn ang="0">
                      <a:pos x="163" y="300"/>
                    </a:cxn>
                    <a:cxn ang="0">
                      <a:pos x="170" y="286"/>
                    </a:cxn>
                    <a:cxn ang="0">
                      <a:pos x="179" y="272"/>
                    </a:cxn>
                    <a:cxn ang="0">
                      <a:pos x="172" y="258"/>
                    </a:cxn>
                    <a:cxn ang="0">
                      <a:pos x="154" y="248"/>
                    </a:cxn>
                    <a:cxn ang="0">
                      <a:pos x="135" y="241"/>
                    </a:cxn>
                    <a:cxn ang="0">
                      <a:pos x="106" y="218"/>
                    </a:cxn>
                    <a:cxn ang="0">
                      <a:pos x="76" y="202"/>
                    </a:cxn>
                    <a:cxn ang="0">
                      <a:pos x="57" y="194"/>
                    </a:cxn>
                    <a:cxn ang="0">
                      <a:pos x="50" y="185"/>
                    </a:cxn>
                    <a:cxn ang="0">
                      <a:pos x="29" y="168"/>
                    </a:cxn>
                    <a:cxn ang="0">
                      <a:pos x="19" y="148"/>
                    </a:cxn>
                    <a:cxn ang="0">
                      <a:pos x="5" y="133"/>
                    </a:cxn>
                    <a:cxn ang="0">
                      <a:pos x="3" y="117"/>
                    </a:cxn>
                    <a:cxn ang="0">
                      <a:pos x="13" y="68"/>
                    </a:cxn>
                    <a:cxn ang="0">
                      <a:pos x="19" y="46"/>
                    </a:cxn>
                    <a:cxn ang="0">
                      <a:pos x="31" y="20"/>
                    </a:cxn>
                    <a:cxn ang="0">
                      <a:pos x="43" y="11"/>
                    </a:cxn>
                    <a:cxn ang="0">
                      <a:pos x="83" y="4"/>
                    </a:cxn>
                    <a:cxn ang="0">
                      <a:pos x="118" y="0"/>
                    </a:cxn>
                    <a:cxn ang="0">
                      <a:pos x="148" y="14"/>
                    </a:cxn>
                    <a:cxn ang="0">
                      <a:pos x="158" y="25"/>
                    </a:cxn>
                    <a:cxn ang="0">
                      <a:pos x="158" y="37"/>
                    </a:cxn>
                    <a:cxn ang="0">
                      <a:pos x="168" y="67"/>
                    </a:cxn>
                    <a:cxn ang="0">
                      <a:pos x="168" y="88"/>
                    </a:cxn>
                    <a:cxn ang="0">
                      <a:pos x="167" y="105"/>
                    </a:cxn>
                    <a:cxn ang="0">
                      <a:pos x="165" y="117"/>
                    </a:cxn>
                    <a:cxn ang="0">
                      <a:pos x="170" y="122"/>
                    </a:cxn>
                    <a:cxn ang="0">
                      <a:pos x="203" y="128"/>
                    </a:cxn>
                    <a:cxn ang="0">
                      <a:pos x="214" y="124"/>
                    </a:cxn>
                    <a:cxn ang="0">
                      <a:pos x="229" y="122"/>
                    </a:cxn>
                    <a:cxn ang="0">
                      <a:pos x="242" y="133"/>
                    </a:cxn>
                    <a:cxn ang="0">
                      <a:pos x="247" y="157"/>
                    </a:cxn>
                    <a:cxn ang="0">
                      <a:pos x="252" y="201"/>
                    </a:cxn>
                    <a:cxn ang="0">
                      <a:pos x="261" y="206"/>
                    </a:cxn>
                    <a:cxn ang="0">
                      <a:pos x="269" y="204"/>
                    </a:cxn>
                    <a:cxn ang="0">
                      <a:pos x="282" y="197"/>
                    </a:cxn>
                    <a:cxn ang="0">
                      <a:pos x="289" y="201"/>
                    </a:cxn>
                    <a:cxn ang="0">
                      <a:pos x="294" y="227"/>
                    </a:cxn>
                    <a:cxn ang="0">
                      <a:pos x="285" y="270"/>
                    </a:cxn>
                  </a:cxnLst>
                  <a:rect l="0" t="0" r="r" b="b"/>
                  <a:pathLst>
                    <a:path w="294" h="363">
                      <a:moveTo>
                        <a:pt x="282" y="276"/>
                      </a:moveTo>
                      <a:lnTo>
                        <a:pt x="282" y="276"/>
                      </a:lnTo>
                      <a:lnTo>
                        <a:pt x="283" y="289"/>
                      </a:lnTo>
                      <a:lnTo>
                        <a:pt x="282" y="296"/>
                      </a:lnTo>
                      <a:lnTo>
                        <a:pt x="278" y="316"/>
                      </a:lnTo>
                      <a:lnTo>
                        <a:pt x="278" y="316"/>
                      </a:lnTo>
                      <a:lnTo>
                        <a:pt x="276" y="323"/>
                      </a:lnTo>
                      <a:lnTo>
                        <a:pt x="273" y="328"/>
                      </a:lnTo>
                      <a:lnTo>
                        <a:pt x="264" y="335"/>
                      </a:lnTo>
                      <a:lnTo>
                        <a:pt x="254" y="342"/>
                      </a:lnTo>
                      <a:lnTo>
                        <a:pt x="250" y="347"/>
                      </a:lnTo>
                      <a:lnTo>
                        <a:pt x="249" y="352"/>
                      </a:lnTo>
                      <a:lnTo>
                        <a:pt x="249" y="352"/>
                      </a:lnTo>
                      <a:lnTo>
                        <a:pt x="247" y="357"/>
                      </a:lnTo>
                      <a:lnTo>
                        <a:pt x="245" y="359"/>
                      </a:lnTo>
                      <a:lnTo>
                        <a:pt x="243" y="359"/>
                      </a:lnTo>
                      <a:lnTo>
                        <a:pt x="240" y="357"/>
                      </a:lnTo>
                      <a:lnTo>
                        <a:pt x="236" y="356"/>
                      </a:lnTo>
                      <a:lnTo>
                        <a:pt x="233" y="354"/>
                      </a:lnTo>
                      <a:lnTo>
                        <a:pt x="228" y="354"/>
                      </a:lnTo>
                      <a:lnTo>
                        <a:pt x="222" y="357"/>
                      </a:lnTo>
                      <a:lnTo>
                        <a:pt x="222" y="357"/>
                      </a:lnTo>
                      <a:lnTo>
                        <a:pt x="215" y="361"/>
                      </a:lnTo>
                      <a:lnTo>
                        <a:pt x="210" y="363"/>
                      </a:lnTo>
                      <a:lnTo>
                        <a:pt x="203" y="363"/>
                      </a:lnTo>
                      <a:lnTo>
                        <a:pt x="196" y="361"/>
                      </a:lnTo>
                      <a:lnTo>
                        <a:pt x="182" y="357"/>
                      </a:lnTo>
                      <a:lnTo>
                        <a:pt x="174" y="354"/>
                      </a:lnTo>
                      <a:lnTo>
                        <a:pt x="165" y="354"/>
                      </a:lnTo>
                      <a:lnTo>
                        <a:pt x="165" y="354"/>
                      </a:lnTo>
                      <a:lnTo>
                        <a:pt x="151" y="354"/>
                      </a:lnTo>
                      <a:lnTo>
                        <a:pt x="146" y="356"/>
                      </a:lnTo>
                      <a:lnTo>
                        <a:pt x="142" y="356"/>
                      </a:lnTo>
                      <a:lnTo>
                        <a:pt x="141" y="350"/>
                      </a:lnTo>
                      <a:lnTo>
                        <a:pt x="141" y="350"/>
                      </a:lnTo>
                      <a:lnTo>
                        <a:pt x="141" y="347"/>
                      </a:lnTo>
                      <a:lnTo>
                        <a:pt x="141" y="345"/>
                      </a:lnTo>
                      <a:lnTo>
                        <a:pt x="144" y="342"/>
                      </a:lnTo>
                      <a:lnTo>
                        <a:pt x="149" y="336"/>
                      </a:lnTo>
                      <a:lnTo>
                        <a:pt x="156" y="328"/>
                      </a:lnTo>
                      <a:lnTo>
                        <a:pt x="156" y="328"/>
                      </a:lnTo>
                      <a:lnTo>
                        <a:pt x="158" y="323"/>
                      </a:lnTo>
                      <a:lnTo>
                        <a:pt x="158" y="319"/>
                      </a:lnTo>
                      <a:lnTo>
                        <a:pt x="158" y="312"/>
                      </a:lnTo>
                      <a:lnTo>
                        <a:pt x="158" y="307"/>
                      </a:lnTo>
                      <a:lnTo>
                        <a:pt x="160" y="303"/>
                      </a:lnTo>
                      <a:lnTo>
                        <a:pt x="163" y="300"/>
                      </a:lnTo>
                      <a:lnTo>
                        <a:pt x="163" y="300"/>
                      </a:lnTo>
                      <a:lnTo>
                        <a:pt x="168" y="295"/>
                      </a:lnTo>
                      <a:lnTo>
                        <a:pt x="170" y="291"/>
                      </a:lnTo>
                      <a:lnTo>
                        <a:pt x="170" y="286"/>
                      </a:lnTo>
                      <a:lnTo>
                        <a:pt x="177" y="276"/>
                      </a:lnTo>
                      <a:lnTo>
                        <a:pt x="177" y="276"/>
                      </a:lnTo>
                      <a:lnTo>
                        <a:pt x="179" y="272"/>
                      </a:lnTo>
                      <a:lnTo>
                        <a:pt x="177" y="269"/>
                      </a:lnTo>
                      <a:lnTo>
                        <a:pt x="175" y="263"/>
                      </a:lnTo>
                      <a:lnTo>
                        <a:pt x="172" y="258"/>
                      </a:lnTo>
                      <a:lnTo>
                        <a:pt x="163" y="251"/>
                      </a:lnTo>
                      <a:lnTo>
                        <a:pt x="158" y="249"/>
                      </a:lnTo>
                      <a:lnTo>
                        <a:pt x="154" y="248"/>
                      </a:lnTo>
                      <a:lnTo>
                        <a:pt x="154" y="248"/>
                      </a:lnTo>
                      <a:lnTo>
                        <a:pt x="148" y="246"/>
                      </a:lnTo>
                      <a:lnTo>
                        <a:pt x="135" y="241"/>
                      </a:lnTo>
                      <a:lnTo>
                        <a:pt x="121" y="230"/>
                      </a:lnTo>
                      <a:lnTo>
                        <a:pt x="106" y="218"/>
                      </a:lnTo>
                      <a:lnTo>
                        <a:pt x="106" y="218"/>
                      </a:lnTo>
                      <a:lnTo>
                        <a:pt x="99" y="211"/>
                      </a:lnTo>
                      <a:lnTo>
                        <a:pt x="90" y="208"/>
                      </a:lnTo>
                      <a:lnTo>
                        <a:pt x="76" y="202"/>
                      </a:lnTo>
                      <a:lnTo>
                        <a:pt x="64" y="201"/>
                      </a:lnTo>
                      <a:lnTo>
                        <a:pt x="60" y="197"/>
                      </a:lnTo>
                      <a:lnTo>
                        <a:pt x="57" y="194"/>
                      </a:lnTo>
                      <a:lnTo>
                        <a:pt x="57" y="194"/>
                      </a:lnTo>
                      <a:lnTo>
                        <a:pt x="53" y="189"/>
                      </a:lnTo>
                      <a:lnTo>
                        <a:pt x="50" y="185"/>
                      </a:lnTo>
                      <a:lnTo>
                        <a:pt x="40" y="178"/>
                      </a:lnTo>
                      <a:lnTo>
                        <a:pt x="34" y="173"/>
                      </a:lnTo>
                      <a:lnTo>
                        <a:pt x="29" y="168"/>
                      </a:lnTo>
                      <a:lnTo>
                        <a:pt x="24" y="161"/>
                      </a:lnTo>
                      <a:lnTo>
                        <a:pt x="19" y="148"/>
                      </a:lnTo>
                      <a:lnTo>
                        <a:pt x="19" y="148"/>
                      </a:lnTo>
                      <a:lnTo>
                        <a:pt x="13" y="140"/>
                      </a:lnTo>
                      <a:lnTo>
                        <a:pt x="10" y="135"/>
                      </a:lnTo>
                      <a:lnTo>
                        <a:pt x="5" y="133"/>
                      </a:lnTo>
                      <a:lnTo>
                        <a:pt x="0" y="129"/>
                      </a:lnTo>
                      <a:lnTo>
                        <a:pt x="0" y="129"/>
                      </a:lnTo>
                      <a:lnTo>
                        <a:pt x="3" y="117"/>
                      </a:lnTo>
                      <a:lnTo>
                        <a:pt x="8" y="101"/>
                      </a:lnTo>
                      <a:lnTo>
                        <a:pt x="12" y="86"/>
                      </a:lnTo>
                      <a:lnTo>
                        <a:pt x="13" y="68"/>
                      </a:lnTo>
                      <a:lnTo>
                        <a:pt x="13" y="68"/>
                      </a:lnTo>
                      <a:lnTo>
                        <a:pt x="15" y="54"/>
                      </a:lnTo>
                      <a:lnTo>
                        <a:pt x="19" y="46"/>
                      </a:lnTo>
                      <a:lnTo>
                        <a:pt x="27" y="25"/>
                      </a:lnTo>
                      <a:lnTo>
                        <a:pt x="27" y="25"/>
                      </a:lnTo>
                      <a:lnTo>
                        <a:pt x="31" y="20"/>
                      </a:lnTo>
                      <a:lnTo>
                        <a:pt x="34" y="14"/>
                      </a:lnTo>
                      <a:lnTo>
                        <a:pt x="38" y="13"/>
                      </a:lnTo>
                      <a:lnTo>
                        <a:pt x="43" y="11"/>
                      </a:lnTo>
                      <a:lnTo>
                        <a:pt x="59" y="7"/>
                      </a:lnTo>
                      <a:lnTo>
                        <a:pt x="83" y="4"/>
                      </a:lnTo>
                      <a:lnTo>
                        <a:pt x="83" y="4"/>
                      </a:lnTo>
                      <a:lnTo>
                        <a:pt x="97" y="0"/>
                      </a:lnTo>
                      <a:lnTo>
                        <a:pt x="107" y="0"/>
                      </a:lnTo>
                      <a:lnTo>
                        <a:pt x="118" y="0"/>
                      </a:lnTo>
                      <a:lnTo>
                        <a:pt x="125" y="2"/>
                      </a:lnTo>
                      <a:lnTo>
                        <a:pt x="135" y="7"/>
                      </a:lnTo>
                      <a:lnTo>
                        <a:pt x="148" y="14"/>
                      </a:lnTo>
                      <a:lnTo>
                        <a:pt x="148" y="14"/>
                      </a:lnTo>
                      <a:lnTo>
                        <a:pt x="156" y="20"/>
                      </a:lnTo>
                      <a:lnTo>
                        <a:pt x="158" y="25"/>
                      </a:lnTo>
                      <a:lnTo>
                        <a:pt x="158" y="28"/>
                      </a:lnTo>
                      <a:lnTo>
                        <a:pt x="158" y="37"/>
                      </a:lnTo>
                      <a:lnTo>
                        <a:pt x="158" y="37"/>
                      </a:lnTo>
                      <a:lnTo>
                        <a:pt x="161" y="47"/>
                      </a:lnTo>
                      <a:lnTo>
                        <a:pt x="167" y="60"/>
                      </a:lnTo>
                      <a:lnTo>
                        <a:pt x="168" y="67"/>
                      </a:lnTo>
                      <a:lnTo>
                        <a:pt x="170" y="74"/>
                      </a:lnTo>
                      <a:lnTo>
                        <a:pt x="170" y="81"/>
                      </a:lnTo>
                      <a:lnTo>
                        <a:pt x="168" y="88"/>
                      </a:lnTo>
                      <a:lnTo>
                        <a:pt x="168" y="88"/>
                      </a:lnTo>
                      <a:lnTo>
                        <a:pt x="165" y="98"/>
                      </a:lnTo>
                      <a:lnTo>
                        <a:pt x="167" y="105"/>
                      </a:lnTo>
                      <a:lnTo>
                        <a:pt x="167" y="110"/>
                      </a:lnTo>
                      <a:lnTo>
                        <a:pt x="165" y="117"/>
                      </a:lnTo>
                      <a:lnTo>
                        <a:pt x="165" y="117"/>
                      </a:lnTo>
                      <a:lnTo>
                        <a:pt x="165" y="119"/>
                      </a:lnTo>
                      <a:lnTo>
                        <a:pt x="167" y="121"/>
                      </a:lnTo>
                      <a:lnTo>
                        <a:pt x="170" y="122"/>
                      </a:lnTo>
                      <a:lnTo>
                        <a:pt x="177" y="126"/>
                      </a:lnTo>
                      <a:lnTo>
                        <a:pt x="186" y="128"/>
                      </a:lnTo>
                      <a:lnTo>
                        <a:pt x="203" y="128"/>
                      </a:lnTo>
                      <a:lnTo>
                        <a:pt x="210" y="126"/>
                      </a:lnTo>
                      <a:lnTo>
                        <a:pt x="214" y="124"/>
                      </a:lnTo>
                      <a:lnTo>
                        <a:pt x="214" y="124"/>
                      </a:lnTo>
                      <a:lnTo>
                        <a:pt x="215" y="122"/>
                      </a:lnTo>
                      <a:lnTo>
                        <a:pt x="221" y="122"/>
                      </a:lnTo>
                      <a:lnTo>
                        <a:pt x="229" y="122"/>
                      </a:lnTo>
                      <a:lnTo>
                        <a:pt x="233" y="126"/>
                      </a:lnTo>
                      <a:lnTo>
                        <a:pt x="238" y="129"/>
                      </a:lnTo>
                      <a:lnTo>
                        <a:pt x="242" y="133"/>
                      </a:lnTo>
                      <a:lnTo>
                        <a:pt x="243" y="140"/>
                      </a:lnTo>
                      <a:lnTo>
                        <a:pt x="243" y="140"/>
                      </a:lnTo>
                      <a:lnTo>
                        <a:pt x="247" y="157"/>
                      </a:lnTo>
                      <a:lnTo>
                        <a:pt x="250" y="173"/>
                      </a:lnTo>
                      <a:lnTo>
                        <a:pt x="252" y="194"/>
                      </a:lnTo>
                      <a:lnTo>
                        <a:pt x="252" y="201"/>
                      </a:lnTo>
                      <a:lnTo>
                        <a:pt x="254" y="204"/>
                      </a:lnTo>
                      <a:lnTo>
                        <a:pt x="255" y="206"/>
                      </a:lnTo>
                      <a:lnTo>
                        <a:pt x="261" y="206"/>
                      </a:lnTo>
                      <a:lnTo>
                        <a:pt x="261" y="206"/>
                      </a:lnTo>
                      <a:lnTo>
                        <a:pt x="266" y="206"/>
                      </a:lnTo>
                      <a:lnTo>
                        <a:pt x="269" y="204"/>
                      </a:lnTo>
                      <a:lnTo>
                        <a:pt x="275" y="199"/>
                      </a:lnTo>
                      <a:lnTo>
                        <a:pt x="278" y="197"/>
                      </a:lnTo>
                      <a:lnTo>
                        <a:pt x="282" y="197"/>
                      </a:lnTo>
                      <a:lnTo>
                        <a:pt x="285" y="199"/>
                      </a:lnTo>
                      <a:lnTo>
                        <a:pt x="289" y="201"/>
                      </a:lnTo>
                      <a:lnTo>
                        <a:pt x="289" y="201"/>
                      </a:lnTo>
                      <a:lnTo>
                        <a:pt x="292" y="208"/>
                      </a:lnTo>
                      <a:lnTo>
                        <a:pt x="294" y="216"/>
                      </a:lnTo>
                      <a:lnTo>
                        <a:pt x="294" y="227"/>
                      </a:lnTo>
                      <a:lnTo>
                        <a:pt x="292" y="239"/>
                      </a:lnTo>
                      <a:lnTo>
                        <a:pt x="289" y="262"/>
                      </a:lnTo>
                      <a:lnTo>
                        <a:pt x="285" y="270"/>
                      </a:lnTo>
                      <a:lnTo>
                        <a:pt x="282" y="276"/>
                      </a:lnTo>
                      <a:lnTo>
                        <a:pt x="282" y="27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0" name="Freeform 1689">
                  <a:extLst>
                    <a:ext uri="{FF2B5EF4-FFF2-40B4-BE49-F238E27FC236}">
                      <a16:creationId xmlns:a16="http://schemas.microsoft.com/office/drawing/2014/main" id="{256D5A6D-EB76-7E57-DC6F-804C5BE102FC}"/>
                    </a:ext>
                  </a:extLst>
                </p:cNvPr>
                <p:cNvSpPr>
                  <a:spLocks/>
                </p:cNvSpPr>
                <p:nvPr/>
              </p:nvSpPr>
              <p:spPr bwMode="auto">
                <a:xfrm>
                  <a:off x="2897829" y="4483580"/>
                  <a:ext cx="354163" cy="627273"/>
                </a:xfrm>
                <a:custGeom>
                  <a:avLst/>
                  <a:gdLst/>
                  <a:ahLst/>
                  <a:cxnLst>
                    <a:cxn ang="0">
                      <a:pos x="386" y="178"/>
                    </a:cxn>
                    <a:cxn ang="0">
                      <a:pos x="365" y="178"/>
                    </a:cxn>
                    <a:cxn ang="0">
                      <a:pos x="325" y="197"/>
                    </a:cxn>
                    <a:cxn ang="0">
                      <a:pos x="294" y="228"/>
                    </a:cxn>
                    <a:cxn ang="0">
                      <a:pos x="280" y="277"/>
                    </a:cxn>
                    <a:cxn ang="0">
                      <a:pos x="261" y="303"/>
                    </a:cxn>
                    <a:cxn ang="0">
                      <a:pos x="282" y="369"/>
                    </a:cxn>
                    <a:cxn ang="0">
                      <a:pos x="287" y="394"/>
                    </a:cxn>
                    <a:cxn ang="0">
                      <a:pos x="309" y="401"/>
                    </a:cxn>
                    <a:cxn ang="0">
                      <a:pos x="316" y="423"/>
                    </a:cxn>
                    <a:cxn ang="0">
                      <a:pos x="348" y="423"/>
                    </a:cxn>
                    <a:cxn ang="0">
                      <a:pos x="370" y="406"/>
                    </a:cxn>
                    <a:cxn ang="0">
                      <a:pos x="372" y="453"/>
                    </a:cxn>
                    <a:cxn ang="0">
                      <a:pos x="384" y="469"/>
                    </a:cxn>
                    <a:cxn ang="0">
                      <a:pos x="410" y="463"/>
                    </a:cxn>
                    <a:cxn ang="0">
                      <a:pos x="431" y="571"/>
                    </a:cxn>
                    <a:cxn ang="0">
                      <a:pos x="431" y="608"/>
                    </a:cxn>
                    <a:cxn ang="0">
                      <a:pos x="416" y="634"/>
                    </a:cxn>
                    <a:cxn ang="0">
                      <a:pos x="419" y="658"/>
                    </a:cxn>
                    <a:cxn ang="0">
                      <a:pos x="421" y="686"/>
                    </a:cxn>
                    <a:cxn ang="0">
                      <a:pos x="430" y="698"/>
                    </a:cxn>
                    <a:cxn ang="0">
                      <a:pos x="412" y="744"/>
                    </a:cxn>
                    <a:cxn ang="0">
                      <a:pos x="400" y="752"/>
                    </a:cxn>
                    <a:cxn ang="0">
                      <a:pos x="402" y="768"/>
                    </a:cxn>
                    <a:cxn ang="0">
                      <a:pos x="377" y="778"/>
                    </a:cxn>
                    <a:cxn ang="0">
                      <a:pos x="348" y="756"/>
                    </a:cxn>
                    <a:cxn ang="0">
                      <a:pos x="337" y="733"/>
                    </a:cxn>
                    <a:cxn ang="0">
                      <a:pos x="243" y="676"/>
                    </a:cxn>
                    <a:cxn ang="0">
                      <a:pos x="203" y="636"/>
                    </a:cxn>
                    <a:cxn ang="0">
                      <a:pos x="175" y="592"/>
                    </a:cxn>
                    <a:cxn ang="0">
                      <a:pos x="167" y="550"/>
                    </a:cxn>
                    <a:cxn ang="0">
                      <a:pos x="144" y="510"/>
                    </a:cxn>
                    <a:cxn ang="0">
                      <a:pos x="128" y="476"/>
                    </a:cxn>
                    <a:cxn ang="0">
                      <a:pos x="106" y="416"/>
                    </a:cxn>
                    <a:cxn ang="0">
                      <a:pos x="83" y="355"/>
                    </a:cxn>
                    <a:cxn ang="0">
                      <a:pos x="54" y="307"/>
                    </a:cxn>
                    <a:cxn ang="0">
                      <a:pos x="38" y="279"/>
                    </a:cxn>
                    <a:cxn ang="0">
                      <a:pos x="5" y="253"/>
                    </a:cxn>
                    <a:cxn ang="0">
                      <a:pos x="17" y="239"/>
                    </a:cxn>
                    <a:cxn ang="0">
                      <a:pos x="1" y="221"/>
                    </a:cxn>
                    <a:cxn ang="0">
                      <a:pos x="5" y="180"/>
                    </a:cxn>
                    <a:cxn ang="0">
                      <a:pos x="36" y="152"/>
                    </a:cxn>
                    <a:cxn ang="0">
                      <a:pos x="27" y="176"/>
                    </a:cxn>
                    <a:cxn ang="0">
                      <a:pos x="34" y="188"/>
                    </a:cxn>
                    <a:cxn ang="0">
                      <a:pos x="62" y="193"/>
                    </a:cxn>
                    <a:cxn ang="0">
                      <a:pos x="83" y="202"/>
                    </a:cxn>
                    <a:cxn ang="0">
                      <a:pos x="95" y="171"/>
                    </a:cxn>
                    <a:cxn ang="0">
                      <a:pos x="123" y="127"/>
                    </a:cxn>
                    <a:cxn ang="0">
                      <a:pos x="195" y="72"/>
                    </a:cxn>
                    <a:cxn ang="0">
                      <a:pos x="210" y="4"/>
                    </a:cxn>
                    <a:cxn ang="0">
                      <a:pos x="226" y="9"/>
                    </a:cxn>
                    <a:cxn ang="0">
                      <a:pos x="242" y="21"/>
                    </a:cxn>
                    <a:cxn ang="0">
                      <a:pos x="259" y="49"/>
                    </a:cxn>
                    <a:cxn ang="0">
                      <a:pos x="283" y="87"/>
                    </a:cxn>
                    <a:cxn ang="0">
                      <a:pos x="308" y="101"/>
                    </a:cxn>
                    <a:cxn ang="0">
                      <a:pos x="357" y="94"/>
                    </a:cxn>
                    <a:cxn ang="0">
                      <a:pos x="395" y="110"/>
                    </a:cxn>
                    <a:cxn ang="0">
                      <a:pos x="374" y="152"/>
                    </a:cxn>
                    <a:cxn ang="0">
                      <a:pos x="377" y="162"/>
                    </a:cxn>
                    <a:cxn ang="0">
                      <a:pos x="395" y="171"/>
                    </a:cxn>
                  </a:cxnLst>
                  <a:rect l="0" t="0" r="r" b="b"/>
                  <a:pathLst>
                    <a:path w="442" h="784">
                      <a:moveTo>
                        <a:pt x="398" y="178"/>
                      </a:moveTo>
                      <a:lnTo>
                        <a:pt x="398" y="178"/>
                      </a:lnTo>
                      <a:lnTo>
                        <a:pt x="393" y="180"/>
                      </a:lnTo>
                      <a:lnTo>
                        <a:pt x="390" y="180"/>
                      </a:lnTo>
                      <a:lnTo>
                        <a:pt x="386" y="178"/>
                      </a:lnTo>
                      <a:lnTo>
                        <a:pt x="384" y="176"/>
                      </a:lnTo>
                      <a:lnTo>
                        <a:pt x="383" y="173"/>
                      </a:lnTo>
                      <a:lnTo>
                        <a:pt x="379" y="173"/>
                      </a:lnTo>
                      <a:lnTo>
                        <a:pt x="374" y="173"/>
                      </a:lnTo>
                      <a:lnTo>
                        <a:pt x="365" y="178"/>
                      </a:lnTo>
                      <a:lnTo>
                        <a:pt x="365" y="178"/>
                      </a:lnTo>
                      <a:lnTo>
                        <a:pt x="357" y="185"/>
                      </a:lnTo>
                      <a:lnTo>
                        <a:pt x="350" y="188"/>
                      </a:lnTo>
                      <a:lnTo>
                        <a:pt x="337" y="192"/>
                      </a:lnTo>
                      <a:lnTo>
                        <a:pt x="325" y="197"/>
                      </a:lnTo>
                      <a:lnTo>
                        <a:pt x="316" y="202"/>
                      </a:lnTo>
                      <a:lnTo>
                        <a:pt x="308" y="209"/>
                      </a:lnTo>
                      <a:lnTo>
                        <a:pt x="308" y="209"/>
                      </a:lnTo>
                      <a:lnTo>
                        <a:pt x="299" y="220"/>
                      </a:lnTo>
                      <a:lnTo>
                        <a:pt x="294" y="228"/>
                      </a:lnTo>
                      <a:lnTo>
                        <a:pt x="290" y="239"/>
                      </a:lnTo>
                      <a:lnTo>
                        <a:pt x="289" y="249"/>
                      </a:lnTo>
                      <a:lnTo>
                        <a:pt x="287" y="260"/>
                      </a:lnTo>
                      <a:lnTo>
                        <a:pt x="283" y="268"/>
                      </a:lnTo>
                      <a:lnTo>
                        <a:pt x="280" y="277"/>
                      </a:lnTo>
                      <a:lnTo>
                        <a:pt x="273" y="284"/>
                      </a:lnTo>
                      <a:lnTo>
                        <a:pt x="273" y="284"/>
                      </a:lnTo>
                      <a:lnTo>
                        <a:pt x="268" y="291"/>
                      </a:lnTo>
                      <a:lnTo>
                        <a:pt x="262" y="296"/>
                      </a:lnTo>
                      <a:lnTo>
                        <a:pt x="261" y="303"/>
                      </a:lnTo>
                      <a:lnTo>
                        <a:pt x="259" y="312"/>
                      </a:lnTo>
                      <a:lnTo>
                        <a:pt x="261" y="319"/>
                      </a:lnTo>
                      <a:lnTo>
                        <a:pt x="262" y="326"/>
                      </a:lnTo>
                      <a:lnTo>
                        <a:pt x="268" y="341"/>
                      </a:lnTo>
                      <a:lnTo>
                        <a:pt x="282" y="369"/>
                      </a:lnTo>
                      <a:lnTo>
                        <a:pt x="287" y="380"/>
                      </a:lnTo>
                      <a:lnTo>
                        <a:pt x="287" y="385"/>
                      </a:lnTo>
                      <a:lnTo>
                        <a:pt x="287" y="388"/>
                      </a:lnTo>
                      <a:lnTo>
                        <a:pt x="287" y="388"/>
                      </a:lnTo>
                      <a:lnTo>
                        <a:pt x="287" y="394"/>
                      </a:lnTo>
                      <a:lnTo>
                        <a:pt x="289" y="397"/>
                      </a:lnTo>
                      <a:lnTo>
                        <a:pt x="294" y="399"/>
                      </a:lnTo>
                      <a:lnTo>
                        <a:pt x="299" y="399"/>
                      </a:lnTo>
                      <a:lnTo>
                        <a:pt x="304" y="399"/>
                      </a:lnTo>
                      <a:lnTo>
                        <a:pt x="309" y="401"/>
                      </a:lnTo>
                      <a:lnTo>
                        <a:pt x="313" y="406"/>
                      </a:lnTo>
                      <a:lnTo>
                        <a:pt x="315" y="415"/>
                      </a:lnTo>
                      <a:lnTo>
                        <a:pt x="315" y="415"/>
                      </a:lnTo>
                      <a:lnTo>
                        <a:pt x="315" y="418"/>
                      </a:lnTo>
                      <a:lnTo>
                        <a:pt x="316" y="423"/>
                      </a:lnTo>
                      <a:lnTo>
                        <a:pt x="318" y="425"/>
                      </a:lnTo>
                      <a:lnTo>
                        <a:pt x="322" y="427"/>
                      </a:lnTo>
                      <a:lnTo>
                        <a:pt x="329" y="428"/>
                      </a:lnTo>
                      <a:lnTo>
                        <a:pt x="337" y="427"/>
                      </a:lnTo>
                      <a:lnTo>
                        <a:pt x="348" y="423"/>
                      </a:lnTo>
                      <a:lnTo>
                        <a:pt x="357" y="420"/>
                      </a:lnTo>
                      <a:lnTo>
                        <a:pt x="363" y="413"/>
                      </a:lnTo>
                      <a:lnTo>
                        <a:pt x="369" y="408"/>
                      </a:lnTo>
                      <a:lnTo>
                        <a:pt x="369" y="408"/>
                      </a:lnTo>
                      <a:lnTo>
                        <a:pt x="370" y="406"/>
                      </a:lnTo>
                      <a:lnTo>
                        <a:pt x="370" y="406"/>
                      </a:lnTo>
                      <a:lnTo>
                        <a:pt x="372" y="411"/>
                      </a:lnTo>
                      <a:lnTo>
                        <a:pt x="372" y="430"/>
                      </a:lnTo>
                      <a:lnTo>
                        <a:pt x="372" y="442"/>
                      </a:lnTo>
                      <a:lnTo>
                        <a:pt x="372" y="453"/>
                      </a:lnTo>
                      <a:lnTo>
                        <a:pt x="376" y="463"/>
                      </a:lnTo>
                      <a:lnTo>
                        <a:pt x="377" y="465"/>
                      </a:lnTo>
                      <a:lnTo>
                        <a:pt x="379" y="467"/>
                      </a:lnTo>
                      <a:lnTo>
                        <a:pt x="379" y="467"/>
                      </a:lnTo>
                      <a:lnTo>
                        <a:pt x="384" y="469"/>
                      </a:lnTo>
                      <a:lnTo>
                        <a:pt x="388" y="469"/>
                      </a:lnTo>
                      <a:lnTo>
                        <a:pt x="395" y="465"/>
                      </a:lnTo>
                      <a:lnTo>
                        <a:pt x="400" y="463"/>
                      </a:lnTo>
                      <a:lnTo>
                        <a:pt x="405" y="463"/>
                      </a:lnTo>
                      <a:lnTo>
                        <a:pt x="410" y="463"/>
                      </a:lnTo>
                      <a:lnTo>
                        <a:pt x="442" y="533"/>
                      </a:lnTo>
                      <a:lnTo>
                        <a:pt x="442" y="533"/>
                      </a:lnTo>
                      <a:lnTo>
                        <a:pt x="440" y="538"/>
                      </a:lnTo>
                      <a:lnTo>
                        <a:pt x="435" y="552"/>
                      </a:lnTo>
                      <a:lnTo>
                        <a:pt x="431" y="571"/>
                      </a:lnTo>
                      <a:lnTo>
                        <a:pt x="431" y="582"/>
                      </a:lnTo>
                      <a:lnTo>
                        <a:pt x="433" y="592"/>
                      </a:lnTo>
                      <a:lnTo>
                        <a:pt x="433" y="592"/>
                      </a:lnTo>
                      <a:lnTo>
                        <a:pt x="433" y="601"/>
                      </a:lnTo>
                      <a:lnTo>
                        <a:pt x="431" y="608"/>
                      </a:lnTo>
                      <a:lnTo>
                        <a:pt x="428" y="613"/>
                      </a:lnTo>
                      <a:lnTo>
                        <a:pt x="423" y="618"/>
                      </a:lnTo>
                      <a:lnTo>
                        <a:pt x="419" y="623"/>
                      </a:lnTo>
                      <a:lnTo>
                        <a:pt x="416" y="629"/>
                      </a:lnTo>
                      <a:lnTo>
                        <a:pt x="416" y="634"/>
                      </a:lnTo>
                      <a:lnTo>
                        <a:pt x="419" y="639"/>
                      </a:lnTo>
                      <a:lnTo>
                        <a:pt x="419" y="639"/>
                      </a:lnTo>
                      <a:lnTo>
                        <a:pt x="421" y="646"/>
                      </a:lnTo>
                      <a:lnTo>
                        <a:pt x="421" y="653"/>
                      </a:lnTo>
                      <a:lnTo>
                        <a:pt x="419" y="658"/>
                      </a:lnTo>
                      <a:lnTo>
                        <a:pt x="416" y="665"/>
                      </a:lnTo>
                      <a:lnTo>
                        <a:pt x="414" y="671"/>
                      </a:lnTo>
                      <a:lnTo>
                        <a:pt x="414" y="676"/>
                      </a:lnTo>
                      <a:lnTo>
                        <a:pt x="416" y="681"/>
                      </a:lnTo>
                      <a:lnTo>
                        <a:pt x="421" y="686"/>
                      </a:lnTo>
                      <a:lnTo>
                        <a:pt x="421" y="686"/>
                      </a:lnTo>
                      <a:lnTo>
                        <a:pt x="426" y="688"/>
                      </a:lnTo>
                      <a:lnTo>
                        <a:pt x="428" y="691"/>
                      </a:lnTo>
                      <a:lnTo>
                        <a:pt x="430" y="695"/>
                      </a:lnTo>
                      <a:lnTo>
                        <a:pt x="430" y="698"/>
                      </a:lnTo>
                      <a:lnTo>
                        <a:pt x="430" y="707"/>
                      </a:lnTo>
                      <a:lnTo>
                        <a:pt x="426" y="716"/>
                      </a:lnTo>
                      <a:lnTo>
                        <a:pt x="417" y="731"/>
                      </a:lnTo>
                      <a:lnTo>
                        <a:pt x="414" y="738"/>
                      </a:lnTo>
                      <a:lnTo>
                        <a:pt x="412" y="744"/>
                      </a:lnTo>
                      <a:lnTo>
                        <a:pt x="412" y="744"/>
                      </a:lnTo>
                      <a:lnTo>
                        <a:pt x="410" y="749"/>
                      </a:lnTo>
                      <a:lnTo>
                        <a:pt x="407" y="752"/>
                      </a:lnTo>
                      <a:lnTo>
                        <a:pt x="405" y="752"/>
                      </a:lnTo>
                      <a:lnTo>
                        <a:pt x="400" y="752"/>
                      </a:lnTo>
                      <a:lnTo>
                        <a:pt x="400" y="752"/>
                      </a:lnTo>
                      <a:lnTo>
                        <a:pt x="398" y="754"/>
                      </a:lnTo>
                      <a:lnTo>
                        <a:pt x="398" y="756"/>
                      </a:lnTo>
                      <a:lnTo>
                        <a:pt x="402" y="763"/>
                      </a:lnTo>
                      <a:lnTo>
                        <a:pt x="402" y="768"/>
                      </a:lnTo>
                      <a:lnTo>
                        <a:pt x="400" y="773"/>
                      </a:lnTo>
                      <a:lnTo>
                        <a:pt x="393" y="778"/>
                      </a:lnTo>
                      <a:lnTo>
                        <a:pt x="383" y="784"/>
                      </a:lnTo>
                      <a:lnTo>
                        <a:pt x="383" y="784"/>
                      </a:lnTo>
                      <a:lnTo>
                        <a:pt x="377" y="778"/>
                      </a:lnTo>
                      <a:lnTo>
                        <a:pt x="372" y="775"/>
                      </a:lnTo>
                      <a:lnTo>
                        <a:pt x="360" y="768"/>
                      </a:lnTo>
                      <a:lnTo>
                        <a:pt x="355" y="765"/>
                      </a:lnTo>
                      <a:lnTo>
                        <a:pt x="351" y="761"/>
                      </a:lnTo>
                      <a:lnTo>
                        <a:pt x="348" y="756"/>
                      </a:lnTo>
                      <a:lnTo>
                        <a:pt x="346" y="749"/>
                      </a:lnTo>
                      <a:lnTo>
                        <a:pt x="346" y="749"/>
                      </a:lnTo>
                      <a:lnTo>
                        <a:pt x="344" y="744"/>
                      </a:lnTo>
                      <a:lnTo>
                        <a:pt x="341" y="738"/>
                      </a:lnTo>
                      <a:lnTo>
                        <a:pt x="337" y="733"/>
                      </a:lnTo>
                      <a:lnTo>
                        <a:pt x="332" y="728"/>
                      </a:lnTo>
                      <a:lnTo>
                        <a:pt x="311" y="716"/>
                      </a:lnTo>
                      <a:lnTo>
                        <a:pt x="276" y="697"/>
                      </a:lnTo>
                      <a:lnTo>
                        <a:pt x="276" y="697"/>
                      </a:lnTo>
                      <a:lnTo>
                        <a:pt x="243" y="676"/>
                      </a:lnTo>
                      <a:lnTo>
                        <a:pt x="222" y="662"/>
                      </a:lnTo>
                      <a:lnTo>
                        <a:pt x="214" y="651"/>
                      </a:lnTo>
                      <a:lnTo>
                        <a:pt x="207" y="643"/>
                      </a:lnTo>
                      <a:lnTo>
                        <a:pt x="207" y="643"/>
                      </a:lnTo>
                      <a:lnTo>
                        <a:pt x="203" y="636"/>
                      </a:lnTo>
                      <a:lnTo>
                        <a:pt x="198" y="630"/>
                      </a:lnTo>
                      <a:lnTo>
                        <a:pt x="186" y="618"/>
                      </a:lnTo>
                      <a:lnTo>
                        <a:pt x="181" y="610"/>
                      </a:lnTo>
                      <a:lnTo>
                        <a:pt x="177" y="601"/>
                      </a:lnTo>
                      <a:lnTo>
                        <a:pt x="175" y="592"/>
                      </a:lnTo>
                      <a:lnTo>
                        <a:pt x="175" y="580"/>
                      </a:lnTo>
                      <a:lnTo>
                        <a:pt x="175" y="580"/>
                      </a:lnTo>
                      <a:lnTo>
                        <a:pt x="175" y="570"/>
                      </a:lnTo>
                      <a:lnTo>
                        <a:pt x="172" y="559"/>
                      </a:lnTo>
                      <a:lnTo>
                        <a:pt x="167" y="550"/>
                      </a:lnTo>
                      <a:lnTo>
                        <a:pt x="161" y="542"/>
                      </a:lnTo>
                      <a:lnTo>
                        <a:pt x="149" y="526"/>
                      </a:lnTo>
                      <a:lnTo>
                        <a:pt x="146" y="517"/>
                      </a:lnTo>
                      <a:lnTo>
                        <a:pt x="144" y="510"/>
                      </a:lnTo>
                      <a:lnTo>
                        <a:pt x="144" y="510"/>
                      </a:lnTo>
                      <a:lnTo>
                        <a:pt x="142" y="505"/>
                      </a:lnTo>
                      <a:lnTo>
                        <a:pt x="142" y="500"/>
                      </a:lnTo>
                      <a:lnTo>
                        <a:pt x="137" y="491"/>
                      </a:lnTo>
                      <a:lnTo>
                        <a:pt x="132" y="482"/>
                      </a:lnTo>
                      <a:lnTo>
                        <a:pt x="128" y="476"/>
                      </a:lnTo>
                      <a:lnTo>
                        <a:pt x="127" y="467"/>
                      </a:lnTo>
                      <a:lnTo>
                        <a:pt x="127" y="467"/>
                      </a:lnTo>
                      <a:lnTo>
                        <a:pt x="123" y="455"/>
                      </a:lnTo>
                      <a:lnTo>
                        <a:pt x="118" y="442"/>
                      </a:lnTo>
                      <a:lnTo>
                        <a:pt x="106" y="416"/>
                      </a:lnTo>
                      <a:lnTo>
                        <a:pt x="95" y="390"/>
                      </a:lnTo>
                      <a:lnTo>
                        <a:pt x="90" y="378"/>
                      </a:lnTo>
                      <a:lnTo>
                        <a:pt x="87" y="366"/>
                      </a:lnTo>
                      <a:lnTo>
                        <a:pt x="87" y="366"/>
                      </a:lnTo>
                      <a:lnTo>
                        <a:pt x="83" y="355"/>
                      </a:lnTo>
                      <a:lnTo>
                        <a:pt x="80" y="347"/>
                      </a:lnTo>
                      <a:lnTo>
                        <a:pt x="69" y="333"/>
                      </a:lnTo>
                      <a:lnTo>
                        <a:pt x="64" y="326"/>
                      </a:lnTo>
                      <a:lnTo>
                        <a:pt x="59" y="317"/>
                      </a:lnTo>
                      <a:lnTo>
                        <a:pt x="54" y="307"/>
                      </a:lnTo>
                      <a:lnTo>
                        <a:pt x="50" y="294"/>
                      </a:lnTo>
                      <a:lnTo>
                        <a:pt x="50" y="294"/>
                      </a:lnTo>
                      <a:lnTo>
                        <a:pt x="48" y="289"/>
                      </a:lnTo>
                      <a:lnTo>
                        <a:pt x="47" y="286"/>
                      </a:lnTo>
                      <a:lnTo>
                        <a:pt x="38" y="279"/>
                      </a:lnTo>
                      <a:lnTo>
                        <a:pt x="19" y="268"/>
                      </a:lnTo>
                      <a:lnTo>
                        <a:pt x="12" y="263"/>
                      </a:lnTo>
                      <a:lnTo>
                        <a:pt x="5" y="258"/>
                      </a:lnTo>
                      <a:lnTo>
                        <a:pt x="5" y="254"/>
                      </a:lnTo>
                      <a:lnTo>
                        <a:pt x="5" y="253"/>
                      </a:lnTo>
                      <a:lnTo>
                        <a:pt x="7" y="249"/>
                      </a:lnTo>
                      <a:lnTo>
                        <a:pt x="10" y="246"/>
                      </a:lnTo>
                      <a:lnTo>
                        <a:pt x="10" y="246"/>
                      </a:lnTo>
                      <a:lnTo>
                        <a:pt x="15" y="242"/>
                      </a:lnTo>
                      <a:lnTo>
                        <a:pt x="17" y="239"/>
                      </a:lnTo>
                      <a:lnTo>
                        <a:pt x="15" y="237"/>
                      </a:lnTo>
                      <a:lnTo>
                        <a:pt x="13" y="235"/>
                      </a:lnTo>
                      <a:lnTo>
                        <a:pt x="7" y="230"/>
                      </a:lnTo>
                      <a:lnTo>
                        <a:pt x="5" y="227"/>
                      </a:lnTo>
                      <a:lnTo>
                        <a:pt x="1" y="221"/>
                      </a:lnTo>
                      <a:lnTo>
                        <a:pt x="1" y="221"/>
                      </a:lnTo>
                      <a:lnTo>
                        <a:pt x="0" y="207"/>
                      </a:lnTo>
                      <a:lnTo>
                        <a:pt x="0" y="199"/>
                      </a:lnTo>
                      <a:lnTo>
                        <a:pt x="1" y="190"/>
                      </a:lnTo>
                      <a:lnTo>
                        <a:pt x="5" y="180"/>
                      </a:lnTo>
                      <a:lnTo>
                        <a:pt x="10" y="169"/>
                      </a:lnTo>
                      <a:lnTo>
                        <a:pt x="20" y="157"/>
                      </a:lnTo>
                      <a:lnTo>
                        <a:pt x="33" y="143"/>
                      </a:lnTo>
                      <a:lnTo>
                        <a:pt x="33" y="143"/>
                      </a:lnTo>
                      <a:lnTo>
                        <a:pt x="36" y="152"/>
                      </a:lnTo>
                      <a:lnTo>
                        <a:pt x="38" y="157"/>
                      </a:lnTo>
                      <a:lnTo>
                        <a:pt x="38" y="162"/>
                      </a:lnTo>
                      <a:lnTo>
                        <a:pt x="34" y="166"/>
                      </a:lnTo>
                      <a:lnTo>
                        <a:pt x="29" y="173"/>
                      </a:lnTo>
                      <a:lnTo>
                        <a:pt x="27" y="176"/>
                      </a:lnTo>
                      <a:lnTo>
                        <a:pt x="27" y="180"/>
                      </a:lnTo>
                      <a:lnTo>
                        <a:pt x="27" y="180"/>
                      </a:lnTo>
                      <a:lnTo>
                        <a:pt x="31" y="186"/>
                      </a:lnTo>
                      <a:lnTo>
                        <a:pt x="33" y="188"/>
                      </a:lnTo>
                      <a:lnTo>
                        <a:pt x="34" y="188"/>
                      </a:lnTo>
                      <a:lnTo>
                        <a:pt x="41" y="186"/>
                      </a:lnTo>
                      <a:lnTo>
                        <a:pt x="52" y="188"/>
                      </a:lnTo>
                      <a:lnTo>
                        <a:pt x="52" y="188"/>
                      </a:lnTo>
                      <a:lnTo>
                        <a:pt x="59" y="190"/>
                      </a:lnTo>
                      <a:lnTo>
                        <a:pt x="62" y="193"/>
                      </a:lnTo>
                      <a:lnTo>
                        <a:pt x="67" y="202"/>
                      </a:lnTo>
                      <a:lnTo>
                        <a:pt x="71" y="206"/>
                      </a:lnTo>
                      <a:lnTo>
                        <a:pt x="73" y="207"/>
                      </a:lnTo>
                      <a:lnTo>
                        <a:pt x="78" y="207"/>
                      </a:lnTo>
                      <a:lnTo>
                        <a:pt x="83" y="202"/>
                      </a:lnTo>
                      <a:lnTo>
                        <a:pt x="83" y="202"/>
                      </a:lnTo>
                      <a:lnTo>
                        <a:pt x="88" y="197"/>
                      </a:lnTo>
                      <a:lnTo>
                        <a:pt x="90" y="193"/>
                      </a:lnTo>
                      <a:lnTo>
                        <a:pt x="92" y="185"/>
                      </a:lnTo>
                      <a:lnTo>
                        <a:pt x="95" y="171"/>
                      </a:lnTo>
                      <a:lnTo>
                        <a:pt x="99" y="162"/>
                      </a:lnTo>
                      <a:lnTo>
                        <a:pt x="104" y="150"/>
                      </a:lnTo>
                      <a:lnTo>
                        <a:pt x="104" y="150"/>
                      </a:lnTo>
                      <a:lnTo>
                        <a:pt x="113" y="138"/>
                      </a:lnTo>
                      <a:lnTo>
                        <a:pt x="123" y="127"/>
                      </a:lnTo>
                      <a:lnTo>
                        <a:pt x="135" y="117"/>
                      </a:lnTo>
                      <a:lnTo>
                        <a:pt x="149" y="108"/>
                      </a:lnTo>
                      <a:lnTo>
                        <a:pt x="175" y="92"/>
                      </a:lnTo>
                      <a:lnTo>
                        <a:pt x="186" y="82"/>
                      </a:lnTo>
                      <a:lnTo>
                        <a:pt x="195" y="72"/>
                      </a:lnTo>
                      <a:lnTo>
                        <a:pt x="195" y="72"/>
                      </a:lnTo>
                      <a:lnTo>
                        <a:pt x="205" y="52"/>
                      </a:lnTo>
                      <a:lnTo>
                        <a:pt x="210" y="37"/>
                      </a:lnTo>
                      <a:lnTo>
                        <a:pt x="212" y="23"/>
                      </a:lnTo>
                      <a:lnTo>
                        <a:pt x="210" y="4"/>
                      </a:lnTo>
                      <a:lnTo>
                        <a:pt x="210" y="4"/>
                      </a:lnTo>
                      <a:lnTo>
                        <a:pt x="214" y="2"/>
                      </a:lnTo>
                      <a:lnTo>
                        <a:pt x="215" y="0"/>
                      </a:lnTo>
                      <a:lnTo>
                        <a:pt x="221" y="4"/>
                      </a:lnTo>
                      <a:lnTo>
                        <a:pt x="226" y="9"/>
                      </a:lnTo>
                      <a:lnTo>
                        <a:pt x="229" y="12"/>
                      </a:lnTo>
                      <a:lnTo>
                        <a:pt x="233" y="14"/>
                      </a:lnTo>
                      <a:lnTo>
                        <a:pt x="233" y="14"/>
                      </a:lnTo>
                      <a:lnTo>
                        <a:pt x="238" y="18"/>
                      </a:lnTo>
                      <a:lnTo>
                        <a:pt x="242" y="21"/>
                      </a:lnTo>
                      <a:lnTo>
                        <a:pt x="245" y="30"/>
                      </a:lnTo>
                      <a:lnTo>
                        <a:pt x="247" y="35"/>
                      </a:lnTo>
                      <a:lnTo>
                        <a:pt x="249" y="38"/>
                      </a:lnTo>
                      <a:lnTo>
                        <a:pt x="254" y="44"/>
                      </a:lnTo>
                      <a:lnTo>
                        <a:pt x="259" y="49"/>
                      </a:lnTo>
                      <a:lnTo>
                        <a:pt x="259" y="49"/>
                      </a:lnTo>
                      <a:lnTo>
                        <a:pt x="266" y="54"/>
                      </a:lnTo>
                      <a:lnTo>
                        <a:pt x="273" y="63"/>
                      </a:lnTo>
                      <a:lnTo>
                        <a:pt x="280" y="79"/>
                      </a:lnTo>
                      <a:lnTo>
                        <a:pt x="283" y="87"/>
                      </a:lnTo>
                      <a:lnTo>
                        <a:pt x="289" y="94"/>
                      </a:lnTo>
                      <a:lnTo>
                        <a:pt x="294" y="99"/>
                      </a:lnTo>
                      <a:lnTo>
                        <a:pt x="301" y="101"/>
                      </a:lnTo>
                      <a:lnTo>
                        <a:pt x="301" y="101"/>
                      </a:lnTo>
                      <a:lnTo>
                        <a:pt x="308" y="101"/>
                      </a:lnTo>
                      <a:lnTo>
                        <a:pt x="316" y="99"/>
                      </a:lnTo>
                      <a:lnTo>
                        <a:pt x="330" y="96"/>
                      </a:lnTo>
                      <a:lnTo>
                        <a:pt x="337" y="94"/>
                      </a:lnTo>
                      <a:lnTo>
                        <a:pt x="346" y="92"/>
                      </a:lnTo>
                      <a:lnTo>
                        <a:pt x="357" y="94"/>
                      </a:lnTo>
                      <a:lnTo>
                        <a:pt x="367" y="96"/>
                      </a:lnTo>
                      <a:lnTo>
                        <a:pt x="367" y="96"/>
                      </a:lnTo>
                      <a:lnTo>
                        <a:pt x="386" y="105"/>
                      </a:lnTo>
                      <a:lnTo>
                        <a:pt x="393" y="108"/>
                      </a:lnTo>
                      <a:lnTo>
                        <a:pt x="395" y="110"/>
                      </a:lnTo>
                      <a:lnTo>
                        <a:pt x="395" y="113"/>
                      </a:lnTo>
                      <a:lnTo>
                        <a:pt x="393" y="117"/>
                      </a:lnTo>
                      <a:lnTo>
                        <a:pt x="393" y="117"/>
                      </a:lnTo>
                      <a:lnTo>
                        <a:pt x="383" y="136"/>
                      </a:lnTo>
                      <a:lnTo>
                        <a:pt x="374" y="152"/>
                      </a:lnTo>
                      <a:lnTo>
                        <a:pt x="372" y="157"/>
                      </a:lnTo>
                      <a:lnTo>
                        <a:pt x="372" y="160"/>
                      </a:lnTo>
                      <a:lnTo>
                        <a:pt x="372" y="162"/>
                      </a:lnTo>
                      <a:lnTo>
                        <a:pt x="377" y="162"/>
                      </a:lnTo>
                      <a:lnTo>
                        <a:pt x="377" y="162"/>
                      </a:lnTo>
                      <a:lnTo>
                        <a:pt x="383" y="162"/>
                      </a:lnTo>
                      <a:lnTo>
                        <a:pt x="386" y="162"/>
                      </a:lnTo>
                      <a:lnTo>
                        <a:pt x="390" y="164"/>
                      </a:lnTo>
                      <a:lnTo>
                        <a:pt x="391" y="166"/>
                      </a:lnTo>
                      <a:lnTo>
                        <a:pt x="395" y="171"/>
                      </a:lnTo>
                      <a:lnTo>
                        <a:pt x="398" y="178"/>
                      </a:lnTo>
                      <a:lnTo>
                        <a:pt x="398" y="17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1" name="Freeform 1690">
                  <a:extLst>
                    <a:ext uri="{FF2B5EF4-FFF2-40B4-BE49-F238E27FC236}">
                      <a16:creationId xmlns:a16="http://schemas.microsoft.com/office/drawing/2014/main" id="{86FC6E75-8B71-C973-0A7E-39B884B1C3E7}"/>
                    </a:ext>
                  </a:extLst>
                </p:cNvPr>
                <p:cNvSpPr>
                  <a:spLocks/>
                </p:cNvSpPr>
                <p:nvPr/>
              </p:nvSpPr>
              <p:spPr bwMode="auto">
                <a:xfrm>
                  <a:off x="2906639" y="4432484"/>
                  <a:ext cx="160344" cy="216726"/>
                </a:xfrm>
                <a:custGeom>
                  <a:avLst/>
                  <a:gdLst/>
                  <a:ahLst/>
                  <a:cxnLst>
                    <a:cxn ang="0">
                      <a:pos x="73" y="0"/>
                    </a:cxn>
                    <a:cxn ang="0">
                      <a:pos x="106" y="27"/>
                    </a:cxn>
                    <a:cxn ang="0">
                      <a:pos x="111" y="27"/>
                    </a:cxn>
                    <a:cxn ang="0">
                      <a:pos x="115" y="27"/>
                    </a:cxn>
                    <a:cxn ang="0">
                      <a:pos x="122" y="34"/>
                    </a:cxn>
                    <a:cxn ang="0">
                      <a:pos x="123" y="40"/>
                    </a:cxn>
                    <a:cxn ang="0">
                      <a:pos x="129" y="45"/>
                    </a:cxn>
                    <a:cxn ang="0">
                      <a:pos x="153" y="52"/>
                    </a:cxn>
                    <a:cxn ang="0">
                      <a:pos x="158" y="50"/>
                    </a:cxn>
                    <a:cxn ang="0">
                      <a:pos x="160" y="45"/>
                    </a:cxn>
                    <a:cxn ang="0">
                      <a:pos x="163" y="41"/>
                    </a:cxn>
                    <a:cxn ang="0">
                      <a:pos x="170" y="45"/>
                    </a:cxn>
                    <a:cxn ang="0">
                      <a:pos x="174" y="52"/>
                    </a:cxn>
                    <a:cxn ang="0">
                      <a:pos x="184" y="60"/>
                    </a:cxn>
                    <a:cxn ang="0">
                      <a:pos x="198" y="66"/>
                    </a:cxn>
                    <a:cxn ang="0">
                      <a:pos x="198" y="99"/>
                    </a:cxn>
                    <a:cxn ang="0">
                      <a:pos x="183" y="134"/>
                    </a:cxn>
                    <a:cxn ang="0">
                      <a:pos x="174" y="144"/>
                    </a:cxn>
                    <a:cxn ang="0">
                      <a:pos x="137" y="170"/>
                    </a:cxn>
                    <a:cxn ang="0">
                      <a:pos x="111" y="189"/>
                    </a:cxn>
                    <a:cxn ang="0">
                      <a:pos x="92" y="212"/>
                    </a:cxn>
                    <a:cxn ang="0">
                      <a:pos x="87" y="224"/>
                    </a:cxn>
                    <a:cxn ang="0">
                      <a:pos x="80" y="247"/>
                    </a:cxn>
                    <a:cxn ang="0">
                      <a:pos x="76" y="259"/>
                    </a:cxn>
                    <a:cxn ang="0">
                      <a:pos x="71" y="264"/>
                    </a:cxn>
                    <a:cxn ang="0">
                      <a:pos x="61" y="269"/>
                    </a:cxn>
                    <a:cxn ang="0">
                      <a:pos x="55" y="264"/>
                    </a:cxn>
                    <a:cxn ang="0">
                      <a:pos x="47" y="252"/>
                    </a:cxn>
                    <a:cxn ang="0">
                      <a:pos x="40" y="250"/>
                    </a:cxn>
                    <a:cxn ang="0">
                      <a:pos x="22" y="250"/>
                    </a:cxn>
                    <a:cxn ang="0">
                      <a:pos x="19" y="248"/>
                    </a:cxn>
                    <a:cxn ang="0">
                      <a:pos x="15" y="242"/>
                    </a:cxn>
                    <a:cxn ang="0">
                      <a:pos x="17" y="235"/>
                    </a:cxn>
                    <a:cxn ang="0">
                      <a:pos x="26" y="224"/>
                    </a:cxn>
                    <a:cxn ang="0">
                      <a:pos x="24" y="214"/>
                    </a:cxn>
                    <a:cxn ang="0">
                      <a:pos x="21" y="205"/>
                    </a:cxn>
                    <a:cxn ang="0">
                      <a:pos x="29" y="200"/>
                    </a:cxn>
                    <a:cxn ang="0">
                      <a:pos x="35" y="193"/>
                    </a:cxn>
                    <a:cxn ang="0">
                      <a:pos x="36" y="170"/>
                    </a:cxn>
                    <a:cxn ang="0">
                      <a:pos x="36" y="167"/>
                    </a:cxn>
                    <a:cxn ang="0">
                      <a:pos x="31" y="172"/>
                    </a:cxn>
                    <a:cxn ang="0">
                      <a:pos x="24" y="175"/>
                    </a:cxn>
                    <a:cxn ang="0">
                      <a:pos x="12" y="168"/>
                    </a:cxn>
                    <a:cxn ang="0">
                      <a:pos x="3" y="158"/>
                    </a:cxn>
                    <a:cxn ang="0">
                      <a:pos x="3" y="153"/>
                    </a:cxn>
                    <a:cxn ang="0">
                      <a:pos x="5" y="142"/>
                    </a:cxn>
                    <a:cxn ang="0">
                      <a:pos x="1" y="118"/>
                    </a:cxn>
                    <a:cxn ang="0">
                      <a:pos x="0" y="109"/>
                    </a:cxn>
                    <a:cxn ang="0">
                      <a:pos x="5" y="100"/>
                    </a:cxn>
                    <a:cxn ang="0">
                      <a:pos x="12" y="99"/>
                    </a:cxn>
                    <a:cxn ang="0">
                      <a:pos x="17" y="92"/>
                    </a:cxn>
                    <a:cxn ang="0">
                      <a:pos x="17" y="85"/>
                    </a:cxn>
                    <a:cxn ang="0">
                      <a:pos x="19" y="73"/>
                    </a:cxn>
                    <a:cxn ang="0">
                      <a:pos x="28" y="62"/>
                    </a:cxn>
                    <a:cxn ang="0">
                      <a:pos x="31" y="48"/>
                    </a:cxn>
                    <a:cxn ang="0">
                      <a:pos x="31" y="38"/>
                    </a:cxn>
                    <a:cxn ang="0">
                      <a:pos x="31" y="29"/>
                    </a:cxn>
                    <a:cxn ang="0">
                      <a:pos x="43" y="20"/>
                    </a:cxn>
                    <a:cxn ang="0">
                      <a:pos x="61" y="15"/>
                    </a:cxn>
                    <a:cxn ang="0">
                      <a:pos x="73" y="6"/>
                    </a:cxn>
                    <a:cxn ang="0">
                      <a:pos x="73" y="0"/>
                    </a:cxn>
                  </a:cxnLst>
                  <a:rect l="0" t="0" r="r" b="b"/>
                  <a:pathLst>
                    <a:path w="200" h="269">
                      <a:moveTo>
                        <a:pt x="73" y="0"/>
                      </a:moveTo>
                      <a:lnTo>
                        <a:pt x="73" y="0"/>
                      </a:lnTo>
                      <a:lnTo>
                        <a:pt x="101" y="24"/>
                      </a:lnTo>
                      <a:lnTo>
                        <a:pt x="106" y="27"/>
                      </a:lnTo>
                      <a:lnTo>
                        <a:pt x="109" y="27"/>
                      </a:lnTo>
                      <a:lnTo>
                        <a:pt x="111" y="27"/>
                      </a:lnTo>
                      <a:lnTo>
                        <a:pt x="111" y="27"/>
                      </a:lnTo>
                      <a:lnTo>
                        <a:pt x="115" y="27"/>
                      </a:lnTo>
                      <a:lnTo>
                        <a:pt x="118" y="31"/>
                      </a:lnTo>
                      <a:lnTo>
                        <a:pt x="122" y="34"/>
                      </a:lnTo>
                      <a:lnTo>
                        <a:pt x="123" y="40"/>
                      </a:lnTo>
                      <a:lnTo>
                        <a:pt x="123" y="40"/>
                      </a:lnTo>
                      <a:lnTo>
                        <a:pt x="125" y="41"/>
                      </a:lnTo>
                      <a:lnTo>
                        <a:pt x="129" y="45"/>
                      </a:lnTo>
                      <a:lnTo>
                        <a:pt x="141" y="48"/>
                      </a:lnTo>
                      <a:lnTo>
                        <a:pt x="153" y="52"/>
                      </a:lnTo>
                      <a:lnTo>
                        <a:pt x="156" y="50"/>
                      </a:lnTo>
                      <a:lnTo>
                        <a:pt x="158" y="50"/>
                      </a:lnTo>
                      <a:lnTo>
                        <a:pt x="158" y="50"/>
                      </a:lnTo>
                      <a:lnTo>
                        <a:pt x="160" y="45"/>
                      </a:lnTo>
                      <a:lnTo>
                        <a:pt x="162" y="41"/>
                      </a:lnTo>
                      <a:lnTo>
                        <a:pt x="163" y="41"/>
                      </a:lnTo>
                      <a:lnTo>
                        <a:pt x="167" y="43"/>
                      </a:lnTo>
                      <a:lnTo>
                        <a:pt x="170" y="45"/>
                      </a:lnTo>
                      <a:lnTo>
                        <a:pt x="174" y="52"/>
                      </a:lnTo>
                      <a:lnTo>
                        <a:pt x="174" y="52"/>
                      </a:lnTo>
                      <a:lnTo>
                        <a:pt x="179" y="57"/>
                      </a:lnTo>
                      <a:lnTo>
                        <a:pt x="184" y="60"/>
                      </a:lnTo>
                      <a:lnTo>
                        <a:pt x="198" y="66"/>
                      </a:lnTo>
                      <a:lnTo>
                        <a:pt x="198" y="66"/>
                      </a:lnTo>
                      <a:lnTo>
                        <a:pt x="200" y="85"/>
                      </a:lnTo>
                      <a:lnTo>
                        <a:pt x="198" y="99"/>
                      </a:lnTo>
                      <a:lnTo>
                        <a:pt x="193" y="114"/>
                      </a:lnTo>
                      <a:lnTo>
                        <a:pt x="183" y="134"/>
                      </a:lnTo>
                      <a:lnTo>
                        <a:pt x="183" y="134"/>
                      </a:lnTo>
                      <a:lnTo>
                        <a:pt x="174" y="144"/>
                      </a:lnTo>
                      <a:lnTo>
                        <a:pt x="163" y="154"/>
                      </a:lnTo>
                      <a:lnTo>
                        <a:pt x="137" y="170"/>
                      </a:lnTo>
                      <a:lnTo>
                        <a:pt x="123" y="179"/>
                      </a:lnTo>
                      <a:lnTo>
                        <a:pt x="111" y="189"/>
                      </a:lnTo>
                      <a:lnTo>
                        <a:pt x="101" y="200"/>
                      </a:lnTo>
                      <a:lnTo>
                        <a:pt x="92" y="212"/>
                      </a:lnTo>
                      <a:lnTo>
                        <a:pt x="92" y="212"/>
                      </a:lnTo>
                      <a:lnTo>
                        <a:pt x="87" y="224"/>
                      </a:lnTo>
                      <a:lnTo>
                        <a:pt x="83" y="233"/>
                      </a:lnTo>
                      <a:lnTo>
                        <a:pt x="80" y="247"/>
                      </a:lnTo>
                      <a:lnTo>
                        <a:pt x="78" y="255"/>
                      </a:lnTo>
                      <a:lnTo>
                        <a:pt x="76" y="259"/>
                      </a:lnTo>
                      <a:lnTo>
                        <a:pt x="71" y="264"/>
                      </a:lnTo>
                      <a:lnTo>
                        <a:pt x="71" y="264"/>
                      </a:lnTo>
                      <a:lnTo>
                        <a:pt x="66" y="269"/>
                      </a:lnTo>
                      <a:lnTo>
                        <a:pt x="61" y="269"/>
                      </a:lnTo>
                      <a:lnTo>
                        <a:pt x="59" y="268"/>
                      </a:lnTo>
                      <a:lnTo>
                        <a:pt x="55" y="264"/>
                      </a:lnTo>
                      <a:lnTo>
                        <a:pt x="50" y="255"/>
                      </a:lnTo>
                      <a:lnTo>
                        <a:pt x="47" y="252"/>
                      </a:lnTo>
                      <a:lnTo>
                        <a:pt x="40" y="250"/>
                      </a:lnTo>
                      <a:lnTo>
                        <a:pt x="40" y="250"/>
                      </a:lnTo>
                      <a:lnTo>
                        <a:pt x="29" y="248"/>
                      </a:lnTo>
                      <a:lnTo>
                        <a:pt x="22" y="250"/>
                      </a:lnTo>
                      <a:lnTo>
                        <a:pt x="21" y="250"/>
                      </a:lnTo>
                      <a:lnTo>
                        <a:pt x="19" y="248"/>
                      </a:lnTo>
                      <a:lnTo>
                        <a:pt x="15" y="242"/>
                      </a:lnTo>
                      <a:lnTo>
                        <a:pt x="15" y="242"/>
                      </a:lnTo>
                      <a:lnTo>
                        <a:pt x="15" y="238"/>
                      </a:lnTo>
                      <a:lnTo>
                        <a:pt x="17" y="235"/>
                      </a:lnTo>
                      <a:lnTo>
                        <a:pt x="22" y="228"/>
                      </a:lnTo>
                      <a:lnTo>
                        <a:pt x="26" y="224"/>
                      </a:lnTo>
                      <a:lnTo>
                        <a:pt x="26" y="219"/>
                      </a:lnTo>
                      <a:lnTo>
                        <a:pt x="24" y="214"/>
                      </a:lnTo>
                      <a:lnTo>
                        <a:pt x="21" y="205"/>
                      </a:lnTo>
                      <a:lnTo>
                        <a:pt x="21" y="205"/>
                      </a:lnTo>
                      <a:lnTo>
                        <a:pt x="26" y="203"/>
                      </a:lnTo>
                      <a:lnTo>
                        <a:pt x="29" y="200"/>
                      </a:lnTo>
                      <a:lnTo>
                        <a:pt x="33" y="196"/>
                      </a:lnTo>
                      <a:lnTo>
                        <a:pt x="35" y="193"/>
                      </a:lnTo>
                      <a:lnTo>
                        <a:pt x="36" y="182"/>
                      </a:lnTo>
                      <a:lnTo>
                        <a:pt x="36" y="170"/>
                      </a:lnTo>
                      <a:lnTo>
                        <a:pt x="36" y="170"/>
                      </a:lnTo>
                      <a:lnTo>
                        <a:pt x="36" y="167"/>
                      </a:lnTo>
                      <a:lnTo>
                        <a:pt x="35" y="167"/>
                      </a:lnTo>
                      <a:lnTo>
                        <a:pt x="31" y="172"/>
                      </a:lnTo>
                      <a:lnTo>
                        <a:pt x="28" y="174"/>
                      </a:lnTo>
                      <a:lnTo>
                        <a:pt x="24" y="175"/>
                      </a:lnTo>
                      <a:lnTo>
                        <a:pt x="19" y="174"/>
                      </a:lnTo>
                      <a:lnTo>
                        <a:pt x="12" y="168"/>
                      </a:lnTo>
                      <a:lnTo>
                        <a:pt x="12" y="168"/>
                      </a:lnTo>
                      <a:lnTo>
                        <a:pt x="3" y="158"/>
                      </a:lnTo>
                      <a:lnTo>
                        <a:pt x="3" y="156"/>
                      </a:lnTo>
                      <a:lnTo>
                        <a:pt x="3" y="153"/>
                      </a:lnTo>
                      <a:lnTo>
                        <a:pt x="5" y="149"/>
                      </a:lnTo>
                      <a:lnTo>
                        <a:pt x="5" y="142"/>
                      </a:lnTo>
                      <a:lnTo>
                        <a:pt x="5" y="132"/>
                      </a:lnTo>
                      <a:lnTo>
                        <a:pt x="1" y="118"/>
                      </a:lnTo>
                      <a:lnTo>
                        <a:pt x="1" y="118"/>
                      </a:lnTo>
                      <a:lnTo>
                        <a:pt x="0" y="109"/>
                      </a:lnTo>
                      <a:lnTo>
                        <a:pt x="1" y="104"/>
                      </a:lnTo>
                      <a:lnTo>
                        <a:pt x="5" y="100"/>
                      </a:lnTo>
                      <a:lnTo>
                        <a:pt x="8" y="100"/>
                      </a:lnTo>
                      <a:lnTo>
                        <a:pt x="12" y="99"/>
                      </a:lnTo>
                      <a:lnTo>
                        <a:pt x="15" y="97"/>
                      </a:lnTo>
                      <a:lnTo>
                        <a:pt x="17" y="92"/>
                      </a:lnTo>
                      <a:lnTo>
                        <a:pt x="17" y="85"/>
                      </a:lnTo>
                      <a:lnTo>
                        <a:pt x="17" y="85"/>
                      </a:lnTo>
                      <a:lnTo>
                        <a:pt x="17" y="78"/>
                      </a:lnTo>
                      <a:lnTo>
                        <a:pt x="19" y="73"/>
                      </a:lnTo>
                      <a:lnTo>
                        <a:pt x="26" y="66"/>
                      </a:lnTo>
                      <a:lnTo>
                        <a:pt x="28" y="62"/>
                      </a:lnTo>
                      <a:lnTo>
                        <a:pt x="31" y="57"/>
                      </a:lnTo>
                      <a:lnTo>
                        <a:pt x="31" y="48"/>
                      </a:lnTo>
                      <a:lnTo>
                        <a:pt x="31" y="38"/>
                      </a:lnTo>
                      <a:lnTo>
                        <a:pt x="31" y="38"/>
                      </a:lnTo>
                      <a:lnTo>
                        <a:pt x="31" y="34"/>
                      </a:lnTo>
                      <a:lnTo>
                        <a:pt x="31" y="29"/>
                      </a:lnTo>
                      <a:lnTo>
                        <a:pt x="36" y="24"/>
                      </a:lnTo>
                      <a:lnTo>
                        <a:pt x="43" y="20"/>
                      </a:lnTo>
                      <a:lnTo>
                        <a:pt x="52" y="17"/>
                      </a:lnTo>
                      <a:lnTo>
                        <a:pt x="61" y="15"/>
                      </a:lnTo>
                      <a:lnTo>
                        <a:pt x="68" y="12"/>
                      </a:lnTo>
                      <a:lnTo>
                        <a:pt x="73" y="6"/>
                      </a:lnTo>
                      <a:lnTo>
                        <a:pt x="73" y="3"/>
                      </a:lnTo>
                      <a:lnTo>
                        <a:pt x="73" y="0"/>
                      </a:lnTo>
                      <a:lnTo>
                        <a:pt x="7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2" name="Freeform 1691">
                  <a:extLst>
                    <a:ext uri="{FF2B5EF4-FFF2-40B4-BE49-F238E27FC236}">
                      <a16:creationId xmlns:a16="http://schemas.microsoft.com/office/drawing/2014/main" id="{F93B68A3-B3F6-CA4D-E8CB-5006819C7655}"/>
                    </a:ext>
                  </a:extLst>
                </p:cNvPr>
                <p:cNvSpPr>
                  <a:spLocks/>
                </p:cNvSpPr>
                <p:nvPr/>
              </p:nvSpPr>
              <p:spPr bwMode="auto">
                <a:xfrm>
                  <a:off x="2961263" y="4060701"/>
                  <a:ext cx="343591" cy="563841"/>
                </a:xfrm>
                <a:custGeom>
                  <a:avLst/>
                  <a:gdLst/>
                  <a:ahLst/>
                  <a:cxnLst>
                    <a:cxn ang="0">
                      <a:pos x="275" y="5"/>
                    </a:cxn>
                    <a:cxn ang="0">
                      <a:pos x="242" y="7"/>
                    </a:cxn>
                    <a:cxn ang="0">
                      <a:pos x="186" y="45"/>
                    </a:cxn>
                    <a:cxn ang="0">
                      <a:pos x="163" y="55"/>
                    </a:cxn>
                    <a:cxn ang="0">
                      <a:pos x="137" y="57"/>
                    </a:cxn>
                    <a:cxn ang="0">
                      <a:pos x="120" y="106"/>
                    </a:cxn>
                    <a:cxn ang="0">
                      <a:pos x="104" y="127"/>
                    </a:cxn>
                    <a:cxn ang="0">
                      <a:pos x="80" y="155"/>
                    </a:cxn>
                    <a:cxn ang="0">
                      <a:pos x="78" y="186"/>
                    </a:cxn>
                    <a:cxn ang="0">
                      <a:pos x="59" y="177"/>
                    </a:cxn>
                    <a:cxn ang="0">
                      <a:pos x="57" y="196"/>
                    </a:cxn>
                    <a:cxn ang="0">
                      <a:pos x="45" y="200"/>
                    </a:cxn>
                    <a:cxn ang="0">
                      <a:pos x="41" y="222"/>
                    </a:cxn>
                    <a:cxn ang="0">
                      <a:pos x="52" y="243"/>
                    </a:cxn>
                    <a:cxn ang="0">
                      <a:pos x="54" y="270"/>
                    </a:cxn>
                    <a:cxn ang="0">
                      <a:pos x="54" y="289"/>
                    </a:cxn>
                    <a:cxn ang="0">
                      <a:pos x="52" y="353"/>
                    </a:cxn>
                    <a:cxn ang="0">
                      <a:pos x="57" y="386"/>
                    </a:cxn>
                    <a:cxn ang="0">
                      <a:pos x="22" y="419"/>
                    </a:cxn>
                    <a:cxn ang="0">
                      <a:pos x="12" y="444"/>
                    </a:cxn>
                    <a:cxn ang="0">
                      <a:pos x="5" y="465"/>
                    </a:cxn>
                    <a:cxn ang="0">
                      <a:pos x="50" y="496"/>
                    </a:cxn>
                    <a:cxn ang="0">
                      <a:pos x="85" y="517"/>
                    </a:cxn>
                    <a:cxn ang="0">
                      <a:pos x="99" y="508"/>
                    </a:cxn>
                    <a:cxn ang="0">
                      <a:pos x="130" y="531"/>
                    </a:cxn>
                    <a:cxn ang="0">
                      <a:pos x="153" y="541"/>
                    </a:cxn>
                    <a:cxn ang="0">
                      <a:pos x="179" y="576"/>
                    </a:cxn>
                    <a:cxn ang="0">
                      <a:pos x="214" y="626"/>
                    </a:cxn>
                    <a:cxn ang="0">
                      <a:pos x="266" y="619"/>
                    </a:cxn>
                    <a:cxn ang="0">
                      <a:pos x="315" y="640"/>
                    </a:cxn>
                    <a:cxn ang="0">
                      <a:pos x="292" y="689"/>
                    </a:cxn>
                    <a:cxn ang="0">
                      <a:pos x="315" y="698"/>
                    </a:cxn>
                    <a:cxn ang="0">
                      <a:pos x="334" y="599"/>
                    </a:cxn>
                    <a:cxn ang="0">
                      <a:pos x="330" y="555"/>
                    </a:cxn>
                    <a:cxn ang="0">
                      <a:pos x="313" y="510"/>
                    </a:cxn>
                    <a:cxn ang="0">
                      <a:pos x="330" y="496"/>
                    </a:cxn>
                    <a:cxn ang="0">
                      <a:pos x="346" y="499"/>
                    </a:cxn>
                    <a:cxn ang="0">
                      <a:pos x="320" y="452"/>
                    </a:cxn>
                    <a:cxn ang="0">
                      <a:pos x="384" y="449"/>
                    </a:cxn>
                    <a:cxn ang="0">
                      <a:pos x="404" y="435"/>
                    </a:cxn>
                    <a:cxn ang="0">
                      <a:pos x="418" y="473"/>
                    </a:cxn>
                    <a:cxn ang="0">
                      <a:pos x="412" y="424"/>
                    </a:cxn>
                    <a:cxn ang="0">
                      <a:pos x="393" y="409"/>
                    </a:cxn>
                    <a:cxn ang="0">
                      <a:pos x="409" y="384"/>
                    </a:cxn>
                    <a:cxn ang="0">
                      <a:pos x="393" y="346"/>
                    </a:cxn>
                    <a:cxn ang="0">
                      <a:pos x="405" y="263"/>
                    </a:cxn>
                    <a:cxn ang="0">
                      <a:pos x="351" y="268"/>
                    </a:cxn>
                    <a:cxn ang="0">
                      <a:pos x="311" y="231"/>
                    </a:cxn>
                    <a:cxn ang="0">
                      <a:pos x="270" y="228"/>
                    </a:cxn>
                    <a:cxn ang="0">
                      <a:pos x="240" y="217"/>
                    </a:cxn>
                    <a:cxn ang="0">
                      <a:pos x="231" y="191"/>
                    </a:cxn>
                    <a:cxn ang="0">
                      <a:pos x="221" y="158"/>
                    </a:cxn>
                    <a:cxn ang="0">
                      <a:pos x="198" y="135"/>
                    </a:cxn>
                    <a:cxn ang="0">
                      <a:pos x="214" y="88"/>
                    </a:cxn>
                    <a:cxn ang="0">
                      <a:pos x="240" y="45"/>
                    </a:cxn>
                  </a:cxnLst>
                  <a:rect l="0" t="0" r="r" b="b"/>
                  <a:pathLst>
                    <a:path w="426" h="705">
                      <a:moveTo>
                        <a:pt x="271" y="22"/>
                      </a:moveTo>
                      <a:lnTo>
                        <a:pt x="271" y="22"/>
                      </a:lnTo>
                      <a:lnTo>
                        <a:pt x="273" y="19"/>
                      </a:lnTo>
                      <a:lnTo>
                        <a:pt x="277" y="15"/>
                      </a:lnTo>
                      <a:lnTo>
                        <a:pt x="278" y="12"/>
                      </a:lnTo>
                      <a:lnTo>
                        <a:pt x="277" y="8"/>
                      </a:lnTo>
                      <a:lnTo>
                        <a:pt x="275" y="5"/>
                      </a:lnTo>
                      <a:lnTo>
                        <a:pt x="273" y="1"/>
                      </a:lnTo>
                      <a:lnTo>
                        <a:pt x="266" y="0"/>
                      </a:lnTo>
                      <a:lnTo>
                        <a:pt x="259" y="0"/>
                      </a:lnTo>
                      <a:lnTo>
                        <a:pt x="259" y="0"/>
                      </a:lnTo>
                      <a:lnTo>
                        <a:pt x="249" y="1"/>
                      </a:lnTo>
                      <a:lnTo>
                        <a:pt x="245" y="5"/>
                      </a:lnTo>
                      <a:lnTo>
                        <a:pt x="242" y="7"/>
                      </a:lnTo>
                      <a:lnTo>
                        <a:pt x="235" y="15"/>
                      </a:lnTo>
                      <a:lnTo>
                        <a:pt x="229" y="22"/>
                      </a:lnTo>
                      <a:lnTo>
                        <a:pt x="219" y="29"/>
                      </a:lnTo>
                      <a:lnTo>
                        <a:pt x="219" y="29"/>
                      </a:lnTo>
                      <a:lnTo>
                        <a:pt x="205" y="40"/>
                      </a:lnTo>
                      <a:lnTo>
                        <a:pt x="195" y="43"/>
                      </a:lnTo>
                      <a:lnTo>
                        <a:pt x="186" y="45"/>
                      </a:lnTo>
                      <a:lnTo>
                        <a:pt x="179" y="43"/>
                      </a:lnTo>
                      <a:lnTo>
                        <a:pt x="176" y="43"/>
                      </a:lnTo>
                      <a:lnTo>
                        <a:pt x="172" y="41"/>
                      </a:lnTo>
                      <a:lnTo>
                        <a:pt x="169" y="45"/>
                      </a:lnTo>
                      <a:lnTo>
                        <a:pt x="167" y="50"/>
                      </a:lnTo>
                      <a:lnTo>
                        <a:pt x="167" y="50"/>
                      </a:lnTo>
                      <a:lnTo>
                        <a:pt x="163" y="55"/>
                      </a:lnTo>
                      <a:lnTo>
                        <a:pt x="160" y="59"/>
                      </a:lnTo>
                      <a:lnTo>
                        <a:pt x="156" y="57"/>
                      </a:lnTo>
                      <a:lnTo>
                        <a:pt x="151" y="57"/>
                      </a:lnTo>
                      <a:lnTo>
                        <a:pt x="142" y="54"/>
                      </a:lnTo>
                      <a:lnTo>
                        <a:pt x="139" y="54"/>
                      </a:lnTo>
                      <a:lnTo>
                        <a:pt x="137" y="57"/>
                      </a:lnTo>
                      <a:lnTo>
                        <a:pt x="137" y="57"/>
                      </a:lnTo>
                      <a:lnTo>
                        <a:pt x="135" y="62"/>
                      </a:lnTo>
                      <a:lnTo>
                        <a:pt x="134" y="66"/>
                      </a:lnTo>
                      <a:lnTo>
                        <a:pt x="127" y="75"/>
                      </a:lnTo>
                      <a:lnTo>
                        <a:pt x="123" y="80"/>
                      </a:lnTo>
                      <a:lnTo>
                        <a:pt x="122" y="87"/>
                      </a:lnTo>
                      <a:lnTo>
                        <a:pt x="120" y="95"/>
                      </a:lnTo>
                      <a:lnTo>
                        <a:pt x="120" y="106"/>
                      </a:lnTo>
                      <a:lnTo>
                        <a:pt x="120" y="106"/>
                      </a:lnTo>
                      <a:lnTo>
                        <a:pt x="120" y="116"/>
                      </a:lnTo>
                      <a:lnTo>
                        <a:pt x="118" y="122"/>
                      </a:lnTo>
                      <a:lnTo>
                        <a:pt x="115" y="125"/>
                      </a:lnTo>
                      <a:lnTo>
                        <a:pt x="111" y="127"/>
                      </a:lnTo>
                      <a:lnTo>
                        <a:pt x="108" y="127"/>
                      </a:lnTo>
                      <a:lnTo>
                        <a:pt x="104" y="127"/>
                      </a:lnTo>
                      <a:lnTo>
                        <a:pt x="101" y="130"/>
                      </a:lnTo>
                      <a:lnTo>
                        <a:pt x="99" y="135"/>
                      </a:lnTo>
                      <a:lnTo>
                        <a:pt x="99" y="135"/>
                      </a:lnTo>
                      <a:lnTo>
                        <a:pt x="97" y="142"/>
                      </a:lnTo>
                      <a:lnTo>
                        <a:pt x="94" y="148"/>
                      </a:lnTo>
                      <a:lnTo>
                        <a:pt x="83" y="153"/>
                      </a:lnTo>
                      <a:lnTo>
                        <a:pt x="80" y="155"/>
                      </a:lnTo>
                      <a:lnTo>
                        <a:pt x="76" y="158"/>
                      </a:lnTo>
                      <a:lnTo>
                        <a:pt x="75" y="163"/>
                      </a:lnTo>
                      <a:lnTo>
                        <a:pt x="76" y="170"/>
                      </a:lnTo>
                      <a:lnTo>
                        <a:pt x="76" y="170"/>
                      </a:lnTo>
                      <a:lnTo>
                        <a:pt x="78" y="181"/>
                      </a:lnTo>
                      <a:lnTo>
                        <a:pt x="78" y="186"/>
                      </a:lnTo>
                      <a:lnTo>
                        <a:pt x="78" y="186"/>
                      </a:lnTo>
                      <a:lnTo>
                        <a:pt x="78" y="186"/>
                      </a:lnTo>
                      <a:lnTo>
                        <a:pt x="75" y="184"/>
                      </a:lnTo>
                      <a:lnTo>
                        <a:pt x="57" y="158"/>
                      </a:lnTo>
                      <a:lnTo>
                        <a:pt x="57" y="158"/>
                      </a:lnTo>
                      <a:lnTo>
                        <a:pt x="55" y="163"/>
                      </a:lnTo>
                      <a:lnTo>
                        <a:pt x="55" y="169"/>
                      </a:lnTo>
                      <a:lnTo>
                        <a:pt x="59" y="177"/>
                      </a:lnTo>
                      <a:lnTo>
                        <a:pt x="64" y="186"/>
                      </a:lnTo>
                      <a:lnTo>
                        <a:pt x="64" y="189"/>
                      </a:lnTo>
                      <a:lnTo>
                        <a:pt x="61" y="191"/>
                      </a:lnTo>
                      <a:lnTo>
                        <a:pt x="61" y="191"/>
                      </a:lnTo>
                      <a:lnTo>
                        <a:pt x="59" y="191"/>
                      </a:lnTo>
                      <a:lnTo>
                        <a:pt x="57" y="193"/>
                      </a:lnTo>
                      <a:lnTo>
                        <a:pt x="57" y="196"/>
                      </a:lnTo>
                      <a:lnTo>
                        <a:pt x="57" y="200"/>
                      </a:lnTo>
                      <a:lnTo>
                        <a:pt x="54" y="205"/>
                      </a:lnTo>
                      <a:lnTo>
                        <a:pt x="54" y="205"/>
                      </a:lnTo>
                      <a:lnTo>
                        <a:pt x="52" y="205"/>
                      </a:lnTo>
                      <a:lnTo>
                        <a:pt x="50" y="205"/>
                      </a:lnTo>
                      <a:lnTo>
                        <a:pt x="47" y="202"/>
                      </a:lnTo>
                      <a:lnTo>
                        <a:pt x="45" y="200"/>
                      </a:lnTo>
                      <a:lnTo>
                        <a:pt x="43" y="198"/>
                      </a:lnTo>
                      <a:lnTo>
                        <a:pt x="43" y="200"/>
                      </a:lnTo>
                      <a:lnTo>
                        <a:pt x="43" y="200"/>
                      </a:lnTo>
                      <a:lnTo>
                        <a:pt x="40" y="207"/>
                      </a:lnTo>
                      <a:lnTo>
                        <a:pt x="40" y="219"/>
                      </a:lnTo>
                      <a:lnTo>
                        <a:pt x="40" y="219"/>
                      </a:lnTo>
                      <a:lnTo>
                        <a:pt x="41" y="222"/>
                      </a:lnTo>
                      <a:lnTo>
                        <a:pt x="43" y="224"/>
                      </a:lnTo>
                      <a:lnTo>
                        <a:pt x="45" y="226"/>
                      </a:lnTo>
                      <a:lnTo>
                        <a:pt x="47" y="229"/>
                      </a:lnTo>
                      <a:lnTo>
                        <a:pt x="47" y="229"/>
                      </a:lnTo>
                      <a:lnTo>
                        <a:pt x="47" y="238"/>
                      </a:lnTo>
                      <a:lnTo>
                        <a:pt x="48" y="240"/>
                      </a:lnTo>
                      <a:lnTo>
                        <a:pt x="52" y="243"/>
                      </a:lnTo>
                      <a:lnTo>
                        <a:pt x="52" y="243"/>
                      </a:lnTo>
                      <a:lnTo>
                        <a:pt x="55" y="245"/>
                      </a:lnTo>
                      <a:lnTo>
                        <a:pt x="57" y="249"/>
                      </a:lnTo>
                      <a:lnTo>
                        <a:pt x="57" y="252"/>
                      </a:lnTo>
                      <a:lnTo>
                        <a:pt x="55" y="256"/>
                      </a:lnTo>
                      <a:lnTo>
                        <a:pt x="54" y="264"/>
                      </a:lnTo>
                      <a:lnTo>
                        <a:pt x="54" y="270"/>
                      </a:lnTo>
                      <a:lnTo>
                        <a:pt x="55" y="273"/>
                      </a:lnTo>
                      <a:lnTo>
                        <a:pt x="55" y="273"/>
                      </a:lnTo>
                      <a:lnTo>
                        <a:pt x="61" y="278"/>
                      </a:lnTo>
                      <a:lnTo>
                        <a:pt x="61" y="282"/>
                      </a:lnTo>
                      <a:lnTo>
                        <a:pt x="59" y="283"/>
                      </a:lnTo>
                      <a:lnTo>
                        <a:pt x="57" y="287"/>
                      </a:lnTo>
                      <a:lnTo>
                        <a:pt x="54" y="289"/>
                      </a:lnTo>
                      <a:lnTo>
                        <a:pt x="52" y="294"/>
                      </a:lnTo>
                      <a:lnTo>
                        <a:pt x="50" y="301"/>
                      </a:lnTo>
                      <a:lnTo>
                        <a:pt x="52" y="313"/>
                      </a:lnTo>
                      <a:lnTo>
                        <a:pt x="52" y="313"/>
                      </a:lnTo>
                      <a:lnTo>
                        <a:pt x="54" y="325"/>
                      </a:lnTo>
                      <a:lnTo>
                        <a:pt x="54" y="336"/>
                      </a:lnTo>
                      <a:lnTo>
                        <a:pt x="52" y="353"/>
                      </a:lnTo>
                      <a:lnTo>
                        <a:pt x="52" y="364"/>
                      </a:lnTo>
                      <a:lnTo>
                        <a:pt x="54" y="367"/>
                      </a:lnTo>
                      <a:lnTo>
                        <a:pt x="55" y="369"/>
                      </a:lnTo>
                      <a:lnTo>
                        <a:pt x="55" y="369"/>
                      </a:lnTo>
                      <a:lnTo>
                        <a:pt x="57" y="372"/>
                      </a:lnTo>
                      <a:lnTo>
                        <a:pt x="59" y="377"/>
                      </a:lnTo>
                      <a:lnTo>
                        <a:pt x="57" y="386"/>
                      </a:lnTo>
                      <a:lnTo>
                        <a:pt x="54" y="393"/>
                      </a:lnTo>
                      <a:lnTo>
                        <a:pt x="50" y="402"/>
                      </a:lnTo>
                      <a:lnTo>
                        <a:pt x="45" y="411"/>
                      </a:lnTo>
                      <a:lnTo>
                        <a:pt x="40" y="416"/>
                      </a:lnTo>
                      <a:lnTo>
                        <a:pt x="34" y="418"/>
                      </a:lnTo>
                      <a:lnTo>
                        <a:pt x="34" y="418"/>
                      </a:lnTo>
                      <a:lnTo>
                        <a:pt x="22" y="419"/>
                      </a:lnTo>
                      <a:lnTo>
                        <a:pt x="15" y="423"/>
                      </a:lnTo>
                      <a:lnTo>
                        <a:pt x="12" y="424"/>
                      </a:lnTo>
                      <a:lnTo>
                        <a:pt x="10" y="428"/>
                      </a:lnTo>
                      <a:lnTo>
                        <a:pt x="10" y="433"/>
                      </a:lnTo>
                      <a:lnTo>
                        <a:pt x="10" y="438"/>
                      </a:lnTo>
                      <a:lnTo>
                        <a:pt x="10" y="438"/>
                      </a:lnTo>
                      <a:lnTo>
                        <a:pt x="12" y="444"/>
                      </a:lnTo>
                      <a:lnTo>
                        <a:pt x="10" y="445"/>
                      </a:lnTo>
                      <a:lnTo>
                        <a:pt x="3" y="447"/>
                      </a:lnTo>
                      <a:lnTo>
                        <a:pt x="1" y="449"/>
                      </a:lnTo>
                      <a:lnTo>
                        <a:pt x="0" y="452"/>
                      </a:lnTo>
                      <a:lnTo>
                        <a:pt x="1" y="458"/>
                      </a:lnTo>
                      <a:lnTo>
                        <a:pt x="5" y="465"/>
                      </a:lnTo>
                      <a:lnTo>
                        <a:pt x="5" y="465"/>
                      </a:lnTo>
                      <a:lnTo>
                        <a:pt x="33" y="489"/>
                      </a:lnTo>
                      <a:lnTo>
                        <a:pt x="38" y="492"/>
                      </a:lnTo>
                      <a:lnTo>
                        <a:pt x="41" y="492"/>
                      </a:lnTo>
                      <a:lnTo>
                        <a:pt x="43" y="492"/>
                      </a:lnTo>
                      <a:lnTo>
                        <a:pt x="43" y="492"/>
                      </a:lnTo>
                      <a:lnTo>
                        <a:pt x="47" y="492"/>
                      </a:lnTo>
                      <a:lnTo>
                        <a:pt x="50" y="496"/>
                      </a:lnTo>
                      <a:lnTo>
                        <a:pt x="54" y="499"/>
                      </a:lnTo>
                      <a:lnTo>
                        <a:pt x="55" y="505"/>
                      </a:lnTo>
                      <a:lnTo>
                        <a:pt x="55" y="505"/>
                      </a:lnTo>
                      <a:lnTo>
                        <a:pt x="57" y="506"/>
                      </a:lnTo>
                      <a:lnTo>
                        <a:pt x="61" y="510"/>
                      </a:lnTo>
                      <a:lnTo>
                        <a:pt x="73" y="513"/>
                      </a:lnTo>
                      <a:lnTo>
                        <a:pt x="85" y="517"/>
                      </a:lnTo>
                      <a:lnTo>
                        <a:pt x="88" y="515"/>
                      </a:lnTo>
                      <a:lnTo>
                        <a:pt x="90" y="515"/>
                      </a:lnTo>
                      <a:lnTo>
                        <a:pt x="90" y="515"/>
                      </a:lnTo>
                      <a:lnTo>
                        <a:pt x="92" y="510"/>
                      </a:lnTo>
                      <a:lnTo>
                        <a:pt x="94" y="506"/>
                      </a:lnTo>
                      <a:lnTo>
                        <a:pt x="95" y="506"/>
                      </a:lnTo>
                      <a:lnTo>
                        <a:pt x="99" y="508"/>
                      </a:lnTo>
                      <a:lnTo>
                        <a:pt x="102" y="510"/>
                      </a:lnTo>
                      <a:lnTo>
                        <a:pt x="106" y="517"/>
                      </a:lnTo>
                      <a:lnTo>
                        <a:pt x="106" y="517"/>
                      </a:lnTo>
                      <a:lnTo>
                        <a:pt x="111" y="522"/>
                      </a:lnTo>
                      <a:lnTo>
                        <a:pt x="116" y="525"/>
                      </a:lnTo>
                      <a:lnTo>
                        <a:pt x="130" y="531"/>
                      </a:lnTo>
                      <a:lnTo>
                        <a:pt x="130" y="531"/>
                      </a:lnTo>
                      <a:lnTo>
                        <a:pt x="134" y="529"/>
                      </a:lnTo>
                      <a:lnTo>
                        <a:pt x="135" y="527"/>
                      </a:lnTo>
                      <a:lnTo>
                        <a:pt x="141" y="531"/>
                      </a:lnTo>
                      <a:lnTo>
                        <a:pt x="146" y="536"/>
                      </a:lnTo>
                      <a:lnTo>
                        <a:pt x="149" y="539"/>
                      </a:lnTo>
                      <a:lnTo>
                        <a:pt x="153" y="541"/>
                      </a:lnTo>
                      <a:lnTo>
                        <a:pt x="153" y="541"/>
                      </a:lnTo>
                      <a:lnTo>
                        <a:pt x="158" y="545"/>
                      </a:lnTo>
                      <a:lnTo>
                        <a:pt x="162" y="548"/>
                      </a:lnTo>
                      <a:lnTo>
                        <a:pt x="165" y="557"/>
                      </a:lnTo>
                      <a:lnTo>
                        <a:pt x="167" y="562"/>
                      </a:lnTo>
                      <a:lnTo>
                        <a:pt x="169" y="565"/>
                      </a:lnTo>
                      <a:lnTo>
                        <a:pt x="174" y="571"/>
                      </a:lnTo>
                      <a:lnTo>
                        <a:pt x="179" y="576"/>
                      </a:lnTo>
                      <a:lnTo>
                        <a:pt x="179" y="576"/>
                      </a:lnTo>
                      <a:lnTo>
                        <a:pt x="186" y="581"/>
                      </a:lnTo>
                      <a:lnTo>
                        <a:pt x="193" y="590"/>
                      </a:lnTo>
                      <a:lnTo>
                        <a:pt x="200" y="606"/>
                      </a:lnTo>
                      <a:lnTo>
                        <a:pt x="203" y="614"/>
                      </a:lnTo>
                      <a:lnTo>
                        <a:pt x="209" y="621"/>
                      </a:lnTo>
                      <a:lnTo>
                        <a:pt x="214" y="626"/>
                      </a:lnTo>
                      <a:lnTo>
                        <a:pt x="221" y="628"/>
                      </a:lnTo>
                      <a:lnTo>
                        <a:pt x="221" y="628"/>
                      </a:lnTo>
                      <a:lnTo>
                        <a:pt x="228" y="628"/>
                      </a:lnTo>
                      <a:lnTo>
                        <a:pt x="236" y="626"/>
                      </a:lnTo>
                      <a:lnTo>
                        <a:pt x="250" y="623"/>
                      </a:lnTo>
                      <a:lnTo>
                        <a:pt x="257" y="621"/>
                      </a:lnTo>
                      <a:lnTo>
                        <a:pt x="266" y="619"/>
                      </a:lnTo>
                      <a:lnTo>
                        <a:pt x="277" y="621"/>
                      </a:lnTo>
                      <a:lnTo>
                        <a:pt x="287" y="623"/>
                      </a:lnTo>
                      <a:lnTo>
                        <a:pt x="287" y="623"/>
                      </a:lnTo>
                      <a:lnTo>
                        <a:pt x="306" y="632"/>
                      </a:lnTo>
                      <a:lnTo>
                        <a:pt x="313" y="635"/>
                      </a:lnTo>
                      <a:lnTo>
                        <a:pt x="315" y="637"/>
                      </a:lnTo>
                      <a:lnTo>
                        <a:pt x="315" y="640"/>
                      </a:lnTo>
                      <a:lnTo>
                        <a:pt x="313" y="644"/>
                      </a:lnTo>
                      <a:lnTo>
                        <a:pt x="313" y="644"/>
                      </a:lnTo>
                      <a:lnTo>
                        <a:pt x="303" y="663"/>
                      </a:lnTo>
                      <a:lnTo>
                        <a:pt x="294" y="679"/>
                      </a:lnTo>
                      <a:lnTo>
                        <a:pt x="292" y="684"/>
                      </a:lnTo>
                      <a:lnTo>
                        <a:pt x="292" y="687"/>
                      </a:lnTo>
                      <a:lnTo>
                        <a:pt x="292" y="689"/>
                      </a:lnTo>
                      <a:lnTo>
                        <a:pt x="297" y="689"/>
                      </a:lnTo>
                      <a:lnTo>
                        <a:pt x="297" y="689"/>
                      </a:lnTo>
                      <a:lnTo>
                        <a:pt x="303" y="689"/>
                      </a:lnTo>
                      <a:lnTo>
                        <a:pt x="306" y="689"/>
                      </a:lnTo>
                      <a:lnTo>
                        <a:pt x="310" y="691"/>
                      </a:lnTo>
                      <a:lnTo>
                        <a:pt x="311" y="693"/>
                      </a:lnTo>
                      <a:lnTo>
                        <a:pt x="315" y="698"/>
                      </a:lnTo>
                      <a:lnTo>
                        <a:pt x="318" y="705"/>
                      </a:lnTo>
                      <a:lnTo>
                        <a:pt x="318" y="705"/>
                      </a:lnTo>
                      <a:lnTo>
                        <a:pt x="320" y="687"/>
                      </a:lnTo>
                      <a:lnTo>
                        <a:pt x="325" y="658"/>
                      </a:lnTo>
                      <a:lnTo>
                        <a:pt x="330" y="626"/>
                      </a:lnTo>
                      <a:lnTo>
                        <a:pt x="334" y="599"/>
                      </a:lnTo>
                      <a:lnTo>
                        <a:pt x="334" y="599"/>
                      </a:lnTo>
                      <a:lnTo>
                        <a:pt x="336" y="590"/>
                      </a:lnTo>
                      <a:lnTo>
                        <a:pt x="336" y="583"/>
                      </a:lnTo>
                      <a:lnTo>
                        <a:pt x="334" y="572"/>
                      </a:lnTo>
                      <a:lnTo>
                        <a:pt x="330" y="564"/>
                      </a:lnTo>
                      <a:lnTo>
                        <a:pt x="330" y="560"/>
                      </a:lnTo>
                      <a:lnTo>
                        <a:pt x="330" y="555"/>
                      </a:lnTo>
                      <a:lnTo>
                        <a:pt x="330" y="555"/>
                      </a:lnTo>
                      <a:lnTo>
                        <a:pt x="330" y="550"/>
                      </a:lnTo>
                      <a:lnTo>
                        <a:pt x="330" y="548"/>
                      </a:lnTo>
                      <a:lnTo>
                        <a:pt x="325" y="545"/>
                      </a:lnTo>
                      <a:lnTo>
                        <a:pt x="322" y="541"/>
                      </a:lnTo>
                      <a:lnTo>
                        <a:pt x="318" y="536"/>
                      </a:lnTo>
                      <a:lnTo>
                        <a:pt x="315" y="525"/>
                      </a:lnTo>
                      <a:lnTo>
                        <a:pt x="313" y="510"/>
                      </a:lnTo>
                      <a:lnTo>
                        <a:pt x="313" y="510"/>
                      </a:lnTo>
                      <a:lnTo>
                        <a:pt x="313" y="505"/>
                      </a:lnTo>
                      <a:lnTo>
                        <a:pt x="315" y="503"/>
                      </a:lnTo>
                      <a:lnTo>
                        <a:pt x="317" y="499"/>
                      </a:lnTo>
                      <a:lnTo>
                        <a:pt x="320" y="499"/>
                      </a:lnTo>
                      <a:lnTo>
                        <a:pt x="325" y="498"/>
                      </a:lnTo>
                      <a:lnTo>
                        <a:pt x="330" y="496"/>
                      </a:lnTo>
                      <a:lnTo>
                        <a:pt x="330" y="496"/>
                      </a:lnTo>
                      <a:lnTo>
                        <a:pt x="332" y="496"/>
                      </a:lnTo>
                      <a:lnTo>
                        <a:pt x="336" y="496"/>
                      </a:lnTo>
                      <a:lnTo>
                        <a:pt x="344" y="501"/>
                      </a:lnTo>
                      <a:lnTo>
                        <a:pt x="344" y="501"/>
                      </a:lnTo>
                      <a:lnTo>
                        <a:pt x="344" y="501"/>
                      </a:lnTo>
                      <a:lnTo>
                        <a:pt x="346" y="499"/>
                      </a:lnTo>
                      <a:lnTo>
                        <a:pt x="346" y="492"/>
                      </a:lnTo>
                      <a:lnTo>
                        <a:pt x="343" y="485"/>
                      </a:lnTo>
                      <a:lnTo>
                        <a:pt x="339" y="482"/>
                      </a:lnTo>
                      <a:lnTo>
                        <a:pt x="337" y="482"/>
                      </a:lnTo>
                      <a:lnTo>
                        <a:pt x="337" y="482"/>
                      </a:lnTo>
                      <a:lnTo>
                        <a:pt x="322" y="482"/>
                      </a:lnTo>
                      <a:lnTo>
                        <a:pt x="320" y="452"/>
                      </a:lnTo>
                      <a:lnTo>
                        <a:pt x="379" y="452"/>
                      </a:lnTo>
                      <a:lnTo>
                        <a:pt x="379" y="452"/>
                      </a:lnTo>
                      <a:lnTo>
                        <a:pt x="377" y="447"/>
                      </a:lnTo>
                      <a:lnTo>
                        <a:pt x="377" y="442"/>
                      </a:lnTo>
                      <a:lnTo>
                        <a:pt x="377" y="442"/>
                      </a:lnTo>
                      <a:lnTo>
                        <a:pt x="379" y="442"/>
                      </a:lnTo>
                      <a:lnTo>
                        <a:pt x="384" y="449"/>
                      </a:lnTo>
                      <a:lnTo>
                        <a:pt x="384" y="449"/>
                      </a:lnTo>
                      <a:lnTo>
                        <a:pt x="388" y="452"/>
                      </a:lnTo>
                      <a:lnTo>
                        <a:pt x="390" y="452"/>
                      </a:lnTo>
                      <a:lnTo>
                        <a:pt x="393" y="449"/>
                      </a:lnTo>
                      <a:lnTo>
                        <a:pt x="397" y="445"/>
                      </a:lnTo>
                      <a:lnTo>
                        <a:pt x="400" y="438"/>
                      </a:lnTo>
                      <a:lnTo>
                        <a:pt x="404" y="435"/>
                      </a:lnTo>
                      <a:lnTo>
                        <a:pt x="405" y="435"/>
                      </a:lnTo>
                      <a:lnTo>
                        <a:pt x="405" y="435"/>
                      </a:lnTo>
                      <a:lnTo>
                        <a:pt x="412" y="445"/>
                      </a:lnTo>
                      <a:lnTo>
                        <a:pt x="416" y="454"/>
                      </a:lnTo>
                      <a:lnTo>
                        <a:pt x="418" y="461"/>
                      </a:lnTo>
                      <a:lnTo>
                        <a:pt x="418" y="468"/>
                      </a:lnTo>
                      <a:lnTo>
                        <a:pt x="418" y="473"/>
                      </a:lnTo>
                      <a:lnTo>
                        <a:pt x="418" y="477"/>
                      </a:lnTo>
                      <a:lnTo>
                        <a:pt x="421" y="477"/>
                      </a:lnTo>
                      <a:lnTo>
                        <a:pt x="426" y="475"/>
                      </a:lnTo>
                      <a:lnTo>
                        <a:pt x="426" y="475"/>
                      </a:lnTo>
                      <a:lnTo>
                        <a:pt x="419" y="449"/>
                      </a:lnTo>
                      <a:lnTo>
                        <a:pt x="416" y="435"/>
                      </a:lnTo>
                      <a:lnTo>
                        <a:pt x="412" y="424"/>
                      </a:lnTo>
                      <a:lnTo>
                        <a:pt x="407" y="419"/>
                      </a:lnTo>
                      <a:lnTo>
                        <a:pt x="407" y="419"/>
                      </a:lnTo>
                      <a:lnTo>
                        <a:pt x="402" y="414"/>
                      </a:lnTo>
                      <a:lnTo>
                        <a:pt x="400" y="411"/>
                      </a:lnTo>
                      <a:lnTo>
                        <a:pt x="398" y="407"/>
                      </a:lnTo>
                      <a:lnTo>
                        <a:pt x="393" y="409"/>
                      </a:lnTo>
                      <a:lnTo>
                        <a:pt x="393" y="409"/>
                      </a:lnTo>
                      <a:lnTo>
                        <a:pt x="391" y="409"/>
                      </a:lnTo>
                      <a:lnTo>
                        <a:pt x="390" y="407"/>
                      </a:lnTo>
                      <a:lnTo>
                        <a:pt x="390" y="405"/>
                      </a:lnTo>
                      <a:lnTo>
                        <a:pt x="393" y="398"/>
                      </a:lnTo>
                      <a:lnTo>
                        <a:pt x="405" y="388"/>
                      </a:lnTo>
                      <a:lnTo>
                        <a:pt x="405" y="388"/>
                      </a:lnTo>
                      <a:lnTo>
                        <a:pt x="409" y="384"/>
                      </a:lnTo>
                      <a:lnTo>
                        <a:pt x="409" y="381"/>
                      </a:lnTo>
                      <a:lnTo>
                        <a:pt x="409" y="376"/>
                      </a:lnTo>
                      <a:lnTo>
                        <a:pt x="405" y="372"/>
                      </a:lnTo>
                      <a:lnTo>
                        <a:pt x="400" y="362"/>
                      </a:lnTo>
                      <a:lnTo>
                        <a:pt x="397" y="355"/>
                      </a:lnTo>
                      <a:lnTo>
                        <a:pt x="393" y="346"/>
                      </a:lnTo>
                      <a:lnTo>
                        <a:pt x="393" y="346"/>
                      </a:lnTo>
                      <a:lnTo>
                        <a:pt x="391" y="330"/>
                      </a:lnTo>
                      <a:lnTo>
                        <a:pt x="391" y="317"/>
                      </a:lnTo>
                      <a:lnTo>
                        <a:pt x="395" y="303"/>
                      </a:lnTo>
                      <a:lnTo>
                        <a:pt x="398" y="290"/>
                      </a:lnTo>
                      <a:lnTo>
                        <a:pt x="405" y="270"/>
                      </a:lnTo>
                      <a:lnTo>
                        <a:pt x="405" y="264"/>
                      </a:lnTo>
                      <a:lnTo>
                        <a:pt x="405" y="263"/>
                      </a:lnTo>
                      <a:lnTo>
                        <a:pt x="405" y="263"/>
                      </a:lnTo>
                      <a:lnTo>
                        <a:pt x="405" y="263"/>
                      </a:lnTo>
                      <a:lnTo>
                        <a:pt x="395" y="261"/>
                      </a:lnTo>
                      <a:lnTo>
                        <a:pt x="386" y="261"/>
                      </a:lnTo>
                      <a:lnTo>
                        <a:pt x="374" y="263"/>
                      </a:lnTo>
                      <a:lnTo>
                        <a:pt x="360" y="266"/>
                      </a:lnTo>
                      <a:lnTo>
                        <a:pt x="351" y="268"/>
                      </a:lnTo>
                      <a:lnTo>
                        <a:pt x="339" y="268"/>
                      </a:lnTo>
                      <a:lnTo>
                        <a:pt x="339" y="268"/>
                      </a:lnTo>
                      <a:lnTo>
                        <a:pt x="336" y="266"/>
                      </a:lnTo>
                      <a:lnTo>
                        <a:pt x="330" y="261"/>
                      </a:lnTo>
                      <a:lnTo>
                        <a:pt x="324" y="247"/>
                      </a:lnTo>
                      <a:lnTo>
                        <a:pt x="315" y="235"/>
                      </a:lnTo>
                      <a:lnTo>
                        <a:pt x="311" y="231"/>
                      </a:lnTo>
                      <a:lnTo>
                        <a:pt x="308" y="231"/>
                      </a:lnTo>
                      <a:lnTo>
                        <a:pt x="308" y="231"/>
                      </a:lnTo>
                      <a:lnTo>
                        <a:pt x="304" y="231"/>
                      </a:lnTo>
                      <a:lnTo>
                        <a:pt x="301" y="231"/>
                      </a:lnTo>
                      <a:lnTo>
                        <a:pt x="292" y="229"/>
                      </a:lnTo>
                      <a:lnTo>
                        <a:pt x="278" y="228"/>
                      </a:lnTo>
                      <a:lnTo>
                        <a:pt x="270" y="228"/>
                      </a:lnTo>
                      <a:lnTo>
                        <a:pt x="256" y="229"/>
                      </a:lnTo>
                      <a:lnTo>
                        <a:pt x="256" y="229"/>
                      </a:lnTo>
                      <a:lnTo>
                        <a:pt x="249" y="229"/>
                      </a:lnTo>
                      <a:lnTo>
                        <a:pt x="245" y="228"/>
                      </a:lnTo>
                      <a:lnTo>
                        <a:pt x="242" y="226"/>
                      </a:lnTo>
                      <a:lnTo>
                        <a:pt x="242" y="222"/>
                      </a:lnTo>
                      <a:lnTo>
                        <a:pt x="240" y="217"/>
                      </a:lnTo>
                      <a:lnTo>
                        <a:pt x="238" y="214"/>
                      </a:lnTo>
                      <a:lnTo>
                        <a:pt x="235" y="212"/>
                      </a:lnTo>
                      <a:lnTo>
                        <a:pt x="235" y="212"/>
                      </a:lnTo>
                      <a:lnTo>
                        <a:pt x="229" y="210"/>
                      </a:lnTo>
                      <a:lnTo>
                        <a:pt x="228" y="205"/>
                      </a:lnTo>
                      <a:lnTo>
                        <a:pt x="229" y="200"/>
                      </a:lnTo>
                      <a:lnTo>
                        <a:pt x="231" y="191"/>
                      </a:lnTo>
                      <a:lnTo>
                        <a:pt x="233" y="184"/>
                      </a:lnTo>
                      <a:lnTo>
                        <a:pt x="233" y="177"/>
                      </a:lnTo>
                      <a:lnTo>
                        <a:pt x="233" y="172"/>
                      </a:lnTo>
                      <a:lnTo>
                        <a:pt x="228" y="167"/>
                      </a:lnTo>
                      <a:lnTo>
                        <a:pt x="228" y="167"/>
                      </a:lnTo>
                      <a:lnTo>
                        <a:pt x="224" y="163"/>
                      </a:lnTo>
                      <a:lnTo>
                        <a:pt x="221" y="158"/>
                      </a:lnTo>
                      <a:lnTo>
                        <a:pt x="219" y="146"/>
                      </a:lnTo>
                      <a:lnTo>
                        <a:pt x="217" y="139"/>
                      </a:lnTo>
                      <a:lnTo>
                        <a:pt x="214" y="135"/>
                      </a:lnTo>
                      <a:lnTo>
                        <a:pt x="210" y="134"/>
                      </a:lnTo>
                      <a:lnTo>
                        <a:pt x="205" y="135"/>
                      </a:lnTo>
                      <a:lnTo>
                        <a:pt x="205" y="135"/>
                      </a:lnTo>
                      <a:lnTo>
                        <a:pt x="198" y="135"/>
                      </a:lnTo>
                      <a:lnTo>
                        <a:pt x="196" y="135"/>
                      </a:lnTo>
                      <a:lnTo>
                        <a:pt x="196" y="134"/>
                      </a:lnTo>
                      <a:lnTo>
                        <a:pt x="205" y="123"/>
                      </a:lnTo>
                      <a:lnTo>
                        <a:pt x="205" y="123"/>
                      </a:lnTo>
                      <a:lnTo>
                        <a:pt x="209" y="118"/>
                      </a:lnTo>
                      <a:lnTo>
                        <a:pt x="210" y="109"/>
                      </a:lnTo>
                      <a:lnTo>
                        <a:pt x="214" y="88"/>
                      </a:lnTo>
                      <a:lnTo>
                        <a:pt x="217" y="78"/>
                      </a:lnTo>
                      <a:lnTo>
                        <a:pt x="221" y="68"/>
                      </a:lnTo>
                      <a:lnTo>
                        <a:pt x="224" y="59"/>
                      </a:lnTo>
                      <a:lnTo>
                        <a:pt x="231" y="54"/>
                      </a:lnTo>
                      <a:lnTo>
                        <a:pt x="231" y="54"/>
                      </a:lnTo>
                      <a:lnTo>
                        <a:pt x="236" y="48"/>
                      </a:lnTo>
                      <a:lnTo>
                        <a:pt x="240" y="45"/>
                      </a:lnTo>
                      <a:lnTo>
                        <a:pt x="242" y="36"/>
                      </a:lnTo>
                      <a:lnTo>
                        <a:pt x="243" y="33"/>
                      </a:lnTo>
                      <a:lnTo>
                        <a:pt x="249" y="29"/>
                      </a:lnTo>
                      <a:lnTo>
                        <a:pt x="257" y="26"/>
                      </a:lnTo>
                      <a:lnTo>
                        <a:pt x="271" y="22"/>
                      </a:lnTo>
                      <a:lnTo>
                        <a:pt x="271" y="2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3" name="Freeform 1692">
                  <a:extLst>
                    <a:ext uri="{FF2B5EF4-FFF2-40B4-BE49-F238E27FC236}">
                      <a16:creationId xmlns:a16="http://schemas.microsoft.com/office/drawing/2014/main" id="{0D7FDB0B-5347-4D11-F43B-6EA27BA37E35}"/>
                    </a:ext>
                  </a:extLst>
                </p:cNvPr>
                <p:cNvSpPr>
                  <a:spLocks/>
                </p:cNvSpPr>
                <p:nvPr/>
              </p:nvSpPr>
              <p:spPr bwMode="auto">
                <a:xfrm>
                  <a:off x="3119843" y="4062463"/>
                  <a:ext cx="380593" cy="394688"/>
                </a:xfrm>
                <a:custGeom>
                  <a:avLst/>
                  <a:gdLst/>
                  <a:ahLst/>
                  <a:cxnLst>
                    <a:cxn ang="0">
                      <a:pos x="444" y="318"/>
                    </a:cxn>
                    <a:cxn ang="0">
                      <a:pos x="385" y="345"/>
                    </a:cxn>
                    <a:cxn ang="0">
                      <a:pos x="377" y="364"/>
                    </a:cxn>
                    <a:cxn ang="0">
                      <a:pos x="321" y="346"/>
                    </a:cxn>
                    <a:cxn ang="0">
                      <a:pos x="310" y="353"/>
                    </a:cxn>
                    <a:cxn ang="0">
                      <a:pos x="335" y="416"/>
                    </a:cxn>
                    <a:cxn ang="0">
                      <a:pos x="352" y="416"/>
                    </a:cxn>
                    <a:cxn ang="0">
                      <a:pos x="340" y="433"/>
                    </a:cxn>
                    <a:cxn ang="0">
                      <a:pos x="323" y="461"/>
                    </a:cxn>
                    <a:cxn ang="0">
                      <a:pos x="289" y="482"/>
                    </a:cxn>
                    <a:cxn ang="0">
                      <a:pos x="262" y="487"/>
                    </a:cxn>
                    <a:cxn ang="0">
                      <a:pos x="230" y="470"/>
                    </a:cxn>
                    <a:cxn ang="0">
                      <a:pos x="206" y="409"/>
                    </a:cxn>
                    <a:cxn ang="0">
                      <a:pos x="194" y="402"/>
                    </a:cxn>
                    <a:cxn ang="0">
                      <a:pos x="213" y="376"/>
                    </a:cxn>
                    <a:cxn ang="0">
                      <a:pos x="197" y="341"/>
                    </a:cxn>
                    <a:cxn ang="0">
                      <a:pos x="209" y="259"/>
                    </a:cxn>
                    <a:cxn ang="0">
                      <a:pos x="178" y="258"/>
                    </a:cxn>
                    <a:cxn ang="0">
                      <a:pos x="134" y="256"/>
                    </a:cxn>
                    <a:cxn ang="0">
                      <a:pos x="108" y="226"/>
                    </a:cxn>
                    <a:cxn ang="0">
                      <a:pos x="60" y="224"/>
                    </a:cxn>
                    <a:cxn ang="0">
                      <a:pos x="42" y="209"/>
                    </a:cxn>
                    <a:cxn ang="0">
                      <a:pos x="35" y="186"/>
                    </a:cxn>
                    <a:cxn ang="0">
                      <a:pos x="28" y="158"/>
                    </a:cxn>
                    <a:cxn ang="0">
                      <a:pos x="9" y="130"/>
                    </a:cxn>
                    <a:cxn ang="0">
                      <a:pos x="9" y="118"/>
                    </a:cxn>
                    <a:cxn ang="0">
                      <a:pos x="28" y="54"/>
                    </a:cxn>
                    <a:cxn ang="0">
                      <a:pos x="47" y="28"/>
                    </a:cxn>
                    <a:cxn ang="0">
                      <a:pos x="56" y="28"/>
                    </a:cxn>
                    <a:cxn ang="0">
                      <a:pos x="60" y="50"/>
                    </a:cxn>
                    <a:cxn ang="0">
                      <a:pos x="75" y="56"/>
                    </a:cxn>
                    <a:cxn ang="0">
                      <a:pos x="117" y="38"/>
                    </a:cxn>
                    <a:cxn ang="0">
                      <a:pos x="110" y="14"/>
                    </a:cxn>
                    <a:cxn ang="0">
                      <a:pos x="131" y="14"/>
                    </a:cxn>
                    <a:cxn ang="0">
                      <a:pos x="166" y="38"/>
                    </a:cxn>
                    <a:cxn ang="0">
                      <a:pos x="181" y="71"/>
                    </a:cxn>
                    <a:cxn ang="0">
                      <a:pos x="241" y="68"/>
                    </a:cxn>
                    <a:cxn ang="0">
                      <a:pos x="267" y="83"/>
                    </a:cxn>
                    <a:cxn ang="0">
                      <a:pos x="312" y="83"/>
                    </a:cxn>
                    <a:cxn ang="0">
                      <a:pos x="323" y="70"/>
                    </a:cxn>
                    <a:cxn ang="0">
                      <a:pos x="373" y="61"/>
                    </a:cxn>
                    <a:cxn ang="0">
                      <a:pos x="397" y="71"/>
                    </a:cxn>
                    <a:cxn ang="0">
                      <a:pos x="378" y="85"/>
                    </a:cxn>
                    <a:cxn ang="0">
                      <a:pos x="406" y="104"/>
                    </a:cxn>
                    <a:cxn ang="0">
                      <a:pos x="430" y="115"/>
                    </a:cxn>
                    <a:cxn ang="0">
                      <a:pos x="439" y="130"/>
                    </a:cxn>
                    <a:cxn ang="0">
                      <a:pos x="427" y="155"/>
                    </a:cxn>
                    <a:cxn ang="0">
                      <a:pos x="446" y="158"/>
                    </a:cxn>
                    <a:cxn ang="0">
                      <a:pos x="476" y="174"/>
                    </a:cxn>
                    <a:cxn ang="0">
                      <a:pos x="446" y="197"/>
                    </a:cxn>
                    <a:cxn ang="0">
                      <a:pos x="460" y="219"/>
                    </a:cxn>
                    <a:cxn ang="0">
                      <a:pos x="434" y="237"/>
                    </a:cxn>
                    <a:cxn ang="0">
                      <a:pos x="430" y="258"/>
                    </a:cxn>
                    <a:cxn ang="0">
                      <a:pos x="446" y="301"/>
                    </a:cxn>
                  </a:cxnLst>
                  <a:rect l="0" t="0" r="r" b="b"/>
                  <a:pathLst>
                    <a:path w="476" h="491">
                      <a:moveTo>
                        <a:pt x="446" y="301"/>
                      </a:moveTo>
                      <a:lnTo>
                        <a:pt x="446" y="301"/>
                      </a:lnTo>
                      <a:lnTo>
                        <a:pt x="448" y="306"/>
                      </a:lnTo>
                      <a:lnTo>
                        <a:pt x="448" y="310"/>
                      </a:lnTo>
                      <a:lnTo>
                        <a:pt x="446" y="315"/>
                      </a:lnTo>
                      <a:lnTo>
                        <a:pt x="444" y="318"/>
                      </a:lnTo>
                      <a:lnTo>
                        <a:pt x="437" y="327"/>
                      </a:lnTo>
                      <a:lnTo>
                        <a:pt x="427" y="334"/>
                      </a:lnTo>
                      <a:lnTo>
                        <a:pt x="417" y="339"/>
                      </a:lnTo>
                      <a:lnTo>
                        <a:pt x="404" y="343"/>
                      </a:lnTo>
                      <a:lnTo>
                        <a:pt x="394" y="345"/>
                      </a:lnTo>
                      <a:lnTo>
                        <a:pt x="385" y="345"/>
                      </a:lnTo>
                      <a:lnTo>
                        <a:pt x="385" y="345"/>
                      </a:lnTo>
                      <a:lnTo>
                        <a:pt x="380" y="346"/>
                      </a:lnTo>
                      <a:lnTo>
                        <a:pt x="378" y="350"/>
                      </a:lnTo>
                      <a:lnTo>
                        <a:pt x="377" y="353"/>
                      </a:lnTo>
                      <a:lnTo>
                        <a:pt x="377" y="359"/>
                      </a:lnTo>
                      <a:lnTo>
                        <a:pt x="377" y="364"/>
                      </a:lnTo>
                      <a:lnTo>
                        <a:pt x="375" y="367"/>
                      </a:lnTo>
                      <a:lnTo>
                        <a:pt x="370" y="367"/>
                      </a:lnTo>
                      <a:lnTo>
                        <a:pt x="363" y="364"/>
                      </a:lnTo>
                      <a:lnTo>
                        <a:pt x="363" y="364"/>
                      </a:lnTo>
                      <a:lnTo>
                        <a:pt x="340" y="353"/>
                      </a:lnTo>
                      <a:lnTo>
                        <a:pt x="321" y="346"/>
                      </a:lnTo>
                      <a:lnTo>
                        <a:pt x="314" y="345"/>
                      </a:lnTo>
                      <a:lnTo>
                        <a:pt x="309" y="346"/>
                      </a:lnTo>
                      <a:lnTo>
                        <a:pt x="307" y="346"/>
                      </a:lnTo>
                      <a:lnTo>
                        <a:pt x="307" y="348"/>
                      </a:lnTo>
                      <a:lnTo>
                        <a:pt x="310" y="353"/>
                      </a:lnTo>
                      <a:lnTo>
                        <a:pt x="310" y="353"/>
                      </a:lnTo>
                      <a:lnTo>
                        <a:pt x="316" y="362"/>
                      </a:lnTo>
                      <a:lnTo>
                        <a:pt x="319" y="372"/>
                      </a:lnTo>
                      <a:lnTo>
                        <a:pt x="324" y="393"/>
                      </a:lnTo>
                      <a:lnTo>
                        <a:pt x="328" y="404"/>
                      </a:lnTo>
                      <a:lnTo>
                        <a:pt x="331" y="411"/>
                      </a:lnTo>
                      <a:lnTo>
                        <a:pt x="335" y="416"/>
                      </a:lnTo>
                      <a:lnTo>
                        <a:pt x="336" y="416"/>
                      </a:lnTo>
                      <a:lnTo>
                        <a:pt x="340" y="416"/>
                      </a:lnTo>
                      <a:lnTo>
                        <a:pt x="340" y="416"/>
                      </a:lnTo>
                      <a:lnTo>
                        <a:pt x="345" y="414"/>
                      </a:lnTo>
                      <a:lnTo>
                        <a:pt x="349" y="416"/>
                      </a:lnTo>
                      <a:lnTo>
                        <a:pt x="352" y="416"/>
                      </a:lnTo>
                      <a:lnTo>
                        <a:pt x="352" y="419"/>
                      </a:lnTo>
                      <a:lnTo>
                        <a:pt x="352" y="423"/>
                      </a:lnTo>
                      <a:lnTo>
                        <a:pt x="350" y="426"/>
                      </a:lnTo>
                      <a:lnTo>
                        <a:pt x="345" y="430"/>
                      </a:lnTo>
                      <a:lnTo>
                        <a:pt x="340" y="433"/>
                      </a:lnTo>
                      <a:lnTo>
                        <a:pt x="340" y="433"/>
                      </a:lnTo>
                      <a:lnTo>
                        <a:pt x="333" y="439"/>
                      </a:lnTo>
                      <a:lnTo>
                        <a:pt x="331" y="442"/>
                      </a:lnTo>
                      <a:lnTo>
                        <a:pt x="329" y="451"/>
                      </a:lnTo>
                      <a:lnTo>
                        <a:pt x="328" y="454"/>
                      </a:lnTo>
                      <a:lnTo>
                        <a:pt x="326" y="458"/>
                      </a:lnTo>
                      <a:lnTo>
                        <a:pt x="323" y="461"/>
                      </a:lnTo>
                      <a:lnTo>
                        <a:pt x="314" y="465"/>
                      </a:lnTo>
                      <a:lnTo>
                        <a:pt x="314" y="465"/>
                      </a:lnTo>
                      <a:lnTo>
                        <a:pt x="305" y="466"/>
                      </a:lnTo>
                      <a:lnTo>
                        <a:pt x="298" y="472"/>
                      </a:lnTo>
                      <a:lnTo>
                        <a:pt x="293" y="477"/>
                      </a:lnTo>
                      <a:lnTo>
                        <a:pt x="289" y="482"/>
                      </a:lnTo>
                      <a:lnTo>
                        <a:pt x="286" y="486"/>
                      </a:lnTo>
                      <a:lnTo>
                        <a:pt x="282" y="489"/>
                      </a:lnTo>
                      <a:lnTo>
                        <a:pt x="279" y="491"/>
                      </a:lnTo>
                      <a:lnTo>
                        <a:pt x="274" y="491"/>
                      </a:lnTo>
                      <a:lnTo>
                        <a:pt x="274" y="491"/>
                      </a:lnTo>
                      <a:lnTo>
                        <a:pt x="262" y="487"/>
                      </a:lnTo>
                      <a:lnTo>
                        <a:pt x="251" y="486"/>
                      </a:lnTo>
                      <a:lnTo>
                        <a:pt x="244" y="484"/>
                      </a:lnTo>
                      <a:lnTo>
                        <a:pt x="239" y="482"/>
                      </a:lnTo>
                      <a:lnTo>
                        <a:pt x="234" y="477"/>
                      </a:lnTo>
                      <a:lnTo>
                        <a:pt x="230" y="470"/>
                      </a:lnTo>
                      <a:lnTo>
                        <a:pt x="230" y="470"/>
                      </a:lnTo>
                      <a:lnTo>
                        <a:pt x="223" y="444"/>
                      </a:lnTo>
                      <a:lnTo>
                        <a:pt x="220" y="430"/>
                      </a:lnTo>
                      <a:lnTo>
                        <a:pt x="216" y="419"/>
                      </a:lnTo>
                      <a:lnTo>
                        <a:pt x="211" y="414"/>
                      </a:lnTo>
                      <a:lnTo>
                        <a:pt x="211" y="414"/>
                      </a:lnTo>
                      <a:lnTo>
                        <a:pt x="206" y="409"/>
                      </a:lnTo>
                      <a:lnTo>
                        <a:pt x="204" y="406"/>
                      </a:lnTo>
                      <a:lnTo>
                        <a:pt x="202" y="402"/>
                      </a:lnTo>
                      <a:lnTo>
                        <a:pt x="197" y="404"/>
                      </a:lnTo>
                      <a:lnTo>
                        <a:pt x="197" y="404"/>
                      </a:lnTo>
                      <a:lnTo>
                        <a:pt x="195" y="404"/>
                      </a:lnTo>
                      <a:lnTo>
                        <a:pt x="194" y="402"/>
                      </a:lnTo>
                      <a:lnTo>
                        <a:pt x="194" y="400"/>
                      </a:lnTo>
                      <a:lnTo>
                        <a:pt x="197" y="393"/>
                      </a:lnTo>
                      <a:lnTo>
                        <a:pt x="209" y="383"/>
                      </a:lnTo>
                      <a:lnTo>
                        <a:pt x="209" y="383"/>
                      </a:lnTo>
                      <a:lnTo>
                        <a:pt x="213" y="379"/>
                      </a:lnTo>
                      <a:lnTo>
                        <a:pt x="213" y="376"/>
                      </a:lnTo>
                      <a:lnTo>
                        <a:pt x="213" y="371"/>
                      </a:lnTo>
                      <a:lnTo>
                        <a:pt x="209" y="367"/>
                      </a:lnTo>
                      <a:lnTo>
                        <a:pt x="204" y="357"/>
                      </a:lnTo>
                      <a:lnTo>
                        <a:pt x="201" y="350"/>
                      </a:lnTo>
                      <a:lnTo>
                        <a:pt x="197" y="341"/>
                      </a:lnTo>
                      <a:lnTo>
                        <a:pt x="197" y="341"/>
                      </a:lnTo>
                      <a:lnTo>
                        <a:pt x="195" y="325"/>
                      </a:lnTo>
                      <a:lnTo>
                        <a:pt x="195" y="312"/>
                      </a:lnTo>
                      <a:lnTo>
                        <a:pt x="199" y="298"/>
                      </a:lnTo>
                      <a:lnTo>
                        <a:pt x="202" y="285"/>
                      </a:lnTo>
                      <a:lnTo>
                        <a:pt x="209" y="265"/>
                      </a:lnTo>
                      <a:lnTo>
                        <a:pt x="209" y="259"/>
                      </a:lnTo>
                      <a:lnTo>
                        <a:pt x="209" y="258"/>
                      </a:lnTo>
                      <a:lnTo>
                        <a:pt x="209" y="258"/>
                      </a:lnTo>
                      <a:lnTo>
                        <a:pt x="209" y="258"/>
                      </a:lnTo>
                      <a:lnTo>
                        <a:pt x="199" y="256"/>
                      </a:lnTo>
                      <a:lnTo>
                        <a:pt x="190" y="256"/>
                      </a:lnTo>
                      <a:lnTo>
                        <a:pt x="178" y="258"/>
                      </a:lnTo>
                      <a:lnTo>
                        <a:pt x="164" y="261"/>
                      </a:lnTo>
                      <a:lnTo>
                        <a:pt x="155" y="263"/>
                      </a:lnTo>
                      <a:lnTo>
                        <a:pt x="143" y="263"/>
                      </a:lnTo>
                      <a:lnTo>
                        <a:pt x="143" y="263"/>
                      </a:lnTo>
                      <a:lnTo>
                        <a:pt x="140" y="261"/>
                      </a:lnTo>
                      <a:lnTo>
                        <a:pt x="134" y="256"/>
                      </a:lnTo>
                      <a:lnTo>
                        <a:pt x="128" y="242"/>
                      </a:lnTo>
                      <a:lnTo>
                        <a:pt x="119" y="230"/>
                      </a:lnTo>
                      <a:lnTo>
                        <a:pt x="115" y="226"/>
                      </a:lnTo>
                      <a:lnTo>
                        <a:pt x="112" y="226"/>
                      </a:lnTo>
                      <a:lnTo>
                        <a:pt x="112" y="226"/>
                      </a:lnTo>
                      <a:lnTo>
                        <a:pt x="108" y="226"/>
                      </a:lnTo>
                      <a:lnTo>
                        <a:pt x="105" y="226"/>
                      </a:lnTo>
                      <a:lnTo>
                        <a:pt x="96" y="224"/>
                      </a:lnTo>
                      <a:lnTo>
                        <a:pt x="82" y="223"/>
                      </a:lnTo>
                      <a:lnTo>
                        <a:pt x="74" y="223"/>
                      </a:lnTo>
                      <a:lnTo>
                        <a:pt x="60" y="224"/>
                      </a:lnTo>
                      <a:lnTo>
                        <a:pt x="60" y="224"/>
                      </a:lnTo>
                      <a:lnTo>
                        <a:pt x="53" y="224"/>
                      </a:lnTo>
                      <a:lnTo>
                        <a:pt x="49" y="223"/>
                      </a:lnTo>
                      <a:lnTo>
                        <a:pt x="46" y="221"/>
                      </a:lnTo>
                      <a:lnTo>
                        <a:pt x="46" y="217"/>
                      </a:lnTo>
                      <a:lnTo>
                        <a:pt x="44" y="212"/>
                      </a:lnTo>
                      <a:lnTo>
                        <a:pt x="42" y="209"/>
                      </a:lnTo>
                      <a:lnTo>
                        <a:pt x="39" y="207"/>
                      </a:lnTo>
                      <a:lnTo>
                        <a:pt x="39" y="207"/>
                      </a:lnTo>
                      <a:lnTo>
                        <a:pt x="33" y="205"/>
                      </a:lnTo>
                      <a:lnTo>
                        <a:pt x="32" y="200"/>
                      </a:lnTo>
                      <a:lnTo>
                        <a:pt x="33" y="195"/>
                      </a:lnTo>
                      <a:lnTo>
                        <a:pt x="35" y="186"/>
                      </a:lnTo>
                      <a:lnTo>
                        <a:pt x="37" y="179"/>
                      </a:lnTo>
                      <a:lnTo>
                        <a:pt x="37" y="172"/>
                      </a:lnTo>
                      <a:lnTo>
                        <a:pt x="37" y="167"/>
                      </a:lnTo>
                      <a:lnTo>
                        <a:pt x="32" y="162"/>
                      </a:lnTo>
                      <a:lnTo>
                        <a:pt x="32" y="162"/>
                      </a:lnTo>
                      <a:lnTo>
                        <a:pt x="28" y="158"/>
                      </a:lnTo>
                      <a:lnTo>
                        <a:pt x="25" y="153"/>
                      </a:lnTo>
                      <a:lnTo>
                        <a:pt x="23" y="141"/>
                      </a:lnTo>
                      <a:lnTo>
                        <a:pt x="21" y="134"/>
                      </a:lnTo>
                      <a:lnTo>
                        <a:pt x="18" y="130"/>
                      </a:lnTo>
                      <a:lnTo>
                        <a:pt x="14" y="129"/>
                      </a:lnTo>
                      <a:lnTo>
                        <a:pt x="9" y="130"/>
                      </a:lnTo>
                      <a:lnTo>
                        <a:pt x="9" y="130"/>
                      </a:lnTo>
                      <a:lnTo>
                        <a:pt x="2" y="130"/>
                      </a:lnTo>
                      <a:lnTo>
                        <a:pt x="0" y="130"/>
                      </a:lnTo>
                      <a:lnTo>
                        <a:pt x="0" y="129"/>
                      </a:lnTo>
                      <a:lnTo>
                        <a:pt x="9" y="118"/>
                      </a:lnTo>
                      <a:lnTo>
                        <a:pt x="9" y="118"/>
                      </a:lnTo>
                      <a:lnTo>
                        <a:pt x="13" y="113"/>
                      </a:lnTo>
                      <a:lnTo>
                        <a:pt x="14" y="104"/>
                      </a:lnTo>
                      <a:lnTo>
                        <a:pt x="18" y="83"/>
                      </a:lnTo>
                      <a:lnTo>
                        <a:pt x="21" y="73"/>
                      </a:lnTo>
                      <a:lnTo>
                        <a:pt x="25" y="63"/>
                      </a:lnTo>
                      <a:lnTo>
                        <a:pt x="28" y="54"/>
                      </a:lnTo>
                      <a:lnTo>
                        <a:pt x="35" y="49"/>
                      </a:lnTo>
                      <a:lnTo>
                        <a:pt x="35" y="49"/>
                      </a:lnTo>
                      <a:lnTo>
                        <a:pt x="40" y="43"/>
                      </a:lnTo>
                      <a:lnTo>
                        <a:pt x="44" y="40"/>
                      </a:lnTo>
                      <a:lnTo>
                        <a:pt x="46" y="31"/>
                      </a:lnTo>
                      <a:lnTo>
                        <a:pt x="47" y="28"/>
                      </a:lnTo>
                      <a:lnTo>
                        <a:pt x="53" y="24"/>
                      </a:lnTo>
                      <a:lnTo>
                        <a:pt x="61" y="21"/>
                      </a:lnTo>
                      <a:lnTo>
                        <a:pt x="74" y="17"/>
                      </a:lnTo>
                      <a:lnTo>
                        <a:pt x="74" y="17"/>
                      </a:lnTo>
                      <a:lnTo>
                        <a:pt x="65" y="22"/>
                      </a:lnTo>
                      <a:lnTo>
                        <a:pt x="56" y="28"/>
                      </a:lnTo>
                      <a:lnTo>
                        <a:pt x="53" y="31"/>
                      </a:lnTo>
                      <a:lnTo>
                        <a:pt x="51" y="35"/>
                      </a:lnTo>
                      <a:lnTo>
                        <a:pt x="53" y="40"/>
                      </a:lnTo>
                      <a:lnTo>
                        <a:pt x="56" y="43"/>
                      </a:lnTo>
                      <a:lnTo>
                        <a:pt x="56" y="43"/>
                      </a:lnTo>
                      <a:lnTo>
                        <a:pt x="60" y="50"/>
                      </a:lnTo>
                      <a:lnTo>
                        <a:pt x="63" y="57"/>
                      </a:lnTo>
                      <a:lnTo>
                        <a:pt x="63" y="57"/>
                      </a:lnTo>
                      <a:lnTo>
                        <a:pt x="63" y="63"/>
                      </a:lnTo>
                      <a:lnTo>
                        <a:pt x="65" y="64"/>
                      </a:lnTo>
                      <a:lnTo>
                        <a:pt x="70" y="59"/>
                      </a:lnTo>
                      <a:lnTo>
                        <a:pt x="75" y="56"/>
                      </a:lnTo>
                      <a:lnTo>
                        <a:pt x="81" y="50"/>
                      </a:lnTo>
                      <a:lnTo>
                        <a:pt x="89" y="47"/>
                      </a:lnTo>
                      <a:lnTo>
                        <a:pt x="100" y="43"/>
                      </a:lnTo>
                      <a:lnTo>
                        <a:pt x="100" y="43"/>
                      </a:lnTo>
                      <a:lnTo>
                        <a:pt x="114" y="40"/>
                      </a:lnTo>
                      <a:lnTo>
                        <a:pt x="117" y="38"/>
                      </a:lnTo>
                      <a:lnTo>
                        <a:pt x="117" y="35"/>
                      </a:lnTo>
                      <a:lnTo>
                        <a:pt x="115" y="29"/>
                      </a:lnTo>
                      <a:lnTo>
                        <a:pt x="110" y="22"/>
                      </a:lnTo>
                      <a:lnTo>
                        <a:pt x="110" y="22"/>
                      </a:lnTo>
                      <a:lnTo>
                        <a:pt x="110" y="19"/>
                      </a:lnTo>
                      <a:lnTo>
                        <a:pt x="110" y="14"/>
                      </a:lnTo>
                      <a:lnTo>
                        <a:pt x="114" y="9"/>
                      </a:lnTo>
                      <a:lnTo>
                        <a:pt x="115" y="3"/>
                      </a:lnTo>
                      <a:lnTo>
                        <a:pt x="119" y="0"/>
                      </a:lnTo>
                      <a:lnTo>
                        <a:pt x="124" y="0"/>
                      </a:lnTo>
                      <a:lnTo>
                        <a:pt x="128" y="5"/>
                      </a:lnTo>
                      <a:lnTo>
                        <a:pt x="131" y="14"/>
                      </a:lnTo>
                      <a:lnTo>
                        <a:pt x="131" y="14"/>
                      </a:lnTo>
                      <a:lnTo>
                        <a:pt x="136" y="22"/>
                      </a:lnTo>
                      <a:lnTo>
                        <a:pt x="143" y="28"/>
                      </a:lnTo>
                      <a:lnTo>
                        <a:pt x="150" y="33"/>
                      </a:lnTo>
                      <a:lnTo>
                        <a:pt x="159" y="35"/>
                      </a:lnTo>
                      <a:lnTo>
                        <a:pt x="166" y="38"/>
                      </a:lnTo>
                      <a:lnTo>
                        <a:pt x="173" y="42"/>
                      </a:lnTo>
                      <a:lnTo>
                        <a:pt x="178" y="50"/>
                      </a:lnTo>
                      <a:lnTo>
                        <a:pt x="180" y="61"/>
                      </a:lnTo>
                      <a:lnTo>
                        <a:pt x="180" y="61"/>
                      </a:lnTo>
                      <a:lnTo>
                        <a:pt x="180" y="68"/>
                      </a:lnTo>
                      <a:lnTo>
                        <a:pt x="181" y="71"/>
                      </a:lnTo>
                      <a:lnTo>
                        <a:pt x="185" y="75"/>
                      </a:lnTo>
                      <a:lnTo>
                        <a:pt x="190" y="76"/>
                      </a:lnTo>
                      <a:lnTo>
                        <a:pt x="201" y="75"/>
                      </a:lnTo>
                      <a:lnTo>
                        <a:pt x="215" y="73"/>
                      </a:lnTo>
                      <a:lnTo>
                        <a:pt x="229" y="70"/>
                      </a:lnTo>
                      <a:lnTo>
                        <a:pt x="241" y="68"/>
                      </a:lnTo>
                      <a:lnTo>
                        <a:pt x="248" y="68"/>
                      </a:lnTo>
                      <a:lnTo>
                        <a:pt x="253" y="70"/>
                      </a:lnTo>
                      <a:lnTo>
                        <a:pt x="256" y="71"/>
                      </a:lnTo>
                      <a:lnTo>
                        <a:pt x="260" y="75"/>
                      </a:lnTo>
                      <a:lnTo>
                        <a:pt x="260" y="75"/>
                      </a:lnTo>
                      <a:lnTo>
                        <a:pt x="267" y="83"/>
                      </a:lnTo>
                      <a:lnTo>
                        <a:pt x="272" y="89"/>
                      </a:lnTo>
                      <a:lnTo>
                        <a:pt x="279" y="90"/>
                      </a:lnTo>
                      <a:lnTo>
                        <a:pt x="288" y="92"/>
                      </a:lnTo>
                      <a:lnTo>
                        <a:pt x="295" y="90"/>
                      </a:lnTo>
                      <a:lnTo>
                        <a:pt x="300" y="89"/>
                      </a:lnTo>
                      <a:lnTo>
                        <a:pt x="312" y="83"/>
                      </a:lnTo>
                      <a:lnTo>
                        <a:pt x="312" y="83"/>
                      </a:lnTo>
                      <a:lnTo>
                        <a:pt x="316" y="82"/>
                      </a:lnTo>
                      <a:lnTo>
                        <a:pt x="316" y="78"/>
                      </a:lnTo>
                      <a:lnTo>
                        <a:pt x="317" y="73"/>
                      </a:lnTo>
                      <a:lnTo>
                        <a:pt x="319" y="71"/>
                      </a:lnTo>
                      <a:lnTo>
                        <a:pt x="323" y="70"/>
                      </a:lnTo>
                      <a:lnTo>
                        <a:pt x="329" y="68"/>
                      </a:lnTo>
                      <a:lnTo>
                        <a:pt x="338" y="68"/>
                      </a:lnTo>
                      <a:lnTo>
                        <a:pt x="338" y="68"/>
                      </a:lnTo>
                      <a:lnTo>
                        <a:pt x="356" y="66"/>
                      </a:lnTo>
                      <a:lnTo>
                        <a:pt x="364" y="64"/>
                      </a:lnTo>
                      <a:lnTo>
                        <a:pt x="373" y="61"/>
                      </a:lnTo>
                      <a:lnTo>
                        <a:pt x="387" y="61"/>
                      </a:lnTo>
                      <a:lnTo>
                        <a:pt x="387" y="61"/>
                      </a:lnTo>
                      <a:lnTo>
                        <a:pt x="401" y="64"/>
                      </a:lnTo>
                      <a:lnTo>
                        <a:pt x="404" y="66"/>
                      </a:lnTo>
                      <a:lnTo>
                        <a:pt x="404" y="68"/>
                      </a:lnTo>
                      <a:lnTo>
                        <a:pt x="397" y="71"/>
                      </a:lnTo>
                      <a:lnTo>
                        <a:pt x="382" y="75"/>
                      </a:lnTo>
                      <a:lnTo>
                        <a:pt x="382" y="75"/>
                      </a:lnTo>
                      <a:lnTo>
                        <a:pt x="375" y="76"/>
                      </a:lnTo>
                      <a:lnTo>
                        <a:pt x="373" y="78"/>
                      </a:lnTo>
                      <a:lnTo>
                        <a:pt x="375" y="82"/>
                      </a:lnTo>
                      <a:lnTo>
                        <a:pt x="378" y="85"/>
                      </a:lnTo>
                      <a:lnTo>
                        <a:pt x="390" y="92"/>
                      </a:lnTo>
                      <a:lnTo>
                        <a:pt x="397" y="96"/>
                      </a:lnTo>
                      <a:lnTo>
                        <a:pt x="401" y="99"/>
                      </a:lnTo>
                      <a:lnTo>
                        <a:pt x="401" y="99"/>
                      </a:lnTo>
                      <a:lnTo>
                        <a:pt x="404" y="103"/>
                      </a:lnTo>
                      <a:lnTo>
                        <a:pt x="406" y="104"/>
                      </a:lnTo>
                      <a:lnTo>
                        <a:pt x="413" y="104"/>
                      </a:lnTo>
                      <a:lnTo>
                        <a:pt x="420" y="106"/>
                      </a:lnTo>
                      <a:lnTo>
                        <a:pt x="424" y="108"/>
                      </a:lnTo>
                      <a:lnTo>
                        <a:pt x="427" y="111"/>
                      </a:lnTo>
                      <a:lnTo>
                        <a:pt x="427" y="111"/>
                      </a:lnTo>
                      <a:lnTo>
                        <a:pt x="430" y="115"/>
                      </a:lnTo>
                      <a:lnTo>
                        <a:pt x="434" y="118"/>
                      </a:lnTo>
                      <a:lnTo>
                        <a:pt x="441" y="122"/>
                      </a:lnTo>
                      <a:lnTo>
                        <a:pt x="443" y="123"/>
                      </a:lnTo>
                      <a:lnTo>
                        <a:pt x="443" y="125"/>
                      </a:lnTo>
                      <a:lnTo>
                        <a:pt x="443" y="127"/>
                      </a:lnTo>
                      <a:lnTo>
                        <a:pt x="439" y="130"/>
                      </a:lnTo>
                      <a:lnTo>
                        <a:pt x="439" y="130"/>
                      </a:lnTo>
                      <a:lnTo>
                        <a:pt x="436" y="134"/>
                      </a:lnTo>
                      <a:lnTo>
                        <a:pt x="432" y="137"/>
                      </a:lnTo>
                      <a:lnTo>
                        <a:pt x="430" y="143"/>
                      </a:lnTo>
                      <a:lnTo>
                        <a:pt x="429" y="151"/>
                      </a:lnTo>
                      <a:lnTo>
                        <a:pt x="427" y="155"/>
                      </a:lnTo>
                      <a:lnTo>
                        <a:pt x="424" y="158"/>
                      </a:lnTo>
                      <a:lnTo>
                        <a:pt x="424" y="158"/>
                      </a:lnTo>
                      <a:lnTo>
                        <a:pt x="422" y="162"/>
                      </a:lnTo>
                      <a:lnTo>
                        <a:pt x="424" y="162"/>
                      </a:lnTo>
                      <a:lnTo>
                        <a:pt x="436" y="160"/>
                      </a:lnTo>
                      <a:lnTo>
                        <a:pt x="446" y="158"/>
                      </a:lnTo>
                      <a:lnTo>
                        <a:pt x="457" y="157"/>
                      </a:lnTo>
                      <a:lnTo>
                        <a:pt x="465" y="158"/>
                      </a:lnTo>
                      <a:lnTo>
                        <a:pt x="474" y="162"/>
                      </a:lnTo>
                      <a:lnTo>
                        <a:pt x="474" y="162"/>
                      </a:lnTo>
                      <a:lnTo>
                        <a:pt x="476" y="169"/>
                      </a:lnTo>
                      <a:lnTo>
                        <a:pt x="476" y="174"/>
                      </a:lnTo>
                      <a:lnTo>
                        <a:pt x="472" y="179"/>
                      </a:lnTo>
                      <a:lnTo>
                        <a:pt x="467" y="183"/>
                      </a:lnTo>
                      <a:lnTo>
                        <a:pt x="455" y="191"/>
                      </a:lnTo>
                      <a:lnTo>
                        <a:pt x="450" y="193"/>
                      </a:lnTo>
                      <a:lnTo>
                        <a:pt x="446" y="197"/>
                      </a:lnTo>
                      <a:lnTo>
                        <a:pt x="446" y="197"/>
                      </a:lnTo>
                      <a:lnTo>
                        <a:pt x="446" y="200"/>
                      </a:lnTo>
                      <a:lnTo>
                        <a:pt x="446" y="202"/>
                      </a:lnTo>
                      <a:lnTo>
                        <a:pt x="450" y="207"/>
                      </a:lnTo>
                      <a:lnTo>
                        <a:pt x="455" y="212"/>
                      </a:lnTo>
                      <a:lnTo>
                        <a:pt x="460" y="219"/>
                      </a:lnTo>
                      <a:lnTo>
                        <a:pt x="460" y="219"/>
                      </a:lnTo>
                      <a:lnTo>
                        <a:pt x="460" y="223"/>
                      </a:lnTo>
                      <a:lnTo>
                        <a:pt x="458" y="226"/>
                      </a:lnTo>
                      <a:lnTo>
                        <a:pt x="453" y="230"/>
                      </a:lnTo>
                      <a:lnTo>
                        <a:pt x="444" y="235"/>
                      </a:lnTo>
                      <a:lnTo>
                        <a:pt x="444" y="235"/>
                      </a:lnTo>
                      <a:lnTo>
                        <a:pt x="434" y="237"/>
                      </a:lnTo>
                      <a:lnTo>
                        <a:pt x="429" y="238"/>
                      </a:lnTo>
                      <a:lnTo>
                        <a:pt x="429" y="238"/>
                      </a:lnTo>
                      <a:lnTo>
                        <a:pt x="429" y="242"/>
                      </a:lnTo>
                      <a:lnTo>
                        <a:pt x="430" y="251"/>
                      </a:lnTo>
                      <a:lnTo>
                        <a:pt x="430" y="251"/>
                      </a:lnTo>
                      <a:lnTo>
                        <a:pt x="430" y="258"/>
                      </a:lnTo>
                      <a:lnTo>
                        <a:pt x="429" y="261"/>
                      </a:lnTo>
                      <a:lnTo>
                        <a:pt x="424" y="266"/>
                      </a:lnTo>
                      <a:lnTo>
                        <a:pt x="422" y="271"/>
                      </a:lnTo>
                      <a:lnTo>
                        <a:pt x="425" y="277"/>
                      </a:lnTo>
                      <a:lnTo>
                        <a:pt x="432" y="287"/>
                      </a:lnTo>
                      <a:lnTo>
                        <a:pt x="446" y="301"/>
                      </a:lnTo>
                      <a:lnTo>
                        <a:pt x="446" y="30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4" name="Freeform 1693">
                  <a:extLst>
                    <a:ext uri="{FF2B5EF4-FFF2-40B4-BE49-F238E27FC236}">
                      <a16:creationId xmlns:a16="http://schemas.microsoft.com/office/drawing/2014/main" id="{A555A252-2CBD-17D6-2347-85048F94C170}"/>
                    </a:ext>
                  </a:extLst>
                </p:cNvPr>
                <p:cNvSpPr>
                  <a:spLocks/>
                </p:cNvSpPr>
                <p:nvPr/>
              </p:nvSpPr>
              <p:spPr bwMode="auto">
                <a:xfrm>
                  <a:off x="3456385" y="4192849"/>
                  <a:ext cx="140960" cy="246680"/>
                </a:xfrm>
                <a:custGeom>
                  <a:avLst/>
                  <a:gdLst/>
                  <a:ahLst/>
                  <a:cxnLst>
                    <a:cxn ang="0">
                      <a:pos x="162" y="278"/>
                    </a:cxn>
                    <a:cxn ang="0">
                      <a:pos x="146" y="275"/>
                    </a:cxn>
                    <a:cxn ang="0">
                      <a:pos x="137" y="280"/>
                    </a:cxn>
                    <a:cxn ang="0">
                      <a:pos x="118" y="296"/>
                    </a:cxn>
                    <a:cxn ang="0">
                      <a:pos x="108" y="294"/>
                    </a:cxn>
                    <a:cxn ang="0">
                      <a:pos x="101" y="303"/>
                    </a:cxn>
                    <a:cxn ang="0">
                      <a:pos x="96" y="306"/>
                    </a:cxn>
                    <a:cxn ang="0">
                      <a:pos x="78" y="303"/>
                    </a:cxn>
                    <a:cxn ang="0">
                      <a:pos x="62" y="287"/>
                    </a:cxn>
                    <a:cxn ang="0">
                      <a:pos x="57" y="275"/>
                    </a:cxn>
                    <a:cxn ang="0">
                      <a:pos x="52" y="259"/>
                    </a:cxn>
                    <a:cxn ang="0">
                      <a:pos x="49" y="249"/>
                    </a:cxn>
                    <a:cxn ang="0">
                      <a:pos x="56" y="212"/>
                    </a:cxn>
                    <a:cxn ang="0">
                      <a:pos x="62" y="190"/>
                    </a:cxn>
                    <a:cxn ang="0">
                      <a:pos x="56" y="176"/>
                    </a:cxn>
                    <a:cxn ang="0">
                      <a:pos x="47" y="160"/>
                    </a:cxn>
                    <a:cxn ang="0">
                      <a:pos x="50" y="150"/>
                    </a:cxn>
                    <a:cxn ang="0">
                      <a:pos x="47" y="139"/>
                    </a:cxn>
                    <a:cxn ang="0">
                      <a:pos x="38" y="137"/>
                    </a:cxn>
                    <a:cxn ang="0">
                      <a:pos x="24" y="139"/>
                    </a:cxn>
                    <a:cxn ang="0">
                      <a:pos x="3" y="115"/>
                    </a:cxn>
                    <a:cxn ang="0">
                      <a:pos x="7" y="99"/>
                    </a:cxn>
                    <a:cxn ang="0">
                      <a:pos x="8" y="89"/>
                    </a:cxn>
                    <a:cxn ang="0">
                      <a:pos x="7" y="76"/>
                    </a:cxn>
                    <a:cxn ang="0">
                      <a:pos x="22" y="73"/>
                    </a:cxn>
                    <a:cxn ang="0">
                      <a:pos x="38" y="61"/>
                    </a:cxn>
                    <a:cxn ang="0">
                      <a:pos x="33" y="50"/>
                    </a:cxn>
                    <a:cxn ang="0">
                      <a:pos x="24" y="38"/>
                    </a:cxn>
                    <a:cxn ang="0">
                      <a:pos x="28" y="31"/>
                    </a:cxn>
                    <a:cxn ang="0">
                      <a:pos x="50" y="17"/>
                    </a:cxn>
                    <a:cxn ang="0">
                      <a:pos x="52" y="0"/>
                    </a:cxn>
                    <a:cxn ang="0">
                      <a:pos x="57" y="5"/>
                    </a:cxn>
                    <a:cxn ang="0">
                      <a:pos x="97" y="36"/>
                    </a:cxn>
                    <a:cxn ang="0">
                      <a:pos x="103" y="54"/>
                    </a:cxn>
                    <a:cxn ang="0">
                      <a:pos x="99" y="64"/>
                    </a:cxn>
                    <a:cxn ang="0">
                      <a:pos x="115" y="69"/>
                    </a:cxn>
                    <a:cxn ang="0">
                      <a:pos x="130" y="80"/>
                    </a:cxn>
                    <a:cxn ang="0">
                      <a:pos x="136" y="90"/>
                    </a:cxn>
                    <a:cxn ang="0">
                      <a:pos x="141" y="92"/>
                    </a:cxn>
                    <a:cxn ang="0">
                      <a:pos x="148" y="106"/>
                    </a:cxn>
                    <a:cxn ang="0">
                      <a:pos x="151" y="109"/>
                    </a:cxn>
                    <a:cxn ang="0">
                      <a:pos x="146" y="132"/>
                    </a:cxn>
                    <a:cxn ang="0">
                      <a:pos x="144" y="144"/>
                    </a:cxn>
                    <a:cxn ang="0">
                      <a:pos x="134" y="148"/>
                    </a:cxn>
                    <a:cxn ang="0">
                      <a:pos x="122" y="151"/>
                    </a:cxn>
                    <a:cxn ang="0">
                      <a:pos x="122" y="158"/>
                    </a:cxn>
                    <a:cxn ang="0">
                      <a:pos x="118" y="181"/>
                    </a:cxn>
                    <a:cxn ang="0">
                      <a:pos x="116" y="191"/>
                    </a:cxn>
                    <a:cxn ang="0">
                      <a:pos x="125" y="205"/>
                    </a:cxn>
                    <a:cxn ang="0">
                      <a:pos x="132" y="217"/>
                    </a:cxn>
                    <a:cxn ang="0">
                      <a:pos x="137" y="219"/>
                    </a:cxn>
                    <a:cxn ang="0">
                      <a:pos x="144" y="217"/>
                    </a:cxn>
                    <a:cxn ang="0">
                      <a:pos x="144" y="228"/>
                    </a:cxn>
                    <a:cxn ang="0">
                      <a:pos x="150" y="244"/>
                    </a:cxn>
                    <a:cxn ang="0">
                      <a:pos x="158" y="261"/>
                    </a:cxn>
                    <a:cxn ang="0">
                      <a:pos x="172" y="277"/>
                    </a:cxn>
                  </a:cxnLst>
                  <a:rect l="0" t="0" r="r" b="b"/>
                  <a:pathLst>
                    <a:path w="172" h="308">
                      <a:moveTo>
                        <a:pt x="172" y="277"/>
                      </a:moveTo>
                      <a:lnTo>
                        <a:pt x="172" y="277"/>
                      </a:lnTo>
                      <a:lnTo>
                        <a:pt x="162" y="278"/>
                      </a:lnTo>
                      <a:lnTo>
                        <a:pt x="155" y="277"/>
                      </a:lnTo>
                      <a:lnTo>
                        <a:pt x="151" y="275"/>
                      </a:lnTo>
                      <a:lnTo>
                        <a:pt x="146" y="275"/>
                      </a:lnTo>
                      <a:lnTo>
                        <a:pt x="146" y="275"/>
                      </a:lnTo>
                      <a:lnTo>
                        <a:pt x="141" y="278"/>
                      </a:lnTo>
                      <a:lnTo>
                        <a:pt x="137" y="280"/>
                      </a:lnTo>
                      <a:lnTo>
                        <a:pt x="130" y="287"/>
                      </a:lnTo>
                      <a:lnTo>
                        <a:pt x="122" y="294"/>
                      </a:lnTo>
                      <a:lnTo>
                        <a:pt x="118" y="296"/>
                      </a:lnTo>
                      <a:lnTo>
                        <a:pt x="113" y="296"/>
                      </a:lnTo>
                      <a:lnTo>
                        <a:pt x="113" y="296"/>
                      </a:lnTo>
                      <a:lnTo>
                        <a:pt x="108" y="294"/>
                      </a:lnTo>
                      <a:lnTo>
                        <a:pt x="106" y="296"/>
                      </a:lnTo>
                      <a:lnTo>
                        <a:pt x="103" y="298"/>
                      </a:lnTo>
                      <a:lnTo>
                        <a:pt x="101" y="303"/>
                      </a:lnTo>
                      <a:lnTo>
                        <a:pt x="99" y="304"/>
                      </a:lnTo>
                      <a:lnTo>
                        <a:pt x="96" y="306"/>
                      </a:lnTo>
                      <a:lnTo>
                        <a:pt x="96" y="306"/>
                      </a:lnTo>
                      <a:lnTo>
                        <a:pt x="90" y="308"/>
                      </a:lnTo>
                      <a:lnTo>
                        <a:pt x="85" y="306"/>
                      </a:lnTo>
                      <a:lnTo>
                        <a:pt x="78" y="303"/>
                      </a:lnTo>
                      <a:lnTo>
                        <a:pt x="73" y="299"/>
                      </a:lnTo>
                      <a:lnTo>
                        <a:pt x="66" y="294"/>
                      </a:lnTo>
                      <a:lnTo>
                        <a:pt x="62" y="287"/>
                      </a:lnTo>
                      <a:lnTo>
                        <a:pt x="59" y="282"/>
                      </a:lnTo>
                      <a:lnTo>
                        <a:pt x="57" y="275"/>
                      </a:lnTo>
                      <a:lnTo>
                        <a:pt x="57" y="275"/>
                      </a:lnTo>
                      <a:lnTo>
                        <a:pt x="57" y="268"/>
                      </a:lnTo>
                      <a:lnTo>
                        <a:pt x="56" y="263"/>
                      </a:lnTo>
                      <a:lnTo>
                        <a:pt x="52" y="259"/>
                      </a:lnTo>
                      <a:lnTo>
                        <a:pt x="50" y="257"/>
                      </a:lnTo>
                      <a:lnTo>
                        <a:pt x="49" y="254"/>
                      </a:lnTo>
                      <a:lnTo>
                        <a:pt x="49" y="249"/>
                      </a:lnTo>
                      <a:lnTo>
                        <a:pt x="50" y="240"/>
                      </a:lnTo>
                      <a:lnTo>
                        <a:pt x="50" y="240"/>
                      </a:lnTo>
                      <a:lnTo>
                        <a:pt x="56" y="212"/>
                      </a:lnTo>
                      <a:lnTo>
                        <a:pt x="61" y="198"/>
                      </a:lnTo>
                      <a:lnTo>
                        <a:pt x="61" y="198"/>
                      </a:lnTo>
                      <a:lnTo>
                        <a:pt x="62" y="190"/>
                      </a:lnTo>
                      <a:lnTo>
                        <a:pt x="62" y="183"/>
                      </a:lnTo>
                      <a:lnTo>
                        <a:pt x="59" y="177"/>
                      </a:lnTo>
                      <a:lnTo>
                        <a:pt x="56" y="176"/>
                      </a:lnTo>
                      <a:lnTo>
                        <a:pt x="47" y="169"/>
                      </a:lnTo>
                      <a:lnTo>
                        <a:pt x="45" y="165"/>
                      </a:lnTo>
                      <a:lnTo>
                        <a:pt x="47" y="160"/>
                      </a:lnTo>
                      <a:lnTo>
                        <a:pt x="47" y="160"/>
                      </a:lnTo>
                      <a:lnTo>
                        <a:pt x="49" y="155"/>
                      </a:lnTo>
                      <a:lnTo>
                        <a:pt x="50" y="150"/>
                      </a:lnTo>
                      <a:lnTo>
                        <a:pt x="50" y="146"/>
                      </a:lnTo>
                      <a:lnTo>
                        <a:pt x="49" y="141"/>
                      </a:lnTo>
                      <a:lnTo>
                        <a:pt x="47" y="139"/>
                      </a:lnTo>
                      <a:lnTo>
                        <a:pt x="43" y="137"/>
                      </a:lnTo>
                      <a:lnTo>
                        <a:pt x="42" y="136"/>
                      </a:lnTo>
                      <a:lnTo>
                        <a:pt x="38" y="137"/>
                      </a:lnTo>
                      <a:lnTo>
                        <a:pt x="38" y="137"/>
                      </a:lnTo>
                      <a:lnTo>
                        <a:pt x="29" y="139"/>
                      </a:lnTo>
                      <a:lnTo>
                        <a:pt x="24" y="139"/>
                      </a:lnTo>
                      <a:lnTo>
                        <a:pt x="24" y="139"/>
                      </a:lnTo>
                      <a:lnTo>
                        <a:pt x="10" y="125"/>
                      </a:lnTo>
                      <a:lnTo>
                        <a:pt x="3" y="115"/>
                      </a:lnTo>
                      <a:lnTo>
                        <a:pt x="0" y="109"/>
                      </a:lnTo>
                      <a:lnTo>
                        <a:pt x="2" y="104"/>
                      </a:lnTo>
                      <a:lnTo>
                        <a:pt x="7" y="99"/>
                      </a:lnTo>
                      <a:lnTo>
                        <a:pt x="8" y="96"/>
                      </a:lnTo>
                      <a:lnTo>
                        <a:pt x="8" y="89"/>
                      </a:lnTo>
                      <a:lnTo>
                        <a:pt x="8" y="89"/>
                      </a:lnTo>
                      <a:lnTo>
                        <a:pt x="7" y="80"/>
                      </a:lnTo>
                      <a:lnTo>
                        <a:pt x="7" y="76"/>
                      </a:lnTo>
                      <a:lnTo>
                        <a:pt x="7" y="76"/>
                      </a:lnTo>
                      <a:lnTo>
                        <a:pt x="12" y="75"/>
                      </a:lnTo>
                      <a:lnTo>
                        <a:pt x="22" y="73"/>
                      </a:lnTo>
                      <a:lnTo>
                        <a:pt x="22" y="73"/>
                      </a:lnTo>
                      <a:lnTo>
                        <a:pt x="31" y="68"/>
                      </a:lnTo>
                      <a:lnTo>
                        <a:pt x="36" y="64"/>
                      </a:lnTo>
                      <a:lnTo>
                        <a:pt x="38" y="61"/>
                      </a:lnTo>
                      <a:lnTo>
                        <a:pt x="38" y="57"/>
                      </a:lnTo>
                      <a:lnTo>
                        <a:pt x="38" y="57"/>
                      </a:lnTo>
                      <a:lnTo>
                        <a:pt x="33" y="50"/>
                      </a:lnTo>
                      <a:lnTo>
                        <a:pt x="28" y="45"/>
                      </a:lnTo>
                      <a:lnTo>
                        <a:pt x="24" y="40"/>
                      </a:lnTo>
                      <a:lnTo>
                        <a:pt x="24" y="38"/>
                      </a:lnTo>
                      <a:lnTo>
                        <a:pt x="24" y="35"/>
                      </a:lnTo>
                      <a:lnTo>
                        <a:pt x="24" y="35"/>
                      </a:lnTo>
                      <a:lnTo>
                        <a:pt x="28" y="31"/>
                      </a:lnTo>
                      <a:lnTo>
                        <a:pt x="33" y="29"/>
                      </a:lnTo>
                      <a:lnTo>
                        <a:pt x="45" y="21"/>
                      </a:lnTo>
                      <a:lnTo>
                        <a:pt x="50" y="17"/>
                      </a:lnTo>
                      <a:lnTo>
                        <a:pt x="54" y="12"/>
                      </a:lnTo>
                      <a:lnTo>
                        <a:pt x="54" y="7"/>
                      </a:lnTo>
                      <a:lnTo>
                        <a:pt x="52" y="0"/>
                      </a:lnTo>
                      <a:lnTo>
                        <a:pt x="52" y="0"/>
                      </a:lnTo>
                      <a:lnTo>
                        <a:pt x="57" y="5"/>
                      </a:lnTo>
                      <a:lnTo>
                        <a:pt x="57" y="5"/>
                      </a:lnTo>
                      <a:lnTo>
                        <a:pt x="78" y="19"/>
                      </a:lnTo>
                      <a:lnTo>
                        <a:pt x="92" y="31"/>
                      </a:lnTo>
                      <a:lnTo>
                        <a:pt x="97" y="36"/>
                      </a:lnTo>
                      <a:lnTo>
                        <a:pt x="101" y="42"/>
                      </a:lnTo>
                      <a:lnTo>
                        <a:pt x="103" y="47"/>
                      </a:lnTo>
                      <a:lnTo>
                        <a:pt x="103" y="54"/>
                      </a:lnTo>
                      <a:lnTo>
                        <a:pt x="103" y="54"/>
                      </a:lnTo>
                      <a:lnTo>
                        <a:pt x="99" y="61"/>
                      </a:lnTo>
                      <a:lnTo>
                        <a:pt x="99" y="64"/>
                      </a:lnTo>
                      <a:lnTo>
                        <a:pt x="104" y="68"/>
                      </a:lnTo>
                      <a:lnTo>
                        <a:pt x="115" y="69"/>
                      </a:lnTo>
                      <a:lnTo>
                        <a:pt x="115" y="69"/>
                      </a:lnTo>
                      <a:lnTo>
                        <a:pt x="123" y="73"/>
                      </a:lnTo>
                      <a:lnTo>
                        <a:pt x="127" y="76"/>
                      </a:lnTo>
                      <a:lnTo>
                        <a:pt x="130" y="80"/>
                      </a:lnTo>
                      <a:lnTo>
                        <a:pt x="132" y="83"/>
                      </a:lnTo>
                      <a:lnTo>
                        <a:pt x="134" y="89"/>
                      </a:lnTo>
                      <a:lnTo>
                        <a:pt x="136" y="90"/>
                      </a:lnTo>
                      <a:lnTo>
                        <a:pt x="139" y="92"/>
                      </a:lnTo>
                      <a:lnTo>
                        <a:pt x="139" y="92"/>
                      </a:lnTo>
                      <a:lnTo>
                        <a:pt x="141" y="92"/>
                      </a:lnTo>
                      <a:lnTo>
                        <a:pt x="143" y="94"/>
                      </a:lnTo>
                      <a:lnTo>
                        <a:pt x="146" y="101"/>
                      </a:lnTo>
                      <a:lnTo>
                        <a:pt x="148" y="106"/>
                      </a:lnTo>
                      <a:lnTo>
                        <a:pt x="148" y="108"/>
                      </a:lnTo>
                      <a:lnTo>
                        <a:pt x="151" y="109"/>
                      </a:lnTo>
                      <a:lnTo>
                        <a:pt x="151" y="109"/>
                      </a:lnTo>
                      <a:lnTo>
                        <a:pt x="150" y="118"/>
                      </a:lnTo>
                      <a:lnTo>
                        <a:pt x="148" y="125"/>
                      </a:lnTo>
                      <a:lnTo>
                        <a:pt x="146" y="132"/>
                      </a:lnTo>
                      <a:lnTo>
                        <a:pt x="144" y="137"/>
                      </a:lnTo>
                      <a:lnTo>
                        <a:pt x="144" y="137"/>
                      </a:lnTo>
                      <a:lnTo>
                        <a:pt x="144" y="144"/>
                      </a:lnTo>
                      <a:lnTo>
                        <a:pt x="144" y="146"/>
                      </a:lnTo>
                      <a:lnTo>
                        <a:pt x="141" y="148"/>
                      </a:lnTo>
                      <a:lnTo>
                        <a:pt x="134" y="148"/>
                      </a:lnTo>
                      <a:lnTo>
                        <a:pt x="134" y="148"/>
                      </a:lnTo>
                      <a:lnTo>
                        <a:pt x="127" y="150"/>
                      </a:lnTo>
                      <a:lnTo>
                        <a:pt x="122" y="151"/>
                      </a:lnTo>
                      <a:lnTo>
                        <a:pt x="122" y="155"/>
                      </a:lnTo>
                      <a:lnTo>
                        <a:pt x="122" y="158"/>
                      </a:lnTo>
                      <a:lnTo>
                        <a:pt x="122" y="158"/>
                      </a:lnTo>
                      <a:lnTo>
                        <a:pt x="123" y="162"/>
                      </a:lnTo>
                      <a:lnTo>
                        <a:pt x="123" y="165"/>
                      </a:lnTo>
                      <a:lnTo>
                        <a:pt x="118" y="181"/>
                      </a:lnTo>
                      <a:lnTo>
                        <a:pt x="118" y="181"/>
                      </a:lnTo>
                      <a:lnTo>
                        <a:pt x="116" y="186"/>
                      </a:lnTo>
                      <a:lnTo>
                        <a:pt x="116" y="191"/>
                      </a:lnTo>
                      <a:lnTo>
                        <a:pt x="118" y="195"/>
                      </a:lnTo>
                      <a:lnTo>
                        <a:pt x="120" y="198"/>
                      </a:lnTo>
                      <a:lnTo>
                        <a:pt x="125" y="205"/>
                      </a:lnTo>
                      <a:lnTo>
                        <a:pt x="130" y="214"/>
                      </a:lnTo>
                      <a:lnTo>
                        <a:pt x="130" y="214"/>
                      </a:lnTo>
                      <a:lnTo>
                        <a:pt x="132" y="217"/>
                      </a:lnTo>
                      <a:lnTo>
                        <a:pt x="134" y="219"/>
                      </a:lnTo>
                      <a:lnTo>
                        <a:pt x="136" y="219"/>
                      </a:lnTo>
                      <a:lnTo>
                        <a:pt x="137" y="219"/>
                      </a:lnTo>
                      <a:lnTo>
                        <a:pt x="141" y="216"/>
                      </a:lnTo>
                      <a:lnTo>
                        <a:pt x="143" y="216"/>
                      </a:lnTo>
                      <a:lnTo>
                        <a:pt x="144" y="217"/>
                      </a:lnTo>
                      <a:lnTo>
                        <a:pt x="144" y="217"/>
                      </a:lnTo>
                      <a:lnTo>
                        <a:pt x="144" y="223"/>
                      </a:lnTo>
                      <a:lnTo>
                        <a:pt x="144" y="228"/>
                      </a:lnTo>
                      <a:lnTo>
                        <a:pt x="146" y="235"/>
                      </a:lnTo>
                      <a:lnTo>
                        <a:pt x="146" y="238"/>
                      </a:lnTo>
                      <a:lnTo>
                        <a:pt x="150" y="244"/>
                      </a:lnTo>
                      <a:lnTo>
                        <a:pt x="150" y="244"/>
                      </a:lnTo>
                      <a:lnTo>
                        <a:pt x="155" y="252"/>
                      </a:lnTo>
                      <a:lnTo>
                        <a:pt x="158" y="261"/>
                      </a:lnTo>
                      <a:lnTo>
                        <a:pt x="163" y="270"/>
                      </a:lnTo>
                      <a:lnTo>
                        <a:pt x="167" y="273"/>
                      </a:lnTo>
                      <a:lnTo>
                        <a:pt x="172" y="277"/>
                      </a:lnTo>
                      <a:lnTo>
                        <a:pt x="172" y="27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5" name="Freeform 1694">
                  <a:extLst>
                    <a:ext uri="{FF2B5EF4-FFF2-40B4-BE49-F238E27FC236}">
                      <a16:creationId xmlns:a16="http://schemas.microsoft.com/office/drawing/2014/main" id="{638E0C17-40DC-EABB-F9FD-CF1F4F3F58BC}"/>
                    </a:ext>
                  </a:extLst>
                </p:cNvPr>
                <p:cNvSpPr>
                  <a:spLocks/>
                </p:cNvSpPr>
                <p:nvPr/>
              </p:nvSpPr>
              <p:spPr bwMode="auto">
                <a:xfrm>
                  <a:off x="3551533" y="4277425"/>
                  <a:ext cx="116292" cy="142722"/>
                </a:xfrm>
                <a:custGeom>
                  <a:avLst/>
                  <a:gdLst/>
                  <a:ahLst/>
                  <a:cxnLst>
                    <a:cxn ang="0">
                      <a:pos x="145" y="11"/>
                    </a:cxn>
                    <a:cxn ang="0">
                      <a:pos x="138" y="30"/>
                    </a:cxn>
                    <a:cxn ang="0">
                      <a:pos x="128" y="47"/>
                    </a:cxn>
                    <a:cxn ang="0">
                      <a:pos x="128" y="59"/>
                    </a:cxn>
                    <a:cxn ang="0">
                      <a:pos x="133" y="87"/>
                    </a:cxn>
                    <a:cxn ang="0">
                      <a:pos x="136" y="94"/>
                    </a:cxn>
                    <a:cxn ang="0">
                      <a:pos x="143" y="105"/>
                    </a:cxn>
                    <a:cxn ang="0">
                      <a:pos x="140" y="115"/>
                    </a:cxn>
                    <a:cxn ang="0">
                      <a:pos x="138" y="117"/>
                    </a:cxn>
                    <a:cxn ang="0">
                      <a:pos x="136" y="133"/>
                    </a:cxn>
                    <a:cxn ang="0">
                      <a:pos x="133" y="145"/>
                    </a:cxn>
                    <a:cxn ang="0">
                      <a:pos x="122" y="157"/>
                    </a:cxn>
                    <a:cxn ang="0">
                      <a:pos x="119" y="153"/>
                    </a:cxn>
                    <a:cxn ang="0">
                      <a:pos x="112" y="150"/>
                    </a:cxn>
                    <a:cxn ang="0">
                      <a:pos x="110" y="145"/>
                    </a:cxn>
                    <a:cxn ang="0">
                      <a:pos x="107" y="145"/>
                    </a:cxn>
                    <a:cxn ang="0">
                      <a:pos x="91" y="153"/>
                    </a:cxn>
                    <a:cxn ang="0">
                      <a:pos x="81" y="153"/>
                    </a:cxn>
                    <a:cxn ang="0">
                      <a:pos x="77" y="152"/>
                    </a:cxn>
                    <a:cxn ang="0">
                      <a:pos x="72" y="152"/>
                    </a:cxn>
                    <a:cxn ang="0">
                      <a:pos x="72" y="160"/>
                    </a:cxn>
                    <a:cxn ang="0">
                      <a:pos x="75" y="169"/>
                    </a:cxn>
                    <a:cxn ang="0">
                      <a:pos x="77" y="176"/>
                    </a:cxn>
                    <a:cxn ang="0">
                      <a:pos x="72" y="178"/>
                    </a:cxn>
                    <a:cxn ang="0">
                      <a:pos x="56" y="173"/>
                    </a:cxn>
                    <a:cxn ang="0">
                      <a:pos x="51" y="169"/>
                    </a:cxn>
                    <a:cxn ang="0">
                      <a:pos x="42" y="157"/>
                    </a:cxn>
                    <a:cxn ang="0">
                      <a:pos x="34" y="140"/>
                    </a:cxn>
                    <a:cxn ang="0">
                      <a:pos x="30" y="134"/>
                    </a:cxn>
                    <a:cxn ang="0">
                      <a:pos x="28" y="124"/>
                    </a:cxn>
                    <a:cxn ang="0">
                      <a:pos x="28" y="113"/>
                    </a:cxn>
                    <a:cxn ang="0">
                      <a:pos x="27" y="112"/>
                    </a:cxn>
                    <a:cxn ang="0">
                      <a:pos x="21" y="115"/>
                    </a:cxn>
                    <a:cxn ang="0">
                      <a:pos x="18" y="115"/>
                    </a:cxn>
                    <a:cxn ang="0">
                      <a:pos x="14" y="110"/>
                    </a:cxn>
                    <a:cxn ang="0">
                      <a:pos x="9" y="101"/>
                    </a:cxn>
                    <a:cxn ang="0">
                      <a:pos x="2" y="91"/>
                    </a:cxn>
                    <a:cxn ang="0">
                      <a:pos x="0" y="82"/>
                    </a:cxn>
                    <a:cxn ang="0">
                      <a:pos x="2" y="77"/>
                    </a:cxn>
                    <a:cxn ang="0">
                      <a:pos x="7" y="58"/>
                    </a:cxn>
                    <a:cxn ang="0">
                      <a:pos x="6" y="54"/>
                    </a:cxn>
                    <a:cxn ang="0">
                      <a:pos x="6" y="47"/>
                    </a:cxn>
                    <a:cxn ang="0">
                      <a:pos x="18" y="44"/>
                    </a:cxn>
                    <a:cxn ang="0">
                      <a:pos x="25" y="44"/>
                    </a:cxn>
                    <a:cxn ang="0">
                      <a:pos x="28" y="40"/>
                    </a:cxn>
                    <a:cxn ang="0">
                      <a:pos x="28" y="33"/>
                    </a:cxn>
                    <a:cxn ang="0">
                      <a:pos x="32" y="21"/>
                    </a:cxn>
                    <a:cxn ang="0">
                      <a:pos x="35" y="5"/>
                    </a:cxn>
                    <a:cxn ang="0">
                      <a:pos x="40" y="2"/>
                    </a:cxn>
                    <a:cxn ang="0">
                      <a:pos x="54" y="4"/>
                    </a:cxn>
                    <a:cxn ang="0">
                      <a:pos x="72" y="9"/>
                    </a:cxn>
                    <a:cxn ang="0">
                      <a:pos x="75" y="5"/>
                    </a:cxn>
                    <a:cxn ang="0">
                      <a:pos x="77" y="4"/>
                    </a:cxn>
                    <a:cxn ang="0">
                      <a:pos x="91" y="2"/>
                    </a:cxn>
                    <a:cxn ang="0">
                      <a:pos x="100" y="4"/>
                    </a:cxn>
                    <a:cxn ang="0">
                      <a:pos x="105" y="0"/>
                    </a:cxn>
                    <a:cxn ang="0">
                      <a:pos x="108" y="0"/>
                    </a:cxn>
                    <a:cxn ang="0">
                      <a:pos x="145" y="11"/>
                    </a:cxn>
                  </a:cxnLst>
                  <a:rect l="0" t="0" r="r" b="b"/>
                  <a:pathLst>
                    <a:path w="145" h="178">
                      <a:moveTo>
                        <a:pt x="145" y="11"/>
                      </a:moveTo>
                      <a:lnTo>
                        <a:pt x="145" y="11"/>
                      </a:lnTo>
                      <a:lnTo>
                        <a:pt x="141" y="21"/>
                      </a:lnTo>
                      <a:lnTo>
                        <a:pt x="138" y="30"/>
                      </a:lnTo>
                      <a:lnTo>
                        <a:pt x="131" y="39"/>
                      </a:lnTo>
                      <a:lnTo>
                        <a:pt x="128" y="47"/>
                      </a:lnTo>
                      <a:lnTo>
                        <a:pt x="128" y="59"/>
                      </a:lnTo>
                      <a:lnTo>
                        <a:pt x="128" y="59"/>
                      </a:lnTo>
                      <a:lnTo>
                        <a:pt x="129" y="82"/>
                      </a:lnTo>
                      <a:lnTo>
                        <a:pt x="133" y="87"/>
                      </a:lnTo>
                      <a:lnTo>
                        <a:pt x="136" y="94"/>
                      </a:lnTo>
                      <a:lnTo>
                        <a:pt x="136" y="94"/>
                      </a:lnTo>
                      <a:lnTo>
                        <a:pt x="141" y="99"/>
                      </a:lnTo>
                      <a:lnTo>
                        <a:pt x="143" y="105"/>
                      </a:lnTo>
                      <a:lnTo>
                        <a:pt x="143" y="108"/>
                      </a:lnTo>
                      <a:lnTo>
                        <a:pt x="140" y="115"/>
                      </a:lnTo>
                      <a:lnTo>
                        <a:pt x="140" y="115"/>
                      </a:lnTo>
                      <a:lnTo>
                        <a:pt x="138" y="117"/>
                      </a:lnTo>
                      <a:lnTo>
                        <a:pt x="136" y="122"/>
                      </a:lnTo>
                      <a:lnTo>
                        <a:pt x="136" y="133"/>
                      </a:lnTo>
                      <a:lnTo>
                        <a:pt x="135" y="138"/>
                      </a:lnTo>
                      <a:lnTo>
                        <a:pt x="133" y="145"/>
                      </a:lnTo>
                      <a:lnTo>
                        <a:pt x="129" y="150"/>
                      </a:lnTo>
                      <a:lnTo>
                        <a:pt x="122" y="157"/>
                      </a:lnTo>
                      <a:lnTo>
                        <a:pt x="122" y="157"/>
                      </a:lnTo>
                      <a:lnTo>
                        <a:pt x="119" y="153"/>
                      </a:lnTo>
                      <a:lnTo>
                        <a:pt x="115" y="152"/>
                      </a:lnTo>
                      <a:lnTo>
                        <a:pt x="112" y="150"/>
                      </a:lnTo>
                      <a:lnTo>
                        <a:pt x="110" y="145"/>
                      </a:lnTo>
                      <a:lnTo>
                        <a:pt x="110" y="145"/>
                      </a:lnTo>
                      <a:lnTo>
                        <a:pt x="108" y="143"/>
                      </a:lnTo>
                      <a:lnTo>
                        <a:pt x="107" y="145"/>
                      </a:lnTo>
                      <a:lnTo>
                        <a:pt x="100" y="148"/>
                      </a:lnTo>
                      <a:lnTo>
                        <a:pt x="91" y="153"/>
                      </a:lnTo>
                      <a:lnTo>
                        <a:pt x="86" y="155"/>
                      </a:lnTo>
                      <a:lnTo>
                        <a:pt x="81" y="153"/>
                      </a:lnTo>
                      <a:lnTo>
                        <a:pt x="81" y="153"/>
                      </a:lnTo>
                      <a:lnTo>
                        <a:pt x="77" y="152"/>
                      </a:lnTo>
                      <a:lnTo>
                        <a:pt x="74" y="152"/>
                      </a:lnTo>
                      <a:lnTo>
                        <a:pt x="72" y="152"/>
                      </a:lnTo>
                      <a:lnTo>
                        <a:pt x="72" y="153"/>
                      </a:lnTo>
                      <a:lnTo>
                        <a:pt x="72" y="160"/>
                      </a:lnTo>
                      <a:lnTo>
                        <a:pt x="75" y="169"/>
                      </a:lnTo>
                      <a:lnTo>
                        <a:pt x="75" y="169"/>
                      </a:lnTo>
                      <a:lnTo>
                        <a:pt x="77" y="174"/>
                      </a:lnTo>
                      <a:lnTo>
                        <a:pt x="77" y="176"/>
                      </a:lnTo>
                      <a:lnTo>
                        <a:pt x="75" y="178"/>
                      </a:lnTo>
                      <a:lnTo>
                        <a:pt x="72" y="178"/>
                      </a:lnTo>
                      <a:lnTo>
                        <a:pt x="63" y="174"/>
                      </a:lnTo>
                      <a:lnTo>
                        <a:pt x="56" y="173"/>
                      </a:lnTo>
                      <a:lnTo>
                        <a:pt x="56" y="173"/>
                      </a:lnTo>
                      <a:lnTo>
                        <a:pt x="51" y="169"/>
                      </a:lnTo>
                      <a:lnTo>
                        <a:pt x="47" y="166"/>
                      </a:lnTo>
                      <a:lnTo>
                        <a:pt x="42" y="157"/>
                      </a:lnTo>
                      <a:lnTo>
                        <a:pt x="39" y="148"/>
                      </a:lnTo>
                      <a:lnTo>
                        <a:pt x="34" y="140"/>
                      </a:lnTo>
                      <a:lnTo>
                        <a:pt x="34" y="140"/>
                      </a:lnTo>
                      <a:lnTo>
                        <a:pt x="30" y="134"/>
                      </a:lnTo>
                      <a:lnTo>
                        <a:pt x="30" y="131"/>
                      </a:lnTo>
                      <a:lnTo>
                        <a:pt x="28" y="124"/>
                      </a:lnTo>
                      <a:lnTo>
                        <a:pt x="28" y="119"/>
                      </a:lnTo>
                      <a:lnTo>
                        <a:pt x="28" y="113"/>
                      </a:lnTo>
                      <a:lnTo>
                        <a:pt x="28" y="113"/>
                      </a:lnTo>
                      <a:lnTo>
                        <a:pt x="27" y="112"/>
                      </a:lnTo>
                      <a:lnTo>
                        <a:pt x="25" y="112"/>
                      </a:lnTo>
                      <a:lnTo>
                        <a:pt x="21" y="115"/>
                      </a:lnTo>
                      <a:lnTo>
                        <a:pt x="20" y="115"/>
                      </a:lnTo>
                      <a:lnTo>
                        <a:pt x="18" y="115"/>
                      </a:lnTo>
                      <a:lnTo>
                        <a:pt x="16" y="113"/>
                      </a:lnTo>
                      <a:lnTo>
                        <a:pt x="14" y="110"/>
                      </a:lnTo>
                      <a:lnTo>
                        <a:pt x="14" y="110"/>
                      </a:lnTo>
                      <a:lnTo>
                        <a:pt x="9" y="101"/>
                      </a:lnTo>
                      <a:lnTo>
                        <a:pt x="4" y="94"/>
                      </a:lnTo>
                      <a:lnTo>
                        <a:pt x="2" y="91"/>
                      </a:lnTo>
                      <a:lnTo>
                        <a:pt x="0" y="87"/>
                      </a:lnTo>
                      <a:lnTo>
                        <a:pt x="0" y="82"/>
                      </a:lnTo>
                      <a:lnTo>
                        <a:pt x="2" y="77"/>
                      </a:lnTo>
                      <a:lnTo>
                        <a:pt x="2" y="77"/>
                      </a:lnTo>
                      <a:lnTo>
                        <a:pt x="7" y="61"/>
                      </a:lnTo>
                      <a:lnTo>
                        <a:pt x="7" y="58"/>
                      </a:lnTo>
                      <a:lnTo>
                        <a:pt x="6" y="54"/>
                      </a:lnTo>
                      <a:lnTo>
                        <a:pt x="6" y="54"/>
                      </a:lnTo>
                      <a:lnTo>
                        <a:pt x="6" y="51"/>
                      </a:lnTo>
                      <a:lnTo>
                        <a:pt x="6" y="47"/>
                      </a:lnTo>
                      <a:lnTo>
                        <a:pt x="11" y="46"/>
                      </a:lnTo>
                      <a:lnTo>
                        <a:pt x="18" y="44"/>
                      </a:lnTo>
                      <a:lnTo>
                        <a:pt x="18" y="44"/>
                      </a:lnTo>
                      <a:lnTo>
                        <a:pt x="25" y="44"/>
                      </a:lnTo>
                      <a:lnTo>
                        <a:pt x="28" y="42"/>
                      </a:lnTo>
                      <a:lnTo>
                        <a:pt x="28" y="40"/>
                      </a:lnTo>
                      <a:lnTo>
                        <a:pt x="28" y="33"/>
                      </a:lnTo>
                      <a:lnTo>
                        <a:pt x="28" y="33"/>
                      </a:lnTo>
                      <a:lnTo>
                        <a:pt x="30" y="28"/>
                      </a:lnTo>
                      <a:lnTo>
                        <a:pt x="32" y="21"/>
                      </a:lnTo>
                      <a:lnTo>
                        <a:pt x="34" y="14"/>
                      </a:lnTo>
                      <a:lnTo>
                        <a:pt x="35" y="5"/>
                      </a:lnTo>
                      <a:lnTo>
                        <a:pt x="35" y="5"/>
                      </a:lnTo>
                      <a:lnTo>
                        <a:pt x="40" y="2"/>
                      </a:lnTo>
                      <a:lnTo>
                        <a:pt x="47" y="2"/>
                      </a:lnTo>
                      <a:lnTo>
                        <a:pt x="54" y="4"/>
                      </a:lnTo>
                      <a:lnTo>
                        <a:pt x="61" y="5"/>
                      </a:lnTo>
                      <a:lnTo>
                        <a:pt x="72" y="9"/>
                      </a:lnTo>
                      <a:lnTo>
                        <a:pt x="75" y="7"/>
                      </a:lnTo>
                      <a:lnTo>
                        <a:pt x="75" y="5"/>
                      </a:lnTo>
                      <a:lnTo>
                        <a:pt x="75" y="5"/>
                      </a:lnTo>
                      <a:lnTo>
                        <a:pt x="77" y="4"/>
                      </a:lnTo>
                      <a:lnTo>
                        <a:pt x="81" y="2"/>
                      </a:lnTo>
                      <a:lnTo>
                        <a:pt x="91" y="2"/>
                      </a:lnTo>
                      <a:lnTo>
                        <a:pt x="91" y="2"/>
                      </a:lnTo>
                      <a:lnTo>
                        <a:pt x="100" y="4"/>
                      </a:lnTo>
                      <a:lnTo>
                        <a:pt x="103" y="4"/>
                      </a:lnTo>
                      <a:lnTo>
                        <a:pt x="105" y="0"/>
                      </a:lnTo>
                      <a:lnTo>
                        <a:pt x="105" y="0"/>
                      </a:lnTo>
                      <a:lnTo>
                        <a:pt x="108" y="0"/>
                      </a:lnTo>
                      <a:lnTo>
                        <a:pt x="119" y="2"/>
                      </a:lnTo>
                      <a:lnTo>
                        <a:pt x="145" y="11"/>
                      </a:lnTo>
                      <a:lnTo>
                        <a:pt x="145"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6" name="Freeform 1695">
                  <a:extLst>
                    <a:ext uri="{FF2B5EF4-FFF2-40B4-BE49-F238E27FC236}">
                      <a16:creationId xmlns:a16="http://schemas.microsoft.com/office/drawing/2014/main" id="{B7708DE9-F751-8C37-7AB2-3646184C971F}"/>
                    </a:ext>
                  </a:extLst>
                </p:cNvPr>
                <p:cNvSpPr>
                  <a:spLocks/>
                </p:cNvSpPr>
                <p:nvPr/>
              </p:nvSpPr>
              <p:spPr bwMode="auto">
                <a:xfrm>
                  <a:off x="2850255" y="4154088"/>
                  <a:ext cx="163867" cy="82813"/>
                </a:xfrm>
                <a:custGeom>
                  <a:avLst/>
                  <a:gdLst/>
                  <a:ahLst/>
                  <a:cxnLst>
                    <a:cxn ang="0">
                      <a:pos x="176" y="17"/>
                    </a:cxn>
                    <a:cxn ang="0">
                      <a:pos x="148" y="7"/>
                    </a:cxn>
                    <a:cxn ang="0">
                      <a:pos x="140" y="5"/>
                    </a:cxn>
                    <a:cxn ang="0">
                      <a:pos x="129" y="2"/>
                    </a:cxn>
                    <a:cxn ang="0">
                      <a:pos x="112" y="9"/>
                    </a:cxn>
                    <a:cxn ang="0">
                      <a:pos x="84" y="23"/>
                    </a:cxn>
                    <a:cxn ang="0">
                      <a:pos x="61" y="37"/>
                    </a:cxn>
                    <a:cxn ang="0">
                      <a:pos x="46" y="28"/>
                    </a:cxn>
                    <a:cxn ang="0">
                      <a:pos x="39" y="19"/>
                    </a:cxn>
                    <a:cxn ang="0">
                      <a:pos x="37" y="24"/>
                    </a:cxn>
                    <a:cxn ang="0">
                      <a:pos x="28" y="26"/>
                    </a:cxn>
                    <a:cxn ang="0">
                      <a:pos x="28" y="19"/>
                    </a:cxn>
                    <a:cxn ang="0">
                      <a:pos x="26" y="16"/>
                    </a:cxn>
                    <a:cxn ang="0">
                      <a:pos x="21" y="12"/>
                    </a:cxn>
                    <a:cxn ang="0">
                      <a:pos x="14" y="4"/>
                    </a:cxn>
                    <a:cxn ang="0">
                      <a:pos x="6" y="0"/>
                    </a:cxn>
                    <a:cxn ang="0">
                      <a:pos x="2" y="23"/>
                    </a:cxn>
                    <a:cxn ang="0">
                      <a:pos x="7" y="28"/>
                    </a:cxn>
                    <a:cxn ang="0">
                      <a:pos x="7" y="33"/>
                    </a:cxn>
                    <a:cxn ang="0">
                      <a:pos x="4" y="49"/>
                    </a:cxn>
                    <a:cxn ang="0">
                      <a:pos x="4" y="66"/>
                    </a:cxn>
                    <a:cxn ang="0">
                      <a:pos x="11" y="56"/>
                    </a:cxn>
                    <a:cxn ang="0">
                      <a:pos x="39" y="63"/>
                    </a:cxn>
                    <a:cxn ang="0">
                      <a:pos x="46" y="64"/>
                    </a:cxn>
                    <a:cxn ang="0">
                      <a:pos x="49" y="78"/>
                    </a:cxn>
                    <a:cxn ang="0">
                      <a:pos x="61" y="85"/>
                    </a:cxn>
                    <a:cxn ang="0">
                      <a:pos x="63" y="77"/>
                    </a:cxn>
                    <a:cxn ang="0">
                      <a:pos x="67" y="77"/>
                    </a:cxn>
                    <a:cxn ang="0">
                      <a:pos x="72" y="99"/>
                    </a:cxn>
                    <a:cxn ang="0">
                      <a:pos x="77" y="103"/>
                    </a:cxn>
                    <a:cxn ang="0">
                      <a:pos x="91" y="98"/>
                    </a:cxn>
                    <a:cxn ang="0">
                      <a:pos x="101" y="94"/>
                    </a:cxn>
                    <a:cxn ang="0">
                      <a:pos x="100" y="80"/>
                    </a:cxn>
                    <a:cxn ang="0">
                      <a:pos x="93" y="68"/>
                    </a:cxn>
                    <a:cxn ang="0">
                      <a:pos x="87" y="66"/>
                    </a:cxn>
                    <a:cxn ang="0">
                      <a:pos x="91" y="56"/>
                    </a:cxn>
                    <a:cxn ang="0">
                      <a:pos x="107" y="49"/>
                    </a:cxn>
                    <a:cxn ang="0">
                      <a:pos x="114" y="37"/>
                    </a:cxn>
                    <a:cxn ang="0">
                      <a:pos x="122" y="30"/>
                    </a:cxn>
                    <a:cxn ang="0">
                      <a:pos x="131" y="24"/>
                    </a:cxn>
                    <a:cxn ang="0">
                      <a:pos x="157" y="42"/>
                    </a:cxn>
                    <a:cxn ang="0">
                      <a:pos x="157" y="51"/>
                    </a:cxn>
                    <a:cxn ang="0">
                      <a:pos x="164" y="49"/>
                    </a:cxn>
                    <a:cxn ang="0">
                      <a:pos x="168" y="51"/>
                    </a:cxn>
                    <a:cxn ang="0">
                      <a:pos x="162" y="66"/>
                    </a:cxn>
                    <a:cxn ang="0">
                      <a:pos x="169" y="87"/>
                    </a:cxn>
                    <a:cxn ang="0">
                      <a:pos x="180" y="89"/>
                    </a:cxn>
                    <a:cxn ang="0">
                      <a:pos x="185" y="82"/>
                    </a:cxn>
                    <a:cxn ang="0">
                      <a:pos x="194" y="87"/>
                    </a:cxn>
                    <a:cxn ang="0">
                      <a:pos x="197" y="75"/>
                    </a:cxn>
                    <a:cxn ang="0">
                      <a:pos x="204" y="71"/>
                    </a:cxn>
                    <a:cxn ang="0">
                      <a:pos x="195" y="45"/>
                    </a:cxn>
                  </a:cxnLst>
                  <a:rect l="0" t="0" r="r" b="b"/>
                  <a:pathLst>
                    <a:path w="204" h="103">
                      <a:moveTo>
                        <a:pt x="197" y="40"/>
                      </a:moveTo>
                      <a:lnTo>
                        <a:pt x="197" y="40"/>
                      </a:lnTo>
                      <a:lnTo>
                        <a:pt x="187" y="28"/>
                      </a:lnTo>
                      <a:lnTo>
                        <a:pt x="176" y="17"/>
                      </a:lnTo>
                      <a:lnTo>
                        <a:pt x="169" y="12"/>
                      </a:lnTo>
                      <a:lnTo>
                        <a:pt x="162" y="9"/>
                      </a:lnTo>
                      <a:lnTo>
                        <a:pt x="155" y="7"/>
                      </a:lnTo>
                      <a:lnTo>
                        <a:pt x="148" y="7"/>
                      </a:lnTo>
                      <a:lnTo>
                        <a:pt x="148" y="7"/>
                      </a:lnTo>
                      <a:lnTo>
                        <a:pt x="140" y="7"/>
                      </a:lnTo>
                      <a:lnTo>
                        <a:pt x="140" y="7"/>
                      </a:lnTo>
                      <a:lnTo>
                        <a:pt x="140" y="5"/>
                      </a:lnTo>
                      <a:lnTo>
                        <a:pt x="140" y="5"/>
                      </a:lnTo>
                      <a:lnTo>
                        <a:pt x="138" y="4"/>
                      </a:lnTo>
                      <a:lnTo>
                        <a:pt x="129" y="2"/>
                      </a:lnTo>
                      <a:lnTo>
                        <a:pt x="129" y="2"/>
                      </a:lnTo>
                      <a:lnTo>
                        <a:pt x="117" y="0"/>
                      </a:lnTo>
                      <a:lnTo>
                        <a:pt x="115" y="2"/>
                      </a:lnTo>
                      <a:lnTo>
                        <a:pt x="115" y="4"/>
                      </a:lnTo>
                      <a:lnTo>
                        <a:pt x="112" y="9"/>
                      </a:lnTo>
                      <a:lnTo>
                        <a:pt x="110" y="12"/>
                      </a:lnTo>
                      <a:lnTo>
                        <a:pt x="103" y="14"/>
                      </a:lnTo>
                      <a:lnTo>
                        <a:pt x="103" y="14"/>
                      </a:lnTo>
                      <a:lnTo>
                        <a:pt x="84" y="23"/>
                      </a:lnTo>
                      <a:lnTo>
                        <a:pt x="79" y="28"/>
                      </a:lnTo>
                      <a:lnTo>
                        <a:pt x="75" y="31"/>
                      </a:lnTo>
                      <a:lnTo>
                        <a:pt x="61" y="37"/>
                      </a:lnTo>
                      <a:lnTo>
                        <a:pt x="61" y="37"/>
                      </a:lnTo>
                      <a:lnTo>
                        <a:pt x="56" y="37"/>
                      </a:lnTo>
                      <a:lnTo>
                        <a:pt x="53" y="35"/>
                      </a:lnTo>
                      <a:lnTo>
                        <a:pt x="46" y="28"/>
                      </a:lnTo>
                      <a:lnTo>
                        <a:pt x="46" y="28"/>
                      </a:lnTo>
                      <a:lnTo>
                        <a:pt x="42" y="23"/>
                      </a:lnTo>
                      <a:lnTo>
                        <a:pt x="40" y="21"/>
                      </a:lnTo>
                      <a:lnTo>
                        <a:pt x="40" y="21"/>
                      </a:lnTo>
                      <a:lnTo>
                        <a:pt x="39" y="19"/>
                      </a:lnTo>
                      <a:lnTo>
                        <a:pt x="37" y="19"/>
                      </a:lnTo>
                      <a:lnTo>
                        <a:pt x="37" y="21"/>
                      </a:lnTo>
                      <a:lnTo>
                        <a:pt x="37" y="24"/>
                      </a:lnTo>
                      <a:lnTo>
                        <a:pt x="37" y="24"/>
                      </a:lnTo>
                      <a:lnTo>
                        <a:pt x="37" y="26"/>
                      </a:lnTo>
                      <a:lnTo>
                        <a:pt x="35" y="28"/>
                      </a:lnTo>
                      <a:lnTo>
                        <a:pt x="32" y="28"/>
                      </a:lnTo>
                      <a:lnTo>
                        <a:pt x="28" y="26"/>
                      </a:lnTo>
                      <a:lnTo>
                        <a:pt x="25" y="23"/>
                      </a:lnTo>
                      <a:lnTo>
                        <a:pt x="25" y="23"/>
                      </a:lnTo>
                      <a:lnTo>
                        <a:pt x="26" y="21"/>
                      </a:lnTo>
                      <a:lnTo>
                        <a:pt x="28" y="19"/>
                      </a:lnTo>
                      <a:lnTo>
                        <a:pt x="28" y="19"/>
                      </a:lnTo>
                      <a:lnTo>
                        <a:pt x="28" y="17"/>
                      </a:lnTo>
                      <a:lnTo>
                        <a:pt x="28" y="17"/>
                      </a:lnTo>
                      <a:lnTo>
                        <a:pt x="26" y="16"/>
                      </a:lnTo>
                      <a:lnTo>
                        <a:pt x="25" y="17"/>
                      </a:lnTo>
                      <a:lnTo>
                        <a:pt x="23" y="16"/>
                      </a:lnTo>
                      <a:lnTo>
                        <a:pt x="21" y="12"/>
                      </a:lnTo>
                      <a:lnTo>
                        <a:pt x="21" y="12"/>
                      </a:lnTo>
                      <a:lnTo>
                        <a:pt x="21" y="9"/>
                      </a:lnTo>
                      <a:lnTo>
                        <a:pt x="20" y="7"/>
                      </a:lnTo>
                      <a:lnTo>
                        <a:pt x="14" y="4"/>
                      </a:lnTo>
                      <a:lnTo>
                        <a:pt x="14" y="4"/>
                      </a:lnTo>
                      <a:lnTo>
                        <a:pt x="13" y="5"/>
                      </a:lnTo>
                      <a:lnTo>
                        <a:pt x="9" y="4"/>
                      </a:lnTo>
                      <a:lnTo>
                        <a:pt x="7" y="2"/>
                      </a:lnTo>
                      <a:lnTo>
                        <a:pt x="6" y="0"/>
                      </a:lnTo>
                      <a:lnTo>
                        <a:pt x="6" y="0"/>
                      </a:lnTo>
                      <a:lnTo>
                        <a:pt x="4" y="4"/>
                      </a:lnTo>
                      <a:lnTo>
                        <a:pt x="2" y="9"/>
                      </a:lnTo>
                      <a:lnTo>
                        <a:pt x="2" y="23"/>
                      </a:lnTo>
                      <a:lnTo>
                        <a:pt x="2" y="23"/>
                      </a:lnTo>
                      <a:lnTo>
                        <a:pt x="2" y="24"/>
                      </a:lnTo>
                      <a:lnTo>
                        <a:pt x="4" y="24"/>
                      </a:lnTo>
                      <a:lnTo>
                        <a:pt x="7" y="28"/>
                      </a:lnTo>
                      <a:lnTo>
                        <a:pt x="9" y="30"/>
                      </a:lnTo>
                      <a:lnTo>
                        <a:pt x="9" y="31"/>
                      </a:lnTo>
                      <a:lnTo>
                        <a:pt x="7" y="33"/>
                      </a:lnTo>
                      <a:lnTo>
                        <a:pt x="7" y="33"/>
                      </a:lnTo>
                      <a:lnTo>
                        <a:pt x="2" y="37"/>
                      </a:lnTo>
                      <a:lnTo>
                        <a:pt x="2" y="40"/>
                      </a:lnTo>
                      <a:lnTo>
                        <a:pt x="4" y="44"/>
                      </a:lnTo>
                      <a:lnTo>
                        <a:pt x="4" y="49"/>
                      </a:lnTo>
                      <a:lnTo>
                        <a:pt x="4" y="49"/>
                      </a:lnTo>
                      <a:lnTo>
                        <a:pt x="0" y="54"/>
                      </a:lnTo>
                      <a:lnTo>
                        <a:pt x="0" y="57"/>
                      </a:lnTo>
                      <a:lnTo>
                        <a:pt x="4" y="66"/>
                      </a:lnTo>
                      <a:lnTo>
                        <a:pt x="4" y="66"/>
                      </a:lnTo>
                      <a:lnTo>
                        <a:pt x="6" y="59"/>
                      </a:lnTo>
                      <a:lnTo>
                        <a:pt x="7" y="56"/>
                      </a:lnTo>
                      <a:lnTo>
                        <a:pt x="11" y="56"/>
                      </a:lnTo>
                      <a:lnTo>
                        <a:pt x="11" y="56"/>
                      </a:lnTo>
                      <a:lnTo>
                        <a:pt x="23" y="57"/>
                      </a:lnTo>
                      <a:lnTo>
                        <a:pt x="32" y="61"/>
                      </a:lnTo>
                      <a:lnTo>
                        <a:pt x="39" y="63"/>
                      </a:lnTo>
                      <a:lnTo>
                        <a:pt x="42" y="63"/>
                      </a:lnTo>
                      <a:lnTo>
                        <a:pt x="42" y="63"/>
                      </a:lnTo>
                      <a:lnTo>
                        <a:pt x="44" y="63"/>
                      </a:lnTo>
                      <a:lnTo>
                        <a:pt x="46" y="64"/>
                      </a:lnTo>
                      <a:lnTo>
                        <a:pt x="47" y="71"/>
                      </a:lnTo>
                      <a:lnTo>
                        <a:pt x="47" y="71"/>
                      </a:lnTo>
                      <a:lnTo>
                        <a:pt x="49" y="75"/>
                      </a:lnTo>
                      <a:lnTo>
                        <a:pt x="49" y="78"/>
                      </a:lnTo>
                      <a:lnTo>
                        <a:pt x="51" y="80"/>
                      </a:lnTo>
                      <a:lnTo>
                        <a:pt x="54" y="82"/>
                      </a:lnTo>
                      <a:lnTo>
                        <a:pt x="54" y="82"/>
                      </a:lnTo>
                      <a:lnTo>
                        <a:pt x="61" y="85"/>
                      </a:lnTo>
                      <a:lnTo>
                        <a:pt x="61" y="84"/>
                      </a:lnTo>
                      <a:lnTo>
                        <a:pt x="61" y="82"/>
                      </a:lnTo>
                      <a:lnTo>
                        <a:pt x="61" y="82"/>
                      </a:lnTo>
                      <a:lnTo>
                        <a:pt x="63" y="77"/>
                      </a:lnTo>
                      <a:lnTo>
                        <a:pt x="65" y="75"/>
                      </a:lnTo>
                      <a:lnTo>
                        <a:pt x="67" y="75"/>
                      </a:lnTo>
                      <a:lnTo>
                        <a:pt x="67" y="77"/>
                      </a:lnTo>
                      <a:lnTo>
                        <a:pt x="67" y="77"/>
                      </a:lnTo>
                      <a:lnTo>
                        <a:pt x="68" y="80"/>
                      </a:lnTo>
                      <a:lnTo>
                        <a:pt x="70" y="85"/>
                      </a:lnTo>
                      <a:lnTo>
                        <a:pt x="72" y="92"/>
                      </a:lnTo>
                      <a:lnTo>
                        <a:pt x="72" y="99"/>
                      </a:lnTo>
                      <a:lnTo>
                        <a:pt x="72" y="99"/>
                      </a:lnTo>
                      <a:lnTo>
                        <a:pt x="72" y="101"/>
                      </a:lnTo>
                      <a:lnTo>
                        <a:pt x="73" y="103"/>
                      </a:lnTo>
                      <a:lnTo>
                        <a:pt x="77" y="103"/>
                      </a:lnTo>
                      <a:lnTo>
                        <a:pt x="87" y="101"/>
                      </a:lnTo>
                      <a:lnTo>
                        <a:pt x="87" y="101"/>
                      </a:lnTo>
                      <a:lnTo>
                        <a:pt x="91" y="99"/>
                      </a:lnTo>
                      <a:lnTo>
                        <a:pt x="91" y="98"/>
                      </a:lnTo>
                      <a:lnTo>
                        <a:pt x="93" y="94"/>
                      </a:lnTo>
                      <a:lnTo>
                        <a:pt x="96" y="94"/>
                      </a:lnTo>
                      <a:lnTo>
                        <a:pt x="96" y="94"/>
                      </a:lnTo>
                      <a:lnTo>
                        <a:pt x="101" y="94"/>
                      </a:lnTo>
                      <a:lnTo>
                        <a:pt x="103" y="91"/>
                      </a:lnTo>
                      <a:lnTo>
                        <a:pt x="105" y="89"/>
                      </a:lnTo>
                      <a:lnTo>
                        <a:pt x="105" y="87"/>
                      </a:lnTo>
                      <a:lnTo>
                        <a:pt x="100" y="80"/>
                      </a:lnTo>
                      <a:lnTo>
                        <a:pt x="100" y="80"/>
                      </a:lnTo>
                      <a:lnTo>
                        <a:pt x="94" y="73"/>
                      </a:lnTo>
                      <a:lnTo>
                        <a:pt x="93" y="70"/>
                      </a:lnTo>
                      <a:lnTo>
                        <a:pt x="93" y="68"/>
                      </a:lnTo>
                      <a:lnTo>
                        <a:pt x="91" y="68"/>
                      </a:lnTo>
                      <a:lnTo>
                        <a:pt x="91" y="68"/>
                      </a:lnTo>
                      <a:lnTo>
                        <a:pt x="89" y="68"/>
                      </a:lnTo>
                      <a:lnTo>
                        <a:pt x="87" y="66"/>
                      </a:lnTo>
                      <a:lnTo>
                        <a:pt x="86" y="63"/>
                      </a:lnTo>
                      <a:lnTo>
                        <a:pt x="87" y="59"/>
                      </a:lnTo>
                      <a:lnTo>
                        <a:pt x="89" y="57"/>
                      </a:lnTo>
                      <a:lnTo>
                        <a:pt x="91" y="56"/>
                      </a:lnTo>
                      <a:lnTo>
                        <a:pt x="91" y="56"/>
                      </a:lnTo>
                      <a:lnTo>
                        <a:pt x="96" y="56"/>
                      </a:lnTo>
                      <a:lnTo>
                        <a:pt x="101" y="54"/>
                      </a:lnTo>
                      <a:lnTo>
                        <a:pt x="107" y="49"/>
                      </a:lnTo>
                      <a:lnTo>
                        <a:pt x="112" y="40"/>
                      </a:lnTo>
                      <a:lnTo>
                        <a:pt x="112" y="40"/>
                      </a:lnTo>
                      <a:lnTo>
                        <a:pt x="114" y="38"/>
                      </a:lnTo>
                      <a:lnTo>
                        <a:pt x="114" y="37"/>
                      </a:lnTo>
                      <a:lnTo>
                        <a:pt x="114" y="33"/>
                      </a:lnTo>
                      <a:lnTo>
                        <a:pt x="117" y="31"/>
                      </a:lnTo>
                      <a:lnTo>
                        <a:pt x="117" y="31"/>
                      </a:lnTo>
                      <a:lnTo>
                        <a:pt x="122" y="30"/>
                      </a:lnTo>
                      <a:lnTo>
                        <a:pt x="122" y="28"/>
                      </a:lnTo>
                      <a:lnTo>
                        <a:pt x="126" y="26"/>
                      </a:lnTo>
                      <a:lnTo>
                        <a:pt x="131" y="24"/>
                      </a:lnTo>
                      <a:lnTo>
                        <a:pt x="131" y="24"/>
                      </a:lnTo>
                      <a:lnTo>
                        <a:pt x="140" y="28"/>
                      </a:lnTo>
                      <a:lnTo>
                        <a:pt x="148" y="33"/>
                      </a:lnTo>
                      <a:lnTo>
                        <a:pt x="155" y="40"/>
                      </a:lnTo>
                      <a:lnTo>
                        <a:pt x="157" y="42"/>
                      </a:lnTo>
                      <a:lnTo>
                        <a:pt x="157" y="45"/>
                      </a:lnTo>
                      <a:lnTo>
                        <a:pt x="157" y="45"/>
                      </a:lnTo>
                      <a:lnTo>
                        <a:pt x="157" y="47"/>
                      </a:lnTo>
                      <a:lnTo>
                        <a:pt x="157" y="51"/>
                      </a:lnTo>
                      <a:lnTo>
                        <a:pt x="159" y="52"/>
                      </a:lnTo>
                      <a:lnTo>
                        <a:pt x="161" y="52"/>
                      </a:lnTo>
                      <a:lnTo>
                        <a:pt x="161" y="52"/>
                      </a:lnTo>
                      <a:lnTo>
                        <a:pt x="164" y="49"/>
                      </a:lnTo>
                      <a:lnTo>
                        <a:pt x="164" y="51"/>
                      </a:lnTo>
                      <a:lnTo>
                        <a:pt x="166" y="51"/>
                      </a:lnTo>
                      <a:lnTo>
                        <a:pt x="168" y="51"/>
                      </a:lnTo>
                      <a:lnTo>
                        <a:pt x="168" y="51"/>
                      </a:lnTo>
                      <a:lnTo>
                        <a:pt x="169" y="49"/>
                      </a:lnTo>
                      <a:lnTo>
                        <a:pt x="168" y="51"/>
                      </a:lnTo>
                      <a:lnTo>
                        <a:pt x="166" y="57"/>
                      </a:lnTo>
                      <a:lnTo>
                        <a:pt x="162" y="66"/>
                      </a:lnTo>
                      <a:lnTo>
                        <a:pt x="162" y="71"/>
                      </a:lnTo>
                      <a:lnTo>
                        <a:pt x="162" y="73"/>
                      </a:lnTo>
                      <a:lnTo>
                        <a:pt x="162" y="73"/>
                      </a:lnTo>
                      <a:lnTo>
                        <a:pt x="169" y="87"/>
                      </a:lnTo>
                      <a:lnTo>
                        <a:pt x="174" y="96"/>
                      </a:lnTo>
                      <a:lnTo>
                        <a:pt x="180" y="101"/>
                      </a:lnTo>
                      <a:lnTo>
                        <a:pt x="180" y="101"/>
                      </a:lnTo>
                      <a:lnTo>
                        <a:pt x="180" y="89"/>
                      </a:lnTo>
                      <a:lnTo>
                        <a:pt x="183" y="82"/>
                      </a:lnTo>
                      <a:lnTo>
                        <a:pt x="183" y="82"/>
                      </a:lnTo>
                      <a:lnTo>
                        <a:pt x="183" y="80"/>
                      </a:lnTo>
                      <a:lnTo>
                        <a:pt x="185" y="82"/>
                      </a:lnTo>
                      <a:lnTo>
                        <a:pt x="187" y="84"/>
                      </a:lnTo>
                      <a:lnTo>
                        <a:pt x="190" y="87"/>
                      </a:lnTo>
                      <a:lnTo>
                        <a:pt x="192" y="87"/>
                      </a:lnTo>
                      <a:lnTo>
                        <a:pt x="194" y="87"/>
                      </a:lnTo>
                      <a:lnTo>
                        <a:pt x="194" y="87"/>
                      </a:lnTo>
                      <a:lnTo>
                        <a:pt x="197" y="82"/>
                      </a:lnTo>
                      <a:lnTo>
                        <a:pt x="197" y="78"/>
                      </a:lnTo>
                      <a:lnTo>
                        <a:pt x="197" y="75"/>
                      </a:lnTo>
                      <a:lnTo>
                        <a:pt x="199" y="73"/>
                      </a:lnTo>
                      <a:lnTo>
                        <a:pt x="201" y="73"/>
                      </a:lnTo>
                      <a:lnTo>
                        <a:pt x="201" y="73"/>
                      </a:lnTo>
                      <a:lnTo>
                        <a:pt x="204" y="71"/>
                      </a:lnTo>
                      <a:lnTo>
                        <a:pt x="204" y="68"/>
                      </a:lnTo>
                      <a:lnTo>
                        <a:pt x="199" y="59"/>
                      </a:lnTo>
                      <a:lnTo>
                        <a:pt x="195" y="51"/>
                      </a:lnTo>
                      <a:lnTo>
                        <a:pt x="195" y="45"/>
                      </a:lnTo>
                      <a:lnTo>
                        <a:pt x="197" y="40"/>
                      </a:lnTo>
                      <a:lnTo>
                        <a:pt x="197" y="4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7" name="Freeform 1696">
                  <a:extLst>
                    <a:ext uri="{FF2B5EF4-FFF2-40B4-BE49-F238E27FC236}">
                      <a16:creationId xmlns:a16="http://schemas.microsoft.com/office/drawing/2014/main" id="{E89B121D-8B09-FC4E-F9B6-86F643DAB3A0}"/>
                    </a:ext>
                  </a:extLst>
                </p:cNvPr>
                <p:cNvSpPr>
                  <a:spLocks/>
                </p:cNvSpPr>
                <p:nvPr/>
              </p:nvSpPr>
              <p:spPr bwMode="auto">
                <a:xfrm>
                  <a:off x="2718107" y="3969076"/>
                  <a:ext cx="128625" cy="148008"/>
                </a:xfrm>
                <a:custGeom>
                  <a:avLst/>
                  <a:gdLst/>
                  <a:ahLst/>
                  <a:cxnLst>
                    <a:cxn ang="0">
                      <a:pos x="19" y="89"/>
                    </a:cxn>
                    <a:cxn ang="0">
                      <a:pos x="28" y="79"/>
                    </a:cxn>
                    <a:cxn ang="0">
                      <a:pos x="30" y="75"/>
                    </a:cxn>
                    <a:cxn ang="0">
                      <a:pos x="35" y="74"/>
                    </a:cxn>
                    <a:cxn ang="0">
                      <a:pos x="31" y="58"/>
                    </a:cxn>
                    <a:cxn ang="0">
                      <a:pos x="38" y="54"/>
                    </a:cxn>
                    <a:cxn ang="0">
                      <a:pos x="47" y="54"/>
                    </a:cxn>
                    <a:cxn ang="0">
                      <a:pos x="56" y="42"/>
                    </a:cxn>
                    <a:cxn ang="0">
                      <a:pos x="59" y="44"/>
                    </a:cxn>
                    <a:cxn ang="0">
                      <a:pos x="68" y="51"/>
                    </a:cxn>
                    <a:cxn ang="0">
                      <a:pos x="70" y="46"/>
                    </a:cxn>
                    <a:cxn ang="0">
                      <a:pos x="90" y="23"/>
                    </a:cxn>
                    <a:cxn ang="0">
                      <a:pos x="96" y="14"/>
                    </a:cxn>
                    <a:cxn ang="0">
                      <a:pos x="101" y="9"/>
                    </a:cxn>
                    <a:cxn ang="0">
                      <a:pos x="110" y="16"/>
                    </a:cxn>
                    <a:cxn ang="0">
                      <a:pos x="136" y="11"/>
                    </a:cxn>
                    <a:cxn ang="0">
                      <a:pos x="144" y="2"/>
                    </a:cxn>
                    <a:cxn ang="0">
                      <a:pos x="160" y="2"/>
                    </a:cxn>
                    <a:cxn ang="0">
                      <a:pos x="155" y="13"/>
                    </a:cxn>
                    <a:cxn ang="0">
                      <a:pos x="157" y="23"/>
                    </a:cxn>
                    <a:cxn ang="0">
                      <a:pos x="153" y="39"/>
                    </a:cxn>
                    <a:cxn ang="0">
                      <a:pos x="148" y="56"/>
                    </a:cxn>
                    <a:cxn ang="0">
                      <a:pos x="144" y="70"/>
                    </a:cxn>
                    <a:cxn ang="0">
                      <a:pos x="146" y="96"/>
                    </a:cxn>
                    <a:cxn ang="0">
                      <a:pos x="148" y="114"/>
                    </a:cxn>
                    <a:cxn ang="0">
                      <a:pos x="143" y="114"/>
                    </a:cxn>
                    <a:cxn ang="0">
                      <a:pos x="141" y="121"/>
                    </a:cxn>
                    <a:cxn ang="0">
                      <a:pos x="137" y="136"/>
                    </a:cxn>
                    <a:cxn ang="0">
                      <a:pos x="141" y="138"/>
                    </a:cxn>
                    <a:cxn ang="0">
                      <a:pos x="139" y="148"/>
                    </a:cxn>
                    <a:cxn ang="0">
                      <a:pos x="136" y="154"/>
                    </a:cxn>
                    <a:cxn ang="0">
                      <a:pos x="136" y="166"/>
                    </a:cxn>
                    <a:cxn ang="0">
                      <a:pos x="141" y="176"/>
                    </a:cxn>
                    <a:cxn ang="0">
                      <a:pos x="132" y="185"/>
                    </a:cxn>
                    <a:cxn ang="0">
                      <a:pos x="120" y="178"/>
                    </a:cxn>
                    <a:cxn ang="0">
                      <a:pos x="115" y="173"/>
                    </a:cxn>
                    <a:cxn ang="0">
                      <a:pos x="110" y="173"/>
                    </a:cxn>
                    <a:cxn ang="0">
                      <a:pos x="101" y="173"/>
                    </a:cxn>
                    <a:cxn ang="0">
                      <a:pos x="94" y="175"/>
                    </a:cxn>
                    <a:cxn ang="0">
                      <a:pos x="78" y="166"/>
                    </a:cxn>
                    <a:cxn ang="0">
                      <a:pos x="68" y="168"/>
                    </a:cxn>
                    <a:cxn ang="0">
                      <a:pos x="50" y="150"/>
                    </a:cxn>
                    <a:cxn ang="0">
                      <a:pos x="38" y="133"/>
                    </a:cxn>
                    <a:cxn ang="0">
                      <a:pos x="24" y="117"/>
                    </a:cxn>
                    <a:cxn ang="0">
                      <a:pos x="12" y="105"/>
                    </a:cxn>
                    <a:cxn ang="0">
                      <a:pos x="0" y="91"/>
                    </a:cxn>
                    <a:cxn ang="0">
                      <a:pos x="3" y="86"/>
                    </a:cxn>
                    <a:cxn ang="0">
                      <a:pos x="10" y="91"/>
                    </a:cxn>
                    <a:cxn ang="0">
                      <a:pos x="12" y="88"/>
                    </a:cxn>
                  </a:cxnLst>
                  <a:rect l="0" t="0" r="r" b="b"/>
                  <a:pathLst>
                    <a:path w="160" h="185">
                      <a:moveTo>
                        <a:pt x="12" y="88"/>
                      </a:moveTo>
                      <a:lnTo>
                        <a:pt x="12" y="88"/>
                      </a:lnTo>
                      <a:lnTo>
                        <a:pt x="19" y="89"/>
                      </a:lnTo>
                      <a:lnTo>
                        <a:pt x="23" y="88"/>
                      </a:lnTo>
                      <a:lnTo>
                        <a:pt x="26" y="84"/>
                      </a:lnTo>
                      <a:lnTo>
                        <a:pt x="28" y="79"/>
                      </a:lnTo>
                      <a:lnTo>
                        <a:pt x="28" y="79"/>
                      </a:lnTo>
                      <a:lnTo>
                        <a:pt x="30" y="77"/>
                      </a:lnTo>
                      <a:lnTo>
                        <a:pt x="30" y="75"/>
                      </a:lnTo>
                      <a:lnTo>
                        <a:pt x="33" y="75"/>
                      </a:lnTo>
                      <a:lnTo>
                        <a:pt x="33" y="75"/>
                      </a:lnTo>
                      <a:lnTo>
                        <a:pt x="35" y="74"/>
                      </a:lnTo>
                      <a:lnTo>
                        <a:pt x="33" y="67"/>
                      </a:lnTo>
                      <a:lnTo>
                        <a:pt x="33" y="67"/>
                      </a:lnTo>
                      <a:lnTo>
                        <a:pt x="31" y="58"/>
                      </a:lnTo>
                      <a:lnTo>
                        <a:pt x="33" y="56"/>
                      </a:lnTo>
                      <a:lnTo>
                        <a:pt x="33" y="54"/>
                      </a:lnTo>
                      <a:lnTo>
                        <a:pt x="38" y="54"/>
                      </a:lnTo>
                      <a:lnTo>
                        <a:pt x="43" y="54"/>
                      </a:lnTo>
                      <a:lnTo>
                        <a:pt x="43" y="54"/>
                      </a:lnTo>
                      <a:lnTo>
                        <a:pt x="47" y="54"/>
                      </a:lnTo>
                      <a:lnTo>
                        <a:pt x="49" y="53"/>
                      </a:lnTo>
                      <a:lnTo>
                        <a:pt x="52" y="47"/>
                      </a:lnTo>
                      <a:lnTo>
                        <a:pt x="56" y="42"/>
                      </a:lnTo>
                      <a:lnTo>
                        <a:pt x="57" y="42"/>
                      </a:lnTo>
                      <a:lnTo>
                        <a:pt x="59" y="44"/>
                      </a:lnTo>
                      <a:lnTo>
                        <a:pt x="59" y="44"/>
                      </a:lnTo>
                      <a:lnTo>
                        <a:pt x="63" y="49"/>
                      </a:lnTo>
                      <a:lnTo>
                        <a:pt x="66" y="51"/>
                      </a:lnTo>
                      <a:lnTo>
                        <a:pt x="68" y="51"/>
                      </a:lnTo>
                      <a:lnTo>
                        <a:pt x="70" y="49"/>
                      </a:lnTo>
                      <a:lnTo>
                        <a:pt x="70" y="49"/>
                      </a:lnTo>
                      <a:lnTo>
                        <a:pt x="70" y="46"/>
                      </a:lnTo>
                      <a:lnTo>
                        <a:pt x="71" y="42"/>
                      </a:lnTo>
                      <a:lnTo>
                        <a:pt x="80" y="34"/>
                      </a:lnTo>
                      <a:lnTo>
                        <a:pt x="90" y="23"/>
                      </a:lnTo>
                      <a:lnTo>
                        <a:pt x="94" y="20"/>
                      </a:lnTo>
                      <a:lnTo>
                        <a:pt x="96" y="14"/>
                      </a:lnTo>
                      <a:lnTo>
                        <a:pt x="96" y="14"/>
                      </a:lnTo>
                      <a:lnTo>
                        <a:pt x="97" y="9"/>
                      </a:lnTo>
                      <a:lnTo>
                        <a:pt x="99" y="9"/>
                      </a:lnTo>
                      <a:lnTo>
                        <a:pt x="101" y="9"/>
                      </a:lnTo>
                      <a:lnTo>
                        <a:pt x="103" y="13"/>
                      </a:lnTo>
                      <a:lnTo>
                        <a:pt x="103" y="13"/>
                      </a:lnTo>
                      <a:lnTo>
                        <a:pt x="110" y="16"/>
                      </a:lnTo>
                      <a:lnTo>
                        <a:pt x="120" y="14"/>
                      </a:lnTo>
                      <a:lnTo>
                        <a:pt x="132" y="13"/>
                      </a:lnTo>
                      <a:lnTo>
                        <a:pt x="136" y="11"/>
                      </a:lnTo>
                      <a:lnTo>
                        <a:pt x="139" y="7"/>
                      </a:lnTo>
                      <a:lnTo>
                        <a:pt x="139" y="7"/>
                      </a:lnTo>
                      <a:lnTo>
                        <a:pt x="144" y="2"/>
                      </a:lnTo>
                      <a:lnTo>
                        <a:pt x="150" y="0"/>
                      </a:lnTo>
                      <a:lnTo>
                        <a:pt x="153" y="0"/>
                      </a:lnTo>
                      <a:lnTo>
                        <a:pt x="160" y="2"/>
                      </a:lnTo>
                      <a:lnTo>
                        <a:pt x="160" y="2"/>
                      </a:lnTo>
                      <a:lnTo>
                        <a:pt x="157" y="7"/>
                      </a:lnTo>
                      <a:lnTo>
                        <a:pt x="155" y="13"/>
                      </a:lnTo>
                      <a:lnTo>
                        <a:pt x="155" y="18"/>
                      </a:lnTo>
                      <a:lnTo>
                        <a:pt x="157" y="23"/>
                      </a:lnTo>
                      <a:lnTo>
                        <a:pt x="157" y="23"/>
                      </a:lnTo>
                      <a:lnTo>
                        <a:pt x="158" y="27"/>
                      </a:lnTo>
                      <a:lnTo>
                        <a:pt x="157" y="30"/>
                      </a:lnTo>
                      <a:lnTo>
                        <a:pt x="153" y="39"/>
                      </a:lnTo>
                      <a:lnTo>
                        <a:pt x="150" y="46"/>
                      </a:lnTo>
                      <a:lnTo>
                        <a:pt x="148" y="56"/>
                      </a:lnTo>
                      <a:lnTo>
                        <a:pt x="148" y="56"/>
                      </a:lnTo>
                      <a:lnTo>
                        <a:pt x="146" y="63"/>
                      </a:lnTo>
                      <a:lnTo>
                        <a:pt x="144" y="67"/>
                      </a:lnTo>
                      <a:lnTo>
                        <a:pt x="144" y="70"/>
                      </a:lnTo>
                      <a:lnTo>
                        <a:pt x="144" y="79"/>
                      </a:lnTo>
                      <a:lnTo>
                        <a:pt x="144" y="79"/>
                      </a:lnTo>
                      <a:lnTo>
                        <a:pt x="146" y="96"/>
                      </a:lnTo>
                      <a:lnTo>
                        <a:pt x="148" y="108"/>
                      </a:lnTo>
                      <a:lnTo>
                        <a:pt x="148" y="108"/>
                      </a:lnTo>
                      <a:lnTo>
                        <a:pt x="148" y="114"/>
                      </a:lnTo>
                      <a:lnTo>
                        <a:pt x="144" y="114"/>
                      </a:lnTo>
                      <a:lnTo>
                        <a:pt x="144" y="114"/>
                      </a:lnTo>
                      <a:lnTo>
                        <a:pt x="143" y="114"/>
                      </a:lnTo>
                      <a:lnTo>
                        <a:pt x="143" y="114"/>
                      </a:lnTo>
                      <a:lnTo>
                        <a:pt x="141" y="121"/>
                      </a:lnTo>
                      <a:lnTo>
                        <a:pt x="141" y="121"/>
                      </a:lnTo>
                      <a:lnTo>
                        <a:pt x="137" y="131"/>
                      </a:lnTo>
                      <a:lnTo>
                        <a:pt x="137" y="135"/>
                      </a:lnTo>
                      <a:lnTo>
                        <a:pt x="137" y="136"/>
                      </a:lnTo>
                      <a:lnTo>
                        <a:pt x="139" y="136"/>
                      </a:lnTo>
                      <a:lnTo>
                        <a:pt x="139" y="136"/>
                      </a:lnTo>
                      <a:lnTo>
                        <a:pt x="141" y="138"/>
                      </a:lnTo>
                      <a:lnTo>
                        <a:pt x="141" y="143"/>
                      </a:lnTo>
                      <a:lnTo>
                        <a:pt x="141" y="147"/>
                      </a:lnTo>
                      <a:lnTo>
                        <a:pt x="139" y="148"/>
                      </a:lnTo>
                      <a:lnTo>
                        <a:pt x="139" y="148"/>
                      </a:lnTo>
                      <a:lnTo>
                        <a:pt x="137" y="150"/>
                      </a:lnTo>
                      <a:lnTo>
                        <a:pt x="136" y="154"/>
                      </a:lnTo>
                      <a:lnTo>
                        <a:pt x="134" y="159"/>
                      </a:lnTo>
                      <a:lnTo>
                        <a:pt x="136" y="166"/>
                      </a:lnTo>
                      <a:lnTo>
                        <a:pt x="136" y="166"/>
                      </a:lnTo>
                      <a:lnTo>
                        <a:pt x="139" y="173"/>
                      </a:lnTo>
                      <a:lnTo>
                        <a:pt x="141" y="176"/>
                      </a:lnTo>
                      <a:lnTo>
                        <a:pt x="141" y="176"/>
                      </a:lnTo>
                      <a:lnTo>
                        <a:pt x="139" y="182"/>
                      </a:lnTo>
                      <a:lnTo>
                        <a:pt x="136" y="185"/>
                      </a:lnTo>
                      <a:lnTo>
                        <a:pt x="132" y="185"/>
                      </a:lnTo>
                      <a:lnTo>
                        <a:pt x="129" y="185"/>
                      </a:lnTo>
                      <a:lnTo>
                        <a:pt x="124" y="182"/>
                      </a:lnTo>
                      <a:lnTo>
                        <a:pt x="120" y="178"/>
                      </a:lnTo>
                      <a:lnTo>
                        <a:pt x="120" y="178"/>
                      </a:lnTo>
                      <a:lnTo>
                        <a:pt x="117" y="173"/>
                      </a:lnTo>
                      <a:lnTo>
                        <a:pt x="115" y="173"/>
                      </a:lnTo>
                      <a:lnTo>
                        <a:pt x="113" y="175"/>
                      </a:lnTo>
                      <a:lnTo>
                        <a:pt x="110" y="173"/>
                      </a:lnTo>
                      <a:lnTo>
                        <a:pt x="110" y="173"/>
                      </a:lnTo>
                      <a:lnTo>
                        <a:pt x="106" y="169"/>
                      </a:lnTo>
                      <a:lnTo>
                        <a:pt x="104" y="169"/>
                      </a:lnTo>
                      <a:lnTo>
                        <a:pt x="101" y="173"/>
                      </a:lnTo>
                      <a:lnTo>
                        <a:pt x="99" y="175"/>
                      </a:lnTo>
                      <a:lnTo>
                        <a:pt x="97" y="176"/>
                      </a:lnTo>
                      <a:lnTo>
                        <a:pt x="94" y="175"/>
                      </a:lnTo>
                      <a:lnTo>
                        <a:pt x="89" y="173"/>
                      </a:lnTo>
                      <a:lnTo>
                        <a:pt x="89" y="173"/>
                      </a:lnTo>
                      <a:lnTo>
                        <a:pt x="78" y="166"/>
                      </a:lnTo>
                      <a:lnTo>
                        <a:pt x="73" y="164"/>
                      </a:lnTo>
                      <a:lnTo>
                        <a:pt x="70" y="166"/>
                      </a:lnTo>
                      <a:lnTo>
                        <a:pt x="68" y="168"/>
                      </a:lnTo>
                      <a:lnTo>
                        <a:pt x="68" y="168"/>
                      </a:lnTo>
                      <a:lnTo>
                        <a:pt x="57" y="157"/>
                      </a:lnTo>
                      <a:lnTo>
                        <a:pt x="50" y="150"/>
                      </a:lnTo>
                      <a:lnTo>
                        <a:pt x="43" y="143"/>
                      </a:lnTo>
                      <a:lnTo>
                        <a:pt x="38" y="133"/>
                      </a:lnTo>
                      <a:lnTo>
                        <a:pt x="38" y="133"/>
                      </a:lnTo>
                      <a:lnTo>
                        <a:pt x="35" y="128"/>
                      </a:lnTo>
                      <a:lnTo>
                        <a:pt x="31" y="122"/>
                      </a:lnTo>
                      <a:lnTo>
                        <a:pt x="24" y="117"/>
                      </a:lnTo>
                      <a:lnTo>
                        <a:pt x="19" y="112"/>
                      </a:lnTo>
                      <a:lnTo>
                        <a:pt x="12" y="105"/>
                      </a:lnTo>
                      <a:lnTo>
                        <a:pt x="12" y="105"/>
                      </a:lnTo>
                      <a:lnTo>
                        <a:pt x="7" y="98"/>
                      </a:lnTo>
                      <a:lnTo>
                        <a:pt x="3" y="94"/>
                      </a:lnTo>
                      <a:lnTo>
                        <a:pt x="0" y="91"/>
                      </a:lnTo>
                      <a:lnTo>
                        <a:pt x="2" y="88"/>
                      </a:lnTo>
                      <a:lnTo>
                        <a:pt x="2" y="88"/>
                      </a:lnTo>
                      <a:lnTo>
                        <a:pt x="3" y="86"/>
                      </a:lnTo>
                      <a:lnTo>
                        <a:pt x="5" y="86"/>
                      </a:lnTo>
                      <a:lnTo>
                        <a:pt x="7" y="89"/>
                      </a:lnTo>
                      <a:lnTo>
                        <a:pt x="10" y="91"/>
                      </a:lnTo>
                      <a:lnTo>
                        <a:pt x="12" y="91"/>
                      </a:lnTo>
                      <a:lnTo>
                        <a:pt x="12" y="88"/>
                      </a:lnTo>
                      <a:lnTo>
                        <a:pt x="12" y="8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8" name="Freeform 1697">
                  <a:extLst>
                    <a:ext uri="{FF2B5EF4-FFF2-40B4-BE49-F238E27FC236}">
                      <a16:creationId xmlns:a16="http://schemas.microsoft.com/office/drawing/2014/main" id="{D3A660B3-287A-28E1-E4E2-D6FE55D60A0D}"/>
                    </a:ext>
                  </a:extLst>
                </p:cNvPr>
                <p:cNvSpPr>
                  <a:spLocks/>
                </p:cNvSpPr>
                <p:nvPr/>
              </p:nvSpPr>
              <p:spPr bwMode="auto">
                <a:xfrm>
                  <a:off x="2589479" y="3870405"/>
                  <a:ext cx="112768" cy="140960"/>
                </a:xfrm>
                <a:custGeom>
                  <a:avLst/>
                  <a:gdLst/>
                  <a:ahLst/>
                  <a:cxnLst>
                    <a:cxn ang="0">
                      <a:pos x="108" y="85"/>
                    </a:cxn>
                    <a:cxn ang="0">
                      <a:pos x="116" y="83"/>
                    </a:cxn>
                    <a:cxn ang="0">
                      <a:pos x="125" y="90"/>
                    </a:cxn>
                    <a:cxn ang="0">
                      <a:pos x="129" y="90"/>
                    </a:cxn>
                    <a:cxn ang="0">
                      <a:pos x="130" y="87"/>
                    </a:cxn>
                    <a:cxn ang="0">
                      <a:pos x="129" y="83"/>
                    </a:cxn>
                    <a:cxn ang="0">
                      <a:pos x="129" y="81"/>
                    </a:cxn>
                    <a:cxn ang="0">
                      <a:pos x="141" y="92"/>
                    </a:cxn>
                    <a:cxn ang="0">
                      <a:pos x="125" y="106"/>
                    </a:cxn>
                    <a:cxn ang="0">
                      <a:pos x="111" y="118"/>
                    </a:cxn>
                    <a:cxn ang="0">
                      <a:pos x="108" y="123"/>
                    </a:cxn>
                    <a:cxn ang="0">
                      <a:pos x="109" y="137"/>
                    </a:cxn>
                    <a:cxn ang="0">
                      <a:pos x="106" y="144"/>
                    </a:cxn>
                    <a:cxn ang="0">
                      <a:pos x="101" y="146"/>
                    </a:cxn>
                    <a:cxn ang="0">
                      <a:pos x="94" y="149"/>
                    </a:cxn>
                    <a:cxn ang="0">
                      <a:pos x="94" y="153"/>
                    </a:cxn>
                    <a:cxn ang="0">
                      <a:pos x="94" y="158"/>
                    </a:cxn>
                    <a:cxn ang="0">
                      <a:pos x="80" y="167"/>
                    </a:cxn>
                    <a:cxn ang="0">
                      <a:pos x="75" y="175"/>
                    </a:cxn>
                    <a:cxn ang="0">
                      <a:pos x="61" y="170"/>
                    </a:cxn>
                    <a:cxn ang="0">
                      <a:pos x="43" y="167"/>
                    </a:cxn>
                    <a:cxn ang="0">
                      <a:pos x="36" y="167"/>
                    </a:cxn>
                    <a:cxn ang="0">
                      <a:pos x="17" y="156"/>
                    </a:cxn>
                    <a:cxn ang="0">
                      <a:pos x="0" y="142"/>
                    </a:cxn>
                    <a:cxn ang="0">
                      <a:pos x="3" y="135"/>
                    </a:cxn>
                    <a:cxn ang="0">
                      <a:pos x="3" y="132"/>
                    </a:cxn>
                    <a:cxn ang="0">
                      <a:pos x="3" y="123"/>
                    </a:cxn>
                    <a:cxn ang="0">
                      <a:pos x="1" y="111"/>
                    </a:cxn>
                    <a:cxn ang="0">
                      <a:pos x="62" y="74"/>
                    </a:cxn>
                    <a:cxn ang="0">
                      <a:pos x="64" y="62"/>
                    </a:cxn>
                    <a:cxn ang="0">
                      <a:pos x="62" y="61"/>
                    </a:cxn>
                    <a:cxn ang="0">
                      <a:pos x="57" y="57"/>
                    </a:cxn>
                    <a:cxn ang="0">
                      <a:pos x="55" y="54"/>
                    </a:cxn>
                    <a:cxn ang="0">
                      <a:pos x="52" y="47"/>
                    </a:cxn>
                    <a:cxn ang="0">
                      <a:pos x="42" y="40"/>
                    </a:cxn>
                    <a:cxn ang="0">
                      <a:pos x="38" y="36"/>
                    </a:cxn>
                    <a:cxn ang="0">
                      <a:pos x="33" y="27"/>
                    </a:cxn>
                    <a:cxn ang="0">
                      <a:pos x="45" y="26"/>
                    </a:cxn>
                    <a:cxn ang="0">
                      <a:pos x="108" y="0"/>
                    </a:cxn>
                  </a:cxnLst>
                  <a:rect l="0" t="0" r="r" b="b"/>
                  <a:pathLst>
                    <a:path w="141" h="175">
                      <a:moveTo>
                        <a:pt x="108" y="0"/>
                      </a:moveTo>
                      <a:lnTo>
                        <a:pt x="108" y="85"/>
                      </a:lnTo>
                      <a:lnTo>
                        <a:pt x="116" y="83"/>
                      </a:lnTo>
                      <a:lnTo>
                        <a:pt x="116" y="83"/>
                      </a:lnTo>
                      <a:lnTo>
                        <a:pt x="122" y="87"/>
                      </a:lnTo>
                      <a:lnTo>
                        <a:pt x="125" y="90"/>
                      </a:lnTo>
                      <a:lnTo>
                        <a:pt x="127" y="92"/>
                      </a:lnTo>
                      <a:lnTo>
                        <a:pt x="129" y="90"/>
                      </a:lnTo>
                      <a:lnTo>
                        <a:pt x="129" y="90"/>
                      </a:lnTo>
                      <a:lnTo>
                        <a:pt x="130" y="87"/>
                      </a:lnTo>
                      <a:lnTo>
                        <a:pt x="129" y="83"/>
                      </a:lnTo>
                      <a:lnTo>
                        <a:pt x="129" y="83"/>
                      </a:lnTo>
                      <a:lnTo>
                        <a:pt x="127" y="81"/>
                      </a:lnTo>
                      <a:lnTo>
                        <a:pt x="129" y="81"/>
                      </a:lnTo>
                      <a:lnTo>
                        <a:pt x="132" y="83"/>
                      </a:lnTo>
                      <a:lnTo>
                        <a:pt x="141" y="92"/>
                      </a:lnTo>
                      <a:lnTo>
                        <a:pt x="141" y="92"/>
                      </a:lnTo>
                      <a:lnTo>
                        <a:pt x="125" y="106"/>
                      </a:lnTo>
                      <a:lnTo>
                        <a:pt x="111" y="118"/>
                      </a:lnTo>
                      <a:lnTo>
                        <a:pt x="111" y="118"/>
                      </a:lnTo>
                      <a:lnTo>
                        <a:pt x="109" y="120"/>
                      </a:lnTo>
                      <a:lnTo>
                        <a:pt x="108" y="123"/>
                      </a:lnTo>
                      <a:lnTo>
                        <a:pt x="108" y="132"/>
                      </a:lnTo>
                      <a:lnTo>
                        <a:pt x="109" y="137"/>
                      </a:lnTo>
                      <a:lnTo>
                        <a:pt x="108" y="141"/>
                      </a:lnTo>
                      <a:lnTo>
                        <a:pt x="106" y="144"/>
                      </a:lnTo>
                      <a:lnTo>
                        <a:pt x="101" y="146"/>
                      </a:lnTo>
                      <a:lnTo>
                        <a:pt x="101" y="146"/>
                      </a:lnTo>
                      <a:lnTo>
                        <a:pt x="96" y="148"/>
                      </a:lnTo>
                      <a:lnTo>
                        <a:pt x="94" y="149"/>
                      </a:lnTo>
                      <a:lnTo>
                        <a:pt x="94" y="153"/>
                      </a:lnTo>
                      <a:lnTo>
                        <a:pt x="94" y="153"/>
                      </a:lnTo>
                      <a:lnTo>
                        <a:pt x="94" y="155"/>
                      </a:lnTo>
                      <a:lnTo>
                        <a:pt x="94" y="158"/>
                      </a:lnTo>
                      <a:lnTo>
                        <a:pt x="89" y="162"/>
                      </a:lnTo>
                      <a:lnTo>
                        <a:pt x="80" y="167"/>
                      </a:lnTo>
                      <a:lnTo>
                        <a:pt x="78" y="172"/>
                      </a:lnTo>
                      <a:lnTo>
                        <a:pt x="75" y="175"/>
                      </a:lnTo>
                      <a:lnTo>
                        <a:pt x="75" y="175"/>
                      </a:lnTo>
                      <a:lnTo>
                        <a:pt x="61" y="170"/>
                      </a:lnTo>
                      <a:lnTo>
                        <a:pt x="54" y="167"/>
                      </a:lnTo>
                      <a:lnTo>
                        <a:pt x="43" y="167"/>
                      </a:lnTo>
                      <a:lnTo>
                        <a:pt x="43" y="167"/>
                      </a:lnTo>
                      <a:lnTo>
                        <a:pt x="36" y="167"/>
                      </a:lnTo>
                      <a:lnTo>
                        <a:pt x="28" y="165"/>
                      </a:lnTo>
                      <a:lnTo>
                        <a:pt x="17" y="156"/>
                      </a:lnTo>
                      <a:lnTo>
                        <a:pt x="0" y="142"/>
                      </a:lnTo>
                      <a:lnTo>
                        <a:pt x="0" y="142"/>
                      </a:lnTo>
                      <a:lnTo>
                        <a:pt x="3" y="139"/>
                      </a:lnTo>
                      <a:lnTo>
                        <a:pt x="3" y="135"/>
                      </a:lnTo>
                      <a:lnTo>
                        <a:pt x="3" y="132"/>
                      </a:lnTo>
                      <a:lnTo>
                        <a:pt x="3" y="132"/>
                      </a:lnTo>
                      <a:lnTo>
                        <a:pt x="3" y="127"/>
                      </a:lnTo>
                      <a:lnTo>
                        <a:pt x="3" y="123"/>
                      </a:lnTo>
                      <a:lnTo>
                        <a:pt x="7" y="118"/>
                      </a:lnTo>
                      <a:lnTo>
                        <a:pt x="1" y="111"/>
                      </a:lnTo>
                      <a:lnTo>
                        <a:pt x="19" y="74"/>
                      </a:lnTo>
                      <a:lnTo>
                        <a:pt x="62" y="74"/>
                      </a:lnTo>
                      <a:lnTo>
                        <a:pt x="62" y="74"/>
                      </a:lnTo>
                      <a:lnTo>
                        <a:pt x="64" y="62"/>
                      </a:lnTo>
                      <a:lnTo>
                        <a:pt x="64" y="61"/>
                      </a:lnTo>
                      <a:lnTo>
                        <a:pt x="62" y="61"/>
                      </a:lnTo>
                      <a:lnTo>
                        <a:pt x="59" y="59"/>
                      </a:lnTo>
                      <a:lnTo>
                        <a:pt x="57" y="57"/>
                      </a:lnTo>
                      <a:lnTo>
                        <a:pt x="55" y="54"/>
                      </a:lnTo>
                      <a:lnTo>
                        <a:pt x="55" y="54"/>
                      </a:lnTo>
                      <a:lnTo>
                        <a:pt x="54" y="48"/>
                      </a:lnTo>
                      <a:lnTo>
                        <a:pt x="52" y="47"/>
                      </a:lnTo>
                      <a:lnTo>
                        <a:pt x="47" y="43"/>
                      </a:lnTo>
                      <a:lnTo>
                        <a:pt x="42" y="40"/>
                      </a:lnTo>
                      <a:lnTo>
                        <a:pt x="38" y="36"/>
                      </a:lnTo>
                      <a:lnTo>
                        <a:pt x="38" y="36"/>
                      </a:lnTo>
                      <a:lnTo>
                        <a:pt x="35" y="31"/>
                      </a:lnTo>
                      <a:lnTo>
                        <a:pt x="33" y="27"/>
                      </a:lnTo>
                      <a:lnTo>
                        <a:pt x="28" y="26"/>
                      </a:lnTo>
                      <a:lnTo>
                        <a:pt x="45" y="26"/>
                      </a:lnTo>
                      <a:lnTo>
                        <a:pt x="45" y="1"/>
                      </a:lnTo>
                      <a:lnTo>
                        <a:pt x="108"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9" name="Freeform 1698">
                  <a:extLst>
                    <a:ext uri="{FF2B5EF4-FFF2-40B4-BE49-F238E27FC236}">
                      <a16:creationId xmlns:a16="http://schemas.microsoft.com/office/drawing/2014/main" id="{718D6E02-A639-7D2A-4BE7-8475C97513FD}"/>
                    </a:ext>
                  </a:extLst>
                </p:cNvPr>
                <p:cNvSpPr>
                  <a:spLocks/>
                </p:cNvSpPr>
                <p:nvPr/>
              </p:nvSpPr>
              <p:spPr bwMode="auto">
                <a:xfrm>
                  <a:off x="2797396" y="3680108"/>
                  <a:ext cx="304828" cy="119816"/>
                </a:xfrm>
                <a:custGeom>
                  <a:avLst/>
                  <a:gdLst/>
                  <a:ahLst/>
                  <a:cxnLst>
                    <a:cxn ang="0">
                      <a:pos x="19" y="64"/>
                    </a:cxn>
                    <a:cxn ang="0">
                      <a:pos x="14" y="64"/>
                    </a:cxn>
                    <a:cxn ang="0">
                      <a:pos x="2" y="64"/>
                    </a:cxn>
                    <a:cxn ang="0">
                      <a:pos x="0" y="58"/>
                    </a:cxn>
                    <a:cxn ang="0">
                      <a:pos x="19" y="51"/>
                    </a:cxn>
                    <a:cxn ang="0">
                      <a:pos x="21" y="37"/>
                    </a:cxn>
                    <a:cxn ang="0">
                      <a:pos x="47" y="16"/>
                    </a:cxn>
                    <a:cxn ang="0">
                      <a:pos x="80" y="11"/>
                    </a:cxn>
                    <a:cxn ang="0">
                      <a:pos x="96" y="2"/>
                    </a:cxn>
                    <a:cxn ang="0">
                      <a:pos x="117" y="5"/>
                    </a:cxn>
                    <a:cxn ang="0">
                      <a:pos x="131" y="0"/>
                    </a:cxn>
                    <a:cxn ang="0">
                      <a:pos x="141" y="7"/>
                    </a:cxn>
                    <a:cxn ang="0">
                      <a:pos x="155" y="9"/>
                    </a:cxn>
                    <a:cxn ang="0">
                      <a:pos x="167" y="14"/>
                    </a:cxn>
                    <a:cxn ang="0">
                      <a:pos x="187" y="24"/>
                    </a:cxn>
                    <a:cxn ang="0">
                      <a:pos x="199" y="37"/>
                    </a:cxn>
                    <a:cxn ang="0">
                      <a:pos x="225" y="44"/>
                    </a:cxn>
                    <a:cxn ang="0">
                      <a:pos x="247" y="52"/>
                    </a:cxn>
                    <a:cxn ang="0">
                      <a:pos x="254" y="58"/>
                    </a:cxn>
                    <a:cxn ang="0">
                      <a:pos x="260" y="66"/>
                    </a:cxn>
                    <a:cxn ang="0">
                      <a:pos x="260" y="61"/>
                    </a:cxn>
                    <a:cxn ang="0">
                      <a:pos x="284" y="82"/>
                    </a:cxn>
                    <a:cxn ang="0">
                      <a:pos x="293" y="89"/>
                    </a:cxn>
                    <a:cxn ang="0">
                      <a:pos x="303" y="89"/>
                    </a:cxn>
                    <a:cxn ang="0">
                      <a:pos x="310" y="94"/>
                    </a:cxn>
                    <a:cxn ang="0">
                      <a:pos x="326" y="96"/>
                    </a:cxn>
                    <a:cxn ang="0">
                      <a:pos x="326" y="105"/>
                    </a:cxn>
                    <a:cxn ang="0">
                      <a:pos x="335" y="111"/>
                    </a:cxn>
                    <a:cxn ang="0">
                      <a:pos x="361" y="120"/>
                    </a:cxn>
                    <a:cxn ang="0">
                      <a:pos x="371" y="131"/>
                    </a:cxn>
                    <a:cxn ang="0">
                      <a:pos x="378" y="138"/>
                    </a:cxn>
                    <a:cxn ang="0">
                      <a:pos x="362" y="141"/>
                    </a:cxn>
                    <a:cxn ang="0">
                      <a:pos x="340" y="150"/>
                    </a:cxn>
                    <a:cxn ang="0">
                      <a:pos x="321" y="146"/>
                    </a:cxn>
                    <a:cxn ang="0">
                      <a:pos x="284" y="146"/>
                    </a:cxn>
                    <a:cxn ang="0">
                      <a:pos x="253" y="143"/>
                    </a:cxn>
                    <a:cxn ang="0">
                      <a:pos x="274" y="127"/>
                    </a:cxn>
                    <a:cxn ang="0">
                      <a:pos x="270" y="115"/>
                    </a:cxn>
                    <a:cxn ang="0">
                      <a:pos x="242" y="111"/>
                    </a:cxn>
                    <a:cxn ang="0">
                      <a:pos x="225" y="94"/>
                    </a:cxn>
                    <a:cxn ang="0">
                      <a:pos x="216" y="75"/>
                    </a:cxn>
                    <a:cxn ang="0">
                      <a:pos x="193" y="73"/>
                    </a:cxn>
                    <a:cxn ang="0">
                      <a:pos x="173" y="64"/>
                    </a:cxn>
                    <a:cxn ang="0">
                      <a:pos x="150" y="52"/>
                    </a:cxn>
                    <a:cxn ang="0">
                      <a:pos x="115" y="51"/>
                    </a:cxn>
                    <a:cxn ang="0">
                      <a:pos x="99" y="40"/>
                    </a:cxn>
                    <a:cxn ang="0">
                      <a:pos x="115" y="31"/>
                    </a:cxn>
                    <a:cxn ang="0">
                      <a:pos x="92" y="24"/>
                    </a:cxn>
                    <a:cxn ang="0">
                      <a:pos x="65" y="35"/>
                    </a:cxn>
                    <a:cxn ang="0">
                      <a:pos x="44" y="47"/>
                    </a:cxn>
                    <a:cxn ang="0">
                      <a:pos x="33" y="59"/>
                    </a:cxn>
                  </a:cxnLst>
                  <a:rect l="0" t="0" r="r" b="b"/>
                  <a:pathLst>
                    <a:path w="382" h="150">
                      <a:moveTo>
                        <a:pt x="33" y="59"/>
                      </a:moveTo>
                      <a:lnTo>
                        <a:pt x="33" y="59"/>
                      </a:lnTo>
                      <a:lnTo>
                        <a:pt x="25" y="61"/>
                      </a:lnTo>
                      <a:lnTo>
                        <a:pt x="19" y="64"/>
                      </a:lnTo>
                      <a:lnTo>
                        <a:pt x="16" y="66"/>
                      </a:lnTo>
                      <a:lnTo>
                        <a:pt x="16" y="66"/>
                      </a:lnTo>
                      <a:lnTo>
                        <a:pt x="14" y="64"/>
                      </a:lnTo>
                      <a:lnTo>
                        <a:pt x="14" y="64"/>
                      </a:lnTo>
                      <a:lnTo>
                        <a:pt x="12" y="63"/>
                      </a:lnTo>
                      <a:lnTo>
                        <a:pt x="11" y="63"/>
                      </a:lnTo>
                      <a:lnTo>
                        <a:pt x="7" y="64"/>
                      </a:lnTo>
                      <a:lnTo>
                        <a:pt x="2" y="64"/>
                      </a:lnTo>
                      <a:lnTo>
                        <a:pt x="0" y="63"/>
                      </a:lnTo>
                      <a:lnTo>
                        <a:pt x="0" y="61"/>
                      </a:lnTo>
                      <a:lnTo>
                        <a:pt x="0" y="61"/>
                      </a:lnTo>
                      <a:lnTo>
                        <a:pt x="0" y="58"/>
                      </a:lnTo>
                      <a:lnTo>
                        <a:pt x="2" y="56"/>
                      </a:lnTo>
                      <a:lnTo>
                        <a:pt x="11" y="56"/>
                      </a:lnTo>
                      <a:lnTo>
                        <a:pt x="18" y="54"/>
                      </a:lnTo>
                      <a:lnTo>
                        <a:pt x="19" y="51"/>
                      </a:lnTo>
                      <a:lnTo>
                        <a:pt x="19" y="47"/>
                      </a:lnTo>
                      <a:lnTo>
                        <a:pt x="19" y="47"/>
                      </a:lnTo>
                      <a:lnTo>
                        <a:pt x="19" y="44"/>
                      </a:lnTo>
                      <a:lnTo>
                        <a:pt x="21" y="37"/>
                      </a:lnTo>
                      <a:lnTo>
                        <a:pt x="25" y="31"/>
                      </a:lnTo>
                      <a:lnTo>
                        <a:pt x="30" y="26"/>
                      </a:lnTo>
                      <a:lnTo>
                        <a:pt x="37" y="21"/>
                      </a:lnTo>
                      <a:lnTo>
                        <a:pt x="47" y="16"/>
                      </a:lnTo>
                      <a:lnTo>
                        <a:pt x="59" y="12"/>
                      </a:lnTo>
                      <a:lnTo>
                        <a:pt x="73" y="11"/>
                      </a:lnTo>
                      <a:lnTo>
                        <a:pt x="73" y="11"/>
                      </a:lnTo>
                      <a:lnTo>
                        <a:pt x="80" y="11"/>
                      </a:lnTo>
                      <a:lnTo>
                        <a:pt x="84" y="9"/>
                      </a:lnTo>
                      <a:lnTo>
                        <a:pt x="91" y="4"/>
                      </a:lnTo>
                      <a:lnTo>
                        <a:pt x="92" y="4"/>
                      </a:lnTo>
                      <a:lnTo>
                        <a:pt x="96" y="2"/>
                      </a:lnTo>
                      <a:lnTo>
                        <a:pt x="101" y="2"/>
                      </a:lnTo>
                      <a:lnTo>
                        <a:pt x="110" y="4"/>
                      </a:lnTo>
                      <a:lnTo>
                        <a:pt x="110" y="4"/>
                      </a:lnTo>
                      <a:lnTo>
                        <a:pt x="117" y="5"/>
                      </a:lnTo>
                      <a:lnTo>
                        <a:pt x="122" y="5"/>
                      </a:lnTo>
                      <a:lnTo>
                        <a:pt x="126" y="4"/>
                      </a:lnTo>
                      <a:lnTo>
                        <a:pt x="127" y="2"/>
                      </a:lnTo>
                      <a:lnTo>
                        <a:pt x="131" y="0"/>
                      </a:lnTo>
                      <a:lnTo>
                        <a:pt x="134" y="4"/>
                      </a:lnTo>
                      <a:lnTo>
                        <a:pt x="134" y="4"/>
                      </a:lnTo>
                      <a:lnTo>
                        <a:pt x="138" y="7"/>
                      </a:lnTo>
                      <a:lnTo>
                        <a:pt x="141" y="7"/>
                      </a:lnTo>
                      <a:lnTo>
                        <a:pt x="146" y="5"/>
                      </a:lnTo>
                      <a:lnTo>
                        <a:pt x="150" y="5"/>
                      </a:lnTo>
                      <a:lnTo>
                        <a:pt x="152" y="5"/>
                      </a:lnTo>
                      <a:lnTo>
                        <a:pt x="155" y="9"/>
                      </a:lnTo>
                      <a:lnTo>
                        <a:pt x="155" y="9"/>
                      </a:lnTo>
                      <a:lnTo>
                        <a:pt x="159" y="12"/>
                      </a:lnTo>
                      <a:lnTo>
                        <a:pt x="160" y="14"/>
                      </a:lnTo>
                      <a:lnTo>
                        <a:pt x="167" y="14"/>
                      </a:lnTo>
                      <a:lnTo>
                        <a:pt x="173" y="14"/>
                      </a:lnTo>
                      <a:lnTo>
                        <a:pt x="176" y="16"/>
                      </a:lnTo>
                      <a:lnTo>
                        <a:pt x="181" y="19"/>
                      </a:lnTo>
                      <a:lnTo>
                        <a:pt x="187" y="24"/>
                      </a:lnTo>
                      <a:lnTo>
                        <a:pt x="187" y="24"/>
                      </a:lnTo>
                      <a:lnTo>
                        <a:pt x="192" y="31"/>
                      </a:lnTo>
                      <a:lnTo>
                        <a:pt x="195" y="35"/>
                      </a:lnTo>
                      <a:lnTo>
                        <a:pt x="199" y="37"/>
                      </a:lnTo>
                      <a:lnTo>
                        <a:pt x="202" y="37"/>
                      </a:lnTo>
                      <a:lnTo>
                        <a:pt x="211" y="37"/>
                      </a:lnTo>
                      <a:lnTo>
                        <a:pt x="218" y="38"/>
                      </a:lnTo>
                      <a:lnTo>
                        <a:pt x="225" y="44"/>
                      </a:lnTo>
                      <a:lnTo>
                        <a:pt x="225" y="44"/>
                      </a:lnTo>
                      <a:lnTo>
                        <a:pt x="232" y="47"/>
                      </a:lnTo>
                      <a:lnTo>
                        <a:pt x="239" y="51"/>
                      </a:lnTo>
                      <a:lnTo>
                        <a:pt x="247" y="52"/>
                      </a:lnTo>
                      <a:lnTo>
                        <a:pt x="253" y="54"/>
                      </a:lnTo>
                      <a:lnTo>
                        <a:pt x="254" y="54"/>
                      </a:lnTo>
                      <a:lnTo>
                        <a:pt x="254" y="58"/>
                      </a:lnTo>
                      <a:lnTo>
                        <a:pt x="254" y="58"/>
                      </a:lnTo>
                      <a:lnTo>
                        <a:pt x="254" y="63"/>
                      </a:lnTo>
                      <a:lnTo>
                        <a:pt x="256" y="66"/>
                      </a:lnTo>
                      <a:lnTo>
                        <a:pt x="260" y="68"/>
                      </a:lnTo>
                      <a:lnTo>
                        <a:pt x="260" y="66"/>
                      </a:lnTo>
                      <a:lnTo>
                        <a:pt x="260" y="64"/>
                      </a:lnTo>
                      <a:lnTo>
                        <a:pt x="260" y="64"/>
                      </a:lnTo>
                      <a:lnTo>
                        <a:pt x="260" y="61"/>
                      </a:lnTo>
                      <a:lnTo>
                        <a:pt x="260" y="61"/>
                      </a:lnTo>
                      <a:lnTo>
                        <a:pt x="265" y="63"/>
                      </a:lnTo>
                      <a:lnTo>
                        <a:pt x="277" y="77"/>
                      </a:lnTo>
                      <a:lnTo>
                        <a:pt x="277" y="77"/>
                      </a:lnTo>
                      <a:lnTo>
                        <a:pt x="284" y="82"/>
                      </a:lnTo>
                      <a:lnTo>
                        <a:pt x="287" y="84"/>
                      </a:lnTo>
                      <a:lnTo>
                        <a:pt x="289" y="84"/>
                      </a:lnTo>
                      <a:lnTo>
                        <a:pt x="293" y="89"/>
                      </a:lnTo>
                      <a:lnTo>
                        <a:pt x="293" y="89"/>
                      </a:lnTo>
                      <a:lnTo>
                        <a:pt x="294" y="91"/>
                      </a:lnTo>
                      <a:lnTo>
                        <a:pt x="296" y="91"/>
                      </a:lnTo>
                      <a:lnTo>
                        <a:pt x="300" y="89"/>
                      </a:lnTo>
                      <a:lnTo>
                        <a:pt x="303" y="89"/>
                      </a:lnTo>
                      <a:lnTo>
                        <a:pt x="305" y="89"/>
                      </a:lnTo>
                      <a:lnTo>
                        <a:pt x="308" y="91"/>
                      </a:lnTo>
                      <a:lnTo>
                        <a:pt x="308" y="91"/>
                      </a:lnTo>
                      <a:lnTo>
                        <a:pt x="310" y="94"/>
                      </a:lnTo>
                      <a:lnTo>
                        <a:pt x="314" y="94"/>
                      </a:lnTo>
                      <a:lnTo>
                        <a:pt x="321" y="94"/>
                      </a:lnTo>
                      <a:lnTo>
                        <a:pt x="324" y="94"/>
                      </a:lnTo>
                      <a:lnTo>
                        <a:pt x="326" y="96"/>
                      </a:lnTo>
                      <a:lnTo>
                        <a:pt x="328" y="99"/>
                      </a:lnTo>
                      <a:lnTo>
                        <a:pt x="328" y="99"/>
                      </a:lnTo>
                      <a:lnTo>
                        <a:pt x="326" y="103"/>
                      </a:lnTo>
                      <a:lnTo>
                        <a:pt x="326" y="105"/>
                      </a:lnTo>
                      <a:lnTo>
                        <a:pt x="322" y="108"/>
                      </a:lnTo>
                      <a:lnTo>
                        <a:pt x="322" y="108"/>
                      </a:lnTo>
                      <a:lnTo>
                        <a:pt x="322" y="110"/>
                      </a:lnTo>
                      <a:lnTo>
                        <a:pt x="335" y="111"/>
                      </a:lnTo>
                      <a:lnTo>
                        <a:pt x="335" y="111"/>
                      </a:lnTo>
                      <a:lnTo>
                        <a:pt x="348" y="113"/>
                      </a:lnTo>
                      <a:lnTo>
                        <a:pt x="355" y="117"/>
                      </a:lnTo>
                      <a:lnTo>
                        <a:pt x="361" y="120"/>
                      </a:lnTo>
                      <a:lnTo>
                        <a:pt x="364" y="125"/>
                      </a:lnTo>
                      <a:lnTo>
                        <a:pt x="364" y="125"/>
                      </a:lnTo>
                      <a:lnTo>
                        <a:pt x="368" y="129"/>
                      </a:lnTo>
                      <a:lnTo>
                        <a:pt x="371" y="131"/>
                      </a:lnTo>
                      <a:lnTo>
                        <a:pt x="378" y="131"/>
                      </a:lnTo>
                      <a:lnTo>
                        <a:pt x="382" y="132"/>
                      </a:lnTo>
                      <a:lnTo>
                        <a:pt x="380" y="134"/>
                      </a:lnTo>
                      <a:lnTo>
                        <a:pt x="378" y="138"/>
                      </a:lnTo>
                      <a:lnTo>
                        <a:pt x="378" y="138"/>
                      </a:lnTo>
                      <a:lnTo>
                        <a:pt x="375" y="141"/>
                      </a:lnTo>
                      <a:lnTo>
                        <a:pt x="369" y="141"/>
                      </a:lnTo>
                      <a:lnTo>
                        <a:pt x="362" y="141"/>
                      </a:lnTo>
                      <a:lnTo>
                        <a:pt x="355" y="143"/>
                      </a:lnTo>
                      <a:lnTo>
                        <a:pt x="348" y="146"/>
                      </a:lnTo>
                      <a:lnTo>
                        <a:pt x="348" y="146"/>
                      </a:lnTo>
                      <a:lnTo>
                        <a:pt x="340" y="150"/>
                      </a:lnTo>
                      <a:lnTo>
                        <a:pt x="335" y="150"/>
                      </a:lnTo>
                      <a:lnTo>
                        <a:pt x="331" y="150"/>
                      </a:lnTo>
                      <a:lnTo>
                        <a:pt x="328" y="148"/>
                      </a:lnTo>
                      <a:lnTo>
                        <a:pt x="321" y="146"/>
                      </a:lnTo>
                      <a:lnTo>
                        <a:pt x="314" y="145"/>
                      </a:lnTo>
                      <a:lnTo>
                        <a:pt x="301" y="145"/>
                      </a:lnTo>
                      <a:lnTo>
                        <a:pt x="284" y="146"/>
                      </a:lnTo>
                      <a:lnTo>
                        <a:pt x="284" y="146"/>
                      </a:lnTo>
                      <a:lnTo>
                        <a:pt x="258" y="148"/>
                      </a:lnTo>
                      <a:lnTo>
                        <a:pt x="253" y="148"/>
                      </a:lnTo>
                      <a:lnTo>
                        <a:pt x="251" y="146"/>
                      </a:lnTo>
                      <a:lnTo>
                        <a:pt x="253" y="143"/>
                      </a:lnTo>
                      <a:lnTo>
                        <a:pt x="258" y="139"/>
                      </a:lnTo>
                      <a:lnTo>
                        <a:pt x="270" y="131"/>
                      </a:lnTo>
                      <a:lnTo>
                        <a:pt x="270" y="131"/>
                      </a:lnTo>
                      <a:lnTo>
                        <a:pt x="274" y="127"/>
                      </a:lnTo>
                      <a:lnTo>
                        <a:pt x="275" y="124"/>
                      </a:lnTo>
                      <a:lnTo>
                        <a:pt x="275" y="120"/>
                      </a:lnTo>
                      <a:lnTo>
                        <a:pt x="274" y="117"/>
                      </a:lnTo>
                      <a:lnTo>
                        <a:pt x="270" y="115"/>
                      </a:lnTo>
                      <a:lnTo>
                        <a:pt x="263" y="113"/>
                      </a:lnTo>
                      <a:lnTo>
                        <a:pt x="249" y="111"/>
                      </a:lnTo>
                      <a:lnTo>
                        <a:pt x="249" y="111"/>
                      </a:lnTo>
                      <a:lnTo>
                        <a:pt x="242" y="111"/>
                      </a:lnTo>
                      <a:lnTo>
                        <a:pt x="237" y="110"/>
                      </a:lnTo>
                      <a:lnTo>
                        <a:pt x="234" y="106"/>
                      </a:lnTo>
                      <a:lnTo>
                        <a:pt x="230" y="103"/>
                      </a:lnTo>
                      <a:lnTo>
                        <a:pt x="225" y="94"/>
                      </a:lnTo>
                      <a:lnTo>
                        <a:pt x="221" y="82"/>
                      </a:lnTo>
                      <a:lnTo>
                        <a:pt x="221" y="82"/>
                      </a:lnTo>
                      <a:lnTo>
                        <a:pt x="220" y="78"/>
                      </a:lnTo>
                      <a:lnTo>
                        <a:pt x="216" y="75"/>
                      </a:lnTo>
                      <a:lnTo>
                        <a:pt x="213" y="75"/>
                      </a:lnTo>
                      <a:lnTo>
                        <a:pt x="209" y="75"/>
                      </a:lnTo>
                      <a:lnTo>
                        <a:pt x="199" y="75"/>
                      </a:lnTo>
                      <a:lnTo>
                        <a:pt x="193" y="73"/>
                      </a:lnTo>
                      <a:lnTo>
                        <a:pt x="185" y="71"/>
                      </a:lnTo>
                      <a:lnTo>
                        <a:pt x="185" y="71"/>
                      </a:lnTo>
                      <a:lnTo>
                        <a:pt x="178" y="68"/>
                      </a:lnTo>
                      <a:lnTo>
                        <a:pt x="173" y="64"/>
                      </a:lnTo>
                      <a:lnTo>
                        <a:pt x="164" y="59"/>
                      </a:lnTo>
                      <a:lnTo>
                        <a:pt x="160" y="56"/>
                      </a:lnTo>
                      <a:lnTo>
                        <a:pt x="157" y="54"/>
                      </a:lnTo>
                      <a:lnTo>
                        <a:pt x="150" y="52"/>
                      </a:lnTo>
                      <a:lnTo>
                        <a:pt x="141" y="52"/>
                      </a:lnTo>
                      <a:lnTo>
                        <a:pt x="141" y="52"/>
                      </a:lnTo>
                      <a:lnTo>
                        <a:pt x="126" y="52"/>
                      </a:lnTo>
                      <a:lnTo>
                        <a:pt x="115" y="51"/>
                      </a:lnTo>
                      <a:lnTo>
                        <a:pt x="110" y="47"/>
                      </a:lnTo>
                      <a:lnTo>
                        <a:pt x="101" y="42"/>
                      </a:lnTo>
                      <a:lnTo>
                        <a:pt x="101" y="42"/>
                      </a:lnTo>
                      <a:lnTo>
                        <a:pt x="99" y="40"/>
                      </a:lnTo>
                      <a:lnTo>
                        <a:pt x="99" y="38"/>
                      </a:lnTo>
                      <a:lnTo>
                        <a:pt x="106" y="35"/>
                      </a:lnTo>
                      <a:lnTo>
                        <a:pt x="113" y="31"/>
                      </a:lnTo>
                      <a:lnTo>
                        <a:pt x="115" y="31"/>
                      </a:lnTo>
                      <a:lnTo>
                        <a:pt x="113" y="30"/>
                      </a:lnTo>
                      <a:lnTo>
                        <a:pt x="113" y="30"/>
                      </a:lnTo>
                      <a:lnTo>
                        <a:pt x="106" y="26"/>
                      </a:lnTo>
                      <a:lnTo>
                        <a:pt x="92" y="24"/>
                      </a:lnTo>
                      <a:lnTo>
                        <a:pt x="86" y="26"/>
                      </a:lnTo>
                      <a:lnTo>
                        <a:pt x="79" y="28"/>
                      </a:lnTo>
                      <a:lnTo>
                        <a:pt x="72" y="31"/>
                      </a:lnTo>
                      <a:lnTo>
                        <a:pt x="65" y="35"/>
                      </a:lnTo>
                      <a:lnTo>
                        <a:pt x="65" y="35"/>
                      </a:lnTo>
                      <a:lnTo>
                        <a:pt x="59" y="40"/>
                      </a:lnTo>
                      <a:lnTo>
                        <a:pt x="54" y="44"/>
                      </a:lnTo>
                      <a:lnTo>
                        <a:pt x="44" y="47"/>
                      </a:lnTo>
                      <a:lnTo>
                        <a:pt x="37" y="52"/>
                      </a:lnTo>
                      <a:lnTo>
                        <a:pt x="33" y="56"/>
                      </a:lnTo>
                      <a:lnTo>
                        <a:pt x="33" y="59"/>
                      </a:lnTo>
                      <a:lnTo>
                        <a:pt x="33" y="5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0" name="Freeform 1699">
                  <a:extLst>
                    <a:ext uri="{FF2B5EF4-FFF2-40B4-BE49-F238E27FC236}">
                      <a16:creationId xmlns:a16="http://schemas.microsoft.com/office/drawing/2014/main" id="{F9DD5173-DD40-97A4-E615-19E05F7AEA3D}"/>
                    </a:ext>
                  </a:extLst>
                </p:cNvPr>
                <p:cNvSpPr>
                  <a:spLocks/>
                </p:cNvSpPr>
                <p:nvPr/>
              </p:nvSpPr>
              <p:spPr bwMode="auto">
                <a:xfrm>
                  <a:off x="2819780" y="4373381"/>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lnTo>
                        <a:pt x="3" y="1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1" name="Freeform 1700">
                  <a:extLst>
                    <a:ext uri="{FF2B5EF4-FFF2-40B4-BE49-F238E27FC236}">
                      <a16:creationId xmlns:a16="http://schemas.microsoft.com/office/drawing/2014/main" id="{2BD44D27-B3EB-FF51-B8D5-4DC283C05C8B}"/>
                    </a:ext>
                  </a:extLst>
                </p:cNvPr>
                <p:cNvSpPr>
                  <a:spLocks/>
                </p:cNvSpPr>
                <p:nvPr/>
              </p:nvSpPr>
              <p:spPr bwMode="auto">
                <a:xfrm>
                  <a:off x="3114557" y="5230669"/>
                  <a:ext cx="560318" cy="1166445"/>
                </a:xfrm>
                <a:custGeom>
                  <a:avLst/>
                  <a:gdLst/>
                  <a:ahLst/>
                  <a:cxnLst>
                    <a:cxn ang="0">
                      <a:pos x="542" y="432"/>
                    </a:cxn>
                    <a:cxn ang="0">
                      <a:pos x="538" y="507"/>
                    </a:cxn>
                    <a:cxn ang="0">
                      <a:pos x="530" y="566"/>
                    </a:cxn>
                    <a:cxn ang="0">
                      <a:pos x="568" y="629"/>
                    </a:cxn>
                    <a:cxn ang="0">
                      <a:pos x="592" y="667"/>
                    </a:cxn>
                    <a:cxn ang="0">
                      <a:pos x="557" y="749"/>
                    </a:cxn>
                    <a:cxn ang="0">
                      <a:pos x="402" y="780"/>
                    </a:cxn>
                    <a:cxn ang="0">
                      <a:pos x="404" y="822"/>
                    </a:cxn>
                    <a:cxn ang="0">
                      <a:pos x="397" y="873"/>
                    </a:cxn>
                    <a:cxn ang="0">
                      <a:pos x="312" y="873"/>
                    </a:cxn>
                    <a:cxn ang="0">
                      <a:pos x="298" y="928"/>
                    </a:cxn>
                    <a:cxn ang="0">
                      <a:pos x="352" y="958"/>
                    </a:cxn>
                    <a:cxn ang="0">
                      <a:pos x="317" y="960"/>
                    </a:cxn>
                    <a:cxn ang="0">
                      <a:pos x="319" y="981"/>
                    </a:cxn>
                    <a:cxn ang="0">
                      <a:pos x="291" y="1045"/>
                    </a:cxn>
                    <a:cxn ang="0">
                      <a:pos x="253" y="1080"/>
                    </a:cxn>
                    <a:cxn ang="0">
                      <a:pos x="207" y="1130"/>
                    </a:cxn>
                    <a:cxn ang="0">
                      <a:pos x="274" y="1190"/>
                    </a:cxn>
                    <a:cxn ang="0">
                      <a:pos x="260" y="1235"/>
                    </a:cxn>
                    <a:cxn ang="0">
                      <a:pos x="207" y="1308"/>
                    </a:cxn>
                    <a:cxn ang="0">
                      <a:pos x="155" y="1383"/>
                    </a:cxn>
                    <a:cxn ang="0">
                      <a:pos x="157" y="1442"/>
                    </a:cxn>
                    <a:cxn ang="0">
                      <a:pos x="51" y="1421"/>
                    </a:cxn>
                    <a:cxn ang="0">
                      <a:pos x="32" y="1360"/>
                    </a:cxn>
                    <a:cxn ang="0">
                      <a:pos x="0" y="1334"/>
                    </a:cxn>
                    <a:cxn ang="0">
                      <a:pos x="18" y="1291"/>
                    </a:cxn>
                    <a:cxn ang="0">
                      <a:pos x="37" y="1217"/>
                    </a:cxn>
                    <a:cxn ang="0">
                      <a:pos x="56" y="1176"/>
                    </a:cxn>
                    <a:cxn ang="0">
                      <a:pos x="63" y="1130"/>
                    </a:cxn>
                    <a:cxn ang="0">
                      <a:pos x="77" y="1087"/>
                    </a:cxn>
                    <a:cxn ang="0">
                      <a:pos x="68" y="1066"/>
                    </a:cxn>
                    <a:cxn ang="0">
                      <a:pos x="59" y="1047"/>
                    </a:cxn>
                    <a:cxn ang="0">
                      <a:pos x="63" y="984"/>
                    </a:cxn>
                    <a:cxn ang="0">
                      <a:pos x="59" y="939"/>
                    </a:cxn>
                    <a:cxn ang="0">
                      <a:pos x="56" y="869"/>
                    </a:cxn>
                    <a:cxn ang="0">
                      <a:pos x="70" y="814"/>
                    </a:cxn>
                    <a:cxn ang="0">
                      <a:pos x="91" y="747"/>
                    </a:cxn>
                    <a:cxn ang="0">
                      <a:pos x="99" y="660"/>
                    </a:cxn>
                    <a:cxn ang="0">
                      <a:pos x="122" y="568"/>
                    </a:cxn>
                    <a:cxn ang="0">
                      <a:pos x="127" y="516"/>
                    </a:cxn>
                    <a:cxn ang="0">
                      <a:pos x="105" y="441"/>
                    </a:cxn>
                    <a:cxn ang="0">
                      <a:pos x="129" y="375"/>
                    </a:cxn>
                    <a:cxn ang="0">
                      <a:pos x="143" y="284"/>
                    </a:cxn>
                    <a:cxn ang="0">
                      <a:pos x="185" y="228"/>
                    </a:cxn>
                    <a:cxn ang="0">
                      <a:pos x="183" y="121"/>
                    </a:cxn>
                    <a:cxn ang="0">
                      <a:pos x="227" y="51"/>
                    </a:cxn>
                    <a:cxn ang="0">
                      <a:pos x="253" y="7"/>
                    </a:cxn>
                    <a:cxn ang="0">
                      <a:pos x="286" y="16"/>
                    </a:cxn>
                    <a:cxn ang="0">
                      <a:pos x="340" y="9"/>
                    </a:cxn>
                    <a:cxn ang="0">
                      <a:pos x="401" y="40"/>
                    </a:cxn>
                    <a:cxn ang="0">
                      <a:pos x="458" y="94"/>
                    </a:cxn>
                    <a:cxn ang="0">
                      <a:pos x="554" y="150"/>
                    </a:cxn>
                    <a:cxn ang="0">
                      <a:pos x="540" y="199"/>
                    </a:cxn>
                    <a:cxn ang="0">
                      <a:pos x="524" y="248"/>
                    </a:cxn>
                    <a:cxn ang="0">
                      <a:pos x="604" y="249"/>
                    </a:cxn>
                    <a:cxn ang="0">
                      <a:pos x="646" y="227"/>
                    </a:cxn>
                    <a:cxn ang="0">
                      <a:pos x="681" y="162"/>
                    </a:cxn>
                    <a:cxn ang="0">
                      <a:pos x="679" y="246"/>
                    </a:cxn>
                    <a:cxn ang="0">
                      <a:pos x="577" y="356"/>
                    </a:cxn>
                  </a:cxnLst>
                  <a:rect l="0" t="0" r="r" b="b"/>
                  <a:pathLst>
                    <a:path w="698" h="1454">
                      <a:moveTo>
                        <a:pt x="559" y="373"/>
                      </a:moveTo>
                      <a:lnTo>
                        <a:pt x="559" y="373"/>
                      </a:lnTo>
                      <a:lnTo>
                        <a:pt x="554" y="382"/>
                      </a:lnTo>
                      <a:lnTo>
                        <a:pt x="552" y="387"/>
                      </a:lnTo>
                      <a:lnTo>
                        <a:pt x="552" y="394"/>
                      </a:lnTo>
                      <a:lnTo>
                        <a:pt x="552" y="399"/>
                      </a:lnTo>
                      <a:lnTo>
                        <a:pt x="552" y="408"/>
                      </a:lnTo>
                      <a:lnTo>
                        <a:pt x="550" y="415"/>
                      </a:lnTo>
                      <a:lnTo>
                        <a:pt x="547" y="420"/>
                      </a:lnTo>
                      <a:lnTo>
                        <a:pt x="547" y="420"/>
                      </a:lnTo>
                      <a:lnTo>
                        <a:pt x="543" y="427"/>
                      </a:lnTo>
                      <a:lnTo>
                        <a:pt x="542" y="432"/>
                      </a:lnTo>
                      <a:lnTo>
                        <a:pt x="543" y="437"/>
                      </a:lnTo>
                      <a:lnTo>
                        <a:pt x="543" y="443"/>
                      </a:lnTo>
                      <a:lnTo>
                        <a:pt x="543" y="446"/>
                      </a:lnTo>
                      <a:lnTo>
                        <a:pt x="542" y="450"/>
                      </a:lnTo>
                      <a:lnTo>
                        <a:pt x="542" y="450"/>
                      </a:lnTo>
                      <a:lnTo>
                        <a:pt x="540" y="455"/>
                      </a:lnTo>
                      <a:lnTo>
                        <a:pt x="540" y="464"/>
                      </a:lnTo>
                      <a:lnTo>
                        <a:pt x="542" y="481"/>
                      </a:lnTo>
                      <a:lnTo>
                        <a:pt x="543" y="490"/>
                      </a:lnTo>
                      <a:lnTo>
                        <a:pt x="543" y="498"/>
                      </a:lnTo>
                      <a:lnTo>
                        <a:pt x="542" y="504"/>
                      </a:lnTo>
                      <a:lnTo>
                        <a:pt x="538" y="507"/>
                      </a:lnTo>
                      <a:lnTo>
                        <a:pt x="538" y="507"/>
                      </a:lnTo>
                      <a:lnTo>
                        <a:pt x="535" y="511"/>
                      </a:lnTo>
                      <a:lnTo>
                        <a:pt x="531" y="516"/>
                      </a:lnTo>
                      <a:lnTo>
                        <a:pt x="528" y="521"/>
                      </a:lnTo>
                      <a:lnTo>
                        <a:pt x="528" y="528"/>
                      </a:lnTo>
                      <a:lnTo>
                        <a:pt x="528" y="535"/>
                      </a:lnTo>
                      <a:lnTo>
                        <a:pt x="528" y="542"/>
                      </a:lnTo>
                      <a:lnTo>
                        <a:pt x="531" y="549"/>
                      </a:lnTo>
                      <a:lnTo>
                        <a:pt x="536" y="556"/>
                      </a:lnTo>
                      <a:lnTo>
                        <a:pt x="536" y="556"/>
                      </a:lnTo>
                      <a:lnTo>
                        <a:pt x="530" y="563"/>
                      </a:lnTo>
                      <a:lnTo>
                        <a:pt x="530" y="566"/>
                      </a:lnTo>
                      <a:lnTo>
                        <a:pt x="530" y="570"/>
                      </a:lnTo>
                      <a:lnTo>
                        <a:pt x="531" y="575"/>
                      </a:lnTo>
                      <a:lnTo>
                        <a:pt x="536" y="580"/>
                      </a:lnTo>
                      <a:lnTo>
                        <a:pt x="552" y="589"/>
                      </a:lnTo>
                      <a:lnTo>
                        <a:pt x="559" y="594"/>
                      </a:lnTo>
                      <a:lnTo>
                        <a:pt x="566" y="599"/>
                      </a:lnTo>
                      <a:lnTo>
                        <a:pt x="566" y="599"/>
                      </a:lnTo>
                      <a:lnTo>
                        <a:pt x="571" y="610"/>
                      </a:lnTo>
                      <a:lnTo>
                        <a:pt x="575" y="617"/>
                      </a:lnTo>
                      <a:lnTo>
                        <a:pt x="573" y="622"/>
                      </a:lnTo>
                      <a:lnTo>
                        <a:pt x="571" y="625"/>
                      </a:lnTo>
                      <a:lnTo>
                        <a:pt x="568" y="629"/>
                      </a:lnTo>
                      <a:lnTo>
                        <a:pt x="566" y="632"/>
                      </a:lnTo>
                      <a:lnTo>
                        <a:pt x="566" y="638"/>
                      </a:lnTo>
                      <a:lnTo>
                        <a:pt x="570" y="645"/>
                      </a:lnTo>
                      <a:lnTo>
                        <a:pt x="570" y="645"/>
                      </a:lnTo>
                      <a:lnTo>
                        <a:pt x="573" y="652"/>
                      </a:lnTo>
                      <a:lnTo>
                        <a:pt x="578" y="655"/>
                      </a:lnTo>
                      <a:lnTo>
                        <a:pt x="582" y="657"/>
                      </a:lnTo>
                      <a:lnTo>
                        <a:pt x="585" y="657"/>
                      </a:lnTo>
                      <a:lnTo>
                        <a:pt x="589" y="657"/>
                      </a:lnTo>
                      <a:lnTo>
                        <a:pt x="590" y="657"/>
                      </a:lnTo>
                      <a:lnTo>
                        <a:pt x="590" y="660"/>
                      </a:lnTo>
                      <a:lnTo>
                        <a:pt x="592" y="667"/>
                      </a:lnTo>
                      <a:lnTo>
                        <a:pt x="592" y="667"/>
                      </a:lnTo>
                      <a:lnTo>
                        <a:pt x="590" y="683"/>
                      </a:lnTo>
                      <a:lnTo>
                        <a:pt x="589" y="697"/>
                      </a:lnTo>
                      <a:lnTo>
                        <a:pt x="583" y="709"/>
                      </a:lnTo>
                      <a:lnTo>
                        <a:pt x="573" y="719"/>
                      </a:lnTo>
                      <a:lnTo>
                        <a:pt x="573" y="719"/>
                      </a:lnTo>
                      <a:lnTo>
                        <a:pt x="570" y="725"/>
                      </a:lnTo>
                      <a:lnTo>
                        <a:pt x="566" y="730"/>
                      </a:lnTo>
                      <a:lnTo>
                        <a:pt x="564" y="737"/>
                      </a:lnTo>
                      <a:lnTo>
                        <a:pt x="564" y="740"/>
                      </a:lnTo>
                      <a:lnTo>
                        <a:pt x="561" y="744"/>
                      </a:lnTo>
                      <a:lnTo>
                        <a:pt x="557" y="749"/>
                      </a:lnTo>
                      <a:lnTo>
                        <a:pt x="550" y="754"/>
                      </a:lnTo>
                      <a:lnTo>
                        <a:pt x="550" y="754"/>
                      </a:lnTo>
                      <a:lnTo>
                        <a:pt x="542" y="760"/>
                      </a:lnTo>
                      <a:lnTo>
                        <a:pt x="530" y="765"/>
                      </a:lnTo>
                      <a:lnTo>
                        <a:pt x="503" y="773"/>
                      </a:lnTo>
                      <a:lnTo>
                        <a:pt x="474" y="780"/>
                      </a:lnTo>
                      <a:lnTo>
                        <a:pt x="446" y="784"/>
                      </a:lnTo>
                      <a:lnTo>
                        <a:pt x="446" y="784"/>
                      </a:lnTo>
                      <a:lnTo>
                        <a:pt x="418" y="787"/>
                      </a:lnTo>
                      <a:lnTo>
                        <a:pt x="411" y="786"/>
                      </a:lnTo>
                      <a:lnTo>
                        <a:pt x="402" y="780"/>
                      </a:lnTo>
                      <a:lnTo>
                        <a:pt x="402" y="780"/>
                      </a:lnTo>
                      <a:lnTo>
                        <a:pt x="397" y="779"/>
                      </a:lnTo>
                      <a:lnTo>
                        <a:pt x="394" y="779"/>
                      </a:lnTo>
                      <a:lnTo>
                        <a:pt x="390" y="780"/>
                      </a:lnTo>
                      <a:lnTo>
                        <a:pt x="390" y="784"/>
                      </a:lnTo>
                      <a:lnTo>
                        <a:pt x="394" y="793"/>
                      </a:lnTo>
                      <a:lnTo>
                        <a:pt x="395" y="796"/>
                      </a:lnTo>
                      <a:lnTo>
                        <a:pt x="399" y="798"/>
                      </a:lnTo>
                      <a:lnTo>
                        <a:pt x="399" y="798"/>
                      </a:lnTo>
                      <a:lnTo>
                        <a:pt x="402" y="801"/>
                      </a:lnTo>
                      <a:lnTo>
                        <a:pt x="404" y="805"/>
                      </a:lnTo>
                      <a:lnTo>
                        <a:pt x="406" y="814"/>
                      </a:lnTo>
                      <a:lnTo>
                        <a:pt x="404" y="822"/>
                      </a:lnTo>
                      <a:lnTo>
                        <a:pt x="399" y="831"/>
                      </a:lnTo>
                      <a:lnTo>
                        <a:pt x="399" y="831"/>
                      </a:lnTo>
                      <a:lnTo>
                        <a:pt x="392" y="840"/>
                      </a:lnTo>
                      <a:lnTo>
                        <a:pt x="390" y="847"/>
                      </a:lnTo>
                      <a:lnTo>
                        <a:pt x="390" y="852"/>
                      </a:lnTo>
                      <a:lnTo>
                        <a:pt x="392" y="855"/>
                      </a:lnTo>
                      <a:lnTo>
                        <a:pt x="394" y="857"/>
                      </a:lnTo>
                      <a:lnTo>
                        <a:pt x="394" y="857"/>
                      </a:lnTo>
                      <a:lnTo>
                        <a:pt x="399" y="862"/>
                      </a:lnTo>
                      <a:lnTo>
                        <a:pt x="401" y="866"/>
                      </a:lnTo>
                      <a:lnTo>
                        <a:pt x="399" y="869"/>
                      </a:lnTo>
                      <a:lnTo>
                        <a:pt x="397" y="873"/>
                      </a:lnTo>
                      <a:lnTo>
                        <a:pt x="392" y="876"/>
                      </a:lnTo>
                      <a:lnTo>
                        <a:pt x="380" y="883"/>
                      </a:lnTo>
                      <a:lnTo>
                        <a:pt x="380" y="883"/>
                      </a:lnTo>
                      <a:lnTo>
                        <a:pt x="368" y="888"/>
                      </a:lnTo>
                      <a:lnTo>
                        <a:pt x="364" y="890"/>
                      </a:lnTo>
                      <a:lnTo>
                        <a:pt x="359" y="890"/>
                      </a:lnTo>
                      <a:lnTo>
                        <a:pt x="352" y="888"/>
                      </a:lnTo>
                      <a:lnTo>
                        <a:pt x="352" y="888"/>
                      </a:lnTo>
                      <a:lnTo>
                        <a:pt x="345" y="888"/>
                      </a:lnTo>
                      <a:lnTo>
                        <a:pt x="338" y="887"/>
                      </a:lnTo>
                      <a:lnTo>
                        <a:pt x="324" y="880"/>
                      </a:lnTo>
                      <a:lnTo>
                        <a:pt x="312" y="873"/>
                      </a:lnTo>
                      <a:lnTo>
                        <a:pt x="305" y="873"/>
                      </a:lnTo>
                      <a:lnTo>
                        <a:pt x="298" y="874"/>
                      </a:lnTo>
                      <a:lnTo>
                        <a:pt x="298" y="874"/>
                      </a:lnTo>
                      <a:lnTo>
                        <a:pt x="293" y="876"/>
                      </a:lnTo>
                      <a:lnTo>
                        <a:pt x="291" y="880"/>
                      </a:lnTo>
                      <a:lnTo>
                        <a:pt x="293" y="885"/>
                      </a:lnTo>
                      <a:lnTo>
                        <a:pt x="294" y="890"/>
                      </a:lnTo>
                      <a:lnTo>
                        <a:pt x="300" y="904"/>
                      </a:lnTo>
                      <a:lnTo>
                        <a:pt x="300" y="911"/>
                      </a:lnTo>
                      <a:lnTo>
                        <a:pt x="300" y="920"/>
                      </a:lnTo>
                      <a:lnTo>
                        <a:pt x="300" y="920"/>
                      </a:lnTo>
                      <a:lnTo>
                        <a:pt x="298" y="928"/>
                      </a:lnTo>
                      <a:lnTo>
                        <a:pt x="300" y="934"/>
                      </a:lnTo>
                      <a:lnTo>
                        <a:pt x="301" y="939"/>
                      </a:lnTo>
                      <a:lnTo>
                        <a:pt x="307" y="941"/>
                      </a:lnTo>
                      <a:lnTo>
                        <a:pt x="312" y="941"/>
                      </a:lnTo>
                      <a:lnTo>
                        <a:pt x="319" y="941"/>
                      </a:lnTo>
                      <a:lnTo>
                        <a:pt x="340" y="935"/>
                      </a:lnTo>
                      <a:lnTo>
                        <a:pt x="340" y="935"/>
                      </a:lnTo>
                      <a:lnTo>
                        <a:pt x="343" y="934"/>
                      </a:lnTo>
                      <a:lnTo>
                        <a:pt x="347" y="935"/>
                      </a:lnTo>
                      <a:lnTo>
                        <a:pt x="350" y="942"/>
                      </a:lnTo>
                      <a:lnTo>
                        <a:pt x="352" y="951"/>
                      </a:lnTo>
                      <a:lnTo>
                        <a:pt x="352" y="958"/>
                      </a:lnTo>
                      <a:lnTo>
                        <a:pt x="352" y="958"/>
                      </a:lnTo>
                      <a:lnTo>
                        <a:pt x="348" y="965"/>
                      </a:lnTo>
                      <a:lnTo>
                        <a:pt x="345" y="970"/>
                      </a:lnTo>
                      <a:lnTo>
                        <a:pt x="341" y="974"/>
                      </a:lnTo>
                      <a:lnTo>
                        <a:pt x="338" y="975"/>
                      </a:lnTo>
                      <a:lnTo>
                        <a:pt x="334" y="975"/>
                      </a:lnTo>
                      <a:lnTo>
                        <a:pt x="331" y="974"/>
                      </a:lnTo>
                      <a:lnTo>
                        <a:pt x="329" y="970"/>
                      </a:lnTo>
                      <a:lnTo>
                        <a:pt x="326" y="967"/>
                      </a:lnTo>
                      <a:lnTo>
                        <a:pt x="326" y="967"/>
                      </a:lnTo>
                      <a:lnTo>
                        <a:pt x="322" y="961"/>
                      </a:lnTo>
                      <a:lnTo>
                        <a:pt x="317" y="960"/>
                      </a:lnTo>
                      <a:lnTo>
                        <a:pt x="312" y="958"/>
                      </a:lnTo>
                      <a:lnTo>
                        <a:pt x="307" y="960"/>
                      </a:lnTo>
                      <a:lnTo>
                        <a:pt x="303" y="961"/>
                      </a:lnTo>
                      <a:lnTo>
                        <a:pt x="301" y="965"/>
                      </a:lnTo>
                      <a:lnTo>
                        <a:pt x="301" y="967"/>
                      </a:lnTo>
                      <a:lnTo>
                        <a:pt x="307" y="972"/>
                      </a:lnTo>
                      <a:lnTo>
                        <a:pt x="307" y="972"/>
                      </a:lnTo>
                      <a:lnTo>
                        <a:pt x="315" y="975"/>
                      </a:lnTo>
                      <a:lnTo>
                        <a:pt x="322" y="977"/>
                      </a:lnTo>
                      <a:lnTo>
                        <a:pt x="324" y="979"/>
                      </a:lnTo>
                      <a:lnTo>
                        <a:pt x="324" y="979"/>
                      </a:lnTo>
                      <a:lnTo>
                        <a:pt x="319" y="981"/>
                      </a:lnTo>
                      <a:lnTo>
                        <a:pt x="319" y="981"/>
                      </a:lnTo>
                      <a:lnTo>
                        <a:pt x="310" y="986"/>
                      </a:lnTo>
                      <a:lnTo>
                        <a:pt x="303" y="991"/>
                      </a:lnTo>
                      <a:lnTo>
                        <a:pt x="298" y="996"/>
                      </a:lnTo>
                      <a:lnTo>
                        <a:pt x="293" y="1003"/>
                      </a:lnTo>
                      <a:lnTo>
                        <a:pt x="291" y="1009"/>
                      </a:lnTo>
                      <a:lnTo>
                        <a:pt x="289" y="1015"/>
                      </a:lnTo>
                      <a:lnTo>
                        <a:pt x="289" y="1021"/>
                      </a:lnTo>
                      <a:lnTo>
                        <a:pt x="289" y="1026"/>
                      </a:lnTo>
                      <a:lnTo>
                        <a:pt x="289" y="1026"/>
                      </a:lnTo>
                      <a:lnTo>
                        <a:pt x="293" y="1036"/>
                      </a:lnTo>
                      <a:lnTo>
                        <a:pt x="291" y="1045"/>
                      </a:lnTo>
                      <a:lnTo>
                        <a:pt x="289" y="1050"/>
                      </a:lnTo>
                      <a:lnTo>
                        <a:pt x="284" y="1056"/>
                      </a:lnTo>
                      <a:lnTo>
                        <a:pt x="277" y="1062"/>
                      </a:lnTo>
                      <a:lnTo>
                        <a:pt x="275" y="1066"/>
                      </a:lnTo>
                      <a:lnTo>
                        <a:pt x="279" y="1069"/>
                      </a:lnTo>
                      <a:lnTo>
                        <a:pt x="279" y="1069"/>
                      </a:lnTo>
                      <a:lnTo>
                        <a:pt x="281" y="1075"/>
                      </a:lnTo>
                      <a:lnTo>
                        <a:pt x="279" y="1076"/>
                      </a:lnTo>
                      <a:lnTo>
                        <a:pt x="275" y="1078"/>
                      </a:lnTo>
                      <a:lnTo>
                        <a:pt x="270" y="1078"/>
                      </a:lnTo>
                      <a:lnTo>
                        <a:pt x="258" y="1078"/>
                      </a:lnTo>
                      <a:lnTo>
                        <a:pt x="253" y="1080"/>
                      </a:lnTo>
                      <a:lnTo>
                        <a:pt x="249" y="1083"/>
                      </a:lnTo>
                      <a:lnTo>
                        <a:pt x="249" y="1083"/>
                      </a:lnTo>
                      <a:lnTo>
                        <a:pt x="247" y="1085"/>
                      </a:lnTo>
                      <a:lnTo>
                        <a:pt x="244" y="1087"/>
                      </a:lnTo>
                      <a:lnTo>
                        <a:pt x="239" y="1087"/>
                      </a:lnTo>
                      <a:lnTo>
                        <a:pt x="235" y="1087"/>
                      </a:lnTo>
                      <a:lnTo>
                        <a:pt x="230" y="1090"/>
                      </a:lnTo>
                      <a:lnTo>
                        <a:pt x="227" y="1096"/>
                      </a:lnTo>
                      <a:lnTo>
                        <a:pt x="220" y="1106"/>
                      </a:lnTo>
                      <a:lnTo>
                        <a:pt x="220" y="1106"/>
                      </a:lnTo>
                      <a:lnTo>
                        <a:pt x="211" y="1123"/>
                      </a:lnTo>
                      <a:lnTo>
                        <a:pt x="207" y="1130"/>
                      </a:lnTo>
                      <a:lnTo>
                        <a:pt x="207" y="1136"/>
                      </a:lnTo>
                      <a:lnTo>
                        <a:pt x="207" y="1141"/>
                      </a:lnTo>
                      <a:lnTo>
                        <a:pt x="211" y="1148"/>
                      </a:lnTo>
                      <a:lnTo>
                        <a:pt x="225" y="1163"/>
                      </a:lnTo>
                      <a:lnTo>
                        <a:pt x="225" y="1163"/>
                      </a:lnTo>
                      <a:lnTo>
                        <a:pt x="234" y="1174"/>
                      </a:lnTo>
                      <a:lnTo>
                        <a:pt x="242" y="1177"/>
                      </a:lnTo>
                      <a:lnTo>
                        <a:pt x="251" y="1181"/>
                      </a:lnTo>
                      <a:lnTo>
                        <a:pt x="258" y="1181"/>
                      </a:lnTo>
                      <a:lnTo>
                        <a:pt x="268" y="1183"/>
                      </a:lnTo>
                      <a:lnTo>
                        <a:pt x="272" y="1184"/>
                      </a:lnTo>
                      <a:lnTo>
                        <a:pt x="274" y="1190"/>
                      </a:lnTo>
                      <a:lnTo>
                        <a:pt x="274" y="1190"/>
                      </a:lnTo>
                      <a:lnTo>
                        <a:pt x="274" y="1197"/>
                      </a:lnTo>
                      <a:lnTo>
                        <a:pt x="274" y="1202"/>
                      </a:lnTo>
                      <a:lnTo>
                        <a:pt x="272" y="1209"/>
                      </a:lnTo>
                      <a:lnTo>
                        <a:pt x="270" y="1212"/>
                      </a:lnTo>
                      <a:lnTo>
                        <a:pt x="270" y="1216"/>
                      </a:lnTo>
                      <a:lnTo>
                        <a:pt x="270" y="1219"/>
                      </a:lnTo>
                      <a:lnTo>
                        <a:pt x="270" y="1219"/>
                      </a:lnTo>
                      <a:lnTo>
                        <a:pt x="272" y="1223"/>
                      </a:lnTo>
                      <a:lnTo>
                        <a:pt x="270" y="1226"/>
                      </a:lnTo>
                      <a:lnTo>
                        <a:pt x="267" y="1230"/>
                      </a:lnTo>
                      <a:lnTo>
                        <a:pt x="260" y="1235"/>
                      </a:lnTo>
                      <a:lnTo>
                        <a:pt x="258" y="1238"/>
                      </a:lnTo>
                      <a:lnTo>
                        <a:pt x="256" y="1242"/>
                      </a:lnTo>
                      <a:lnTo>
                        <a:pt x="256" y="1242"/>
                      </a:lnTo>
                      <a:lnTo>
                        <a:pt x="253" y="1245"/>
                      </a:lnTo>
                      <a:lnTo>
                        <a:pt x="247" y="1249"/>
                      </a:lnTo>
                      <a:lnTo>
                        <a:pt x="234" y="1256"/>
                      </a:lnTo>
                      <a:lnTo>
                        <a:pt x="227" y="1261"/>
                      </a:lnTo>
                      <a:lnTo>
                        <a:pt x="220" y="1268"/>
                      </a:lnTo>
                      <a:lnTo>
                        <a:pt x="214" y="1277"/>
                      </a:lnTo>
                      <a:lnTo>
                        <a:pt x="211" y="1287"/>
                      </a:lnTo>
                      <a:lnTo>
                        <a:pt x="211" y="1287"/>
                      </a:lnTo>
                      <a:lnTo>
                        <a:pt x="207" y="1308"/>
                      </a:lnTo>
                      <a:lnTo>
                        <a:pt x="204" y="1322"/>
                      </a:lnTo>
                      <a:lnTo>
                        <a:pt x="200" y="1327"/>
                      </a:lnTo>
                      <a:lnTo>
                        <a:pt x="195" y="1332"/>
                      </a:lnTo>
                      <a:lnTo>
                        <a:pt x="188" y="1336"/>
                      </a:lnTo>
                      <a:lnTo>
                        <a:pt x="180" y="1339"/>
                      </a:lnTo>
                      <a:lnTo>
                        <a:pt x="180" y="1339"/>
                      </a:lnTo>
                      <a:lnTo>
                        <a:pt x="169" y="1345"/>
                      </a:lnTo>
                      <a:lnTo>
                        <a:pt x="162" y="1350"/>
                      </a:lnTo>
                      <a:lnTo>
                        <a:pt x="159" y="1357"/>
                      </a:lnTo>
                      <a:lnTo>
                        <a:pt x="155" y="1365"/>
                      </a:lnTo>
                      <a:lnTo>
                        <a:pt x="155" y="1374"/>
                      </a:lnTo>
                      <a:lnTo>
                        <a:pt x="155" y="1383"/>
                      </a:lnTo>
                      <a:lnTo>
                        <a:pt x="157" y="1397"/>
                      </a:lnTo>
                      <a:lnTo>
                        <a:pt x="157" y="1397"/>
                      </a:lnTo>
                      <a:lnTo>
                        <a:pt x="160" y="1409"/>
                      </a:lnTo>
                      <a:lnTo>
                        <a:pt x="164" y="1419"/>
                      </a:lnTo>
                      <a:lnTo>
                        <a:pt x="173" y="1437"/>
                      </a:lnTo>
                      <a:lnTo>
                        <a:pt x="180" y="1449"/>
                      </a:lnTo>
                      <a:lnTo>
                        <a:pt x="181" y="1452"/>
                      </a:lnTo>
                      <a:lnTo>
                        <a:pt x="180" y="1454"/>
                      </a:lnTo>
                      <a:lnTo>
                        <a:pt x="180" y="1454"/>
                      </a:lnTo>
                      <a:lnTo>
                        <a:pt x="176" y="1449"/>
                      </a:lnTo>
                      <a:lnTo>
                        <a:pt x="171" y="1446"/>
                      </a:lnTo>
                      <a:lnTo>
                        <a:pt x="157" y="1442"/>
                      </a:lnTo>
                      <a:lnTo>
                        <a:pt x="139" y="1439"/>
                      </a:lnTo>
                      <a:lnTo>
                        <a:pt x="131" y="1437"/>
                      </a:lnTo>
                      <a:lnTo>
                        <a:pt x="124" y="1435"/>
                      </a:lnTo>
                      <a:lnTo>
                        <a:pt x="124" y="1435"/>
                      </a:lnTo>
                      <a:lnTo>
                        <a:pt x="65" y="1435"/>
                      </a:lnTo>
                      <a:lnTo>
                        <a:pt x="65" y="1435"/>
                      </a:lnTo>
                      <a:lnTo>
                        <a:pt x="59" y="1433"/>
                      </a:lnTo>
                      <a:lnTo>
                        <a:pt x="56" y="1433"/>
                      </a:lnTo>
                      <a:lnTo>
                        <a:pt x="56" y="1432"/>
                      </a:lnTo>
                      <a:lnTo>
                        <a:pt x="54" y="1428"/>
                      </a:lnTo>
                      <a:lnTo>
                        <a:pt x="52" y="1423"/>
                      </a:lnTo>
                      <a:lnTo>
                        <a:pt x="51" y="1421"/>
                      </a:lnTo>
                      <a:lnTo>
                        <a:pt x="47" y="1418"/>
                      </a:lnTo>
                      <a:lnTo>
                        <a:pt x="47" y="1418"/>
                      </a:lnTo>
                      <a:lnTo>
                        <a:pt x="45" y="1418"/>
                      </a:lnTo>
                      <a:lnTo>
                        <a:pt x="44" y="1414"/>
                      </a:lnTo>
                      <a:lnTo>
                        <a:pt x="42" y="1407"/>
                      </a:lnTo>
                      <a:lnTo>
                        <a:pt x="42" y="1386"/>
                      </a:lnTo>
                      <a:lnTo>
                        <a:pt x="42" y="1369"/>
                      </a:lnTo>
                      <a:lnTo>
                        <a:pt x="40" y="1362"/>
                      </a:lnTo>
                      <a:lnTo>
                        <a:pt x="38" y="1360"/>
                      </a:lnTo>
                      <a:lnTo>
                        <a:pt x="37" y="1360"/>
                      </a:lnTo>
                      <a:lnTo>
                        <a:pt x="37" y="1360"/>
                      </a:lnTo>
                      <a:lnTo>
                        <a:pt x="32" y="1360"/>
                      </a:lnTo>
                      <a:lnTo>
                        <a:pt x="26" y="1362"/>
                      </a:lnTo>
                      <a:lnTo>
                        <a:pt x="19" y="1367"/>
                      </a:lnTo>
                      <a:lnTo>
                        <a:pt x="16" y="1369"/>
                      </a:lnTo>
                      <a:lnTo>
                        <a:pt x="14" y="1367"/>
                      </a:lnTo>
                      <a:lnTo>
                        <a:pt x="12" y="1364"/>
                      </a:lnTo>
                      <a:lnTo>
                        <a:pt x="11" y="1357"/>
                      </a:lnTo>
                      <a:lnTo>
                        <a:pt x="11" y="1357"/>
                      </a:lnTo>
                      <a:lnTo>
                        <a:pt x="9" y="1350"/>
                      </a:lnTo>
                      <a:lnTo>
                        <a:pt x="7" y="1345"/>
                      </a:lnTo>
                      <a:lnTo>
                        <a:pt x="4" y="1339"/>
                      </a:lnTo>
                      <a:lnTo>
                        <a:pt x="2" y="1338"/>
                      </a:lnTo>
                      <a:lnTo>
                        <a:pt x="0" y="1334"/>
                      </a:lnTo>
                      <a:lnTo>
                        <a:pt x="2" y="1322"/>
                      </a:lnTo>
                      <a:lnTo>
                        <a:pt x="2" y="1322"/>
                      </a:lnTo>
                      <a:lnTo>
                        <a:pt x="2" y="1318"/>
                      </a:lnTo>
                      <a:lnTo>
                        <a:pt x="2" y="1313"/>
                      </a:lnTo>
                      <a:lnTo>
                        <a:pt x="0" y="1303"/>
                      </a:lnTo>
                      <a:lnTo>
                        <a:pt x="0" y="1298"/>
                      </a:lnTo>
                      <a:lnTo>
                        <a:pt x="2" y="1296"/>
                      </a:lnTo>
                      <a:lnTo>
                        <a:pt x="4" y="1294"/>
                      </a:lnTo>
                      <a:lnTo>
                        <a:pt x="11" y="1294"/>
                      </a:lnTo>
                      <a:lnTo>
                        <a:pt x="11" y="1294"/>
                      </a:lnTo>
                      <a:lnTo>
                        <a:pt x="14" y="1294"/>
                      </a:lnTo>
                      <a:lnTo>
                        <a:pt x="18" y="1291"/>
                      </a:lnTo>
                      <a:lnTo>
                        <a:pt x="25" y="1277"/>
                      </a:lnTo>
                      <a:lnTo>
                        <a:pt x="32" y="1259"/>
                      </a:lnTo>
                      <a:lnTo>
                        <a:pt x="37" y="1252"/>
                      </a:lnTo>
                      <a:lnTo>
                        <a:pt x="42" y="1249"/>
                      </a:lnTo>
                      <a:lnTo>
                        <a:pt x="42" y="1249"/>
                      </a:lnTo>
                      <a:lnTo>
                        <a:pt x="44" y="1244"/>
                      </a:lnTo>
                      <a:lnTo>
                        <a:pt x="45" y="1240"/>
                      </a:lnTo>
                      <a:lnTo>
                        <a:pt x="44" y="1237"/>
                      </a:lnTo>
                      <a:lnTo>
                        <a:pt x="42" y="1233"/>
                      </a:lnTo>
                      <a:lnTo>
                        <a:pt x="37" y="1224"/>
                      </a:lnTo>
                      <a:lnTo>
                        <a:pt x="35" y="1221"/>
                      </a:lnTo>
                      <a:lnTo>
                        <a:pt x="37" y="1217"/>
                      </a:lnTo>
                      <a:lnTo>
                        <a:pt x="37" y="1217"/>
                      </a:lnTo>
                      <a:lnTo>
                        <a:pt x="40" y="1214"/>
                      </a:lnTo>
                      <a:lnTo>
                        <a:pt x="40" y="1212"/>
                      </a:lnTo>
                      <a:lnTo>
                        <a:pt x="40" y="1207"/>
                      </a:lnTo>
                      <a:lnTo>
                        <a:pt x="44" y="1200"/>
                      </a:lnTo>
                      <a:lnTo>
                        <a:pt x="52" y="1191"/>
                      </a:lnTo>
                      <a:lnTo>
                        <a:pt x="52" y="1191"/>
                      </a:lnTo>
                      <a:lnTo>
                        <a:pt x="58" y="1186"/>
                      </a:lnTo>
                      <a:lnTo>
                        <a:pt x="59" y="1183"/>
                      </a:lnTo>
                      <a:lnTo>
                        <a:pt x="59" y="1181"/>
                      </a:lnTo>
                      <a:lnTo>
                        <a:pt x="58" y="1177"/>
                      </a:lnTo>
                      <a:lnTo>
                        <a:pt x="56" y="1176"/>
                      </a:lnTo>
                      <a:lnTo>
                        <a:pt x="56" y="1172"/>
                      </a:lnTo>
                      <a:lnTo>
                        <a:pt x="58" y="1169"/>
                      </a:lnTo>
                      <a:lnTo>
                        <a:pt x="63" y="1163"/>
                      </a:lnTo>
                      <a:lnTo>
                        <a:pt x="63" y="1163"/>
                      </a:lnTo>
                      <a:lnTo>
                        <a:pt x="66" y="1160"/>
                      </a:lnTo>
                      <a:lnTo>
                        <a:pt x="66" y="1155"/>
                      </a:lnTo>
                      <a:lnTo>
                        <a:pt x="66" y="1150"/>
                      </a:lnTo>
                      <a:lnTo>
                        <a:pt x="65" y="1146"/>
                      </a:lnTo>
                      <a:lnTo>
                        <a:pt x="61" y="1137"/>
                      </a:lnTo>
                      <a:lnTo>
                        <a:pt x="61" y="1134"/>
                      </a:lnTo>
                      <a:lnTo>
                        <a:pt x="63" y="1130"/>
                      </a:lnTo>
                      <a:lnTo>
                        <a:pt x="63" y="1130"/>
                      </a:lnTo>
                      <a:lnTo>
                        <a:pt x="66" y="1127"/>
                      </a:lnTo>
                      <a:lnTo>
                        <a:pt x="66" y="1123"/>
                      </a:lnTo>
                      <a:lnTo>
                        <a:pt x="63" y="1116"/>
                      </a:lnTo>
                      <a:lnTo>
                        <a:pt x="61" y="1113"/>
                      </a:lnTo>
                      <a:lnTo>
                        <a:pt x="61" y="1109"/>
                      </a:lnTo>
                      <a:lnTo>
                        <a:pt x="63" y="1106"/>
                      </a:lnTo>
                      <a:lnTo>
                        <a:pt x="66" y="1103"/>
                      </a:lnTo>
                      <a:lnTo>
                        <a:pt x="66" y="1103"/>
                      </a:lnTo>
                      <a:lnTo>
                        <a:pt x="72" y="1099"/>
                      </a:lnTo>
                      <a:lnTo>
                        <a:pt x="75" y="1096"/>
                      </a:lnTo>
                      <a:lnTo>
                        <a:pt x="77" y="1090"/>
                      </a:lnTo>
                      <a:lnTo>
                        <a:pt x="77" y="1087"/>
                      </a:lnTo>
                      <a:lnTo>
                        <a:pt x="75" y="1082"/>
                      </a:lnTo>
                      <a:lnTo>
                        <a:pt x="72" y="1078"/>
                      </a:lnTo>
                      <a:lnTo>
                        <a:pt x="68" y="1076"/>
                      </a:lnTo>
                      <a:lnTo>
                        <a:pt x="63" y="1075"/>
                      </a:lnTo>
                      <a:lnTo>
                        <a:pt x="63" y="1075"/>
                      </a:lnTo>
                      <a:lnTo>
                        <a:pt x="58" y="1073"/>
                      </a:lnTo>
                      <a:lnTo>
                        <a:pt x="54" y="1071"/>
                      </a:lnTo>
                      <a:lnTo>
                        <a:pt x="52" y="1069"/>
                      </a:lnTo>
                      <a:lnTo>
                        <a:pt x="52" y="1068"/>
                      </a:lnTo>
                      <a:lnTo>
                        <a:pt x="54" y="1066"/>
                      </a:lnTo>
                      <a:lnTo>
                        <a:pt x="58" y="1064"/>
                      </a:lnTo>
                      <a:lnTo>
                        <a:pt x="68" y="1066"/>
                      </a:lnTo>
                      <a:lnTo>
                        <a:pt x="68" y="1066"/>
                      </a:lnTo>
                      <a:lnTo>
                        <a:pt x="75" y="1066"/>
                      </a:lnTo>
                      <a:lnTo>
                        <a:pt x="80" y="1064"/>
                      </a:lnTo>
                      <a:lnTo>
                        <a:pt x="84" y="1061"/>
                      </a:lnTo>
                      <a:lnTo>
                        <a:pt x="86" y="1056"/>
                      </a:lnTo>
                      <a:lnTo>
                        <a:pt x="86" y="1052"/>
                      </a:lnTo>
                      <a:lnTo>
                        <a:pt x="82" y="1049"/>
                      </a:lnTo>
                      <a:lnTo>
                        <a:pt x="77" y="1047"/>
                      </a:lnTo>
                      <a:lnTo>
                        <a:pt x="68" y="1049"/>
                      </a:lnTo>
                      <a:lnTo>
                        <a:pt x="68" y="1049"/>
                      </a:lnTo>
                      <a:lnTo>
                        <a:pt x="63" y="1049"/>
                      </a:lnTo>
                      <a:lnTo>
                        <a:pt x="59" y="1047"/>
                      </a:lnTo>
                      <a:lnTo>
                        <a:pt x="59" y="1043"/>
                      </a:lnTo>
                      <a:lnTo>
                        <a:pt x="61" y="1038"/>
                      </a:lnTo>
                      <a:lnTo>
                        <a:pt x="66" y="1028"/>
                      </a:lnTo>
                      <a:lnTo>
                        <a:pt x="66" y="1022"/>
                      </a:lnTo>
                      <a:lnTo>
                        <a:pt x="65" y="1021"/>
                      </a:lnTo>
                      <a:lnTo>
                        <a:pt x="65" y="1021"/>
                      </a:lnTo>
                      <a:lnTo>
                        <a:pt x="61" y="1017"/>
                      </a:lnTo>
                      <a:lnTo>
                        <a:pt x="61" y="1014"/>
                      </a:lnTo>
                      <a:lnTo>
                        <a:pt x="61" y="1003"/>
                      </a:lnTo>
                      <a:lnTo>
                        <a:pt x="65" y="993"/>
                      </a:lnTo>
                      <a:lnTo>
                        <a:pt x="65" y="988"/>
                      </a:lnTo>
                      <a:lnTo>
                        <a:pt x="63" y="984"/>
                      </a:lnTo>
                      <a:lnTo>
                        <a:pt x="63" y="984"/>
                      </a:lnTo>
                      <a:lnTo>
                        <a:pt x="58" y="981"/>
                      </a:lnTo>
                      <a:lnTo>
                        <a:pt x="52" y="977"/>
                      </a:lnTo>
                      <a:lnTo>
                        <a:pt x="51" y="975"/>
                      </a:lnTo>
                      <a:lnTo>
                        <a:pt x="49" y="970"/>
                      </a:lnTo>
                      <a:lnTo>
                        <a:pt x="49" y="963"/>
                      </a:lnTo>
                      <a:lnTo>
                        <a:pt x="49" y="953"/>
                      </a:lnTo>
                      <a:lnTo>
                        <a:pt x="49" y="953"/>
                      </a:lnTo>
                      <a:lnTo>
                        <a:pt x="52" y="939"/>
                      </a:lnTo>
                      <a:lnTo>
                        <a:pt x="54" y="937"/>
                      </a:lnTo>
                      <a:lnTo>
                        <a:pt x="56" y="937"/>
                      </a:lnTo>
                      <a:lnTo>
                        <a:pt x="59" y="939"/>
                      </a:lnTo>
                      <a:lnTo>
                        <a:pt x="61" y="939"/>
                      </a:lnTo>
                      <a:lnTo>
                        <a:pt x="63" y="937"/>
                      </a:lnTo>
                      <a:lnTo>
                        <a:pt x="63" y="937"/>
                      </a:lnTo>
                      <a:lnTo>
                        <a:pt x="63" y="934"/>
                      </a:lnTo>
                      <a:lnTo>
                        <a:pt x="63" y="930"/>
                      </a:lnTo>
                      <a:lnTo>
                        <a:pt x="61" y="921"/>
                      </a:lnTo>
                      <a:lnTo>
                        <a:pt x="59" y="909"/>
                      </a:lnTo>
                      <a:lnTo>
                        <a:pt x="59" y="892"/>
                      </a:lnTo>
                      <a:lnTo>
                        <a:pt x="59" y="892"/>
                      </a:lnTo>
                      <a:lnTo>
                        <a:pt x="59" y="881"/>
                      </a:lnTo>
                      <a:lnTo>
                        <a:pt x="58" y="876"/>
                      </a:lnTo>
                      <a:lnTo>
                        <a:pt x="56" y="869"/>
                      </a:lnTo>
                      <a:lnTo>
                        <a:pt x="54" y="867"/>
                      </a:lnTo>
                      <a:lnTo>
                        <a:pt x="54" y="866"/>
                      </a:lnTo>
                      <a:lnTo>
                        <a:pt x="61" y="859"/>
                      </a:lnTo>
                      <a:lnTo>
                        <a:pt x="61" y="859"/>
                      </a:lnTo>
                      <a:lnTo>
                        <a:pt x="65" y="854"/>
                      </a:lnTo>
                      <a:lnTo>
                        <a:pt x="66" y="848"/>
                      </a:lnTo>
                      <a:lnTo>
                        <a:pt x="66" y="841"/>
                      </a:lnTo>
                      <a:lnTo>
                        <a:pt x="66" y="834"/>
                      </a:lnTo>
                      <a:lnTo>
                        <a:pt x="65" y="824"/>
                      </a:lnTo>
                      <a:lnTo>
                        <a:pt x="66" y="819"/>
                      </a:lnTo>
                      <a:lnTo>
                        <a:pt x="70" y="814"/>
                      </a:lnTo>
                      <a:lnTo>
                        <a:pt x="70" y="814"/>
                      </a:lnTo>
                      <a:lnTo>
                        <a:pt x="73" y="810"/>
                      </a:lnTo>
                      <a:lnTo>
                        <a:pt x="75" y="807"/>
                      </a:lnTo>
                      <a:lnTo>
                        <a:pt x="75" y="796"/>
                      </a:lnTo>
                      <a:lnTo>
                        <a:pt x="75" y="791"/>
                      </a:lnTo>
                      <a:lnTo>
                        <a:pt x="77" y="786"/>
                      </a:lnTo>
                      <a:lnTo>
                        <a:pt x="80" y="779"/>
                      </a:lnTo>
                      <a:lnTo>
                        <a:pt x="87" y="772"/>
                      </a:lnTo>
                      <a:lnTo>
                        <a:pt x="87" y="772"/>
                      </a:lnTo>
                      <a:lnTo>
                        <a:pt x="92" y="768"/>
                      </a:lnTo>
                      <a:lnTo>
                        <a:pt x="92" y="761"/>
                      </a:lnTo>
                      <a:lnTo>
                        <a:pt x="92" y="754"/>
                      </a:lnTo>
                      <a:lnTo>
                        <a:pt x="91" y="747"/>
                      </a:lnTo>
                      <a:lnTo>
                        <a:pt x="86" y="733"/>
                      </a:lnTo>
                      <a:lnTo>
                        <a:pt x="84" y="726"/>
                      </a:lnTo>
                      <a:lnTo>
                        <a:pt x="84" y="719"/>
                      </a:lnTo>
                      <a:lnTo>
                        <a:pt x="84" y="719"/>
                      </a:lnTo>
                      <a:lnTo>
                        <a:pt x="86" y="707"/>
                      </a:lnTo>
                      <a:lnTo>
                        <a:pt x="86" y="695"/>
                      </a:lnTo>
                      <a:lnTo>
                        <a:pt x="86" y="681"/>
                      </a:lnTo>
                      <a:lnTo>
                        <a:pt x="86" y="671"/>
                      </a:lnTo>
                      <a:lnTo>
                        <a:pt x="86" y="671"/>
                      </a:lnTo>
                      <a:lnTo>
                        <a:pt x="89" y="666"/>
                      </a:lnTo>
                      <a:lnTo>
                        <a:pt x="92" y="664"/>
                      </a:lnTo>
                      <a:lnTo>
                        <a:pt x="99" y="660"/>
                      </a:lnTo>
                      <a:lnTo>
                        <a:pt x="103" y="655"/>
                      </a:lnTo>
                      <a:lnTo>
                        <a:pt x="108" y="650"/>
                      </a:lnTo>
                      <a:lnTo>
                        <a:pt x="108" y="650"/>
                      </a:lnTo>
                      <a:lnTo>
                        <a:pt x="112" y="645"/>
                      </a:lnTo>
                      <a:lnTo>
                        <a:pt x="113" y="639"/>
                      </a:lnTo>
                      <a:lnTo>
                        <a:pt x="112" y="629"/>
                      </a:lnTo>
                      <a:lnTo>
                        <a:pt x="112" y="615"/>
                      </a:lnTo>
                      <a:lnTo>
                        <a:pt x="113" y="592"/>
                      </a:lnTo>
                      <a:lnTo>
                        <a:pt x="113" y="592"/>
                      </a:lnTo>
                      <a:lnTo>
                        <a:pt x="115" y="582"/>
                      </a:lnTo>
                      <a:lnTo>
                        <a:pt x="119" y="573"/>
                      </a:lnTo>
                      <a:lnTo>
                        <a:pt x="122" y="568"/>
                      </a:lnTo>
                      <a:lnTo>
                        <a:pt x="126" y="565"/>
                      </a:lnTo>
                      <a:lnTo>
                        <a:pt x="129" y="558"/>
                      </a:lnTo>
                      <a:lnTo>
                        <a:pt x="131" y="554"/>
                      </a:lnTo>
                      <a:lnTo>
                        <a:pt x="129" y="547"/>
                      </a:lnTo>
                      <a:lnTo>
                        <a:pt x="129" y="547"/>
                      </a:lnTo>
                      <a:lnTo>
                        <a:pt x="129" y="540"/>
                      </a:lnTo>
                      <a:lnTo>
                        <a:pt x="129" y="533"/>
                      </a:lnTo>
                      <a:lnTo>
                        <a:pt x="131" y="523"/>
                      </a:lnTo>
                      <a:lnTo>
                        <a:pt x="133" y="519"/>
                      </a:lnTo>
                      <a:lnTo>
                        <a:pt x="133" y="518"/>
                      </a:lnTo>
                      <a:lnTo>
                        <a:pt x="131" y="516"/>
                      </a:lnTo>
                      <a:lnTo>
                        <a:pt x="127" y="516"/>
                      </a:lnTo>
                      <a:lnTo>
                        <a:pt x="127" y="516"/>
                      </a:lnTo>
                      <a:lnTo>
                        <a:pt x="122" y="516"/>
                      </a:lnTo>
                      <a:lnTo>
                        <a:pt x="120" y="514"/>
                      </a:lnTo>
                      <a:lnTo>
                        <a:pt x="120" y="512"/>
                      </a:lnTo>
                      <a:lnTo>
                        <a:pt x="120" y="509"/>
                      </a:lnTo>
                      <a:lnTo>
                        <a:pt x="122" y="500"/>
                      </a:lnTo>
                      <a:lnTo>
                        <a:pt x="122" y="495"/>
                      </a:lnTo>
                      <a:lnTo>
                        <a:pt x="122" y="490"/>
                      </a:lnTo>
                      <a:lnTo>
                        <a:pt x="122" y="490"/>
                      </a:lnTo>
                      <a:lnTo>
                        <a:pt x="113" y="464"/>
                      </a:lnTo>
                      <a:lnTo>
                        <a:pt x="110" y="451"/>
                      </a:lnTo>
                      <a:lnTo>
                        <a:pt x="105" y="441"/>
                      </a:lnTo>
                      <a:lnTo>
                        <a:pt x="105" y="441"/>
                      </a:lnTo>
                      <a:lnTo>
                        <a:pt x="105" y="437"/>
                      </a:lnTo>
                      <a:lnTo>
                        <a:pt x="105" y="434"/>
                      </a:lnTo>
                      <a:lnTo>
                        <a:pt x="106" y="423"/>
                      </a:lnTo>
                      <a:lnTo>
                        <a:pt x="115" y="396"/>
                      </a:lnTo>
                      <a:lnTo>
                        <a:pt x="115" y="396"/>
                      </a:lnTo>
                      <a:lnTo>
                        <a:pt x="119" y="387"/>
                      </a:lnTo>
                      <a:lnTo>
                        <a:pt x="122" y="383"/>
                      </a:lnTo>
                      <a:lnTo>
                        <a:pt x="126" y="383"/>
                      </a:lnTo>
                      <a:lnTo>
                        <a:pt x="127" y="380"/>
                      </a:lnTo>
                      <a:lnTo>
                        <a:pt x="127" y="380"/>
                      </a:lnTo>
                      <a:lnTo>
                        <a:pt x="129" y="375"/>
                      </a:lnTo>
                      <a:lnTo>
                        <a:pt x="129" y="368"/>
                      </a:lnTo>
                      <a:lnTo>
                        <a:pt x="126" y="354"/>
                      </a:lnTo>
                      <a:lnTo>
                        <a:pt x="124" y="340"/>
                      </a:lnTo>
                      <a:lnTo>
                        <a:pt x="124" y="335"/>
                      </a:lnTo>
                      <a:lnTo>
                        <a:pt x="127" y="329"/>
                      </a:lnTo>
                      <a:lnTo>
                        <a:pt x="127" y="329"/>
                      </a:lnTo>
                      <a:lnTo>
                        <a:pt x="129" y="326"/>
                      </a:lnTo>
                      <a:lnTo>
                        <a:pt x="133" y="321"/>
                      </a:lnTo>
                      <a:lnTo>
                        <a:pt x="134" y="307"/>
                      </a:lnTo>
                      <a:lnTo>
                        <a:pt x="138" y="293"/>
                      </a:lnTo>
                      <a:lnTo>
                        <a:pt x="141" y="288"/>
                      </a:lnTo>
                      <a:lnTo>
                        <a:pt x="143" y="284"/>
                      </a:lnTo>
                      <a:lnTo>
                        <a:pt x="143" y="284"/>
                      </a:lnTo>
                      <a:lnTo>
                        <a:pt x="148" y="282"/>
                      </a:lnTo>
                      <a:lnTo>
                        <a:pt x="150" y="281"/>
                      </a:lnTo>
                      <a:lnTo>
                        <a:pt x="159" y="255"/>
                      </a:lnTo>
                      <a:lnTo>
                        <a:pt x="159" y="255"/>
                      </a:lnTo>
                      <a:lnTo>
                        <a:pt x="164" y="244"/>
                      </a:lnTo>
                      <a:lnTo>
                        <a:pt x="169" y="239"/>
                      </a:lnTo>
                      <a:lnTo>
                        <a:pt x="174" y="237"/>
                      </a:lnTo>
                      <a:lnTo>
                        <a:pt x="180" y="235"/>
                      </a:lnTo>
                      <a:lnTo>
                        <a:pt x="183" y="235"/>
                      </a:lnTo>
                      <a:lnTo>
                        <a:pt x="185" y="234"/>
                      </a:lnTo>
                      <a:lnTo>
                        <a:pt x="185" y="228"/>
                      </a:lnTo>
                      <a:lnTo>
                        <a:pt x="180" y="220"/>
                      </a:lnTo>
                      <a:lnTo>
                        <a:pt x="180" y="220"/>
                      </a:lnTo>
                      <a:lnTo>
                        <a:pt x="178" y="211"/>
                      </a:lnTo>
                      <a:lnTo>
                        <a:pt x="176" y="201"/>
                      </a:lnTo>
                      <a:lnTo>
                        <a:pt x="176" y="176"/>
                      </a:lnTo>
                      <a:lnTo>
                        <a:pt x="178" y="154"/>
                      </a:lnTo>
                      <a:lnTo>
                        <a:pt x="180" y="145"/>
                      </a:lnTo>
                      <a:lnTo>
                        <a:pt x="178" y="140"/>
                      </a:lnTo>
                      <a:lnTo>
                        <a:pt x="178" y="140"/>
                      </a:lnTo>
                      <a:lnTo>
                        <a:pt x="178" y="133"/>
                      </a:lnTo>
                      <a:lnTo>
                        <a:pt x="180" y="126"/>
                      </a:lnTo>
                      <a:lnTo>
                        <a:pt x="183" y="121"/>
                      </a:lnTo>
                      <a:lnTo>
                        <a:pt x="188" y="115"/>
                      </a:lnTo>
                      <a:lnTo>
                        <a:pt x="200" y="108"/>
                      </a:lnTo>
                      <a:lnTo>
                        <a:pt x="211" y="103"/>
                      </a:lnTo>
                      <a:lnTo>
                        <a:pt x="211" y="103"/>
                      </a:lnTo>
                      <a:lnTo>
                        <a:pt x="214" y="101"/>
                      </a:lnTo>
                      <a:lnTo>
                        <a:pt x="218" y="98"/>
                      </a:lnTo>
                      <a:lnTo>
                        <a:pt x="221" y="87"/>
                      </a:lnTo>
                      <a:lnTo>
                        <a:pt x="225" y="77"/>
                      </a:lnTo>
                      <a:lnTo>
                        <a:pt x="225" y="67"/>
                      </a:lnTo>
                      <a:lnTo>
                        <a:pt x="225" y="67"/>
                      </a:lnTo>
                      <a:lnTo>
                        <a:pt x="227" y="56"/>
                      </a:lnTo>
                      <a:lnTo>
                        <a:pt x="227" y="51"/>
                      </a:lnTo>
                      <a:lnTo>
                        <a:pt x="221" y="46"/>
                      </a:lnTo>
                      <a:lnTo>
                        <a:pt x="221" y="46"/>
                      </a:lnTo>
                      <a:lnTo>
                        <a:pt x="227" y="42"/>
                      </a:lnTo>
                      <a:lnTo>
                        <a:pt x="230" y="39"/>
                      </a:lnTo>
                      <a:lnTo>
                        <a:pt x="234" y="30"/>
                      </a:lnTo>
                      <a:lnTo>
                        <a:pt x="239" y="23"/>
                      </a:lnTo>
                      <a:lnTo>
                        <a:pt x="240" y="20"/>
                      </a:lnTo>
                      <a:lnTo>
                        <a:pt x="246" y="18"/>
                      </a:lnTo>
                      <a:lnTo>
                        <a:pt x="246" y="18"/>
                      </a:lnTo>
                      <a:lnTo>
                        <a:pt x="249" y="14"/>
                      </a:lnTo>
                      <a:lnTo>
                        <a:pt x="251" y="13"/>
                      </a:lnTo>
                      <a:lnTo>
                        <a:pt x="253" y="7"/>
                      </a:lnTo>
                      <a:lnTo>
                        <a:pt x="254" y="2"/>
                      </a:lnTo>
                      <a:lnTo>
                        <a:pt x="254" y="0"/>
                      </a:lnTo>
                      <a:lnTo>
                        <a:pt x="256" y="0"/>
                      </a:lnTo>
                      <a:lnTo>
                        <a:pt x="256" y="0"/>
                      </a:lnTo>
                      <a:lnTo>
                        <a:pt x="258" y="0"/>
                      </a:lnTo>
                      <a:lnTo>
                        <a:pt x="261" y="2"/>
                      </a:lnTo>
                      <a:lnTo>
                        <a:pt x="267" y="7"/>
                      </a:lnTo>
                      <a:lnTo>
                        <a:pt x="268" y="11"/>
                      </a:lnTo>
                      <a:lnTo>
                        <a:pt x="274" y="14"/>
                      </a:lnTo>
                      <a:lnTo>
                        <a:pt x="279" y="16"/>
                      </a:lnTo>
                      <a:lnTo>
                        <a:pt x="286" y="16"/>
                      </a:lnTo>
                      <a:lnTo>
                        <a:pt x="286" y="16"/>
                      </a:lnTo>
                      <a:lnTo>
                        <a:pt x="298" y="14"/>
                      </a:lnTo>
                      <a:lnTo>
                        <a:pt x="305" y="14"/>
                      </a:lnTo>
                      <a:lnTo>
                        <a:pt x="308" y="16"/>
                      </a:lnTo>
                      <a:lnTo>
                        <a:pt x="314" y="20"/>
                      </a:lnTo>
                      <a:lnTo>
                        <a:pt x="317" y="27"/>
                      </a:lnTo>
                      <a:lnTo>
                        <a:pt x="321" y="33"/>
                      </a:lnTo>
                      <a:lnTo>
                        <a:pt x="324" y="46"/>
                      </a:lnTo>
                      <a:lnTo>
                        <a:pt x="324" y="46"/>
                      </a:lnTo>
                      <a:lnTo>
                        <a:pt x="328" y="28"/>
                      </a:lnTo>
                      <a:lnTo>
                        <a:pt x="333" y="18"/>
                      </a:lnTo>
                      <a:lnTo>
                        <a:pt x="338" y="11"/>
                      </a:lnTo>
                      <a:lnTo>
                        <a:pt x="340" y="9"/>
                      </a:lnTo>
                      <a:lnTo>
                        <a:pt x="343" y="9"/>
                      </a:lnTo>
                      <a:lnTo>
                        <a:pt x="343" y="9"/>
                      </a:lnTo>
                      <a:lnTo>
                        <a:pt x="373" y="9"/>
                      </a:lnTo>
                      <a:lnTo>
                        <a:pt x="373" y="9"/>
                      </a:lnTo>
                      <a:lnTo>
                        <a:pt x="376" y="11"/>
                      </a:lnTo>
                      <a:lnTo>
                        <a:pt x="378" y="13"/>
                      </a:lnTo>
                      <a:lnTo>
                        <a:pt x="382" y="21"/>
                      </a:lnTo>
                      <a:lnTo>
                        <a:pt x="382" y="21"/>
                      </a:lnTo>
                      <a:lnTo>
                        <a:pt x="387" y="25"/>
                      </a:lnTo>
                      <a:lnTo>
                        <a:pt x="392" y="27"/>
                      </a:lnTo>
                      <a:lnTo>
                        <a:pt x="395" y="32"/>
                      </a:lnTo>
                      <a:lnTo>
                        <a:pt x="401" y="40"/>
                      </a:lnTo>
                      <a:lnTo>
                        <a:pt x="401" y="40"/>
                      </a:lnTo>
                      <a:lnTo>
                        <a:pt x="406" y="53"/>
                      </a:lnTo>
                      <a:lnTo>
                        <a:pt x="411" y="60"/>
                      </a:lnTo>
                      <a:lnTo>
                        <a:pt x="416" y="65"/>
                      </a:lnTo>
                      <a:lnTo>
                        <a:pt x="422" y="70"/>
                      </a:lnTo>
                      <a:lnTo>
                        <a:pt x="432" y="77"/>
                      </a:lnTo>
                      <a:lnTo>
                        <a:pt x="435" y="81"/>
                      </a:lnTo>
                      <a:lnTo>
                        <a:pt x="439" y="86"/>
                      </a:lnTo>
                      <a:lnTo>
                        <a:pt x="439" y="86"/>
                      </a:lnTo>
                      <a:lnTo>
                        <a:pt x="442" y="89"/>
                      </a:lnTo>
                      <a:lnTo>
                        <a:pt x="446" y="93"/>
                      </a:lnTo>
                      <a:lnTo>
                        <a:pt x="458" y="94"/>
                      </a:lnTo>
                      <a:lnTo>
                        <a:pt x="472" y="100"/>
                      </a:lnTo>
                      <a:lnTo>
                        <a:pt x="481" y="103"/>
                      </a:lnTo>
                      <a:lnTo>
                        <a:pt x="488" y="110"/>
                      </a:lnTo>
                      <a:lnTo>
                        <a:pt x="488" y="110"/>
                      </a:lnTo>
                      <a:lnTo>
                        <a:pt x="503" y="122"/>
                      </a:lnTo>
                      <a:lnTo>
                        <a:pt x="517" y="133"/>
                      </a:lnTo>
                      <a:lnTo>
                        <a:pt x="530" y="138"/>
                      </a:lnTo>
                      <a:lnTo>
                        <a:pt x="536" y="140"/>
                      </a:lnTo>
                      <a:lnTo>
                        <a:pt x="536" y="140"/>
                      </a:lnTo>
                      <a:lnTo>
                        <a:pt x="540" y="141"/>
                      </a:lnTo>
                      <a:lnTo>
                        <a:pt x="545" y="143"/>
                      </a:lnTo>
                      <a:lnTo>
                        <a:pt x="554" y="150"/>
                      </a:lnTo>
                      <a:lnTo>
                        <a:pt x="557" y="155"/>
                      </a:lnTo>
                      <a:lnTo>
                        <a:pt x="559" y="161"/>
                      </a:lnTo>
                      <a:lnTo>
                        <a:pt x="561" y="164"/>
                      </a:lnTo>
                      <a:lnTo>
                        <a:pt x="559" y="168"/>
                      </a:lnTo>
                      <a:lnTo>
                        <a:pt x="559" y="168"/>
                      </a:lnTo>
                      <a:lnTo>
                        <a:pt x="552" y="178"/>
                      </a:lnTo>
                      <a:lnTo>
                        <a:pt x="552" y="183"/>
                      </a:lnTo>
                      <a:lnTo>
                        <a:pt x="550" y="187"/>
                      </a:lnTo>
                      <a:lnTo>
                        <a:pt x="545" y="192"/>
                      </a:lnTo>
                      <a:lnTo>
                        <a:pt x="545" y="192"/>
                      </a:lnTo>
                      <a:lnTo>
                        <a:pt x="542" y="195"/>
                      </a:lnTo>
                      <a:lnTo>
                        <a:pt x="540" y="199"/>
                      </a:lnTo>
                      <a:lnTo>
                        <a:pt x="540" y="204"/>
                      </a:lnTo>
                      <a:lnTo>
                        <a:pt x="540" y="211"/>
                      </a:lnTo>
                      <a:lnTo>
                        <a:pt x="540" y="215"/>
                      </a:lnTo>
                      <a:lnTo>
                        <a:pt x="538" y="220"/>
                      </a:lnTo>
                      <a:lnTo>
                        <a:pt x="538" y="220"/>
                      </a:lnTo>
                      <a:lnTo>
                        <a:pt x="531" y="228"/>
                      </a:lnTo>
                      <a:lnTo>
                        <a:pt x="526" y="234"/>
                      </a:lnTo>
                      <a:lnTo>
                        <a:pt x="523" y="237"/>
                      </a:lnTo>
                      <a:lnTo>
                        <a:pt x="523" y="239"/>
                      </a:lnTo>
                      <a:lnTo>
                        <a:pt x="523" y="242"/>
                      </a:lnTo>
                      <a:lnTo>
                        <a:pt x="523" y="242"/>
                      </a:lnTo>
                      <a:lnTo>
                        <a:pt x="524" y="248"/>
                      </a:lnTo>
                      <a:lnTo>
                        <a:pt x="528" y="248"/>
                      </a:lnTo>
                      <a:lnTo>
                        <a:pt x="533" y="246"/>
                      </a:lnTo>
                      <a:lnTo>
                        <a:pt x="547" y="246"/>
                      </a:lnTo>
                      <a:lnTo>
                        <a:pt x="547" y="246"/>
                      </a:lnTo>
                      <a:lnTo>
                        <a:pt x="556" y="246"/>
                      </a:lnTo>
                      <a:lnTo>
                        <a:pt x="564" y="249"/>
                      </a:lnTo>
                      <a:lnTo>
                        <a:pt x="578" y="253"/>
                      </a:lnTo>
                      <a:lnTo>
                        <a:pt x="585" y="255"/>
                      </a:lnTo>
                      <a:lnTo>
                        <a:pt x="592" y="255"/>
                      </a:lnTo>
                      <a:lnTo>
                        <a:pt x="597" y="253"/>
                      </a:lnTo>
                      <a:lnTo>
                        <a:pt x="604" y="249"/>
                      </a:lnTo>
                      <a:lnTo>
                        <a:pt x="604" y="249"/>
                      </a:lnTo>
                      <a:lnTo>
                        <a:pt x="610" y="246"/>
                      </a:lnTo>
                      <a:lnTo>
                        <a:pt x="615" y="246"/>
                      </a:lnTo>
                      <a:lnTo>
                        <a:pt x="618" y="248"/>
                      </a:lnTo>
                      <a:lnTo>
                        <a:pt x="622" y="249"/>
                      </a:lnTo>
                      <a:lnTo>
                        <a:pt x="625" y="251"/>
                      </a:lnTo>
                      <a:lnTo>
                        <a:pt x="627" y="251"/>
                      </a:lnTo>
                      <a:lnTo>
                        <a:pt x="629" y="249"/>
                      </a:lnTo>
                      <a:lnTo>
                        <a:pt x="631" y="244"/>
                      </a:lnTo>
                      <a:lnTo>
                        <a:pt x="631" y="244"/>
                      </a:lnTo>
                      <a:lnTo>
                        <a:pt x="632" y="239"/>
                      </a:lnTo>
                      <a:lnTo>
                        <a:pt x="636" y="234"/>
                      </a:lnTo>
                      <a:lnTo>
                        <a:pt x="646" y="227"/>
                      </a:lnTo>
                      <a:lnTo>
                        <a:pt x="655" y="220"/>
                      </a:lnTo>
                      <a:lnTo>
                        <a:pt x="658" y="215"/>
                      </a:lnTo>
                      <a:lnTo>
                        <a:pt x="660" y="208"/>
                      </a:lnTo>
                      <a:lnTo>
                        <a:pt x="660" y="208"/>
                      </a:lnTo>
                      <a:lnTo>
                        <a:pt x="664" y="188"/>
                      </a:lnTo>
                      <a:lnTo>
                        <a:pt x="665" y="181"/>
                      </a:lnTo>
                      <a:lnTo>
                        <a:pt x="664" y="168"/>
                      </a:lnTo>
                      <a:lnTo>
                        <a:pt x="664" y="168"/>
                      </a:lnTo>
                      <a:lnTo>
                        <a:pt x="669" y="169"/>
                      </a:lnTo>
                      <a:lnTo>
                        <a:pt x="672" y="168"/>
                      </a:lnTo>
                      <a:lnTo>
                        <a:pt x="678" y="164"/>
                      </a:lnTo>
                      <a:lnTo>
                        <a:pt x="681" y="162"/>
                      </a:lnTo>
                      <a:lnTo>
                        <a:pt x="683" y="164"/>
                      </a:lnTo>
                      <a:lnTo>
                        <a:pt x="686" y="169"/>
                      </a:lnTo>
                      <a:lnTo>
                        <a:pt x="691" y="178"/>
                      </a:lnTo>
                      <a:lnTo>
                        <a:pt x="691" y="178"/>
                      </a:lnTo>
                      <a:lnTo>
                        <a:pt x="695" y="190"/>
                      </a:lnTo>
                      <a:lnTo>
                        <a:pt x="698" y="201"/>
                      </a:lnTo>
                      <a:lnTo>
                        <a:pt x="698" y="211"/>
                      </a:lnTo>
                      <a:lnTo>
                        <a:pt x="698" y="220"/>
                      </a:lnTo>
                      <a:lnTo>
                        <a:pt x="697" y="228"/>
                      </a:lnTo>
                      <a:lnTo>
                        <a:pt x="691" y="235"/>
                      </a:lnTo>
                      <a:lnTo>
                        <a:pt x="686" y="241"/>
                      </a:lnTo>
                      <a:lnTo>
                        <a:pt x="679" y="246"/>
                      </a:lnTo>
                      <a:lnTo>
                        <a:pt x="679" y="246"/>
                      </a:lnTo>
                      <a:lnTo>
                        <a:pt x="664" y="255"/>
                      </a:lnTo>
                      <a:lnTo>
                        <a:pt x="646" y="267"/>
                      </a:lnTo>
                      <a:lnTo>
                        <a:pt x="629" y="284"/>
                      </a:lnTo>
                      <a:lnTo>
                        <a:pt x="611" y="305"/>
                      </a:lnTo>
                      <a:lnTo>
                        <a:pt x="611" y="305"/>
                      </a:lnTo>
                      <a:lnTo>
                        <a:pt x="596" y="328"/>
                      </a:lnTo>
                      <a:lnTo>
                        <a:pt x="589" y="342"/>
                      </a:lnTo>
                      <a:lnTo>
                        <a:pt x="583" y="350"/>
                      </a:lnTo>
                      <a:lnTo>
                        <a:pt x="580" y="354"/>
                      </a:lnTo>
                      <a:lnTo>
                        <a:pt x="577" y="356"/>
                      </a:lnTo>
                      <a:lnTo>
                        <a:pt x="577" y="356"/>
                      </a:lnTo>
                      <a:lnTo>
                        <a:pt x="570" y="359"/>
                      </a:lnTo>
                      <a:lnTo>
                        <a:pt x="566" y="364"/>
                      </a:lnTo>
                      <a:lnTo>
                        <a:pt x="564" y="368"/>
                      </a:lnTo>
                      <a:lnTo>
                        <a:pt x="559" y="373"/>
                      </a:lnTo>
                      <a:lnTo>
                        <a:pt x="559" y="37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2" name="Freeform 1701">
                  <a:extLst>
                    <a:ext uri="{FF2B5EF4-FFF2-40B4-BE49-F238E27FC236}">
                      <a16:creationId xmlns:a16="http://schemas.microsoft.com/office/drawing/2014/main" id="{18836D82-1FF2-0584-AC8F-12BAACF7D27A}"/>
                    </a:ext>
                  </a:extLst>
                </p:cNvPr>
                <p:cNvSpPr>
                  <a:spLocks/>
                </p:cNvSpPr>
                <p:nvPr/>
              </p:nvSpPr>
              <p:spPr bwMode="auto">
                <a:xfrm>
                  <a:off x="455695" y="1689045"/>
                  <a:ext cx="1069535" cy="778805"/>
                </a:xfrm>
                <a:custGeom>
                  <a:avLst/>
                  <a:gdLst/>
                  <a:ahLst/>
                  <a:cxnLst>
                    <a:cxn ang="0">
                      <a:pos x="987" y="669"/>
                    </a:cxn>
                    <a:cxn ang="0">
                      <a:pos x="1029" y="688"/>
                    </a:cxn>
                    <a:cxn ang="0">
                      <a:pos x="1076" y="738"/>
                    </a:cxn>
                    <a:cxn ang="0">
                      <a:pos x="1116" y="709"/>
                    </a:cxn>
                    <a:cxn ang="0">
                      <a:pos x="1158" y="712"/>
                    </a:cxn>
                    <a:cxn ang="0">
                      <a:pos x="1210" y="763"/>
                    </a:cxn>
                    <a:cxn ang="0">
                      <a:pos x="1264" y="857"/>
                    </a:cxn>
                    <a:cxn ang="0">
                      <a:pos x="1304" y="883"/>
                    </a:cxn>
                    <a:cxn ang="0">
                      <a:pos x="1327" y="914"/>
                    </a:cxn>
                    <a:cxn ang="0">
                      <a:pos x="1299" y="961"/>
                    </a:cxn>
                    <a:cxn ang="0">
                      <a:pos x="1280" y="902"/>
                    </a:cxn>
                    <a:cxn ang="0">
                      <a:pos x="1261" y="909"/>
                    </a:cxn>
                    <a:cxn ang="0">
                      <a:pos x="1229" y="846"/>
                    </a:cxn>
                    <a:cxn ang="0">
                      <a:pos x="1194" y="786"/>
                    </a:cxn>
                    <a:cxn ang="0">
                      <a:pos x="1151" y="754"/>
                    </a:cxn>
                    <a:cxn ang="0">
                      <a:pos x="1114" y="763"/>
                    </a:cxn>
                    <a:cxn ang="0">
                      <a:pos x="1038" y="733"/>
                    </a:cxn>
                    <a:cxn ang="0">
                      <a:pos x="994" y="688"/>
                    </a:cxn>
                    <a:cxn ang="0">
                      <a:pos x="851" y="679"/>
                    </a:cxn>
                    <a:cxn ang="0">
                      <a:pos x="789" y="657"/>
                    </a:cxn>
                    <a:cxn ang="0">
                      <a:pos x="717" y="631"/>
                    </a:cxn>
                    <a:cxn ang="0">
                      <a:pos x="688" y="672"/>
                    </a:cxn>
                    <a:cxn ang="0">
                      <a:pos x="583" y="728"/>
                    </a:cxn>
                    <a:cxn ang="0">
                      <a:pos x="566" y="691"/>
                    </a:cxn>
                    <a:cxn ang="0">
                      <a:pos x="613" y="622"/>
                    </a:cxn>
                    <a:cxn ang="0">
                      <a:pos x="604" y="611"/>
                    </a:cxn>
                    <a:cxn ang="0">
                      <a:pos x="482" y="733"/>
                    </a:cxn>
                    <a:cxn ang="0">
                      <a:pos x="493" y="772"/>
                    </a:cxn>
                    <a:cxn ang="0">
                      <a:pos x="369" y="866"/>
                    </a:cxn>
                    <a:cxn ang="0">
                      <a:pos x="292" y="925"/>
                    </a:cxn>
                    <a:cxn ang="0">
                      <a:pos x="268" y="942"/>
                    </a:cxn>
                    <a:cxn ang="0">
                      <a:pos x="228" y="933"/>
                    </a:cxn>
                    <a:cxn ang="0">
                      <a:pos x="169" y="949"/>
                    </a:cxn>
                    <a:cxn ang="0">
                      <a:pos x="251" y="906"/>
                    </a:cxn>
                    <a:cxn ang="0">
                      <a:pos x="326" y="845"/>
                    </a:cxn>
                    <a:cxn ang="0">
                      <a:pos x="374" y="754"/>
                    </a:cxn>
                    <a:cxn ang="0">
                      <a:pos x="312" y="768"/>
                    </a:cxn>
                    <a:cxn ang="0">
                      <a:pos x="216" y="763"/>
                    </a:cxn>
                    <a:cxn ang="0">
                      <a:pos x="211" y="705"/>
                    </a:cxn>
                    <a:cxn ang="0">
                      <a:pos x="103" y="658"/>
                    </a:cxn>
                    <a:cxn ang="0">
                      <a:pos x="64" y="585"/>
                    </a:cxn>
                    <a:cxn ang="0">
                      <a:pos x="125" y="503"/>
                    </a:cxn>
                    <a:cxn ang="0">
                      <a:pos x="197" y="483"/>
                    </a:cxn>
                    <a:cxn ang="0">
                      <a:pos x="245" y="436"/>
                    </a:cxn>
                    <a:cxn ang="0">
                      <a:pos x="249" y="402"/>
                    </a:cxn>
                    <a:cxn ang="0">
                      <a:pos x="155" y="416"/>
                    </a:cxn>
                    <a:cxn ang="0">
                      <a:pos x="49" y="395"/>
                    </a:cxn>
                    <a:cxn ang="0">
                      <a:pos x="2" y="359"/>
                    </a:cxn>
                    <a:cxn ang="0">
                      <a:pos x="146" y="291"/>
                    </a:cxn>
                    <a:cxn ang="0">
                      <a:pos x="204" y="324"/>
                    </a:cxn>
                    <a:cxn ang="0">
                      <a:pos x="238" y="310"/>
                    </a:cxn>
                    <a:cxn ang="0">
                      <a:pos x="193" y="286"/>
                    </a:cxn>
                    <a:cxn ang="0">
                      <a:pos x="146" y="248"/>
                    </a:cxn>
                    <a:cxn ang="0">
                      <a:pos x="63" y="174"/>
                    </a:cxn>
                    <a:cxn ang="0">
                      <a:pos x="176" y="106"/>
                    </a:cxn>
                    <a:cxn ang="0">
                      <a:pos x="270" y="51"/>
                    </a:cxn>
                    <a:cxn ang="0">
                      <a:pos x="413" y="2"/>
                    </a:cxn>
                    <a:cxn ang="0">
                      <a:pos x="480" y="28"/>
                    </a:cxn>
                    <a:cxn ang="0">
                      <a:pos x="594" y="58"/>
                    </a:cxn>
                    <a:cxn ang="0">
                      <a:pos x="794" y="82"/>
                    </a:cxn>
                    <a:cxn ang="0">
                      <a:pos x="916" y="100"/>
                    </a:cxn>
                  </a:cxnLst>
                  <a:rect l="0" t="0" r="r" b="b"/>
                  <a:pathLst>
                    <a:path w="1334" h="972">
                      <a:moveTo>
                        <a:pt x="949" y="106"/>
                      </a:moveTo>
                      <a:lnTo>
                        <a:pt x="949" y="664"/>
                      </a:lnTo>
                      <a:lnTo>
                        <a:pt x="949" y="664"/>
                      </a:lnTo>
                      <a:lnTo>
                        <a:pt x="958" y="667"/>
                      </a:lnTo>
                      <a:lnTo>
                        <a:pt x="963" y="669"/>
                      </a:lnTo>
                      <a:lnTo>
                        <a:pt x="966" y="669"/>
                      </a:lnTo>
                      <a:lnTo>
                        <a:pt x="966" y="667"/>
                      </a:lnTo>
                      <a:lnTo>
                        <a:pt x="968" y="664"/>
                      </a:lnTo>
                      <a:lnTo>
                        <a:pt x="970" y="664"/>
                      </a:lnTo>
                      <a:lnTo>
                        <a:pt x="972" y="664"/>
                      </a:lnTo>
                      <a:lnTo>
                        <a:pt x="972" y="664"/>
                      </a:lnTo>
                      <a:lnTo>
                        <a:pt x="978" y="669"/>
                      </a:lnTo>
                      <a:lnTo>
                        <a:pt x="984" y="671"/>
                      </a:lnTo>
                      <a:lnTo>
                        <a:pt x="987" y="669"/>
                      </a:lnTo>
                      <a:lnTo>
                        <a:pt x="991" y="665"/>
                      </a:lnTo>
                      <a:lnTo>
                        <a:pt x="991" y="665"/>
                      </a:lnTo>
                      <a:lnTo>
                        <a:pt x="998" y="662"/>
                      </a:lnTo>
                      <a:lnTo>
                        <a:pt x="1006" y="660"/>
                      </a:lnTo>
                      <a:lnTo>
                        <a:pt x="1013" y="662"/>
                      </a:lnTo>
                      <a:lnTo>
                        <a:pt x="1015" y="664"/>
                      </a:lnTo>
                      <a:lnTo>
                        <a:pt x="1015" y="665"/>
                      </a:lnTo>
                      <a:lnTo>
                        <a:pt x="1015" y="665"/>
                      </a:lnTo>
                      <a:lnTo>
                        <a:pt x="1013" y="671"/>
                      </a:lnTo>
                      <a:lnTo>
                        <a:pt x="1012" y="674"/>
                      </a:lnTo>
                      <a:lnTo>
                        <a:pt x="1013" y="679"/>
                      </a:lnTo>
                      <a:lnTo>
                        <a:pt x="1019" y="683"/>
                      </a:lnTo>
                      <a:lnTo>
                        <a:pt x="1019" y="683"/>
                      </a:lnTo>
                      <a:lnTo>
                        <a:pt x="1029" y="688"/>
                      </a:lnTo>
                      <a:lnTo>
                        <a:pt x="1032" y="693"/>
                      </a:lnTo>
                      <a:lnTo>
                        <a:pt x="1036" y="700"/>
                      </a:lnTo>
                      <a:lnTo>
                        <a:pt x="1041" y="704"/>
                      </a:lnTo>
                      <a:lnTo>
                        <a:pt x="1050" y="711"/>
                      </a:lnTo>
                      <a:lnTo>
                        <a:pt x="1050" y="711"/>
                      </a:lnTo>
                      <a:lnTo>
                        <a:pt x="1059" y="716"/>
                      </a:lnTo>
                      <a:lnTo>
                        <a:pt x="1064" y="721"/>
                      </a:lnTo>
                      <a:lnTo>
                        <a:pt x="1067" y="726"/>
                      </a:lnTo>
                      <a:lnTo>
                        <a:pt x="1069" y="730"/>
                      </a:lnTo>
                      <a:lnTo>
                        <a:pt x="1069" y="735"/>
                      </a:lnTo>
                      <a:lnTo>
                        <a:pt x="1071" y="737"/>
                      </a:lnTo>
                      <a:lnTo>
                        <a:pt x="1074" y="738"/>
                      </a:lnTo>
                      <a:lnTo>
                        <a:pt x="1074" y="738"/>
                      </a:lnTo>
                      <a:lnTo>
                        <a:pt x="1076" y="738"/>
                      </a:lnTo>
                      <a:lnTo>
                        <a:pt x="1078" y="738"/>
                      </a:lnTo>
                      <a:lnTo>
                        <a:pt x="1081" y="735"/>
                      </a:lnTo>
                      <a:lnTo>
                        <a:pt x="1088" y="730"/>
                      </a:lnTo>
                      <a:lnTo>
                        <a:pt x="1099" y="726"/>
                      </a:lnTo>
                      <a:lnTo>
                        <a:pt x="1099" y="726"/>
                      </a:lnTo>
                      <a:lnTo>
                        <a:pt x="1104" y="725"/>
                      </a:lnTo>
                      <a:lnTo>
                        <a:pt x="1106" y="723"/>
                      </a:lnTo>
                      <a:lnTo>
                        <a:pt x="1107" y="721"/>
                      </a:lnTo>
                      <a:lnTo>
                        <a:pt x="1106" y="718"/>
                      </a:lnTo>
                      <a:lnTo>
                        <a:pt x="1106" y="714"/>
                      </a:lnTo>
                      <a:lnTo>
                        <a:pt x="1107" y="712"/>
                      </a:lnTo>
                      <a:lnTo>
                        <a:pt x="1111" y="711"/>
                      </a:lnTo>
                      <a:lnTo>
                        <a:pt x="1111" y="711"/>
                      </a:lnTo>
                      <a:lnTo>
                        <a:pt x="1116" y="709"/>
                      </a:lnTo>
                      <a:lnTo>
                        <a:pt x="1114" y="705"/>
                      </a:lnTo>
                      <a:lnTo>
                        <a:pt x="1114" y="704"/>
                      </a:lnTo>
                      <a:lnTo>
                        <a:pt x="1114" y="702"/>
                      </a:lnTo>
                      <a:lnTo>
                        <a:pt x="1118" y="700"/>
                      </a:lnTo>
                      <a:lnTo>
                        <a:pt x="1118" y="700"/>
                      </a:lnTo>
                      <a:lnTo>
                        <a:pt x="1133" y="695"/>
                      </a:lnTo>
                      <a:lnTo>
                        <a:pt x="1144" y="695"/>
                      </a:lnTo>
                      <a:lnTo>
                        <a:pt x="1147" y="695"/>
                      </a:lnTo>
                      <a:lnTo>
                        <a:pt x="1151" y="697"/>
                      </a:lnTo>
                      <a:lnTo>
                        <a:pt x="1156" y="704"/>
                      </a:lnTo>
                      <a:lnTo>
                        <a:pt x="1156" y="704"/>
                      </a:lnTo>
                      <a:lnTo>
                        <a:pt x="1158" y="711"/>
                      </a:lnTo>
                      <a:lnTo>
                        <a:pt x="1158" y="712"/>
                      </a:lnTo>
                      <a:lnTo>
                        <a:pt x="1158" y="712"/>
                      </a:lnTo>
                      <a:lnTo>
                        <a:pt x="1160" y="718"/>
                      </a:lnTo>
                      <a:lnTo>
                        <a:pt x="1160" y="718"/>
                      </a:lnTo>
                      <a:lnTo>
                        <a:pt x="1165" y="723"/>
                      </a:lnTo>
                      <a:lnTo>
                        <a:pt x="1170" y="725"/>
                      </a:lnTo>
                      <a:lnTo>
                        <a:pt x="1175" y="728"/>
                      </a:lnTo>
                      <a:lnTo>
                        <a:pt x="1180" y="737"/>
                      </a:lnTo>
                      <a:lnTo>
                        <a:pt x="1180" y="737"/>
                      </a:lnTo>
                      <a:lnTo>
                        <a:pt x="1184" y="742"/>
                      </a:lnTo>
                      <a:lnTo>
                        <a:pt x="1187" y="745"/>
                      </a:lnTo>
                      <a:lnTo>
                        <a:pt x="1194" y="749"/>
                      </a:lnTo>
                      <a:lnTo>
                        <a:pt x="1201" y="754"/>
                      </a:lnTo>
                      <a:lnTo>
                        <a:pt x="1205" y="758"/>
                      </a:lnTo>
                      <a:lnTo>
                        <a:pt x="1210" y="763"/>
                      </a:lnTo>
                      <a:lnTo>
                        <a:pt x="1210" y="763"/>
                      </a:lnTo>
                      <a:lnTo>
                        <a:pt x="1254" y="833"/>
                      </a:lnTo>
                      <a:lnTo>
                        <a:pt x="1254" y="833"/>
                      </a:lnTo>
                      <a:lnTo>
                        <a:pt x="1255" y="838"/>
                      </a:lnTo>
                      <a:lnTo>
                        <a:pt x="1254" y="841"/>
                      </a:lnTo>
                      <a:lnTo>
                        <a:pt x="1254" y="843"/>
                      </a:lnTo>
                      <a:lnTo>
                        <a:pt x="1257" y="845"/>
                      </a:lnTo>
                      <a:lnTo>
                        <a:pt x="1257" y="845"/>
                      </a:lnTo>
                      <a:lnTo>
                        <a:pt x="1261" y="845"/>
                      </a:lnTo>
                      <a:lnTo>
                        <a:pt x="1261" y="846"/>
                      </a:lnTo>
                      <a:lnTo>
                        <a:pt x="1261" y="850"/>
                      </a:lnTo>
                      <a:lnTo>
                        <a:pt x="1261" y="853"/>
                      </a:lnTo>
                      <a:lnTo>
                        <a:pt x="1262" y="855"/>
                      </a:lnTo>
                      <a:lnTo>
                        <a:pt x="1264" y="857"/>
                      </a:lnTo>
                      <a:lnTo>
                        <a:pt x="1264" y="857"/>
                      </a:lnTo>
                      <a:lnTo>
                        <a:pt x="1268" y="859"/>
                      </a:lnTo>
                      <a:lnTo>
                        <a:pt x="1268" y="860"/>
                      </a:lnTo>
                      <a:lnTo>
                        <a:pt x="1269" y="866"/>
                      </a:lnTo>
                      <a:lnTo>
                        <a:pt x="1269" y="869"/>
                      </a:lnTo>
                      <a:lnTo>
                        <a:pt x="1271" y="869"/>
                      </a:lnTo>
                      <a:lnTo>
                        <a:pt x="1276" y="869"/>
                      </a:lnTo>
                      <a:lnTo>
                        <a:pt x="1276" y="869"/>
                      </a:lnTo>
                      <a:lnTo>
                        <a:pt x="1280" y="869"/>
                      </a:lnTo>
                      <a:lnTo>
                        <a:pt x="1281" y="869"/>
                      </a:lnTo>
                      <a:lnTo>
                        <a:pt x="1285" y="873"/>
                      </a:lnTo>
                      <a:lnTo>
                        <a:pt x="1292" y="878"/>
                      </a:lnTo>
                      <a:lnTo>
                        <a:pt x="1297" y="881"/>
                      </a:lnTo>
                      <a:lnTo>
                        <a:pt x="1304" y="883"/>
                      </a:lnTo>
                      <a:lnTo>
                        <a:pt x="1304" y="883"/>
                      </a:lnTo>
                      <a:lnTo>
                        <a:pt x="1311" y="886"/>
                      </a:lnTo>
                      <a:lnTo>
                        <a:pt x="1316" y="888"/>
                      </a:lnTo>
                      <a:lnTo>
                        <a:pt x="1318" y="892"/>
                      </a:lnTo>
                      <a:lnTo>
                        <a:pt x="1320" y="893"/>
                      </a:lnTo>
                      <a:lnTo>
                        <a:pt x="1320" y="897"/>
                      </a:lnTo>
                      <a:lnTo>
                        <a:pt x="1325" y="897"/>
                      </a:lnTo>
                      <a:lnTo>
                        <a:pt x="1325" y="897"/>
                      </a:lnTo>
                      <a:lnTo>
                        <a:pt x="1332" y="897"/>
                      </a:lnTo>
                      <a:lnTo>
                        <a:pt x="1334" y="900"/>
                      </a:lnTo>
                      <a:lnTo>
                        <a:pt x="1334" y="904"/>
                      </a:lnTo>
                      <a:lnTo>
                        <a:pt x="1332" y="907"/>
                      </a:lnTo>
                      <a:lnTo>
                        <a:pt x="1332" y="907"/>
                      </a:lnTo>
                      <a:lnTo>
                        <a:pt x="1330" y="911"/>
                      </a:lnTo>
                      <a:lnTo>
                        <a:pt x="1327" y="914"/>
                      </a:lnTo>
                      <a:lnTo>
                        <a:pt x="1325" y="920"/>
                      </a:lnTo>
                      <a:lnTo>
                        <a:pt x="1327" y="932"/>
                      </a:lnTo>
                      <a:lnTo>
                        <a:pt x="1327" y="932"/>
                      </a:lnTo>
                      <a:lnTo>
                        <a:pt x="1328" y="944"/>
                      </a:lnTo>
                      <a:lnTo>
                        <a:pt x="1328" y="947"/>
                      </a:lnTo>
                      <a:lnTo>
                        <a:pt x="1327" y="953"/>
                      </a:lnTo>
                      <a:lnTo>
                        <a:pt x="1322" y="958"/>
                      </a:lnTo>
                      <a:lnTo>
                        <a:pt x="1313" y="967"/>
                      </a:lnTo>
                      <a:lnTo>
                        <a:pt x="1313" y="967"/>
                      </a:lnTo>
                      <a:lnTo>
                        <a:pt x="1309" y="970"/>
                      </a:lnTo>
                      <a:lnTo>
                        <a:pt x="1306" y="972"/>
                      </a:lnTo>
                      <a:lnTo>
                        <a:pt x="1302" y="970"/>
                      </a:lnTo>
                      <a:lnTo>
                        <a:pt x="1301" y="968"/>
                      </a:lnTo>
                      <a:lnTo>
                        <a:pt x="1299" y="961"/>
                      </a:lnTo>
                      <a:lnTo>
                        <a:pt x="1295" y="953"/>
                      </a:lnTo>
                      <a:lnTo>
                        <a:pt x="1295" y="953"/>
                      </a:lnTo>
                      <a:lnTo>
                        <a:pt x="1295" y="949"/>
                      </a:lnTo>
                      <a:lnTo>
                        <a:pt x="1295" y="946"/>
                      </a:lnTo>
                      <a:lnTo>
                        <a:pt x="1299" y="937"/>
                      </a:lnTo>
                      <a:lnTo>
                        <a:pt x="1301" y="932"/>
                      </a:lnTo>
                      <a:lnTo>
                        <a:pt x="1301" y="927"/>
                      </a:lnTo>
                      <a:lnTo>
                        <a:pt x="1299" y="920"/>
                      </a:lnTo>
                      <a:lnTo>
                        <a:pt x="1295" y="911"/>
                      </a:lnTo>
                      <a:lnTo>
                        <a:pt x="1295" y="911"/>
                      </a:lnTo>
                      <a:lnTo>
                        <a:pt x="1292" y="906"/>
                      </a:lnTo>
                      <a:lnTo>
                        <a:pt x="1288" y="902"/>
                      </a:lnTo>
                      <a:lnTo>
                        <a:pt x="1283" y="900"/>
                      </a:lnTo>
                      <a:lnTo>
                        <a:pt x="1280" y="902"/>
                      </a:lnTo>
                      <a:lnTo>
                        <a:pt x="1276" y="904"/>
                      </a:lnTo>
                      <a:lnTo>
                        <a:pt x="1273" y="909"/>
                      </a:lnTo>
                      <a:lnTo>
                        <a:pt x="1268" y="920"/>
                      </a:lnTo>
                      <a:lnTo>
                        <a:pt x="1268" y="920"/>
                      </a:lnTo>
                      <a:lnTo>
                        <a:pt x="1264" y="927"/>
                      </a:lnTo>
                      <a:lnTo>
                        <a:pt x="1262" y="928"/>
                      </a:lnTo>
                      <a:lnTo>
                        <a:pt x="1259" y="928"/>
                      </a:lnTo>
                      <a:lnTo>
                        <a:pt x="1257" y="928"/>
                      </a:lnTo>
                      <a:lnTo>
                        <a:pt x="1254" y="925"/>
                      </a:lnTo>
                      <a:lnTo>
                        <a:pt x="1254" y="921"/>
                      </a:lnTo>
                      <a:lnTo>
                        <a:pt x="1254" y="918"/>
                      </a:lnTo>
                      <a:lnTo>
                        <a:pt x="1255" y="914"/>
                      </a:lnTo>
                      <a:lnTo>
                        <a:pt x="1255" y="914"/>
                      </a:lnTo>
                      <a:lnTo>
                        <a:pt x="1261" y="909"/>
                      </a:lnTo>
                      <a:lnTo>
                        <a:pt x="1262" y="904"/>
                      </a:lnTo>
                      <a:lnTo>
                        <a:pt x="1264" y="899"/>
                      </a:lnTo>
                      <a:lnTo>
                        <a:pt x="1271" y="895"/>
                      </a:lnTo>
                      <a:lnTo>
                        <a:pt x="1271" y="895"/>
                      </a:lnTo>
                      <a:lnTo>
                        <a:pt x="1278" y="893"/>
                      </a:lnTo>
                      <a:lnTo>
                        <a:pt x="1274" y="890"/>
                      </a:lnTo>
                      <a:lnTo>
                        <a:pt x="1264" y="885"/>
                      </a:lnTo>
                      <a:lnTo>
                        <a:pt x="1248" y="873"/>
                      </a:lnTo>
                      <a:lnTo>
                        <a:pt x="1248" y="873"/>
                      </a:lnTo>
                      <a:lnTo>
                        <a:pt x="1241" y="866"/>
                      </a:lnTo>
                      <a:lnTo>
                        <a:pt x="1238" y="860"/>
                      </a:lnTo>
                      <a:lnTo>
                        <a:pt x="1233" y="852"/>
                      </a:lnTo>
                      <a:lnTo>
                        <a:pt x="1231" y="848"/>
                      </a:lnTo>
                      <a:lnTo>
                        <a:pt x="1229" y="846"/>
                      </a:lnTo>
                      <a:lnTo>
                        <a:pt x="1219" y="841"/>
                      </a:lnTo>
                      <a:lnTo>
                        <a:pt x="1219" y="841"/>
                      </a:lnTo>
                      <a:lnTo>
                        <a:pt x="1212" y="838"/>
                      </a:lnTo>
                      <a:lnTo>
                        <a:pt x="1210" y="836"/>
                      </a:lnTo>
                      <a:lnTo>
                        <a:pt x="1208" y="833"/>
                      </a:lnTo>
                      <a:lnTo>
                        <a:pt x="1210" y="831"/>
                      </a:lnTo>
                      <a:lnTo>
                        <a:pt x="1214" y="824"/>
                      </a:lnTo>
                      <a:lnTo>
                        <a:pt x="1214" y="822"/>
                      </a:lnTo>
                      <a:lnTo>
                        <a:pt x="1212" y="819"/>
                      </a:lnTo>
                      <a:lnTo>
                        <a:pt x="1212" y="819"/>
                      </a:lnTo>
                      <a:lnTo>
                        <a:pt x="1207" y="813"/>
                      </a:lnTo>
                      <a:lnTo>
                        <a:pt x="1203" y="806"/>
                      </a:lnTo>
                      <a:lnTo>
                        <a:pt x="1200" y="798"/>
                      </a:lnTo>
                      <a:lnTo>
                        <a:pt x="1194" y="786"/>
                      </a:lnTo>
                      <a:lnTo>
                        <a:pt x="1194" y="786"/>
                      </a:lnTo>
                      <a:lnTo>
                        <a:pt x="1191" y="779"/>
                      </a:lnTo>
                      <a:lnTo>
                        <a:pt x="1187" y="775"/>
                      </a:lnTo>
                      <a:lnTo>
                        <a:pt x="1182" y="775"/>
                      </a:lnTo>
                      <a:lnTo>
                        <a:pt x="1179" y="773"/>
                      </a:lnTo>
                      <a:lnTo>
                        <a:pt x="1175" y="773"/>
                      </a:lnTo>
                      <a:lnTo>
                        <a:pt x="1170" y="772"/>
                      </a:lnTo>
                      <a:lnTo>
                        <a:pt x="1165" y="768"/>
                      </a:lnTo>
                      <a:lnTo>
                        <a:pt x="1161" y="761"/>
                      </a:lnTo>
                      <a:lnTo>
                        <a:pt x="1161" y="761"/>
                      </a:lnTo>
                      <a:lnTo>
                        <a:pt x="1153" y="749"/>
                      </a:lnTo>
                      <a:lnTo>
                        <a:pt x="1151" y="747"/>
                      </a:lnTo>
                      <a:lnTo>
                        <a:pt x="1151" y="747"/>
                      </a:lnTo>
                      <a:lnTo>
                        <a:pt x="1151" y="754"/>
                      </a:lnTo>
                      <a:lnTo>
                        <a:pt x="1154" y="768"/>
                      </a:lnTo>
                      <a:lnTo>
                        <a:pt x="1154" y="768"/>
                      </a:lnTo>
                      <a:lnTo>
                        <a:pt x="1154" y="773"/>
                      </a:lnTo>
                      <a:lnTo>
                        <a:pt x="1153" y="777"/>
                      </a:lnTo>
                      <a:lnTo>
                        <a:pt x="1149" y="777"/>
                      </a:lnTo>
                      <a:lnTo>
                        <a:pt x="1144" y="775"/>
                      </a:lnTo>
                      <a:lnTo>
                        <a:pt x="1130" y="765"/>
                      </a:lnTo>
                      <a:lnTo>
                        <a:pt x="1116" y="752"/>
                      </a:lnTo>
                      <a:lnTo>
                        <a:pt x="1116" y="752"/>
                      </a:lnTo>
                      <a:lnTo>
                        <a:pt x="1106" y="744"/>
                      </a:lnTo>
                      <a:lnTo>
                        <a:pt x="1104" y="744"/>
                      </a:lnTo>
                      <a:lnTo>
                        <a:pt x="1104" y="745"/>
                      </a:lnTo>
                      <a:lnTo>
                        <a:pt x="1107" y="752"/>
                      </a:lnTo>
                      <a:lnTo>
                        <a:pt x="1114" y="763"/>
                      </a:lnTo>
                      <a:lnTo>
                        <a:pt x="1114" y="763"/>
                      </a:lnTo>
                      <a:lnTo>
                        <a:pt x="1118" y="768"/>
                      </a:lnTo>
                      <a:lnTo>
                        <a:pt x="1118" y="772"/>
                      </a:lnTo>
                      <a:lnTo>
                        <a:pt x="1116" y="775"/>
                      </a:lnTo>
                      <a:lnTo>
                        <a:pt x="1113" y="777"/>
                      </a:lnTo>
                      <a:lnTo>
                        <a:pt x="1107" y="777"/>
                      </a:lnTo>
                      <a:lnTo>
                        <a:pt x="1100" y="777"/>
                      </a:lnTo>
                      <a:lnTo>
                        <a:pt x="1092" y="775"/>
                      </a:lnTo>
                      <a:lnTo>
                        <a:pt x="1083" y="772"/>
                      </a:lnTo>
                      <a:lnTo>
                        <a:pt x="1083" y="772"/>
                      </a:lnTo>
                      <a:lnTo>
                        <a:pt x="1069" y="761"/>
                      </a:lnTo>
                      <a:lnTo>
                        <a:pt x="1059" y="752"/>
                      </a:lnTo>
                      <a:lnTo>
                        <a:pt x="1050" y="742"/>
                      </a:lnTo>
                      <a:lnTo>
                        <a:pt x="1038" y="733"/>
                      </a:lnTo>
                      <a:lnTo>
                        <a:pt x="1038" y="733"/>
                      </a:lnTo>
                      <a:lnTo>
                        <a:pt x="1022" y="726"/>
                      </a:lnTo>
                      <a:lnTo>
                        <a:pt x="1005" y="718"/>
                      </a:lnTo>
                      <a:lnTo>
                        <a:pt x="998" y="714"/>
                      </a:lnTo>
                      <a:lnTo>
                        <a:pt x="992" y="711"/>
                      </a:lnTo>
                      <a:lnTo>
                        <a:pt x="991" y="707"/>
                      </a:lnTo>
                      <a:lnTo>
                        <a:pt x="994" y="704"/>
                      </a:lnTo>
                      <a:lnTo>
                        <a:pt x="994" y="704"/>
                      </a:lnTo>
                      <a:lnTo>
                        <a:pt x="998" y="702"/>
                      </a:lnTo>
                      <a:lnTo>
                        <a:pt x="1001" y="698"/>
                      </a:lnTo>
                      <a:lnTo>
                        <a:pt x="1001" y="695"/>
                      </a:lnTo>
                      <a:lnTo>
                        <a:pt x="1001" y="691"/>
                      </a:lnTo>
                      <a:lnTo>
                        <a:pt x="998" y="690"/>
                      </a:lnTo>
                      <a:lnTo>
                        <a:pt x="994" y="688"/>
                      </a:lnTo>
                      <a:lnTo>
                        <a:pt x="989" y="690"/>
                      </a:lnTo>
                      <a:lnTo>
                        <a:pt x="980" y="695"/>
                      </a:lnTo>
                      <a:lnTo>
                        <a:pt x="980" y="695"/>
                      </a:lnTo>
                      <a:lnTo>
                        <a:pt x="977" y="697"/>
                      </a:lnTo>
                      <a:lnTo>
                        <a:pt x="972" y="698"/>
                      </a:lnTo>
                      <a:lnTo>
                        <a:pt x="961" y="697"/>
                      </a:lnTo>
                      <a:lnTo>
                        <a:pt x="949" y="695"/>
                      </a:lnTo>
                      <a:lnTo>
                        <a:pt x="938" y="690"/>
                      </a:lnTo>
                      <a:lnTo>
                        <a:pt x="914" y="681"/>
                      </a:lnTo>
                      <a:lnTo>
                        <a:pt x="902" y="676"/>
                      </a:lnTo>
                      <a:lnTo>
                        <a:pt x="893" y="676"/>
                      </a:lnTo>
                      <a:lnTo>
                        <a:pt x="893" y="676"/>
                      </a:lnTo>
                      <a:lnTo>
                        <a:pt x="872" y="678"/>
                      </a:lnTo>
                      <a:lnTo>
                        <a:pt x="851" y="679"/>
                      </a:lnTo>
                      <a:lnTo>
                        <a:pt x="843" y="678"/>
                      </a:lnTo>
                      <a:lnTo>
                        <a:pt x="834" y="676"/>
                      </a:lnTo>
                      <a:lnTo>
                        <a:pt x="825" y="672"/>
                      </a:lnTo>
                      <a:lnTo>
                        <a:pt x="818" y="664"/>
                      </a:lnTo>
                      <a:lnTo>
                        <a:pt x="818" y="664"/>
                      </a:lnTo>
                      <a:lnTo>
                        <a:pt x="813" y="657"/>
                      </a:lnTo>
                      <a:lnTo>
                        <a:pt x="810" y="655"/>
                      </a:lnTo>
                      <a:lnTo>
                        <a:pt x="808" y="655"/>
                      </a:lnTo>
                      <a:lnTo>
                        <a:pt x="804" y="657"/>
                      </a:lnTo>
                      <a:lnTo>
                        <a:pt x="803" y="658"/>
                      </a:lnTo>
                      <a:lnTo>
                        <a:pt x="799" y="660"/>
                      </a:lnTo>
                      <a:lnTo>
                        <a:pt x="796" y="660"/>
                      </a:lnTo>
                      <a:lnTo>
                        <a:pt x="789" y="657"/>
                      </a:lnTo>
                      <a:lnTo>
                        <a:pt x="789" y="657"/>
                      </a:lnTo>
                      <a:lnTo>
                        <a:pt x="780" y="653"/>
                      </a:lnTo>
                      <a:lnTo>
                        <a:pt x="773" y="650"/>
                      </a:lnTo>
                      <a:lnTo>
                        <a:pt x="761" y="646"/>
                      </a:lnTo>
                      <a:lnTo>
                        <a:pt x="757" y="644"/>
                      </a:lnTo>
                      <a:lnTo>
                        <a:pt x="754" y="641"/>
                      </a:lnTo>
                      <a:lnTo>
                        <a:pt x="752" y="638"/>
                      </a:lnTo>
                      <a:lnTo>
                        <a:pt x="750" y="631"/>
                      </a:lnTo>
                      <a:lnTo>
                        <a:pt x="750" y="631"/>
                      </a:lnTo>
                      <a:lnTo>
                        <a:pt x="750" y="625"/>
                      </a:lnTo>
                      <a:lnTo>
                        <a:pt x="749" y="624"/>
                      </a:lnTo>
                      <a:lnTo>
                        <a:pt x="745" y="624"/>
                      </a:lnTo>
                      <a:lnTo>
                        <a:pt x="740" y="624"/>
                      </a:lnTo>
                      <a:lnTo>
                        <a:pt x="726" y="629"/>
                      </a:lnTo>
                      <a:lnTo>
                        <a:pt x="717" y="631"/>
                      </a:lnTo>
                      <a:lnTo>
                        <a:pt x="707" y="632"/>
                      </a:lnTo>
                      <a:lnTo>
                        <a:pt x="707" y="632"/>
                      </a:lnTo>
                      <a:lnTo>
                        <a:pt x="700" y="634"/>
                      </a:lnTo>
                      <a:lnTo>
                        <a:pt x="696" y="638"/>
                      </a:lnTo>
                      <a:lnTo>
                        <a:pt x="696" y="641"/>
                      </a:lnTo>
                      <a:lnTo>
                        <a:pt x="698" y="646"/>
                      </a:lnTo>
                      <a:lnTo>
                        <a:pt x="700" y="651"/>
                      </a:lnTo>
                      <a:lnTo>
                        <a:pt x="702" y="657"/>
                      </a:lnTo>
                      <a:lnTo>
                        <a:pt x="700" y="660"/>
                      </a:lnTo>
                      <a:lnTo>
                        <a:pt x="696" y="664"/>
                      </a:lnTo>
                      <a:lnTo>
                        <a:pt x="696" y="664"/>
                      </a:lnTo>
                      <a:lnTo>
                        <a:pt x="691" y="667"/>
                      </a:lnTo>
                      <a:lnTo>
                        <a:pt x="688" y="669"/>
                      </a:lnTo>
                      <a:lnTo>
                        <a:pt x="688" y="672"/>
                      </a:lnTo>
                      <a:lnTo>
                        <a:pt x="688" y="676"/>
                      </a:lnTo>
                      <a:lnTo>
                        <a:pt x="688" y="679"/>
                      </a:lnTo>
                      <a:lnTo>
                        <a:pt x="688" y="681"/>
                      </a:lnTo>
                      <a:lnTo>
                        <a:pt x="684" y="683"/>
                      </a:lnTo>
                      <a:lnTo>
                        <a:pt x="677" y="683"/>
                      </a:lnTo>
                      <a:lnTo>
                        <a:pt x="677" y="683"/>
                      </a:lnTo>
                      <a:lnTo>
                        <a:pt x="663" y="685"/>
                      </a:lnTo>
                      <a:lnTo>
                        <a:pt x="651" y="690"/>
                      </a:lnTo>
                      <a:lnTo>
                        <a:pt x="637" y="697"/>
                      </a:lnTo>
                      <a:lnTo>
                        <a:pt x="620" y="712"/>
                      </a:lnTo>
                      <a:lnTo>
                        <a:pt x="620" y="712"/>
                      </a:lnTo>
                      <a:lnTo>
                        <a:pt x="608" y="719"/>
                      </a:lnTo>
                      <a:lnTo>
                        <a:pt x="595" y="725"/>
                      </a:lnTo>
                      <a:lnTo>
                        <a:pt x="583" y="728"/>
                      </a:lnTo>
                      <a:lnTo>
                        <a:pt x="573" y="728"/>
                      </a:lnTo>
                      <a:lnTo>
                        <a:pt x="566" y="726"/>
                      </a:lnTo>
                      <a:lnTo>
                        <a:pt x="562" y="725"/>
                      </a:lnTo>
                      <a:lnTo>
                        <a:pt x="561" y="723"/>
                      </a:lnTo>
                      <a:lnTo>
                        <a:pt x="561" y="721"/>
                      </a:lnTo>
                      <a:lnTo>
                        <a:pt x="562" y="718"/>
                      </a:lnTo>
                      <a:lnTo>
                        <a:pt x="571" y="712"/>
                      </a:lnTo>
                      <a:lnTo>
                        <a:pt x="571" y="712"/>
                      </a:lnTo>
                      <a:lnTo>
                        <a:pt x="576" y="709"/>
                      </a:lnTo>
                      <a:lnTo>
                        <a:pt x="576" y="705"/>
                      </a:lnTo>
                      <a:lnTo>
                        <a:pt x="575" y="702"/>
                      </a:lnTo>
                      <a:lnTo>
                        <a:pt x="571" y="700"/>
                      </a:lnTo>
                      <a:lnTo>
                        <a:pt x="568" y="697"/>
                      </a:lnTo>
                      <a:lnTo>
                        <a:pt x="566" y="691"/>
                      </a:lnTo>
                      <a:lnTo>
                        <a:pt x="568" y="686"/>
                      </a:lnTo>
                      <a:lnTo>
                        <a:pt x="573" y="678"/>
                      </a:lnTo>
                      <a:lnTo>
                        <a:pt x="573" y="678"/>
                      </a:lnTo>
                      <a:lnTo>
                        <a:pt x="581" y="669"/>
                      </a:lnTo>
                      <a:lnTo>
                        <a:pt x="583" y="662"/>
                      </a:lnTo>
                      <a:lnTo>
                        <a:pt x="585" y="657"/>
                      </a:lnTo>
                      <a:lnTo>
                        <a:pt x="585" y="651"/>
                      </a:lnTo>
                      <a:lnTo>
                        <a:pt x="585" y="644"/>
                      </a:lnTo>
                      <a:lnTo>
                        <a:pt x="587" y="639"/>
                      </a:lnTo>
                      <a:lnTo>
                        <a:pt x="592" y="634"/>
                      </a:lnTo>
                      <a:lnTo>
                        <a:pt x="601" y="627"/>
                      </a:lnTo>
                      <a:lnTo>
                        <a:pt x="601" y="627"/>
                      </a:lnTo>
                      <a:lnTo>
                        <a:pt x="606" y="624"/>
                      </a:lnTo>
                      <a:lnTo>
                        <a:pt x="613" y="622"/>
                      </a:lnTo>
                      <a:lnTo>
                        <a:pt x="620" y="622"/>
                      </a:lnTo>
                      <a:lnTo>
                        <a:pt x="628" y="624"/>
                      </a:lnTo>
                      <a:lnTo>
                        <a:pt x="642" y="627"/>
                      </a:lnTo>
                      <a:lnTo>
                        <a:pt x="655" y="632"/>
                      </a:lnTo>
                      <a:lnTo>
                        <a:pt x="670" y="641"/>
                      </a:lnTo>
                      <a:lnTo>
                        <a:pt x="670" y="639"/>
                      </a:lnTo>
                      <a:lnTo>
                        <a:pt x="670" y="638"/>
                      </a:lnTo>
                      <a:lnTo>
                        <a:pt x="660" y="629"/>
                      </a:lnTo>
                      <a:lnTo>
                        <a:pt x="660" y="629"/>
                      </a:lnTo>
                      <a:lnTo>
                        <a:pt x="655" y="624"/>
                      </a:lnTo>
                      <a:lnTo>
                        <a:pt x="648" y="618"/>
                      </a:lnTo>
                      <a:lnTo>
                        <a:pt x="632" y="613"/>
                      </a:lnTo>
                      <a:lnTo>
                        <a:pt x="618" y="610"/>
                      </a:lnTo>
                      <a:lnTo>
                        <a:pt x="604" y="611"/>
                      </a:lnTo>
                      <a:lnTo>
                        <a:pt x="592" y="617"/>
                      </a:lnTo>
                      <a:lnTo>
                        <a:pt x="580" y="624"/>
                      </a:lnTo>
                      <a:lnTo>
                        <a:pt x="569" y="632"/>
                      </a:lnTo>
                      <a:lnTo>
                        <a:pt x="562" y="643"/>
                      </a:lnTo>
                      <a:lnTo>
                        <a:pt x="562" y="643"/>
                      </a:lnTo>
                      <a:lnTo>
                        <a:pt x="550" y="662"/>
                      </a:lnTo>
                      <a:lnTo>
                        <a:pt x="538" y="678"/>
                      </a:lnTo>
                      <a:lnTo>
                        <a:pt x="521" y="695"/>
                      </a:lnTo>
                      <a:lnTo>
                        <a:pt x="496" y="716"/>
                      </a:lnTo>
                      <a:lnTo>
                        <a:pt x="496" y="716"/>
                      </a:lnTo>
                      <a:lnTo>
                        <a:pt x="486" y="725"/>
                      </a:lnTo>
                      <a:lnTo>
                        <a:pt x="482" y="728"/>
                      </a:lnTo>
                      <a:lnTo>
                        <a:pt x="482" y="732"/>
                      </a:lnTo>
                      <a:lnTo>
                        <a:pt x="482" y="733"/>
                      </a:lnTo>
                      <a:lnTo>
                        <a:pt x="484" y="733"/>
                      </a:lnTo>
                      <a:lnTo>
                        <a:pt x="491" y="735"/>
                      </a:lnTo>
                      <a:lnTo>
                        <a:pt x="508" y="735"/>
                      </a:lnTo>
                      <a:lnTo>
                        <a:pt x="514" y="737"/>
                      </a:lnTo>
                      <a:lnTo>
                        <a:pt x="515" y="740"/>
                      </a:lnTo>
                      <a:lnTo>
                        <a:pt x="515" y="742"/>
                      </a:lnTo>
                      <a:lnTo>
                        <a:pt x="515" y="742"/>
                      </a:lnTo>
                      <a:lnTo>
                        <a:pt x="515" y="747"/>
                      </a:lnTo>
                      <a:lnTo>
                        <a:pt x="512" y="751"/>
                      </a:lnTo>
                      <a:lnTo>
                        <a:pt x="505" y="756"/>
                      </a:lnTo>
                      <a:lnTo>
                        <a:pt x="498" y="761"/>
                      </a:lnTo>
                      <a:lnTo>
                        <a:pt x="494" y="765"/>
                      </a:lnTo>
                      <a:lnTo>
                        <a:pt x="493" y="772"/>
                      </a:lnTo>
                      <a:lnTo>
                        <a:pt x="493" y="772"/>
                      </a:lnTo>
                      <a:lnTo>
                        <a:pt x="489" y="779"/>
                      </a:lnTo>
                      <a:lnTo>
                        <a:pt x="484" y="784"/>
                      </a:lnTo>
                      <a:lnTo>
                        <a:pt x="477" y="791"/>
                      </a:lnTo>
                      <a:lnTo>
                        <a:pt x="468" y="796"/>
                      </a:lnTo>
                      <a:lnTo>
                        <a:pt x="449" y="808"/>
                      </a:lnTo>
                      <a:lnTo>
                        <a:pt x="430" y="819"/>
                      </a:lnTo>
                      <a:lnTo>
                        <a:pt x="430" y="819"/>
                      </a:lnTo>
                      <a:lnTo>
                        <a:pt x="421" y="822"/>
                      </a:lnTo>
                      <a:lnTo>
                        <a:pt x="416" y="827"/>
                      </a:lnTo>
                      <a:lnTo>
                        <a:pt x="407" y="838"/>
                      </a:lnTo>
                      <a:lnTo>
                        <a:pt x="402" y="843"/>
                      </a:lnTo>
                      <a:lnTo>
                        <a:pt x="395" y="850"/>
                      </a:lnTo>
                      <a:lnTo>
                        <a:pt x="383" y="857"/>
                      </a:lnTo>
                      <a:lnTo>
                        <a:pt x="369" y="866"/>
                      </a:lnTo>
                      <a:lnTo>
                        <a:pt x="369" y="866"/>
                      </a:lnTo>
                      <a:lnTo>
                        <a:pt x="355" y="874"/>
                      </a:lnTo>
                      <a:lnTo>
                        <a:pt x="348" y="881"/>
                      </a:lnTo>
                      <a:lnTo>
                        <a:pt x="345" y="888"/>
                      </a:lnTo>
                      <a:lnTo>
                        <a:pt x="343" y="892"/>
                      </a:lnTo>
                      <a:lnTo>
                        <a:pt x="345" y="899"/>
                      </a:lnTo>
                      <a:lnTo>
                        <a:pt x="343" y="899"/>
                      </a:lnTo>
                      <a:lnTo>
                        <a:pt x="339" y="900"/>
                      </a:lnTo>
                      <a:lnTo>
                        <a:pt x="339" y="900"/>
                      </a:lnTo>
                      <a:lnTo>
                        <a:pt x="331" y="900"/>
                      </a:lnTo>
                      <a:lnTo>
                        <a:pt x="324" y="906"/>
                      </a:lnTo>
                      <a:lnTo>
                        <a:pt x="308" y="916"/>
                      </a:lnTo>
                      <a:lnTo>
                        <a:pt x="296" y="925"/>
                      </a:lnTo>
                      <a:lnTo>
                        <a:pt x="292" y="925"/>
                      </a:lnTo>
                      <a:lnTo>
                        <a:pt x="291" y="923"/>
                      </a:lnTo>
                      <a:lnTo>
                        <a:pt x="291" y="921"/>
                      </a:lnTo>
                      <a:lnTo>
                        <a:pt x="291" y="921"/>
                      </a:lnTo>
                      <a:lnTo>
                        <a:pt x="289" y="918"/>
                      </a:lnTo>
                      <a:lnTo>
                        <a:pt x="285" y="916"/>
                      </a:lnTo>
                      <a:lnTo>
                        <a:pt x="280" y="916"/>
                      </a:lnTo>
                      <a:lnTo>
                        <a:pt x="277" y="918"/>
                      </a:lnTo>
                      <a:lnTo>
                        <a:pt x="272" y="920"/>
                      </a:lnTo>
                      <a:lnTo>
                        <a:pt x="268" y="925"/>
                      </a:lnTo>
                      <a:lnTo>
                        <a:pt x="266" y="928"/>
                      </a:lnTo>
                      <a:lnTo>
                        <a:pt x="268" y="933"/>
                      </a:lnTo>
                      <a:lnTo>
                        <a:pt x="268" y="933"/>
                      </a:lnTo>
                      <a:lnTo>
                        <a:pt x="268" y="939"/>
                      </a:lnTo>
                      <a:lnTo>
                        <a:pt x="268" y="942"/>
                      </a:lnTo>
                      <a:lnTo>
                        <a:pt x="266" y="946"/>
                      </a:lnTo>
                      <a:lnTo>
                        <a:pt x="263" y="949"/>
                      </a:lnTo>
                      <a:lnTo>
                        <a:pt x="261" y="949"/>
                      </a:lnTo>
                      <a:lnTo>
                        <a:pt x="258" y="949"/>
                      </a:lnTo>
                      <a:lnTo>
                        <a:pt x="254" y="946"/>
                      </a:lnTo>
                      <a:lnTo>
                        <a:pt x="252" y="940"/>
                      </a:lnTo>
                      <a:lnTo>
                        <a:pt x="252" y="940"/>
                      </a:lnTo>
                      <a:lnTo>
                        <a:pt x="251" y="935"/>
                      </a:lnTo>
                      <a:lnTo>
                        <a:pt x="249" y="933"/>
                      </a:lnTo>
                      <a:lnTo>
                        <a:pt x="245" y="933"/>
                      </a:lnTo>
                      <a:lnTo>
                        <a:pt x="242" y="935"/>
                      </a:lnTo>
                      <a:lnTo>
                        <a:pt x="235" y="937"/>
                      </a:lnTo>
                      <a:lnTo>
                        <a:pt x="232" y="937"/>
                      </a:lnTo>
                      <a:lnTo>
                        <a:pt x="228" y="933"/>
                      </a:lnTo>
                      <a:lnTo>
                        <a:pt x="228" y="933"/>
                      </a:lnTo>
                      <a:lnTo>
                        <a:pt x="225" y="930"/>
                      </a:lnTo>
                      <a:lnTo>
                        <a:pt x="223" y="930"/>
                      </a:lnTo>
                      <a:lnTo>
                        <a:pt x="216" y="937"/>
                      </a:lnTo>
                      <a:lnTo>
                        <a:pt x="205" y="947"/>
                      </a:lnTo>
                      <a:lnTo>
                        <a:pt x="197" y="954"/>
                      </a:lnTo>
                      <a:lnTo>
                        <a:pt x="184" y="960"/>
                      </a:lnTo>
                      <a:lnTo>
                        <a:pt x="184" y="960"/>
                      </a:lnTo>
                      <a:lnTo>
                        <a:pt x="174" y="961"/>
                      </a:lnTo>
                      <a:lnTo>
                        <a:pt x="167" y="963"/>
                      </a:lnTo>
                      <a:lnTo>
                        <a:pt x="164" y="961"/>
                      </a:lnTo>
                      <a:lnTo>
                        <a:pt x="164" y="958"/>
                      </a:lnTo>
                      <a:lnTo>
                        <a:pt x="165" y="953"/>
                      </a:lnTo>
                      <a:lnTo>
                        <a:pt x="169" y="949"/>
                      </a:lnTo>
                      <a:lnTo>
                        <a:pt x="174" y="944"/>
                      </a:lnTo>
                      <a:lnTo>
                        <a:pt x="183" y="940"/>
                      </a:lnTo>
                      <a:lnTo>
                        <a:pt x="183" y="940"/>
                      </a:lnTo>
                      <a:lnTo>
                        <a:pt x="190" y="935"/>
                      </a:lnTo>
                      <a:lnTo>
                        <a:pt x="195" y="932"/>
                      </a:lnTo>
                      <a:lnTo>
                        <a:pt x="198" y="925"/>
                      </a:lnTo>
                      <a:lnTo>
                        <a:pt x="202" y="920"/>
                      </a:lnTo>
                      <a:lnTo>
                        <a:pt x="205" y="916"/>
                      </a:lnTo>
                      <a:lnTo>
                        <a:pt x="212" y="911"/>
                      </a:lnTo>
                      <a:lnTo>
                        <a:pt x="223" y="907"/>
                      </a:lnTo>
                      <a:lnTo>
                        <a:pt x="223" y="907"/>
                      </a:lnTo>
                      <a:lnTo>
                        <a:pt x="233" y="904"/>
                      </a:lnTo>
                      <a:lnTo>
                        <a:pt x="240" y="904"/>
                      </a:lnTo>
                      <a:lnTo>
                        <a:pt x="251" y="906"/>
                      </a:lnTo>
                      <a:lnTo>
                        <a:pt x="254" y="906"/>
                      </a:lnTo>
                      <a:lnTo>
                        <a:pt x="258" y="904"/>
                      </a:lnTo>
                      <a:lnTo>
                        <a:pt x="261" y="900"/>
                      </a:lnTo>
                      <a:lnTo>
                        <a:pt x="266" y="892"/>
                      </a:lnTo>
                      <a:lnTo>
                        <a:pt x="266" y="892"/>
                      </a:lnTo>
                      <a:lnTo>
                        <a:pt x="273" y="881"/>
                      </a:lnTo>
                      <a:lnTo>
                        <a:pt x="282" y="874"/>
                      </a:lnTo>
                      <a:lnTo>
                        <a:pt x="291" y="871"/>
                      </a:lnTo>
                      <a:lnTo>
                        <a:pt x="298" y="867"/>
                      </a:lnTo>
                      <a:lnTo>
                        <a:pt x="306" y="864"/>
                      </a:lnTo>
                      <a:lnTo>
                        <a:pt x="313" y="859"/>
                      </a:lnTo>
                      <a:lnTo>
                        <a:pt x="320" y="853"/>
                      </a:lnTo>
                      <a:lnTo>
                        <a:pt x="326" y="845"/>
                      </a:lnTo>
                      <a:lnTo>
                        <a:pt x="326" y="845"/>
                      </a:lnTo>
                      <a:lnTo>
                        <a:pt x="331" y="834"/>
                      </a:lnTo>
                      <a:lnTo>
                        <a:pt x="336" y="829"/>
                      </a:lnTo>
                      <a:lnTo>
                        <a:pt x="341" y="826"/>
                      </a:lnTo>
                      <a:lnTo>
                        <a:pt x="346" y="824"/>
                      </a:lnTo>
                      <a:lnTo>
                        <a:pt x="350" y="822"/>
                      </a:lnTo>
                      <a:lnTo>
                        <a:pt x="353" y="820"/>
                      </a:lnTo>
                      <a:lnTo>
                        <a:pt x="357" y="815"/>
                      </a:lnTo>
                      <a:lnTo>
                        <a:pt x="357" y="810"/>
                      </a:lnTo>
                      <a:lnTo>
                        <a:pt x="357" y="810"/>
                      </a:lnTo>
                      <a:lnTo>
                        <a:pt x="357" y="796"/>
                      </a:lnTo>
                      <a:lnTo>
                        <a:pt x="360" y="782"/>
                      </a:lnTo>
                      <a:lnTo>
                        <a:pt x="366" y="770"/>
                      </a:lnTo>
                      <a:lnTo>
                        <a:pt x="374" y="754"/>
                      </a:lnTo>
                      <a:lnTo>
                        <a:pt x="374" y="754"/>
                      </a:lnTo>
                      <a:lnTo>
                        <a:pt x="378" y="749"/>
                      </a:lnTo>
                      <a:lnTo>
                        <a:pt x="378" y="749"/>
                      </a:lnTo>
                      <a:lnTo>
                        <a:pt x="376" y="747"/>
                      </a:lnTo>
                      <a:lnTo>
                        <a:pt x="366" y="752"/>
                      </a:lnTo>
                      <a:lnTo>
                        <a:pt x="350" y="758"/>
                      </a:lnTo>
                      <a:lnTo>
                        <a:pt x="341" y="759"/>
                      </a:lnTo>
                      <a:lnTo>
                        <a:pt x="336" y="758"/>
                      </a:lnTo>
                      <a:lnTo>
                        <a:pt x="336" y="758"/>
                      </a:lnTo>
                      <a:lnTo>
                        <a:pt x="331" y="756"/>
                      </a:lnTo>
                      <a:lnTo>
                        <a:pt x="327" y="758"/>
                      </a:lnTo>
                      <a:lnTo>
                        <a:pt x="322" y="763"/>
                      </a:lnTo>
                      <a:lnTo>
                        <a:pt x="319" y="766"/>
                      </a:lnTo>
                      <a:lnTo>
                        <a:pt x="317" y="768"/>
                      </a:lnTo>
                      <a:lnTo>
                        <a:pt x="312" y="768"/>
                      </a:lnTo>
                      <a:lnTo>
                        <a:pt x="306" y="765"/>
                      </a:lnTo>
                      <a:lnTo>
                        <a:pt x="306" y="765"/>
                      </a:lnTo>
                      <a:lnTo>
                        <a:pt x="292" y="752"/>
                      </a:lnTo>
                      <a:lnTo>
                        <a:pt x="284" y="747"/>
                      </a:lnTo>
                      <a:lnTo>
                        <a:pt x="277" y="744"/>
                      </a:lnTo>
                      <a:lnTo>
                        <a:pt x="268" y="740"/>
                      </a:lnTo>
                      <a:lnTo>
                        <a:pt x="261" y="740"/>
                      </a:lnTo>
                      <a:lnTo>
                        <a:pt x="254" y="742"/>
                      </a:lnTo>
                      <a:lnTo>
                        <a:pt x="247" y="745"/>
                      </a:lnTo>
                      <a:lnTo>
                        <a:pt x="247" y="745"/>
                      </a:lnTo>
                      <a:lnTo>
                        <a:pt x="235" y="756"/>
                      </a:lnTo>
                      <a:lnTo>
                        <a:pt x="228" y="759"/>
                      </a:lnTo>
                      <a:lnTo>
                        <a:pt x="221" y="761"/>
                      </a:lnTo>
                      <a:lnTo>
                        <a:pt x="216" y="763"/>
                      </a:lnTo>
                      <a:lnTo>
                        <a:pt x="212" y="761"/>
                      </a:lnTo>
                      <a:lnTo>
                        <a:pt x="211" y="756"/>
                      </a:lnTo>
                      <a:lnTo>
                        <a:pt x="212" y="749"/>
                      </a:lnTo>
                      <a:lnTo>
                        <a:pt x="212" y="749"/>
                      </a:lnTo>
                      <a:lnTo>
                        <a:pt x="214" y="742"/>
                      </a:lnTo>
                      <a:lnTo>
                        <a:pt x="214" y="738"/>
                      </a:lnTo>
                      <a:lnTo>
                        <a:pt x="212" y="735"/>
                      </a:lnTo>
                      <a:lnTo>
                        <a:pt x="211" y="733"/>
                      </a:lnTo>
                      <a:lnTo>
                        <a:pt x="207" y="732"/>
                      </a:lnTo>
                      <a:lnTo>
                        <a:pt x="205" y="728"/>
                      </a:lnTo>
                      <a:lnTo>
                        <a:pt x="205" y="723"/>
                      </a:lnTo>
                      <a:lnTo>
                        <a:pt x="209" y="714"/>
                      </a:lnTo>
                      <a:lnTo>
                        <a:pt x="209" y="714"/>
                      </a:lnTo>
                      <a:lnTo>
                        <a:pt x="211" y="705"/>
                      </a:lnTo>
                      <a:lnTo>
                        <a:pt x="211" y="697"/>
                      </a:lnTo>
                      <a:lnTo>
                        <a:pt x="209" y="691"/>
                      </a:lnTo>
                      <a:lnTo>
                        <a:pt x="205" y="686"/>
                      </a:lnTo>
                      <a:lnTo>
                        <a:pt x="198" y="685"/>
                      </a:lnTo>
                      <a:lnTo>
                        <a:pt x="190" y="685"/>
                      </a:lnTo>
                      <a:lnTo>
                        <a:pt x="181" y="686"/>
                      </a:lnTo>
                      <a:lnTo>
                        <a:pt x="169" y="690"/>
                      </a:lnTo>
                      <a:lnTo>
                        <a:pt x="169" y="690"/>
                      </a:lnTo>
                      <a:lnTo>
                        <a:pt x="157" y="693"/>
                      </a:lnTo>
                      <a:lnTo>
                        <a:pt x="146" y="691"/>
                      </a:lnTo>
                      <a:lnTo>
                        <a:pt x="137" y="688"/>
                      </a:lnTo>
                      <a:lnTo>
                        <a:pt x="129" y="683"/>
                      </a:lnTo>
                      <a:lnTo>
                        <a:pt x="115" y="671"/>
                      </a:lnTo>
                      <a:lnTo>
                        <a:pt x="103" y="658"/>
                      </a:lnTo>
                      <a:lnTo>
                        <a:pt x="103" y="658"/>
                      </a:lnTo>
                      <a:lnTo>
                        <a:pt x="97" y="653"/>
                      </a:lnTo>
                      <a:lnTo>
                        <a:pt x="97" y="650"/>
                      </a:lnTo>
                      <a:lnTo>
                        <a:pt x="99" y="646"/>
                      </a:lnTo>
                      <a:lnTo>
                        <a:pt x="101" y="641"/>
                      </a:lnTo>
                      <a:lnTo>
                        <a:pt x="103" y="636"/>
                      </a:lnTo>
                      <a:lnTo>
                        <a:pt x="104" y="631"/>
                      </a:lnTo>
                      <a:lnTo>
                        <a:pt x="101" y="624"/>
                      </a:lnTo>
                      <a:lnTo>
                        <a:pt x="94" y="617"/>
                      </a:lnTo>
                      <a:lnTo>
                        <a:pt x="94" y="617"/>
                      </a:lnTo>
                      <a:lnTo>
                        <a:pt x="77" y="603"/>
                      </a:lnTo>
                      <a:lnTo>
                        <a:pt x="66" y="594"/>
                      </a:lnTo>
                      <a:lnTo>
                        <a:pt x="64" y="589"/>
                      </a:lnTo>
                      <a:lnTo>
                        <a:pt x="64" y="585"/>
                      </a:lnTo>
                      <a:lnTo>
                        <a:pt x="66" y="582"/>
                      </a:lnTo>
                      <a:lnTo>
                        <a:pt x="71" y="578"/>
                      </a:lnTo>
                      <a:lnTo>
                        <a:pt x="71" y="578"/>
                      </a:lnTo>
                      <a:lnTo>
                        <a:pt x="77" y="573"/>
                      </a:lnTo>
                      <a:lnTo>
                        <a:pt x="80" y="568"/>
                      </a:lnTo>
                      <a:lnTo>
                        <a:pt x="84" y="557"/>
                      </a:lnTo>
                      <a:lnTo>
                        <a:pt x="89" y="549"/>
                      </a:lnTo>
                      <a:lnTo>
                        <a:pt x="92" y="545"/>
                      </a:lnTo>
                      <a:lnTo>
                        <a:pt x="97" y="542"/>
                      </a:lnTo>
                      <a:lnTo>
                        <a:pt x="97" y="542"/>
                      </a:lnTo>
                      <a:lnTo>
                        <a:pt x="103" y="538"/>
                      </a:lnTo>
                      <a:lnTo>
                        <a:pt x="108" y="531"/>
                      </a:lnTo>
                      <a:lnTo>
                        <a:pt x="118" y="510"/>
                      </a:lnTo>
                      <a:lnTo>
                        <a:pt x="125" y="503"/>
                      </a:lnTo>
                      <a:lnTo>
                        <a:pt x="134" y="496"/>
                      </a:lnTo>
                      <a:lnTo>
                        <a:pt x="139" y="496"/>
                      </a:lnTo>
                      <a:lnTo>
                        <a:pt x="144" y="496"/>
                      </a:lnTo>
                      <a:lnTo>
                        <a:pt x="150" y="498"/>
                      </a:lnTo>
                      <a:lnTo>
                        <a:pt x="157" y="500"/>
                      </a:lnTo>
                      <a:lnTo>
                        <a:pt x="157" y="500"/>
                      </a:lnTo>
                      <a:lnTo>
                        <a:pt x="162" y="503"/>
                      </a:lnTo>
                      <a:lnTo>
                        <a:pt x="167" y="505"/>
                      </a:lnTo>
                      <a:lnTo>
                        <a:pt x="172" y="507"/>
                      </a:lnTo>
                      <a:lnTo>
                        <a:pt x="176" y="505"/>
                      </a:lnTo>
                      <a:lnTo>
                        <a:pt x="183" y="502"/>
                      </a:lnTo>
                      <a:lnTo>
                        <a:pt x="188" y="495"/>
                      </a:lnTo>
                      <a:lnTo>
                        <a:pt x="191" y="488"/>
                      </a:lnTo>
                      <a:lnTo>
                        <a:pt x="197" y="483"/>
                      </a:lnTo>
                      <a:lnTo>
                        <a:pt x="204" y="479"/>
                      </a:lnTo>
                      <a:lnTo>
                        <a:pt x="209" y="479"/>
                      </a:lnTo>
                      <a:lnTo>
                        <a:pt x="214" y="479"/>
                      </a:lnTo>
                      <a:lnTo>
                        <a:pt x="214" y="479"/>
                      </a:lnTo>
                      <a:lnTo>
                        <a:pt x="225" y="481"/>
                      </a:lnTo>
                      <a:lnTo>
                        <a:pt x="235" y="477"/>
                      </a:lnTo>
                      <a:lnTo>
                        <a:pt x="244" y="474"/>
                      </a:lnTo>
                      <a:lnTo>
                        <a:pt x="251" y="467"/>
                      </a:lnTo>
                      <a:lnTo>
                        <a:pt x="254" y="458"/>
                      </a:lnTo>
                      <a:lnTo>
                        <a:pt x="256" y="453"/>
                      </a:lnTo>
                      <a:lnTo>
                        <a:pt x="254" y="449"/>
                      </a:lnTo>
                      <a:lnTo>
                        <a:pt x="252" y="444"/>
                      </a:lnTo>
                      <a:lnTo>
                        <a:pt x="249" y="441"/>
                      </a:lnTo>
                      <a:lnTo>
                        <a:pt x="245" y="436"/>
                      </a:lnTo>
                      <a:lnTo>
                        <a:pt x="238" y="432"/>
                      </a:lnTo>
                      <a:lnTo>
                        <a:pt x="238" y="432"/>
                      </a:lnTo>
                      <a:lnTo>
                        <a:pt x="228" y="427"/>
                      </a:lnTo>
                      <a:lnTo>
                        <a:pt x="226" y="423"/>
                      </a:lnTo>
                      <a:lnTo>
                        <a:pt x="226" y="422"/>
                      </a:lnTo>
                      <a:lnTo>
                        <a:pt x="232" y="420"/>
                      </a:lnTo>
                      <a:lnTo>
                        <a:pt x="238" y="418"/>
                      </a:lnTo>
                      <a:lnTo>
                        <a:pt x="245" y="416"/>
                      </a:lnTo>
                      <a:lnTo>
                        <a:pt x="251" y="415"/>
                      </a:lnTo>
                      <a:lnTo>
                        <a:pt x="252" y="413"/>
                      </a:lnTo>
                      <a:lnTo>
                        <a:pt x="254" y="409"/>
                      </a:lnTo>
                      <a:lnTo>
                        <a:pt x="252" y="406"/>
                      </a:lnTo>
                      <a:lnTo>
                        <a:pt x="249" y="402"/>
                      </a:lnTo>
                      <a:lnTo>
                        <a:pt x="249" y="402"/>
                      </a:lnTo>
                      <a:lnTo>
                        <a:pt x="245" y="399"/>
                      </a:lnTo>
                      <a:lnTo>
                        <a:pt x="240" y="397"/>
                      </a:lnTo>
                      <a:lnTo>
                        <a:pt x="237" y="397"/>
                      </a:lnTo>
                      <a:lnTo>
                        <a:pt x="232" y="399"/>
                      </a:lnTo>
                      <a:lnTo>
                        <a:pt x="221" y="404"/>
                      </a:lnTo>
                      <a:lnTo>
                        <a:pt x="211" y="411"/>
                      </a:lnTo>
                      <a:lnTo>
                        <a:pt x="200" y="420"/>
                      </a:lnTo>
                      <a:lnTo>
                        <a:pt x="190" y="425"/>
                      </a:lnTo>
                      <a:lnTo>
                        <a:pt x="184" y="427"/>
                      </a:lnTo>
                      <a:lnTo>
                        <a:pt x="178" y="427"/>
                      </a:lnTo>
                      <a:lnTo>
                        <a:pt x="172" y="425"/>
                      </a:lnTo>
                      <a:lnTo>
                        <a:pt x="165" y="423"/>
                      </a:lnTo>
                      <a:lnTo>
                        <a:pt x="165" y="423"/>
                      </a:lnTo>
                      <a:lnTo>
                        <a:pt x="155" y="416"/>
                      </a:lnTo>
                      <a:lnTo>
                        <a:pt x="144" y="415"/>
                      </a:lnTo>
                      <a:lnTo>
                        <a:pt x="136" y="415"/>
                      </a:lnTo>
                      <a:lnTo>
                        <a:pt x="125" y="418"/>
                      </a:lnTo>
                      <a:lnTo>
                        <a:pt x="106" y="422"/>
                      </a:lnTo>
                      <a:lnTo>
                        <a:pt x="96" y="423"/>
                      </a:lnTo>
                      <a:lnTo>
                        <a:pt x="82" y="423"/>
                      </a:lnTo>
                      <a:lnTo>
                        <a:pt x="82" y="423"/>
                      </a:lnTo>
                      <a:lnTo>
                        <a:pt x="71" y="420"/>
                      </a:lnTo>
                      <a:lnTo>
                        <a:pt x="64" y="418"/>
                      </a:lnTo>
                      <a:lnTo>
                        <a:pt x="61" y="415"/>
                      </a:lnTo>
                      <a:lnTo>
                        <a:pt x="59" y="411"/>
                      </a:lnTo>
                      <a:lnTo>
                        <a:pt x="59" y="402"/>
                      </a:lnTo>
                      <a:lnTo>
                        <a:pt x="56" y="399"/>
                      </a:lnTo>
                      <a:lnTo>
                        <a:pt x="49" y="395"/>
                      </a:lnTo>
                      <a:lnTo>
                        <a:pt x="49" y="395"/>
                      </a:lnTo>
                      <a:lnTo>
                        <a:pt x="43" y="390"/>
                      </a:lnTo>
                      <a:lnTo>
                        <a:pt x="43" y="387"/>
                      </a:lnTo>
                      <a:lnTo>
                        <a:pt x="45" y="383"/>
                      </a:lnTo>
                      <a:lnTo>
                        <a:pt x="49" y="380"/>
                      </a:lnTo>
                      <a:lnTo>
                        <a:pt x="52" y="376"/>
                      </a:lnTo>
                      <a:lnTo>
                        <a:pt x="52" y="373"/>
                      </a:lnTo>
                      <a:lnTo>
                        <a:pt x="47" y="371"/>
                      </a:lnTo>
                      <a:lnTo>
                        <a:pt x="38" y="371"/>
                      </a:lnTo>
                      <a:lnTo>
                        <a:pt x="38" y="371"/>
                      </a:lnTo>
                      <a:lnTo>
                        <a:pt x="24" y="369"/>
                      </a:lnTo>
                      <a:lnTo>
                        <a:pt x="16" y="366"/>
                      </a:lnTo>
                      <a:lnTo>
                        <a:pt x="7" y="362"/>
                      </a:lnTo>
                      <a:lnTo>
                        <a:pt x="2" y="359"/>
                      </a:lnTo>
                      <a:lnTo>
                        <a:pt x="0" y="355"/>
                      </a:lnTo>
                      <a:lnTo>
                        <a:pt x="0" y="352"/>
                      </a:lnTo>
                      <a:lnTo>
                        <a:pt x="3" y="348"/>
                      </a:lnTo>
                      <a:lnTo>
                        <a:pt x="9" y="347"/>
                      </a:lnTo>
                      <a:lnTo>
                        <a:pt x="9" y="347"/>
                      </a:lnTo>
                      <a:lnTo>
                        <a:pt x="16" y="345"/>
                      </a:lnTo>
                      <a:lnTo>
                        <a:pt x="26" y="340"/>
                      </a:lnTo>
                      <a:lnTo>
                        <a:pt x="49" y="328"/>
                      </a:lnTo>
                      <a:lnTo>
                        <a:pt x="82" y="312"/>
                      </a:lnTo>
                      <a:lnTo>
                        <a:pt x="101" y="303"/>
                      </a:lnTo>
                      <a:lnTo>
                        <a:pt x="124" y="296"/>
                      </a:lnTo>
                      <a:lnTo>
                        <a:pt x="124" y="296"/>
                      </a:lnTo>
                      <a:lnTo>
                        <a:pt x="141" y="291"/>
                      </a:lnTo>
                      <a:lnTo>
                        <a:pt x="146" y="291"/>
                      </a:lnTo>
                      <a:lnTo>
                        <a:pt x="150" y="293"/>
                      </a:lnTo>
                      <a:lnTo>
                        <a:pt x="153" y="295"/>
                      </a:lnTo>
                      <a:lnTo>
                        <a:pt x="153" y="298"/>
                      </a:lnTo>
                      <a:lnTo>
                        <a:pt x="153" y="305"/>
                      </a:lnTo>
                      <a:lnTo>
                        <a:pt x="151" y="314"/>
                      </a:lnTo>
                      <a:lnTo>
                        <a:pt x="151" y="321"/>
                      </a:lnTo>
                      <a:lnTo>
                        <a:pt x="153" y="322"/>
                      </a:lnTo>
                      <a:lnTo>
                        <a:pt x="157" y="324"/>
                      </a:lnTo>
                      <a:lnTo>
                        <a:pt x="162" y="326"/>
                      </a:lnTo>
                      <a:lnTo>
                        <a:pt x="169" y="324"/>
                      </a:lnTo>
                      <a:lnTo>
                        <a:pt x="169" y="324"/>
                      </a:lnTo>
                      <a:lnTo>
                        <a:pt x="184" y="322"/>
                      </a:lnTo>
                      <a:lnTo>
                        <a:pt x="195" y="322"/>
                      </a:lnTo>
                      <a:lnTo>
                        <a:pt x="204" y="324"/>
                      </a:lnTo>
                      <a:lnTo>
                        <a:pt x="209" y="326"/>
                      </a:lnTo>
                      <a:lnTo>
                        <a:pt x="216" y="329"/>
                      </a:lnTo>
                      <a:lnTo>
                        <a:pt x="218" y="328"/>
                      </a:lnTo>
                      <a:lnTo>
                        <a:pt x="219" y="328"/>
                      </a:lnTo>
                      <a:lnTo>
                        <a:pt x="219" y="328"/>
                      </a:lnTo>
                      <a:lnTo>
                        <a:pt x="225" y="322"/>
                      </a:lnTo>
                      <a:lnTo>
                        <a:pt x="230" y="321"/>
                      </a:lnTo>
                      <a:lnTo>
                        <a:pt x="233" y="321"/>
                      </a:lnTo>
                      <a:lnTo>
                        <a:pt x="235" y="321"/>
                      </a:lnTo>
                      <a:lnTo>
                        <a:pt x="237" y="322"/>
                      </a:lnTo>
                      <a:lnTo>
                        <a:pt x="238" y="322"/>
                      </a:lnTo>
                      <a:lnTo>
                        <a:pt x="240" y="315"/>
                      </a:lnTo>
                      <a:lnTo>
                        <a:pt x="240" y="315"/>
                      </a:lnTo>
                      <a:lnTo>
                        <a:pt x="238" y="310"/>
                      </a:lnTo>
                      <a:lnTo>
                        <a:pt x="237" y="308"/>
                      </a:lnTo>
                      <a:lnTo>
                        <a:pt x="232" y="308"/>
                      </a:lnTo>
                      <a:lnTo>
                        <a:pt x="226" y="308"/>
                      </a:lnTo>
                      <a:lnTo>
                        <a:pt x="221" y="308"/>
                      </a:lnTo>
                      <a:lnTo>
                        <a:pt x="216" y="308"/>
                      </a:lnTo>
                      <a:lnTo>
                        <a:pt x="212" y="307"/>
                      </a:lnTo>
                      <a:lnTo>
                        <a:pt x="211" y="300"/>
                      </a:lnTo>
                      <a:lnTo>
                        <a:pt x="211" y="300"/>
                      </a:lnTo>
                      <a:lnTo>
                        <a:pt x="209" y="295"/>
                      </a:lnTo>
                      <a:lnTo>
                        <a:pt x="205" y="291"/>
                      </a:lnTo>
                      <a:lnTo>
                        <a:pt x="202" y="289"/>
                      </a:lnTo>
                      <a:lnTo>
                        <a:pt x="198" y="288"/>
                      </a:lnTo>
                      <a:lnTo>
                        <a:pt x="195" y="288"/>
                      </a:lnTo>
                      <a:lnTo>
                        <a:pt x="193" y="286"/>
                      </a:lnTo>
                      <a:lnTo>
                        <a:pt x="191" y="282"/>
                      </a:lnTo>
                      <a:lnTo>
                        <a:pt x="193" y="275"/>
                      </a:lnTo>
                      <a:lnTo>
                        <a:pt x="193" y="275"/>
                      </a:lnTo>
                      <a:lnTo>
                        <a:pt x="193" y="268"/>
                      </a:lnTo>
                      <a:lnTo>
                        <a:pt x="191" y="268"/>
                      </a:lnTo>
                      <a:lnTo>
                        <a:pt x="190" y="267"/>
                      </a:lnTo>
                      <a:lnTo>
                        <a:pt x="184" y="267"/>
                      </a:lnTo>
                      <a:lnTo>
                        <a:pt x="179" y="268"/>
                      </a:lnTo>
                      <a:lnTo>
                        <a:pt x="171" y="268"/>
                      </a:lnTo>
                      <a:lnTo>
                        <a:pt x="162" y="267"/>
                      </a:lnTo>
                      <a:lnTo>
                        <a:pt x="155" y="260"/>
                      </a:lnTo>
                      <a:lnTo>
                        <a:pt x="150" y="254"/>
                      </a:lnTo>
                      <a:lnTo>
                        <a:pt x="146" y="248"/>
                      </a:lnTo>
                      <a:lnTo>
                        <a:pt x="146" y="248"/>
                      </a:lnTo>
                      <a:lnTo>
                        <a:pt x="143" y="241"/>
                      </a:lnTo>
                      <a:lnTo>
                        <a:pt x="136" y="235"/>
                      </a:lnTo>
                      <a:lnTo>
                        <a:pt x="120" y="223"/>
                      </a:lnTo>
                      <a:lnTo>
                        <a:pt x="101" y="213"/>
                      </a:lnTo>
                      <a:lnTo>
                        <a:pt x="80" y="204"/>
                      </a:lnTo>
                      <a:lnTo>
                        <a:pt x="64" y="197"/>
                      </a:lnTo>
                      <a:lnTo>
                        <a:pt x="50" y="192"/>
                      </a:lnTo>
                      <a:lnTo>
                        <a:pt x="47" y="188"/>
                      </a:lnTo>
                      <a:lnTo>
                        <a:pt x="45" y="187"/>
                      </a:lnTo>
                      <a:lnTo>
                        <a:pt x="47" y="185"/>
                      </a:lnTo>
                      <a:lnTo>
                        <a:pt x="50" y="183"/>
                      </a:lnTo>
                      <a:lnTo>
                        <a:pt x="50" y="183"/>
                      </a:lnTo>
                      <a:lnTo>
                        <a:pt x="59" y="180"/>
                      </a:lnTo>
                      <a:lnTo>
                        <a:pt x="63" y="174"/>
                      </a:lnTo>
                      <a:lnTo>
                        <a:pt x="64" y="171"/>
                      </a:lnTo>
                      <a:lnTo>
                        <a:pt x="64" y="166"/>
                      </a:lnTo>
                      <a:lnTo>
                        <a:pt x="66" y="162"/>
                      </a:lnTo>
                      <a:lnTo>
                        <a:pt x="68" y="160"/>
                      </a:lnTo>
                      <a:lnTo>
                        <a:pt x="73" y="157"/>
                      </a:lnTo>
                      <a:lnTo>
                        <a:pt x="84" y="157"/>
                      </a:lnTo>
                      <a:lnTo>
                        <a:pt x="84" y="157"/>
                      </a:lnTo>
                      <a:lnTo>
                        <a:pt x="106" y="155"/>
                      </a:lnTo>
                      <a:lnTo>
                        <a:pt x="124" y="153"/>
                      </a:lnTo>
                      <a:lnTo>
                        <a:pt x="137" y="148"/>
                      </a:lnTo>
                      <a:lnTo>
                        <a:pt x="150" y="143"/>
                      </a:lnTo>
                      <a:lnTo>
                        <a:pt x="158" y="133"/>
                      </a:lnTo>
                      <a:lnTo>
                        <a:pt x="167" y="122"/>
                      </a:lnTo>
                      <a:lnTo>
                        <a:pt x="176" y="106"/>
                      </a:lnTo>
                      <a:lnTo>
                        <a:pt x="184" y="89"/>
                      </a:lnTo>
                      <a:lnTo>
                        <a:pt x="184" y="89"/>
                      </a:lnTo>
                      <a:lnTo>
                        <a:pt x="193" y="75"/>
                      </a:lnTo>
                      <a:lnTo>
                        <a:pt x="197" y="70"/>
                      </a:lnTo>
                      <a:lnTo>
                        <a:pt x="202" y="68"/>
                      </a:lnTo>
                      <a:lnTo>
                        <a:pt x="205" y="66"/>
                      </a:lnTo>
                      <a:lnTo>
                        <a:pt x="209" y="65"/>
                      </a:lnTo>
                      <a:lnTo>
                        <a:pt x="218" y="66"/>
                      </a:lnTo>
                      <a:lnTo>
                        <a:pt x="228" y="66"/>
                      </a:lnTo>
                      <a:lnTo>
                        <a:pt x="238" y="66"/>
                      </a:lnTo>
                      <a:lnTo>
                        <a:pt x="245" y="65"/>
                      </a:lnTo>
                      <a:lnTo>
                        <a:pt x="252" y="61"/>
                      </a:lnTo>
                      <a:lnTo>
                        <a:pt x="261" y="58"/>
                      </a:lnTo>
                      <a:lnTo>
                        <a:pt x="270" y="51"/>
                      </a:lnTo>
                      <a:lnTo>
                        <a:pt x="270" y="51"/>
                      </a:lnTo>
                      <a:lnTo>
                        <a:pt x="287" y="39"/>
                      </a:lnTo>
                      <a:lnTo>
                        <a:pt x="303" y="33"/>
                      </a:lnTo>
                      <a:lnTo>
                        <a:pt x="317" y="32"/>
                      </a:lnTo>
                      <a:lnTo>
                        <a:pt x="329" y="30"/>
                      </a:lnTo>
                      <a:lnTo>
                        <a:pt x="341" y="32"/>
                      </a:lnTo>
                      <a:lnTo>
                        <a:pt x="352" y="30"/>
                      </a:lnTo>
                      <a:lnTo>
                        <a:pt x="364" y="26"/>
                      </a:lnTo>
                      <a:lnTo>
                        <a:pt x="376" y="18"/>
                      </a:lnTo>
                      <a:lnTo>
                        <a:pt x="376" y="18"/>
                      </a:lnTo>
                      <a:lnTo>
                        <a:pt x="388" y="9"/>
                      </a:lnTo>
                      <a:lnTo>
                        <a:pt x="397" y="2"/>
                      </a:lnTo>
                      <a:lnTo>
                        <a:pt x="406" y="0"/>
                      </a:lnTo>
                      <a:lnTo>
                        <a:pt x="413" y="2"/>
                      </a:lnTo>
                      <a:lnTo>
                        <a:pt x="420" y="4"/>
                      </a:lnTo>
                      <a:lnTo>
                        <a:pt x="425" y="7"/>
                      </a:lnTo>
                      <a:lnTo>
                        <a:pt x="435" y="16"/>
                      </a:lnTo>
                      <a:lnTo>
                        <a:pt x="435" y="16"/>
                      </a:lnTo>
                      <a:lnTo>
                        <a:pt x="440" y="19"/>
                      </a:lnTo>
                      <a:lnTo>
                        <a:pt x="444" y="19"/>
                      </a:lnTo>
                      <a:lnTo>
                        <a:pt x="453" y="18"/>
                      </a:lnTo>
                      <a:lnTo>
                        <a:pt x="456" y="16"/>
                      </a:lnTo>
                      <a:lnTo>
                        <a:pt x="460" y="14"/>
                      </a:lnTo>
                      <a:lnTo>
                        <a:pt x="465" y="16"/>
                      </a:lnTo>
                      <a:lnTo>
                        <a:pt x="470" y="19"/>
                      </a:lnTo>
                      <a:lnTo>
                        <a:pt x="470" y="19"/>
                      </a:lnTo>
                      <a:lnTo>
                        <a:pt x="479" y="28"/>
                      </a:lnTo>
                      <a:lnTo>
                        <a:pt x="480" y="28"/>
                      </a:lnTo>
                      <a:lnTo>
                        <a:pt x="486" y="30"/>
                      </a:lnTo>
                      <a:lnTo>
                        <a:pt x="498" y="28"/>
                      </a:lnTo>
                      <a:lnTo>
                        <a:pt x="528" y="28"/>
                      </a:lnTo>
                      <a:lnTo>
                        <a:pt x="528" y="28"/>
                      </a:lnTo>
                      <a:lnTo>
                        <a:pt x="541" y="28"/>
                      </a:lnTo>
                      <a:lnTo>
                        <a:pt x="550" y="30"/>
                      </a:lnTo>
                      <a:lnTo>
                        <a:pt x="552" y="33"/>
                      </a:lnTo>
                      <a:lnTo>
                        <a:pt x="554" y="35"/>
                      </a:lnTo>
                      <a:lnTo>
                        <a:pt x="554" y="40"/>
                      </a:lnTo>
                      <a:lnTo>
                        <a:pt x="557" y="44"/>
                      </a:lnTo>
                      <a:lnTo>
                        <a:pt x="564" y="49"/>
                      </a:lnTo>
                      <a:lnTo>
                        <a:pt x="578" y="54"/>
                      </a:lnTo>
                      <a:lnTo>
                        <a:pt x="578" y="54"/>
                      </a:lnTo>
                      <a:lnTo>
                        <a:pt x="594" y="58"/>
                      </a:lnTo>
                      <a:lnTo>
                        <a:pt x="608" y="58"/>
                      </a:lnTo>
                      <a:lnTo>
                        <a:pt x="618" y="56"/>
                      </a:lnTo>
                      <a:lnTo>
                        <a:pt x="628" y="54"/>
                      </a:lnTo>
                      <a:lnTo>
                        <a:pt x="637" y="53"/>
                      </a:lnTo>
                      <a:lnTo>
                        <a:pt x="648" y="51"/>
                      </a:lnTo>
                      <a:lnTo>
                        <a:pt x="662" y="53"/>
                      </a:lnTo>
                      <a:lnTo>
                        <a:pt x="677" y="58"/>
                      </a:lnTo>
                      <a:lnTo>
                        <a:pt x="677" y="58"/>
                      </a:lnTo>
                      <a:lnTo>
                        <a:pt x="695" y="65"/>
                      </a:lnTo>
                      <a:lnTo>
                        <a:pt x="710" y="68"/>
                      </a:lnTo>
                      <a:lnTo>
                        <a:pt x="742" y="73"/>
                      </a:lnTo>
                      <a:lnTo>
                        <a:pt x="770" y="75"/>
                      </a:lnTo>
                      <a:lnTo>
                        <a:pt x="782" y="77"/>
                      </a:lnTo>
                      <a:lnTo>
                        <a:pt x="794" y="82"/>
                      </a:lnTo>
                      <a:lnTo>
                        <a:pt x="794" y="82"/>
                      </a:lnTo>
                      <a:lnTo>
                        <a:pt x="803" y="84"/>
                      </a:lnTo>
                      <a:lnTo>
                        <a:pt x="811" y="86"/>
                      </a:lnTo>
                      <a:lnTo>
                        <a:pt x="818" y="86"/>
                      </a:lnTo>
                      <a:lnTo>
                        <a:pt x="827" y="84"/>
                      </a:lnTo>
                      <a:lnTo>
                        <a:pt x="844" y="80"/>
                      </a:lnTo>
                      <a:lnTo>
                        <a:pt x="855" y="79"/>
                      </a:lnTo>
                      <a:lnTo>
                        <a:pt x="869" y="79"/>
                      </a:lnTo>
                      <a:lnTo>
                        <a:pt x="869" y="79"/>
                      </a:lnTo>
                      <a:lnTo>
                        <a:pt x="883" y="82"/>
                      </a:lnTo>
                      <a:lnTo>
                        <a:pt x="893" y="86"/>
                      </a:lnTo>
                      <a:lnTo>
                        <a:pt x="902" y="91"/>
                      </a:lnTo>
                      <a:lnTo>
                        <a:pt x="909" y="94"/>
                      </a:lnTo>
                      <a:lnTo>
                        <a:pt x="916" y="100"/>
                      </a:lnTo>
                      <a:lnTo>
                        <a:pt x="925" y="103"/>
                      </a:lnTo>
                      <a:lnTo>
                        <a:pt x="935" y="106"/>
                      </a:lnTo>
                      <a:lnTo>
                        <a:pt x="949" y="106"/>
                      </a:lnTo>
                      <a:lnTo>
                        <a:pt x="949" y="10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3" name="Freeform 1702">
                  <a:extLst>
                    <a:ext uri="{FF2B5EF4-FFF2-40B4-BE49-F238E27FC236}">
                      <a16:creationId xmlns:a16="http://schemas.microsoft.com/office/drawing/2014/main" id="{C92262BF-7925-4E69-DEAC-04FC57F84C97}"/>
                    </a:ext>
                  </a:extLst>
                </p:cNvPr>
                <p:cNvSpPr>
                  <a:spLocks/>
                </p:cNvSpPr>
                <p:nvPr/>
              </p:nvSpPr>
              <p:spPr bwMode="auto">
                <a:xfrm>
                  <a:off x="1675000" y="2693387"/>
                  <a:ext cx="1622804" cy="923290"/>
                </a:xfrm>
                <a:custGeom>
                  <a:avLst/>
                  <a:gdLst/>
                  <a:ahLst/>
                  <a:cxnLst>
                    <a:cxn ang="0">
                      <a:pos x="1689" y="300"/>
                    </a:cxn>
                    <a:cxn ang="0">
                      <a:pos x="1607" y="333"/>
                    </a:cxn>
                    <a:cxn ang="0">
                      <a:pos x="1466" y="388"/>
                    </a:cxn>
                    <a:cxn ang="0">
                      <a:pos x="1482" y="338"/>
                    </a:cxn>
                    <a:cxn ang="0">
                      <a:pos x="1435" y="287"/>
                    </a:cxn>
                    <a:cxn ang="0">
                      <a:pos x="1435" y="200"/>
                    </a:cxn>
                    <a:cxn ang="0">
                      <a:pos x="1381" y="209"/>
                    </a:cxn>
                    <a:cxn ang="0">
                      <a:pos x="1346" y="261"/>
                    </a:cxn>
                    <a:cxn ang="0">
                      <a:pos x="1315" y="385"/>
                    </a:cxn>
                    <a:cxn ang="0">
                      <a:pos x="1304" y="260"/>
                    </a:cxn>
                    <a:cxn ang="0">
                      <a:pos x="1301" y="218"/>
                    </a:cxn>
                    <a:cxn ang="0">
                      <a:pos x="1357" y="172"/>
                    </a:cxn>
                    <a:cxn ang="0">
                      <a:pos x="1432" y="167"/>
                    </a:cxn>
                    <a:cxn ang="0">
                      <a:pos x="1355" y="139"/>
                    </a:cxn>
                    <a:cxn ang="0">
                      <a:pos x="1271" y="122"/>
                    </a:cxn>
                    <a:cxn ang="0">
                      <a:pos x="1188" y="134"/>
                    </a:cxn>
                    <a:cxn ang="0">
                      <a:pos x="1233" y="70"/>
                    </a:cxn>
                    <a:cxn ang="0">
                      <a:pos x="1132" y="54"/>
                    </a:cxn>
                    <a:cxn ang="0">
                      <a:pos x="1050" y="7"/>
                    </a:cxn>
                    <a:cxn ang="0">
                      <a:pos x="72" y="47"/>
                    </a:cxn>
                    <a:cxn ang="0">
                      <a:pos x="12" y="54"/>
                    </a:cxn>
                    <a:cxn ang="0">
                      <a:pos x="9" y="334"/>
                    </a:cxn>
                    <a:cxn ang="0">
                      <a:pos x="61" y="549"/>
                    </a:cxn>
                    <a:cxn ang="0">
                      <a:pos x="103" y="643"/>
                    </a:cxn>
                    <a:cxn ang="0">
                      <a:pos x="228" y="761"/>
                    </a:cxn>
                    <a:cxn ang="0">
                      <a:pos x="695" y="905"/>
                    </a:cxn>
                    <a:cxn ang="0">
                      <a:pos x="805" y="937"/>
                    </a:cxn>
                    <a:cxn ang="0">
                      <a:pos x="961" y="1118"/>
                    </a:cxn>
                    <a:cxn ang="0">
                      <a:pos x="996" y="1001"/>
                    </a:cxn>
                    <a:cxn ang="0">
                      <a:pos x="1099" y="942"/>
                    </a:cxn>
                    <a:cxn ang="0">
                      <a:pos x="1160" y="942"/>
                    </a:cxn>
                    <a:cxn ang="0">
                      <a:pos x="1212" y="972"/>
                    </a:cxn>
                    <a:cxn ang="0">
                      <a:pos x="1245" y="959"/>
                    </a:cxn>
                    <a:cxn ang="0">
                      <a:pos x="1228" y="926"/>
                    </a:cxn>
                    <a:cxn ang="0">
                      <a:pos x="1259" y="912"/>
                    </a:cxn>
                    <a:cxn ang="0">
                      <a:pos x="1371" y="923"/>
                    </a:cxn>
                    <a:cxn ang="0">
                      <a:pos x="1437" y="933"/>
                    </a:cxn>
                    <a:cxn ang="0">
                      <a:pos x="1484" y="1038"/>
                    </a:cxn>
                    <a:cxn ang="0">
                      <a:pos x="1515" y="1114"/>
                    </a:cxn>
                    <a:cxn ang="0">
                      <a:pos x="1560" y="1141"/>
                    </a:cxn>
                    <a:cxn ang="0">
                      <a:pos x="1526" y="939"/>
                    </a:cxn>
                    <a:cxn ang="0">
                      <a:pos x="1588" y="796"/>
                    </a:cxn>
                    <a:cxn ang="0">
                      <a:pos x="1686" y="714"/>
                    </a:cxn>
                    <a:cxn ang="0">
                      <a:pos x="1689" y="690"/>
                    </a:cxn>
                    <a:cxn ang="0">
                      <a:pos x="1710" y="658"/>
                    </a:cxn>
                    <a:cxn ang="0">
                      <a:pos x="1726" y="663"/>
                    </a:cxn>
                    <a:cxn ang="0">
                      <a:pos x="1694" y="596"/>
                    </a:cxn>
                    <a:cxn ang="0">
                      <a:pos x="1693" y="528"/>
                    </a:cxn>
                    <a:cxn ang="0">
                      <a:pos x="1700" y="540"/>
                    </a:cxn>
                    <a:cxn ang="0">
                      <a:pos x="1715" y="597"/>
                    </a:cxn>
                    <a:cxn ang="0">
                      <a:pos x="1736" y="468"/>
                    </a:cxn>
                    <a:cxn ang="0">
                      <a:pos x="1776" y="474"/>
                    </a:cxn>
                    <a:cxn ang="0">
                      <a:pos x="1870" y="395"/>
                    </a:cxn>
                    <a:cxn ang="0">
                      <a:pos x="1917" y="385"/>
                    </a:cxn>
                    <a:cxn ang="0">
                      <a:pos x="1898" y="361"/>
                    </a:cxn>
                    <a:cxn ang="0">
                      <a:pos x="1916" y="280"/>
                    </a:cxn>
                    <a:cxn ang="0">
                      <a:pos x="1975" y="253"/>
                    </a:cxn>
                    <a:cxn ang="0">
                      <a:pos x="2010" y="209"/>
                    </a:cxn>
                    <a:cxn ang="0">
                      <a:pos x="1961" y="112"/>
                    </a:cxn>
                    <a:cxn ang="0">
                      <a:pos x="1909" y="176"/>
                    </a:cxn>
                    <a:cxn ang="0">
                      <a:pos x="1877" y="207"/>
                    </a:cxn>
                  </a:cxnLst>
                  <a:rect l="0" t="0" r="r" b="b"/>
                  <a:pathLst>
                    <a:path w="2025" h="1153">
                      <a:moveTo>
                        <a:pt x="1717" y="247"/>
                      </a:moveTo>
                      <a:lnTo>
                        <a:pt x="1717" y="247"/>
                      </a:lnTo>
                      <a:lnTo>
                        <a:pt x="1717" y="251"/>
                      </a:lnTo>
                      <a:lnTo>
                        <a:pt x="1714" y="254"/>
                      </a:lnTo>
                      <a:lnTo>
                        <a:pt x="1710" y="256"/>
                      </a:lnTo>
                      <a:lnTo>
                        <a:pt x="1705" y="260"/>
                      </a:lnTo>
                      <a:lnTo>
                        <a:pt x="1705" y="260"/>
                      </a:lnTo>
                      <a:lnTo>
                        <a:pt x="1701" y="261"/>
                      </a:lnTo>
                      <a:lnTo>
                        <a:pt x="1700" y="265"/>
                      </a:lnTo>
                      <a:lnTo>
                        <a:pt x="1700" y="268"/>
                      </a:lnTo>
                      <a:lnTo>
                        <a:pt x="1703" y="270"/>
                      </a:lnTo>
                      <a:lnTo>
                        <a:pt x="1703" y="270"/>
                      </a:lnTo>
                      <a:lnTo>
                        <a:pt x="1705" y="273"/>
                      </a:lnTo>
                      <a:lnTo>
                        <a:pt x="1705" y="275"/>
                      </a:lnTo>
                      <a:lnTo>
                        <a:pt x="1703" y="279"/>
                      </a:lnTo>
                      <a:lnTo>
                        <a:pt x="1703" y="284"/>
                      </a:lnTo>
                      <a:lnTo>
                        <a:pt x="1703" y="284"/>
                      </a:lnTo>
                      <a:lnTo>
                        <a:pt x="1703" y="289"/>
                      </a:lnTo>
                      <a:lnTo>
                        <a:pt x="1700" y="293"/>
                      </a:lnTo>
                      <a:lnTo>
                        <a:pt x="1694" y="294"/>
                      </a:lnTo>
                      <a:lnTo>
                        <a:pt x="1689" y="300"/>
                      </a:lnTo>
                      <a:lnTo>
                        <a:pt x="1689" y="300"/>
                      </a:lnTo>
                      <a:lnTo>
                        <a:pt x="1686" y="303"/>
                      </a:lnTo>
                      <a:lnTo>
                        <a:pt x="1682" y="305"/>
                      </a:lnTo>
                      <a:lnTo>
                        <a:pt x="1670" y="307"/>
                      </a:lnTo>
                      <a:lnTo>
                        <a:pt x="1660" y="307"/>
                      </a:lnTo>
                      <a:lnTo>
                        <a:pt x="1649" y="303"/>
                      </a:lnTo>
                      <a:lnTo>
                        <a:pt x="1649" y="303"/>
                      </a:lnTo>
                      <a:lnTo>
                        <a:pt x="1640" y="301"/>
                      </a:lnTo>
                      <a:lnTo>
                        <a:pt x="1630" y="300"/>
                      </a:lnTo>
                      <a:lnTo>
                        <a:pt x="1620" y="301"/>
                      </a:lnTo>
                      <a:lnTo>
                        <a:pt x="1613" y="303"/>
                      </a:lnTo>
                      <a:lnTo>
                        <a:pt x="1613" y="303"/>
                      </a:lnTo>
                      <a:lnTo>
                        <a:pt x="1606" y="307"/>
                      </a:lnTo>
                      <a:lnTo>
                        <a:pt x="1600" y="308"/>
                      </a:lnTo>
                      <a:lnTo>
                        <a:pt x="1593" y="310"/>
                      </a:lnTo>
                      <a:lnTo>
                        <a:pt x="1606" y="317"/>
                      </a:lnTo>
                      <a:lnTo>
                        <a:pt x="1606" y="317"/>
                      </a:lnTo>
                      <a:lnTo>
                        <a:pt x="1607" y="317"/>
                      </a:lnTo>
                      <a:lnTo>
                        <a:pt x="1609" y="319"/>
                      </a:lnTo>
                      <a:lnTo>
                        <a:pt x="1611" y="324"/>
                      </a:lnTo>
                      <a:lnTo>
                        <a:pt x="1609" y="329"/>
                      </a:lnTo>
                      <a:lnTo>
                        <a:pt x="1607" y="333"/>
                      </a:lnTo>
                      <a:lnTo>
                        <a:pt x="1607" y="333"/>
                      </a:lnTo>
                      <a:lnTo>
                        <a:pt x="1590" y="347"/>
                      </a:lnTo>
                      <a:lnTo>
                        <a:pt x="1580" y="355"/>
                      </a:lnTo>
                      <a:lnTo>
                        <a:pt x="1571" y="361"/>
                      </a:lnTo>
                      <a:lnTo>
                        <a:pt x="1571" y="361"/>
                      </a:lnTo>
                      <a:lnTo>
                        <a:pt x="1562" y="364"/>
                      </a:lnTo>
                      <a:lnTo>
                        <a:pt x="1552" y="369"/>
                      </a:lnTo>
                      <a:lnTo>
                        <a:pt x="1538" y="378"/>
                      </a:lnTo>
                      <a:lnTo>
                        <a:pt x="1519" y="387"/>
                      </a:lnTo>
                      <a:lnTo>
                        <a:pt x="1519" y="387"/>
                      </a:lnTo>
                      <a:lnTo>
                        <a:pt x="1501" y="394"/>
                      </a:lnTo>
                      <a:lnTo>
                        <a:pt x="1484" y="397"/>
                      </a:lnTo>
                      <a:lnTo>
                        <a:pt x="1472" y="397"/>
                      </a:lnTo>
                      <a:lnTo>
                        <a:pt x="1465" y="395"/>
                      </a:lnTo>
                      <a:lnTo>
                        <a:pt x="1465" y="395"/>
                      </a:lnTo>
                      <a:lnTo>
                        <a:pt x="1463" y="394"/>
                      </a:lnTo>
                      <a:lnTo>
                        <a:pt x="1465" y="394"/>
                      </a:lnTo>
                      <a:lnTo>
                        <a:pt x="1468" y="392"/>
                      </a:lnTo>
                      <a:lnTo>
                        <a:pt x="1472" y="390"/>
                      </a:lnTo>
                      <a:lnTo>
                        <a:pt x="1473" y="390"/>
                      </a:lnTo>
                      <a:lnTo>
                        <a:pt x="1472" y="388"/>
                      </a:lnTo>
                      <a:lnTo>
                        <a:pt x="1472" y="388"/>
                      </a:lnTo>
                      <a:lnTo>
                        <a:pt x="1466" y="388"/>
                      </a:lnTo>
                      <a:lnTo>
                        <a:pt x="1458" y="387"/>
                      </a:lnTo>
                      <a:lnTo>
                        <a:pt x="1451" y="385"/>
                      </a:lnTo>
                      <a:lnTo>
                        <a:pt x="1449" y="385"/>
                      </a:lnTo>
                      <a:lnTo>
                        <a:pt x="1447" y="383"/>
                      </a:lnTo>
                      <a:lnTo>
                        <a:pt x="1447" y="383"/>
                      </a:lnTo>
                      <a:lnTo>
                        <a:pt x="1449" y="378"/>
                      </a:lnTo>
                      <a:lnTo>
                        <a:pt x="1451" y="374"/>
                      </a:lnTo>
                      <a:lnTo>
                        <a:pt x="1454" y="369"/>
                      </a:lnTo>
                      <a:lnTo>
                        <a:pt x="1456" y="361"/>
                      </a:lnTo>
                      <a:lnTo>
                        <a:pt x="1456" y="361"/>
                      </a:lnTo>
                      <a:lnTo>
                        <a:pt x="1459" y="354"/>
                      </a:lnTo>
                      <a:lnTo>
                        <a:pt x="1461" y="350"/>
                      </a:lnTo>
                      <a:lnTo>
                        <a:pt x="1465" y="348"/>
                      </a:lnTo>
                      <a:lnTo>
                        <a:pt x="1468" y="341"/>
                      </a:lnTo>
                      <a:lnTo>
                        <a:pt x="1468" y="341"/>
                      </a:lnTo>
                      <a:lnTo>
                        <a:pt x="1472" y="336"/>
                      </a:lnTo>
                      <a:lnTo>
                        <a:pt x="1473" y="334"/>
                      </a:lnTo>
                      <a:lnTo>
                        <a:pt x="1477" y="336"/>
                      </a:lnTo>
                      <a:lnTo>
                        <a:pt x="1477" y="341"/>
                      </a:lnTo>
                      <a:lnTo>
                        <a:pt x="1477" y="341"/>
                      </a:lnTo>
                      <a:lnTo>
                        <a:pt x="1480" y="341"/>
                      </a:lnTo>
                      <a:lnTo>
                        <a:pt x="1482" y="338"/>
                      </a:lnTo>
                      <a:lnTo>
                        <a:pt x="1482" y="331"/>
                      </a:lnTo>
                      <a:lnTo>
                        <a:pt x="1482" y="331"/>
                      </a:lnTo>
                      <a:lnTo>
                        <a:pt x="1484" y="326"/>
                      </a:lnTo>
                      <a:lnTo>
                        <a:pt x="1486" y="319"/>
                      </a:lnTo>
                      <a:lnTo>
                        <a:pt x="1486" y="319"/>
                      </a:lnTo>
                      <a:lnTo>
                        <a:pt x="1482" y="314"/>
                      </a:lnTo>
                      <a:lnTo>
                        <a:pt x="1480" y="307"/>
                      </a:lnTo>
                      <a:lnTo>
                        <a:pt x="1477" y="289"/>
                      </a:lnTo>
                      <a:lnTo>
                        <a:pt x="1475" y="280"/>
                      </a:lnTo>
                      <a:lnTo>
                        <a:pt x="1472" y="273"/>
                      </a:lnTo>
                      <a:lnTo>
                        <a:pt x="1468" y="270"/>
                      </a:lnTo>
                      <a:lnTo>
                        <a:pt x="1463" y="268"/>
                      </a:lnTo>
                      <a:lnTo>
                        <a:pt x="1463" y="268"/>
                      </a:lnTo>
                      <a:lnTo>
                        <a:pt x="1458" y="270"/>
                      </a:lnTo>
                      <a:lnTo>
                        <a:pt x="1454" y="273"/>
                      </a:lnTo>
                      <a:lnTo>
                        <a:pt x="1449" y="280"/>
                      </a:lnTo>
                      <a:lnTo>
                        <a:pt x="1445" y="286"/>
                      </a:lnTo>
                      <a:lnTo>
                        <a:pt x="1442" y="289"/>
                      </a:lnTo>
                      <a:lnTo>
                        <a:pt x="1440" y="289"/>
                      </a:lnTo>
                      <a:lnTo>
                        <a:pt x="1440" y="289"/>
                      </a:lnTo>
                      <a:lnTo>
                        <a:pt x="1437" y="289"/>
                      </a:lnTo>
                      <a:lnTo>
                        <a:pt x="1435" y="287"/>
                      </a:lnTo>
                      <a:lnTo>
                        <a:pt x="1432" y="282"/>
                      </a:lnTo>
                      <a:lnTo>
                        <a:pt x="1433" y="275"/>
                      </a:lnTo>
                      <a:lnTo>
                        <a:pt x="1435" y="272"/>
                      </a:lnTo>
                      <a:lnTo>
                        <a:pt x="1437" y="268"/>
                      </a:lnTo>
                      <a:lnTo>
                        <a:pt x="1437" y="268"/>
                      </a:lnTo>
                      <a:lnTo>
                        <a:pt x="1444" y="265"/>
                      </a:lnTo>
                      <a:lnTo>
                        <a:pt x="1447" y="260"/>
                      </a:lnTo>
                      <a:lnTo>
                        <a:pt x="1451" y="253"/>
                      </a:lnTo>
                      <a:lnTo>
                        <a:pt x="1452" y="242"/>
                      </a:lnTo>
                      <a:lnTo>
                        <a:pt x="1452" y="242"/>
                      </a:lnTo>
                      <a:lnTo>
                        <a:pt x="1454" y="237"/>
                      </a:lnTo>
                      <a:lnTo>
                        <a:pt x="1452" y="232"/>
                      </a:lnTo>
                      <a:lnTo>
                        <a:pt x="1451" y="225"/>
                      </a:lnTo>
                      <a:lnTo>
                        <a:pt x="1449" y="221"/>
                      </a:lnTo>
                      <a:lnTo>
                        <a:pt x="1449" y="219"/>
                      </a:lnTo>
                      <a:lnTo>
                        <a:pt x="1452" y="218"/>
                      </a:lnTo>
                      <a:lnTo>
                        <a:pt x="1452" y="218"/>
                      </a:lnTo>
                      <a:lnTo>
                        <a:pt x="1454" y="218"/>
                      </a:lnTo>
                      <a:lnTo>
                        <a:pt x="1454" y="216"/>
                      </a:lnTo>
                      <a:lnTo>
                        <a:pt x="1452" y="209"/>
                      </a:lnTo>
                      <a:lnTo>
                        <a:pt x="1444" y="204"/>
                      </a:lnTo>
                      <a:lnTo>
                        <a:pt x="1435" y="200"/>
                      </a:lnTo>
                      <a:lnTo>
                        <a:pt x="1435" y="200"/>
                      </a:lnTo>
                      <a:lnTo>
                        <a:pt x="1428" y="197"/>
                      </a:lnTo>
                      <a:lnTo>
                        <a:pt x="1425" y="193"/>
                      </a:lnTo>
                      <a:lnTo>
                        <a:pt x="1423" y="190"/>
                      </a:lnTo>
                      <a:lnTo>
                        <a:pt x="1419" y="190"/>
                      </a:lnTo>
                      <a:lnTo>
                        <a:pt x="1419" y="190"/>
                      </a:lnTo>
                      <a:lnTo>
                        <a:pt x="1412" y="188"/>
                      </a:lnTo>
                      <a:lnTo>
                        <a:pt x="1409" y="185"/>
                      </a:lnTo>
                      <a:lnTo>
                        <a:pt x="1405" y="183"/>
                      </a:lnTo>
                      <a:lnTo>
                        <a:pt x="1404" y="183"/>
                      </a:lnTo>
                      <a:lnTo>
                        <a:pt x="1400" y="185"/>
                      </a:lnTo>
                      <a:lnTo>
                        <a:pt x="1395" y="188"/>
                      </a:lnTo>
                      <a:lnTo>
                        <a:pt x="1395" y="188"/>
                      </a:lnTo>
                      <a:lnTo>
                        <a:pt x="1391" y="192"/>
                      </a:lnTo>
                      <a:lnTo>
                        <a:pt x="1391" y="193"/>
                      </a:lnTo>
                      <a:lnTo>
                        <a:pt x="1391" y="197"/>
                      </a:lnTo>
                      <a:lnTo>
                        <a:pt x="1393" y="199"/>
                      </a:lnTo>
                      <a:lnTo>
                        <a:pt x="1395" y="200"/>
                      </a:lnTo>
                      <a:lnTo>
                        <a:pt x="1390" y="202"/>
                      </a:lnTo>
                      <a:lnTo>
                        <a:pt x="1390" y="202"/>
                      </a:lnTo>
                      <a:lnTo>
                        <a:pt x="1385" y="206"/>
                      </a:lnTo>
                      <a:lnTo>
                        <a:pt x="1381" y="209"/>
                      </a:lnTo>
                      <a:lnTo>
                        <a:pt x="1379" y="213"/>
                      </a:lnTo>
                      <a:lnTo>
                        <a:pt x="1379" y="218"/>
                      </a:lnTo>
                      <a:lnTo>
                        <a:pt x="1378" y="228"/>
                      </a:lnTo>
                      <a:lnTo>
                        <a:pt x="1376" y="230"/>
                      </a:lnTo>
                      <a:lnTo>
                        <a:pt x="1374" y="232"/>
                      </a:lnTo>
                      <a:lnTo>
                        <a:pt x="1374" y="232"/>
                      </a:lnTo>
                      <a:lnTo>
                        <a:pt x="1372" y="230"/>
                      </a:lnTo>
                      <a:lnTo>
                        <a:pt x="1371" y="226"/>
                      </a:lnTo>
                      <a:lnTo>
                        <a:pt x="1371" y="219"/>
                      </a:lnTo>
                      <a:lnTo>
                        <a:pt x="1371" y="216"/>
                      </a:lnTo>
                      <a:lnTo>
                        <a:pt x="1371" y="214"/>
                      </a:lnTo>
                      <a:lnTo>
                        <a:pt x="1367" y="218"/>
                      </a:lnTo>
                      <a:lnTo>
                        <a:pt x="1362" y="225"/>
                      </a:lnTo>
                      <a:lnTo>
                        <a:pt x="1362" y="225"/>
                      </a:lnTo>
                      <a:lnTo>
                        <a:pt x="1355" y="232"/>
                      </a:lnTo>
                      <a:lnTo>
                        <a:pt x="1351" y="233"/>
                      </a:lnTo>
                      <a:lnTo>
                        <a:pt x="1350" y="235"/>
                      </a:lnTo>
                      <a:lnTo>
                        <a:pt x="1351" y="242"/>
                      </a:lnTo>
                      <a:lnTo>
                        <a:pt x="1351" y="242"/>
                      </a:lnTo>
                      <a:lnTo>
                        <a:pt x="1351" y="249"/>
                      </a:lnTo>
                      <a:lnTo>
                        <a:pt x="1350" y="253"/>
                      </a:lnTo>
                      <a:lnTo>
                        <a:pt x="1346" y="261"/>
                      </a:lnTo>
                      <a:lnTo>
                        <a:pt x="1343" y="267"/>
                      </a:lnTo>
                      <a:lnTo>
                        <a:pt x="1343" y="270"/>
                      </a:lnTo>
                      <a:lnTo>
                        <a:pt x="1344" y="273"/>
                      </a:lnTo>
                      <a:lnTo>
                        <a:pt x="1344" y="273"/>
                      </a:lnTo>
                      <a:lnTo>
                        <a:pt x="1344" y="280"/>
                      </a:lnTo>
                      <a:lnTo>
                        <a:pt x="1343" y="284"/>
                      </a:lnTo>
                      <a:lnTo>
                        <a:pt x="1341" y="287"/>
                      </a:lnTo>
                      <a:lnTo>
                        <a:pt x="1344" y="298"/>
                      </a:lnTo>
                      <a:lnTo>
                        <a:pt x="1344" y="298"/>
                      </a:lnTo>
                      <a:lnTo>
                        <a:pt x="1348" y="308"/>
                      </a:lnTo>
                      <a:lnTo>
                        <a:pt x="1350" y="319"/>
                      </a:lnTo>
                      <a:lnTo>
                        <a:pt x="1351" y="327"/>
                      </a:lnTo>
                      <a:lnTo>
                        <a:pt x="1351" y="336"/>
                      </a:lnTo>
                      <a:lnTo>
                        <a:pt x="1350" y="343"/>
                      </a:lnTo>
                      <a:lnTo>
                        <a:pt x="1346" y="352"/>
                      </a:lnTo>
                      <a:lnTo>
                        <a:pt x="1339" y="367"/>
                      </a:lnTo>
                      <a:lnTo>
                        <a:pt x="1339" y="367"/>
                      </a:lnTo>
                      <a:lnTo>
                        <a:pt x="1334" y="374"/>
                      </a:lnTo>
                      <a:lnTo>
                        <a:pt x="1329" y="380"/>
                      </a:lnTo>
                      <a:lnTo>
                        <a:pt x="1325" y="383"/>
                      </a:lnTo>
                      <a:lnTo>
                        <a:pt x="1320" y="385"/>
                      </a:lnTo>
                      <a:lnTo>
                        <a:pt x="1315" y="385"/>
                      </a:lnTo>
                      <a:lnTo>
                        <a:pt x="1310" y="383"/>
                      </a:lnTo>
                      <a:lnTo>
                        <a:pt x="1304" y="378"/>
                      </a:lnTo>
                      <a:lnTo>
                        <a:pt x="1299" y="371"/>
                      </a:lnTo>
                      <a:lnTo>
                        <a:pt x="1299" y="371"/>
                      </a:lnTo>
                      <a:lnTo>
                        <a:pt x="1296" y="364"/>
                      </a:lnTo>
                      <a:lnTo>
                        <a:pt x="1294" y="357"/>
                      </a:lnTo>
                      <a:lnTo>
                        <a:pt x="1294" y="347"/>
                      </a:lnTo>
                      <a:lnTo>
                        <a:pt x="1294" y="336"/>
                      </a:lnTo>
                      <a:lnTo>
                        <a:pt x="1294" y="329"/>
                      </a:lnTo>
                      <a:lnTo>
                        <a:pt x="1294" y="322"/>
                      </a:lnTo>
                      <a:lnTo>
                        <a:pt x="1294" y="322"/>
                      </a:lnTo>
                      <a:lnTo>
                        <a:pt x="1292" y="310"/>
                      </a:lnTo>
                      <a:lnTo>
                        <a:pt x="1294" y="303"/>
                      </a:lnTo>
                      <a:lnTo>
                        <a:pt x="1296" y="294"/>
                      </a:lnTo>
                      <a:lnTo>
                        <a:pt x="1297" y="282"/>
                      </a:lnTo>
                      <a:lnTo>
                        <a:pt x="1297" y="282"/>
                      </a:lnTo>
                      <a:lnTo>
                        <a:pt x="1297" y="273"/>
                      </a:lnTo>
                      <a:lnTo>
                        <a:pt x="1299" y="270"/>
                      </a:lnTo>
                      <a:lnTo>
                        <a:pt x="1301" y="267"/>
                      </a:lnTo>
                      <a:lnTo>
                        <a:pt x="1303" y="265"/>
                      </a:lnTo>
                      <a:lnTo>
                        <a:pt x="1306" y="263"/>
                      </a:lnTo>
                      <a:lnTo>
                        <a:pt x="1304" y="260"/>
                      </a:lnTo>
                      <a:lnTo>
                        <a:pt x="1304" y="260"/>
                      </a:lnTo>
                      <a:lnTo>
                        <a:pt x="1304" y="256"/>
                      </a:lnTo>
                      <a:lnTo>
                        <a:pt x="1304" y="251"/>
                      </a:lnTo>
                      <a:lnTo>
                        <a:pt x="1308" y="242"/>
                      </a:lnTo>
                      <a:lnTo>
                        <a:pt x="1311" y="233"/>
                      </a:lnTo>
                      <a:lnTo>
                        <a:pt x="1310" y="230"/>
                      </a:lnTo>
                      <a:lnTo>
                        <a:pt x="1308" y="228"/>
                      </a:lnTo>
                      <a:lnTo>
                        <a:pt x="1308" y="228"/>
                      </a:lnTo>
                      <a:lnTo>
                        <a:pt x="1303" y="228"/>
                      </a:lnTo>
                      <a:lnTo>
                        <a:pt x="1301" y="230"/>
                      </a:lnTo>
                      <a:lnTo>
                        <a:pt x="1297" y="235"/>
                      </a:lnTo>
                      <a:lnTo>
                        <a:pt x="1294" y="242"/>
                      </a:lnTo>
                      <a:lnTo>
                        <a:pt x="1294" y="242"/>
                      </a:lnTo>
                      <a:lnTo>
                        <a:pt x="1290" y="244"/>
                      </a:lnTo>
                      <a:lnTo>
                        <a:pt x="1289" y="244"/>
                      </a:lnTo>
                      <a:lnTo>
                        <a:pt x="1289" y="237"/>
                      </a:lnTo>
                      <a:lnTo>
                        <a:pt x="1292" y="228"/>
                      </a:lnTo>
                      <a:lnTo>
                        <a:pt x="1294" y="225"/>
                      </a:lnTo>
                      <a:lnTo>
                        <a:pt x="1297" y="223"/>
                      </a:lnTo>
                      <a:lnTo>
                        <a:pt x="1297" y="223"/>
                      </a:lnTo>
                      <a:lnTo>
                        <a:pt x="1301" y="219"/>
                      </a:lnTo>
                      <a:lnTo>
                        <a:pt x="1301" y="218"/>
                      </a:lnTo>
                      <a:lnTo>
                        <a:pt x="1303" y="214"/>
                      </a:lnTo>
                      <a:lnTo>
                        <a:pt x="1306" y="209"/>
                      </a:lnTo>
                      <a:lnTo>
                        <a:pt x="1306" y="209"/>
                      </a:lnTo>
                      <a:lnTo>
                        <a:pt x="1313" y="199"/>
                      </a:lnTo>
                      <a:lnTo>
                        <a:pt x="1318" y="186"/>
                      </a:lnTo>
                      <a:lnTo>
                        <a:pt x="1324" y="178"/>
                      </a:lnTo>
                      <a:lnTo>
                        <a:pt x="1325" y="178"/>
                      </a:lnTo>
                      <a:lnTo>
                        <a:pt x="1325" y="179"/>
                      </a:lnTo>
                      <a:lnTo>
                        <a:pt x="1325" y="179"/>
                      </a:lnTo>
                      <a:lnTo>
                        <a:pt x="1327" y="181"/>
                      </a:lnTo>
                      <a:lnTo>
                        <a:pt x="1329" y="183"/>
                      </a:lnTo>
                      <a:lnTo>
                        <a:pt x="1332" y="179"/>
                      </a:lnTo>
                      <a:lnTo>
                        <a:pt x="1336" y="178"/>
                      </a:lnTo>
                      <a:lnTo>
                        <a:pt x="1338" y="179"/>
                      </a:lnTo>
                      <a:lnTo>
                        <a:pt x="1338" y="183"/>
                      </a:lnTo>
                      <a:lnTo>
                        <a:pt x="1338" y="183"/>
                      </a:lnTo>
                      <a:lnTo>
                        <a:pt x="1336" y="186"/>
                      </a:lnTo>
                      <a:lnTo>
                        <a:pt x="1338" y="188"/>
                      </a:lnTo>
                      <a:lnTo>
                        <a:pt x="1341" y="183"/>
                      </a:lnTo>
                      <a:lnTo>
                        <a:pt x="1348" y="176"/>
                      </a:lnTo>
                      <a:lnTo>
                        <a:pt x="1351" y="172"/>
                      </a:lnTo>
                      <a:lnTo>
                        <a:pt x="1357" y="172"/>
                      </a:lnTo>
                      <a:lnTo>
                        <a:pt x="1357" y="172"/>
                      </a:lnTo>
                      <a:lnTo>
                        <a:pt x="1364" y="172"/>
                      </a:lnTo>
                      <a:lnTo>
                        <a:pt x="1369" y="171"/>
                      </a:lnTo>
                      <a:lnTo>
                        <a:pt x="1374" y="167"/>
                      </a:lnTo>
                      <a:lnTo>
                        <a:pt x="1376" y="166"/>
                      </a:lnTo>
                      <a:lnTo>
                        <a:pt x="1379" y="166"/>
                      </a:lnTo>
                      <a:lnTo>
                        <a:pt x="1386" y="169"/>
                      </a:lnTo>
                      <a:lnTo>
                        <a:pt x="1395" y="174"/>
                      </a:lnTo>
                      <a:lnTo>
                        <a:pt x="1395" y="174"/>
                      </a:lnTo>
                      <a:lnTo>
                        <a:pt x="1400" y="176"/>
                      </a:lnTo>
                      <a:lnTo>
                        <a:pt x="1404" y="178"/>
                      </a:lnTo>
                      <a:lnTo>
                        <a:pt x="1404" y="176"/>
                      </a:lnTo>
                      <a:lnTo>
                        <a:pt x="1405" y="174"/>
                      </a:lnTo>
                      <a:lnTo>
                        <a:pt x="1405" y="169"/>
                      </a:lnTo>
                      <a:lnTo>
                        <a:pt x="1407" y="169"/>
                      </a:lnTo>
                      <a:lnTo>
                        <a:pt x="1409" y="169"/>
                      </a:lnTo>
                      <a:lnTo>
                        <a:pt x="1409" y="169"/>
                      </a:lnTo>
                      <a:lnTo>
                        <a:pt x="1416" y="172"/>
                      </a:lnTo>
                      <a:lnTo>
                        <a:pt x="1425" y="174"/>
                      </a:lnTo>
                      <a:lnTo>
                        <a:pt x="1430" y="172"/>
                      </a:lnTo>
                      <a:lnTo>
                        <a:pt x="1432" y="171"/>
                      </a:lnTo>
                      <a:lnTo>
                        <a:pt x="1432" y="167"/>
                      </a:lnTo>
                      <a:lnTo>
                        <a:pt x="1432" y="167"/>
                      </a:lnTo>
                      <a:lnTo>
                        <a:pt x="1428" y="164"/>
                      </a:lnTo>
                      <a:lnTo>
                        <a:pt x="1425" y="162"/>
                      </a:lnTo>
                      <a:lnTo>
                        <a:pt x="1423" y="160"/>
                      </a:lnTo>
                      <a:lnTo>
                        <a:pt x="1421" y="153"/>
                      </a:lnTo>
                      <a:lnTo>
                        <a:pt x="1421" y="153"/>
                      </a:lnTo>
                      <a:lnTo>
                        <a:pt x="1419" y="150"/>
                      </a:lnTo>
                      <a:lnTo>
                        <a:pt x="1419" y="148"/>
                      </a:lnTo>
                      <a:lnTo>
                        <a:pt x="1414" y="148"/>
                      </a:lnTo>
                      <a:lnTo>
                        <a:pt x="1407" y="150"/>
                      </a:lnTo>
                      <a:lnTo>
                        <a:pt x="1397" y="146"/>
                      </a:lnTo>
                      <a:lnTo>
                        <a:pt x="1397" y="146"/>
                      </a:lnTo>
                      <a:lnTo>
                        <a:pt x="1395" y="145"/>
                      </a:lnTo>
                      <a:lnTo>
                        <a:pt x="1393" y="143"/>
                      </a:lnTo>
                      <a:lnTo>
                        <a:pt x="1395" y="136"/>
                      </a:lnTo>
                      <a:lnTo>
                        <a:pt x="1395" y="132"/>
                      </a:lnTo>
                      <a:lnTo>
                        <a:pt x="1393" y="132"/>
                      </a:lnTo>
                      <a:lnTo>
                        <a:pt x="1391" y="134"/>
                      </a:lnTo>
                      <a:lnTo>
                        <a:pt x="1391" y="134"/>
                      </a:lnTo>
                      <a:lnTo>
                        <a:pt x="1381" y="136"/>
                      </a:lnTo>
                      <a:lnTo>
                        <a:pt x="1367" y="138"/>
                      </a:lnTo>
                      <a:lnTo>
                        <a:pt x="1355" y="139"/>
                      </a:lnTo>
                      <a:lnTo>
                        <a:pt x="1350" y="141"/>
                      </a:lnTo>
                      <a:lnTo>
                        <a:pt x="1344" y="143"/>
                      </a:lnTo>
                      <a:lnTo>
                        <a:pt x="1344" y="143"/>
                      </a:lnTo>
                      <a:lnTo>
                        <a:pt x="1339" y="148"/>
                      </a:lnTo>
                      <a:lnTo>
                        <a:pt x="1332" y="148"/>
                      </a:lnTo>
                      <a:lnTo>
                        <a:pt x="1327" y="146"/>
                      </a:lnTo>
                      <a:lnTo>
                        <a:pt x="1318" y="146"/>
                      </a:lnTo>
                      <a:lnTo>
                        <a:pt x="1318" y="146"/>
                      </a:lnTo>
                      <a:lnTo>
                        <a:pt x="1315" y="146"/>
                      </a:lnTo>
                      <a:lnTo>
                        <a:pt x="1311" y="145"/>
                      </a:lnTo>
                      <a:lnTo>
                        <a:pt x="1306" y="138"/>
                      </a:lnTo>
                      <a:lnTo>
                        <a:pt x="1301" y="131"/>
                      </a:lnTo>
                      <a:lnTo>
                        <a:pt x="1297" y="127"/>
                      </a:lnTo>
                      <a:lnTo>
                        <a:pt x="1292" y="125"/>
                      </a:lnTo>
                      <a:lnTo>
                        <a:pt x="1292" y="125"/>
                      </a:lnTo>
                      <a:lnTo>
                        <a:pt x="1287" y="124"/>
                      </a:lnTo>
                      <a:lnTo>
                        <a:pt x="1284" y="124"/>
                      </a:lnTo>
                      <a:lnTo>
                        <a:pt x="1278" y="127"/>
                      </a:lnTo>
                      <a:lnTo>
                        <a:pt x="1275" y="129"/>
                      </a:lnTo>
                      <a:lnTo>
                        <a:pt x="1273" y="129"/>
                      </a:lnTo>
                      <a:lnTo>
                        <a:pt x="1273" y="127"/>
                      </a:lnTo>
                      <a:lnTo>
                        <a:pt x="1271" y="122"/>
                      </a:lnTo>
                      <a:lnTo>
                        <a:pt x="1271" y="122"/>
                      </a:lnTo>
                      <a:lnTo>
                        <a:pt x="1270" y="115"/>
                      </a:lnTo>
                      <a:lnTo>
                        <a:pt x="1268" y="112"/>
                      </a:lnTo>
                      <a:lnTo>
                        <a:pt x="1266" y="112"/>
                      </a:lnTo>
                      <a:lnTo>
                        <a:pt x="1261" y="115"/>
                      </a:lnTo>
                      <a:lnTo>
                        <a:pt x="1250" y="122"/>
                      </a:lnTo>
                      <a:lnTo>
                        <a:pt x="1250" y="122"/>
                      </a:lnTo>
                      <a:lnTo>
                        <a:pt x="1247" y="127"/>
                      </a:lnTo>
                      <a:lnTo>
                        <a:pt x="1243" y="129"/>
                      </a:lnTo>
                      <a:lnTo>
                        <a:pt x="1237" y="131"/>
                      </a:lnTo>
                      <a:lnTo>
                        <a:pt x="1230" y="131"/>
                      </a:lnTo>
                      <a:lnTo>
                        <a:pt x="1226" y="132"/>
                      </a:lnTo>
                      <a:lnTo>
                        <a:pt x="1221" y="136"/>
                      </a:lnTo>
                      <a:lnTo>
                        <a:pt x="1221" y="136"/>
                      </a:lnTo>
                      <a:lnTo>
                        <a:pt x="1210" y="141"/>
                      </a:lnTo>
                      <a:lnTo>
                        <a:pt x="1203" y="141"/>
                      </a:lnTo>
                      <a:lnTo>
                        <a:pt x="1198" y="141"/>
                      </a:lnTo>
                      <a:lnTo>
                        <a:pt x="1190" y="141"/>
                      </a:lnTo>
                      <a:lnTo>
                        <a:pt x="1190" y="141"/>
                      </a:lnTo>
                      <a:lnTo>
                        <a:pt x="1186" y="141"/>
                      </a:lnTo>
                      <a:lnTo>
                        <a:pt x="1186" y="139"/>
                      </a:lnTo>
                      <a:lnTo>
                        <a:pt x="1188" y="134"/>
                      </a:lnTo>
                      <a:lnTo>
                        <a:pt x="1191" y="127"/>
                      </a:lnTo>
                      <a:lnTo>
                        <a:pt x="1191" y="125"/>
                      </a:lnTo>
                      <a:lnTo>
                        <a:pt x="1188" y="124"/>
                      </a:lnTo>
                      <a:lnTo>
                        <a:pt x="1188" y="124"/>
                      </a:lnTo>
                      <a:lnTo>
                        <a:pt x="1184" y="124"/>
                      </a:lnTo>
                      <a:lnTo>
                        <a:pt x="1179" y="125"/>
                      </a:lnTo>
                      <a:lnTo>
                        <a:pt x="1170" y="131"/>
                      </a:lnTo>
                      <a:lnTo>
                        <a:pt x="1160" y="136"/>
                      </a:lnTo>
                      <a:lnTo>
                        <a:pt x="1155" y="136"/>
                      </a:lnTo>
                      <a:lnTo>
                        <a:pt x="1149" y="136"/>
                      </a:lnTo>
                      <a:lnTo>
                        <a:pt x="1149" y="136"/>
                      </a:lnTo>
                      <a:lnTo>
                        <a:pt x="1146" y="134"/>
                      </a:lnTo>
                      <a:lnTo>
                        <a:pt x="1144" y="132"/>
                      </a:lnTo>
                      <a:lnTo>
                        <a:pt x="1146" y="129"/>
                      </a:lnTo>
                      <a:lnTo>
                        <a:pt x="1149" y="125"/>
                      </a:lnTo>
                      <a:lnTo>
                        <a:pt x="1160" y="117"/>
                      </a:lnTo>
                      <a:lnTo>
                        <a:pt x="1174" y="105"/>
                      </a:lnTo>
                      <a:lnTo>
                        <a:pt x="1174" y="105"/>
                      </a:lnTo>
                      <a:lnTo>
                        <a:pt x="1186" y="94"/>
                      </a:lnTo>
                      <a:lnTo>
                        <a:pt x="1196" y="87"/>
                      </a:lnTo>
                      <a:lnTo>
                        <a:pt x="1233" y="70"/>
                      </a:lnTo>
                      <a:lnTo>
                        <a:pt x="1233" y="70"/>
                      </a:lnTo>
                      <a:lnTo>
                        <a:pt x="1223" y="70"/>
                      </a:lnTo>
                      <a:lnTo>
                        <a:pt x="1219" y="68"/>
                      </a:lnTo>
                      <a:lnTo>
                        <a:pt x="1214" y="66"/>
                      </a:lnTo>
                      <a:lnTo>
                        <a:pt x="1203" y="66"/>
                      </a:lnTo>
                      <a:lnTo>
                        <a:pt x="1203" y="66"/>
                      </a:lnTo>
                      <a:lnTo>
                        <a:pt x="1196" y="66"/>
                      </a:lnTo>
                      <a:lnTo>
                        <a:pt x="1193" y="65"/>
                      </a:lnTo>
                      <a:lnTo>
                        <a:pt x="1190" y="61"/>
                      </a:lnTo>
                      <a:lnTo>
                        <a:pt x="1188" y="61"/>
                      </a:lnTo>
                      <a:lnTo>
                        <a:pt x="1186" y="61"/>
                      </a:lnTo>
                      <a:lnTo>
                        <a:pt x="1174" y="66"/>
                      </a:lnTo>
                      <a:lnTo>
                        <a:pt x="1174" y="66"/>
                      </a:lnTo>
                      <a:lnTo>
                        <a:pt x="1169" y="68"/>
                      </a:lnTo>
                      <a:lnTo>
                        <a:pt x="1163" y="66"/>
                      </a:lnTo>
                      <a:lnTo>
                        <a:pt x="1158" y="65"/>
                      </a:lnTo>
                      <a:lnTo>
                        <a:pt x="1155" y="61"/>
                      </a:lnTo>
                      <a:lnTo>
                        <a:pt x="1148" y="54"/>
                      </a:lnTo>
                      <a:lnTo>
                        <a:pt x="1144" y="52"/>
                      </a:lnTo>
                      <a:lnTo>
                        <a:pt x="1139" y="54"/>
                      </a:lnTo>
                      <a:lnTo>
                        <a:pt x="1139" y="54"/>
                      </a:lnTo>
                      <a:lnTo>
                        <a:pt x="1134" y="58"/>
                      </a:lnTo>
                      <a:lnTo>
                        <a:pt x="1132" y="54"/>
                      </a:lnTo>
                      <a:lnTo>
                        <a:pt x="1132" y="51"/>
                      </a:lnTo>
                      <a:lnTo>
                        <a:pt x="1129" y="49"/>
                      </a:lnTo>
                      <a:lnTo>
                        <a:pt x="1123" y="45"/>
                      </a:lnTo>
                      <a:lnTo>
                        <a:pt x="1116" y="42"/>
                      </a:lnTo>
                      <a:lnTo>
                        <a:pt x="1116" y="42"/>
                      </a:lnTo>
                      <a:lnTo>
                        <a:pt x="1108" y="40"/>
                      </a:lnTo>
                      <a:lnTo>
                        <a:pt x="1102" y="40"/>
                      </a:lnTo>
                      <a:lnTo>
                        <a:pt x="1097" y="40"/>
                      </a:lnTo>
                      <a:lnTo>
                        <a:pt x="1094" y="42"/>
                      </a:lnTo>
                      <a:lnTo>
                        <a:pt x="1089" y="45"/>
                      </a:lnTo>
                      <a:lnTo>
                        <a:pt x="1087" y="45"/>
                      </a:lnTo>
                      <a:lnTo>
                        <a:pt x="1085" y="42"/>
                      </a:lnTo>
                      <a:lnTo>
                        <a:pt x="1085" y="42"/>
                      </a:lnTo>
                      <a:lnTo>
                        <a:pt x="1082" y="40"/>
                      </a:lnTo>
                      <a:lnTo>
                        <a:pt x="1076" y="38"/>
                      </a:lnTo>
                      <a:lnTo>
                        <a:pt x="1068" y="37"/>
                      </a:lnTo>
                      <a:lnTo>
                        <a:pt x="1062" y="35"/>
                      </a:lnTo>
                      <a:lnTo>
                        <a:pt x="1059" y="33"/>
                      </a:lnTo>
                      <a:lnTo>
                        <a:pt x="1055" y="30"/>
                      </a:lnTo>
                      <a:lnTo>
                        <a:pt x="1054" y="24"/>
                      </a:lnTo>
                      <a:lnTo>
                        <a:pt x="1054" y="24"/>
                      </a:lnTo>
                      <a:lnTo>
                        <a:pt x="1050" y="7"/>
                      </a:lnTo>
                      <a:lnTo>
                        <a:pt x="1048" y="4"/>
                      </a:lnTo>
                      <a:lnTo>
                        <a:pt x="1043" y="0"/>
                      </a:lnTo>
                      <a:lnTo>
                        <a:pt x="1043" y="0"/>
                      </a:lnTo>
                      <a:lnTo>
                        <a:pt x="1040" y="0"/>
                      </a:lnTo>
                      <a:lnTo>
                        <a:pt x="1038" y="2"/>
                      </a:lnTo>
                      <a:lnTo>
                        <a:pt x="1038" y="9"/>
                      </a:lnTo>
                      <a:lnTo>
                        <a:pt x="1038" y="16"/>
                      </a:lnTo>
                      <a:lnTo>
                        <a:pt x="1038" y="19"/>
                      </a:lnTo>
                      <a:lnTo>
                        <a:pt x="1036" y="19"/>
                      </a:lnTo>
                      <a:lnTo>
                        <a:pt x="70" y="19"/>
                      </a:lnTo>
                      <a:lnTo>
                        <a:pt x="70" y="19"/>
                      </a:lnTo>
                      <a:lnTo>
                        <a:pt x="70" y="24"/>
                      </a:lnTo>
                      <a:lnTo>
                        <a:pt x="70" y="30"/>
                      </a:lnTo>
                      <a:lnTo>
                        <a:pt x="73" y="33"/>
                      </a:lnTo>
                      <a:lnTo>
                        <a:pt x="77" y="37"/>
                      </a:lnTo>
                      <a:lnTo>
                        <a:pt x="77" y="38"/>
                      </a:lnTo>
                      <a:lnTo>
                        <a:pt x="79" y="42"/>
                      </a:lnTo>
                      <a:lnTo>
                        <a:pt x="79" y="42"/>
                      </a:lnTo>
                      <a:lnTo>
                        <a:pt x="77" y="44"/>
                      </a:lnTo>
                      <a:lnTo>
                        <a:pt x="75" y="45"/>
                      </a:lnTo>
                      <a:lnTo>
                        <a:pt x="72" y="45"/>
                      </a:lnTo>
                      <a:lnTo>
                        <a:pt x="72" y="47"/>
                      </a:lnTo>
                      <a:lnTo>
                        <a:pt x="72" y="49"/>
                      </a:lnTo>
                      <a:lnTo>
                        <a:pt x="75" y="56"/>
                      </a:lnTo>
                      <a:lnTo>
                        <a:pt x="75" y="56"/>
                      </a:lnTo>
                      <a:lnTo>
                        <a:pt x="82" y="65"/>
                      </a:lnTo>
                      <a:lnTo>
                        <a:pt x="84" y="73"/>
                      </a:lnTo>
                      <a:lnTo>
                        <a:pt x="86" y="82"/>
                      </a:lnTo>
                      <a:lnTo>
                        <a:pt x="84" y="98"/>
                      </a:lnTo>
                      <a:lnTo>
                        <a:pt x="84" y="98"/>
                      </a:lnTo>
                      <a:lnTo>
                        <a:pt x="82" y="105"/>
                      </a:lnTo>
                      <a:lnTo>
                        <a:pt x="80" y="108"/>
                      </a:lnTo>
                      <a:lnTo>
                        <a:pt x="80" y="106"/>
                      </a:lnTo>
                      <a:lnTo>
                        <a:pt x="79" y="103"/>
                      </a:lnTo>
                      <a:lnTo>
                        <a:pt x="73" y="73"/>
                      </a:lnTo>
                      <a:lnTo>
                        <a:pt x="73" y="73"/>
                      </a:lnTo>
                      <a:lnTo>
                        <a:pt x="70" y="68"/>
                      </a:lnTo>
                      <a:lnTo>
                        <a:pt x="65" y="65"/>
                      </a:lnTo>
                      <a:lnTo>
                        <a:pt x="56" y="63"/>
                      </a:lnTo>
                      <a:lnTo>
                        <a:pt x="47" y="61"/>
                      </a:lnTo>
                      <a:lnTo>
                        <a:pt x="28" y="59"/>
                      </a:lnTo>
                      <a:lnTo>
                        <a:pt x="19" y="58"/>
                      </a:lnTo>
                      <a:lnTo>
                        <a:pt x="12" y="54"/>
                      </a:lnTo>
                      <a:lnTo>
                        <a:pt x="12" y="54"/>
                      </a:lnTo>
                      <a:lnTo>
                        <a:pt x="7" y="52"/>
                      </a:lnTo>
                      <a:lnTo>
                        <a:pt x="4" y="51"/>
                      </a:lnTo>
                      <a:lnTo>
                        <a:pt x="0" y="52"/>
                      </a:lnTo>
                      <a:lnTo>
                        <a:pt x="0" y="56"/>
                      </a:lnTo>
                      <a:lnTo>
                        <a:pt x="0" y="61"/>
                      </a:lnTo>
                      <a:lnTo>
                        <a:pt x="2" y="66"/>
                      </a:lnTo>
                      <a:lnTo>
                        <a:pt x="9" y="78"/>
                      </a:lnTo>
                      <a:lnTo>
                        <a:pt x="9" y="78"/>
                      </a:lnTo>
                      <a:lnTo>
                        <a:pt x="14" y="87"/>
                      </a:lnTo>
                      <a:lnTo>
                        <a:pt x="18" y="96"/>
                      </a:lnTo>
                      <a:lnTo>
                        <a:pt x="23" y="120"/>
                      </a:lnTo>
                      <a:lnTo>
                        <a:pt x="26" y="148"/>
                      </a:lnTo>
                      <a:lnTo>
                        <a:pt x="26" y="178"/>
                      </a:lnTo>
                      <a:lnTo>
                        <a:pt x="26" y="178"/>
                      </a:lnTo>
                      <a:lnTo>
                        <a:pt x="26" y="209"/>
                      </a:lnTo>
                      <a:lnTo>
                        <a:pt x="23" y="246"/>
                      </a:lnTo>
                      <a:lnTo>
                        <a:pt x="19" y="282"/>
                      </a:lnTo>
                      <a:lnTo>
                        <a:pt x="16" y="296"/>
                      </a:lnTo>
                      <a:lnTo>
                        <a:pt x="12" y="308"/>
                      </a:lnTo>
                      <a:lnTo>
                        <a:pt x="12" y="308"/>
                      </a:lnTo>
                      <a:lnTo>
                        <a:pt x="9" y="320"/>
                      </a:lnTo>
                      <a:lnTo>
                        <a:pt x="9" y="334"/>
                      </a:lnTo>
                      <a:lnTo>
                        <a:pt x="11" y="348"/>
                      </a:lnTo>
                      <a:lnTo>
                        <a:pt x="14" y="362"/>
                      </a:lnTo>
                      <a:lnTo>
                        <a:pt x="18" y="378"/>
                      </a:lnTo>
                      <a:lnTo>
                        <a:pt x="19" y="394"/>
                      </a:lnTo>
                      <a:lnTo>
                        <a:pt x="19" y="408"/>
                      </a:lnTo>
                      <a:lnTo>
                        <a:pt x="18" y="423"/>
                      </a:lnTo>
                      <a:lnTo>
                        <a:pt x="18" y="423"/>
                      </a:lnTo>
                      <a:lnTo>
                        <a:pt x="14" y="435"/>
                      </a:lnTo>
                      <a:lnTo>
                        <a:pt x="14" y="444"/>
                      </a:lnTo>
                      <a:lnTo>
                        <a:pt x="16" y="451"/>
                      </a:lnTo>
                      <a:lnTo>
                        <a:pt x="19" y="458"/>
                      </a:lnTo>
                      <a:lnTo>
                        <a:pt x="26" y="474"/>
                      </a:lnTo>
                      <a:lnTo>
                        <a:pt x="30" y="484"/>
                      </a:lnTo>
                      <a:lnTo>
                        <a:pt x="33" y="496"/>
                      </a:lnTo>
                      <a:lnTo>
                        <a:pt x="33" y="496"/>
                      </a:lnTo>
                      <a:lnTo>
                        <a:pt x="35" y="509"/>
                      </a:lnTo>
                      <a:lnTo>
                        <a:pt x="39" y="519"/>
                      </a:lnTo>
                      <a:lnTo>
                        <a:pt x="42" y="524"/>
                      </a:lnTo>
                      <a:lnTo>
                        <a:pt x="47" y="529"/>
                      </a:lnTo>
                      <a:lnTo>
                        <a:pt x="56" y="538"/>
                      </a:lnTo>
                      <a:lnTo>
                        <a:pt x="59" y="543"/>
                      </a:lnTo>
                      <a:lnTo>
                        <a:pt x="61" y="549"/>
                      </a:lnTo>
                      <a:lnTo>
                        <a:pt x="61" y="549"/>
                      </a:lnTo>
                      <a:lnTo>
                        <a:pt x="63" y="556"/>
                      </a:lnTo>
                      <a:lnTo>
                        <a:pt x="65" y="559"/>
                      </a:lnTo>
                      <a:lnTo>
                        <a:pt x="72" y="562"/>
                      </a:lnTo>
                      <a:lnTo>
                        <a:pt x="73" y="564"/>
                      </a:lnTo>
                      <a:lnTo>
                        <a:pt x="77" y="569"/>
                      </a:lnTo>
                      <a:lnTo>
                        <a:pt x="79" y="575"/>
                      </a:lnTo>
                      <a:lnTo>
                        <a:pt x="80" y="585"/>
                      </a:lnTo>
                      <a:lnTo>
                        <a:pt x="80" y="585"/>
                      </a:lnTo>
                      <a:lnTo>
                        <a:pt x="82" y="596"/>
                      </a:lnTo>
                      <a:lnTo>
                        <a:pt x="86" y="603"/>
                      </a:lnTo>
                      <a:lnTo>
                        <a:pt x="91" y="606"/>
                      </a:lnTo>
                      <a:lnTo>
                        <a:pt x="94" y="609"/>
                      </a:lnTo>
                      <a:lnTo>
                        <a:pt x="98" y="611"/>
                      </a:lnTo>
                      <a:lnTo>
                        <a:pt x="101" y="613"/>
                      </a:lnTo>
                      <a:lnTo>
                        <a:pt x="103" y="616"/>
                      </a:lnTo>
                      <a:lnTo>
                        <a:pt x="101" y="622"/>
                      </a:lnTo>
                      <a:lnTo>
                        <a:pt x="101" y="622"/>
                      </a:lnTo>
                      <a:lnTo>
                        <a:pt x="100" y="627"/>
                      </a:lnTo>
                      <a:lnTo>
                        <a:pt x="100" y="632"/>
                      </a:lnTo>
                      <a:lnTo>
                        <a:pt x="101" y="637"/>
                      </a:lnTo>
                      <a:lnTo>
                        <a:pt x="103" y="643"/>
                      </a:lnTo>
                      <a:lnTo>
                        <a:pt x="112" y="655"/>
                      </a:lnTo>
                      <a:lnTo>
                        <a:pt x="127" y="674"/>
                      </a:lnTo>
                      <a:lnTo>
                        <a:pt x="127" y="674"/>
                      </a:lnTo>
                      <a:lnTo>
                        <a:pt x="136" y="684"/>
                      </a:lnTo>
                      <a:lnTo>
                        <a:pt x="140" y="693"/>
                      </a:lnTo>
                      <a:lnTo>
                        <a:pt x="143" y="700"/>
                      </a:lnTo>
                      <a:lnTo>
                        <a:pt x="145" y="707"/>
                      </a:lnTo>
                      <a:lnTo>
                        <a:pt x="145" y="717"/>
                      </a:lnTo>
                      <a:lnTo>
                        <a:pt x="147" y="721"/>
                      </a:lnTo>
                      <a:lnTo>
                        <a:pt x="150" y="724"/>
                      </a:lnTo>
                      <a:lnTo>
                        <a:pt x="150" y="724"/>
                      </a:lnTo>
                      <a:lnTo>
                        <a:pt x="153" y="726"/>
                      </a:lnTo>
                      <a:lnTo>
                        <a:pt x="159" y="728"/>
                      </a:lnTo>
                      <a:lnTo>
                        <a:pt x="171" y="731"/>
                      </a:lnTo>
                      <a:lnTo>
                        <a:pt x="180" y="733"/>
                      </a:lnTo>
                      <a:lnTo>
                        <a:pt x="187" y="735"/>
                      </a:lnTo>
                      <a:lnTo>
                        <a:pt x="195" y="740"/>
                      </a:lnTo>
                      <a:lnTo>
                        <a:pt x="204" y="747"/>
                      </a:lnTo>
                      <a:lnTo>
                        <a:pt x="204" y="747"/>
                      </a:lnTo>
                      <a:lnTo>
                        <a:pt x="213" y="754"/>
                      </a:lnTo>
                      <a:lnTo>
                        <a:pt x="218" y="757"/>
                      </a:lnTo>
                      <a:lnTo>
                        <a:pt x="228" y="761"/>
                      </a:lnTo>
                      <a:lnTo>
                        <a:pt x="237" y="764"/>
                      </a:lnTo>
                      <a:lnTo>
                        <a:pt x="242" y="766"/>
                      </a:lnTo>
                      <a:lnTo>
                        <a:pt x="249" y="773"/>
                      </a:lnTo>
                      <a:lnTo>
                        <a:pt x="249" y="773"/>
                      </a:lnTo>
                      <a:lnTo>
                        <a:pt x="254" y="778"/>
                      </a:lnTo>
                      <a:lnTo>
                        <a:pt x="260" y="785"/>
                      </a:lnTo>
                      <a:lnTo>
                        <a:pt x="263" y="794"/>
                      </a:lnTo>
                      <a:lnTo>
                        <a:pt x="265" y="804"/>
                      </a:lnTo>
                      <a:lnTo>
                        <a:pt x="268" y="815"/>
                      </a:lnTo>
                      <a:lnTo>
                        <a:pt x="268" y="815"/>
                      </a:lnTo>
                      <a:lnTo>
                        <a:pt x="312" y="811"/>
                      </a:lnTo>
                      <a:lnTo>
                        <a:pt x="352" y="806"/>
                      </a:lnTo>
                      <a:lnTo>
                        <a:pt x="349" y="817"/>
                      </a:lnTo>
                      <a:lnTo>
                        <a:pt x="349" y="817"/>
                      </a:lnTo>
                      <a:lnTo>
                        <a:pt x="481" y="871"/>
                      </a:lnTo>
                      <a:lnTo>
                        <a:pt x="582" y="871"/>
                      </a:lnTo>
                      <a:lnTo>
                        <a:pt x="582" y="850"/>
                      </a:lnTo>
                      <a:lnTo>
                        <a:pt x="639" y="850"/>
                      </a:lnTo>
                      <a:lnTo>
                        <a:pt x="639" y="850"/>
                      </a:lnTo>
                      <a:lnTo>
                        <a:pt x="662" y="871"/>
                      </a:lnTo>
                      <a:lnTo>
                        <a:pt x="695" y="905"/>
                      </a:lnTo>
                      <a:lnTo>
                        <a:pt x="695" y="905"/>
                      </a:lnTo>
                      <a:lnTo>
                        <a:pt x="700" y="912"/>
                      </a:lnTo>
                      <a:lnTo>
                        <a:pt x="704" y="919"/>
                      </a:lnTo>
                      <a:lnTo>
                        <a:pt x="709" y="939"/>
                      </a:lnTo>
                      <a:lnTo>
                        <a:pt x="714" y="947"/>
                      </a:lnTo>
                      <a:lnTo>
                        <a:pt x="721" y="956"/>
                      </a:lnTo>
                      <a:lnTo>
                        <a:pt x="730" y="963"/>
                      </a:lnTo>
                      <a:lnTo>
                        <a:pt x="742" y="970"/>
                      </a:lnTo>
                      <a:lnTo>
                        <a:pt x="742" y="970"/>
                      </a:lnTo>
                      <a:lnTo>
                        <a:pt x="749" y="972"/>
                      </a:lnTo>
                      <a:lnTo>
                        <a:pt x="754" y="973"/>
                      </a:lnTo>
                      <a:lnTo>
                        <a:pt x="759" y="972"/>
                      </a:lnTo>
                      <a:lnTo>
                        <a:pt x="763" y="970"/>
                      </a:lnTo>
                      <a:lnTo>
                        <a:pt x="766" y="963"/>
                      </a:lnTo>
                      <a:lnTo>
                        <a:pt x="770" y="956"/>
                      </a:lnTo>
                      <a:lnTo>
                        <a:pt x="772" y="946"/>
                      </a:lnTo>
                      <a:lnTo>
                        <a:pt x="777" y="939"/>
                      </a:lnTo>
                      <a:lnTo>
                        <a:pt x="780" y="935"/>
                      </a:lnTo>
                      <a:lnTo>
                        <a:pt x="786" y="933"/>
                      </a:lnTo>
                      <a:lnTo>
                        <a:pt x="791" y="933"/>
                      </a:lnTo>
                      <a:lnTo>
                        <a:pt x="798" y="933"/>
                      </a:lnTo>
                      <a:lnTo>
                        <a:pt x="798" y="933"/>
                      </a:lnTo>
                      <a:lnTo>
                        <a:pt x="805" y="937"/>
                      </a:lnTo>
                      <a:lnTo>
                        <a:pt x="812" y="939"/>
                      </a:lnTo>
                      <a:lnTo>
                        <a:pt x="822" y="947"/>
                      </a:lnTo>
                      <a:lnTo>
                        <a:pt x="833" y="959"/>
                      </a:lnTo>
                      <a:lnTo>
                        <a:pt x="841" y="972"/>
                      </a:lnTo>
                      <a:lnTo>
                        <a:pt x="855" y="1001"/>
                      </a:lnTo>
                      <a:lnTo>
                        <a:pt x="864" y="1015"/>
                      </a:lnTo>
                      <a:lnTo>
                        <a:pt x="873" y="1027"/>
                      </a:lnTo>
                      <a:lnTo>
                        <a:pt x="873" y="1027"/>
                      </a:lnTo>
                      <a:lnTo>
                        <a:pt x="881" y="1040"/>
                      </a:lnTo>
                      <a:lnTo>
                        <a:pt x="888" y="1052"/>
                      </a:lnTo>
                      <a:lnTo>
                        <a:pt x="897" y="1076"/>
                      </a:lnTo>
                      <a:lnTo>
                        <a:pt x="902" y="1087"/>
                      </a:lnTo>
                      <a:lnTo>
                        <a:pt x="911" y="1097"/>
                      </a:lnTo>
                      <a:lnTo>
                        <a:pt x="916" y="1100"/>
                      </a:lnTo>
                      <a:lnTo>
                        <a:pt x="925" y="1104"/>
                      </a:lnTo>
                      <a:lnTo>
                        <a:pt x="934" y="1106"/>
                      </a:lnTo>
                      <a:lnTo>
                        <a:pt x="942" y="1109"/>
                      </a:lnTo>
                      <a:lnTo>
                        <a:pt x="942" y="1109"/>
                      </a:lnTo>
                      <a:lnTo>
                        <a:pt x="949" y="1111"/>
                      </a:lnTo>
                      <a:lnTo>
                        <a:pt x="954" y="1114"/>
                      </a:lnTo>
                      <a:lnTo>
                        <a:pt x="960" y="1118"/>
                      </a:lnTo>
                      <a:lnTo>
                        <a:pt x="961" y="1118"/>
                      </a:lnTo>
                      <a:lnTo>
                        <a:pt x="961" y="1118"/>
                      </a:lnTo>
                      <a:lnTo>
                        <a:pt x="961" y="1118"/>
                      </a:lnTo>
                      <a:lnTo>
                        <a:pt x="965" y="1114"/>
                      </a:lnTo>
                      <a:lnTo>
                        <a:pt x="968" y="1114"/>
                      </a:lnTo>
                      <a:lnTo>
                        <a:pt x="968" y="1114"/>
                      </a:lnTo>
                      <a:lnTo>
                        <a:pt x="967" y="1099"/>
                      </a:lnTo>
                      <a:lnTo>
                        <a:pt x="963" y="1081"/>
                      </a:lnTo>
                      <a:lnTo>
                        <a:pt x="961" y="1066"/>
                      </a:lnTo>
                      <a:lnTo>
                        <a:pt x="960" y="1053"/>
                      </a:lnTo>
                      <a:lnTo>
                        <a:pt x="960" y="1053"/>
                      </a:lnTo>
                      <a:lnTo>
                        <a:pt x="963" y="1045"/>
                      </a:lnTo>
                      <a:lnTo>
                        <a:pt x="967" y="1038"/>
                      </a:lnTo>
                      <a:lnTo>
                        <a:pt x="972" y="1031"/>
                      </a:lnTo>
                      <a:lnTo>
                        <a:pt x="975" y="1024"/>
                      </a:lnTo>
                      <a:lnTo>
                        <a:pt x="975" y="1024"/>
                      </a:lnTo>
                      <a:lnTo>
                        <a:pt x="977" y="1019"/>
                      </a:lnTo>
                      <a:lnTo>
                        <a:pt x="981" y="1015"/>
                      </a:lnTo>
                      <a:lnTo>
                        <a:pt x="989" y="1010"/>
                      </a:lnTo>
                      <a:lnTo>
                        <a:pt x="994" y="1006"/>
                      </a:lnTo>
                      <a:lnTo>
                        <a:pt x="996" y="1003"/>
                      </a:lnTo>
                      <a:lnTo>
                        <a:pt x="996" y="1001"/>
                      </a:lnTo>
                      <a:lnTo>
                        <a:pt x="996" y="1001"/>
                      </a:lnTo>
                      <a:lnTo>
                        <a:pt x="989" y="994"/>
                      </a:lnTo>
                      <a:lnTo>
                        <a:pt x="988" y="993"/>
                      </a:lnTo>
                      <a:lnTo>
                        <a:pt x="991" y="994"/>
                      </a:lnTo>
                      <a:lnTo>
                        <a:pt x="991" y="994"/>
                      </a:lnTo>
                      <a:lnTo>
                        <a:pt x="996" y="994"/>
                      </a:lnTo>
                      <a:lnTo>
                        <a:pt x="998" y="993"/>
                      </a:lnTo>
                      <a:lnTo>
                        <a:pt x="1000" y="993"/>
                      </a:lnTo>
                      <a:lnTo>
                        <a:pt x="1001" y="993"/>
                      </a:lnTo>
                      <a:lnTo>
                        <a:pt x="1001" y="993"/>
                      </a:lnTo>
                      <a:lnTo>
                        <a:pt x="1005" y="994"/>
                      </a:lnTo>
                      <a:lnTo>
                        <a:pt x="1008" y="994"/>
                      </a:lnTo>
                      <a:lnTo>
                        <a:pt x="1019" y="991"/>
                      </a:lnTo>
                      <a:lnTo>
                        <a:pt x="1029" y="984"/>
                      </a:lnTo>
                      <a:lnTo>
                        <a:pt x="1038" y="975"/>
                      </a:lnTo>
                      <a:lnTo>
                        <a:pt x="1038" y="975"/>
                      </a:lnTo>
                      <a:lnTo>
                        <a:pt x="1043" y="968"/>
                      </a:lnTo>
                      <a:lnTo>
                        <a:pt x="1048" y="965"/>
                      </a:lnTo>
                      <a:lnTo>
                        <a:pt x="1064" y="954"/>
                      </a:lnTo>
                      <a:lnTo>
                        <a:pt x="1064" y="954"/>
                      </a:lnTo>
                      <a:lnTo>
                        <a:pt x="1078" y="946"/>
                      </a:lnTo>
                      <a:lnTo>
                        <a:pt x="1085" y="942"/>
                      </a:lnTo>
                      <a:lnTo>
                        <a:pt x="1099" y="942"/>
                      </a:lnTo>
                      <a:lnTo>
                        <a:pt x="1099" y="942"/>
                      </a:lnTo>
                      <a:lnTo>
                        <a:pt x="1106" y="942"/>
                      </a:lnTo>
                      <a:lnTo>
                        <a:pt x="1113" y="944"/>
                      </a:lnTo>
                      <a:lnTo>
                        <a:pt x="1122" y="947"/>
                      </a:lnTo>
                      <a:lnTo>
                        <a:pt x="1130" y="951"/>
                      </a:lnTo>
                      <a:lnTo>
                        <a:pt x="1134" y="952"/>
                      </a:lnTo>
                      <a:lnTo>
                        <a:pt x="1139" y="952"/>
                      </a:lnTo>
                      <a:lnTo>
                        <a:pt x="1139" y="952"/>
                      </a:lnTo>
                      <a:lnTo>
                        <a:pt x="1146" y="951"/>
                      </a:lnTo>
                      <a:lnTo>
                        <a:pt x="1151" y="952"/>
                      </a:lnTo>
                      <a:lnTo>
                        <a:pt x="1153" y="954"/>
                      </a:lnTo>
                      <a:lnTo>
                        <a:pt x="1158" y="952"/>
                      </a:lnTo>
                      <a:lnTo>
                        <a:pt x="1158" y="952"/>
                      </a:lnTo>
                      <a:lnTo>
                        <a:pt x="1158" y="951"/>
                      </a:lnTo>
                      <a:lnTo>
                        <a:pt x="1156" y="951"/>
                      </a:lnTo>
                      <a:lnTo>
                        <a:pt x="1151" y="947"/>
                      </a:lnTo>
                      <a:lnTo>
                        <a:pt x="1146" y="946"/>
                      </a:lnTo>
                      <a:lnTo>
                        <a:pt x="1144" y="944"/>
                      </a:lnTo>
                      <a:lnTo>
                        <a:pt x="1148" y="942"/>
                      </a:lnTo>
                      <a:lnTo>
                        <a:pt x="1148" y="942"/>
                      </a:lnTo>
                      <a:lnTo>
                        <a:pt x="1155" y="940"/>
                      </a:lnTo>
                      <a:lnTo>
                        <a:pt x="1160" y="942"/>
                      </a:lnTo>
                      <a:lnTo>
                        <a:pt x="1163" y="946"/>
                      </a:lnTo>
                      <a:lnTo>
                        <a:pt x="1165" y="951"/>
                      </a:lnTo>
                      <a:lnTo>
                        <a:pt x="1165" y="951"/>
                      </a:lnTo>
                      <a:lnTo>
                        <a:pt x="1167" y="952"/>
                      </a:lnTo>
                      <a:lnTo>
                        <a:pt x="1169" y="952"/>
                      </a:lnTo>
                      <a:lnTo>
                        <a:pt x="1174" y="956"/>
                      </a:lnTo>
                      <a:lnTo>
                        <a:pt x="1177" y="958"/>
                      </a:lnTo>
                      <a:lnTo>
                        <a:pt x="1177" y="959"/>
                      </a:lnTo>
                      <a:lnTo>
                        <a:pt x="1176" y="961"/>
                      </a:lnTo>
                      <a:lnTo>
                        <a:pt x="1176" y="961"/>
                      </a:lnTo>
                      <a:lnTo>
                        <a:pt x="1174" y="963"/>
                      </a:lnTo>
                      <a:lnTo>
                        <a:pt x="1176" y="966"/>
                      </a:lnTo>
                      <a:lnTo>
                        <a:pt x="1183" y="968"/>
                      </a:lnTo>
                      <a:lnTo>
                        <a:pt x="1191" y="970"/>
                      </a:lnTo>
                      <a:lnTo>
                        <a:pt x="1196" y="970"/>
                      </a:lnTo>
                      <a:lnTo>
                        <a:pt x="1196" y="970"/>
                      </a:lnTo>
                      <a:lnTo>
                        <a:pt x="1200" y="966"/>
                      </a:lnTo>
                      <a:lnTo>
                        <a:pt x="1203" y="965"/>
                      </a:lnTo>
                      <a:lnTo>
                        <a:pt x="1207" y="965"/>
                      </a:lnTo>
                      <a:lnTo>
                        <a:pt x="1210" y="970"/>
                      </a:lnTo>
                      <a:lnTo>
                        <a:pt x="1210" y="970"/>
                      </a:lnTo>
                      <a:lnTo>
                        <a:pt x="1212" y="972"/>
                      </a:lnTo>
                      <a:lnTo>
                        <a:pt x="1214" y="972"/>
                      </a:lnTo>
                      <a:lnTo>
                        <a:pt x="1217" y="970"/>
                      </a:lnTo>
                      <a:lnTo>
                        <a:pt x="1219" y="965"/>
                      </a:lnTo>
                      <a:lnTo>
                        <a:pt x="1219" y="963"/>
                      </a:lnTo>
                      <a:lnTo>
                        <a:pt x="1219" y="959"/>
                      </a:lnTo>
                      <a:lnTo>
                        <a:pt x="1219" y="959"/>
                      </a:lnTo>
                      <a:lnTo>
                        <a:pt x="1217" y="956"/>
                      </a:lnTo>
                      <a:lnTo>
                        <a:pt x="1221" y="954"/>
                      </a:lnTo>
                      <a:lnTo>
                        <a:pt x="1226" y="958"/>
                      </a:lnTo>
                      <a:lnTo>
                        <a:pt x="1233" y="963"/>
                      </a:lnTo>
                      <a:lnTo>
                        <a:pt x="1233" y="963"/>
                      </a:lnTo>
                      <a:lnTo>
                        <a:pt x="1238" y="972"/>
                      </a:lnTo>
                      <a:lnTo>
                        <a:pt x="1240" y="977"/>
                      </a:lnTo>
                      <a:lnTo>
                        <a:pt x="1240" y="979"/>
                      </a:lnTo>
                      <a:lnTo>
                        <a:pt x="1242" y="979"/>
                      </a:lnTo>
                      <a:lnTo>
                        <a:pt x="1249" y="975"/>
                      </a:lnTo>
                      <a:lnTo>
                        <a:pt x="1249" y="975"/>
                      </a:lnTo>
                      <a:lnTo>
                        <a:pt x="1252" y="972"/>
                      </a:lnTo>
                      <a:lnTo>
                        <a:pt x="1252" y="968"/>
                      </a:lnTo>
                      <a:lnTo>
                        <a:pt x="1252" y="966"/>
                      </a:lnTo>
                      <a:lnTo>
                        <a:pt x="1250" y="965"/>
                      </a:lnTo>
                      <a:lnTo>
                        <a:pt x="1245" y="959"/>
                      </a:lnTo>
                      <a:lnTo>
                        <a:pt x="1237" y="954"/>
                      </a:lnTo>
                      <a:lnTo>
                        <a:pt x="1237" y="954"/>
                      </a:lnTo>
                      <a:lnTo>
                        <a:pt x="1233" y="952"/>
                      </a:lnTo>
                      <a:lnTo>
                        <a:pt x="1231" y="949"/>
                      </a:lnTo>
                      <a:lnTo>
                        <a:pt x="1233" y="947"/>
                      </a:lnTo>
                      <a:lnTo>
                        <a:pt x="1237" y="946"/>
                      </a:lnTo>
                      <a:lnTo>
                        <a:pt x="1242" y="942"/>
                      </a:lnTo>
                      <a:lnTo>
                        <a:pt x="1243" y="939"/>
                      </a:lnTo>
                      <a:lnTo>
                        <a:pt x="1243" y="935"/>
                      </a:lnTo>
                      <a:lnTo>
                        <a:pt x="1243" y="935"/>
                      </a:lnTo>
                      <a:lnTo>
                        <a:pt x="1242" y="932"/>
                      </a:lnTo>
                      <a:lnTo>
                        <a:pt x="1240" y="930"/>
                      </a:lnTo>
                      <a:lnTo>
                        <a:pt x="1237" y="932"/>
                      </a:lnTo>
                      <a:lnTo>
                        <a:pt x="1235" y="935"/>
                      </a:lnTo>
                      <a:lnTo>
                        <a:pt x="1233" y="937"/>
                      </a:lnTo>
                      <a:lnTo>
                        <a:pt x="1230" y="935"/>
                      </a:lnTo>
                      <a:lnTo>
                        <a:pt x="1230" y="935"/>
                      </a:lnTo>
                      <a:lnTo>
                        <a:pt x="1228" y="933"/>
                      </a:lnTo>
                      <a:lnTo>
                        <a:pt x="1228" y="933"/>
                      </a:lnTo>
                      <a:lnTo>
                        <a:pt x="1230" y="930"/>
                      </a:lnTo>
                      <a:lnTo>
                        <a:pt x="1231" y="928"/>
                      </a:lnTo>
                      <a:lnTo>
                        <a:pt x="1228" y="926"/>
                      </a:lnTo>
                      <a:lnTo>
                        <a:pt x="1228" y="926"/>
                      </a:lnTo>
                      <a:lnTo>
                        <a:pt x="1223" y="926"/>
                      </a:lnTo>
                      <a:lnTo>
                        <a:pt x="1221" y="928"/>
                      </a:lnTo>
                      <a:lnTo>
                        <a:pt x="1217" y="930"/>
                      </a:lnTo>
                      <a:lnTo>
                        <a:pt x="1210" y="928"/>
                      </a:lnTo>
                      <a:lnTo>
                        <a:pt x="1210" y="928"/>
                      </a:lnTo>
                      <a:lnTo>
                        <a:pt x="1207" y="926"/>
                      </a:lnTo>
                      <a:lnTo>
                        <a:pt x="1205" y="923"/>
                      </a:lnTo>
                      <a:lnTo>
                        <a:pt x="1205" y="921"/>
                      </a:lnTo>
                      <a:lnTo>
                        <a:pt x="1207" y="918"/>
                      </a:lnTo>
                      <a:lnTo>
                        <a:pt x="1209" y="916"/>
                      </a:lnTo>
                      <a:lnTo>
                        <a:pt x="1214" y="914"/>
                      </a:lnTo>
                      <a:lnTo>
                        <a:pt x="1217" y="914"/>
                      </a:lnTo>
                      <a:lnTo>
                        <a:pt x="1223" y="916"/>
                      </a:lnTo>
                      <a:lnTo>
                        <a:pt x="1223" y="916"/>
                      </a:lnTo>
                      <a:lnTo>
                        <a:pt x="1231" y="921"/>
                      </a:lnTo>
                      <a:lnTo>
                        <a:pt x="1237" y="921"/>
                      </a:lnTo>
                      <a:lnTo>
                        <a:pt x="1242" y="921"/>
                      </a:lnTo>
                      <a:lnTo>
                        <a:pt x="1249" y="916"/>
                      </a:lnTo>
                      <a:lnTo>
                        <a:pt x="1249" y="916"/>
                      </a:lnTo>
                      <a:lnTo>
                        <a:pt x="1254" y="914"/>
                      </a:lnTo>
                      <a:lnTo>
                        <a:pt x="1259" y="912"/>
                      </a:lnTo>
                      <a:lnTo>
                        <a:pt x="1271" y="914"/>
                      </a:lnTo>
                      <a:lnTo>
                        <a:pt x="1282" y="916"/>
                      </a:lnTo>
                      <a:lnTo>
                        <a:pt x="1285" y="916"/>
                      </a:lnTo>
                      <a:lnTo>
                        <a:pt x="1287" y="912"/>
                      </a:lnTo>
                      <a:lnTo>
                        <a:pt x="1287" y="912"/>
                      </a:lnTo>
                      <a:lnTo>
                        <a:pt x="1289" y="900"/>
                      </a:lnTo>
                      <a:lnTo>
                        <a:pt x="1289" y="900"/>
                      </a:lnTo>
                      <a:lnTo>
                        <a:pt x="1290" y="902"/>
                      </a:lnTo>
                      <a:lnTo>
                        <a:pt x="1296" y="911"/>
                      </a:lnTo>
                      <a:lnTo>
                        <a:pt x="1296" y="911"/>
                      </a:lnTo>
                      <a:lnTo>
                        <a:pt x="1296" y="914"/>
                      </a:lnTo>
                      <a:lnTo>
                        <a:pt x="1296" y="918"/>
                      </a:lnTo>
                      <a:lnTo>
                        <a:pt x="1290" y="921"/>
                      </a:lnTo>
                      <a:lnTo>
                        <a:pt x="1290" y="923"/>
                      </a:lnTo>
                      <a:lnTo>
                        <a:pt x="1297" y="921"/>
                      </a:lnTo>
                      <a:lnTo>
                        <a:pt x="1297" y="921"/>
                      </a:lnTo>
                      <a:lnTo>
                        <a:pt x="1327" y="914"/>
                      </a:lnTo>
                      <a:lnTo>
                        <a:pt x="1341" y="914"/>
                      </a:lnTo>
                      <a:lnTo>
                        <a:pt x="1351" y="916"/>
                      </a:lnTo>
                      <a:lnTo>
                        <a:pt x="1351" y="916"/>
                      </a:lnTo>
                      <a:lnTo>
                        <a:pt x="1367" y="921"/>
                      </a:lnTo>
                      <a:lnTo>
                        <a:pt x="1371" y="923"/>
                      </a:lnTo>
                      <a:lnTo>
                        <a:pt x="1372" y="926"/>
                      </a:lnTo>
                      <a:lnTo>
                        <a:pt x="1372" y="926"/>
                      </a:lnTo>
                      <a:lnTo>
                        <a:pt x="1376" y="930"/>
                      </a:lnTo>
                      <a:lnTo>
                        <a:pt x="1378" y="932"/>
                      </a:lnTo>
                      <a:lnTo>
                        <a:pt x="1381" y="933"/>
                      </a:lnTo>
                      <a:lnTo>
                        <a:pt x="1383" y="940"/>
                      </a:lnTo>
                      <a:lnTo>
                        <a:pt x="1383" y="940"/>
                      </a:lnTo>
                      <a:lnTo>
                        <a:pt x="1383" y="944"/>
                      </a:lnTo>
                      <a:lnTo>
                        <a:pt x="1386" y="944"/>
                      </a:lnTo>
                      <a:lnTo>
                        <a:pt x="1391" y="944"/>
                      </a:lnTo>
                      <a:lnTo>
                        <a:pt x="1397" y="942"/>
                      </a:lnTo>
                      <a:lnTo>
                        <a:pt x="1407" y="939"/>
                      </a:lnTo>
                      <a:lnTo>
                        <a:pt x="1414" y="935"/>
                      </a:lnTo>
                      <a:lnTo>
                        <a:pt x="1414" y="935"/>
                      </a:lnTo>
                      <a:lnTo>
                        <a:pt x="1418" y="935"/>
                      </a:lnTo>
                      <a:lnTo>
                        <a:pt x="1418" y="935"/>
                      </a:lnTo>
                      <a:lnTo>
                        <a:pt x="1419" y="932"/>
                      </a:lnTo>
                      <a:lnTo>
                        <a:pt x="1421" y="928"/>
                      </a:lnTo>
                      <a:lnTo>
                        <a:pt x="1426" y="926"/>
                      </a:lnTo>
                      <a:lnTo>
                        <a:pt x="1426" y="926"/>
                      </a:lnTo>
                      <a:lnTo>
                        <a:pt x="1432" y="928"/>
                      </a:lnTo>
                      <a:lnTo>
                        <a:pt x="1437" y="933"/>
                      </a:lnTo>
                      <a:lnTo>
                        <a:pt x="1449" y="947"/>
                      </a:lnTo>
                      <a:lnTo>
                        <a:pt x="1459" y="961"/>
                      </a:lnTo>
                      <a:lnTo>
                        <a:pt x="1463" y="966"/>
                      </a:lnTo>
                      <a:lnTo>
                        <a:pt x="1466" y="968"/>
                      </a:lnTo>
                      <a:lnTo>
                        <a:pt x="1466" y="968"/>
                      </a:lnTo>
                      <a:lnTo>
                        <a:pt x="1470" y="970"/>
                      </a:lnTo>
                      <a:lnTo>
                        <a:pt x="1473" y="973"/>
                      </a:lnTo>
                      <a:lnTo>
                        <a:pt x="1477" y="982"/>
                      </a:lnTo>
                      <a:lnTo>
                        <a:pt x="1477" y="996"/>
                      </a:lnTo>
                      <a:lnTo>
                        <a:pt x="1475" y="1008"/>
                      </a:lnTo>
                      <a:lnTo>
                        <a:pt x="1475" y="1008"/>
                      </a:lnTo>
                      <a:lnTo>
                        <a:pt x="1472" y="1020"/>
                      </a:lnTo>
                      <a:lnTo>
                        <a:pt x="1472" y="1031"/>
                      </a:lnTo>
                      <a:lnTo>
                        <a:pt x="1475" y="1036"/>
                      </a:lnTo>
                      <a:lnTo>
                        <a:pt x="1477" y="1036"/>
                      </a:lnTo>
                      <a:lnTo>
                        <a:pt x="1479" y="1036"/>
                      </a:lnTo>
                      <a:lnTo>
                        <a:pt x="1479" y="1036"/>
                      </a:lnTo>
                      <a:lnTo>
                        <a:pt x="1482" y="1033"/>
                      </a:lnTo>
                      <a:lnTo>
                        <a:pt x="1486" y="1031"/>
                      </a:lnTo>
                      <a:lnTo>
                        <a:pt x="1487" y="1031"/>
                      </a:lnTo>
                      <a:lnTo>
                        <a:pt x="1487" y="1033"/>
                      </a:lnTo>
                      <a:lnTo>
                        <a:pt x="1484" y="1038"/>
                      </a:lnTo>
                      <a:lnTo>
                        <a:pt x="1484" y="1038"/>
                      </a:lnTo>
                      <a:lnTo>
                        <a:pt x="1482" y="1041"/>
                      </a:lnTo>
                      <a:lnTo>
                        <a:pt x="1480" y="1045"/>
                      </a:lnTo>
                      <a:lnTo>
                        <a:pt x="1482" y="1055"/>
                      </a:lnTo>
                      <a:lnTo>
                        <a:pt x="1486" y="1064"/>
                      </a:lnTo>
                      <a:lnTo>
                        <a:pt x="1491" y="1073"/>
                      </a:lnTo>
                      <a:lnTo>
                        <a:pt x="1491" y="1073"/>
                      </a:lnTo>
                      <a:lnTo>
                        <a:pt x="1492" y="1074"/>
                      </a:lnTo>
                      <a:lnTo>
                        <a:pt x="1494" y="1074"/>
                      </a:lnTo>
                      <a:lnTo>
                        <a:pt x="1496" y="1073"/>
                      </a:lnTo>
                      <a:lnTo>
                        <a:pt x="1496" y="1073"/>
                      </a:lnTo>
                      <a:lnTo>
                        <a:pt x="1496" y="1073"/>
                      </a:lnTo>
                      <a:lnTo>
                        <a:pt x="1498" y="1080"/>
                      </a:lnTo>
                      <a:lnTo>
                        <a:pt x="1498" y="1080"/>
                      </a:lnTo>
                      <a:lnTo>
                        <a:pt x="1499" y="1087"/>
                      </a:lnTo>
                      <a:lnTo>
                        <a:pt x="1503" y="1090"/>
                      </a:lnTo>
                      <a:lnTo>
                        <a:pt x="1506" y="1094"/>
                      </a:lnTo>
                      <a:lnTo>
                        <a:pt x="1508" y="1104"/>
                      </a:lnTo>
                      <a:lnTo>
                        <a:pt x="1508" y="1104"/>
                      </a:lnTo>
                      <a:lnTo>
                        <a:pt x="1510" y="1109"/>
                      </a:lnTo>
                      <a:lnTo>
                        <a:pt x="1512" y="1113"/>
                      </a:lnTo>
                      <a:lnTo>
                        <a:pt x="1515" y="1114"/>
                      </a:lnTo>
                      <a:lnTo>
                        <a:pt x="1517" y="1116"/>
                      </a:lnTo>
                      <a:lnTo>
                        <a:pt x="1524" y="1120"/>
                      </a:lnTo>
                      <a:lnTo>
                        <a:pt x="1526" y="1121"/>
                      </a:lnTo>
                      <a:lnTo>
                        <a:pt x="1527" y="1128"/>
                      </a:lnTo>
                      <a:lnTo>
                        <a:pt x="1527" y="1128"/>
                      </a:lnTo>
                      <a:lnTo>
                        <a:pt x="1531" y="1137"/>
                      </a:lnTo>
                      <a:lnTo>
                        <a:pt x="1533" y="1139"/>
                      </a:lnTo>
                      <a:lnTo>
                        <a:pt x="1534" y="1141"/>
                      </a:lnTo>
                      <a:lnTo>
                        <a:pt x="1533" y="1142"/>
                      </a:lnTo>
                      <a:lnTo>
                        <a:pt x="1533" y="1142"/>
                      </a:lnTo>
                      <a:lnTo>
                        <a:pt x="1531" y="1147"/>
                      </a:lnTo>
                      <a:lnTo>
                        <a:pt x="1533" y="1151"/>
                      </a:lnTo>
                      <a:lnTo>
                        <a:pt x="1536" y="1151"/>
                      </a:lnTo>
                      <a:lnTo>
                        <a:pt x="1545" y="1149"/>
                      </a:lnTo>
                      <a:lnTo>
                        <a:pt x="1545" y="1149"/>
                      </a:lnTo>
                      <a:lnTo>
                        <a:pt x="1548" y="1147"/>
                      </a:lnTo>
                      <a:lnTo>
                        <a:pt x="1550" y="1149"/>
                      </a:lnTo>
                      <a:lnTo>
                        <a:pt x="1552" y="1151"/>
                      </a:lnTo>
                      <a:lnTo>
                        <a:pt x="1552" y="1153"/>
                      </a:lnTo>
                      <a:lnTo>
                        <a:pt x="1555" y="1147"/>
                      </a:lnTo>
                      <a:lnTo>
                        <a:pt x="1555" y="1147"/>
                      </a:lnTo>
                      <a:lnTo>
                        <a:pt x="1560" y="1141"/>
                      </a:lnTo>
                      <a:lnTo>
                        <a:pt x="1560" y="1135"/>
                      </a:lnTo>
                      <a:lnTo>
                        <a:pt x="1560" y="1132"/>
                      </a:lnTo>
                      <a:lnTo>
                        <a:pt x="1564" y="1125"/>
                      </a:lnTo>
                      <a:lnTo>
                        <a:pt x="1564" y="1125"/>
                      </a:lnTo>
                      <a:lnTo>
                        <a:pt x="1567" y="1116"/>
                      </a:lnTo>
                      <a:lnTo>
                        <a:pt x="1567" y="1107"/>
                      </a:lnTo>
                      <a:lnTo>
                        <a:pt x="1569" y="1097"/>
                      </a:lnTo>
                      <a:lnTo>
                        <a:pt x="1569" y="1083"/>
                      </a:lnTo>
                      <a:lnTo>
                        <a:pt x="1569" y="1083"/>
                      </a:lnTo>
                      <a:lnTo>
                        <a:pt x="1569" y="1076"/>
                      </a:lnTo>
                      <a:lnTo>
                        <a:pt x="1567" y="1066"/>
                      </a:lnTo>
                      <a:lnTo>
                        <a:pt x="1560" y="1045"/>
                      </a:lnTo>
                      <a:lnTo>
                        <a:pt x="1553" y="1024"/>
                      </a:lnTo>
                      <a:lnTo>
                        <a:pt x="1552" y="1013"/>
                      </a:lnTo>
                      <a:lnTo>
                        <a:pt x="1552" y="1005"/>
                      </a:lnTo>
                      <a:lnTo>
                        <a:pt x="1552" y="1005"/>
                      </a:lnTo>
                      <a:lnTo>
                        <a:pt x="1552" y="1001"/>
                      </a:lnTo>
                      <a:lnTo>
                        <a:pt x="1550" y="996"/>
                      </a:lnTo>
                      <a:lnTo>
                        <a:pt x="1541" y="979"/>
                      </a:lnTo>
                      <a:lnTo>
                        <a:pt x="1536" y="966"/>
                      </a:lnTo>
                      <a:lnTo>
                        <a:pt x="1531" y="954"/>
                      </a:lnTo>
                      <a:lnTo>
                        <a:pt x="1526" y="939"/>
                      </a:lnTo>
                      <a:lnTo>
                        <a:pt x="1522" y="919"/>
                      </a:lnTo>
                      <a:lnTo>
                        <a:pt x="1522" y="919"/>
                      </a:lnTo>
                      <a:lnTo>
                        <a:pt x="1520" y="900"/>
                      </a:lnTo>
                      <a:lnTo>
                        <a:pt x="1522" y="883"/>
                      </a:lnTo>
                      <a:lnTo>
                        <a:pt x="1526" y="867"/>
                      </a:lnTo>
                      <a:lnTo>
                        <a:pt x="1531" y="855"/>
                      </a:lnTo>
                      <a:lnTo>
                        <a:pt x="1536" y="846"/>
                      </a:lnTo>
                      <a:lnTo>
                        <a:pt x="1541" y="838"/>
                      </a:lnTo>
                      <a:lnTo>
                        <a:pt x="1552" y="827"/>
                      </a:lnTo>
                      <a:lnTo>
                        <a:pt x="1552" y="827"/>
                      </a:lnTo>
                      <a:lnTo>
                        <a:pt x="1553" y="825"/>
                      </a:lnTo>
                      <a:lnTo>
                        <a:pt x="1555" y="822"/>
                      </a:lnTo>
                      <a:lnTo>
                        <a:pt x="1553" y="820"/>
                      </a:lnTo>
                      <a:lnTo>
                        <a:pt x="1553" y="818"/>
                      </a:lnTo>
                      <a:lnTo>
                        <a:pt x="1553" y="818"/>
                      </a:lnTo>
                      <a:lnTo>
                        <a:pt x="1560" y="817"/>
                      </a:lnTo>
                      <a:lnTo>
                        <a:pt x="1560" y="817"/>
                      </a:lnTo>
                      <a:lnTo>
                        <a:pt x="1566" y="817"/>
                      </a:lnTo>
                      <a:lnTo>
                        <a:pt x="1571" y="813"/>
                      </a:lnTo>
                      <a:lnTo>
                        <a:pt x="1578" y="806"/>
                      </a:lnTo>
                      <a:lnTo>
                        <a:pt x="1585" y="798"/>
                      </a:lnTo>
                      <a:lnTo>
                        <a:pt x="1588" y="796"/>
                      </a:lnTo>
                      <a:lnTo>
                        <a:pt x="1592" y="794"/>
                      </a:lnTo>
                      <a:lnTo>
                        <a:pt x="1592" y="794"/>
                      </a:lnTo>
                      <a:lnTo>
                        <a:pt x="1593" y="792"/>
                      </a:lnTo>
                      <a:lnTo>
                        <a:pt x="1595" y="791"/>
                      </a:lnTo>
                      <a:lnTo>
                        <a:pt x="1600" y="780"/>
                      </a:lnTo>
                      <a:lnTo>
                        <a:pt x="1606" y="770"/>
                      </a:lnTo>
                      <a:lnTo>
                        <a:pt x="1609" y="763"/>
                      </a:lnTo>
                      <a:lnTo>
                        <a:pt x="1616" y="757"/>
                      </a:lnTo>
                      <a:lnTo>
                        <a:pt x="1616" y="757"/>
                      </a:lnTo>
                      <a:lnTo>
                        <a:pt x="1621" y="754"/>
                      </a:lnTo>
                      <a:lnTo>
                        <a:pt x="1627" y="752"/>
                      </a:lnTo>
                      <a:lnTo>
                        <a:pt x="1637" y="752"/>
                      </a:lnTo>
                      <a:lnTo>
                        <a:pt x="1640" y="752"/>
                      </a:lnTo>
                      <a:lnTo>
                        <a:pt x="1644" y="751"/>
                      </a:lnTo>
                      <a:lnTo>
                        <a:pt x="1646" y="749"/>
                      </a:lnTo>
                      <a:lnTo>
                        <a:pt x="1647" y="744"/>
                      </a:lnTo>
                      <a:lnTo>
                        <a:pt x="1647" y="744"/>
                      </a:lnTo>
                      <a:lnTo>
                        <a:pt x="1649" y="738"/>
                      </a:lnTo>
                      <a:lnTo>
                        <a:pt x="1653" y="733"/>
                      </a:lnTo>
                      <a:lnTo>
                        <a:pt x="1663" y="723"/>
                      </a:lnTo>
                      <a:lnTo>
                        <a:pt x="1674" y="717"/>
                      </a:lnTo>
                      <a:lnTo>
                        <a:pt x="1686" y="714"/>
                      </a:lnTo>
                      <a:lnTo>
                        <a:pt x="1686" y="714"/>
                      </a:lnTo>
                      <a:lnTo>
                        <a:pt x="1694" y="712"/>
                      </a:lnTo>
                      <a:lnTo>
                        <a:pt x="1701" y="707"/>
                      </a:lnTo>
                      <a:lnTo>
                        <a:pt x="1703" y="704"/>
                      </a:lnTo>
                      <a:lnTo>
                        <a:pt x="1701" y="702"/>
                      </a:lnTo>
                      <a:lnTo>
                        <a:pt x="1700" y="700"/>
                      </a:lnTo>
                      <a:lnTo>
                        <a:pt x="1700" y="700"/>
                      </a:lnTo>
                      <a:lnTo>
                        <a:pt x="1698" y="698"/>
                      </a:lnTo>
                      <a:lnTo>
                        <a:pt x="1696" y="700"/>
                      </a:lnTo>
                      <a:lnTo>
                        <a:pt x="1691" y="704"/>
                      </a:lnTo>
                      <a:lnTo>
                        <a:pt x="1686" y="705"/>
                      </a:lnTo>
                      <a:lnTo>
                        <a:pt x="1684" y="705"/>
                      </a:lnTo>
                      <a:lnTo>
                        <a:pt x="1681" y="705"/>
                      </a:lnTo>
                      <a:lnTo>
                        <a:pt x="1681" y="705"/>
                      </a:lnTo>
                      <a:lnTo>
                        <a:pt x="1679" y="702"/>
                      </a:lnTo>
                      <a:lnTo>
                        <a:pt x="1681" y="702"/>
                      </a:lnTo>
                      <a:lnTo>
                        <a:pt x="1686" y="700"/>
                      </a:lnTo>
                      <a:lnTo>
                        <a:pt x="1687" y="698"/>
                      </a:lnTo>
                      <a:lnTo>
                        <a:pt x="1691" y="695"/>
                      </a:lnTo>
                      <a:lnTo>
                        <a:pt x="1691" y="695"/>
                      </a:lnTo>
                      <a:lnTo>
                        <a:pt x="1691" y="691"/>
                      </a:lnTo>
                      <a:lnTo>
                        <a:pt x="1689" y="690"/>
                      </a:lnTo>
                      <a:lnTo>
                        <a:pt x="1686" y="684"/>
                      </a:lnTo>
                      <a:lnTo>
                        <a:pt x="1682" y="681"/>
                      </a:lnTo>
                      <a:lnTo>
                        <a:pt x="1687" y="681"/>
                      </a:lnTo>
                      <a:lnTo>
                        <a:pt x="1687" y="681"/>
                      </a:lnTo>
                      <a:lnTo>
                        <a:pt x="1696" y="684"/>
                      </a:lnTo>
                      <a:lnTo>
                        <a:pt x="1701" y="686"/>
                      </a:lnTo>
                      <a:lnTo>
                        <a:pt x="1703" y="686"/>
                      </a:lnTo>
                      <a:lnTo>
                        <a:pt x="1705" y="686"/>
                      </a:lnTo>
                      <a:lnTo>
                        <a:pt x="1708" y="681"/>
                      </a:lnTo>
                      <a:lnTo>
                        <a:pt x="1708" y="681"/>
                      </a:lnTo>
                      <a:lnTo>
                        <a:pt x="1714" y="676"/>
                      </a:lnTo>
                      <a:lnTo>
                        <a:pt x="1715" y="676"/>
                      </a:lnTo>
                      <a:lnTo>
                        <a:pt x="1717" y="674"/>
                      </a:lnTo>
                      <a:lnTo>
                        <a:pt x="1719" y="669"/>
                      </a:lnTo>
                      <a:lnTo>
                        <a:pt x="1719" y="669"/>
                      </a:lnTo>
                      <a:lnTo>
                        <a:pt x="1721" y="662"/>
                      </a:lnTo>
                      <a:lnTo>
                        <a:pt x="1719" y="658"/>
                      </a:lnTo>
                      <a:lnTo>
                        <a:pt x="1717" y="657"/>
                      </a:lnTo>
                      <a:lnTo>
                        <a:pt x="1714" y="658"/>
                      </a:lnTo>
                      <a:lnTo>
                        <a:pt x="1714" y="658"/>
                      </a:lnTo>
                      <a:lnTo>
                        <a:pt x="1712" y="660"/>
                      </a:lnTo>
                      <a:lnTo>
                        <a:pt x="1710" y="658"/>
                      </a:lnTo>
                      <a:lnTo>
                        <a:pt x="1707" y="657"/>
                      </a:lnTo>
                      <a:lnTo>
                        <a:pt x="1700" y="657"/>
                      </a:lnTo>
                      <a:lnTo>
                        <a:pt x="1700" y="657"/>
                      </a:lnTo>
                      <a:lnTo>
                        <a:pt x="1689" y="658"/>
                      </a:lnTo>
                      <a:lnTo>
                        <a:pt x="1686" y="657"/>
                      </a:lnTo>
                      <a:lnTo>
                        <a:pt x="1684" y="653"/>
                      </a:lnTo>
                      <a:lnTo>
                        <a:pt x="1684" y="648"/>
                      </a:lnTo>
                      <a:lnTo>
                        <a:pt x="1684" y="648"/>
                      </a:lnTo>
                      <a:lnTo>
                        <a:pt x="1684" y="646"/>
                      </a:lnTo>
                      <a:lnTo>
                        <a:pt x="1684" y="646"/>
                      </a:lnTo>
                      <a:lnTo>
                        <a:pt x="1687" y="650"/>
                      </a:lnTo>
                      <a:lnTo>
                        <a:pt x="1689" y="651"/>
                      </a:lnTo>
                      <a:lnTo>
                        <a:pt x="1691" y="653"/>
                      </a:lnTo>
                      <a:lnTo>
                        <a:pt x="1696" y="653"/>
                      </a:lnTo>
                      <a:lnTo>
                        <a:pt x="1700" y="650"/>
                      </a:lnTo>
                      <a:lnTo>
                        <a:pt x="1700" y="650"/>
                      </a:lnTo>
                      <a:lnTo>
                        <a:pt x="1707" y="648"/>
                      </a:lnTo>
                      <a:lnTo>
                        <a:pt x="1712" y="648"/>
                      </a:lnTo>
                      <a:lnTo>
                        <a:pt x="1715" y="650"/>
                      </a:lnTo>
                      <a:lnTo>
                        <a:pt x="1719" y="653"/>
                      </a:lnTo>
                      <a:lnTo>
                        <a:pt x="1724" y="660"/>
                      </a:lnTo>
                      <a:lnTo>
                        <a:pt x="1726" y="663"/>
                      </a:lnTo>
                      <a:lnTo>
                        <a:pt x="1728" y="663"/>
                      </a:lnTo>
                      <a:lnTo>
                        <a:pt x="1728" y="663"/>
                      </a:lnTo>
                      <a:lnTo>
                        <a:pt x="1728" y="662"/>
                      </a:lnTo>
                      <a:lnTo>
                        <a:pt x="1728" y="660"/>
                      </a:lnTo>
                      <a:lnTo>
                        <a:pt x="1724" y="653"/>
                      </a:lnTo>
                      <a:lnTo>
                        <a:pt x="1719" y="639"/>
                      </a:lnTo>
                      <a:lnTo>
                        <a:pt x="1714" y="618"/>
                      </a:lnTo>
                      <a:lnTo>
                        <a:pt x="1714" y="618"/>
                      </a:lnTo>
                      <a:lnTo>
                        <a:pt x="1710" y="611"/>
                      </a:lnTo>
                      <a:lnTo>
                        <a:pt x="1708" y="609"/>
                      </a:lnTo>
                      <a:lnTo>
                        <a:pt x="1707" y="609"/>
                      </a:lnTo>
                      <a:lnTo>
                        <a:pt x="1703" y="609"/>
                      </a:lnTo>
                      <a:lnTo>
                        <a:pt x="1698" y="613"/>
                      </a:lnTo>
                      <a:lnTo>
                        <a:pt x="1698" y="613"/>
                      </a:lnTo>
                      <a:lnTo>
                        <a:pt x="1696" y="613"/>
                      </a:lnTo>
                      <a:lnTo>
                        <a:pt x="1696" y="613"/>
                      </a:lnTo>
                      <a:lnTo>
                        <a:pt x="1700" y="609"/>
                      </a:lnTo>
                      <a:lnTo>
                        <a:pt x="1701" y="604"/>
                      </a:lnTo>
                      <a:lnTo>
                        <a:pt x="1701" y="601"/>
                      </a:lnTo>
                      <a:lnTo>
                        <a:pt x="1698" y="599"/>
                      </a:lnTo>
                      <a:lnTo>
                        <a:pt x="1698" y="599"/>
                      </a:lnTo>
                      <a:lnTo>
                        <a:pt x="1694" y="596"/>
                      </a:lnTo>
                      <a:lnTo>
                        <a:pt x="1698" y="596"/>
                      </a:lnTo>
                      <a:lnTo>
                        <a:pt x="1700" y="594"/>
                      </a:lnTo>
                      <a:lnTo>
                        <a:pt x="1701" y="592"/>
                      </a:lnTo>
                      <a:lnTo>
                        <a:pt x="1701" y="589"/>
                      </a:lnTo>
                      <a:lnTo>
                        <a:pt x="1701" y="583"/>
                      </a:lnTo>
                      <a:lnTo>
                        <a:pt x="1701" y="583"/>
                      </a:lnTo>
                      <a:lnTo>
                        <a:pt x="1700" y="573"/>
                      </a:lnTo>
                      <a:lnTo>
                        <a:pt x="1701" y="569"/>
                      </a:lnTo>
                      <a:lnTo>
                        <a:pt x="1700" y="566"/>
                      </a:lnTo>
                      <a:lnTo>
                        <a:pt x="1696" y="561"/>
                      </a:lnTo>
                      <a:lnTo>
                        <a:pt x="1696" y="561"/>
                      </a:lnTo>
                      <a:lnTo>
                        <a:pt x="1684" y="550"/>
                      </a:lnTo>
                      <a:lnTo>
                        <a:pt x="1684" y="549"/>
                      </a:lnTo>
                      <a:lnTo>
                        <a:pt x="1686" y="549"/>
                      </a:lnTo>
                      <a:lnTo>
                        <a:pt x="1691" y="552"/>
                      </a:lnTo>
                      <a:lnTo>
                        <a:pt x="1691" y="552"/>
                      </a:lnTo>
                      <a:lnTo>
                        <a:pt x="1698" y="556"/>
                      </a:lnTo>
                      <a:lnTo>
                        <a:pt x="1700" y="556"/>
                      </a:lnTo>
                      <a:lnTo>
                        <a:pt x="1700" y="554"/>
                      </a:lnTo>
                      <a:lnTo>
                        <a:pt x="1696" y="542"/>
                      </a:lnTo>
                      <a:lnTo>
                        <a:pt x="1696" y="542"/>
                      </a:lnTo>
                      <a:lnTo>
                        <a:pt x="1693" y="528"/>
                      </a:lnTo>
                      <a:lnTo>
                        <a:pt x="1694" y="514"/>
                      </a:lnTo>
                      <a:lnTo>
                        <a:pt x="1694" y="514"/>
                      </a:lnTo>
                      <a:lnTo>
                        <a:pt x="1698" y="503"/>
                      </a:lnTo>
                      <a:lnTo>
                        <a:pt x="1700" y="498"/>
                      </a:lnTo>
                      <a:lnTo>
                        <a:pt x="1705" y="493"/>
                      </a:lnTo>
                      <a:lnTo>
                        <a:pt x="1705" y="493"/>
                      </a:lnTo>
                      <a:lnTo>
                        <a:pt x="1708" y="491"/>
                      </a:lnTo>
                      <a:lnTo>
                        <a:pt x="1707" y="493"/>
                      </a:lnTo>
                      <a:lnTo>
                        <a:pt x="1703" y="498"/>
                      </a:lnTo>
                      <a:lnTo>
                        <a:pt x="1701" y="503"/>
                      </a:lnTo>
                      <a:lnTo>
                        <a:pt x="1701" y="503"/>
                      </a:lnTo>
                      <a:lnTo>
                        <a:pt x="1698" y="514"/>
                      </a:lnTo>
                      <a:lnTo>
                        <a:pt x="1698" y="517"/>
                      </a:lnTo>
                      <a:lnTo>
                        <a:pt x="1700" y="521"/>
                      </a:lnTo>
                      <a:lnTo>
                        <a:pt x="1700" y="521"/>
                      </a:lnTo>
                      <a:lnTo>
                        <a:pt x="1700" y="524"/>
                      </a:lnTo>
                      <a:lnTo>
                        <a:pt x="1700" y="526"/>
                      </a:lnTo>
                      <a:lnTo>
                        <a:pt x="1698" y="529"/>
                      </a:lnTo>
                      <a:lnTo>
                        <a:pt x="1700" y="533"/>
                      </a:lnTo>
                      <a:lnTo>
                        <a:pt x="1700" y="533"/>
                      </a:lnTo>
                      <a:lnTo>
                        <a:pt x="1701" y="536"/>
                      </a:lnTo>
                      <a:lnTo>
                        <a:pt x="1700" y="540"/>
                      </a:lnTo>
                      <a:lnTo>
                        <a:pt x="1700" y="542"/>
                      </a:lnTo>
                      <a:lnTo>
                        <a:pt x="1703" y="547"/>
                      </a:lnTo>
                      <a:lnTo>
                        <a:pt x="1703" y="547"/>
                      </a:lnTo>
                      <a:lnTo>
                        <a:pt x="1708" y="549"/>
                      </a:lnTo>
                      <a:lnTo>
                        <a:pt x="1710" y="547"/>
                      </a:lnTo>
                      <a:lnTo>
                        <a:pt x="1712" y="547"/>
                      </a:lnTo>
                      <a:lnTo>
                        <a:pt x="1714" y="550"/>
                      </a:lnTo>
                      <a:lnTo>
                        <a:pt x="1714" y="550"/>
                      </a:lnTo>
                      <a:lnTo>
                        <a:pt x="1715" y="557"/>
                      </a:lnTo>
                      <a:lnTo>
                        <a:pt x="1714" y="561"/>
                      </a:lnTo>
                      <a:lnTo>
                        <a:pt x="1714" y="562"/>
                      </a:lnTo>
                      <a:lnTo>
                        <a:pt x="1717" y="564"/>
                      </a:lnTo>
                      <a:lnTo>
                        <a:pt x="1717" y="564"/>
                      </a:lnTo>
                      <a:lnTo>
                        <a:pt x="1719" y="566"/>
                      </a:lnTo>
                      <a:lnTo>
                        <a:pt x="1717" y="569"/>
                      </a:lnTo>
                      <a:lnTo>
                        <a:pt x="1714" y="580"/>
                      </a:lnTo>
                      <a:lnTo>
                        <a:pt x="1708" y="592"/>
                      </a:lnTo>
                      <a:lnTo>
                        <a:pt x="1708" y="597"/>
                      </a:lnTo>
                      <a:lnTo>
                        <a:pt x="1712" y="601"/>
                      </a:lnTo>
                      <a:lnTo>
                        <a:pt x="1712" y="601"/>
                      </a:lnTo>
                      <a:lnTo>
                        <a:pt x="1714" y="601"/>
                      </a:lnTo>
                      <a:lnTo>
                        <a:pt x="1715" y="597"/>
                      </a:lnTo>
                      <a:lnTo>
                        <a:pt x="1721" y="583"/>
                      </a:lnTo>
                      <a:lnTo>
                        <a:pt x="1728" y="568"/>
                      </a:lnTo>
                      <a:lnTo>
                        <a:pt x="1736" y="552"/>
                      </a:lnTo>
                      <a:lnTo>
                        <a:pt x="1736" y="552"/>
                      </a:lnTo>
                      <a:lnTo>
                        <a:pt x="1741" y="547"/>
                      </a:lnTo>
                      <a:lnTo>
                        <a:pt x="1743" y="540"/>
                      </a:lnTo>
                      <a:lnTo>
                        <a:pt x="1745" y="535"/>
                      </a:lnTo>
                      <a:lnTo>
                        <a:pt x="1745" y="531"/>
                      </a:lnTo>
                      <a:lnTo>
                        <a:pt x="1745" y="528"/>
                      </a:lnTo>
                      <a:lnTo>
                        <a:pt x="1743" y="524"/>
                      </a:lnTo>
                      <a:lnTo>
                        <a:pt x="1741" y="522"/>
                      </a:lnTo>
                      <a:lnTo>
                        <a:pt x="1738" y="521"/>
                      </a:lnTo>
                      <a:lnTo>
                        <a:pt x="1738" y="521"/>
                      </a:lnTo>
                      <a:lnTo>
                        <a:pt x="1736" y="521"/>
                      </a:lnTo>
                      <a:lnTo>
                        <a:pt x="1735" y="519"/>
                      </a:lnTo>
                      <a:lnTo>
                        <a:pt x="1731" y="512"/>
                      </a:lnTo>
                      <a:lnTo>
                        <a:pt x="1726" y="493"/>
                      </a:lnTo>
                      <a:lnTo>
                        <a:pt x="1726" y="493"/>
                      </a:lnTo>
                      <a:lnTo>
                        <a:pt x="1724" y="486"/>
                      </a:lnTo>
                      <a:lnTo>
                        <a:pt x="1726" y="479"/>
                      </a:lnTo>
                      <a:lnTo>
                        <a:pt x="1729" y="474"/>
                      </a:lnTo>
                      <a:lnTo>
                        <a:pt x="1736" y="468"/>
                      </a:lnTo>
                      <a:lnTo>
                        <a:pt x="1736" y="468"/>
                      </a:lnTo>
                      <a:lnTo>
                        <a:pt x="1740" y="468"/>
                      </a:lnTo>
                      <a:lnTo>
                        <a:pt x="1735" y="472"/>
                      </a:lnTo>
                      <a:lnTo>
                        <a:pt x="1731" y="475"/>
                      </a:lnTo>
                      <a:lnTo>
                        <a:pt x="1729" y="481"/>
                      </a:lnTo>
                      <a:lnTo>
                        <a:pt x="1729" y="488"/>
                      </a:lnTo>
                      <a:lnTo>
                        <a:pt x="1731" y="493"/>
                      </a:lnTo>
                      <a:lnTo>
                        <a:pt x="1731" y="493"/>
                      </a:lnTo>
                      <a:lnTo>
                        <a:pt x="1736" y="498"/>
                      </a:lnTo>
                      <a:lnTo>
                        <a:pt x="1740" y="502"/>
                      </a:lnTo>
                      <a:lnTo>
                        <a:pt x="1745" y="503"/>
                      </a:lnTo>
                      <a:lnTo>
                        <a:pt x="1748" y="503"/>
                      </a:lnTo>
                      <a:lnTo>
                        <a:pt x="1748" y="510"/>
                      </a:lnTo>
                      <a:lnTo>
                        <a:pt x="1748" y="510"/>
                      </a:lnTo>
                      <a:lnTo>
                        <a:pt x="1748" y="514"/>
                      </a:lnTo>
                      <a:lnTo>
                        <a:pt x="1748" y="515"/>
                      </a:lnTo>
                      <a:lnTo>
                        <a:pt x="1750" y="514"/>
                      </a:lnTo>
                      <a:lnTo>
                        <a:pt x="1754" y="512"/>
                      </a:lnTo>
                      <a:lnTo>
                        <a:pt x="1761" y="502"/>
                      </a:lnTo>
                      <a:lnTo>
                        <a:pt x="1769" y="488"/>
                      </a:lnTo>
                      <a:lnTo>
                        <a:pt x="1769" y="488"/>
                      </a:lnTo>
                      <a:lnTo>
                        <a:pt x="1776" y="474"/>
                      </a:lnTo>
                      <a:lnTo>
                        <a:pt x="1782" y="460"/>
                      </a:lnTo>
                      <a:lnTo>
                        <a:pt x="1783" y="455"/>
                      </a:lnTo>
                      <a:lnTo>
                        <a:pt x="1783" y="449"/>
                      </a:lnTo>
                      <a:lnTo>
                        <a:pt x="1782" y="446"/>
                      </a:lnTo>
                      <a:lnTo>
                        <a:pt x="1778" y="446"/>
                      </a:lnTo>
                      <a:lnTo>
                        <a:pt x="1778" y="446"/>
                      </a:lnTo>
                      <a:lnTo>
                        <a:pt x="1771" y="444"/>
                      </a:lnTo>
                      <a:lnTo>
                        <a:pt x="1771" y="442"/>
                      </a:lnTo>
                      <a:lnTo>
                        <a:pt x="1769" y="441"/>
                      </a:lnTo>
                      <a:lnTo>
                        <a:pt x="1771" y="435"/>
                      </a:lnTo>
                      <a:lnTo>
                        <a:pt x="1778" y="430"/>
                      </a:lnTo>
                      <a:lnTo>
                        <a:pt x="1778" y="430"/>
                      </a:lnTo>
                      <a:lnTo>
                        <a:pt x="1787" y="421"/>
                      </a:lnTo>
                      <a:lnTo>
                        <a:pt x="1799" y="414"/>
                      </a:lnTo>
                      <a:lnTo>
                        <a:pt x="1811" y="409"/>
                      </a:lnTo>
                      <a:lnTo>
                        <a:pt x="1823" y="404"/>
                      </a:lnTo>
                      <a:lnTo>
                        <a:pt x="1823" y="404"/>
                      </a:lnTo>
                      <a:lnTo>
                        <a:pt x="1837" y="402"/>
                      </a:lnTo>
                      <a:lnTo>
                        <a:pt x="1853" y="401"/>
                      </a:lnTo>
                      <a:lnTo>
                        <a:pt x="1865" y="399"/>
                      </a:lnTo>
                      <a:lnTo>
                        <a:pt x="1869" y="397"/>
                      </a:lnTo>
                      <a:lnTo>
                        <a:pt x="1870" y="395"/>
                      </a:lnTo>
                      <a:lnTo>
                        <a:pt x="1870" y="395"/>
                      </a:lnTo>
                      <a:lnTo>
                        <a:pt x="1872" y="383"/>
                      </a:lnTo>
                      <a:lnTo>
                        <a:pt x="1874" y="380"/>
                      </a:lnTo>
                      <a:lnTo>
                        <a:pt x="1876" y="385"/>
                      </a:lnTo>
                      <a:lnTo>
                        <a:pt x="1876" y="385"/>
                      </a:lnTo>
                      <a:lnTo>
                        <a:pt x="1879" y="392"/>
                      </a:lnTo>
                      <a:lnTo>
                        <a:pt x="1881" y="395"/>
                      </a:lnTo>
                      <a:lnTo>
                        <a:pt x="1883" y="395"/>
                      </a:lnTo>
                      <a:lnTo>
                        <a:pt x="1884" y="394"/>
                      </a:lnTo>
                      <a:lnTo>
                        <a:pt x="1891" y="388"/>
                      </a:lnTo>
                      <a:lnTo>
                        <a:pt x="1891" y="388"/>
                      </a:lnTo>
                      <a:lnTo>
                        <a:pt x="1895" y="385"/>
                      </a:lnTo>
                      <a:lnTo>
                        <a:pt x="1896" y="383"/>
                      </a:lnTo>
                      <a:lnTo>
                        <a:pt x="1898" y="385"/>
                      </a:lnTo>
                      <a:lnTo>
                        <a:pt x="1898" y="387"/>
                      </a:lnTo>
                      <a:lnTo>
                        <a:pt x="1898" y="392"/>
                      </a:lnTo>
                      <a:lnTo>
                        <a:pt x="1900" y="392"/>
                      </a:lnTo>
                      <a:lnTo>
                        <a:pt x="1902" y="390"/>
                      </a:lnTo>
                      <a:lnTo>
                        <a:pt x="1902" y="390"/>
                      </a:lnTo>
                      <a:lnTo>
                        <a:pt x="1905" y="388"/>
                      </a:lnTo>
                      <a:lnTo>
                        <a:pt x="1910" y="387"/>
                      </a:lnTo>
                      <a:lnTo>
                        <a:pt x="1917" y="385"/>
                      </a:lnTo>
                      <a:lnTo>
                        <a:pt x="1923" y="383"/>
                      </a:lnTo>
                      <a:lnTo>
                        <a:pt x="1923" y="381"/>
                      </a:lnTo>
                      <a:lnTo>
                        <a:pt x="1923" y="378"/>
                      </a:lnTo>
                      <a:lnTo>
                        <a:pt x="1923" y="378"/>
                      </a:lnTo>
                      <a:lnTo>
                        <a:pt x="1919" y="366"/>
                      </a:lnTo>
                      <a:lnTo>
                        <a:pt x="1917" y="364"/>
                      </a:lnTo>
                      <a:lnTo>
                        <a:pt x="1914" y="364"/>
                      </a:lnTo>
                      <a:lnTo>
                        <a:pt x="1914" y="364"/>
                      </a:lnTo>
                      <a:lnTo>
                        <a:pt x="1912" y="364"/>
                      </a:lnTo>
                      <a:lnTo>
                        <a:pt x="1914" y="366"/>
                      </a:lnTo>
                      <a:lnTo>
                        <a:pt x="1917" y="367"/>
                      </a:lnTo>
                      <a:lnTo>
                        <a:pt x="1919" y="373"/>
                      </a:lnTo>
                      <a:lnTo>
                        <a:pt x="1919" y="373"/>
                      </a:lnTo>
                      <a:lnTo>
                        <a:pt x="1917" y="378"/>
                      </a:lnTo>
                      <a:lnTo>
                        <a:pt x="1912" y="381"/>
                      </a:lnTo>
                      <a:lnTo>
                        <a:pt x="1909" y="383"/>
                      </a:lnTo>
                      <a:lnTo>
                        <a:pt x="1907" y="381"/>
                      </a:lnTo>
                      <a:lnTo>
                        <a:pt x="1903" y="380"/>
                      </a:lnTo>
                      <a:lnTo>
                        <a:pt x="1902" y="376"/>
                      </a:lnTo>
                      <a:lnTo>
                        <a:pt x="1902" y="376"/>
                      </a:lnTo>
                      <a:lnTo>
                        <a:pt x="1900" y="367"/>
                      </a:lnTo>
                      <a:lnTo>
                        <a:pt x="1898" y="361"/>
                      </a:lnTo>
                      <a:lnTo>
                        <a:pt x="1895" y="357"/>
                      </a:lnTo>
                      <a:lnTo>
                        <a:pt x="1889" y="355"/>
                      </a:lnTo>
                      <a:lnTo>
                        <a:pt x="1889" y="355"/>
                      </a:lnTo>
                      <a:lnTo>
                        <a:pt x="1886" y="355"/>
                      </a:lnTo>
                      <a:lnTo>
                        <a:pt x="1886" y="352"/>
                      </a:lnTo>
                      <a:lnTo>
                        <a:pt x="1893" y="347"/>
                      </a:lnTo>
                      <a:lnTo>
                        <a:pt x="1900" y="340"/>
                      </a:lnTo>
                      <a:lnTo>
                        <a:pt x="1900" y="336"/>
                      </a:lnTo>
                      <a:lnTo>
                        <a:pt x="1898" y="334"/>
                      </a:lnTo>
                      <a:lnTo>
                        <a:pt x="1898" y="334"/>
                      </a:lnTo>
                      <a:lnTo>
                        <a:pt x="1896" y="333"/>
                      </a:lnTo>
                      <a:lnTo>
                        <a:pt x="1895" y="329"/>
                      </a:lnTo>
                      <a:lnTo>
                        <a:pt x="1896" y="317"/>
                      </a:lnTo>
                      <a:lnTo>
                        <a:pt x="1902" y="305"/>
                      </a:lnTo>
                      <a:lnTo>
                        <a:pt x="1909" y="296"/>
                      </a:lnTo>
                      <a:lnTo>
                        <a:pt x="1909" y="296"/>
                      </a:lnTo>
                      <a:lnTo>
                        <a:pt x="1912" y="291"/>
                      </a:lnTo>
                      <a:lnTo>
                        <a:pt x="1912" y="287"/>
                      </a:lnTo>
                      <a:lnTo>
                        <a:pt x="1912" y="284"/>
                      </a:lnTo>
                      <a:lnTo>
                        <a:pt x="1914" y="282"/>
                      </a:lnTo>
                      <a:lnTo>
                        <a:pt x="1914" y="282"/>
                      </a:lnTo>
                      <a:lnTo>
                        <a:pt x="1916" y="280"/>
                      </a:lnTo>
                      <a:lnTo>
                        <a:pt x="1917" y="280"/>
                      </a:lnTo>
                      <a:lnTo>
                        <a:pt x="1919" y="282"/>
                      </a:lnTo>
                      <a:lnTo>
                        <a:pt x="1923" y="284"/>
                      </a:lnTo>
                      <a:lnTo>
                        <a:pt x="1924" y="284"/>
                      </a:lnTo>
                      <a:lnTo>
                        <a:pt x="1930" y="282"/>
                      </a:lnTo>
                      <a:lnTo>
                        <a:pt x="1930" y="282"/>
                      </a:lnTo>
                      <a:lnTo>
                        <a:pt x="1935" y="279"/>
                      </a:lnTo>
                      <a:lnTo>
                        <a:pt x="1938" y="275"/>
                      </a:lnTo>
                      <a:lnTo>
                        <a:pt x="1942" y="273"/>
                      </a:lnTo>
                      <a:lnTo>
                        <a:pt x="1945" y="272"/>
                      </a:lnTo>
                      <a:lnTo>
                        <a:pt x="1945" y="272"/>
                      </a:lnTo>
                      <a:lnTo>
                        <a:pt x="1949" y="272"/>
                      </a:lnTo>
                      <a:lnTo>
                        <a:pt x="1952" y="268"/>
                      </a:lnTo>
                      <a:lnTo>
                        <a:pt x="1954" y="261"/>
                      </a:lnTo>
                      <a:lnTo>
                        <a:pt x="1957" y="254"/>
                      </a:lnTo>
                      <a:lnTo>
                        <a:pt x="1961" y="253"/>
                      </a:lnTo>
                      <a:lnTo>
                        <a:pt x="1964" y="254"/>
                      </a:lnTo>
                      <a:lnTo>
                        <a:pt x="1964" y="254"/>
                      </a:lnTo>
                      <a:lnTo>
                        <a:pt x="1971" y="256"/>
                      </a:lnTo>
                      <a:lnTo>
                        <a:pt x="1971" y="256"/>
                      </a:lnTo>
                      <a:lnTo>
                        <a:pt x="1973" y="256"/>
                      </a:lnTo>
                      <a:lnTo>
                        <a:pt x="1975" y="253"/>
                      </a:lnTo>
                      <a:lnTo>
                        <a:pt x="1978" y="249"/>
                      </a:lnTo>
                      <a:lnTo>
                        <a:pt x="1978" y="249"/>
                      </a:lnTo>
                      <a:lnTo>
                        <a:pt x="1983" y="249"/>
                      </a:lnTo>
                      <a:lnTo>
                        <a:pt x="1987" y="251"/>
                      </a:lnTo>
                      <a:lnTo>
                        <a:pt x="1989" y="251"/>
                      </a:lnTo>
                      <a:lnTo>
                        <a:pt x="1996" y="249"/>
                      </a:lnTo>
                      <a:lnTo>
                        <a:pt x="1996" y="249"/>
                      </a:lnTo>
                      <a:lnTo>
                        <a:pt x="2003" y="244"/>
                      </a:lnTo>
                      <a:lnTo>
                        <a:pt x="2011" y="242"/>
                      </a:lnTo>
                      <a:lnTo>
                        <a:pt x="2017" y="240"/>
                      </a:lnTo>
                      <a:lnTo>
                        <a:pt x="2022" y="235"/>
                      </a:lnTo>
                      <a:lnTo>
                        <a:pt x="2022" y="235"/>
                      </a:lnTo>
                      <a:lnTo>
                        <a:pt x="2025" y="230"/>
                      </a:lnTo>
                      <a:lnTo>
                        <a:pt x="2025" y="228"/>
                      </a:lnTo>
                      <a:lnTo>
                        <a:pt x="2024" y="226"/>
                      </a:lnTo>
                      <a:lnTo>
                        <a:pt x="2022" y="223"/>
                      </a:lnTo>
                      <a:lnTo>
                        <a:pt x="2022" y="223"/>
                      </a:lnTo>
                      <a:lnTo>
                        <a:pt x="2020" y="218"/>
                      </a:lnTo>
                      <a:lnTo>
                        <a:pt x="2018" y="216"/>
                      </a:lnTo>
                      <a:lnTo>
                        <a:pt x="2011" y="213"/>
                      </a:lnTo>
                      <a:lnTo>
                        <a:pt x="2011" y="213"/>
                      </a:lnTo>
                      <a:lnTo>
                        <a:pt x="2010" y="209"/>
                      </a:lnTo>
                      <a:lnTo>
                        <a:pt x="2008" y="202"/>
                      </a:lnTo>
                      <a:lnTo>
                        <a:pt x="2010" y="188"/>
                      </a:lnTo>
                      <a:lnTo>
                        <a:pt x="2010" y="188"/>
                      </a:lnTo>
                      <a:lnTo>
                        <a:pt x="2001" y="186"/>
                      </a:lnTo>
                      <a:lnTo>
                        <a:pt x="2001" y="186"/>
                      </a:lnTo>
                      <a:lnTo>
                        <a:pt x="1999" y="186"/>
                      </a:lnTo>
                      <a:lnTo>
                        <a:pt x="1997" y="183"/>
                      </a:lnTo>
                      <a:lnTo>
                        <a:pt x="1997" y="176"/>
                      </a:lnTo>
                      <a:lnTo>
                        <a:pt x="1997" y="176"/>
                      </a:lnTo>
                      <a:lnTo>
                        <a:pt x="1997" y="127"/>
                      </a:lnTo>
                      <a:lnTo>
                        <a:pt x="1997" y="127"/>
                      </a:lnTo>
                      <a:lnTo>
                        <a:pt x="1997" y="120"/>
                      </a:lnTo>
                      <a:lnTo>
                        <a:pt x="1997" y="117"/>
                      </a:lnTo>
                      <a:lnTo>
                        <a:pt x="1994" y="113"/>
                      </a:lnTo>
                      <a:lnTo>
                        <a:pt x="1989" y="108"/>
                      </a:lnTo>
                      <a:lnTo>
                        <a:pt x="1989" y="108"/>
                      </a:lnTo>
                      <a:lnTo>
                        <a:pt x="1982" y="103"/>
                      </a:lnTo>
                      <a:lnTo>
                        <a:pt x="1977" y="103"/>
                      </a:lnTo>
                      <a:lnTo>
                        <a:pt x="1971" y="106"/>
                      </a:lnTo>
                      <a:lnTo>
                        <a:pt x="1966" y="110"/>
                      </a:lnTo>
                      <a:lnTo>
                        <a:pt x="1966" y="110"/>
                      </a:lnTo>
                      <a:lnTo>
                        <a:pt x="1961" y="112"/>
                      </a:lnTo>
                      <a:lnTo>
                        <a:pt x="1957" y="110"/>
                      </a:lnTo>
                      <a:lnTo>
                        <a:pt x="1954" y="108"/>
                      </a:lnTo>
                      <a:lnTo>
                        <a:pt x="1954" y="103"/>
                      </a:lnTo>
                      <a:lnTo>
                        <a:pt x="1954" y="103"/>
                      </a:lnTo>
                      <a:lnTo>
                        <a:pt x="1954" y="99"/>
                      </a:lnTo>
                      <a:lnTo>
                        <a:pt x="1950" y="98"/>
                      </a:lnTo>
                      <a:lnTo>
                        <a:pt x="1947" y="98"/>
                      </a:lnTo>
                      <a:lnTo>
                        <a:pt x="1947" y="98"/>
                      </a:lnTo>
                      <a:lnTo>
                        <a:pt x="1924" y="131"/>
                      </a:lnTo>
                      <a:lnTo>
                        <a:pt x="1924" y="131"/>
                      </a:lnTo>
                      <a:lnTo>
                        <a:pt x="1921" y="139"/>
                      </a:lnTo>
                      <a:lnTo>
                        <a:pt x="1919" y="145"/>
                      </a:lnTo>
                      <a:lnTo>
                        <a:pt x="1919" y="148"/>
                      </a:lnTo>
                      <a:lnTo>
                        <a:pt x="1916" y="153"/>
                      </a:lnTo>
                      <a:lnTo>
                        <a:pt x="1916" y="153"/>
                      </a:lnTo>
                      <a:lnTo>
                        <a:pt x="1912" y="157"/>
                      </a:lnTo>
                      <a:lnTo>
                        <a:pt x="1912" y="159"/>
                      </a:lnTo>
                      <a:lnTo>
                        <a:pt x="1912" y="166"/>
                      </a:lnTo>
                      <a:lnTo>
                        <a:pt x="1912" y="171"/>
                      </a:lnTo>
                      <a:lnTo>
                        <a:pt x="1910" y="174"/>
                      </a:lnTo>
                      <a:lnTo>
                        <a:pt x="1909" y="176"/>
                      </a:lnTo>
                      <a:lnTo>
                        <a:pt x="1909" y="176"/>
                      </a:lnTo>
                      <a:lnTo>
                        <a:pt x="1905" y="179"/>
                      </a:lnTo>
                      <a:lnTo>
                        <a:pt x="1905" y="181"/>
                      </a:lnTo>
                      <a:lnTo>
                        <a:pt x="1905" y="183"/>
                      </a:lnTo>
                      <a:lnTo>
                        <a:pt x="1900" y="188"/>
                      </a:lnTo>
                      <a:lnTo>
                        <a:pt x="1900" y="188"/>
                      </a:lnTo>
                      <a:lnTo>
                        <a:pt x="1896" y="192"/>
                      </a:lnTo>
                      <a:lnTo>
                        <a:pt x="1895" y="193"/>
                      </a:lnTo>
                      <a:lnTo>
                        <a:pt x="1895" y="195"/>
                      </a:lnTo>
                      <a:lnTo>
                        <a:pt x="1896" y="197"/>
                      </a:lnTo>
                      <a:lnTo>
                        <a:pt x="1898" y="199"/>
                      </a:lnTo>
                      <a:lnTo>
                        <a:pt x="1895" y="200"/>
                      </a:lnTo>
                      <a:lnTo>
                        <a:pt x="1895" y="200"/>
                      </a:lnTo>
                      <a:lnTo>
                        <a:pt x="1891" y="202"/>
                      </a:lnTo>
                      <a:lnTo>
                        <a:pt x="1891" y="204"/>
                      </a:lnTo>
                      <a:lnTo>
                        <a:pt x="1889" y="207"/>
                      </a:lnTo>
                      <a:lnTo>
                        <a:pt x="1888" y="206"/>
                      </a:lnTo>
                      <a:lnTo>
                        <a:pt x="1888" y="206"/>
                      </a:lnTo>
                      <a:lnTo>
                        <a:pt x="1884" y="206"/>
                      </a:lnTo>
                      <a:lnTo>
                        <a:pt x="1883" y="206"/>
                      </a:lnTo>
                      <a:lnTo>
                        <a:pt x="1881" y="207"/>
                      </a:lnTo>
                      <a:lnTo>
                        <a:pt x="1877" y="207"/>
                      </a:lnTo>
                      <a:lnTo>
                        <a:pt x="1877" y="207"/>
                      </a:lnTo>
                      <a:lnTo>
                        <a:pt x="1874" y="206"/>
                      </a:lnTo>
                      <a:lnTo>
                        <a:pt x="1870" y="207"/>
                      </a:lnTo>
                      <a:lnTo>
                        <a:pt x="1869" y="213"/>
                      </a:lnTo>
                      <a:lnTo>
                        <a:pt x="1869" y="221"/>
                      </a:lnTo>
                      <a:lnTo>
                        <a:pt x="1869" y="221"/>
                      </a:lnTo>
                      <a:lnTo>
                        <a:pt x="1769" y="221"/>
                      </a:lnTo>
                      <a:lnTo>
                        <a:pt x="1769" y="221"/>
                      </a:lnTo>
                      <a:lnTo>
                        <a:pt x="1761" y="221"/>
                      </a:lnTo>
                      <a:lnTo>
                        <a:pt x="1754" y="219"/>
                      </a:lnTo>
                      <a:lnTo>
                        <a:pt x="1754" y="219"/>
                      </a:lnTo>
                      <a:lnTo>
                        <a:pt x="1748" y="221"/>
                      </a:lnTo>
                      <a:lnTo>
                        <a:pt x="1740" y="226"/>
                      </a:lnTo>
                      <a:lnTo>
                        <a:pt x="1729" y="235"/>
                      </a:lnTo>
                      <a:lnTo>
                        <a:pt x="1717" y="247"/>
                      </a:lnTo>
                      <a:lnTo>
                        <a:pt x="1717" y="24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4" name="Freeform 1703">
                  <a:extLst>
                    <a:ext uri="{FF2B5EF4-FFF2-40B4-BE49-F238E27FC236}">
                      <a16:creationId xmlns:a16="http://schemas.microsoft.com/office/drawing/2014/main" id="{45152BE5-CED1-CDE8-BA6C-18FE5589BB1C}"/>
                    </a:ext>
                  </a:extLst>
                </p:cNvPr>
                <p:cNvSpPr>
                  <a:spLocks/>
                </p:cNvSpPr>
                <p:nvPr/>
              </p:nvSpPr>
              <p:spPr bwMode="auto">
                <a:xfrm>
                  <a:off x="2982405" y="3710062"/>
                  <a:ext cx="8809" cy="7048"/>
                </a:xfrm>
                <a:custGeom>
                  <a:avLst/>
                  <a:gdLst/>
                  <a:ahLst/>
                  <a:cxnLst>
                    <a:cxn ang="0">
                      <a:pos x="2" y="0"/>
                    </a:cxn>
                    <a:cxn ang="0">
                      <a:pos x="2" y="0"/>
                    </a:cxn>
                    <a:cxn ang="0">
                      <a:pos x="2" y="0"/>
                    </a:cxn>
                    <a:cxn ang="0">
                      <a:pos x="5" y="0"/>
                    </a:cxn>
                    <a:cxn ang="0">
                      <a:pos x="8" y="4"/>
                    </a:cxn>
                    <a:cxn ang="0">
                      <a:pos x="12" y="7"/>
                    </a:cxn>
                    <a:cxn ang="0">
                      <a:pos x="12" y="7"/>
                    </a:cxn>
                    <a:cxn ang="0">
                      <a:pos x="10" y="7"/>
                    </a:cxn>
                    <a:cxn ang="0">
                      <a:pos x="10" y="7"/>
                    </a:cxn>
                    <a:cxn ang="0">
                      <a:pos x="2" y="4"/>
                    </a:cxn>
                    <a:cxn ang="0">
                      <a:pos x="0" y="2"/>
                    </a:cxn>
                    <a:cxn ang="0">
                      <a:pos x="2" y="0"/>
                    </a:cxn>
                  </a:cxnLst>
                  <a:rect l="0" t="0" r="r" b="b"/>
                  <a:pathLst>
                    <a:path w="12" h="7">
                      <a:moveTo>
                        <a:pt x="2" y="0"/>
                      </a:moveTo>
                      <a:lnTo>
                        <a:pt x="2" y="0"/>
                      </a:lnTo>
                      <a:lnTo>
                        <a:pt x="2" y="0"/>
                      </a:lnTo>
                      <a:lnTo>
                        <a:pt x="5" y="0"/>
                      </a:lnTo>
                      <a:lnTo>
                        <a:pt x="8" y="4"/>
                      </a:lnTo>
                      <a:lnTo>
                        <a:pt x="12" y="7"/>
                      </a:lnTo>
                      <a:lnTo>
                        <a:pt x="12" y="7"/>
                      </a:lnTo>
                      <a:lnTo>
                        <a:pt x="10" y="7"/>
                      </a:lnTo>
                      <a:lnTo>
                        <a:pt x="10" y="7"/>
                      </a:lnTo>
                      <a:lnTo>
                        <a:pt x="2" y="4"/>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5" name="Freeform 1704">
                  <a:extLst>
                    <a:ext uri="{FF2B5EF4-FFF2-40B4-BE49-F238E27FC236}">
                      <a16:creationId xmlns:a16="http://schemas.microsoft.com/office/drawing/2014/main" id="{6EDC4601-DE7F-9B5D-77C5-F75352FA1C06}"/>
                    </a:ext>
                  </a:extLst>
                </p:cNvPr>
                <p:cNvSpPr>
                  <a:spLocks/>
                </p:cNvSpPr>
                <p:nvPr/>
              </p:nvSpPr>
              <p:spPr bwMode="auto">
                <a:xfrm>
                  <a:off x="3341855" y="3858072"/>
                  <a:ext cx="5285" cy="3524"/>
                </a:xfrm>
                <a:custGeom>
                  <a:avLst/>
                  <a:gdLst/>
                  <a:ahLst/>
                  <a:cxnLst>
                    <a:cxn ang="0">
                      <a:pos x="0" y="3"/>
                    </a:cxn>
                    <a:cxn ang="0">
                      <a:pos x="0" y="3"/>
                    </a:cxn>
                    <a:cxn ang="0">
                      <a:pos x="0" y="2"/>
                    </a:cxn>
                    <a:cxn ang="0">
                      <a:pos x="4" y="0"/>
                    </a:cxn>
                    <a:cxn ang="0">
                      <a:pos x="7" y="0"/>
                    </a:cxn>
                    <a:cxn ang="0">
                      <a:pos x="9" y="0"/>
                    </a:cxn>
                    <a:cxn ang="0">
                      <a:pos x="9" y="0"/>
                    </a:cxn>
                    <a:cxn ang="0">
                      <a:pos x="9" y="2"/>
                    </a:cxn>
                    <a:cxn ang="0">
                      <a:pos x="5" y="3"/>
                    </a:cxn>
                    <a:cxn ang="0">
                      <a:pos x="2" y="3"/>
                    </a:cxn>
                    <a:cxn ang="0">
                      <a:pos x="0" y="3"/>
                    </a:cxn>
                    <a:cxn ang="0">
                      <a:pos x="0" y="3"/>
                    </a:cxn>
                  </a:cxnLst>
                  <a:rect l="0" t="0" r="r" b="b"/>
                  <a:pathLst>
                    <a:path w="9" h="3">
                      <a:moveTo>
                        <a:pt x="0" y="3"/>
                      </a:moveTo>
                      <a:lnTo>
                        <a:pt x="0" y="3"/>
                      </a:lnTo>
                      <a:lnTo>
                        <a:pt x="0" y="2"/>
                      </a:lnTo>
                      <a:lnTo>
                        <a:pt x="4" y="0"/>
                      </a:lnTo>
                      <a:lnTo>
                        <a:pt x="7" y="0"/>
                      </a:lnTo>
                      <a:lnTo>
                        <a:pt x="9" y="0"/>
                      </a:lnTo>
                      <a:lnTo>
                        <a:pt x="9" y="0"/>
                      </a:lnTo>
                      <a:lnTo>
                        <a:pt x="9" y="2"/>
                      </a:lnTo>
                      <a:lnTo>
                        <a:pt x="5" y="3"/>
                      </a:lnTo>
                      <a:lnTo>
                        <a:pt x="2" y="3"/>
                      </a:lnTo>
                      <a:lnTo>
                        <a:pt x="0" y="3"/>
                      </a:lnTo>
                      <a:lnTo>
                        <a:pt x="0"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6" name="Freeform 1705">
                  <a:extLst>
                    <a:ext uri="{FF2B5EF4-FFF2-40B4-BE49-F238E27FC236}">
                      <a16:creationId xmlns:a16="http://schemas.microsoft.com/office/drawing/2014/main" id="{1869A590-B28B-B276-EF86-4ED958FFF52D}"/>
                    </a:ext>
                  </a:extLst>
                </p:cNvPr>
                <p:cNvSpPr>
                  <a:spLocks/>
                </p:cNvSpPr>
                <p:nvPr/>
              </p:nvSpPr>
              <p:spPr bwMode="auto">
                <a:xfrm>
                  <a:off x="3454623" y="2790298"/>
                  <a:ext cx="49336" cy="59908"/>
                </a:xfrm>
                <a:custGeom>
                  <a:avLst/>
                  <a:gdLst/>
                  <a:ahLst/>
                  <a:cxnLst>
                    <a:cxn ang="0">
                      <a:pos x="4" y="72"/>
                    </a:cxn>
                    <a:cxn ang="0">
                      <a:pos x="4" y="72"/>
                    </a:cxn>
                    <a:cxn ang="0">
                      <a:pos x="2" y="63"/>
                    </a:cxn>
                    <a:cxn ang="0">
                      <a:pos x="0" y="56"/>
                    </a:cxn>
                    <a:cxn ang="0">
                      <a:pos x="2" y="49"/>
                    </a:cxn>
                    <a:cxn ang="0">
                      <a:pos x="4" y="42"/>
                    </a:cxn>
                    <a:cxn ang="0">
                      <a:pos x="11" y="30"/>
                    </a:cxn>
                    <a:cxn ang="0">
                      <a:pos x="21" y="16"/>
                    </a:cxn>
                    <a:cxn ang="0">
                      <a:pos x="21" y="16"/>
                    </a:cxn>
                    <a:cxn ang="0">
                      <a:pos x="32" y="4"/>
                    </a:cxn>
                    <a:cxn ang="0">
                      <a:pos x="35" y="0"/>
                    </a:cxn>
                    <a:cxn ang="0">
                      <a:pos x="37" y="0"/>
                    </a:cxn>
                    <a:cxn ang="0">
                      <a:pos x="39" y="2"/>
                    </a:cxn>
                    <a:cxn ang="0">
                      <a:pos x="40" y="5"/>
                    </a:cxn>
                    <a:cxn ang="0">
                      <a:pos x="40" y="16"/>
                    </a:cxn>
                    <a:cxn ang="0">
                      <a:pos x="40" y="16"/>
                    </a:cxn>
                    <a:cxn ang="0">
                      <a:pos x="39" y="28"/>
                    </a:cxn>
                    <a:cxn ang="0">
                      <a:pos x="40" y="35"/>
                    </a:cxn>
                    <a:cxn ang="0">
                      <a:pos x="42" y="39"/>
                    </a:cxn>
                    <a:cxn ang="0">
                      <a:pos x="46" y="40"/>
                    </a:cxn>
                    <a:cxn ang="0">
                      <a:pos x="54" y="42"/>
                    </a:cxn>
                    <a:cxn ang="0">
                      <a:pos x="54" y="42"/>
                    </a:cxn>
                    <a:cxn ang="0">
                      <a:pos x="58" y="44"/>
                    </a:cxn>
                    <a:cxn ang="0">
                      <a:pos x="60" y="46"/>
                    </a:cxn>
                    <a:cxn ang="0">
                      <a:pos x="61" y="49"/>
                    </a:cxn>
                    <a:cxn ang="0">
                      <a:pos x="60" y="52"/>
                    </a:cxn>
                    <a:cxn ang="0">
                      <a:pos x="53" y="59"/>
                    </a:cxn>
                    <a:cxn ang="0">
                      <a:pos x="44" y="66"/>
                    </a:cxn>
                    <a:cxn ang="0">
                      <a:pos x="44" y="66"/>
                    </a:cxn>
                    <a:cxn ang="0">
                      <a:pos x="35" y="72"/>
                    </a:cxn>
                    <a:cxn ang="0">
                      <a:pos x="28" y="75"/>
                    </a:cxn>
                    <a:cxn ang="0">
                      <a:pos x="26" y="73"/>
                    </a:cxn>
                    <a:cxn ang="0">
                      <a:pos x="26" y="72"/>
                    </a:cxn>
                    <a:cxn ang="0">
                      <a:pos x="26" y="61"/>
                    </a:cxn>
                    <a:cxn ang="0">
                      <a:pos x="26" y="61"/>
                    </a:cxn>
                    <a:cxn ang="0">
                      <a:pos x="28" y="51"/>
                    </a:cxn>
                    <a:cxn ang="0">
                      <a:pos x="28" y="49"/>
                    </a:cxn>
                    <a:cxn ang="0">
                      <a:pos x="26" y="47"/>
                    </a:cxn>
                    <a:cxn ang="0">
                      <a:pos x="25" y="49"/>
                    </a:cxn>
                    <a:cxn ang="0">
                      <a:pos x="23" y="51"/>
                    </a:cxn>
                    <a:cxn ang="0">
                      <a:pos x="18" y="61"/>
                    </a:cxn>
                    <a:cxn ang="0">
                      <a:pos x="18" y="61"/>
                    </a:cxn>
                    <a:cxn ang="0">
                      <a:pos x="16" y="70"/>
                    </a:cxn>
                    <a:cxn ang="0">
                      <a:pos x="11" y="77"/>
                    </a:cxn>
                    <a:cxn ang="0">
                      <a:pos x="9" y="77"/>
                    </a:cxn>
                    <a:cxn ang="0">
                      <a:pos x="7" y="77"/>
                    </a:cxn>
                    <a:cxn ang="0">
                      <a:pos x="4" y="72"/>
                    </a:cxn>
                    <a:cxn ang="0">
                      <a:pos x="4" y="72"/>
                    </a:cxn>
                  </a:cxnLst>
                  <a:rect l="0" t="0" r="r" b="b"/>
                  <a:pathLst>
                    <a:path w="61" h="77">
                      <a:moveTo>
                        <a:pt x="4" y="72"/>
                      </a:moveTo>
                      <a:lnTo>
                        <a:pt x="4" y="72"/>
                      </a:lnTo>
                      <a:lnTo>
                        <a:pt x="2" y="63"/>
                      </a:lnTo>
                      <a:lnTo>
                        <a:pt x="0" y="56"/>
                      </a:lnTo>
                      <a:lnTo>
                        <a:pt x="2" y="49"/>
                      </a:lnTo>
                      <a:lnTo>
                        <a:pt x="4" y="42"/>
                      </a:lnTo>
                      <a:lnTo>
                        <a:pt x="11" y="30"/>
                      </a:lnTo>
                      <a:lnTo>
                        <a:pt x="21" y="16"/>
                      </a:lnTo>
                      <a:lnTo>
                        <a:pt x="21" y="16"/>
                      </a:lnTo>
                      <a:lnTo>
                        <a:pt x="32" y="4"/>
                      </a:lnTo>
                      <a:lnTo>
                        <a:pt x="35" y="0"/>
                      </a:lnTo>
                      <a:lnTo>
                        <a:pt x="37" y="0"/>
                      </a:lnTo>
                      <a:lnTo>
                        <a:pt x="39" y="2"/>
                      </a:lnTo>
                      <a:lnTo>
                        <a:pt x="40" y="5"/>
                      </a:lnTo>
                      <a:lnTo>
                        <a:pt x="40" y="16"/>
                      </a:lnTo>
                      <a:lnTo>
                        <a:pt x="40" y="16"/>
                      </a:lnTo>
                      <a:lnTo>
                        <a:pt x="39" y="28"/>
                      </a:lnTo>
                      <a:lnTo>
                        <a:pt x="40" y="35"/>
                      </a:lnTo>
                      <a:lnTo>
                        <a:pt x="42" y="39"/>
                      </a:lnTo>
                      <a:lnTo>
                        <a:pt x="46" y="40"/>
                      </a:lnTo>
                      <a:lnTo>
                        <a:pt x="54" y="42"/>
                      </a:lnTo>
                      <a:lnTo>
                        <a:pt x="54" y="42"/>
                      </a:lnTo>
                      <a:lnTo>
                        <a:pt x="58" y="44"/>
                      </a:lnTo>
                      <a:lnTo>
                        <a:pt x="60" y="46"/>
                      </a:lnTo>
                      <a:lnTo>
                        <a:pt x="61" y="49"/>
                      </a:lnTo>
                      <a:lnTo>
                        <a:pt x="60" y="52"/>
                      </a:lnTo>
                      <a:lnTo>
                        <a:pt x="53" y="59"/>
                      </a:lnTo>
                      <a:lnTo>
                        <a:pt x="44" y="66"/>
                      </a:lnTo>
                      <a:lnTo>
                        <a:pt x="44" y="66"/>
                      </a:lnTo>
                      <a:lnTo>
                        <a:pt x="35" y="72"/>
                      </a:lnTo>
                      <a:lnTo>
                        <a:pt x="28" y="75"/>
                      </a:lnTo>
                      <a:lnTo>
                        <a:pt x="26" y="73"/>
                      </a:lnTo>
                      <a:lnTo>
                        <a:pt x="26" y="72"/>
                      </a:lnTo>
                      <a:lnTo>
                        <a:pt x="26" y="61"/>
                      </a:lnTo>
                      <a:lnTo>
                        <a:pt x="26" y="61"/>
                      </a:lnTo>
                      <a:lnTo>
                        <a:pt x="28" y="51"/>
                      </a:lnTo>
                      <a:lnTo>
                        <a:pt x="28" y="49"/>
                      </a:lnTo>
                      <a:lnTo>
                        <a:pt x="26" y="47"/>
                      </a:lnTo>
                      <a:lnTo>
                        <a:pt x="25" y="49"/>
                      </a:lnTo>
                      <a:lnTo>
                        <a:pt x="23" y="51"/>
                      </a:lnTo>
                      <a:lnTo>
                        <a:pt x="18" y="61"/>
                      </a:lnTo>
                      <a:lnTo>
                        <a:pt x="18" y="61"/>
                      </a:lnTo>
                      <a:lnTo>
                        <a:pt x="16" y="70"/>
                      </a:lnTo>
                      <a:lnTo>
                        <a:pt x="11" y="77"/>
                      </a:lnTo>
                      <a:lnTo>
                        <a:pt x="9" y="77"/>
                      </a:lnTo>
                      <a:lnTo>
                        <a:pt x="7" y="77"/>
                      </a:lnTo>
                      <a:lnTo>
                        <a:pt x="4" y="72"/>
                      </a:lnTo>
                      <a:lnTo>
                        <a:pt x="4" y="7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7" name="Freeform 1706">
                  <a:extLst>
                    <a:ext uri="{FF2B5EF4-FFF2-40B4-BE49-F238E27FC236}">
                      <a16:creationId xmlns:a16="http://schemas.microsoft.com/office/drawing/2014/main" id="{16AF29D3-903B-316C-FE19-620CB52C034F}"/>
                    </a:ext>
                  </a:extLst>
                </p:cNvPr>
                <p:cNvSpPr>
                  <a:spLocks/>
                </p:cNvSpPr>
                <p:nvPr/>
              </p:nvSpPr>
              <p:spPr bwMode="auto">
                <a:xfrm>
                  <a:off x="3366524" y="2670481"/>
                  <a:ext cx="82813" cy="37001"/>
                </a:xfrm>
                <a:custGeom>
                  <a:avLst/>
                  <a:gdLst/>
                  <a:ahLst/>
                  <a:cxnLst>
                    <a:cxn ang="0">
                      <a:pos x="101" y="40"/>
                    </a:cxn>
                    <a:cxn ang="0">
                      <a:pos x="101" y="40"/>
                    </a:cxn>
                    <a:cxn ang="0">
                      <a:pos x="99" y="44"/>
                    </a:cxn>
                    <a:cxn ang="0">
                      <a:pos x="95" y="46"/>
                    </a:cxn>
                    <a:cxn ang="0">
                      <a:pos x="88" y="47"/>
                    </a:cxn>
                    <a:cxn ang="0">
                      <a:pos x="78" y="46"/>
                    </a:cxn>
                    <a:cxn ang="0">
                      <a:pos x="66" y="42"/>
                    </a:cxn>
                    <a:cxn ang="0">
                      <a:pos x="45" y="32"/>
                    </a:cxn>
                    <a:cxn ang="0">
                      <a:pos x="29" y="21"/>
                    </a:cxn>
                    <a:cxn ang="0">
                      <a:pos x="29" y="21"/>
                    </a:cxn>
                    <a:cxn ang="0">
                      <a:pos x="15" y="12"/>
                    </a:cxn>
                    <a:cxn ang="0">
                      <a:pos x="3" y="4"/>
                    </a:cxn>
                    <a:cxn ang="0">
                      <a:pos x="0" y="2"/>
                    </a:cxn>
                    <a:cxn ang="0">
                      <a:pos x="1" y="0"/>
                    </a:cxn>
                    <a:cxn ang="0">
                      <a:pos x="1" y="0"/>
                    </a:cxn>
                    <a:cxn ang="0">
                      <a:pos x="8" y="0"/>
                    </a:cxn>
                    <a:cxn ang="0">
                      <a:pos x="22" y="2"/>
                    </a:cxn>
                    <a:cxn ang="0">
                      <a:pos x="22" y="2"/>
                    </a:cxn>
                    <a:cxn ang="0">
                      <a:pos x="38" y="4"/>
                    </a:cxn>
                    <a:cxn ang="0">
                      <a:pos x="54" y="9"/>
                    </a:cxn>
                    <a:cxn ang="0">
                      <a:pos x="68" y="14"/>
                    </a:cxn>
                    <a:cxn ang="0">
                      <a:pos x="80" y="19"/>
                    </a:cxn>
                    <a:cxn ang="0">
                      <a:pos x="90" y="26"/>
                    </a:cxn>
                    <a:cxn ang="0">
                      <a:pos x="97" y="32"/>
                    </a:cxn>
                    <a:cxn ang="0">
                      <a:pos x="101" y="37"/>
                    </a:cxn>
                    <a:cxn ang="0">
                      <a:pos x="102" y="39"/>
                    </a:cxn>
                    <a:cxn ang="0">
                      <a:pos x="101" y="40"/>
                    </a:cxn>
                    <a:cxn ang="0">
                      <a:pos x="101" y="40"/>
                    </a:cxn>
                  </a:cxnLst>
                  <a:rect l="0" t="0" r="r" b="b"/>
                  <a:pathLst>
                    <a:path w="102" h="47">
                      <a:moveTo>
                        <a:pt x="101" y="40"/>
                      </a:moveTo>
                      <a:lnTo>
                        <a:pt x="101" y="40"/>
                      </a:lnTo>
                      <a:lnTo>
                        <a:pt x="99" y="44"/>
                      </a:lnTo>
                      <a:lnTo>
                        <a:pt x="95" y="46"/>
                      </a:lnTo>
                      <a:lnTo>
                        <a:pt x="88" y="47"/>
                      </a:lnTo>
                      <a:lnTo>
                        <a:pt x="78" y="46"/>
                      </a:lnTo>
                      <a:lnTo>
                        <a:pt x="66" y="42"/>
                      </a:lnTo>
                      <a:lnTo>
                        <a:pt x="45" y="32"/>
                      </a:lnTo>
                      <a:lnTo>
                        <a:pt x="29" y="21"/>
                      </a:lnTo>
                      <a:lnTo>
                        <a:pt x="29" y="21"/>
                      </a:lnTo>
                      <a:lnTo>
                        <a:pt x="15" y="12"/>
                      </a:lnTo>
                      <a:lnTo>
                        <a:pt x="3" y="4"/>
                      </a:lnTo>
                      <a:lnTo>
                        <a:pt x="0" y="2"/>
                      </a:lnTo>
                      <a:lnTo>
                        <a:pt x="1" y="0"/>
                      </a:lnTo>
                      <a:lnTo>
                        <a:pt x="1" y="0"/>
                      </a:lnTo>
                      <a:lnTo>
                        <a:pt x="8" y="0"/>
                      </a:lnTo>
                      <a:lnTo>
                        <a:pt x="22" y="2"/>
                      </a:lnTo>
                      <a:lnTo>
                        <a:pt x="22" y="2"/>
                      </a:lnTo>
                      <a:lnTo>
                        <a:pt x="38" y="4"/>
                      </a:lnTo>
                      <a:lnTo>
                        <a:pt x="54" y="9"/>
                      </a:lnTo>
                      <a:lnTo>
                        <a:pt x="68" y="14"/>
                      </a:lnTo>
                      <a:lnTo>
                        <a:pt x="80" y="19"/>
                      </a:lnTo>
                      <a:lnTo>
                        <a:pt x="90" y="26"/>
                      </a:lnTo>
                      <a:lnTo>
                        <a:pt x="97" y="32"/>
                      </a:lnTo>
                      <a:lnTo>
                        <a:pt x="101" y="37"/>
                      </a:lnTo>
                      <a:lnTo>
                        <a:pt x="102" y="39"/>
                      </a:lnTo>
                      <a:lnTo>
                        <a:pt x="101" y="40"/>
                      </a:lnTo>
                      <a:lnTo>
                        <a:pt x="101" y="4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8" name="Freeform 1707">
                  <a:extLst>
                    <a:ext uri="{FF2B5EF4-FFF2-40B4-BE49-F238E27FC236}">
                      <a16:creationId xmlns:a16="http://schemas.microsoft.com/office/drawing/2014/main" id="{2DAF2575-DD5B-CE75-5AD3-A06BD8BA50F5}"/>
                    </a:ext>
                  </a:extLst>
                </p:cNvPr>
                <p:cNvSpPr>
                  <a:spLocks/>
                </p:cNvSpPr>
                <p:nvPr/>
              </p:nvSpPr>
              <p:spPr bwMode="auto">
                <a:xfrm>
                  <a:off x="3512767" y="2596479"/>
                  <a:ext cx="192060" cy="207916"/>
                </a:xfrm>
                <a:custGeom>
                  <a:avLst/>
                  <a:gdLst/>
                  <a:ahLst/>
                  <a:cxnLst>
                    <a:cxn ang="0">
                      <a:pos x="0" y="196"/>
                    </a:cxn>
                    <a:cxn ang="0">
                      <a:pos x="14" y="181"/>
                    </a:cxn>
                    <a:cxn ang="0">
                      <a:pos x="21" y="169"/>
                    </a:cxn>
                    <a:cxn ang="0">
                      <a:pos x="6" y="163"/>
                    </a:cxn>
                    <a:cxn ang="0">
                      <a:pos x="16" y="151"/>
                    </a:cxn>
                    <a:cxn ang="0">
                      <a:pos x="27" y="151"/>
                    </a:cxn>
                    <a:cxn ang="0">
                      <a:pos x="37" y="132"/>
                    </a:cxn>
                    <a:cxn ang="0">
                      <a:pos x="77" y="45"/>
                    </a:cxn>
                    <a:cxn ang="0">
                      <a:pos x="89" y="33"/>
                    </a:cxn>
                    <a:cxn ang="0">
                      <a:pos x="101" y="12"/>
                    </a:cxn>
                    <a:cxn ang="0">
                      <a:pos x="128" y="1"/>
                    </a:cxn>
                    <a:cxn ang="0">
                      <a:pos x="141" y="7"/>
                    </a:cxn>
                    <a:cxn ang="0">
                      <a:pos x="129" y="28"/>
                    </a:cxn>
                    <a:cxn ang="0">
                      <a:pos x="103" y="73"/>
                    </a:cxn>
                    <a:cxn ang="0">
                      <a:pos x="98" y="95"/>
                    </a:cxn>
                    <a:cxn ang="0">
                      <a:pos x="119" y="82"/>
                    </a:cxn>
                    <a:cxn ang="0">
                      <a:pos x="135" y="89"/>
                    </a:cxn>
                    <a:cxn ang="0">
                      <a:pos x="128" y="95"/>
                    </a:cxn>
                    <a:cxn ang="0">
                      <a:pos x="124" y="111"/>
                    </a:cxn>
                    <a:cxn ang="0">
                      <a:pos x="138" y="115"/>
                    </a:cxn>
                    <a:cxn ang="0">
                      <a:pos x="147" y="118"/>
                    </a:cxn>
                    <a:cxn ang="0">
                      <a:pos x="164" y="118"/>
                    </a:cxn>
                    <a:cxn ang="0">
                      <a:pos x="194" y="116"/>
                    </a:cxn>
                    <a:cxn ang="0">
                      <a:pos x="208" y="132"/>
                    </a:cxn>
                    <a:cxn ang="0">
                      <a:pos x="194" y="148"/>
                    </a:cxn>
                    <a:cxn ang="0">
                      <a:pos x="204" y="162"/>
                    </a:cxn>
                    <a:cxn ang="0">
                      <a:pos x="220" y="158"/>
                    </a:cxn>
                    <a:cxn ang="0">
                      <a:pos x="225" y="165"/>
                    </a:cxn>
                    <a:cxn ang="0">
                      <a:pos x="213" y="176"/>
                    </a:cxn>
                    <a:cxn ang="0">
                      <a:pos x="201" y="200"/>
                    </a:cxn>
                    <a:cxn ang="0">
                      <a:pos x="208" y="202"/>
                    </a:cxn>
                    <a:cxn ang="0">
                      <a:pos x="229" y="181"/>
                    </a:cxn>
                    <a:cxn ang="0">
                      <a:pos x="229" y="191"/>
                    </a:cxn>
                    <a:cxn ang="0">
                      <a:pos x="229" y="202"/>
                    </a:cxn>
                    <a:cxn ang="0">
                      <a:pos x="237" y="205"/>
                    </a:cxn>
                    <a:cxn ang="0">
                      <a:pos x="232" y="235"/>
                    </a:cxn>
                    <a:cxn ang="0">
                      <a:pos x="227" y="256"/>
                    </a:cxn>
                    <a:cxn ang="0">
                      <a:pos x="209" y="252"/>
                    </a:cxn>
                    <a:cxn ang="0">
                      <a:pos x="201" y="240"/>
                    </a:cxn>
                    <a:cxn ang="0">
                      <a:pos x="187" y="249"/>
                    </a:cxn>
                    <a:cxn ang="0">
                      <a:pos x="188" y="224"/>
                    </a:cxn>
                    <a:cxn ang="0">
                      <a:pos x="192" y="203"/>
                    </a:cxn>
                    <a:cxn ang="0">
                      <a:pos x="182" y="203"/>
                    </a:cxn>
                    <a:cxn ang="0">
                      <a:pos x="173" y="217"/>
                    </a:cxn>
                    <a:cxn ang="0">
                      <a:pos x="161" y="223"/>
                    </a:cxn>
                    <a:cxn ang="0">
                      <a:pos x="147" y="240"/>
                    </a:cxn>
                    <a:cxn ang="0">
                      <a:pos x="126" y="250"/>
                    </a:cxn>
                    <a:cxn ang="0">
                      <a:pos x="119" y="243"/>
                    </a:cxn>
                    <a:cxn ang="0">
                      <a:pos x="147" y="219"/>
                    </a:cxn>
                    <a:cxn ang="0">
                      <a:pos x="135" y="216"/>
                    </a:cxn>
                    <a:cxn ang="0">
                      <a:pos x="117" y="212"/>
                    </a:cxn>
                    <a:cxn ang="0">
                      <a:pos x="110" y="207"/>
                    </a:cxn>
                    <a:cxn ang="0">
                      <a:pos x="74" y="210"/>
                    </a:cxn>
                    <a:cxn ang="0">
                      <a:pos x="42" y="203"/>
                    </a:cxn>
                    <a:cxn ang="0">
                      <a:pos x="11" y="209"/>
                    </a:cxn>
                  </a:cxnLst>
                  <a:rect l="0" t="0" r="r" b="b"/>
                  <a:pathLst>
                    <a:path w="237" h="257">
                      <a:moveTo>
                        <a:pt x="4" y="203"/>
                      </a:moveTo>
                      <a:lnTo>
                        <a:pt x="4" y="203"/>
                      </a:lnTo>
                      <a:lnTo>
                        <a:pt x="0" y="200"/>
                      </a:lnTo>
                      <a:lnTo>
                        <a:pt x="0" y="196"/>
                      </a:lnTo>
                      <a:lnTo>
                        <a:pt x="0" y="195"/>
                      </a:lnTo>
                      <a:lnTo>
                        <a:pt x="2" y="191"/>
                      </a:lnTo>
                      <a:lnTo>
                        <a:pt x="7" y="186"/>
                      </a:lnTo>
                      <a:lnTo>
                        <a:pt x="14" y="181"/>
                      </a:lnTo>
                      <a:lnTo>
                        <a:pt x="25" y="172"/>
                      </a:lnTo>
                      <a:lnTo>
                        <a:pt x="25" y="172"/>
                      </a:lnTo>
                      <a:lnTo>
                        <a:pt x="25" y="170"/>
                      </a:lnTo>
                      <a:lnTo>
                        <a:pt x="21" y="169"/>
                      </a:lnTo>
                      <a:lnTo>
                        <a:pt x="21" y="169"/>
                      </a:lnTo>
                      <a:lnTo>
                        <a:pt x="9" y="167"/>
                      </a:lnTo>
                      <a:lnTo>
                        <a:pt x="6" y="165"/>
                      </a:lnTo>
                      <a:lnTo>
                        <a:pt x="6" y="163"/>
                      </a:lnTo>
                      <a:lnTo>
                        <a:pt x="6" y="162"/>
                      </a:lnTo>
                      <a:lnTo>
                        <a:pt x="7" y="160"/>
                      </a:lnTo>
                      <a:lnTo>
                        <a:pt x="16" y="151"/>
                      </a:lnTo>
                      <a:lnTo>
                        <a:pt x="16" y="151"/>
                      </a:lnTo>
                      <a:lnTo>
                        <a:pt x="21" y="149"/>
                      </a:lnTo>
                      <a:lnTo>
                        <a:pt x="25" y="148"/>
                      </a:lnTo>
                      <a:lnTo>
                        <a:pt x="25" y="149"/>
                      </a:lnTo>
                      <a:lnTo>
                        <a:pt x="27" y="151"/>
                      </a:lnTo>
                      <a:lnTo>
                        <a:pt x="27" y="151"/>
                      </a:lnTo>
                      <a:lnTo>
                        <a:pt x="28" y="148"/>
                      </a:lnTo>
                      <a:lnTo>
                        <a:pt x="37" y="132"/>
                      </a:lnTo>
                      <a:lnTo>
                        <a:pt x="37" y="132"/>
                      </a:lnTo>
                      <a:lnTo>
                        <a:pt x="49" y="102"/>
                      </a:lnTo>
                      <a:lnTo>
                        <a:pt x="61" y="75"/>
                      </a:lnTo>
                      <a:lnTo>
                        <a:pt x="72" y="52"/>
                      </a:lnTo>
                      <a:lnTo>
                        <a:pt x="77" y="45"/>
                      </a:lnTo>
                      <a:lnTo>
                        <a:pt x="82" y="40"/>
                      </a:lnTo>
                      <a:lnTo>
                        <a:pt x="82" y="40"/>
                      </a:lnTo>
                      <a:lnTo>
                        <a:pt x="87" y="36"/>
                      </a:lnTo>
                      <a:lnTo>
                        <a:pt x="89" y="33"/>
                      </a:lnTo>
                      <a:lnTo>
                        <a:pt x="91" y="26"/>
                      </a:lnTo>
                      <a:lnTo>
                        <a:pt x="93" y="22"/>
                      </a:lnTo>
                      <a:lnTo>
                        <a:pt x="96" y="17"/>
                      </a:lnTo>
                      <a:lnTo>
                        <a:pt x="101" y="12"/>
                      </a:lnTo>
                      <a:lnTo>
                        <a:pt x="110" y="7"/>
                      </a:lnTo>
                      <a:lnTo>
                        <a:pt x="110" y="7"/>
                      </a:lnTo>
                      <a:lnTo>
                        <a:pt x="119" y="3"/>
                      </a:lnTo>
                      <a:lnTo>
                        <a:pt x="128" y="1"/>
                      </a:lnTo>
                      <a:lnTo>
                        <a:pt x="133" y="0"/>
                      </a:lnTo>
                      <a:lnTo>
                        <a:pt x="138" y="1"/>
                      </a:lnTo>
                      <a:lnTo>
                        <a:pt x="140" y="5"/>
                      </a:lnTo>
                      <a:lnTo>
                        <a:pt x="141" y="7"/>
                      </a:lnTo>
                      <a:lnTo>
                        <a:pt x="140" y="12"/>
                      </a:lnTo>
                      <a:lnTo>
                        <a:pt x="138" y="15"/>
                      </a:lnTo>
                      <a:lnTo>
                        <a:pt x="138" y="15"/>
                      </a:lnTo>
                      <a:lnTo>
                        <a:pt x="129" y="28"/>
                      </a:lnTo>
                      <a:lnTo>
                        <a:pt x="122" y="42"/>
                      </a:lnTo>
                      <a:lnTo>
                        <a:pt x="114" y="55"/>
                      </a:lnTo>
                      <a:lnTo>
                        <a:pt x="114" y="55"/>
                      </a:lnTo>
                      <a:lnTo>
                        <a:pt x="103" y="73"/>
                      </a:lnTo>
                      <a:lnTo>
                        <a:pt x="94" y="90"/>
                      </a:lnTo>
                      <a:lnTo>
                        <a:pt x="93" y="95"/>
                      </a:lnTo>
                      <a:lnTo>
                        <a:pt x="94" y="97"/>
                      </a:lnTo>
                      <a:lnTo>
                        <a:pt x="98" y="95"/>
                      </a:lnTo>
                      <a:lnTo>
                        <a:pt x="103" y="90"/>
                      </a:lnTo>
                      <a:lnTo>
                        <a:pt x="103" y="90"/>
                      </a:lnTo>
                      <a:lnTo>
                        <a:pt x="112" y="85"/>
                      </a:lnTo>
                      <a:lnTo>
                        <a:pt x="119" y="82"/>
                      </a:lnTo>
                      <a:lnTo>
                        <a:pt x="124" y="82"/>
                      </a:lnTo>
                      <a:lnTo>
                        <a:pt x="129" y="83"/>
                      </a:lnTo>
                      <a:lnTo>
                        <a:pt x="133" y="85"/>
                      </a:lnTo>
                      <a:lnTo>
                        <a:pt x="135" y="89"/>
                      </a:lnTo>
                      <a:lnTo>
                        <a:pt x="135" y="92"/>
                      </a:lnTo>
                      <a:lnTo>
                        <a:pt x="131" y="94"/>
                      </a:lnTo>
                      <a:lnTo>
                        <a:pt x="131" y="94"/>
                      </a:lnTo>
                      <a:lnTo>
                        <a:pt x="128" y="95"/>
                      </a:lnTo>
                      <a:lnTo>
                        <a:pt x="124" y="99"/>
                      </a:lnTo>
                      <a:lnTo>
                        <a:pt x="122" y="102"/>
                      </a:lnTo>
                      <a:lnTo>
                        <a:pt x="122" y="108"/>
                      </a:lnTo>
                      <a:lnTo>
                        <a:pt x="124" y="111"/>
                      </a:lnTo>
                      <a:lnTo>
                        <a:pt x="128" y="113"/>
                      </a:lnTo>
                      <a:lnTo>
                        <a:pt x="131" y="115"/>
                      </a:lnTo>
                      <a:lnTo>
                        <a:pt x="138" y="115"/>
                      </a:lnTo>
                      <a:lnTo>
                        <a:pt x="138" y="115"/>
                      </a:lnTo>
                      <a:lnTo>
                        <a:pt x="143" y="113"/>
                      </a:lnTo>
                      <a:lnTo>
                        <a:pt x="147" y="115"/>
                      </a:lnTo>
                      <a:lnTo>
                        <a:pt x="147" y="116"/>
                      </a:lnTo>
                      <a:lnTo>
                        <a:pt x="147" y="118"/>
                      </a:lnTo>
                      <a:lnTo>
                        <a:pt x="147" y="120"/>
                      </a:lnTo>
                      <a:lnTo>
                        <a:pt x="148" y="120"/>
                      </a:lnTo>
                      <a:lnTo>
                        <a:pt x="154" y="120"/>
                      </a:lnTo>
                      <a:lnTo>
                        <a:pt x="164" y="118"/>
                      </a:lnTo>
                      <a:lnTo>
                        <a:pt x="164" y="118"/>
                      </a:lnTo>
                      <a:lnTo>
                        <a:pt x="175" y="115"/>
                      </a:lnTo>
                      <a:lnTo>
                        <a:pt x="185" y="115"/>
                      </a:lnTo>
                      <a:lnTo>
                        <a:pt x="194" y="116"/>
                      </a:lnTo>
                      <a:lnTo>
                        <a:pt x="202" y="118"/>
                      </a:lnTo>
                      <a:lnTo>
                        <a:pt x="206" y="122"/>
                      </a:lnTo>
                      <a:lnTo>
                        <a:pt x="209" y="127"/>
                      </a:lnTo>
                      <a:lnTo>
                        <a:pt x="208" y="132"/>
                      </a:lnTo>
                      <a:lnTo>
                        <a:pt x="202" y="137"/>
                      </a:lnTo>
                      <a:lnTo>
                        <a:pt x="202" y="137"/>
                      </a:lnTo>
                      <a:lnTo>
                        <a:pt x="195" y="144"/>
                      </a:lnTo>
                      <a:lnTo>
                        <a:pt x="194" y="148"/>
                      </a:lnTo>
                      <a:lnTo>
                        <a:pt x="194" y="153"/>
                      </a:lnTo>
                      <a:lnTo>
                        <a:pt x="195" y="156"/>
                      </a:lnTo>
                      <a:lnTo>
                        <a:pt x="201" y="160"/>
                      </a:lnTo>
                      <a:lnTo>
                        <a:pt x="204" y="162"/>
                      </a:lnTo>
                      <a:lnTo>
                        <a:pt x="211" y="162"/>
                      </a:lnTo>
                      <a:lnTo>
                        <a:pt x="216" y="160"/>
                      </a:lnTo>
                      <a:lnTo>
                        <a:pt x="216" y="160"/>
                      </a:lnTo>
                      <a:lnTo>
                        <a:pt x="220" y="158"/>
                      </a:lnTo>
                      <a:lnTo>
                        <a:pt x="223" y="158"/>
                      </a:lnTo>
                      <a:lnTo>
                        <a:pt x="225" y="160"/>
                      </a:lnTo>
                      <a:lnTo>
                        <a:pt x="227" y="162"/>
                      </a:lnTo>
                      <a:lnTo>
                        <a:pt x="225" y="165"/>
                      </a:lnTo>
                      <a:lnTo>
                        <a:pt x="223" y="169"/>
                      </a:lnTo>
                      <a:lnTo>
                        <a:pt x="220" y="172"/>
                      </a:lnTo>
                      <a:lnTo>
                        <a:pt x="213" y="176"/>
                      </a:lnTo>
                      <a:lnTo>
                        <a:pt x="213" y="176"/>
                      </a:lnTo>
                      <a:lnTo>
                        <a:pt x="208" y="181"/>
                      </a:lnTo>
                      <a:lnTo>
                        <a:pt x="204" y="186"/>
                      </a:lnTo>
                      <a:lnTo>
                        <a:pt x="201" y="193"/>
                      </a:lnTo>
                      <a:lnTo>
                        <a:pt x="201" y="200"/>
                      </a:lnTo>
                      <a:lnTo>
                        <a:pt x="201" y="205"/>
                      </a:lnTo>
                      <a:lnTo>
                        <a:pt x="201" y="209"/>
                      </a:lnTo>
                      <a:lnTo>
                        <a:pt x="204" y="207"/>
                      </a:lnTo>
                      <a:lnTo>
                        <a:pt x="208" y="202"/>
                      </a:lnTo>
                      <a:lnTo>
                        <a:pt x="208" y="202"/>
                      </a:lnTo>
                      <a:lnTo>
                        <a:pt x="213" y="195"/>
                      </a:lnTo>
                      <a:lnTo>
                        <a:pt x="218" y="188"/>
                      </a:lnTo>
                      <a:lnTo>
                        <a:pt x="229" y="181"/>
                      </a:lnTo>
                      <a:lnTo>
                        <a:pt x="232" y="179"/>
                      </a:lnTo>
                      <a:lnTo>
                        <a:pt x="234" y="181"/>
                      </a:lnTo>
                      <a:lnTo>
                        <a:pt x="234" y="184"/>
                      </a:lnTo>
                      <a:lnTo>
                        <a:pt x="229" y="191"/>
                      </a:lnTo>
                      <a:lnTo>
                        <a:pt x="229" y="191"/>
                      </a:lnTo>
                      <a:lnTo>
                        <a:pt x="225" y="198"/>
                      </a:lnTo>
                      <a:lnTo>
                        <a:pt x="225" y="200"/>
                      </a:lnTo>
                      <a:lnTo>
                        <a:pt x="229" y="202"/>
                      </a:lnTo>
                      <a:lnTo>
                        <a:pt x="232" y="200"/>
                      </a:lnTo>
                      <a:lnTo>
                        <a:pt x="235" y="200"/>
                      </a:lnTo>
                      <a:lnTo>
                        <a:pt x="237" y="202"/>
                      </a:lnTo>
                      <a:lnTo>
                        <a:pt x="237" y="205"/>
                      </a:lnTo>
                      <a:lnTo>
                        <a:pt x="235" y="216"/>
                      </a:lnTo>
                      <a:lnTo>
                        <a:pt x="235" y="216"/>
                      </a:lnTo>
                      <a:lnTo>
                        <a:pt x="232" y="226"/>
                      </a:lnTo>
                      <a:lnTo>
                        <a:pt x="232" y="235"/>
                      </a:lnTo>
                      <a:lnTo>
                        <a:pt x="232" y="247"/>
                      </a:lnTo>
                      <a:lnTo>
                        <a:pt x="232" y="252"/>
                      </a:lnTo>
                      <a:lnTo>
                        <a:pt x="230" y="254"/>
                      </a:lnTo>
                      <a:lnTo>
                        <a:pt x="227" y="256"/>
                      </a:lnTo>
                      <a:lnTo>
                        <a:pt x="220" y="257"/>
                      </a:lnTo>
                      <a:lnTo>
                        <a:pt x="220" y="257"/>
                      </a:lnTo>
                      <a:lnTo>
                        <a:pt x="215" y="256"/>
                      </a:lnTo>
                      <a:lnTo>
                        <a:pt x="209" y="252"/>
                      </a:lnTo>
                      <a:lnTo>
                        <a:pt x="206" y="249"/>
                      </a:lnTo>
                      <a:lnTo>
                        <a:pt x="204" y="245"/>
                      </a:lnTo>
                      <a:lnTo>
                        <a:pt x="202" y="242"/>
                      </a:lnTo>
                      <a:lnTo>
                        <a:pt x="201" y="240"/>
                      </a:lnTo>
                      <a:lnTo>
                        <a:pt x="199" y="240"/>
                      </a:lnTo>
                      <a:lnTo>
                        <a:pt x="194" y="243"/>
                      </a:lnTo>
                      <a:lnTo>
                        <a:pt x="194" y="243"/>
                      </a:lnTo>
                      <a:lnTo>
                        <a:pt x="187" y="249"/>
                      </a:lnTo>
                      <a:lnTo>
                        <a:pt x="183" y="249"/>
                      </a:lnTo>
                      <a:lnTo>
                        <a:pt x="183" y="247"/>
                      </a:lnTo>
                      <a:lnTo>
                        <a:pt x="185" y="238"/>
                      </a:lnTo>
                      <a:lnTo>
                        <a:pt x="188" y="224"/>
                      </a:lnTo>
                      <a:lnTo>
                        <a:pt x="188" y="224"/>
                      </a:lnTo>
                      <a:lnTo>
                        <a:pt x="190" y="216"/>
                      </a:lnTo>
                      <a:lnTo>
                        <a:pt x="192" y="210"/>
                      </a:lnTo>
                      <a:lnTo>
                        <a:pt x="192" y="203"/>
                      </a:lnTo>
                      <a:lnTo>
                        <a:pt x="190" y="200"/>
                      </a:lnTo>
                      <a:lnTo>
                        <a:pt x="188" y="198"/>
                      </a:lnTo>
                      <a:lnTo>
                        <a:pt x="185" y="200"/>
                      </a:lnTo>
                      <a:lnTo>
                        <a:pt x="182" y="203"/>
                      </a:lnTo>
                      <a:lnTo>
                        <a:pt x="178" y="209"/>
                      </a:lnTo>
                      <a:lnTo>
                        <a:pt x="178" y="209"/>
                      </a:lnTo>
                      <a:lnTo>
                        <a:pt x="175" y="216"/>
                      </a:lnTo>
                      <a:lnTo>
                        <a:pt x="173" y="217"/>
                      </a:lnTo>
                      <a:lnTo>
                        <a:pt x="169" y="219"/>
                      </a:lnTo>
                      <a:lnTo>
                        <a:pt x="168" y="221"/>
                      </a:lnTo>
                      <a:lnTo>
                        <a:pt x="164" y="221"/>
                      </a:lnTo>
                      <a:lnTo>
                        <a:pt x="161" y="223"/>
                      </a:lnTo>
                      <a:lnTo>
                        <a:pt x="157" y="226"/>
                      </a:lnTo>
                      <a:lnTo>
                        <a:pt x="152" y="233"/>
                      </a:lnTo>
                      <a:lnTo>
                        <a:pt x="152" y="233"/>
                      </a:lnTo>
                      <a:lnTo>
                        <a:pt x="147" y="240"/>
                      </a:lnTo>
                      <a:lnTo>
                        <a:pt x="141" y="245"/>
                      </a:lnTo>
                      <a:lnTo>
                        <a:pt x="135" y="249"/>
                      </a:lnTo>
                      <a:lnTo>
                        <a:pt x="129" y="250"/>
                      </a:lnTo>
                      <a:lnTo>
                        <a:pt x="126" y="250"/>
                      </a:lnTo>
                      <a:lnTo>
                        <a:pt x="121" y="249"/>
                      </a:lnTo>
                      <a:lnTo>
                        <a:pt x="119" y="247"/>
                      </a:lnTo>
                      <a:lnTo>
                        <a:pt x="119" y="243"/>
                      </a:lnTo>
                      <a:lnTo>
                        <a:pt x="119" y="243"/>
                      </a:lnTo>
                      <a:lnTo>
                        <a:pt x="121" y="240"/>
                      </a:lnTo>
                      <a:lnTo>
                        <a:pt x="126" y="235"/>
                      </a:lnTo>
                      <a:lnTo>
                        <a:pt x="141" y="224"/>
                      </a:lnTo>
                      <a:lnTo>
                        <a:pt x="147" y="219"/>
                      </a:lnTo>
                      <a:lnTo>
                        <a:pt x="148" y="216"/>
                      </a:lnTo>
                      <a:lnTo>
                        <a:pt x="148" y="216"/>
                      </a:lnTo>
                      <a:lnTo>
                        <a:pt x="145" y="214"/>
                      </a:lnTo>
                      <a:lnTo>
                        <a:pt x="135" y="216"/>
                      </a:lnTo>
                      <a:lnTo>
                        <a:pt x="135" y="216"/>
                      </a:lnTo>
                      <a:lnTo>
                        <a:pt x="124" y="216"/>
                      </a:lnTo>
                      <a:lnTo>
                        <a:pt x="119" y="214"/>
                      </a:lnTo>
                      <a:lnTo>
                        <a:pt x="117" y="212"/>
                      </a:lnTo>
                      <a:lnTo>
                        <a:pt x="117" y="210"/>
                      </a:lnTo>
                      <a:lnTo>
                        <a:pt x="119" y="209"/>
                      </a:lnTo>
                      <a:lnTo>
                        <a:pt x="117" y="207"/>
                      </a:lnTo>
                      <a:lnTo>
                        <a:pt x="110" y="207"/>
                      </a:lnTo>
                      <a:lnTo>
                        <a:pt x="98" y="209"/>
                      </a:lnTo>
                      <a:lnTo>
                        <a:pt x="98" y="209"/>
                      </a:lnTo>
                      <a:lnTo>
                        <a:pt x="84" y="210"/>
                      </a:lnTo>
                      <a:lnTo>
                        <a:pt x="74" y="210"/>
                      </a:lnTo>
                      <a:lnTo>
                        <a:pt x="65" y="209"/>
                      </a:lnTo>
                      <a:lnTo>
                        <a:pt x="60" y="207"/>
                      </a:lnTo>
                      <a:lnTo>
                        <a:pt x="49" y="203"/>
                      </a:lnTo>
                      <a:lnTo>
                        <a:pt x="42" y="203"/>
                      </a:lnTo>
                      <a:lnTo>
                        <a:pt x="34" y="205"/>
                      </a:lnTo>
                      <a:lnTo>
                        <a:pt x="34" y="205"/>
                      </a:lnTo>
                      <a:lnTo>
                        <a:pt x="18" y="209"/>
                      </a:lnTo>
                      <a:lnTo>
                        <a:pt x="11" y="209"/>
                      </a:lnTo>
                      <a:lnTo>
                        <a:pt x="6" y="207"/>
                      </a:lnTo>
                      <a:lnTo>
                        <a:pt x="4" y="203"/>
                      </a:lnTo>
                      <a:lnTo>
                        <a:pt x="4" y="20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9" name="Freeform 1708">
                  <a:extLst>
                    <a:ext uri="{FF2B5EF4-FFF2-40B4-BE49-F238E27FC236}">
                      <a16:creationId xmlns:a16="http://schemas.microsoft.com/office/drawing/2014/main" id="{14BDAD4F-ABFE-7280-68A5-5010CE7D45DA}"/>
                    </a:ext>
                  </a:extLst>
                </p:cNvPr>
                <p:cNvSpPr>
                  <a:spLocks/>
                </p:cNvSpPr>
                <p:nvPr/>
              </p:nvSpPr>
              <p:spPr bwMode="auto">
                <a:xfrm>
                  <a:off x="1643286" y="1518132"/>
                  <a:ext cx="296017" cy="181486"/>
                </a:xfrm>
                <a:custGeom>
                  <a:avLst/>
                  <a:gdLst/>
                  <a:ahLst/>
                  <a:cxnLst>
                    <a:cxn ang="0">
                      <a:pos x="33" y="179"/>
                    </a:cxn>
                    <a:cxn ang="0">
                      <a:pos x="4" y="170"/>
                    </a:cxn>
                    <a:cxn ang="0">
                      <a:pos x="4" y="165"/>
                    </a:cxn>
                    <a:cxn ang="0">
                      <a:pos x="7" y="155"/>
                    </a:cxn>
                    <a:cxn ang="0">
                      <a:pos x="28" y="132"/>
                    </a:cxn>
                    <a:cxn ang="0">
                      <a:pos x="30" y="123"/>
                    </a:cxn>
                    <a:cxn ang="0">
                      <a:pos x="30" y="113"/>
                    </a:cxn>
                    <a:cxn ang="0">
                      <a:pos x="47" y="110"/>
                    </a:cxn>
                    <a:cxn ang="0">
                      <a:pos x="47" y="104"/>
                    </a:cxn>
                    <a:cxn ang="0">
                      <a:pos x="39" y="99"/>
                    </a:cxn>
                    <a:cxn ang="0">
                      <a:pos x="47" y="87"/>
                    </a:cxn>
                    <a:cxn ang="0">
                      <a:pos x="49" y="80"/>
                    </a:cxn>
                    <a:cxn ang="0">
                      <a:pos x="58" y="73"/>
                    </a:cxn>
                    <a:cxn ang="0">
                      <a:pos x="65" y="68"/>
                    </a:cxn>
                    <a:cxn ang="0">
                      <a:pos x="66" y="61"/>
                    </a:cxn>
                    <a:cxn ang="0">
                      <a:pos x="75" y="52"/>
                    </a:cxn>
                    <a:cxn ang="0">
                      <a:pos x="66" y="47"/>
                    </a:cxn>
                    <a:cxn ang="0">
                      <a:pos x="54" y="36"/>
                    </a:cxn>
                    <a:cxn ang="0">
                      <a:pos x="47" y="22"/>
                    </a:cxn>
                    <a:cxn ang="0">
                      <a:pos x="42" y="17"/>
                    </a:cxn>
                    <a:cxn ang="0">
                      <a:pos x="72" y="12"/>
                    </a:cxn>
                    <a:cxn ang="0">
                      <a:pos x="136" y="3"/>
                    </a:cxn>
                    <a:cxn ang="0">
                      <a:pos x="155" y="0"/>
                    </a:cxn>
                    <a:cxn ang="0">
                      <a:pos x="181" y="10"/>
                    </a:cxn>
                    <a:cxn ang="0">
                      <a:pos x="204" y="19"/>
                    </a:cxn>
                    <a:cxn ang="0">
                      <a:pos x="232" y="22"/>
                    </a:cxn>
                    <a:cxn ang="0">
                      <a:pos x="237" y="26"/>
                    </a:cxn>
                    <a:cxn ang="0">
                      <a:pos x="237" y="36"/>
                    </a:cxn>
                    <a:cxn ang="0">
                      <a:pos x="244" y="35"/>
                    </a:cxn>
                    <a:cxn ang="0">
                      <a:pos x="251" y="24"/>
                    </a:cxn>
                    <a:cxn ang="0">
                      <a:pos x="277" y="19"/>
                    </a:cxn>
                    <a:cxn ang="0">
                      <a:pos x="303" y="24"/>
                    </a:cxn>
                    <a:cxn ang="0">
                      <a:pos x="340" y="49"/>
                    </a:cxn>
                    <a:cxn ang="0">
                      <a:pos x="355" y="57"/>
                    </a:cxn>
                    <a:cxn ang="0">
                      <a:pos x="371" y="68"/>
                    </a:cxn>
                    <a:cxn ang="0">
                      <a:pos x="355" y="80"/>
                    </a:cxn>
                    <a:cxn ang="0">
                      <a:pos x="324" y="89"/>
                    </a:cxn>
                    <a:cxn ang="0">
                      <a:pos x="256" y="118"/>
                    </a:cxn>
                    <a:cxn ang="0">
                      <a:pos x="237" y="129"/>
                    </a:cxn>
                    <a:cxn ang="0">
                      <a:pos x="230" y="144"/>
                    </a:cxn>
                    <a:cxn ang="0">
                      <a:pos x="213" y="153"/>
                    </a:cxn>
                    <a:cxn ang="0">
                      <a:pos x="199" y="162"/>
                    </a:cxn>
                    <a:cxn ang="0">
                      <a:pos x="195" y="184"/>
                    </a:cxn>
                    <a:cxn ang="0">
                      <a:pos x="187" y="202"/>
                    </a:cxn>
                    <a:cxn ang="0">
                      <a:pos x="173" y="207"/>
                    </a:cxn>
                    <a:cxn ang="0">
                      <a:pos x="157" y="207"/>
                    </a:cxn>
                    <a:cxn ang="0">
                      <a:pos x="141" y="209"/>
                    </a:cxn>
                    <a:cxn ang="0">
                      <a:pos x="117" y="224"/>
                    </a:cxn>
                    <a:cxn ang="0">
                      <a:pos x="96" y="226"/>
                    </a:cxn>
                    <a:cxn ang="0">
                      <a:pos x="89" y="221"/>
                    </a:cxn>
                    <a:cxn ang="0">
                      <a:pos x="75" y="198"/>
                    </a:cxn>
                    <a:cxn ang="0">
                      <a:pos x="59" y="188"/>
                    </a:cxn>
                  </a:cxnLst>
                  <a:rect l="0" t="0" r="r" b="b"/>
                  <a:pathLst>
                    <a:path w="371" h="228">
                      <a:moveTo>
                        <a:pt x="59" y="188"/>
                      </a:moveTo>
                      <a:lnTo>
                        <a:pt x="59" y="188"/>
                      </a:lnTo>
                      <a:lnTo>
                        <a:pt x="33" y="179"/>
                      </a:lnTo>
                      <a:lnTo>
                        <a:pt x="18" y="174"/>
                      </a:lnTo>
                      <a:lnTo>
                        <a:pt x="4" y="170"/>
                      </a:lnTo>
                      <a:lnTo>
                        <a:pt x="4" y="170"/>
                      </a:lnTo>
                      <a:lnTo>
                        <a:pt x="0" y="169"/>
                      </a:lnTo>
                      <a:lnTo>
                        <a:pt x="2" y="169"/>
                      </a:lnTo>
                      <a:lnTo>
                        <a:pt x="4" y="165"/>
                      </a:lnTo>
                      <a:lnTo>
                        <a:pt x="5" y="160"/>
                      </a:lnTo>
                      <a:lnTo>
                        <a:pt x="5" y="160"/>
                      </a:lnTo>
                      <a:lnTo>
                        <a:pt x="7" y="155"/>
                      </a:lnTo>
                      <a:lnTo>
                        <a:pt x="11" y="151"/>
                      </a:lnTo>
                      <a:lnTo>
                        <a:pt x="19" y="141"/>
                      </a:lnTo>
                      <a:lnTo>
                        <a:pt x="28" y="132"/>
                      </a:lnTo>
                      <a:lnTo>
                        <a:pt x="30" y="127"/>
                      </a:lnTo>
                      <a:lnTo>
                        <a:pt x="30" y="123"/>
                      </a:lnTo>
                      <a:lnTo>
                        <a:pt x="30" y="123"/>
                      </a:lnTo>
                      <a:lnTo>
                        <a:pt x="26" y="118"/>
                      </a:lnTo>
                      <a:lnTo>
                        <a:pt x="26" y="115"/>
                      </a:lnTo>
                      <a:lnTo>
                        <a:pt x="30" y="113"/>
                      </a:lnTo>
                      <a:lnTo>
                        <a:pt x="39" y="111"/>
                      </a:lnTo>
                      <a:lnTo>
                        <a:pt x="39" y="111"/>
                      </a:lnTo>
                      <a:lnTo>
                        <a:pt x="47" y="110"/>
                      </a:lnTo>
                      <a:lnTo>
                        <a:pt x="49" y="110"/>
                      </a:lnTo>
                      <a:lnTo>
                        <a:pt x="49" y="108"/>
                      </a:lnTo>
                      <a:lnTo>
                        <a:pt x="47" y="104"/>
                      </a:lnTo>
                      <a:lnTo>
                        <a:pt x="40" y="101"/>
                      </a:lnTo>
                      <a:lnTo>
                        <a:pt x="40" y="101"/>
                      </a:lnTo>
                      <a:lnTo>
                        <a:pt x="39" y="99"/>
                      </a:lnTo>
                      <a:lnTo>
                        <a:pt x="39" y="97"/>
                      </a:lnTo>
                      <a:lnTo>
                        <a:pt x="42" y="92"/>
                      </a:lnTo>
                      <a:lnTo>
                        <a:pt x="47" y="87"/>
                      </a:lnTo>
                      <a:lnTo>
                        <a:pt x="49" y="83"/>
                      </a:lnTo>
                      <a:lnTo>
                        <a:pt x="49" y="80"/>
                      </a:lnTo>
                      <a:lnTo>
                        <a:pt x="49" y="80"/>
                      </a:lnTo>
                      <a:lnTo>
                        <a:pt x="51" y="76"/>
                      </a:lnTo>
                      <a:lnTo>
                        <a:pt x="52" y="75"/>
                      </a:lnTo>
                      <a:lnTo>
                        <a:pt x="58" y="73"/>
                      </a:lnTo>
                      <a:lnTo>
                        <a:pt x="61" y="71"/>
                      </a:lnTo>
                      <a:lnTo>
                        <a:pt x="63" y="70"/>
                      </a:lnTo>
                      <a:lnTo>
                        <a:pt x="65" y="68"/>
                      </a:lnTo>
                      <a:lnTo>
                        <a:pt x="65" y="68"/>
                      </a:lnTo>
                      <a:lnTo>
                        <a:pt x="65" y="64"/>
                      </a:lnTo>
                      <a:lnTo>
                        <a:pt x="66" y="61"/>
                      </a:lnTo>
                      <a:lnTo>
                        <a:pt x="73" y="56"/>
                      </a:lnTo>
                      <a:lnTo>
                        <a:pt x="75" y="54"/>
                      </a:lnTo>
                      <a:lnTo>
                        <a:pt x="75" y="52"/>
                      </a:lnTo>
                      <a:lnTo>
                        <a:pt x="73" y="49"/>
                      </a:lnTo>
                      <a:lnTo>
                        <a:pt x="66" y="47"/>
                      </a:lnTo>
                      <a:lnTo>
                        <a:pt x="66" y="47"/>
                      </a:lnTo>
                      <a:lnTo>
                        <a:pt x="61" y="43"/>
                      </a:lnTo>
                      <a:lnTo>
                        <a:pt x="56" y="40"/>
                      </a:lnTo>
                      <a:lnTo>
                        <a:pt x="54" y="36"/>
                      </a:lnTo>
                      <a:lnTo>
                        <a:pt x="52" y="33"/>
                      </a:lnTo>
                      <a:lnTo>
                        <a:pt x="49" y="26"/>
                      </a:lnTo>
                      <a:lnTo>
                        <a:pt x="47" y="22"/>
                      </a:lnTo>
                      <a:lnTo>
                        <a:pt x="44" y="19"/>
                      </a:lnTo>
                      <a:lnTo>
                        <a:pt x="44" y="19"/>
                      </a:lnTo>
                      <a:lnTo>
                        <a:pt x="42" y="17"/>
                      </a:lnTo>
                      <a:lnTo>
                        <a:pt x="42" y="16"/>
                      </a:lnTo>
                      <a:lnTo>
                        <a:pt x="49" y="14"/>
                      </a:lnTo>
                      <a:lnTo>
                        <a:pt x="72" y="12"/>
                      </a:lnTo>
                      <a:lnTo>
                        <a:pt x="105" y="9"/>
                      </a:lnTo>
                      <a:lnTo>
                        <a:pt x="120" y="7"/>
                      </a:lnTo>
                      <a:lnTo>
                        <a:pt x="136" y="3"/>
                      </a:lnTo>
                      <a:lnTo>
                        <a:pt x="136" y="3"/>
                      </a:lnTo>
                      <a:lnTo>
                        <a:pt x="146" y="2"/>
                      </a:lnTo>
                      <a:lnTo>
                        <a:pt x="155" y="0"/>
                      </a:lnTo>
                      <a:lnTo>
                        <a:pt x="162" y="2"/>
                      </a:lnTo>
                      <a:lnTo>
                        <a:pt x="167" y="3"/>
                      </a:lnTo>
                      <a:lnTo>
                        <a:pt x="181" y="10"/>
                      </a:lnTo>
                      <a:lnTo>
                        <a:pt x="192" y="16"/>
                      </a:lnTo>
                      <a:lnTo>
                        <a:pt x="204" y="19"/>
                      </a:lnTo>
                      <a:lnTo>
                        <a:pt x="204" y="19"/>
                      </a:lnTo>
                      <a:lnTo>
                        <a:pt x="218" y="22"/>
                      </a:lnTo>
                      <a:lnTo>
                        <a:pt x="227" y="24"/>
                      </a:lnTo>
                      <a:lnTo>
                        <a:pt x="232" y="22"/>
                      </a:lnTo>
                      <a:lnTo>
                        <a:pt x="235" y="24"/>
                      </a:lnTo>
                      <a:lnTo>
                        <a:pt x="235" y="24"/>
                      </a:lnTo>
                      <a:lnTo>
                        <a:pt x="237" y="26"/>
                      </a:lnTo>
                      <a:lnTo>
                        <a:pt x="239" y="29"/>
                      </a:lnTo>
                      <a:lnTo>
                        <a:pt x="239" y="33"/>
                      </a:lnTo>
                      <a:lnTo>
                        <a:pt x="237" y="36"/>
                      </a:lnTo>
                      <a:lnTo>
                        <a:pt x="240" y="36"/>
                      </a:lnTo>
                      <a:lnTo>
                        <a:pt x="240" y="36"/>
                      </a:lnTo>
                      <a:lnTo>
                        <a:pt x="244" y="35"/>
                      </a:lnTo>
                      <a:lnTo>
                        <a:pt x="246" y="33"/>
                      </a:lnTo>
                      <a:lnTo>
                        <a:pt x="247" y="28"/>
                      </a:lnTo>
                      <a:lnTo>
                        <a:pt x="251" y="24"/>
                      </a:lnTo>
                      <a:lnTo>
                        <a:pt x="256" y="22"/>
                      </a:lnTo>
                      <a:lnTo>
                        <a:pt x="265" y="21"/>
                      </a:lnTo>
                      <a:lnTo>
                        <a:pt x="277" y="19"/>
                      </a:lnTo>
                      <a:lnTo>
                        <a:pt x="277" y="19"/>
                      </a:lnTo>
                      <a:lnTo>
                        <a:pt x="291" y="21"/>
                      </a:lnTo>
                      <a:lnTo>
                        <a:pt x="303" y="24"/>
                      </a:lnTo>
                      <a:lnTo>
                        <a:pt x="314" y="29"/>
                      </a:lnTo>
                      <a:lnTo>
                        <a:pt x="322" y="36"/>
                      </a:lnTo>
                      <a:lnTo>
                        <a:pt x="340" y="49"/>
                      </a:lnTo>
                      <a:lnTo>
                        <a:pt x="347" y="54"/>
                      </a:lnTo>
                      <a:lnTo>
                        <a:pt x="355" y="57"/>
                      </a:lnTo>
                      <a:lnTo>
                        <a:pt x="355" y="57"/>
                      </a:lnTo>
                      <a:lnTo>
                        <a:pt x="366" y="61"/>
                      </a:lnTo>
                      <a:lnTo>
                        <a:pt x="369" y="64"/>
                      </a:lnTo>
                      <a:lnTo>
                        <a:pt x="371" y="68"/>
                      </a:lnTo>
                      <a:lnTo>
                        <a:pt x="369" y="71"/>
                      </a:lnTo>
                      <a:lnTo>
                        <a:pt x="364" y="76"/>
                      </a:lnTo>
                      <a:lnTo>
                        <a:pt x="355" y="80"/>
                      </a:lnTo>
                      <a:lnTo>
                        <a:pt x="341" y="83"/>
                      </a:lnTo>
                      <a:lnTo>
                        <a:pt x="341" y="83"/>
                      </a:lnTo>
                      <a:lnTo>
                        <a:pt x="324" y="89"/>
                      </a:lnTo>
                      <a:lnTo>
                        <a:pt x="303" y="99"/>
                      </a:lnTo>
                      <a:lnTo>
                        <a:pt x="281" y="108"/>
                      </a:lnTo>
                      <a:lnTo>
                        <a:pt x="256" y="118"/>
                      </a:lnTo>
                      <a:lnTo>
                        <a:pt x="256" y="118"/>
                      </a:lnTo>
                      <a:lnTo>
                        <a:pt x="244" y="123"/>
                      </a:lnTo>
                      <a:lnTo>
                        <a:pt x="237" y="129"/>
                      </a:lnTo>
                      <a:lnTo>
                        <a:pt x="234" y="134"/>
                      </a:lnTo>
                      <a:lnTo>
                        <a:pt x="232" y="139"/>
                      </a:lnTo>
                      <a:lnTo>
                        <a:pt x="230" y="144"/>
                      </a:lnTo>
                      <a:lnTo>
                        <a:pt x="227" y="148"/>
                      </a:lnTo>
                      <a:lnTo>
                        <a:pt x="221" y="151"/>
                      </a:lnTo>
                      <a:lnTo>
                        <a:pt x="213" y="153"/>
                      </a:lnTo>
                      <a:lnTo>
                        <a:pt x="213" y="153"/>
                      </a:lnTo>
                      <a:lnTo>
                        <a:pt x="202" y="157"/>
                      </a:lnTo>
                      <a:lnTo>
                        <a:pt x="199" y="162"/>
                      </a:lnTo>
                      <a:lnTo>
                        <a:pt x="195" y="167"/>
                      </a:lnTo>
                      <a:lnTo>
                        <a:pt x="195" y="176"/>
                      </a:lnTo>
                      <a:lnTo>
                        <a:pt x="195" y="184"/>
                      </a:lnTo>
                      <a:lnTo>
                        <a:pt x="193" y="191"/>
                      </a:lnTo>
                      <a:lnTo>
                        <a:pt x="188" y="198"/>
                      </a:lnTo>
                      <a:lnTo>
                        <a:pt x="187" y="202"/>
                      </a:lnTo>
                      <a:lnTo>
                        <a:pt x="181" y="204"/>
                      </a:lnTo>
                      <a:lnTo>
                        <a:pt x="181" y="204"/>
                      </a:lnTo>
                      <a:lnTo>
                        <a:pt x="173" y="207"/>
                      </a:lnTo>
                      <a:lnTo>
                        <a:pt x="166" y="209"/>
                      </a:lnTo>
                      <a:lnTo>
                        <a:pt x="160" y="209"/>
                      </a:lnTo>
                      <a:lnTo>
                        <a:pt x="157" y="207"/>
                      </a:lnTo>
                      <a:lnTo>
                        <a:pt x="150" y="205"/>
                      </a:lnTo>
                      <a:lnTo>
                        <a:pt x="146" y="207"/>
                      </a:lnTo>
                      <a:lnTo>
                        <a:pt x="141" y="209"/>
                      </a:lnTo>
                      <a:lnTo>
                        <a:pt x="141" y="209"/>
                      </a:lnTo>
                      <a:lnTo>
                        <a:pt x="129" y="217"/>
                      </a:lnTo>
                      <a:lnTo>
                        <a:pt x="117" y="224"/>
                      </a:lnTo>
                      <a:lnTo>
                        <a:pt x="106" y="228"/>
                      </a:lnTo>
                      <a:lnTo>
                        <a:pt x="101" y="228"/>
                      </a:lnTo>
                      <a:lnTo>
                        <a:pt x="96" y="226"/>
                      </a:lnTo>
                      <a:lnTo>
                        <a:pt x="96" y="226"/>
                      </a:lnTo>
                      <a:lnTo>
                        <a:pt x="92" y="224"/>
                      </a:lnTo>
                      <a:lnTo>
                        <a:pt x="89" y="221"/>
                      </a:lnTo>
                      <a:lnTo>
                        <a:pt x="84" y="211"/>
                      </a:lnTo>
                      <a:lnTo>
                        <a:pt x="80" y="204"/>
                      </a:lnTo>
                      <a:lnTo>
                        <a:pt x="75" y="198"/>
                      </a:lnTo>
                      <a:lnTo>
                        <a:pt x="68" y="193"/>
                      </a:lnTo>
                      <a:lnTo>
                        <a:pt x="59" y="188"/>
                      </a:lnTo>
                      <a:lnTo>
                        <a:pt x="59" y="18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0" name="Freeform 1709">
                  <a:extLst>
                    <a:ext uri="{FF2B5EF4-FFF2-40B4-BE49-F238E27FC236}">
                      <a16:creationId xmlns:a16="http://schemas.microsoft.com/office/drawing/2014/main" id="{3C25EE36-EF9D-EC86-F57A-9F9D0CE0A6CF}"/>
                    </a:ext>
                  </a:extLst>
                </p:cNvPr>
                <p:cNvSpPr>
                  <a:spLocks/>
                </p:cNvSpPr>
                <p:nvPr/>
              </p:nvSpPr>
              <p:spPr bwMode="auto">
                <a:xfrm>
                  <a:off x="1833583" y="1581565"/>
                  <a:ext cx="510981" cy="250205"/>
                </a:xfrm>
                <a:custGeom>
                  <a:avLst/>
                  <a:gdLst/>
                  <a:ahLst/>
                  <a:cxnLst>
                    <a:cxn ang="0">
                      <a:pos x="425" y="265"/>
                    </a:cxn>
                    <a:cxn ang="0">
                      <a:pos x="390" y="282"/>
                    </a:cxn>
                    <a:cxn ang="0">
                      <a:pos x="320" y="303"/>
                    </a:cxn>
                    <a:cxn ang="0">
                      <a:pos x="224" y="312"/>
                    </a:cxn>
                    <a:cxn ang="0">
                      <a:pos x="191" y="292"/>
                    </a:cxn>
                    <a:cxn ang="0">
                      <a:pos x="184" y="265"/>
                    </a:cxn>
                    <a:cxn ang="0">
                      <a:pos x="87" y="251"/>
                    </a:cxn>
                    <a:cxn ang="0">
                      <a:pos x="66" y="212"/>
                    </a:cxn>
                    <a:cxn ang="0">
                      <a:pos x="214" y="200"/>
                    </a:cxn>
                    <a:cxn ang="0">
                      <a:pos x="264" y="198"/>
                    </a:cxn>
                    <a:cxn ang="0">
                      <a:pos x="216" y="181"/>
                    </a:cxn>
                    <a:cxn ang="0">
                      <a:pos x="132" y="181"/>
                    </a:cxn>
                    <a:cxn ang="0">
                      <a:pos x="66" y="179"/>
                    </a:cxn>
                    <a:cxn ang="0">
                      <a:pos x="26" y="155"/>
                    </a:cxn>
                    <a:cxn ang="0">
                      <a:pos x="97" y="131"/>
                    </a:cxn>
                    <a:cxn ang="0">
                      <a:pos x="75" y="125"/>
                    </a:cxn>
                    <a:cxn ang="0">
                      <a:pos x="22" y="113"/>
                    </a:cxn>
                    <a:cxn ang="0">
                      <a:pos x="3" y="115"/>
                    </a:cxn>
                    <a:cxn ang="0">
                      <a:pos x="7" y="89"/>
                    </a:cxn>
                    <a:cxn ang="0">
                      <a:pos x="35" y="71"/>
                    </a:cxn>
                    <a:cxn ang="0">
                      <a:pos x="28" y="52"/>
                    </a:cxn>
                    <a:cxn ang="0">
                      <a:pos x="129" y="5"/>
                    </a:cxn>
                    <a:cxn ang="0">
                      <a:pos x="179" y="10"/>
                    </a:cxn>
                    <a:cxn ang="0">
                      <a:pos x="177" y="35"/>
                    </a:cxn>
                    <a:cxn ang="0">
                      <a:pos x="191" y="43"/>
                    </a:cxn>
                    <a:cxn ang="0">
                      <a:pos x="207" y="26"/>
                    </a:cxn>
                    <a:cxn ang="0">
                      <a:pos x="277" y="45"/>
                    </a:cxn>
                    <a:cxn ang="0">
                      <a:pos x="282" y="68"/>
                    </a:cxn>
                    <a:cxn ang="0">
                      <a:pos x="306" y="52"/>
                    </a:cxn>
                    <a:cxn ang="0">
                      <a:pos x="308" y="43"/>
                    </a:cxn>
                    <a:cxn ang="0">
                      <a:pos x="294" y="28"/>
                    </a:cxn>
                    <a:cxn ang="0">
                      <a:pos x="329" y="28"/>
                    </a:cxn>
                    <a:cxn ang="0">
                      <a:pos x="343" y="40"/>
                    </a:cxn>
                    <a:cxn ang="0">
                      <a:pos x="376" y="90"/>
                    </a:cxn>
                    <a:cxn ang="0">
                      <a:pos x="400" y="110"/>
                    </a:cxn>
                    <a:cxn ang="0">
                      <a:pos x="411" y="92"/>
                    </a:cxn>
                    <a:cxn ang="0">
                      <a:pos x="381" y="24"/>
                    </a:cxn>
                    <a:cxn ang="0">
                      <a:pos x="392" y="2"/>
                    </a:cxn>
                    <a:cxn ang="0">
                      <a:pos x="425" y="3"/>
                    </a:cxn>
                    <a:cxn ang="0">
                      <a:pos x="468" y="24"/>
                    </a:cxn>
                    <a:cxn ang="0">
                      <a:pos x="499" y="96"/>
                    </a:cxn>
                    <a:cxn ang="0">
                      <a:pos x="517" y="127"/>
                    </a:cxn>
                    <a:cxn ang="0">
                      <a:pos x="512" y="151"/>
                    </a:cxn>
                    <a:cxn ang="0">
                      <a:pos x="548" y="181"/>
                    </a:cxn>
                    <a:cxn ang="0">
                      <a:pos x="567" y="176"/>
                    </a:cxn>
                    <a:cxn ang="0">
                      <a:pos x="613" y="198"/>
                    </a:cxn>
                    <a:cxn ang="0">
                      <a:pos x="632" y="205"/>
                    </a:cxn>
                    <a:cxn ang="0">
                      <a:pos x="637" y="235"/>
                    </a:cxn>
                    <a:cxn ang="0">
                      <a:pos x="616" y="232"/>
                    </a:cxn>
                    <a:cxn ang="0">
                      <a:pos x="595" y="228"/>
                    </a:cxn>
                    <a:cxn ang="0">
                      <a:pos x="581" y="237"/>
                    </a:cxn>
                    <a:cxn ang="0">
                      <a:pos x="564" y="240"/>
                    </a:cxn>
                    <a:cxn ang="0">
                      <a:pos x="557" y="244"/>
                    </a:cxn>
                    <a:cxn ang="0">
                      <a:pos x="564" y="261"/>
                    </a:cxn>
                    <a:cxn ang="0">
                      <a:pos x="602" y="252"/>
                    </a:cxn>
                    <a:cxn ang="0">
                      <a:pos x="609" y="270"/>
                    </a:cxn>
                    <a:cxn ang="0">
                      <a:pos x="587" y="282"/>
                    </a:cxn>
                    <a:cxn ang="0">
                      <a:pos x="552" y="291"/>
                    </a:cxn>
                    <a:cxn ang="0">
                      <a:pos x="510" y="287"/>
                    </a:cxn>
                    <a:cxn ang="0">
                      <a:pos x="491" y="280"/>
                    </a:cxn>
                    <a:cxn ang="0">
                      <a:pos x="459" y="270"/>
                    </a:cxn>
                    <a:cxn ang="0">
                      <a:pos x="446" y="252"/>
                    </a:cxn>
                  </a:cxnLst>
                  <a:rect l="0" t="0" r="r" b="b"/>
                  <a:pathLst>
                    <a:path w="639" h="312">
                      <a:moveTo>
                        <a:pt x="433" y="252"/>
                      </a:moveTo>
                      <a:lnTo>
                        <a:pt x="433" y="252"/>
                      </a:lnTo>
                      <a:lnTo>
                        <a:pt x="428" y="254"/>
                      </a:lnTo>
                      <a:lnTo>
                        <a:pt x="425" y="258"/>
                      </a:lnTo>
                      <a:lnTo>
                        <a:pt x="425" y="259"/>
                      </a:lnTo>
                      <a:lnTo>
                        <a:pt x="425" y="263"/>
                      </a:lnTo>
                      <a:lnTo>
                        <a:pt x="425" y="265"/>
                      </a:lnTo>
                      <a:lnTo>
                        <a:pt x="425" y="268"/>
                      </a:lnTo>
                      <a:lnTo>
                        <a:pt x="421" y="272"/>
                      </a:lnTo>
                      <a:lnTo>
                        <a:pt x="416" y="275"/>
                      </a:lnTo>
                      <a:lnTo>
                        <a:pt x="416" y="275"/>
                      </a:lnTo>
                      <a:lnTo>
                        <a:pt x="407" y="279"/>
                      </a:lnTo>
                      <a:lnTo>
                        <a:pt x="402" y="282"/>
                      </a:lnTo>
                      <a:lnTo>
                        <a:pt x="390" y="282"/>
                      </a:lnTo>
                      <a:lnTo>
                        <a:pt x="378" y="284"/>
                      </a:lnTo>
                      <a:lnTo>
                        <a:pt x="371" y="285"/>
                      </a:lnTo>
                      <a:lnTo>
                        <a:pt x="365" y="289"/>
                      </a:lnTo>
                      <a:lnTo>
                        <a:pt x="365" y="289"/>
                      </a:lnTo>
                      <a:lnTo>
                        <a:pt x="357" y="294"/>
                      </a:lnTo>
                      <a:lnTo>
                        <a:pt x="346" y="296"/>
                      </a:lnTo>
                      <a:lnTo>
                        <a:pt x="320" y="303"/>
                      </a:lnTo>
                      <a:lnTo>
                        <a:pt x="296" y="306"/>
                      </a:lnTo>
                      <a:lnTo>
                        <a:pt x="280" y="310"/>
                      </a:lnTo>
                      <a:lnTo>
                        <a:pt x="280" y="310"/>
                      </a:lnTo>
                      <a:lnTo>
                        <a:pt x="271" y="312"/>
                      </a:lnTo>
                      <a:lnTo>
                        <a:pt x="259" y="312"/>
                      </a:lnTo>
                      <a:lnTo>
                        <a:pt x="244" y="310"/>
                      </a:lnTo>
                      <a:lnTo>
                        <a:pt x="224" y="312"/>
                      </a:lnTo>
                      <a:lnTo>
                        <a:pt x="224" y="312"/>
                      </a:lnTo>
                      <a:lnTo>
                        <a:pt x="212" y="312"/>
                      </a:lnTo>
                      <a:lnTo>
                        <a:pt x="205" y="308"/>
                      </a:lnTo>
                      <a:lnTo>
                        <a:pt x="200" y="303"/>
                      </a:lnTo>
                      <a:lnTo>
                        <a:pt x="195" y="298"/>
                      </a:lnTo>
                      <a:lnTo>
                        <a:pt x="195" y="298"/>
                      </a:lnTo>
                      <a:lnTo>
                        <a:pt x="191" y="292"/>
                      </a:lnTo>
                      <a:lnTo>
                        <a:pt x="191" y="289"/>
                      </a:lnTo>
                      <a:lnTo>
                        <a:pt x="193" y="277"/>
                      </a:lnTo>
                      <a:lnTo>
                        <a:pt x="193" y="273"/>
                      </a:lnTo>
                      <a:lnTo>
                        <a:pt x="193" y="268"/>
                      </a:lnTo>
                      <a:lnTo>
                        <a:pt x="190" y="266"/>
                      </a:lnTo>
                      <a:lnTo>
                        <a:pt x="184" y="265"/>
                      </a:lnTo>
                      <a:lnTo>
                        <a:pt x="184" y="265"/>
                      </a:lnTo>
                      <a:lnTo>
                        <a:pt x="163" y="265"/>
                      </a:lnTo>
                      <a:lnTo>
                        <a:pt x="134" y="263"/>
                      </a:lnTo>
                      <a:lnTo>
                        <a:pt x="118" y="263"/>
                      </a:lnTo>
                      <a:lnTo>
                        <a:pt x="104" y="259"/>
                      </a:lnTo>
                      <a:lnTo>
                        <a:pt x="94" y="256"/>
                      </a:lnTo>
                      <a:lnTo>
                        <a:pt x="87" y="251"/>
                      </a:lnTo>
                      <a:lnTo>
                        <a:pt x="87" y="251"/>
                      </a:lnTo>
                      <a:lnTo>
                        <a:pt x="73" y="238"/>
                      </a:lnTo>
                      <a:lnTo>
                        <a:pt x="66" y="233"/>
                      </a:lnTo>
                      <a:lnTo>
                        <a:pt x="62" y="226"/>
                      </a:lnTo>
                      <a:lnTo>
                        <a:pt x="59" y="221"/>
                      </a:lnTo>
                      <a:lnTo>
                        <a:pt x="59" y="219"/>
                      </a:lnTo>
                      <a:lnTo>
                        <a:pt x="61" y="216"/>
                      </a:lnTo>
                      <a:lnTo>
                        <a:pt x="66" y="212"/>
                      </a:lnTo>
                      <a:lnTo>
                        <a:pt x="76" y="209"/>
                      </a:lnTo>
                      <a:lnTo>
                        <a:pt x="76" y="209"/>
                      </a:lnTo>
                      <a:lnTo>
                        <a:pt x="108" y="204"/>
                      </a:lnTo>
                      <a:lnTo>
                        <a:pt x="144" y="200"/>
                      </a:lnTo>
                      <a:lnTo>
                        <a:pt x="181" y="198"/>
                      </a:lnTo>
                      <a:lnTo>
                        <a:pt x="214" y="200"/>
                      </a:lnTo>
                      <a:lnTo>
                        <a:pt x="214" y="200"/>
                      </a:lnTo>
                      <a:lnTo>
                        <a:pt x="231" y="202"/>
                      </a:lnTo>
                      <a:lnTo>
                        <a:pt x="238" y="200"/>
                      </a:lnTo>
                      <a:lnTo>
                        <a:pt x="244" y="200"/>
                      </a:lnTo>
                      <a:lnTo>
                        <a:pt x="254" y="200"/>
                      </a:lnTo>
                      <a:lnTo>
                        <a:pt x="254" y="200"/>
                      </a:lnTo>
                      <a:lnTo>
                        <a:pt x="264" y="200"/>
                      </a:lnTo>
                      <a:lnTo>
                        <a:pt x="264" y="198"/>
                      </a:lnTo>
                      <a:lnTo>
                        <a:pt x="261" y="197"/>
                      </a:lnTo>
                      <a:lnTo>
                        <a:pt x="250" y="191"/>
                      </a:lnTo>
                      <a:lnTo>
                        <a:pt x="240" y="186"/>
                      </a:lnTo>
                      <a:lnTo>
                        <a:pt x="240" y="186"/>
                      </a:lnTo>
                      <a:lnTo>
                        <a:pt x="231" y="181"/>
                      </a:lnTo>
                      <a:lnTo>
                        <a:pt x="226" y="181"/>
                      </a:lnTo>
                      <a:lnTo>
                        <a:pt x="216" y="181"/>
                      </a:lnTo>
                      <a:lnTo>
                        <a:pt x="200" y="178"/>
                      </a:lnTo>
                      <a:lnTo>
                        <a:pt x="200" y="178"/>
                      </a:lnTo>
                      <a:lnTo>
                        <a:pt x="190" y="176"/>
                      </a:lnTo>
                      <a:lnTo>
                        <a:pt x="181" y="174"/>
                      </a:lnTo>
                      <a:lnTo>
                        <a:pt x="167" y="176"/>
                      </a:lnTo>
                      <a:lnTo>
                        <a:pt x="153" y="179"/>
                      </a:lnTo>
                      <a:lnTo>
                        <a:pt x="132" y="181"/>
                      </a:lnTo>
                      <a:lnTo>
                        <a:pt x="132" y="181"/>
                      </a:lnTo>
                      <a:lnTo>
                        <a:pt x="113" y="179"/>
                      </a:lnTo>
                      <a:lnTo>
                        <a:pt x="102" y="178"/>
                      </a:lnTo>
                      <a:lnTo>
                        <a:pt x="96" y="176"/>
                      </a:lnTo>
                      <a:lnTo>
                        <a:pt x="82" y="178"/>
                      </a:lnTo>
                      <a:lnTo>
                        <a:pt x="82" y="178"/>
                      </a:lnTo>
                      <a:lnTo>
                        <a:pt x="66" y="179"/>
                      </a:lnTo>
                      <a:lnTo>
                        <a:pt x="55" y="178"/>
                      </a:lnTo>
                      <a:lnTo>
                        <a:pt x="49" y="176"/>
                      </a:lnTo>
                      <a:lnTo>
                        <a:pt x="36" y="167"/>
                      </a:lnTo>
                      <a:lnTo>
                        <a:pt x="36" y="167"/>
                      </a:lnTo>
                      <a:lnTo>
                        <a:pt x="31" y="162"/>
                      </a:lnTo>
                      <a:lnTo>
                        <a:pt x="28" y="158"/>
                      </a:lnTo>
                      <a:lnTo>
                        <a:pt x="26" y="155"/>
                      </a:lnTo>
                      <a:lnTo>
                        <a:pt x="28" y="151"/>
                      </a:lnTo>
                      <a:lnTo>
                        <a:pt x="31" y="148"/>
                      </a:lnTo>
                      <a:lnTo>
                        <a:pt x="38" y="144"/>
                      </a:lnTo>
                      <a:lnTo>
                        <a:pt x="64" y="139"/>
                      </a:lnTo>
                      <a:lnTo>
                        <a:pt x="64" y="139"/>
                      </a:lnTo>
                      <a:lnTo>
                        <a:pt x="85" y="134"/>
                      </a:lnTo>
                      <a:lnTo>
                        <a:pt x="97" y="131"/>
                      </a:lnTo>
                      <a:lnTo>
                        <a:pt x="104" y="127"/>
                      </a:lnTo>
                      <a:lnTo>
                        <a:pt x="104" y="125"/>
                      </a:lnTo>
                      <a:lnTo>
                        <a:pt x="102" y="122"/>
                      </a:lnTo>
                      <a:lnTo>
                        <a:pt x="99" y="122"/>
                      </a:lnTo>
                      <a:lnTo>
                        <a:pt x="89" y="122"/>
                      </a:lnTo>
                      <a:lnTo>
                        <a:pt x="89" y="122"/>
                      </a:lnTo>
                      <a:lnTo>
                        <a:pt x="75" y="125"/>
                      </a:lnTo>
                      <a:lnTo>
                        <a:pt x="55" y="129"/>
                      </a:lnTo>
                      <a:lnTo>
                        <a:pt x="38" y="131"/>
                      </a:lnTo>
                      <a:lnTo>
                        <a:pt x="31" y="131"/>
                      </a:lnTo>
                      <a:lnTo>
                        <a:pt x="28" y="127"/>
                      </a:lnTo>
                      <a:lnTo>
                        <a:pt x="28" y="127"/>
                      </a:lnTo>
                      <a:lnTo>
                        <a:pt x="24" y="120"/>
                      </a:lnTo>
                      <a:lnTo>
                        <a:pt x="22" y="113"/>
                      </a:lnTo>
                      <a:lnTo>
                        <a:pt x="21" y="111"/>
                      </a:lnTo>
                      <a:lnTo>
                        <a:pt x="19" y="110"/>
                      </a:lnTo>
                      <a:lnTo>
                        <a:pt x="15" y="110"/>
                      </a:lnTo>
                      <a:lnTo>
                        <a:pt x="12" y="111"/>
                      </a:lnTo>
                      <a:lnTo>
                        <a:pt x="12" y="111"/>
                      </a:lnTo>
                      <a:lnTo>
                        <a:pt x="7" y="115"/>
                      </a:lnTo>
                      <a:lnTo>
                        <a:pt x="3" y="115"/>
                      </a:lnTo>
                      <a:lnTo>
                        <a:pt x="0" y="113"/>
                      </a:lnTo>
                      <a:lnTo>
                        <a:pt x="0" y="110"/>
                      </a:lnTo>
                      <a:lnTo>
                        <a:pt x="0" y="106"/>
                      </a:lnTo>
                      <a:lnTo>
                        <a:pt x="0" y="101"/>
                      </a:lnTo>
                      <a:lnTo>
                        <a:pt x="3" y="96"/>
                      </a:lnTo>
                      <a:lnTo>
                        <a:pt x="7" y="89"/>
                      </a:lnTo>
                      <a:lnTo>
                        <a:pt x="7" y="89"/>
                      </a:lnTo>
                      <a:lnTo>
                        <a:pt x="12" y="84"/>
                      </a:lnTo>
                      <a:lnTo>
                        <a:pt x="17" y="80"/>
                      </a:lnTo>
                      <a:lnTo>
                        <a:pt x="26" y="77"/>
                      </a:lnTo>
                      <a:lnTo>
                        <a:pt x="33" y="75"/>
                      </a:lnTo>
                      <a:lnTo>
                        <a:pt x="35" y="73"/>
                      </a:lnTo>
                      <a:lnTo>
                        <a:pt x="35" y="71"/>
                      </a:lnTo>
                      <a:lnTo>
                        <a:pt x="35" y="71"/>
                      </a:lnTo>
                      <a:lnTo>
                        <a:pt x="33" y="70"/>
                      </a:lnTo>
                      <a:lnTo>
                        <a:pt x="29" y="68"/>
                      </a:lnTo>
                      <a:lnTo>
                        <a:pt x="21" y="64"/>
                      </a:lnTo>
                      <a:lnTo>
                        <a:pt x="17" y="63"/>
                      </a:lnTo>
                      <a:lnTo>
                        <a:pt x="17" y="59"/>
                      </a:lnTo>
                      <a:lnTo>
                        <a:pt x="21" y="56"/>
                      </a:lnTo>
                      <a:lnTo>
                        <a:pt x="28" y="52"/>
                      </a:lnTo>
                      <a:lnTo>
                        <a:pt x="28" y="52"/>
                      </a:lnTo>
                      <a:lnTo>
                        <a:pt x="55" y="35"/>
                      </a:lnTo>
                      <a:lnTo>
                        <a:pt x="69" y="28"/>
                      </a:lnTo>
                      <a:lnTo>
                        <a:pt x="85" y="23"/>
                      </a:lnTo>
                      <a:lnTo>
                        <a:pt x="85" y="23"/>
                      </a:lnTo>
                      <a:lnTo>
                        <a:pt x="106" y="16"/>
                      </a:lnTo>
                      <a:lnTo>
                        <a:pt x="129" y="5"/>
                      </a:lnTo>
                      <a:lnTo>
                        <a:pt x="141" y="2"/>
                      </a:lnTo>
                      <a:lnTo>
                        <a:pt x="151" y="0"/>
                      </a:lnTo>
                      <a:lnTo>
                        <a:pt x="160" y="0"/>
                      </a:lnTo>
                      <a:lnTo>
                        <a:pt x="169" y="2"/>
                      </a:lnTo>
                      <a:lnTo>
                        <a:pt x="169" y="2"/>
                      </a:lnTo>
                      <a:lnTo>
                        <a:pt x="176" y="5"/>
                      </a:lnTo>
                      <a:lnTo>
                        <a:pt x="179" y="10"/>
                      </a:lnTo>
                      <a:lnTo>
                        <a:pt x="181" y="14"/>
                      </a:lnTo>
                      <a:lnTo>
                        <a:pt x="181" y="17"/>
                      </a:lnTo>
                      <a:lnTo>
                        <a:pt x="179" y="24"/>
                      </a:lnTo>
                      <a:lnTo>
                        <a:pt x="177" y="28"/>
                      </a:lnTo>
                      <a:lnTo>
                        <a:pt x="179" y="31"/>
                      </a:lnTo>
                      <a:lnTo>
                        <a:pt x="179" y="31"/>
                      </a:lnTo>
                      <a:lnTo>
                        <a:pt x="177" y="35"/>
                      </a:lnTo>
                      <a:lnTo>
                        <a:pt x="176" y="38"/>
                      </a:lnTo>
                      <a:lnTo>
                        <a:pt x="165" y="47"/>
                      </a:lnTo>
                      <a:lnTo>
                        <a:pt x="162" y="50"/>
                      </a:lnTo>
                      <a:lnTo>
                        <a:pt x="163" y="52"/>
                      </a:lnTo>
                      <a:lnTo>
                        <a:pt x="170" y="50"/>
                      </a:lnTo>
                      <a:lnTo>
                        <a:pt x="170" y="50"/>
                      </a:lnTo>
                      <a:lnTo>
                        <a:pt x="191" y="43"/>
                      </a:lnTo>
                      <a:lnTo>
                        <a:pt x="195" y="42"/>
                      </a:lnTo>
                      <a:lnTo>
                        <a:pt x="195" y="40"/>
                      </a:lnTo>
                      <a:lnTo>
                        <a:pt x="193" y="37"/>
                      </a:lnTo>
                      <a:lnTo>
                        <a:pt x="195" y="33"/>
                      </a:lnTo>
                      <a:lnTo>
                        <a:pt x="198" y="30"/>
                      </a:lnTo>
                      <a:lnTo>
                        <a:pt x="198" y="30"/>
                      </a:lnTo>
                      <a:lnTo>
                        <a:pt x="207" y="26"/>
                      </a:lnTo>
                      <a:lnTo>
                        <a:pt x="217" y="26"/>
                      </a:lnTo>
                      <a:lnTo>
                        <a:pt x="233" y="28"/>
                      </a:lnTo>
                      <a:lnTo>
                        <a:pt x="256" y="35"/>
                      </a:lnTo>
                      <a:lnTo>
                        <a:pt x="256" y="35"/>
                      </a:lnTo>
                      <a:lnTo>
                        <a:pt x="268" y="38"/>
                      </a:lnTo>
                      <a:lnTo>
                        <a:pt x="273" y="42"/>
                      </a:lnTo>
                      <a:lnTo>
                        <a:pt x="277" y="45"/>
                      </a:lnTo>
                      <a:lnTo>
                        <a:pt x="275" y="49"/>
                      </a:lnTo>
                      <a:lnTo>
                        <a:pt x="271" y="56"/>
                      </a:lnTo>
                      <a:lnTo>
                        <a:pt x="271" y="59"/>
                      </a:lnTo>
                      <a:lnTo>
                        <a:pt x="275" y="64"/>
                      </a:lnTo>
                      <a:lnTo>
                        <a:pt x="275" y="64"/>
                      </a:lnTo>
                      <a:lnTo>
                        <a:pt x="278" y="68"/>
                      </a:lnTo>
                      <a:lnTo>
                        <a:pt x="282" y="68"/>
                      </a:lnTo>
                      <a:lnTo>
                        <a:pt x="284" y="64"/>
                      </a:lnTo>
                      <a:lnTo>
                        <a:pt x="285" y="61"/>
                      </a:lnTo>
                      <a:lnTo>
                        <a:pt x="287" y="56"/>
                      </a:lnTo>
                      <a:lnTo>
                        <a:pt x="291" y="52"/>
                      </a:lnTo>
                      <a:lnTo>
                        <a:pt x="298" y="50"/>
                      </a:lnTo>
                      <a:lnTo>
                        <a:pt x="306" y="52"/>
                      </a:lnTo>
                      <a:lnTo>
                        <a:pt x="306" y="52"/>
                      </a:lnTo>
                      <a:lnTo>
                        <a:pt x="322" y="56"/>
                      </a:lnTo>
                      <a:lnTo>
                        <a:pt x="325" y="54"/>
                      </a:lnTo>
                      <a:lnTo>
                        <a:pt x="325" y="54"/>
                      </a:lnTo>
                      <a:lnTo>
                        <a:pt x="322" y="49"/>
                      </a:lnTo>
                      <a:lnTo>
                        <a:pt x="313" y="45"/>
                      </a:lnTo>
                      <a:lnTo>
                        <a:pt x="313" y="45"/>
                      </a:lnTo>
                      <a:lnTo>
                        <a:pt x="308" y="43"/>
                      </a:lnTo>
                      <a:lnTo>
                        <a:pt x="310" y="42"/>
                      </a:lnTo>
                      <a:lnTo>
                        <a:pt x="310" y="40"/>
                      </a:lnTo>
                      <a:lnTo>
                        <a:pt x="308" y="38"/>
                      </a:lnTo>
                      <a:lnTo>
                        <a:pt x="306" y="35"/>
                      </a:lnTo>
                      <a:lnTo>
                        <a:pt x="299" y="31"/>
                      </a:lnTo>
                      <a:lnTo>
                        <a:pt x="299" y="31"/>
                      </a:lnTo>
                      <a:lnTo>
                        <a:pt x="294" y="28"/>
                      </a:lnTo>
                      <a:lnTo>
                        <a:pt x="292" y="26"/>
                      </a:lnTo>
                      <a:lnTo>
                        <a:pt x="292" y="23"/>
                      </a:lnTo>
                      <a:lnTo>
                        <a:pt x="296" y="23"/>
                      </a:lnTo>
                      <a:lnTo>
                        <a:pt x="306" y="23"/>
                      </a:lnTo>
                      <a:lnTo>
                        <a:pt x="324" y="26"/>
                      </a:lnTo>
                      <a:lnTo>
                        <a:pt x="324" y="26"/>
                      </a:lnTo>
                      <a:lnTo>
                        <a:pt x="329" y="28"/>
                      </a:lnTo>
                      <a:lnTo>
                        <a:pt x="332" y="30"/>
                      </a:lnTo>
                      <a:lnTo>
                        <a:pt x="332" y="31"/>
                      </a:lnTo>
                      <a:lnTo>
                        <a:pt x="332" y="33"/>
                      </a:lnTo>
                      <a:lnTo>
                        <a:pt x="331" y="33"/>
                      </a:lnTo>
                      <a:lnTo>
                        <a:pt x="332" y="35"/>
                      </a:lnTo>
                      <a:lnTo>
                        <a:pt x="343" y="40"/>
                      </a:lnTo>
                      <a:lnTo>
                        <a:pt x="343" y="40"/>
                      </a:lnTo>
                      <a:lnTo>
                        <a:pt x="351" y="43"/>
                      </a:lnTo>
                      <a:lnTo>
                        <a:pt x="358" y="47"/>
                      </a:lnTo>
                      <a:lnTo>
                        <a:pt x="362" y="52"/>
                      </a:lnTo>
                      <a:lnTo>
                        <a:pt x="364" y="57"/>
                      </a:lnTo>
                      <a:lnTo>
                        <a:pt x="369" y="71"/>
                      </a:lnTo>
                      <a:lnTo>
                        <a:pt x="372" y="80"/>
                      </a:lnTo>
                      <a:lnTo>
                        <a:pt x="376" y="90"/>
                      </a:lnTo>
                      <a:lnTo>
                        <a:pt x="376" y="90"/>
                      </a:lnTo>
                      <a:lnTo>
                        <a:pt x="386" y="104"/>
                      </a:lnTo>
                      <a:lnTo>
                        <a:pt x="393" y="113"/>
                      </a:lnTo>
                      <a:lnTo>
                        <a:pt x="395" y="113"/>
                      </a:lnTo>
                      <a:lnTo>
                        <a:pt x="397" y="113"/>
                      </a:lnTo>
                      <a:lnTo>
                        <a:pt x="400" y="110"/>
                      </a:lnTo>
                      <a:lnTo>
                        <a:pt x="400" y="110"/>
                      </a:lnTo>
                      <a:lnTo>
                        <a:pt x="405" y="106"/>
                      </a:lnTo>
                      <a:lnTo>
                        <a:pt x="412" y="103"/>
                      </a:lnTo>
                      <a:lnTo>
                        <a:pt x="414" y="101"/>
                      </a:lnTo>
                      <a:lnTo>
                        <a:pt x="414" y="99"/>
                      </a:lnTo>
                      <a:lnTo>
                        <a:pt x="414" y="96"/>
                      </a:lnTo>
                      <a:lnTo>
                        <a:pt x="411" y="92"/>
                      </a:lnTo>
                      <a:lnTo>
                        <a:pt x="411" y="92"/>
                      </a:lnTo>
                      <a:lnTo>
                        <a:pt x="402" y="85"/>
                      </a:lnTo>
                      <a:lnTo>
                        <a:pt x="397" y="77"/>
                      </a:lnTo>
                      <a:lnTo>
                        <a:pt x="393" y="68"/>
                      </a:lnTo>
                      <a:lnTo>
                        <a:pt x="392" y="59"/>
                      </a:lnTo>
                      <a:lnTo>
                        <a:pt x="386" y="40"/>
                      </a:lnTo>
                      <a:lnTo>
                        <a:pt x="385" y="31"/>
                      </a:lnTo>
                      <a:lnTo>
                        <a:pt x="381" y="24"/>
                      </a:lnTo>
                      <a:lnTo>
                        <a:pt x="381" y="24"/>
                      </a:lnTo>
                      <a:lnTo>
                        <a:pt x="378" y="16"/>
                      </a:lnTo>
                      <a:lnTo>
                        <a:pt x="378" y="10"/>
                      </a:lnTo>
                      <a:lnTo>
                        <a:pt x="379" y="7"/>
                      </a:lnTo>
                      <a:lnTo>
                        <a:pt x="383" y="3"/>
                      </a:lnTo>
                      <a:lnTo>
                        <a:pt x="386" y="2"/>
                      </a:lnTo>
                      <a:lnTo>
                        <a:pt x="392" y="2"/>
                      </a:lnTo>
                      <a:lnTo>
                        <a:pt x="402" y="3"/>
                      </a:lnTo>
                      <a:lnTo>
                        <a:pt x="402" y="3"/>
                      </a:lnTo>
                      <a:lnTo>
                        <a:pt x="412" y="7"/>
                      </a:lnTo>
                      <a:lnTo>
                        <a:pt x="419" y="9"/>
                      </a:lnTo>
                      <a:lnTo>
                        <a:pt x="421" y="7"/>
                      </a:lnTo>
                      <a:lnTo>
                        <a:pt x="423" y="5"/>
                      </a:lnTo>
                      <a:lnTo>
                        <a:pt x="425" y="3"/>
                      </a:lnTo>
                      <a:lnTo>
                        <a:pt x="428" y="2"/>
                      </a:lnTo>
                      <a:lnTo>
                        <a:pt x="432" y="3"/>
                      </a:lnTo>
                      <a:lnTo>
                        <a:pt x="439" y="9"/>
                      </a:lnTo>
                      <a:lnTo>
                        <a:pt x="439" y="9"/>
                      </a:lnTo>
                      <a:lnTo>
                        <a:pt x="452" y="17"/>
                      </a:lnTo>
                      <a:lnTo>
                        <a:pt x="461" y="21"/>
                      </a:lnTo>
                      <a:lnTo>
                        <a:pt x="468" y="24"/>
                      </a:lnTo>
                      <a:lnTo>
                        <a:pt x="477" y="33"/>
                      </a:lnTo>
                      <a:lnTo>
                        <a:pt x="477" y="33"/>
                      </a:lnTo>
                      <a:lnTo>
                        <a:pt x="482" y="40"/>
                      </a:lnTo>
                      <a:lnTo>
                        <a:pt x="486" y="50"/>
                      </a:lnTo>
                      <a:lnTo>
                        <a:pt x="491" y="70"/>
                      </a:lnTo>
                      <a:lnTo>
                        <a:pt x="496" y="89"/>
                      </a:lnTo>
                      <a:lnTo>
                        <a:pt x="499" y="96"/>
                      </a:lnTo>
                      <a:lnTo>
                        <a:pt x="505" y="101"/>
                      </a:lnTo>
                      <a:lnTo>
                        <a:pt x="505" y="101"/>
                      </a:lnTo>
                      <a:lnTo>
                        <a:pt x="510" y="106"/>
                      </a:lnTo>
                      <a:lnTo>
                        <a:pt x="513" y="111"/>
                      </a:lnTo>
                      <a:lnTo>
                        <a:pt x="517" y="117"/>
                      </a:lnTo>
                      <a:lnTo>
                        <a:pt x="517" y="122"/>
                      </a:lnTo>
                      <a:lnTo>
                        <a:pt x="517" y="127"/>
                      </a:lnTo>
                      <a:lnTo>
                        <a:pt x="515" y="132"/>
                      </a:lnTo>
                      <a:lnTo>
                        <a:pt x="510" y="141"/>
                      </a:lnTo>
                      <a:lnTo>
                        <a:pt x="510" y="141"/>
                      </a:lnTo>
                      <a:lnTo>
                        <a:pt x="508" y="144"/>
                      </a:lnTo>
                      <a:lnTo>
                        <a:pt x="508" y="146"/>
                      </a:lnTo>
                      <a:lnTo>
                        <a:pt x="508" y="150"/>
                      </a:lnTo>
                      <a:lnTo>
                        <a:pt x="512" y="151"/>
                      </a:lnTo>
                      <a:lnTo>
                        <a:pt x="519" y="157"/>
                      </a:lnTo>
                      <a:lnTo>
                        <a:pt x="524" y="160"/>
                      </a:lnTo>
                      <a:lnTo>
                        <a:pt x="527" y="165"/>
                      </a:lnTo>
                      <a:lnTo>
                        <a:pt x="527" y="165"/>
                      </a:lnTo>
                      <a:lnTo>
                        <a:pt x="531" y="169"/>
                      </a:lnTo>
                      <a:lnTo>
                        <a:pt x="536" y="174"/>
                      </a:lnTo>
                      <a:lnTo>
                        <a:pt x="548" y="181"/>
                      </a:lnTo>
                      <a:lnTo>
                        <a:pt x="557" y="183"/>
                      </a:lnTo>
                      <a:lnTo>
                        <a:pt x="560" y="181"/>
                      </a:lnTo>
                      <a:lnTo>
                        <a:pt x="560" y="179"/>
                      </a:lnTo>
                      <a:lnTo>
                        <a:pt x="560" y="179"/>
                      </a:lnTo>
                      <a:lnTo>
                        <a:pt x="559" y="174"/>
                      </a:lnTo>
                      <a:lnTo>
                        <a:pt x="562" y="174"/>
                      </a:lnTo>
                      <a:lnTo>
                        <a:pt x="567" y="176"/>
                      </a:lnTo>
                      <a:lnTo>
                        <a:pt x="573" y="181"/>
                      </a:lnTo>
                      <a:lnTo>
                        <a:pt x="573" y="181"/>
                      </a:lnTo>
                      <a:lnTo>
                        <a:pt x="585" y="190"/>
                      </a:lnTo>
                      <a:lnTo>
                        <a:pt x="594" y="195"/>
                      </a:lnTo>
                      <a:lnTo>
                        <a:pt x="600" y="198"/>
                      </a:lnTo>
                      <a:lnTo>
                        <a:pt x="606" y="198"/>
                      </a:lnTo>
                      <a:lnTo>
                        <a:pt x="613" y="198"/>
                      </a:lnTo>
                      <a:lnTo>
                        <a:pt x="613" y="200"/>
                      </a:lnTo>
                      <a:lnTo>
                        <a:pt x="614" y="204"/>
                      </a:lnTo>
                      <a:lnTo>
                        <a:pt x="614" y="204"/>
                      </a:lnTo>
                      <a:lnTo>
                        <a:pt x="614" y="207"/>
                      </a:lnTo>
                      <a:lnTo>
                        <a:pt x="618" y="207"/>
                      </a:lnTo>
                      <a:lnTo>
                        <a:pt x="625" y="207"/>
                      </a:lnTo>
                      <a:lnTo>
                        <a:pt x="632" y="205"/>
                      </a:lnTo>
                      <a:lnTo>
                        <a:pt x="635" y="207"/>
                      </a:lnTo>
                      <a:lnTo>
                        <a:pt x="637" y="211"/>
                      </a:lnTo>
                      <a:lnTo>
                        <a:pt x="637" y="211"/>
                      </a:lnTo>
                      <a:lnTo>
                        <a:pt x="639" y="221"/>
                      </a:lnTo>
                      <a:lnTo>
                        <a:pt x="639" y="230"/>
                      </a:lnTo>
                      <a:lnTo>
                        <a:pt x="639" y="233"/>
                      </a:lnTo>
                      <a:lnTo>
                        <a:pt x="637" y="235"/>
                      </a:lnTo>
                      <a:lnTo>
                        <a:pt x="634" y="237"/>
                      </a:lnTo>
                      <a:lnTo>
                        <a:pt x="630" y="238"/>
                      </a:lnTo>
                      <a:lnTo>
                        <a:pt x="630" y="238"/>
                      </a:lnTo>
                      <a:lnTo>
                        <a:pt x="627" y="238"/>
                      </a:lnTo>
                      <a:lnTo>
                        <a:pt x="623" y="237"/>
                      </a:lnTo>
                      <a:lnTo>
                        <a:pt x="620" y="233"/>
                      </a:lnTo>
                      <a:lnTo>
                        <a:pt x="616" y="232"/>
                      </a:lnTo>
                      <a:lnTo>
                        <a:pt x="613" y="235"/>
                      </a:lnTo>
                      <a:lnTo>
                        <a:pt x="613" y="235"/>
                      </a:lnTo>
                      <a:lnTo>
                        <a:pt x="609" y="237"/>
                      </a:lnTo>
                      <a:lnTo>
                        <a:pt x="607" y="237"/>
                      </a:lnTo>
                      <a:lnTo>
                        <a:pt x="602" y="232"/>
                      </a:lnTo>
                      <a:lnTo>
                        <a:pt x="599" y="230"/>
                      </a:lnTo>
                      <a:lnTo>
                        <a:pt x="595" y="228"/>
                      </a:lnTo>
                      <a:lnTo>
                        <a:pt x="592" y="226"/>
                      </a:lnTo>
                      <a:lnTo>
                        <a:pt x="587" y="228"/>
                      </a:lnTo>
                      <a:lnTo>
                        <a:pt x="587" y="228"/>
                      </a:lnTo>
                      <a:lnTo>
                        <a:pt x="581" y="232"/>
                      </a:lnTo>
                      <a:lnTo>
                        <a:pt x="580" y="233"/>
                      </a:lnTo>
                      <a:lnTo>
                        <a:pt x="580" y="235"/>
                      </a:lnTo>
                      <a:lnTo>
                        <a:pt x="581" y="237"/>
                      </a:lnTo>
                      <a:lnTo>
                        <a:pt x="585" y="240"/>
                      </a:lnTo>
                      <a:lnTo>
                        <a:pt x="585" y="242"/>
                      </a:lnTo>
                      <a:lnTo>
                        <a:pt x="581" y="244"/>
                      </a:lnTo>
                      <a:lnTo>
                        <a:pt x="581" y="244"/>
                      </a:lnTo>
                      <a:lnTo>
                        <a:pt x="578" y="245"/>
                      </a:lnTo>
                      <a:lnTo>
                        <a:pt x="573" y="244"/>
                      </a:lnTo>
                      <a:lnTo>
                        <a:pt x="564" y="240"/>
                      </a:lnTo>
                      <a:lnTo>
                        <a:pt x="553" y="237"/>
                      </a:lnTo>
                      <a:lnTo>
                        <a:pt x="550" y="237"/>
                      </a:lnTo>
                      <a:lnTo>
                        <a:pt x="548" y="237"/>
                      </a:lnTo>
                      <a:lnTo>
                        <a:pt x="548" y="237"/>
                      </a:lnTo>
                      <a:lnTo>
                        <a:pt x="546" y="240"/>
                      </a:lnTo>
                      <a:lnTo>
                        <a:pt x="550" y="240"/>
                      </a:lnTo>
                      <a:lnTo>
                        <a:pt x="557" y="244"/>
                      </a:lnTo>
                      <a:lnTo>
                        <a:pt x="560" y="245"/>
                      </a:lnTo>
                      <a:lnTo>
                        <a:pt x="564" y="249"/>
                      </a:lnTo>
                      <a:lnTo>
                        <a:pt x="566" y="252"/>
                      </a:lnTo>
                      <a:lnTo>
                        <a:pt x="564" y="258"/>
                      </a:lnTo>
                      <a:lnTo>
                        <a:pt x="564" y="258"/>
                      </a:lnTo>
                      <a:lnTo>
                        <a:pt x="562" y="261"/>
                      </a:lnTo>
                      <a:lnTo>
                        <a:pt x="564" y="261"/>
                      </a:lnTo>
                      <a:lnTo>
                        <a:pt x="573" y="258"/>
                      </a:lnTo>
                      <a:lnTo>
                        <a:pt x="585" y="251"/>
                      </a:lnTo>
                      <a:lnTo>
                        <a:pt x="592" y="249"/>
                      </a:lnTo>
                      <a:lnTo>
                        <a:pt x="597" y="249"/>
                      </a:lnTo>
                      <a:lnTo>
                        <a:pt x="597" y="249"/>
                      </a:lnTo>
                      <a:lnTo>
                        <a:pt x="600" y="251"/>
                      </a:lnTo>
                      <a:lnTo>
                        <a:pt x="602" y="252"/>
                      </a:lnTo>
                      <a:lnTo>
                        <a:pt x="600" y="254"/>
                      </a:lnTo>
                      <a:lnTo>
                        <a:pt x="599" y="259"/>
                      </a:lnTo>
                      <a:lnTo>
                        <a:pt x="600" y="261"/>
                      </a:lnTo>
                      <a:lnTo>
                        <a:pt x="604" y="263"/>
                      </a:lnTo>
                      <a:lnTo>
                        <a:pt x="604" y="263"/>
                      </a:lnTo>
                      <a:lnTo>
                        <a:pt x="607" y="266"/>
                      </a:lnTo>
                      <a:lnTo>
                        <a:pt x="609" y="270"/>
                      </a:lnTo>
                      <a:lnTo>
                        <a:pt x="609" y="272"/>
                      </a:lnTo>
                      <a:lnTo>
                        <a:pt x="607" y="275"/>
                      </a:lnTo>
                      <a:lnTo>
                        <a:pt x="602" y="280"/>
                      </a:lnTo>
                      <a:lnTo>
                        <a:pt x="595" y="280"/>
                      </a:lnTo>
                      <a:lnTo>
                        <a:pt x="595" y="280"/>
                      </a:lnTo>
                      <a:lnTo>
                        <a:pt x="590" y="280"/>
                      </a:lnTo>
                      <a:lnTo>
                        <a:pt x="587" y="282"/>
                      </a:lnTo>
                      <a:lnTo>
                        <a:pt x="580" y="287"/>
                      </a:lnTo>
                      <a:lnTo>
                        <a:pt x="573" y="292"/>
                      </a:lnTo>
                      <a:lnTo>
                        <a:pt x="567" y="292"/>
                      </a:lnTo>
                      <a:lnTo>
                        <a:pt x="562" y="292"/>
                      </a:lnTo>
                      <a:lnTo>
                        <a:pt x="562" y="292"/>
                      </a:lnTo>
                      <a:lnTo>
                        <a:pt x="555" y="291"/>
                      </a:lnTo>
                      <a:lnTo>
                        <a:pt x="552" y="291"/>
                      </a:lnTo>
                      <a:lnTo>
                        <a:pt x="546" y="291"/>
                      </a:lnTo>
                      <a:lnTo>
                        <a:pt x="531" y="287"/>
                      </a:lnTo>
                      <a:lnTo>
                        <a:pt x="531" y="287"/>
                      </a:lnTo>
                      <a:lnTo>
                        <a:pt x="522" y="285"/>
                      </a:lnTo>
                      <a:lnTo>
                        <a:pt x="517" y="285"/>
                      </a:lnTo>
                      <a:lnTo>
                        <a:pt x="513" y="285"/>
                      </a:lnTo>
                      <a:lnTo>
                        <a:pt x="510" y="287"/>
                      </a:lnTo>
                      <a:lnTo>
                        <a:pt x="505" y="289"/>
                      </a:lnTo>
                      <a:lnTo>
                        <a:pt x="501" y="289"/>
                      </a:lnTo>
                      <a:lnTo>
                        <a:pt x="493" y="285"/>
                      </a:lnTo>
                      <a:lnTo>
                        <a:pt x="493" y="285"/>
                      </a:lnTo>
                      <a:lnTo>
                        <a:pt x="487" y="284"/>
                      </a:lnTo>
                      <a:lnTo>
                        <a:pt x="486" y="282"/>
                      </a:lnTo>
                      <a:lnTo>
                        <a:pt x="491" y="280"/>
                      </a:lnTo>
                      <a:lnTo>
                        <a:pt x="493" y="279"/>
                      </a:lnTo>
                      <a:lnTo>
                        <a:pt x="494" y="279"/>
                      </a:lnTo>
                      <a:lnTo>
                        <a:pt x="489" y="275"/>
                      </a:lnTo>
                      <a:lnTo>
                        <a:pt x="480" y="273"/>
                      </a:lnTo>
                      <a:lnTo>
                        <a:pt x="480" y="273"/>
                      </a:lnTo>
                      <a:lnTo>
                        <a:pt x="468" y="270"/>
                      </a:lnTo>
                      <a:lnTo>
                        <a:pt x="459" y="270"/>
                      </a:lnTo>
                      <a:lnTo>
                        <a:pt x="449" y="270"/>
                      </a:lnTo>
                      <a:lnTo>
                        <a:pt x="447" y="272"/>
                      </a:lnTo>
                      <a:lnTo>
                        <a:pt x="446" y="270"/>
                      </a:lnTo>
                      <a:lnTo>
                        <a:pt x="446" y="265"/>
                      </a:lnTo>
                      <a:lnTo>
                        <a:pt x="446" y="265"/>
                      </a:lnTo>
                      <a:lnTo>
                        <a:pt x="447" y="256"/>
                      </a:lnTo>
                      <a:lnTo>
                        <a:pt x="446" y="252"/>
                      </a:lnTo>
                      <a:lnTo>
                        <a:pt x="444" y="251"/>
                      </a:lnTo>
                      <a:lnTo>
                        <a:pt x="440" y="251"/>
                      </a:lnTo>
                      <a:lnTo>
                        <a:pt x="433" y="252"/>
                      </a:lnTo>
                      <a:lnTo>
                        <a:pt x="433" y="25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1" name="Freeform 1710">
                  <a:extLst>
                    <a:ext uri="{FF2B5EF4-FFF2-40B4-BE49-F238E27FC236}">
                      <a16:creationId xmlns:a16="http://schemas.microsoft.com/office/drawing/2014/main" id="{AEDB0872-0031-E118-70B3-3B4439A3C1B1}"/>
                    </a:ext>
                  </a:extLst>
                </p:cNvPr>
                <p:cNvSpPr>
                  <a:spLocks/>
                </p:cNvSpPr>
                <p:nvPr/>
              </p:nvSpPr>
              <p:spPr bwMode="auto">
                <a:xfrm>
                  <a:off x="2649387" y="1556894"/>
                  <a:ext cx="806998" cy="592033"/>
                </a:xfrm>
                <a:custGeom>
                  <a:avLst/>
                  <a:gdLst/>
                  <a:ahLst/>
                  <a:cxnLst>
                    <a:cxn ang="0">
                      <a:pos x="169" y="251"/>
                    </a:cxn>
                    <a:cxn ang="0">
                      <a:pos x="59" y="228"/>
                    </a:cxn>
                    <a:cxn ang="0">
                      <a:pos x="81" y="190"/>
                    </a:cxn>
                    <a:cxn ang="0">
                      <a:pos x="1" y="160"/>
                    </a:cxn>
                    <a:cxn ang="0">
                      <a:pos x="27" y="61"/>
                    </a:cxn>
                    <a:cxn ang="0">
                      <a:pos x="174" y="2"/>
                    </a:cxn>
                    <a:cxn ang="0">
                      <a:pos x="134" y="52"/>
                    </a:cxn>
                    <a:cxn ang="0">
                      <a:pos x="130" y="125"/>
                    </a:cxn>
                    <a:cxn ang="0">
                      <a:pos x="193" y="146"/>
                    </a:cxn>
                    <a:cxn ang="0">
                      <a:pos x="151" y="115"/>
                    </a:cxn>
                    <a:cxn ang="0">
                      <a:pos x="151" y="61"/>
                    </a:cxn>
                    <a:cxn ang="0">
                      <a:pos x="189" y="28"/>
                    </a:cxn>
                    <a:cxn ang="0">
                      <a:pos x="310" y="33"/>
                    </a:cxn>
                    <a:cxn ang="0">
                      <a:pos x="329" y="103"/>
                    </a:cxn>
                    <a:cxn ang="0">
                      <a:pos x="358" y="89"/>
                    </a:cxn>
                    <a:cxn ang="0">
                      <a:pos x="412" y="82"/>
                    </a:cxn>
                    <a:cxn ang="0">
                      <a:pos x="519" y="90"/>
                    </a:cxn>
                    <a:cxn ang="0">
                      <a:pos x="567" y="127"/>
                    </a:cxn>
                    <a:cxn ang="0">
                      <a:pos x="644" y="150"/>
                    </a:cxn>
                    <a:cxn ang="0">
                      <a:pos x="686" y="191"/>
                    </a:cxn>
                    <a:cxn ang="0">
                      <a:pos x="764" y="216"/>
                    </a:cxn>
                    <a:cxn ang="0">
                      <a:pos x="766" y="235"/>
                    </a:cxn>
                    <a:cxn ang="0">
                      <a:pos x="802" y="265"/>
                    </a:cxn>
                    <a:cxn ang="0">
                      <a:pos x="821" y="296"/>
                    </a:cxn>
                    <a:cxn ang="0">
                      <a:pos x="785" y="318"/>
                    </a:cxn>
                    <a:cxn ang="0">
                      <a:pos x="806" y="345"/>
                    </a:cxn>
                    <a:cxn ang="0">
                      <a:pos x="867" y="372"/>
                    </a:cxn>
                    <a:cxn ang="0">
                      <a:pos x="922" y="423"/>
                    </a:cxn>
                    <a:cxn ang="0">
                      <a:pos x="954" y="440"/>
                    </a:cxn>
                    <a:cxn ang="0">
                      <a:pos x="1001" y="473"/>
                    </a:cxn>
                    <a:cxn ang="0">
                      <a:pos x="973" y="505"/>
                    </a:cxn>
                    <a:cxn ang="0">
                      <a:pos x="938" y="531"/>
                    </a:cxn>
                    <a:cxn ang="0">
                      <a:pos x="877" y="533"/>
                    </a:cxn>
                    <a:cxn ang="0">
                      <a:pos x="848" y="493"/>
                    </a:cxn>
                    <a:cxn ang="0">
                      <a:pos x="809" y="468"/>
                    </a:cxn>
                    <a:cxn ang="0">
                      <a:pos x="799" y="498"/>
                    </a:cxn>
                    <a:cxn ang="0">
                      <a:pos x="794" y="515"/>
                    </a:cxn>
                    <a:cxn ang="0">
                      <a:pos x="870" y="576"/>
                    </a:cxn>
                    <a:cxn ang="0">
                      <a:pos x="889" y="611"/>
                    </a:cxn>
                    <a:cxn ang="0">
                      <a:pos x="898" y="649"/>
                    </a:cxn>
                    <a:cxn ang="0">
                      <a:pos x="884" y="686"/>
                    </a:cxn>
                    <a:cxn ang="0">
                      <a:pos x="853" y="681"/>
                    </a:cxn>
                    <a:cxn ang="0">
                      <a:pos x="785" y="651"/>
                    </a:cxn>
                    <a:cxn ang="0">
                      <a:pos x="761" y="651"/>
                    </a:cxn>
                    <a:cxn ang="0">
                      <a:pos x="844" y="740"/>
                    </a:cxn>
                    <a:cxn ang="0">
                      <a:pos x="710" y="691"/>
                    </a:cxn>
                    <a:cxn ang="0">
                      <a:pos x="653" y="646"/>
                    </a:cxn>
                    <a:cxn ang="0">
                      <a:pos x="616" y="625"/>
                    </a:cxn>
                    <a:cxn ang="0">
                      <a:pos x="560" y="592"/>
                    </a:cxn>
                    <a:cxn ang="0">
                      <a:pos x="505" y="588"/>
                    </a:cxn>
                    <a:cxn ang="0">
                      <a:pos x="419" y="573"/>
                    </a:cxn>
                    <a:cxn ang="0">
                      <a:pos x="461" y="531"/>
                    </a:cxn>
                    <a:cxn ang="0">
                      <a:pos x="579" y="527"/>
                    </a:cxn>
                    <a:cxn ang="0">
                      <a:pos x="595" y="449"/>
                    </a:cxn>
                    <a:cxn ang="0">
                      <a:pos x="602" y="372"/>
                    </a:cxn>
                    <a:cxn ang="0">
                      <a:pos x="527" y="327"/>
                    </a:cxn>
                    <a:cxn ang="0">
                      <a:pos x="485" y="310"/>
                    </a:cxn>
                    <a:cxn ang="0">
                      <a:pos x="445" y="270"/>
                    </a:cxn>
                    <a:cxn ang="0">
                      <a:pos x="411" y="235"/>
                    </a:cxn>
                    <a:cxn ang="0">
                      <a:pos x="386" y="258"/>
                    </a:cxn>
                    <a:cxn ang="0">
                      <a:pos x="330" y="271"/>
                    </a:cxn>
                    <a:cxn ang="0">
                      <a:pos x="264" y="258"/>
                    </a:cxn>
                  </a:cxnLst>
                  <a:rect l="0" t="0" r="r" b="b"/>
                  <a:pathLst>
                    <a:path w="1006" h="740">
                      <a:moveTo>
                        <a:pt x="264" y="258"/>
                      </a:moveTo>
                      <a:lnTo>
                        <a:pt x="264" y="258"/>
                      </a:lnTo>
                      <a:lnTo>
                        <a:pt x="250" y="254"/>
                      </a:lnTo>
                      <a:lnTo>
                        <a:pt x="240" y="252"/>
                      </a:lnTo>
                      <a:lnTo>
                        <a:pt x="233" y="251"/>
                      </a:lnTo>
                      <a:lnTo>
                        <a:pt x="226" y="252"/>
                      </a:lnTo>
                      <a:lnTo>
                        <a:pt x="214" y="252"/>
                      </a:lnTo>
                      <a:lnTo>
                        <a:pt x="203" y="251"/>
                      </a:lnTo>
                      <a:lnTo>
                        <a:pt x="191" y="247"/>
                      </a:lnTo>
                      <a:lnTo>
                        <a:pt x="191" y="247"/>
                      </a:lnTo>
                      <a:lnTo>
                        <a:pt x="182" y="249"/>
                      </a:lnTo>
                      <a:lnTo>
                        <a:pt x="169" y="251"/>
                      </a:lnTo>
                      <a:lnTo>
                        <a:pt x="160" y="251"/>
                      </a:lnTo>
                      <a:lnTo>
                        <a:pt x="151" y="251"/>
                      </a:lnTo>
                      <a:lnTo>
                        <a:pt x="142" y="247"/>
                      </a:lnTo>
                      <a:lnTo>
                        <a:pt x="132" y="242"/>
                      </a:lnTo>
                      <a:lnTo>
                        <a:pt x="132" y="242"/>
                      </a:lnTo>
                      <a:lnTo>
                        <a:pt x="123" y="235"/>
                      </a:lnTo>
                      <a:lnTo>
                        <a:pt x="113" y="233"/>
                      </a:lnTo>
                      <a:lnTo>
                        <a:pt x="104" y="233"/>
                      </a:lnTo>
                      <a:lnTo>
                        <a:pt x="94" y="235"/>
                      </a:lnTo>
                      <a:lnTo>
                        <a:pt x="81" y="235"/>
                      </a:lnTo>
                      <a:lnTo>
                        <a:pt x="71" y="233"/>
                      </a:lnTo>
                      <a:lnTo>
                        <a:pt x="59" y="228"/>
                      </a:lnTo>
                      <a:lnTo>
                        <a:pt x="45" y="218"/>
                      </a:lnTo>
                      <a:lnTo>
                        <a:pt x="45" y="218"/>
                      </a:lnTo>
                      <a:lnTo>
                        <a:pt x="34" y="207"/>
                      </a:lnTo>
                      <a:lnTo>
                        <a:pt x="29" y="198"/>
                      </a:lnTo>
                      <a:lnTo>
                        <a:pt x="27" y="193"/>
                      </a:lnTo>
                      <a:lnTo>
                        <a:pt x="27" y="191"/>
                      </a:lnTo>
                      <a:lnTo>
                        <a:pt x="29" y="190"/>
                      </a:lnTo>
                      <a:lnTo>
                        <a:pt x="34" y="188"/>
                      </a:lnTo>
                      <a:lnTo>
                        <a:pt x="43" y="188"/>
                      </a:lnTo>
                      <a:lnTo>
                        <a:pt x="69" y="190"/>
                      </a:lnTo>
                      <a:lnTo>
                        <a:pt x="69" y="190"/>
                      </a:lnTo>
                      <a:lnTo>
                        <a:pt x="81" y="190"/>
                      </a:lnTo>
                      <a:lnTo>
                        <a:pt x="90" y="190"/>
                      </a:lnTo>
                      <a:lnTo>
                        <a:pt x="92" y="186"/>
                      </a:lnTo>
                      <a:lnTo>
                        <a:pt x="92" y="183"/>
                      </a:lnTo>
                      <a:lnTo>
                        <a:pt x="87" y="179"/>
                      </a:lnTo>
                      <a:lnTo>
                        <a:pt x="78" y="176"/>
                      </a:lnTo>
                      <a:lnTo>
                        <a:pt x="66" y="172"/>
                      </a:lnTo>
                      <a:lnTo>
                        <a:pt x="50" y="170"/>
                      </a:lnTo>
                      <a:lnTo>
                        <a:pt x="50" y="170"/>
                      </a:lnTo>
                      <a:lnTo>
                        <a:pt x="22" y="169"/>
                      </a:lnTo>
                      <a:lnTo>
                        <a:pt x="14" y="167"/>
                      </a:lnTo>
                      <a:lnTo>
                        <a:pt x="7" y="164"/>
                      </a:lnTo>
                      <a:lnTo>
                        <a:pt x="1" y="160"/>
                      </a:lnTo>
                      <a:lnTo>
                        <a:pt x="0" y="155"/>
                      </a:lnTo>
                      <a:lnTo>
                        <a:pt x="0" y="146"/>
                      </a:lnTo>
                      <a:lnTo>
                        <a:pt x="1" y="136"/>
                      </a:lnTo>
                      <a:lnTo>
                        <a:pt x="1" y="136"/>
                      </a:lnTo>
                      <a:lnTo>
                        <a:pt x="5" y="113"/>
                      </a:lnTo>
                      <a:lnTo>
                        <a:pt x="7" y="97"/>
                      </a:lnTo>
                      <a:lnTo>
                        <a:pt x="12" y="83"/>
                      </a:lnTo>
                      <a:lnTo>
                        <a:pt x="15" y="76"/>
                      </a:lnTo>
                      <a:lnTo>
                        <a:pt x="21" y="71"/>
                      </a:lnTo>
                      <a:lnTo>
                        <a:pt x="21" y="71"/>
                      </a:lnTo>
                      <a:lnTo>
                        <a:pt x="26" y="66"/>
                      </a:lnTo>
                      <a:lnTo>
                        <a:pt x="27" y="61"/>
                      </a:lnTo>
                      <a:lnTo>
                        <a:pt x="27" y="52"/>
                      </a:lnTo>
                      <a:lnTo>
                        <a:pt x="31" y="47"/>
                      </a:lnTo>
                      <a:lnTo>
                        <a:pt x="36" y="42"/>
                      </a:lnTo>
                      <a:lnTo>
                        <a:pt x="45" y="33"/>
                      </a:lnTo>
                      <a:lnTo>
                        <a:pt x="61" y="23"/>
                      </a:lnTo>
                      <a:lnTo>
                        <a:pt x="61" y="23"/>
                      </a:lnTo>
                      <a:lnTo>
                        <a:pt x="80" y="14"/>
                      </a:lnTo>
                      <a:lnTo>
                        <a:pt x="101" y="7"/>
                      </a:lnTo>
                      <a:lnTo>
                        <a:pt x="122" y="2"/>
                      </a:lnTo>
                      <a:lnTo>
                        <a:pt x="142" y="0"/>
                      </a:lnTo>
                      <a:lnTo>
                        <a:pt x="160" y="0"/>
                      </a:lnTo>
                      <a:lnTo>
                        <a:pt x="174" y="2"/>
                      </a:lnTo>
                      <a:lnTo>
                        <a:pt x="182" y="3"/>
                      </a:lnTo>
                      <a:lnTo>
                        <a:pt x="184" y="5"/>
                      </a:lnTo>
                      <a:lnTo>
                        <a:pt x="186" y="9"/>
                      </a:lnTo>
                      <a:lnTo>
                        <a:pt x="186" y="9"/>
                      </a:lnTo>
                      <a:lnTo>
                        <a:pt x="184" y="12"/>
                      </a:lnTo>
                      <a:lnTo>
                        <a:pt x="181" y="14"/>
                      </a:lnTo>
                      <a:lnTo>
                        <a:pt x="172" y="19"/>
                      </a:lnTo>
                      <a:lnTo>
                        <a:pt x="165" y="23"/>
                      </a:lnTo>
                      <a:lnTo>
                        <a:pt x="156" y="29"/>
                      </a:lnTo>
                      <a:lnTo>
                        <a:pt x="146" y="38"/>
                      </a:lnTo>
                      <a:lnTo>
                        <a:pt x="134" y="52"/>
                      </a:lnTo>
                      <a:lnTo>
                        <a:pt x="134" y="52"/>
                      </a:lnTo>
                      <a:lnTo>
                        <a:pt x="125" y="64"/>
                      </a:lnTo>
                      <a:lnTo>
                        <a:pt x="122" y="73"/>
                      </a:lnTo>
                      <a:lnTo>
                        <a:pt x="123" y="76"/>
                      </a:lnTo>
                      <a:lnTo>
                        <a:pt x="127" y="80"/>
                      </a:lnTo>
                      <a:lnTo>
                        <a:pt x="130" y="83"/>
                      </a:lnTo>
                      <a:lnTo>
                        <a:pt x="134" y="89"/>
                      </a:lnTo>
                      <a:lnTo>
                        <a:pt x="134" y="96"/>
                      </a:lnTo>
                      <a:lnTo>
                        <a:pt x="130" y="106"/>
                      </a:lnTo>
                      <a:lnTo>
                        <a:pt x="130" y="106"/>
                      </a:lnTo>
                      <a:lnTo>
                        <a:pt x="128" y="111"/>
                      </a:lnTo>
                      <a:lnTo>
                        <a:pt x="128" y="118"/>
                      </a:lnTo>
                      <a:lnTo>
                        <a:pt x="130" y="125"/>
                      </a:lnTo>
                      <a:lnTo>
                        <a:pt x="134" y="130"/>
                      </a:lnTo>
                      <a:lnTo>
                        <a:pt x="137" y="136"/>
                      </a:lnTo>
                      <a:lnTo>
                        <a:pt x="142" y="141"/>
                      </a:lnTo>
                      <a:lnTo>
                        <a:pt x="156" y="151"/>
                      </a:lnTo>
                      <a:lnTo>
                        <a:pt x="170" y="157"/>
                      </a:lnTo>
                      <a:lnTo>
                        <a:pt x="182" y="160"/>
                      </a:lnTo>
                      <a:lnTo>
                        <a:pt x="188" y="160"/>
                      </a:lnTo>
                      <a:lnTo>
                        <a:pt x="191" y="158"/>
                      </a:lnTo>
                      <a:lnTo>
                        <a:pt x="193" y="157"/>
                      </a:lnTo>
                      <a:lnTo>
                        <a:pt x="195" y="153"/>
                      </a:lnTo>
                      <a:lnTo>
                        <a:pt x="195" y="153"/>
                      </a:lnTo>
                      <a:lnTo>
                        <a:pt x="193" y="146"/>
                      </a:lnTo>
                      <a:lnTo>
                        <a:pt x="189" y="143"/>
                      </a:lnTo>
                      <a:lnTo>
                        <a:pt x="186" y="143"/>
                      </a:lnTo>
                      <a:lnTo>
                        <a:pt x="181" y="143"/>
                      </a:lnTo>
                      <a:lnTo>
                        <a:pt x="174" y="143"/>
                      </a:lnTo>
                      <a:lnTo>
                        <a:pt x="167" y="143"/>
                      </a:lnTo>
                      <a:lnTo>
                        <a:pt x="160" y="137"/>
                      </a:lnTo>
                      <a:lnTo>
                        <a:pt x="153" y="129"/>
                      </a:lnTo>
                      <a:lnTo>
                        <a:pt x="153" y="129"/>
                      </a:lnTo>
                      <a:lnTo>
                        <a:pt x="148" y="120"/>
                      </a:lnTo>
                      <a:lnTo>
                        <a:pt x="146" y="118"/>
                      </a:lnTo>
                      <a:lnTo>
                        <a:pt x="148" y="117"/>
                      </a:lnTo>
                      <a:lnTo>
                        <a:pt x="151" y="115"/>
                      </a:lnTo>
                      <a:lnTo>
                        <a:pt x="156" y="115"/>
                      </a:lnTo>
                      <a:lnTo>
                        <a:pt x="162" y="113"/>
                      </a:lnTo>
                      <a:lnTo>
                        <a:pt x="163" y="111"/>
                      </a:lnTo>
                      <a:lnTo>
                        <a:pt x="163" y="110"/>
                      </a:lnTo>
                      <a:lnTo>
                        <a:pt x="165" y="106"/>
                      </a:lnTo>
                      <a:lnTo>
                        <a:pt x="163" y="101"/>
                      </a:lnTo>
                      <a:lnTo>
                        <a:pt x="158" y="87"/>
                      </a:lnTo>
                      <a:lnTo>
                        <a:pt x="158" y="87"/>
                      </a:lnTo>
                      <a:lnTo>
                        <a:pt x="151" y="73"/>
                      </a:lnTo>
                      <a:lnTo>
                        <a:pt x="149" y="64"/>
                      </a:lnTo>
                      <a:lnTo>
                        <a:pt x="149" y="63"/>
                      </a:lnTo>
                      <a:lnTo>
                        <a:pt x="151" y="61"/>
                      </a:lnTo>
                      <a:lnTo>
                        <a:pt x="156" y="61"/>
                      </a:lnTo>
                      <a:lnTo>
                        <a:pt x="162" y="61"/>
                      </a:lnTo>
                      <a:lnTo>
                        <a:pt x="167" y="61"/>
                      </a:lnTo>
                      <a:lnTo>
                        <a:pt x="169" y="59"/>
                      </a:lnTo>
                      <a:lnTo>
                        <a:pt x="170" y="57"/>
                      </a:lnTo>
                      <a:lnTo>
                        <a:pt x="172" y="54"/>
                      </a:lnTo>
                      <a:lnTo>
                        <a:pt x="174" y="49"/>
                      </a:lnTo>
                      <a:lnTo>
                        <a:pt x="174" y="49"/>
                      </a:lnTo>
                      <a:lnTo>
                        <a:pt x="174" y="42"/>
                      </a:lnTo>
                      <a:lnTo>
                        <a:pt x="177" y="36"/>
                      </a:lnTo>
                      <a:lnTo>
                        <a:pt x="182" y="33"/>
                      </a:lnTo>
                      <a:lnTo>
                        <a:pt x="189" y="28"/>
                      </a:lnTo>
                      <a:lnTo>
                        <a:pt x="205" y="21"/>
                      </a:lnTo>
                      <a:lnTo>
                        <a:pt x="226" y="16"/>
                      </a:lnTo>
                      <a:lnTo>
                        <a:pt x="247" y="12"/>
                      </a:lnTo>
                      <a:lnTo>
                        <a:pt x="266" y="9"/>
                      </a:lnTo>
                      <a:lnTo>
                        <a:pt x="283" y="9"/>
                      </a:lnTo>
                      <a:lnTo>
                        <a:pt x="296" y="9"/>
                      </a:lnTo>
                      <a:lnTo>
                        <a:pt x="296" y="9"/>
                      </a:lnTo>
                      <a:lnTo>
                        <a:pt x="303" y="12"/>
                      </a:lnTo>
                      <a:lnTo>
                        <a:pt x="306" y="16"/>
                      </a:lnTo>
                      <a:lnTo>
                        <a:pt x="308" y="21"/>
                      </a:lnTo>
                      <a:lnTo>
                        <a:pt x="308" y="26"/>
                      </a:lnTo>
                      <a:lnTo>
                        <a:pt x="310" y="33"/>
                      </a:lnTo>
                      <a:lnTo>
                        <a:pt x="311" y="38"/>
                      </a:lnTo>
                      <a:lnTo>
                        <a:pt x="313" y="43"/>
                      </a:lnTo>
                      <a:lnTo>
                        <a:pt x="320" y="47"/>
                      </a:lnTo>
                      <a:lnTo>
                        <a:pt x="320" y="47"/>
                      </a:lnTo>
                      <a:lnTo>
                        <a:pt x="327" y="50"/>
                      </a:lnTo>
                      <a:lnTo>
                        <a:pt x="332" y="56"/>
                      </a:lnTo>
                      <a:lnTo>
                        <a:pt x="336" y="63"/>
                      </a:lnTo>
                      <a:lnTo>
                        <a:pt x="337" y="70"/>
                      </a:lnTo>
                      <a:lnTo>
                        <a:pt x="337" y="78"/>
                      </a:lnTo>
                      <a:lnTo>
                        <a:pt x="336" y="87"/>
                      </a:lnTo>
                      <a:lnTo>
                        <a:pt x="332" y="96"/>
                      </a:lnTo>
                      <a:lnTo>
                        <a:pt x="329" y="103"/>
                      </a:lnTo>
                      <a:lnTo>
                        <a:pt x="329" y="103"/>
                      </a:lnTo>
                      <a:lnTo>
                        <a:pt x="323" y="108"/>
                      </a:lnTo>
                      <a:lnTo>
                        <a:pt x="322" y="113"/>
                      </a:lnTo>
                      <a:lnTo>
                        <a:pt x="323" y="115"/>
                      </a:lnTo>
                      <a:lnTo>
                        <a:pt x="327" y="115"/>
                      </a:lnTo>
                      <a:lnTo>
                        <a:pt x="330" y="111"/>
                      </a:lnTo>
                      <a:lnTo>
                        <a:pt x="337" y="108"/>
                      </a:lnTo>
                      <a:lnTo>
                        <a:pt x="344" y="103"/>
                      </a:lnTo>
                      <a:lnTo>
                        <a:pt x="351" y="94"/>
                      </a:lnTo>
                      <a:lnTo>
                        <a:pt x="351" y="94"/>
                      </a:lnTo>
                      <a:lnTo>
                        <a:pt x="355" y="90"/>
                      </a:lnTo>
                      <a:lnTo>
                        <a:pt x="358" y="89"/>
                      </a:lnTo>
                      <a:lnTo>
                        <a:pt x="362" y="89"/>
                      </a:lnTo>
                      <a:lnTo>
                        <a:pt x="365" y="89"/>
                      </a:lnTo>
                      <a:lnTo>
                        <a:pt x="374" y="92"/>
                      </a:lnTo>
                      <a:lnTo>
                        <a:pt x="381" y="97"/>
                      </a:lnTo>
                      <a:lnTo>
                        <a:pt x="386" y="101"/>
                      </a:lnTo>
                      <a:lnTo>
                        <a:pt x="393" y="103"/>
                      </a:lnTo>
                      <a:lnTo>
                        <a:pt x="397" y="101"/>
                      </a:lnTo>
                      <a:lnTo>
                        <a:pt x="400" y="99"/>
                      </a:lnTo>
                      <a:lnTo>
                        <a:pt x="404" y="97"/>
                      </a:lnTo>
                      <a:lnTo>
                        <a:pt x="405" y="92"/>
                      </a:lnTo>
                      <a:lnTo>
                        <a:pt x="405" y="92"/>
                      </a:lnTo>
                      <a:lnTo>
                        <a:pt x="412" y="82"/>
                      </a:lnTo>
                      <a:lnTo>
                        <a:pt x="421" y="75"/>
                      </a:lnTo>
                      <a:lnTo>
                        <a:pt x="431" y="73"/>
                      </a:lnTo>
                      <a:lnTo>
                        <a:pt x="440" y="71"/>
                      </a:lnTo>
                      <a:lnTo>
                        <a:pt x="451" y="73"/>
                      </a:lnTo>
                      <a:lnTo>
                        <a:pt x="459" y="75"/>
                      </a:lnTo>
                      <a:lnTo>
                        <a:pt x="475" y="82"/>
                      </a:lnTo>
                      <a:lnTo>
                        <a:pt x="475" y="82"/>
                      </a:lnTo>
                      <a:lnTo>
                        <a:pt x="480" y="85"/>
                      </a:lnTo>
                      <a:lnTo>
                        <a:pt x="487" y="85"/>
                      </a:lnTo>
                      <a:lnTo>
                        <a:pt x="503" y="85"/>
                      </a:lnTo>
                      <a:lnTo>
                        <a:pt x="510" y="87"/>
                      </a:lnTo>
                      <a:lnTo>
                        <a:pt x="519" y="90"/>
                      </a:lnTo>
                      <a:lnTo>
                        <a:pt x="525" y="96"/>
                      </a:lnTo>
                      <a:lnTo>
                        <a:pt x="531" y="104"/>
                      </a:lnTo>
                      <a:lnTo>
                        <a:pt x="531" y="104"/>
                      </a:lnTo>
                      <a:lnTo>
                        <a:pt x="538" y="111"/>
                      </a:lnTo>
                      <a:lnTo>
                        <a:pt x="541" y="115"/>
                      </a:lnTo>
                      <a:lnTo>
                        <a:pt x="546" y="117"/>
                      </a:lnTo>
                      <a:lnTo>
                        <a:pt x="552" y="117"/>
                      </a:lnTo>
                      <a:lnTo>
                        <a:pt x="555" y="117"/>
                      </a:lnTo>
                      <a:lnTo>
                        <a:pt x="559" y="117"/>
                      </a:lnTo>
                      <a:lnTo>
                        <a:pt x="564" y="120"/>
                      </a:lnTo>
                      <a:lnTo>
                        <a:pt x="567" y="127"/>
                      </a:lnTo>
                      <a:lnTo>
                        <a:pt x="567" y="127"/>
                      </a:lnTo>
                      <a:lnTo>
                        <a:pt x="576" y="146"/>
                      </a:lnTo>
                      <a:lnTo>
                        <a:pt x="579" y="155"/>
                      </a:lnTo>
                      <a:lnTo>
                        <a:pt x="583" y="160"/>
                      </a:lnTo>
                      <a:lnTo>
                        <a:pt x="586" y="165"/>
                      </a:lnTo>
                      <a:lnTo>
                        <a:pt x="592" y="167"/>
                      </a:lnTo>
                      <a:lnTo>
                        <a:pt x="597" y="164"/>
                      </a:lnTo>
                      <a:lnTo>
                        <a:pt x="606" y="158"/>
                      </a:lnTo>
                      <a:lnTo>
                        <a:pt x="606" y="158"/>
                      </a:lnTo>
                      <a:lnTo>
                        <a:pt x="614" y="151"/>
                      </a:lnTo>
                      <a:lnTo>
                        <a:pt x="625" y="148"/>
                      </a:lnTo>
                      <a:lnTo>
                        <a:pt x="633" y="148"/>
                      </a:lnTo>
                      <a:lnTo>
                        <a:pt x="644" y="150"/>
                      </a:lnTo>
                      <a:lnTo>
                        <a:pt x="651" y="155"/>
                      </a:lnTo>
                      <a:lnTo>
                        <a:pt x="658" y="160"/>
                      </a:lnTo>
                      <a:lnTo>
                        <a:pt x="663" y="165"/>
                      </a:lnTo>
                      <a:lnTo>
                        <a:pt x="665" y="172"/>
                      </a:lnTo>
                      <a:lnTo>
                        <a:pt x="665" y="172"/>
                      </a:lnTo>
                      <a:lnTo>
                        <a:pt x="665" y="177"/>
                      </a:lnTo>
                      <a:lnTo>
                        <a:pt x="668" y="179"/>
                      </a:lnTo>
                      <a:lnTo>
                        <a:pt x="675" y="177"/>
                      </a:lnTo>
                      <a:lnTo>
                        <a:pt x="680" y="177"/>
                      </a:lnTo>
                      <a:lnTo>
                        <a:pt x="684" y="179"/>
                      </a:lnTo>
                      <a:lnTo>
                        <a:pt x="686" y="183"/>
                      </a:lnTo>
                      <a:lnTo>
                        <a:pt x="686" y="191"/>
                      </a:lnTo>
                      <a:lnTo>
                        <a:pt x="686" y="191"/>
                      </a:lnTo>
                      <a:lnTo>
                        <a:pt x="684" y="198"/>
                      </a:lnTo>
                      <a:lnTo>
                        <a:pt x="684" y="202"/>
                      </a:lnTo>
                      <a:lnTo>
                        <a:pt x="687" y="202"/>
                      </a:lnTo>
                      <a:lnTo>
                        <a:pt x="691" y="200"/>
                      </a:lnTo>
                      <a:lnTo>
                        <a:pt x="698" y="197"/>
                      </a:lnTo>
                      <a:lnTo>
                        <a:pt x="707" y="195"/>
                      </a:lnTo>
                      <a:lnTo>
                        <a:pt x="719" y="197"/>
                      </a:lnTo>
                      <a:lnTo>
                        <a:pt x="734" y="202"/>
                      </a:lnTo>
                      <a:lnTo>
                        <a:pt x="734" y="202"/>
                      </a:lnTo>
                      <a:lnTo>
                        <a:pt x="759" y="212"/>
                      </a:lnTo>
                      <a:lnTo>
                        <a:pt x="764" y="216"/>
                      </a:lnTo>
                      <a:lnTo>
                        <a:pt x="767" y="219"/>
                      </a:lnTo>
                      <a:lnTo>
                        <a:pt x="766" y="221"/>
                      </a:lnTo>
                      <a:lnTo>
                        <a:pt x="761" y="223"/>
                      </a:lnTo>
                      <a:lnTo>
                        <a:pt x="743" y="230"/>
                      </a:lnTo>
                      <a:lnTo>
                        <a:pt x="743" y="230"/>
                      </a:lnTo>
                      <a:lnTo>
                        <a:pt x="733" y="235"/>
                      </a:lnTo>
                      <a:lnTo>
                        <a:pt x="731" y="237"/>
                      </a:lnTo>
                      <a:lnTo>
                        <a:pt x="733" y="238"/>
                      </a:lnTo>
                      <a:lnTo>
                        <a:pt x="738" y="240"/>
                      </a:lnTo>
                      <a:lnTo>
                        <a:pt x="752" y="240"/>
                      </a:lnTo>
                      <a:lnTo>
                        <a:pt x="761" y="238"/>
                      </a:lnTo>
                      <a:lnTo>
                        <a:pt x="766" y="235"/>
                      </a:lnTo>
                      <a:lnTo>
                        <a:pt x="766" y="235"/>
                      </a:lnTo>
                      <a:lnTo>
                        <a:pt x="771" y="233"/>
                      </a:lnTo>
                      <a:lnTo>
                        <a:pt x="780" y="233"/>
                      </a:lnTo>
                      <a:lnTo>
                        <a:pt x="787" y="237"/>
                      </a:lnTo>
                      <a:lnTo>
                        <a:pt x="795" y="240"/>
                      </a:lnTo>
                      <a:lnTo>
                        <a:pt x="802" y="247"/>
                      </a:lnTo>
                      <a:lnTo>
                        <a:pt x="806" y="252"/>
                      </a:lnTo>
                      <a:lnTo>
                        <a:pt x="806" y="256"/>
                      </a:lnTo>
                      <a:lnTo>
                        <a:pt x="806" y="259"/>
                      </a:lnTo>
                      <a:lnTo>
                        <a:pt x="804" y="261"/>
                      </a:lnTo>
                      <a:lnTo>
                        <a:pt x="802" y="265"/>
                      </a:lnTo>
                      <a:lnTo>
                        <a:pt x="802" y="265"/>
                      </a:lnTo>
                      <a:lnTo>
                        <a:pt x="794" y="268"/>
                      </a:lnTo>
                      <a:lnTo>
                        <a:pt x="783" y="271"/>
                      </a:lnTo>
                      <a:lnTo>
                        <a:pt x="766" y="275"/>
                      </a:lnTo>
                      <a:lnTo>
                        <a:pt x="762" y="275"/>
                      </a:lnTo>
                      <a:lnTo>
                        <a:pt x="762" y="277"/>
                      </a:lnTo>
                      <a:lnTo>
                        <a:pt x="764" y="277"/>
                      </a:lnTo>
                      <a:lnTo>
                        <a:pt x="788" y="282"/>
                      </a:lnTo>
                      <a:lnTo>
                        <a:pt x="788" y="282"/>
                      </a:lnTo>
                      <a:lnTo>
                        <a:pt x="806" y="285"/>
                      </a:lnTo>
                      <a:lnTo>
                        <a:pt x="816" y="289"/>
                      </a:lnTo>
                      <a:lnTo>
                        <a:pt x="821" y="294"/>
                      </a:lnTo>
                      <a:lnTo>
                        <a:pt x="821" y="296"/>
                      </a:lnTo>
                      <a:lnTo>
                        <a:pt x="821" y="298"/>
                      </a:lnTo>
                      <a:lnTo>
                        <a:pt x="816" y="299"/>
                      </a:lnTo>
                      <a:lnTo>
                        <a:pt x="808" y="301"/>
                      </a:lnTo>
                      <a:lnTo>
                        <a:pt x="797" y="303"/>
                      </a:lnTo>
                      <a:lnTo>
                        <a:pt x="785" y="299"/>
                      </a:lnTo>
                      <a:lnTo>
                        <a:pt x="785" y="299"/>
                      </a:lnTo>
                      <a:lnTo>
                        <a:pt x="776" y="299"/>
                      </a:lnTo>
                      <a:lnTo>
                        <a:pt x="773" y="299"/>
                      </a:lnTo>
                      <a:lnTo>
                        <a:pt x="774" y="301"/>
                      </a:lnTo>
                      <a:lnTo>
                        <a:pt x="780" y="306"/>
                      </a:lnTo>
                      <a:lnTo>
                        <a:pt x="783" y="312"/>
                      </a:lnTo>
                      <a:lnTo>
                        <a:pt x="785" y="318"/>
                      </a:lnTo>
                      <a:lnTo>
                        <a:pt x="785" y="322"/>
                      </a:lnTo>
                      <a:lnTo>
                        <a:pt x="783" y="325"/>
                      </a:lnTo>
                      <a:lnTo>
                        <a:pt x="780" y="331"/>
                      </a:lnTo>
                      <a:lnTo>
                        <a:pt x="776" y="334"/>
                      </a:lnTo>
                      <a:lnTo>
                        <a:pt x="776" y="334"/>
                      </a:lnTo>
                      <a:lnTo>
                        <a:pt x="767" y="339"/>
                      </a:lnTo>
                      <a:lnTo>
                        <a:pt x="767" y="341"/>
                      </a:lnTo>
                      <a:lnTo>
                        <a:pt x="769" y="343"/>
                      </a:lnTo>
                      <a:lnTo>
                        <a:pt x="774" y="343"/>
                      </a:lnTo>
                      <a:lnTo>
                        <a:pt x="783" y="343"/>
                      </a:lnTo>
                      <a:lnTo>
                        <a:pt x="795" y="345"/>
                      </a:lnTo>
                      <a:lnTo>
                        <a:pt x="806" y="345"/>
                      </a:lnTo>
                      <a:lnTo>
                        <a:pt x="811" y="346"/>
                      </a:lnTo>
                      <a:lnTo>
                        <a:pt x="815" y="350"/>
                      </a:lnTo>
                      <a:lnTo>
                        <a:pt x="816" y="353"/>
                      </a:lnTo>
                      <a:lnTo>
                        <a:pt x="818" y="357"/>
                      </a:lnTo>
                      <a:lnTo>
                        <a:pt x="818" y="357"/>
                      </a:lnTo>
                      <a:lnTo>
                        <a:pt x="820" y="362"/>
                      </a:lnTo>
                      <a:lnTo>
                        <a:pt x="821" y="365"/>
                      </a:lnTo>
                      <a:lnTo>
                        <a:pt x="827" y="369"/>
                      </a:lnTo>
                      <a:lnTo>
                        <a:pt x="835" y="371"/>
                      </a:lnTo>
                      <a:lnTo>
                        <a:pt x="846" y="371"/>
                      </a:lnTo>
                      <a:lnTo>
                        <a:pt x="856" y="371"/>
                      </a:lnTo>
                      <a:lnTo>
                        <a:pt x="867" y="372"/>
                      </a:lnTo>
                      <a:lnTo>
                        <a:pt x="879" y="374"/>
                      </a:lnTo>
                      <a:lnTo>
                        <a:pt x="889" y="379"/>
                      </a:lnTo>
                      <a:lnTo>
                        <a:pt x="889" y="379"/>
                      </a:lnTo>
                      <a:lnTo>
                        <a:pt x="907" y="392"/>
                      </a:lnTo>
                      <a:lnTo>
                        <a:pt x="919" y="399"/>
                      </a:lnTo>
                      <a:lnTo>
                        <a:pt x="922" y="400"/>
                      </a:lnTo>
                      <a:lnTo>
                        <a:pt x="924" y="406"/>
                      </a:lnTo>
                      <a:lnTo>
                        <a:pt x="924" y="409"/>
                      </a:lnTo>
                      <a:lnTo>
                        <a:pt x="922" y="416"/>
                      </a:lnTo>
                      <a:lnTo>
                        <a:pt x="922" y="416"/>
                      </a:lnTo>
                      <a:lnTo>
                        <a:pt x="921" y="421"/>
                      </a:lnTo>
                      <a:lnTo>
                        <a:pt x="922" y="423"/>
                      </a:lnTo>
                      <a:lnTo>
                        <a:pt x="924" y="423"/>
                      </a:lnTo>
                      <a:lnTo>
                        <a:pt x="936" y="419"/>
                      </a:lnTo>
                      <a:lnTo>
                        <a:pt x="943" y="418"/>
                      </a:lnTo>
                      <a:lnTo>
                        <a:pt x="949" y="418"/>
                      </a:lnTo>
                      <a:lnTo>
                        <a:pt x="950" y="419"/>
                      </a:lnTo>
                      <a:lnTo>
                        <a:pt x="950" y="421"/>
                      </a:lnTo>
                      <a:lnTo>
                        <a:pt x="949" y="430"/>
                      </a:lnTo>
                      <a:lnTo>
                        <a:pt x="949" y="430"/>
                      </a:lnTo>
                      <a:lnTo>
                        <a:pt x="947" y="439"/>
                      </a:lnTo>
                      <a:lnTo>
                        <a:pt x="947" y="440"/>
                      </a:lnTo>
                      <a:lnTo>
                        <a:pt x="949" y="440"/>
                      </a:lnTo>
                      <a:lnTo>
                        <a:pt x="954" y="440"/>
                      </a:lnTo>
                      <a:lnTo>
                        <a:pt x="963" y="437"/>
                      </a:lnTo>
                      <a:lnTo>
                        <a:pt x="971" y="433"/>
                      </a:lnTo>
                      <a:lnTo>
                        <a:pt x="982" y="433"/>
                      </a:lnTo>
                      <a:lnTo>
                        <a:pt x="987" y="433"/>
                      </a:lnTo>
                      <a:lnTo>
                        <a:pt x="992" y="437"/>
                      </a:lnTo>
                      <a:lnTo>
                        <a:pt x="996" y="440"/>
                      </a:lnTo>
                      <a:lnTo>
                        <a:pt x="1001" y="447"/>
                      </a:lnTo>
                      <a:lnTo>
                        <a:pt x="1001" y="447"/>
                      </a:lnTo>
                      <a:lnTo>
                        <a:pt x="1004" y="458"/>
                      </a:lnTo>
                      <a:lnTo>
                        <a:pt x="1006" y="463"/>
                      </a:lnTo>
                      <a:lnTo>
                        <a:pt x="1004" y="466"/>
                      </a:lnTo>
                      <a:lnTo>
                        <a:pt x="1001" y="473"/>
                      </a:lnTo>
                      <a:lnTo>
                        <a:pt x="996" y="477"/>
                      </a:lnTo>
                      <a:lnTo>
                        <a:pt x="983" y="482"/>
                      </a:lnTo>
                      <a:lnTo>
                        <a:pt x="980" y="486"/>
                      </a:lnTo>
                      <a:lnTo>
                        <a:pt x="980" y="487"/>
                      </a:lnTo>
                      <a:lnTo>
                        <a:pt x="982" y="489"/>
                      </a:lnTo>
                      <a:lnTo>
                        <a:pt x="982" y="489"/>
                      </a:lnTo>
                      <a:lnTo>
                        <a:pt x="983" y="494"/>
                      </a:lnTo>
                      <a:lnTo>
                        <a:pt x="982" y="496"/>
                      </a:lnTo>
                      <a:lnTo>
                        <a:pt x="976" y="498"/>
                      </a:lnTo>
                      <a:lnTo>
                        <a:pt x="975" y="500"/>
                      </a:lnTo>
                      <a:lnTo>
                        <a:pt x="973" y="501"/>
                      </a:lnTo>
                      <a:lnTo>
                        <a:pt x="973" y="505"/>
                      </a:lnTo>
                      <a:lnTo>
                        <a:pt x="976" y="512"/>
                      </a:lnTo>
                      <a:lnTo>
                        <a:pt x="976" y="512"/>
                      </a:lnTo>
                      <a:lnTo>
                        <a:pt x="978" y="515"/>
                      </a:lnTo>
                      <a:lnTo>
                        <a:pt x="978" y="517"/>
                      </a:lnTo>
                      <a:lnTo>
                        <a:pt x="976" y="519"/>
                      </a:lnTo>
                      <a:lnTo>
                        <a:pt x="975" y="519"/>
                      </a:lnTo>
                      <a:lnTo>
                        <a:pt x="959" y="519"/>
                      </a:lnTo>
                      <a:lnTo>
                        <a:pt x="950" y="520"/>
                      </a:lnTo>
                      <a:lnTo>
                        <a:pt x="947" y="520"/>
                      </a:lnTo>
                      <a:lnTo>
                        <a:pt x="943" y="524"/>
                      </a:lnTo>
                      <a:lnTo>
                        <a:pt x="940" y="527"/>
                      </a:lnTo>
                      <a:lnTo>
                        <a:pt x="938" y="531"/>
                      </a:lnTo>
                      <a:lnTo>
                        <a:pt x="938" y="538"/>
                      </a:lnTo>
                      <a:lnTo>
                        <a:pt x="940" y="547"/>
                      </a:lnTo>
                      <a:lnTo>
                        <a:pt x="940" y="547"/>
                      </a:lnTo>
                      <a:lnTo>
                        <a:pt x="940" y="554"/>
                      </a:lnTo>
                      <a:lnTo>
                        <a:pt x="938" y="559"/>
                      </a:lnTo>
                      <a:lnTo>
                        <a:pt x="936" y="562"/>
                      </a:lnTo>
                      <a:lnTo>
                        <a:pt x="931" y="564"/>
                      </a:lnTo>
                      <a:lnTo>
                        <a:pt x="926" y="562"/>
                      </a:lnTo>
                      <a:lnTo>
                        <a:pt x="919" y="560"/>
                      </a:lnTo>
                      <a:lnTo>
                        <a:pt x="905" y="554"/>
                      </a:lnTo>
                      <a:lnTo>
                        <a:pt x="889" y="545"/>
                      </a:lnTo>
                      <a:lnTo>
                        <a:pt x="877" y="533"/>
                      </a:lnTo>
                      <a:lnTo>
                        <a:pt x="868" y="522"/>
                      </a:lnTo>
                      <a:lnTo>
                        <a:pt x="865" y="519"/>
                      </a:lnTo>
                      <a:lnTo>
                        <a:pt x="865" y="515"/>
                      </a:lnTo>
                      <a:lnTo>
                        <a:pt x="865" y="515"/>
                      </a:lnTo>
                      <a:lnTo>
                        <a:pt x="865" y="510"/>
                      </a:lnTo>
                      <a:lnTo>
                        <a:pt x="863" y="507"/>
                      </a:lnTo>
                      <a:lnTo>
                        <a:pt x="862" y="505"/>
                      </a:lnTo>
                      <a:lnTo>
                        <a:pt x="858" y="505"/>
                      </a:lnTo>
                      <a:lnTo>
                        <a:pt x="853" y="501"/>
                      </a:lnTo>
                      <a:lnTo>
                        <a:pt x="849" y="498"/>
                      </a:lnTo>
                      <a:lnTo>
                        <a:pt x="848" y="493"/>
                      </a:lnTo>
                      <a:lnTo>
                        <a:pt x="848" y="493"/>
                      </a:lnTo>
                      <a:lnTo>
                        <a:pt x="846" y="489"/>
                      </a:lnTo>
                      <a:lnTo>
                        <a:pt x="844" y="486"/>
                      </a:lnTo>
                      <a:lnTo>
                        <a:pt x="839" y="486"/>
                      </a:lnTo>
                      <a:lnTo>
                        <a:pt x="835" y="486"/>
                      </a:lnTo>
                      <a:lnTo>
                        <a:pt x="830" y="484"/>
                      </a:lnTo>
                      <a:lnTo>
                        <a:pt x="827" y="480"/>
                      </a:lnTo>
                      <a:lnTo>
                        <a:pt x="821" y="473"/>
                      </a:lnTo>
                      <a:lnTo>
                        <a:pt x="821" y="473"/>
                      </a:lnTo>
                      <a:lnTo>
                        <a:pt x="816" y="466"/>
                      </a:lnTo>
                      <a:lnTo>
                        <a:pt x="813" y="465"/>
                      </a:lnTo>
                      <a:lnTo>
                        <a:pt x="811" y="465"/>
                      </a:lnTo>
                      <a:lnTo>
                        <a:pt x="809" y="468"/>
                      </a:lnTo>
                      <a:lnTo>
                        <a:pt x="808" y="472"/>
                      </a:lnTo>
                      <a:lnTo>
                        <a:pt x="804" y="473"/>
                      </a:lnTo>
                      <a:lnTo>
                        <a:pt x="799" y="475"/>
                      </a:lnTo>
                      <a:lnTo>
                        <a:pt x="792" y="475"/>
                      </a:lnTo>
                      <a:lnTo>
                        <a:pt x="792" y="475"/>
                      </a:lnTo>
                      <a:lnTo>
                        <a:pt x="787" y="473"/>
                      </a:lnTo>
                      <a:lnTo>
                        <a:pt x="785" y="473"/>
                      </a:lnTo>
                      <a:lnTo>
                        <a:pt x="785" y="475"/>
                      </a:lnTo>
                      <a:lnTo>
                        <a:pt x="792" y="484"/>
                      </a:lnTo>
                      <a:lnTo>
                        <a:pt x="795" y="489"/>
                      </a:lnTo>
                      <a:lnTo>
                        <a:pt x="799" y="496"/>
                      </a:lnTo>
                      <a:lnTo>
                        <a:pt x="799" y="498"/>
                      </a:lnTo>
                      <a:lnTo>
                        <a:pt x="797" y="500"/>
                      </a:lnTo>
                      <a:lnTo>
                        <a:pt x="795" y="501"/>
                      </a:lnTo>
                      <a:lnTo>
                        <a:pt x="790" y="503"/>
                      </a:lnTo>
                      <a:lnTo>
                        <a:pt x="790" y="503"/>
                      </a:lnTo>
                      <a:lnTo>
                        <a:pt x="783" y="505"/>
                      </a:lnTo>
                      <a:lnTo>
                        <a:pt x="778" y="507"/>
                      </a:lnTo>
                      <a:lnTo>
                        <a:pt x="774" y="510"/>
                      </a:lnTo>
                      <a:lnTo>
                        <a:pt x="774" y="513"/>
                      </a:lnTo>
                      <a:lnTo>
                        <a:pt x="776" y="515"/>
                      </a:lnTo>
                      <a:lnTo>
                        <a:pt x="781" y="517"/>
                      </a:lnTo>
                      <a:lnTo>
                        <a:pt x="787" y="517"/>
                      </a:lnTo>
                      <a:lnTo>
                        <a:pt x="794" y="515"/>
                      </a:lnTo>
                      <a:lnTo>
                        <a:pt x="794" y="515"/>
                      </a:lnTo>
                      <a:lnTo>
                        <a:pt x="801" y="515"/>
                      </a:lnTo>
                      <a:lnTo>
                        <a:pt x="804" y="519"/>
                      </a:lnTo>
                      <a:lnTo>
                        <a:pt x="808" y="524"/>
                      </a:lnTo>
                      <a:lnTo>
                        <a:pt x="811" y="533"/>
                      </a:lnTo>
                      <a:lnTo>
                        <a:pt x="815" y="541"/>
                      </a:lnTo>
                      <a:lnTo>
                        <a:pt x="820" y="550"/>
                      </a:lnTo>
                      <a:lnTo>
                        <a:pt x="828" y="557"/>
                      </a:lnTo>
                      <a:lnTo>
                        <a:pt x="841" y="564"/>
                      </a:lnTo>
                      <a:lnTo>
                        <a:pt x="841" y="564"/>
                      </a:lnTo>
                      <a:lnTo>
                        <a:pt x="863" y="573"/>
                      </a:lnTo>
                      <a:lnTo>
                        <a:pt x="870" y="576"/>
                      </a:lnTo>
                      <a:lnTo>
                        <a:pt x="875" y="580"/>
                      </a:lnTo>
                      <a:lnTo>
                        <a:pt x="879" y="583"/>
                      </a:lnTo>
                      <a:lnTo>
                        <a:pt x="879" y="588"/>
                      </a:lnTo>
                      <a:lnTo>
                        <a:pt x="877" y="592"/>
                      </a:lnTo>
                      <a:lnTo>
                        <a:pt x="872" y="599"/>
                      </a:lnTo>
                      <a:lnTo>
                        <a:pt x="872" y="599"/>
                      </a:lnTo>
                      <a:lnTo>
                        <a:pt x="870" y="604"/>
                      </a:lnTo>
                      <a:lnTo>
                        <a:pt x="872" y="606"/>
                      </a:lnTo>
                      <a:lnTo>
                        <a:pt x="875" y="608"/>
                      </a:lnTo>
                      <a:lnTo>
                        <a:pt x="881" y="609"/>
                      </a:lnTo>
                      <a:lnTo>
                        <a:pt x="886" y="609"/>
                      </a:lnTo>
                      <a:lnTo>
                        <a:pt x="889" y="611"/>
                      </a:lnTo>
                      <a:lnTo>
                        <a:pt x="889" y="614"/>
                      </a:lnTo>
                      <a:lnTo>
                        <a:pt x="886" y="620"/>
                      </a:lnTo>
                      <a:lnTo>
                        <a:pt x="886" y="620"/>
                      </a:lnTo>
                      <a:lnTo>
                        <a:pt x="882" y="625"/>
                      </a:lnTo>
                      <a:lnTo>
                        <a:pt x="882" y="628"/>
                      </a:lnTo>
                      <a:lnTo>
                        <a:pt x="886" y="628"/>
                      </a:lnTo>
                      <a:lnTo>
                        <a:pt x="889" y="628"/>
                      </a:lnTo>
                      <a:lnTo>
                        <a:pt x="893" y="630"/>
                      </a:lnTo>
                      <a:lnTo>
                        <a:pt x="896" y="634"/>
                      </a:lnTo>
                      <a:lnTo>
                        <a:pt x="898" y="639"/>
                      </a:lnTo>
                      <a:lnTo>
                        <a:pt x="898" y="649"/>
                      </a:lnTo>
                      <a:lnTo>
                        <a:pt x="898" y="649"/>
                      </a:lnTo>
                      <a:lnTo>
                        <a:pt x="895" y="658"/>
                      </a:lnTo>
                      <a:lnTo>
                        <a:pt x="893" y="660"/>
                      </a:lnTo>
                      <a:lnTo>
                        <a:pt x="889" y="660"/>
                      </a:lnTo>
                      <a:lnTo>
                        <a:pt x="888" y="656"/>
                      </a:lnTo>
                      <a:lnTo>
                        <a:pt x="886" y="653"/>
                      </a:lnTo>
                      <a:lnTo>
                        <a:pt x="886" y="653"/>
                      </a:lnTo>
                      <a:lnTo>
                        <a:pt x="886" y="667"/>
                      </a:lnTo>
                      <a:lnTo>
                        <a:pt x="886" y="667"/>
                      </a:lnTo>
                      <a:lnTo>
                        <a:pt x="888" y="677"/>
                      </a:lnTo>
                      <a:lnTo>
                        <a:pt x="888" y="684"/>
                      </a:lnTo>
                      <a:lnTo>
                        <a:pt x="886" y="686"/>
                      </a:lnTo>
                      <a:lnTo>
                        <a:pt x="884" y="686"/>
                      </a:lnTo>
                      <a:lnTo>
                        <a:pt x="882" y="684"/>
                      </a:lnTo>
                      <a:lnTo>
                        <a:pt x="881" y="686"/>
                      </a:lnTo>
                      <a:lnTo>
                        <a:pt x="881" y="689"/>
                      </a:lnTo>
                      <a:lnTo>
                        <a:pt x="882" y="698"/>
                      </a:lnTo>
                      <a:lnTo>
                        <a:pt x="882" y="698"/>
                      </a:lnTo>
                      <a:lnTo>
                        <a:pt x="882" y="707"/>
                      </a:lnTo>
                      <a:lnTo>
                        <a:pt x="882" y="708"/>
                      </a:lnTo>
                      <a:lnTo>
                        <a:pt x="879" y="707"/>
                      </a:lnTo>
                      <a:lnTo>
                        <a:pt x="875" y="702"/>
                      </a:lnTo>
                      <a:lnTo>
                        <a:pt x="868" y="693"/>
                      </a:lnTo>
                      <a:lnTo>
                        <a:pt x="862" y="686"/>
                      </a:lnTo>
                      <a:lnTo>
                        <a:pt x="853" y="681"/>
                      </a:lnTo>
                      <a:lnTo>
                        <a:pt x="842" y="677"/>
                      </a:lnTo>
                      <a:lnTo>
                        <a:pt x="842" y="677"/>
                      </a:lnTo>
                      <a:lnTo>
                        <a:pt x="832" y="675"/>
                      </a:lnTo>
                      <a:lnTo>
                        <a:pt x="821" y="670"/>
                      </a:lnTo>
                      <a:lnTo>
                        <a:pt x="813" y="663"/>
                      </a:lnTo>
                      <a:lnTo>
                        <a:pt x="804" y="656"/>
                      </a:lnTo>
                      <a:lnTo>
                        <a:pt x="790" y="646"/>
                      </a:lnTo>
                      <a:lnTo>
                        <a:pt x="787" y="646"/>
                      </a:lnTo>
                      <a:lnTo>
                        <a:pt x="787" y="646"/>
                      </a:lnTo>
                      <a:lnTo>
                        <a:pt x="785" y="648"/>
                      </a:lnTo>
                      <a:lnTo>
                        <a:pt x="785" y="648"/>
                      </a:lnTo>
                      <a:lnTo>
                        <a:pt x="785" y="651"/>
                      </a:lnTo>
                      <a:lnTo>
                        <a:pt x="783" y="651"/>
                      </a:lnTo>
                      <a:lnTo>
                        <a:pt x="780" y="649"/>
                      </a:lnTo>
                      <a:lnTo>
                        <a:pt x="766" y="641"/>
                      </a:lnTo>
                      <a:lnTo>
                        <a:pt x="752" y="630"/>
                      </a:lnTo>
                      <a:lnTo>
                        <a:pt x="747" y="628"/>
                      </a:lnTo>
                      <a:lnTo>
                        <a:pt x="745" y="628"/>
                      </a:lnTo>
                      <a:lnTo>
                        <a:pt x="743" y="630"/>
                      </a:lnTo>
                      <a:lnTo>
                        <a:pt x="743" y="630"/>
                      </a:lnTo>
                      <a:lnTo>
                        <a:pt x="743" y="634"/>
                      </a:lnTo>
                      <a:lnTo>
                        <a:pt x="743" y="635"/>
                      </a:lnTo>
                      <a:lnTo>
                        <a:pt x="750" y="642"/>
                      </a:lnTo>
                      <a:lnTo>
                        <a:pt x="761" y="651"/>
                      </a:lnTo>
                      <a:lnTo>
                        <a:pt x="773" y="660"/>
                      </a:lnTo>
                      <a:lnTo>
                        <a:pt x="801" y="679"/>
                      </a:lnTo>
                      <a:lnTo>
                        <a:pt x="815" y="688"/>
                      </a:lnTo>
                      <a:lnTo>
                        <a:pt x="825" y="698"/>
                      </a:lnTo>
                      <a:lnTo>
                        <a:pt x="825" y="698"/>
                      </a:lnTo>
                      <a:lnTo>
                        <a:pt x="834" y="707"/>
                      </a:lnTo>
                      <a:lnTo>
                        <a:pt x="841" y="715"/>
                      </a:lnTo>
                      <a:lnTo>
                        <a:pt x="846" y="724"/>
                      </a:lnTo>
                      <a:lnTo>
                        <a:pt x="848" y="731"/>
                      </a:lnTo>
                      <a:lnTo>
                        <a:pt x="848" y="736"/>
                      </a:lnTo>
                      <a:lnTo>
                        <a:pt x="846" y="738"/>
                      </a:lnTo>
                      <a:lnTo>
                        <a:pt x="844" y="740"/>
                      </a:lnTo>
                      <a:lnTo>
                        <a:pt x="837" y="740"/>
                      </a:lnTo>
                      <a:lnTo>
                        <a:pt x="827" y="736"/>
                      </a:lnTo>
                      <a:lnTo>
                        <a:pt x="827" y="736"/>
                      </a:lnTo>
                      <a:lnTo>
                        <a:pt x="797" y="728"/>
                      </a:lnTo>
                      <a:lnTo>
                        <a:pt x="769" y="721"/>
                      </a:lnTo>
                      <a:lnTo>
                        <a:pt x="755" y="715"/>
                      </a:lnTo>
                      <a:lnTo>
                        <a:pt x="743" y="712"/>
                      </a:lnTo>
                      <a:lnTo>
                        <a:pt x="733" y="707"/>
                      </a:lnTo>
                      <a:lnTo>
                        <a:pt x="726" y="700"/>
                      </a:lnTo>
                      <a:lnTo>
                        <a:pt x="726" y="700"/>
                      </a:lnTo>
                      <a:lnTo>
                        <a:pt x="719" y="695"/>
                      </a:lnTo>
                      <a:lnTo>
                        <a:pt x="710" y="691"/>
                      </a:lnTo>
                      <a:lnTo>
                        <a:pt x="689" y="684"/>
                      </a:lnTo>
                      <a:lnTo>
                        <a:pt x="668" y="679"/>
                      </a:lnTo>
                      <a:lnTo>
                        <a:pt x="658" y="675"/>
                      </a:lnTo>
                      <a:lnTo>
                        <a:pt x="647" y="668"/>
                      </a:lnTo>
                      <a:lnTo>
                        <a:pt x="647" y="668"/>
                      </a:lnTo>
                      <a:lnTo>
                        <a:pt x="639" y="658"/>
                      </a:lnTo>
                      <a:lnTo>
                        <a:pt x="637" y="655"/>
                      </a:lnTo>
                      <a:lnTo>
                        <a:pt x="637" y="651"/>
                      </a:lnTo>
                      <a:lnTo>
                        <a:pt x="637" y="649"/>
                      </a:lnTo>
                      <a:lnTo>
                        <a:pt x="640" y="649"/>
                      </a:lnTo>
                      <a:lnTo>
                        <a:pt x="646" y="648"/>
                      </a:lnTo>
                      <a:lnTo>
                        <a:pt x="653" y="646"/>
                      </a:lnTo>
                      <a:lnTo>
                        <a:pt x="658" y="646"/>
                      </a:lnTo>
                      <a:lnTo>
                        <a:pt x="658" y="644"/>
                      </a:lnTo>
                      <a:lnTo>
                        <a:pt x="658" y="642"/>
                      </a:lnTo>
                      <a:lnTo>
                        <a:pt x="653" y="637"/>
                      </a:lnTo>
                      <a:lnTo>
                        <a:pt x="653" y="637"/>
                      </a:lnTo>
                      <a:lnTo>
                        <a:pt x="646" y="632"/>
                      </a:lnTo>
                      <a:lnTo>
                        <a:pt x="640" y="630"/>
                      </a:lnTo>
                      <a:lnTo>
                        <a:pt x="637" y="630"/>
                      </a:lnTo>
                      <a:lnTo>
                        <a:pt x="633" y="634"/>
                      </a:lnTo>
                      <a:lnTo>
                        <a:pt x="630" y="634"/>
                      </a:lnTo>
                      <a:lnTo>
                        <a:pt x="625" y="632"/>
                      </a:lnTo>
                      <a:lnTo>
                        <a:pt x="616" y="625"/>
                      </a:lnTo>
                      <a:lnTo>
                        <a:pt x="606" y="613"/>
                      </a:lnTo>
                      <a:lnTo>
                        <a:pt x="606" y="613"/>
                      </a:lnTo>
                      <a:lnTo>
                        <a:pt x="585" y="590"/>
                      </a:lnTo>
                      <a:lnTo>
                        <a:pt x="579" y="585"/>
                      </a:lnTo>
                      <a:lnTo>
                        <a:pt x="576" y="583"/>
                      </a:lnTo>
                      <a:lnTo>
                        <a:pt x="572" y="585"/>
                      </a:lnTo>
                      <a:lnTo>
                        <a:pt x="571" y="587"/>
                      </a:lnTo>
                      <a:lnTo>
                        <a:pt x="566" y="597"/>
                      </a:lnTo>
                      <a:lnTo>
                        <a:pt x="566" y="597"/>
                      </a:lnTo>
                      <a:lnTo>
                        <a:pt x="564" y="599"/>
                      </a:lnTo>
                      <a:lnTo>
                        <a:pt x="562" y="599"/>
                      </a:lnTo>
                      <a:lnTo>
                        <a:pt x="560" y="592"/>
                      </a:lnTo>
                      <a:lnTo>
                        <a:pt x="559" y="588"/>
                      </a:lnTo>
                      <a:lnTo>
                        <a:pt x="557" y="585"/>
                      </a:lnTo>
                      <a:lnTo>
                        <a:pt x="553" y="587"/>
                      </a:lnTo>
                      <a:lnTo>
                        <a:pt x="546" y="592"/>
                      </a:lnTo>
                      <a:lnTo>
                        <a:pt x="546" y="592"/>
                      </a:lnTo>
                      <a:lnTo>
                        <a:pt x="541" y="597"/>
                      </a:lnTo>
                      <a:lnTo>
                        <a:pt x="538" y="597"/>
                      </a:lnTo>
                      <a:lnTo>
                        <a:pt x="532" y="595"/>
                      </a:lnTo>
                      <a:lnTo>
                        <a:pt x="529" y="592"/>
                      </a:lnTo>
                      <a:lnTo>
                        <a:pt x="524" y="588"/>
                      </a:lnTo>
                      <a:lnTo>
                        <a:pt x="515" y="587"/>
                      </a:lnTo>
                      <a:lnTo>
                        <a:pt x="505" y="588"/>
                      </a:lnTo>
                      <a:lnTo>
                        <a:pt x="489" y="594"/>
                      </a:lnTo>
                      <a:lnTo>
                        <a:pt x="489" y="594"/>
                      </a:lnTo>
                      <a:lnTo>
                        <a:pt x="480" y="597"/>
                      </a:lnTo>
                      <a:lnTo>
                        <a:pt x="471" y="599"/>
                      </a:lnTo>
                      <a:lnTo>
                        <a:pt x="463" y="601"/>
                      </a:lnTo>
                      <a:lnTo>
                        <a:pt x="456" y="601"/>
                      </a:lnTo>
                      <a:lnTo>
                        <a:pt x="447" y="599"/>
                      </a:lnTo>
                      <a:lnTo>
                        <a:pt x="440" y="597"/>
                      </a:lnTo>
                      <a:lnTo>
                        <a:pt x="430" y="590"/>
                      </a:lnTo>
                      <a:lnTo>
                        <a:pt x="421" y="581"/>
                      </a:lnTo>
                      <a:lnTo>
                        <a:pt x="419" y="576"/>
                      </a:lnTo>
                      <a:lnTo>
                        <a:pt x="419" y="573"/>
                      </a:lnTo>
                      <a:lnTo>
                        <a:pt x="419" y="567"/>
                      </a:lnTo>
                      <a:lnTo>
                        <a:pt x="421" y="562"/>
                      </a:lnTo>
                      <a:lnTo>
                        <a:pt x="424" y="559"/>
                      </a:lnTo>
                      <a:lnTo>
                        <a:pt x="430" y="555"/>
                      </a:lnTo>
                      <a:lnTo>
                        <a:pt x="430" y="555"/>
                      </a:lnTo>
                      <a:lnTo>
                        <a:pt x="440" y="548"/>
                      </a:lnTo>
                      <a:lnTo>
                        <a:pt x="444" y="541"/>
                      </a:lnTo>
                      <a:lnTo>
                        <a:pt x="444" y="536"/>
                      </a:lnTo>
                      <a:lnTo>
                        <a:pt x="444" y="533"/>
                      </a:lnTo>
                      <a:lnTo>
                        <a:pt x="444" y="529"/>
                      </a:lnTo>
                      <a:lnTo>
                        <a:pt x="449" y="529"/>
                      </a:lnTo>
                      <a:lnTo>
                        <a:pt x="461" y="531"/>
                      </a:lnTo>
                      <a:lnTo>
                        <a:pt x="480" y="534"/>
                      </a:lnTo>
                      <a:lnTo>
                        <a:pt x="480" y="534"/>
                      </a:lnTo>
                      <a:lnTo>
                        <a:pt x="501" y="538"/>
                      </a:lnTo>
                      <a:lnTo>
                        <a:pt x="519" y="538"/>
                      </a:lnTo>
                      <a:lnTo>
                        <a:pt x="531" y="536"/>
                      </a:lnTo>
                      <a:lnTo>
                        <a:pt x="539" y="533"/>
                      </a:lnTo>
                      <a:lnTo>
                        <a:pt x="546" y="529"/>
                      </a:lnTo>
                      <a:lnTo>
                        <a:pt x="553" y="526"/>
                      </a:lnTo>
                      <a:lnTo>
                        <a:pt x="562" y="524"/>
                      </a:lnTo>
                      <a:lnTo>
                        <a:pt x="572" y="526"/>
                      </a:lnTo>
                      <a:lnTo>
                        <a:pt x="572" y="526"/>
                      </a:lnTo>
                      <a:lnTo>
                        <a:pt x="579" y="527"/>
                      </a:lnTo>
                      <a:lnTo>
                        <a:pt x="579" y="527"/>
                      </a:lnTo>
                      <a:lnTo>
                        <a:pt x="579" y="526"/>
                      </a:lnTo>
                      <a:lnTo>
                        <a:pt x="569" y="513"/>
                      </a:lnTo>
                      <a:lnTo>
                        <a:pt x="562" y="505"/>
                      </a:lnTo>
                      <a:lnTo>
                        <a:pt x="559" y="494"/>
                      </a:lnTo>
                      <a:lnTo>
                        <a:pt x="557" y="491"/>
                      </a:lnTo>
                      <a:lnTo>
                        <a:pt x="559" y="486"/>
                      </a:lnTo>
                      <a:lnTo>
                        <a:pt x="560" y="482"/>
                      </a:lnTo>
                      <a:lnTo>
                        <a:pt x="564" y="477"/>
                      </a:lnTo>
                      <a:lnTo>
                        <a:pt x="564" y="477"/>
                      </a:lnTo>
                      <a:lnTo>
                        <a:pt x="581" y="463"/>
                      </a:lnTo>
                      <a:lnTo>
                        <a:pt x="595" y="449"/>
                      </a:lnTo>
                      <a:lnTo>
                        <a:pt x="606" y="439"/>
                      </a:lnTo>
                      <a:lnTo>
                        <a:pt x="618" y="430"/>
                      </a:lnTo>
                      <a:lnTo>
                        <a:pt x="618" y="430"/>
                      </a:lnTo>
                      <a:lnTo>
                        <a:pt x="623" y="426"/>
                      </a:lnTo>
                      <a:lnTo>
                        <a:pt x="625" y="421"/>
                      </a:lnTo>
                      <a:lnTo>
                        <a:pt x="623" y="418"/>
                      </a:lnTo>
                      <a:lnTo>
                        <a:pt x="619" y="413"/>
                      </a:lnTo>
                      <a:lnTo>
                        <a:pt x="613" y="400"/>
                      </a:lnTo>
                      <a:lnTo>
                        <a:pt x="607" y="392"/>
                      </a:lnTo>
                      <a:lnTo>
                        <a:pt x="606" y="381"/>
                      </a:lnTo>
                      <a:lnTo>
                        <a:pt x="606" y="381"/>
                      </a:lnTo>
                      <a:lnTo>
                        <a:pt x="602" y="372"/>
                      </a:lnTo>
                      <a:lnTo>
                        <a:pt x="599" y="365"/>
                      </a:lnTo>
                      <a:lnTo>
                        <a:pt x="593" y="362"/>
                      </a:lnTo>
                      <a:lnTo>
                        <a:pt x="588" y="359"/>
                      </a:lnTo>
                      <a:lnTo>
                        <a:pt x="576" y="355"/>
                      </a:lnTo>
                      <a:lnTo>
                        <a:pt x="572" y="353"/>
                      </a:lnTo>
                      <a:lnTo>
                        <a:pt x="569" y="348"/>
                      </a:lnTo>
                      <a:lnTo>
                        <a:pt x="569" y="348"/>
                      </a:lnTo>
                      <a:lnTo>
                        <a:pt x="564" y="343"/>
                      </a:lnTo>
                      <a:lnTo>
                        <a:pt x="559" y="338"/>
                      </a:lnTo>
                      <a:lnTo>
                        <a:pt x="550" y="334"/>
                      </a:lnTo>
                      <a:lnTo>
                        <a:pt x="538" y="329"/>
                      </a:lnTo>
                      <a:lnTo>
                        <a:pt x="527" y="327"/>
                      </a:lnTo>
                      <a:lnTo>
                        <a:pt x="515" y="325"/>
                      </a:lnTo>
                      <a:lnTo>
                        <a:pt x="501" y="325"/>
                      </a:lnTo>
                      <a:lnTo>
                        <a:pt x="489" y="327"/>
                      </a:lnTo>
                      <a:lnTo>
                        <a:pt x="489" y="327"/>
                      </a:lnTo>
                      <a:lnTo>
                        <a:pt x="480" y="329"/>
                      </a:lnTo>
                      <a:lnTo>
                        <a:pt x="473" y="329"/>
                      </a:lnTo>
                      <a:lnTo>
                        <a:pt x="468" y="325"/>
                      </a:lnTo>
                      <a:lnTo>
                        <a:pt x="468" y="322"/>
                      </a:lnTo>
                      <a:lnTo>
                        <a:pt x="470" y="317"/>
                      </a:lnTo>
                      <a:lnTo>
                        <a:pt x="473" y="313"/>
                      </a:lnTo>
                      <a:lnTo>
                        <a:pt x="478" y="312"/>
                      </a:lnTo>
                      <a:lnTo>
                        <a:pt x="485" y="310"/>
                      </a:lnTo>
                      <a:lnTo>
                        <a:pt x="485" y="310"/>
                      </a:lnTo>
                      <a:lnTo>
                        <a:pt x="494" y="310"/>
                      </a:lnTo>
                      <a:lnTo>
                        <a:pt x="501" y="308"/>
                      </a:lnTo>
                      <a:lnTo>
                        <a:pt x="506" y="306"/>
                      </a:lnTo>
                      <a:lnTo>
                        <a:pt x="508" y="303"/>
                      </a:lnTo>
                      <a:lnTo>
                        <a:pt x="508" y="299"/>
                      </a:lnTo>
                      <a:lnTo>
                        <a:pt x="505" y="294"/>
                      </a:lnTo>
                      <a:lnTo>
                        <a:pt x="496" y="289"/>
                      </a:lnTo>
                      <a:lnTo>
                        <a:pt x="484" y="284"/>
                      </a:lnTo>
                      <a:lnTo>
                        <a:pt x="484" y="284"/>
                      </a:lnTo>
                      <a:lnTo>
                        <a:pt x="459" y="275"/>
                      </a:lnTo>
                      <a:lnTo>
                        <a:pt x="445" y="270"/>
                      </a:lnTo>
                      <a:lnTo>
                        <a:pt x="442" y="266"/>
                      </a:lnTo>
                      <a:lnTo>
                        <a:pt x="438" y="263"/>
                      </a:lnTo>
                      <a:lnTo>
                        <a:pt x="437" y="256"/>
                      </a:lnTo>
                      <a:lnTo>
                        <a:pt x="437" y="249"/>
                      </a:lnTo>
                      <a:lnTo>
                        <a:pt x="437" y="249"/>
                      </a:lnTo>
                      <a:lnTo>
                        <a:pt x="435" y="240"/>
                      </a:lnTo>
                      <a:lnTo>
                        <a:pt x="433" y="237"/>
                      </a:lnTo>
                      <a:lnTo>
                        <a:pt x="430" y="237"/>
                      </a:lnTo>
                      <a:lnTo>
                        <a:pt x="426" y="237"/>
                      </a:lnTo>
                      <a:lnTo>
                        <a:pt x="423" y="237"/>
                      </a:lnTo>
                      <a:lnTo>
                        <a:pt x="416" y="237"/>
                      </a:lnTo>
                      <a:lnTo>
                        <a:pt x="411" y="235"/>
                      </a:lnTo>
                      <a:lnTo>
                        <a:pt x="404" y="230"/>
                      </a:lnTo>
                      <a:lnTo>
                        <a:pt x="404" y="230"/>
                      </a:lnTo>
                      <a:lnTo>
                        <a:pt x="398" y="224"/>
                      </a:lnTo>
                      <a:lnTo>
                        <a:pt x="397" y="224"/>
                      </a:lnTo>
                      <a:lnTo>
                        <a:pt x="397" y="226"/>
                      </a:lnTo>
                      <a:lnTo>
                        <a:pt x="400" y="238"/>
                      </a:lnTo>
                      <a:lnTo>
                        <a:pt x="402" y="245"/>
                      </a:lnTo>
                      <a:lnTo>
                        <a:pt x="400" y="252"/>
                      </a:lnTo>
                      <a:lnTo>
                        <a:pt x="398" y="256"/>
                      </a:lnTo>
                      <a:lnTo>
                        <a:pt x="397" y="258"/>
                      </a:lnTo>
                      <a:lnTo>
                        <a:pt x="391" y="258"/>
                      </a:lnTo>
                      <a:lnTo>
                        <a:pt x="386" y="258"/>
                      </a:lnTo>
                      <a:lnTo>
                        <a:pt x="386" y="258"/>
                      </a:lnTo>
                      <a:lnTo>
                        <a:pt x="357" y="252"/>
                      </a:lnTo>
                      <a:lnTo>
                        <a:pt x="330" y="245"/>
                      </a:lnTo>
                      <a:lnTo>
                        <a:pt x="320" y="244"/>
                      </a:lnTo>
                      <a:lnTo>
                        <a:pt x="313" y="245"/>
                      </a:lnTo>
                      <a:lnTo>
                        <a:pt x="311" y="245"/>
                      </a:lnTo>
                      <a:lnTo>
                        <a:pt x="311" y="247"/>
                      </a:lnTo>
                      <a:lnTo>
                        <a:pt x="317" y="252"/>
                      </a:lnTo>
                      <a:lnTo>
                        <a:pt x="317" y="252"/>
                      </a:lnTo>
                      <a:lnTo>
                        <a:pt x="327" y="265"/>
                      </a:lnTo>
                      <a:lnTo>
                        <a:pt x="330" y="270"/>
                      </a:lnTo>
                      <a:lnTo>
                        <a:pt x="330" y="271"/>
                      </a:lnTo>
                      <a:lnTo>
                        <a:pt x="329" y="271"/>
                      </a:lnTo>
                      <a:lnTo>
                        <a:pt x="325" y="270"/>
                      </a:lnTo>
                      <a:lnTo>
                        <a:pt x="310" y="259"/>
                      </a:lnTo>
                      <a:lnTo>
                        <a:pt x="310" y="259"/>
                      </a:lnTo>
                      <a:lnTo>
                        <a:pt x="301" y="252"/>
                      </a:lnTo>
                      <a:lnTo>
                        <a:pt x="296" y="251"/>
                      </a:lnTo>
                      <a:lnTo>
                        <a:pt x="292" y="252"/>
                      </a:lnTo>
                      <a:lnTo>
                        <a:pt x="289" y="254"/>
                      </a:lnTo>
                      <a:lnTo>
                        <a:pt x="285" y="258"/>
                      </a:lnTo>
                      <a:lnTo>
                        <a:pt x="282" y="259"/>
                      </a:lnTo>
                      <a:lnTo>
                        <a:pt x="275" y="259"/>
                      </a:lnTo>
                      <a:lnTo>
                        <a:pt x="264" y="258"/>
                      </a:lnTo>
                      <a:lnTo>
                        <a:pt x="264" y="25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2" name="Freeform 1711">
                  <a:extLst>
                    <a:ext uri="{FF2B5EF4-FFF2-40B4-BE49-F238E27FC236}">
                      <a16:creationId xmlns:a16="http://schemas.microsoft.com/office/drawing/2014/main" id="{7387E665-8609-A248-F8F6-3ABD35114708}"/>
                    </a:ext>
                  </a:extLst>
                </p:cNvPr>
                <p:cNvSpPr>
                  <a:spLocks/>
                </p:cNvSpPr>
                <p:nvPr/>
              </p:nvSpPr>
              <p:spPr bwMode="auto">
                <a:xfrm>
                  <a:off x="3008836" y="1840578"/>
                  <a:ext cx="66957" cy="52860"/>
                </a:xfrm>
                <a:custGeom>
                  <a:avLst/>
                  <a:gdLst/>
                  <a:ahLst/>
                  <a:cxnLst>
                    <a:cxn ang="0">
                      <a:pos x="9" y="23"/>
                    </a:cxn>
                    <a:cxn ang="0">
                      <a:pos x="9" y="23"/>
                    </a:cxn>
                    <a:cxn ang="0">
                      <a:pos x="12" y="16"/>
                    </a:cxn>
                    <a:cxn ang="0">
                      <a:pos x="17" y="12"/>
                    </a:cxn>
                    <a:cxn ang="0">
                      <a:pos x="28" y="6"/>
                    </a:cxn>
                    <a:cxn ang="0">
                      <a:pos x="40" y="0"/>
                    </a:cxn>
                    <a:cxn ang="0">
                      <a:pos x="52" y="0"/>
                    </a:cxn>
                    <a:cxn ang="0">
                      <a:pos x="64" y="2"/>
                    </a:cxn>
                    <a:cxn ang="0">
                      <a:pos x="73" y="6"/>
                    </a:cxn>
                    <a:cxn ang="0">
                      <a:pos x="76" y="7"/>
                    </a:cxn>
                    <a:cxn ang="0">
                      <a:pos x="78" y="11"/>
                    </a:cxn>
                    <a:cxn ang="0">
                      <a:pos x="80" y="14"/>
                    </a:cxn>
                    <a:cxn ang="0">
                      <a:pos x="80" y="19"/>
                    </a:cxn>
                    <a:cxn ang="0">
                      <a:pos x="80" y="19"/>
                    </a:cxn>
                    <a:cxn ang="0">
                      <a:pos x="78" y="26"/>
                    </a:cxn>
                    <a:cxn ang="0">
                      <a:pos x="80" y="35"/>
                    </a:cxn>
                    <a:cxn ang="0">
                      <a:pos x="82" y="44"/>
                    </a:cxn>
                    <a:cxn ang="0">
                      <a:pos x="82" y="51"/>
                    </a:cxn>
                    <a:cxn ang="0">
                      <a:pos x="80" y="56"/>
                    </a:cxn>
                    <a:cxn ang="0">
                      <a:pos x="73" y="61"/>
                    </a:cxn>
                    <a:cxn ang="0">
                      <a:pos x="63" y="65"/>
                    </a:cxn>
                    <a:cxn ang="0">
                      <a:pos x="47" y="66"/>
                    </a:cxn>
                    <a:cxn ang="0">
                      <a:pos x="47" y="66"/>
                    </a:cxn>
                    <a:cxn ang="0">
                      <a:pos x="29" y="66"/>
                    </a:cxn>
                    <a:cxn ang="0">
                      <a:pos x="16" y="65"/>
                    </a:cxn>
                    <a:cxn ang="0">
                      <a:pos x="7" y="60"/>
                    </a:cxn>
                    <a:cxn ang="0">
                      <a:pos x="2" y="54"/>
                    </a:cxn>
                    <a:cxn ang="0">
                      <a:pos x="0" y="47"/>
                    </a:cxn>
                    <a:cxn ang="0">
                      <a:pos x="0" y="40"/>
                    </a:cxn>
                    <a:cxn ang="0">
                      <a:pos x="3" y="32"/>
                    </a:cxn>
                    <a:cxn ang="0">
                      <a:pos x="9" y="23"/>
                    </a:cxn>
                    <a:cxn ang="0">
                      <a:pos x="9" y="23"/>
                    </a:cxn>
                  </a:cxnLst>
                  <a:rect l="0" t="0" r="r" b="b"/>
                  <a:pathLst>
                    <a:path w="82" h="66">
                      <a:moveTo>
                        <a:pt x="9" y="23"/>
                      </a:moveTo>
                      <a:lnTo>
                        <a:pt x="9" y="23"/>
                      </a:lnTo>
                      <a:lnTo>
                        <a:pt x="12" y="16"/>
                      </a:lnTo>
                      <a:lnTo>
                        <a:pt x="17" y="12"/>
                      </a:lnTo>
                      <a:lnTo>
                        <a:pt x="28" y="6"/>
                      </a:lnTo>
                      <a:lnTo>
                        <a:pt x="40" y="0"/>
                      </a:lnTo>
                      <a:lnTo>
                        <a:pt x="52" y="0"/>
                      </a:lnTo>
                      <a:lnTo>
                        <a:pt x="64" y="2"/>
                      </a:lnTo>
                      <a:lnTo>
                        <a:pt x="73" y="6"/>
                      </a:lnTo>
                      <a:lnTo>
                        <a:pt x="76" y="7"/>
                      </a:lnTo>
                      <a:lnTo>
                        <a:pt x="78" y="11"/>
                      </a:lnTo>
                      <a:lnTo>
                        <a:pt x="80" y="14"/>
                      </a:lnTo>
                      <a:lnTo>
                        <a:pt x="80" y="19"/>
                      </a:lnTo>
                      <a:lnTo>
                        <a:pt x="80" y="19"/>
                      </a:lnTo>
                      <a:lnTo>
                        <a:pt x="78" y="26"/>
                      </a:lnTo>
                      <a:lnTo>
                        <a:pt x="80" y="35"/>
                      </a:lnTo>
                      <a:lnTo>
                        <a:pt x="82" y="44"/>
                      </a:lnTo>
                      <a:lnTo>
                        <a:pt x="82" y="51"/>
                      </a:lnTo>
                      <a:lnTo>
                        <a:pt x="80" y="56"/>
                      </a:lnTo>
                      <a:lnTo>
                        <a:pt x="73" y="61"/>
                      </a:lnTo>
                      <a:lnTo>
                        <a:pt x="63" y="65"/>
                      </a:lnTo>
                      <a:lnTo>
                        <a:pt x="47" y="66"/>
                      </a:lnTo>
                      <a:lnTo>
                        <a:pt x="47" y="66"/>
                      </a:lnTo>
                      <a:lnTo>
                        <a:pt x="29" y="66"/>
                      </a:lnTo>
                      <a:lnTo>
                        <a:pt x="16" y="65"/>
                      </a:lnTo>
                      <a:lnTo>
                        <a:pt x="7" y="60"/>
                      </a:lnTo>
                      <a:lnTo>
                        <a:pt x="2" y="54"/>
                      </a:lnTo>
                      <a:lnTo>
                        <a:pt x="0" y="47"/>
                      </a:lnTo>
                      <a:lnTo>
                        <a:pt x="0" y="40"/>
                      </a:lnTo>
                      <a:lnTo>
                        <a:pt x="3" y="32"/>
                      </a:lnTo>
                      <a:lnTo>
                        <a:pt x="9" y="23"/>
                      </a:lnTo>
                      <a:lnTo>
                        <a:pt x="9" y="2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3" name="Freeform 1712">
                  <a:extLst>
                    <a:ext uri="{FF2B5EF4-FFF2-40B4-BE49-F238E27FC236}">
                      <a16:creationId xmlns:a16="http://schemas.microsoft.com/office/drawing/2014/main" id="{15165390-7BA6-38C5-5D68-7384CC6E9BA6}"/>
                    </a:ext>
                  </a:extLst>
                </p:cNvPr>
                <p:cNvSpPr>
                  <a:spLocks/>
                </p:cNvSpPr>
                <p:nvPr/>
              </p:nvSpPr>
              <p:spPr bwMode="auto">
                <a:xfrm>
                  <a:off x="2730441" y="1960394"/>
                  <a:ext cx="193821" cy="132151"/>
                </a:xfrm>
                <a:custGeom>
                  <a:avLst/>
                  <a:gdLst/>
                  <a:ahLst/>
                  <a:cxnLst>
                    <a:cxn ang="0">
                      <a:pos x="1" y="138"/>
                    </a:cxn>
                    <a:cxn ang="0">
                      <a:pos x="0" y="129"/>
                    </a:cxn>
                    <a:cxn ang="0">
                      <a:pos x="1" y="124"/>
                    </a:cxn>
                    <a:cxn ang="0">
                      <a:pos x="14" y="117"/>
                    </a:cxn>
                    <a:cxn ang="0">
                      <a:pos x="27" y="108"/>
                    </a:cxn>
                    <a:cxn ang="0">
                      <a:pos x="31" y="101"/>
                    </a:cxn>
                    <a:cxn ang="0">
                      <a:pos x="31" y="91"/>
                    </a:cxn>
                    <a:cxn ang="0">
                      <a:pos x="29" y="78"/>
                    </a:cxn>
                    <a:cxn ang="0">
                      <a:pos x="29" y="51"/>
                    </a:cxn>
                    <a:cxn ang="0">
                      <a:pos x="34" y="23"/>
                    </a:cxn>
                    <a:cxn ang="0">
                      <a:pos x="45" y="4"/>
                    </a:cxn>
                    <a:cxn ang="0">
                      <a:pos x="52" y="0"/>
                    </a:cxn>
                    <a:cxn ang="0">
                      <a:pos x="55" y="0"/>
                    </a:cxn>
                    <a:cxn ang="0">
                      <a:pos x="64" y="5"/>
                    </a:cxn>
                    <a:cxn ang="0">
                      <a:pos x="73" y="21"/>
                    </a:cxn>
                    <a:cxn ang="0">
                      <a:pos x="81" y="33"/>
                    </a:cxn>
                    <a:cxn ang="0">
                      <a:pos x="87" y="35"/>
                    </a:cxn>
                    <a:cxn ang="0">
                      <a:pos x="92" y="31"/>
                    </a:cxn>
                    <a:cxn ang="0">
                      <a:pos x="94" y="30"/>
                    </a:cxn>
                    <a:cxn ang="0">
                      <a:pos x="104" y="28"/>
                    </a:cxn>
                    <a:cxn ang="0">
                      <a:pos x="121" y="38"/>
                    </a:cxn>
                    <a:cxn ang="0">
                      <a:pos x="153" y="61"/>
                    </a:cxn>
                    <a:cxn ang="0">
                      <a:pos x="165" y="66"/>
                    </a:cxn>
                    <a:cxn ang="0">
                      <a:pos x="182" y="77"/>
                    </a:cxn>
                    <a:cxn ang="0">
                      <a:pos x="189" y="89"/>
                    </a:cxn>
                    <a:cxn ang="0">
                      <a:pos x="198" y="105"/>
                    </a:cxn>
                    <a:cxn ang="0">
                      <a:pos x="203" y="108"/>
                    </a:cxn>
                    <a:cxn ang="0">
                      <a:pos x="216" y="108"/>
                    </a:cxn>
                    <a:cxn ang="0">
                      <a:pos x="222" y="105"/>
                    </a:cxn>
                    <a:cxn ang="0">
                      <a:pos x="235" y="115"/>
                    </a:cxn>
                    <a:cxn ang="0">
                      <a:pos x="240" y="122"/>
                    </a:cxn>
                    <a:cxn ang="0">
                      <a:pos x="240" y="132"/>
                    </a:cxn>
                    <a:cxn ang="0">
                      <a:pos x="228" y="139"/>
                    </a:cxn>
                    <a:cxn ang="0">
                      <a:pos x="210" y="141"/>
                    </a:cxn>
                    <a:cxn ang="0">
                      <a:pos x="202" y="138"/>
                    </a:cxn>
                    <a:cxn ang="0">
                      <a:pos x="174" y="134"/>
                    </a:cxn>
                    <a:cxn ang="0">
                      <a:pos x="169" y="132"/>
                    </a:cxn>
                    <a:cxn ang="0">
                      <a:pos x="165" y="124"/>
                    </a:cxn>
                    <a:cxn ang="0">
                      <a:pos x="163" y="118"/>
                    </a:cxn>
                    <a:cxn ang="0">
                      <a:pos x="153" y="110"/>
                    </a:cxn>
                    <a:cxn ang="0">
                      <a:pos x="139" y="108"/>
                    </a:cxn>
                    <a:cxn ang="0">
                      <a:pos x="128" y="115"/>
                    </a:cxn>
                    <a:cxn ang="0">
                      <a:pos x="125" y="124"/>
                    </a:cxn>
                    <a:cxn ang="0">
                      <a:pos x="118" y="134"/>
                    </a:cxn>
                    <a:cxn ang="0">
                      <a:pos x="111" y="138"/>
                    </a:cxn>
                    <a:cxn ang="0">
                      <a:pos x="102" y="141"/>
                    </a:cxn>
                    <a:cxn ang="0">
                      <a:pos x="94" y="152"/>
                    </a:cxn>
                    <a:cxn ang="0">
                      <a:pos x="88" y="160"/>
                    </a:cxn>
                    <a:cxn ang="0">
                      <a:pos x="74" y="165"/>
                    </a:cxn>
                    <a:cxn ang="0">
                      <a:pos x="62" y="162"/>
                    </a:cxn>
                    <a:cxn ang="0">
                      <a:pos x="57" y="152"/>
                    </a:cxn>
                    <a:cxn ang="0">
                      <a:pos x="57" y="145"/>
                    </a:cxn>
                    <a:cxn ang="0">
                      <a:pos x="55" y="138"/>
                    </a:cxn>
                    <a:cxn ang="0">
                      <a:pos x="50" y="134"/>
                    </a:cxn>
                    <a:cxn ang="0">
                      <a:pos x="33" y="136"/>
                    </a:cxn>
                    <a:cxn ang="0">
                      <a:pos x="5" y="139"/>
                    </a:cxn>
                    <a:cxn ang="0">
                      <a:pos x="1" y="138"/>
                    </a:cxn>
                  </a:cxnLst>
                  <a:rect l="0" t="0" r="r" b="b"/>
                  <a:pathLst>
                    <a:path w="242" h="165">
                      <a:moveTo>
                        <a:pt x="1" y="138"/>
                      </a:moveTo>
                      <a:lnTo>
                        <a:pt x="1" y="138"/>
                      </a:lnTo>
                      <a:lnTo>
                        <a:pt x="0" y="132"/>
                      </a:lnTo>
                      <a:lnTo>
                        <a:pt x="0" y="129"/>
                      </a:lnTo>
                      <a:lnTo>
                        <a:pt x="0" y="127"/>
                      </a:lnTo>
                      <a:lnTo>
                        <a:pt x="1" y="124"/>
                      </a:lnTo>
                      <a:lnTo>
                        <a:pt x="7" y="120"/>
                      </a:lnTo>
                      <a:lnTo>
                        <a:pt x="14" y="117"/>
                      </a:lnTo>
                      <a:lnTo>
                        <a:pt x="22" y="113"/>
                      </a:lnTo>
                      <a:lnTo>
                        <a:pt x="27" y="108"/>
                      </a:lnTo>
                      <a:lnTo>
                        <a:pt x="29" y="105"/>
                      </a:lnTo>
                      <a:lnTo>
                        <a:pt x="31" y="101"/>
                      </a:lnTo>
                      <a:lnTo>
                        <a:pt x="31" y="98"/>
                      </a:lnTo>
                      <a:lnTo>
                        <a:pt x="31" y="91"/>
                      </a:lnTo>
                      <a:lnTo>
                        <a:pt x="31" y="91"/>
                      </a:lnTo>
                      <a:lnTo>
                        <a:pt x="29" y="78"/>
                      </a:lnTo>
                      <a:lnTo>
                        <a:pt x="27" y="64"/>
                      </a:lnTo>
                      <a:lnTo>
                        <a:pt x="29" y="51"/>
                      </a:lnTo>
                      <a:lnTo>
                        <a:pt x="31" y="35"/>
                      </a:lnTo>
                      <a:lnTo>
                        <a:pt x="34" y="23"/>
                      </a:lnTo>
                      <a:lnTo>
                        <a:pt x="40" y="12"/>
                      </a:lnTo>
                      <a:lnTo>
                        <a:pt x="45" y="4"/>
                      </a:lnTo>
                      <a:lnTo>
                        <a:pt x="48" y="2"/>
                      </a:lnTo>
                      <a:lnTo>
                        <a:pt x="52" y="0"/>
                      </a:lnTo>
                      <a:lnTo>
                        <a:pt x="52" y="0"/>
                      </a:lnTo>
                      <a:lnTo>
                        <a:pt x="55" y="0"/>
                      </a:lnTo>
                      <a:lnTo>
                        <a:pt x="59" y="2"/>
                      </a:lnTo>
                      <a:lnTo>
                        <a:pt x="64" y="5"/>
                      </a:lnTo>
                      <a:lnTo>
                        <a:pt x="69" y="12"/>
                      </a:lnTo>
                      <a:lnTo>
                        <a:pt x="73" y="21"/>
                      </a:lnTo>
                      <a:lnTo>
                        <a:pt x="78" y="28"/>
                      </a:lnTo>
                      <a:lnTo>
                        <a:pt x="81" y="33"/>
                      </a:lnTo>
                      <a:lnTo>
                        <a:pt x="83" y="33"/>
                      </a:lnTo>
                      <a:lnTo>
                        <a:pt x="87" y="35"/>
                      </a:lnTo>
                      <a:lnTo>
                        <a:pt x="88" y="33"/>
                      </a:lnTo>
                      <a:lnTo>
                        <a:pt x="92" y="31"/>
                      </a:lnTo>
                      <a:lnTo>
                        <a:pt x="92" y="31"/>
                      </a:lnTo>
                      <a:lnTo>
                        <a:pt x="94" y="30"/>
                      </a:lnTo>
                      <a:lnTo>
                        <a:pt x="97" y="28"/>
                      </a:lnTo>
                      <a:lnTo>
                        <a:pt x="104" y="28"/>
                      </a:lnTo>
                      <a:lnTo>
                        <a:pt x="113" y="33"/>
                      </a:lnTo>
                      <a:lnTo>
                        <a:pt x="121" y="38"/>
                      </a:lnTo>
                      <a:lnTo>
                        <a:pt x="141" y="54"/>
                      </a:lnTo>
                      <a:lnTo>
                        <a:pt x="153" y="61"/>
                      </a:lnTo>
                      <a:lnTo>
                        <a:pt x="165" y="66"/>
                      </a:lnTo>
                      <a:lnTo>
                        <a:pt x="165" y="66"/>
                      </a:lnTo>
                      <a:lnTo>
                        <a:pt x="175" y="71"/>
                      </a:lnTo>
                      <a:lnTo>
                        <a:pt x="182" y="77"/>
                      </a:lnTo>
                      <a:lnTo>
                        <a:pt x="188" y="82"/>
                      </a:lnTo>
                      <a:lnTo>
                        <a:pt x="189" y="89"/>
                      </a:lnTo>
                      <a:lnTo>
                        <a:pt x="193" y="99"/>
                      </a:lnTo>
                      <a:lnTo>
                        <a:pt x="198" y="105"/>
                      </a:lnTo>
                      <a:lnTo>
                        <a:pt x="203" y="108"/>
                      </a:lnTo>
                      <a:lnTo>
                        <a:pt x="203" y="108"/>
                      </a:lnTo>
                      <a:lnTo>
                        <a:pt x="210" y="110"/>
                      </a:lnTo>
                      <a:lnTo>
                        <a:pt x="216" y="108"/>
                      </a:lnTo>
                      <a:lnTo>
                        <a:pt x="221" y="106"/>
                      </a:lnTo>
                      <a:lnTo>
                        <a:pt x="222" y="105"/>
                      </a:lnTo>
                      <a:lnTo>
                        <a:pt x="226" y="106"/>
                      </a:lnTo>
                      <a:lnTo>
                        <a:pt x="235" y="115"/>
                      </a:lnTo>
                      <a:lnTo>
                        <a:pt x="235" y="115"/>
                      </a:lnTo>
                      <a:lnTo>
                        <a:pt x="240" y="122"/>
                      </a:lnTo>
                      <a:lnTo>
                        <a:pt x="242" y="129"/>
                      </a:lnTo>
                      <a:lnTo>
                        <a:pt x="240" y="132"/>
                      </a:lnTo>
                      <a:lnTo>
                        <a:pt x="235" y="138"/>
                      </a:lnTo>
                      <a:lnTo>
                        <a:pt x="228" y="139"/>
                      </a:lnTo>
                      <a:lnTo>
                        <a:pt x="219" y="141"/>
                      </a:lnTo>
                      <a:lnTo>
                        <a:pt x="210" y="141"/>
                      </a:lnTo>
                      <a:lnTo>
                        <a:pt x="202" y="138"/>
                      </a:lnTo>
                      <a:lnTo>
                        <a:pt x="202" y="138"/>
                      </a:lnTo>
                      <a:lnTo>
                        <a:pt x="184" y="136"/>
                      </a:lnTo>
                      <a:lnTo>
                        <a:pt x="174" y="134"/>
                      </a:lnTo>
                      <a:lnTo>
                        <a:pt x="170" y="134"/>
                      </a:lnTo>
                      <a:lnTo>
                        <a:pt x="169" y="132"/>
                      </a:lnTo>
                      <a:lnTo>
                        <a:pt x="167" y="129"/>
                      </a:lnTo>
                      <a:lnTo>
                        <a:pt x="165" y="124"/>
                      </a:lnTo>
                      <a:lnTo>
                        <a:pt x="165" y="124"/>
                      </a:lnTo>
                      <a:lnTo>
                        <a:pt x="163" y="118"/>
                      </a:lnTo>
                      <a:lnTo>
                        <a:pt x="158" y="113"/>
                      </a:lnTo>
                      <a:lnTo>
                        <a:pt x="153" y="110"/>
                      </a:lnTo>
                      <a:lnTo>
                        <a:pt x="146" y="108"/>
                      </a:lnTo>
                      <a:lnTo>
                        <a:pt x="139" y="108"/>
                      </a:lnTo>
                      <a:lnTo>
                        <a:pt x="134" y="110"/>
                      </a:lnTo>
                      <a:lnTo>
                        <a:pt x="128" y="115"/>
                      </a:lnTo>
                      <a:lnTo>
                        <a:pt x="125" y="124"/>
                      </a:lnTo>
                      <a:lnTo>
                        <a:pt x="125" y="124"/>
                      </a:lnTo>
                      <a:lnTo>
                        <a:pt x="121" y="131"/>
                      </a:lnTo>
                      <a:lnTo>
                        <a:pt x="118" y="134"/>
                      </a:lnTo>
                      <a:lnTo>
                        <a:pt x="115" y="138"/>
                      </a:lnTo>
                      <a:lnTo>
                        <a:pt x="111" y="138"/>
                      </a:lnTo>
                      <a:lnTo>
                        <a:pt x="106" y="139"/>
                      </a:lnTo>
                      <a:lnTo>
                        <a:pt x="102" y="141"/>
                      </a:lnTo>
                      <a:lnTo>
                        <a:pt x="97" y="145"/>
                      </a:lnTo>
                      <a:lnTo>
                        <a:pt x="94" y="152"/>
                      </a:lnTo>
                      <a:lnTo>
                        <a:pt x="94" y="152"/>
                      </a:lnTo>
                      <a:lnTo>
                        <a:pt x="88" y="160"/>
                      </a:lnTo>
                      <a:lnTo>
                        <a:pt x="81" y="164"/>
                      </a:lnTo>
                      <a:lnTo>
                        <a:pt x="74" y="165"/>
                      </a:lnTo>
                      <a:lnTo>
                        <a:pt x="69" y="165"/>
                      </a:lnTo>
                      <a:lnTo>
                        <a:pt x="62" y="162"/>
                      </a:lnTo>
                      <a:lnTo>
                        <a:pt x="59" y="158"/>
                      </a:lnTo>
                      <a:lnTo>
                        <a:pt x="57" y="152"/>
                      </a:lnTo>
                      <a:lnTo>
                        <a:pt x="57" y="145"/>
                      </a:lnTo>
                      <a:lnTo>
                        <a:pt x="57" y="145"/>
                      </a:lnTo>
                      <a:lnTo>
                        <a:pt x="57" y="141"/>
                      </a:lnTo>
                      <a:lnTo>
                        <a:pt x="55" y="138"/>
                      </a:lnTo>
                      <a:lnTo>
                        <a:pt x="54" y="136"/>
                      </a:lnTo>
                      <a:lnTo>
                        <a:pt x="50" y="134"/>
                      </a:lnTo>
                      <a:lnTo>
                        <a:pt x="41" y="134"/>
                      </a:lnTo>
                      <a:lnTo>
                        <a:pt x="33" y="136"/>
                      </a:lnTo>
                      <a:lnTo>
                        <a:pt x="12" y="139"/>
                      </a:lnTo>
                      <a:lnTo>
                        <a:pt x="5" y="139"/>
                      </a:lnTo>
                      <a:lnTo>
                        <a:pt x="3" y="139"/>
                      </a:lnTo>
                      <a:lnTo>
                        <a:pt x="1" y="138"/>
                      </a:lnTo>
                      <a:lnTo>
                        <a:pt x="1" y="1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4" name="Freeform 1713">
                  <a:extLst>
                    <a:ext uri="{FF2B5EF4-FFF2-40B4-BE49-F238E27FC236}">
                      <a16:creationId xmlns:a16="http://schemas.microsoft.com/office/drawing/2014/main" id="{904A6B02-7E3F-E11F-448A-F0DF0C417D62}"/>
                    </a:ext>
                  </a:extLst>
                </p:cNvPr>
                <p:cNvSpPr>
                  <a:spLocks/>
                </p:cNvSpPr>
                <p:nvPr/>
              </p:nvSpPr>
              <p:spPr bwMode="auto">
                <a:xfrm>
                  <a:off x="2822063" y="2096068"/>
                  <a:ext cx="58148" cy="40526"/>
                </a:xfrm>
                <a:custGeom>
                  <a:avLst/>
                  <a:gdLst/>
                  <a:ahLst/>
                  <a:cxnLst>
                    <a:cxn ang="0">
                      <a:pos x="5" y="45"/>
                    </a:cxn>
                    <a:cxn ang="0">
                      <a:pos x="5" y="45"/>
                    </a:cxn>
                    <a:cxn ang="0">
                      <a:pos x="1" y="41"/>
                    </a:cxn>
                    <a:cxn ang="0">
                      <a:pos x="0" y="36"/>
                    </a:cxn>
                    <a:cxn ang="0">
                      <a:pos x="1" y="31"/>
                    </a:cxn>
                    <a:cxn ang="0">
                      <a:pos x="3" y="28"/>
                    </a:cxn>
                    <a:cxn ang="0">
                      <a:pos x="10" y="19"/>
                    </a:cxn>
                    <a:cxn ang="0">
                      <a:pos x="20" y="10"/>
                    </a:cxn>
                    <a:cxn ang="0">
                      <a:pos x="34" y="5"/>
                    </a:cxn>
                    <a:cxn ang="0">
                      <a:pos x="47" y="1"/>
                    </a:cxn>
                    <a:cxn ang="0">
                      <a:pos x="59" y="0"/>
                    </a:cxn>
                    <a:cxn ang="0">
                      <a:pos x="64" y="1"/>
                    </a:cxn>
                    <a:cxn ang="0">
                      <a:pos x="67" y="3"/>
                    </a:cxn>
                    <a:cxn ang="0">
                      <a:pos x="67" y="3"/>
                    </a:cxn>
                    <a:cxn ang="0">
                      <a:pos x="69" y="5"/>
                    </a:cxn>
                    <a:cxn ang="0">
                      <a:pos x="71" y="8"/>
                    </a:cxn>
                    <a:cxn ang="0">
                      <a:pos x="69" y="12"/>
                    </a:cxn>
                    <a:cxn ang="0">
                      <a:pos x="67" y="17"/>
                    </a:cxn>
                    <a:cxn ang="0">
                      <a:pos x="60" y="26"/>
                    </a:cxn>
                    <a:cxn ang="0">
                      <a:pos x="50" y="36"/>
                    </a:cxn>
                    <a:cxn ang="0">
                      <a:pos x="38" y="43"/>
                    </a:cxn>
                    <a:cxn ang="0">
                      <a:pos x="24" y="48"/>
                    </a:cxn>
                    <a:cxn ang="0">
                      <a:pos x="19" y="50"/>
                    </a:cxn>
                    <a:cxn ang="0">
                      <a:pos x="13" y="50"/>
                    </a:cxn>
                    <a:cxn ang="0">
                      <a:pos x="8" y="48"/>
                    </a:cxn>
                    <a:cxn ang="0">
                      <a:pos x="5" y="45"/>
                    </a:cxn>
                    <a:cxn ang="0">
                      <a:pos x="5" y="45"/>
                    </a:cxn>
                  </a:cxnLst>
                  <a:rect l="0" t="0" r="r" b="b"/>
                  <a:pathLst>
                    <a:path w="71" h="50">
                      <a:moveTo>
                        <a:pt x="5" y="45"/>
                      </a:moveTo>
                      <a:lnTo>
                        <a:pt x="5" y="45"/>
                      </a:lnTo>
                      <a:lnTo>
                        <a:pt x="1" y="41"/>
                      </a:lnTo>
                      <a:lnTo>
                        <a:pt x="0" y="36"/>
                      </a:lnTo>
                      <a:lnTo>
                        <a:pt x="1" y="31"/>
                      </a:lnTo>
                      <a:lnTo>
                        <a:pt x="3" y="28"/>
                      </a:lnTo>
                      <a:lnTo>
                        <a:pt x="10" y="19"/>
                      </a:lnTo>
                      <a:lnTo>
                        <a:pt x="20" y="10"/>
                      </a:lnTo>
                      <a:lnTo>
                        <a:pt x="34" y="5"/>
                      </a:lnTo>
                      <a:lnTo>
                        <a:pt x="47" y="1"/>
                      </a:lnTo>
                      <a:lnTo>
                        <a:pt x="59" y="0"/>
                      </a:lnTo>
                      <a:lnTo>
                        <a:pt x="64" y="1"/>
                      </a:lnTo>
                      <a:lnTo>
                        <a:pt x="67" y="3"/>
                      </a:lnTo>
                      <a:lnTo>
                        <a:pt x="67" y="3"/>
                      </a:lnTo>
                      <a:lnTo>
                        <a:pt x="69" y="5"/>
                      </a:lnTo>
                      <a:lnTo>
                        <a:pt x="71" y="8"/>
                      </a:lnTo>
                      <a:lnTo>
                        <a:pt x="69" y="12"/>
                      </a:lnTo>
                      <a:lnTo>
                        <a:pt x="67" y="17"/>
                      </a:lnTo>
                      <a:lnTo>
                        <a:pt x="60" y="26"/>
                      </a:lnTo>
                      <a:lnTo>
                        <a:pt x="50" y="36"/>
                      </a:lnTo>
                      <a:lnTo>
                        <a:pt x="38" y="43"/>
                      </a:lnTo>
                      <a:lnTo>
                        <a:pt x="24" y="48"/>
                      </a:lnTo>
                      <a:lnTo>
                        <a:pt x="19" y="50"/>
                      </a:lnTo>
                      <a:lnTo>
                        <a:pt x="13" y="50"/>
                      </a:lnTo>
                      <a:lnTo>
                        <a:pt x="8" y="48"/>
                      </a:lnTo>
                      <a:lnTo>
                        <a:pt x="5" y="45"/>
                      </a:lnTo>
                      <a:lnTo>
                        <a:pt x="5" y="4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5" name="Freeform 1714">
                  <a:extLst>
                    <a:ext uri="{FF2B5EF4-FFF2-40B4-BE49-F238E27FC236}">
                      <a16:creationId xmlns:a16="http://schemas.microsoft.com/office/drawing/2014/main" id="{7EFB70EB-F206-2CC6-DF63-E5D9A31D5052}"/>
                    </a:ext>
                  </a:extLst>
                </p:cNvPr>
                <p:cNvSpPr>
                  <a:spLocks/>
                </p:cNvSpPr>
                <p:nvPr/>
              </p:nvSpPr>
              <p:spPr bwMode="auto">
                <a:xfrm>
                  <a:off x="2452045" y="1382458"/>
                  <a:ext cx="496885" cy="140960"/>
                </a:xfrm>
                <a:custGeom>
                  <a:avLst/>
                  <a:gdLst/>
                  <a:ahLst/>
                  <a:cxnLst>
                    <a:cxn ang="0">
                      <a:pos x="68" y="5"/>
                    </a:cxn>
                    <a:cxn ang="0">
                      <a:pos x="108" y="9"/>
                    </a:cxn>
                    <a:cxn ang="0">
                      <a:pos x="134" y="24"/>
                    </a:cxn>
                    <a:cxn ang="0">
                      <a:pos x="158" y="30"/>
                    </a:cxn>
                    <a:cxn ang="0">
                      <a:pos x="209" y="30"/>
                    </a:cxn>
                    <a:cxn ang="0">
                      <a:pos x="242" y="45"/>
                    </a:cxn>
                    <a:cxn ang="0">
                      <a:pos x="275" y="57"/>
                    </a:cxn>
                    <a:cxn ang="0">
                      <a:pos x="270" y="63"/>
                    </a:cxn>
                    <a:cxn ang="0">
                      <a:pos x="230" y="64"/>
                    </a:cxn>
                    <a:cxn ang="0">
                      <a:pos x="233" y="73"/>
                    </a:cxn>
                    <a:cxn ang="0">
                      <a:pos x="256" y="73"/>
                    </a:cxn>
                    <a:cxn ang="0">
                      <a:pos x="270" y="87"/>
                    </a:cxn>
                    <a:cxn ang="0">
                      <a:pos x="270" y="99"/>
                    </a:cxn>
                    <a:cxn ang="0">
                      <a:pos x="282" y="108"/>
                    </a:cxn>
                    <a:cxn ang="0">
                      <a:pos x="287" y="96"/>
                    </a:cxn>
                    <a:cxn ang="0">
                      <a:pos x="301" y="99"/>
                    </a:cxn>
                    <a:cxn ang="0">
                      <a:pos x="327" y="104"/>
                    </a:cxn>
                    <a:cxn ang="0">
                      <a:pos x="362" y="106"/>
                    </a:cxn>
                    <a:cxn ang="0">
                      <a:pos x="385" y="110"/>
                    </a:cxn>
                    <a:cxn ang="0">
                      <a:pos x="418" y="94"/>
                    </a:cxn>
                    <a:cxn ang="0">
                      <a:pos x="522" y="82"/>
                    </a:cxn>
                    <a:cxn ang="0">
                      <a:pos x="559" y="89"/>
                    </a:cxn>
                    <a:cxn ang="0">
                      <a:pos x="585" y="96"/>
                    </a:cxn>
                    <a:cxn ang="0">
                      <a:pos x="609" y="108"/>
                    </a:cxn>
                    <a:cxn ang="0">
                      <a:pos x="609" y="125"/>
                    </a:cxn>
                    <a:cxn ang="0">
                      <a:pos x="604" y="136"/>
                    </a:cxn>
                    <a:cxn ang="0">
                      <a:pos x="618" y="144"/>
                    </a:cxn>
                    <a:cxn ang="0">
                      <a:pos x="599" y="151"/>
                    </a:cxn>
                    <a:cxn ang="0">
                      <a:pos x="592" y="164"/>
                    </a:cxn>
                    <a:cxn ang="0">
                      <a:pos x="545" y="174"/>
                    </a:cxn>
                    <a:cxn ang="0">
                      <a:pos x="493" y="162"/>
                    </a:cxn>
                    <a:cxn ang="0">
                      <a:pos x="487" y="153"/>
                    </a:cxn>
                    <a:cxn ang="0">
                      <a:pos x="461" y="171"/>
                    </a:cxn>
                    <a:cxn ang="0">
                      <a:pos x="353" y="176"/>
                    </a:cxn>
                    <a:cxn ang="0">
                      <a:pos x="298" y="172"/>
                    </a:cxn>
                    <a:cxn ang="0">
                      <a:pos x="298" y="157"/>
                    </a:cxn>
                    <a:cxn ang="0">
                      <a:pos x="275" y="169"/>
                    </a:cxn>
                    <a:cxn ang="0">
                      <a:pos x="238" y="169"/>
                    </a:cxn>
                    <a:cxn ang="0">
                      <a:pos x="212" y="162"/>
                    </a:cxn>
                    <a:cxn ang="0">
                      <a:pos x="197" y="165"/>
                    </a:cxn>
                    <a:cxn ang="0">
                      <a:pos x="176" y="153"/>
                    </a:cxn>
                    <a:cxn ang="0">
                      <a:pos x="170" y="129"/>
                    </a:cxn>
                    <a:cxn ang="0">
                      <a:pos x="162" y="122"/>
                    </a:cxn>
                    <a:cxn ang="0">
                      <a:pos x="174" y="97"/>
                    </a:cxn>
                    <a:cxn ang="0">
                      <a:pos x="174" y="82"/>
                    </a:cxn>
                    <a:cxn ang="0">
                      <a:pos x="157" y="66"/>
                    </a:cxn>
                    <a:cxn ang="0">
                      <a:pos x="132" y="50"/>
                    </a:cxn>
                    <a:cxn ang="0">
                      <a:pos x="76" y="61"/>
                    </a:cxn>
                    <a:cxn ang="0">
                      <a:pos x="56" y="52"/>
                    </a:cxn>
                    <a:cxn ang="0">
                      <a:pos x="43" y="42"/>
                    </a:cxn>
                    <a:cxn ang="0">
                      <a:pos x="16" y="28"/>
                    </a:cxn>
                    <a:cxn ang="0">
                      <a:pos x="0" y="7"/>
                    </a:cxn>
                    <a:cxn ang="0">
                      <a:pos x="14" y="0"/>
                    </a:cxn>
                  </a:cxnLst>
                  <a:rect l="0" t="0" r="r" b="b"/>
                  <a:pathLst>
                    <a:path w="618" h="176">
                      <a:moveTo>
                        <a:pt x="14" y="0"/>
                      </a:moveTo>
                      <a:lnTo>
                        <a:pt x="14" y="0"/>
                      </a:lnTo>
                      <a:lnTo>
                        <a:pt x="42" y="2"/>
                      </a:lnTo>
                      <a:lnTo>
                        <a:pt x="68" y="5"/>
                      </a:lnTo>
                      <a:lnTo>
                        <a:pt x="90" y="7"/>
                      </a:lnTo>
                      <a:lnTo>
                        <a:pt x="99" y="9"/>
                      </a:lnTo>
                      <a:lnTo>
                        <a:pt x="108" y="9"/>
                      </a:lnTo>
                      <a:lnTo>
                        <a:pt x="108" y="9"/>
                      </a:lnTo>
                      <a:lnTo>
                        <a:pt x="113" y="9"/>
                      </a:lnTo>
                      <a:lnTo>
                        <a:pt x="118" y="10"/>
                      </a:lnTo>
                      <a:lnTo>
                        <a:pt x="129" y="21"/>
                      </a:lnTo>
                      <a:lnTo>
                        <a:pt x="134" y="24"/>
                      </a:lnTo>
                      <a:lnTo>
                        <a:pt x="141" y="28"/>
                      </a:lnTo>
                      <a:lnTo>
                        <a:pt x="148" y="31"/>
                      </a:lnTo>
                      <a:lnTo>
                        <a:pt x="158" y="30"/>
                      </a:lnTo>
                      <a:lnTo>
                        <a:pt x="158" y="30"/>
                      </a:lnTo>
                      <a:lnTo>
                        <a:pt x="179" y="26"/>
                      </a:lnTo>
                      <a:lnTo>
                        <a:pt x="195" y="26"/>
                      </a:lnTo>
                      <a:lnTo>
                        <a:pt x="202" y="28"/>
                      </a:lnTo>
                      <a:lnTo>
                        <a:pt x="209" y="30"/>
                      </a:lnTo>
                      <a:lnTo>
                        <a:pt x="226" y="38"/>
                      </a:lnTo>
                      <a:lnTo>
                        <a:pt x="226" y="38"/>
                      </a:lnTo>
                      <a:lnTo>
                        <a:pt x="235" y="42"/>
                      </a:lnTo>
                      <a:lnTo>
                        <a:pt x="242" y="45"/>
                      </a:lnTo>
                      <a:lnTo>
                        <a:pt x="258" y="47"/>
                      </a:lnTo>
                      <a:lnTo>
                        <a:pt x="270" y="50"/>
                      </a:lnTo>
                      <a:lnTo>
                        <a:pt x="273" y="54"/>
                      </a:lnTo>
                      <a:lnTo>
                        <a:pt x="275" y="57"/>
                      </a:lnTo>
                      <a:lnTo>
                        <a:pt x="275" y="57"/>
                      </a:lnTo>
                      <a:lnTo>
                        <a:pt x="275" y="59"/>
                      </a:lnTo>
                      <a:lnTo>
                        <a:pt x="275" y="61"/>
                      </a:lnTo>
                      <a:lnTo>
                        <a:pt x="270" y="63"/>
                      </a:lnTo>
                      <a:lnTo>
                        <a:pt x="252" y="63"/>
                      </a:lnTo>
                      <a:lnTo>
                        <a:pt x="235" y="63"/>
                      </a:lnTo>
                      <a:lnTo>
                        <a:pt x="230" y="63"/>
                      </a:lnTo>
                      <a:lnTo>
                        <a:pt x="230" y="64"/>
                      </a:lnTo>
                      <a:lnTo>
                        <a:pt x="230" y="68"/>
                      </a:lnTo>
                      <a:lnTo>
                        <a:pt x="230" y="68"/>
                      </a:lnTo>
                      <a:lnTo>
                        <a:pt x="231" y="71"/>
                      </a:lnTo>
                      <a:lnTo>
                        <a:pt x="233" y="73"/>
                      </a:lnTo>
                      <a:lnTo>
                        <a:pt x="240" y="71"/>
                      </a:lnTo>
                      <a:lnTo>
                        <a:pt x="245" y="70"/>
                      </a:lnTo>
                      <a:lnTo>
                        <a:pt x="249" y="70"/>
                      </a:lnTo>
                      <a:lnTo>
                        <a:pt x="256" y="73"/>
                      </a:lnTo>
                      <a:lnTo>
                        <a:pt x="263" y="77"/>
                      </a:lnTo>
                      <a:lnTo>
                        <a:pt x="263" y="77"/>
                      </a:lnTo>
                      <a:lnTo>
                        <a:pt x="268" y="84"/>
                      </a:lnTo>
                      <a:lnTo>
                        <a:pt x="270" y="87"/>
                      </a:lnTo>
                      <a:lnTo>
                        <a:pt x="271" y="91"/>
                      </a:lnTo>
                      <a:lnTo>
                        <a:pt x="270" y="94"/>
                      </a:lnTo>
                      <a:lnTo>
                        <a:pt x="270" y="97"/>
                      </a:lnTo>
                      <a:lnTo>
                        <a:pt x="270" y="99"/>
                      </a:lnTo>
                      <a:lnTo>
                        <a:pt x="271" y="103"/>
                      </a:lnTo>
                      <a:lnTo>
                        <a:pt x="277" y="106"/>
                      </a:lnTo>
                      <a:lnTo>
                        <a:pt x="277" y="106"/>
                      </a:lnTo>
                      <a:lnTo>
                        <a:pt x="282" y="108"/>
                      </a:lnTo>
                      <a:lnTo>
                        <a:pt x="284" y="106"/>
                      </a:lnTo>
                      <a:lnTo>
                        <a:pt x="285" y="103"/>
                      </a:lnTo>
                      <a:lnTo>
                        <a:pt x="287" y="99"/>
                      </a:lnTo>
                      <a:lnTo>
                        <a:pt x="287" y="96"/>
                      </a:lnTo>
                      <a:lnTo>
                        <a:pt x="291" y="94"/>
                      </a:lnTo>
                      <a:lnTo>
                        <a:pt x="294" y="94"/>
                      </a:lnTo>
                      <a:lnTo>
                        <a:pt x="301" y="99"/>
                      </a:lnTo>
                      <a:lnTo>
                        <a:pt x="301" y="99"/>
                      </a:lnTo>
                      <a:lnTo>
                        <a:pt x="310" y="104"/>
                      </a:lnTo>
                      <a:lnTo>
                        <a:pt x="315" y="106"/>
                      </a:lnTo>
                      <a:lnTo>
                        <a:pt x="320" y="106"/>
                      </a:lnTo>
                      <a:lnTo>
                        <a:pt x="327" y="104"/>
                      </a:lnTo>
                      <a:lnTo>
                        <a:pt x="332" y="103"/>
                      </a:lnTo>
                      <a:lnTo>
                        <a:pt x="339" y="101"/>
                      </a:lnTo>
                      <a:lnTo>
                        <a:pt x="350" y="103"/>
                      </a:lnTo>
                      <a:lnTo>
                        <a:pt x="362" y="106"/>
                      </a:lnTo>
                      <a:lnTo>
                        <a:pt x="362" y="106"/>
                      </a:lnTo>
                      <a:lnTo>
                        <a:pt x="374" y="110"/>
                      </a:lnTo>
                      <a:lnTo>
                        <a:pt x="381" y="111"/>
                      </a:lnTo>
                      <a:lnTo>
                        <a:pt x="385" y="110"/>
                      </a:lnTo>
                      <a:lnTo>
                        <a:pt x="390" y="106"/>
                      </a:lnTo>
                      <a:lnTo>
                        <a:pt x="395" y="103"/>
                      </a:lnTo>
                      <a:lnTo>
                        <a:pt x="404" y="99"/>
                      </a:lnTo>
                      <a:lnTo>
                        <a:pt x="418" y="94"/>
                      </a:lnTo>
                      <a:lnTo>
                        <a:pt x="440" y="91"/>
                      </a:lnTo>
                      <a:lnTo>
                        <a:pt x="440" y="91"/>
                      </a:lnTo>
                      <a:lnTo>
                        <a:pt x="487" y="85"/>
                      </a:lnTo>
                      <a:lnTo>
                        <a:pt x="522" y="82"/>
                      </a:lnTo>
                      <a:lnTo>
                        <a:pt x="534" y="82"/>
                      </a:lnTo>
                      <a:lnTo>
                        <a:pt x="545" y="84"/>
                      </a:lnTo>
                      <a:lnTo>
                        <a:pt x="554" y="85"/>
                      </a:lnTo>
                      <a:lnTo>
                        <a:pt x="559" y="89"/>
                      </a:lnTo>
                      <a:lnTo>
                        <a:pt x="559" y="89"/>
                      </a:lnTo>
                      <a:lnTo>
                        <a:pt x="564" y="92"/>
                      </a:lnTo>
                      <a:lnTo>
                        <a:pt x="571" y="94"/>
                      </a:lnTo>
                      <a:lnTo>
                        <a:pt x="585" y="96"/>
                      </a:lnTo>
                      <a:lnTo>
                        <a:pt x="592" y="97"/>
                      </a:lnTo>
                      <a:lnTo>
                        <a:pt x="599" y="99"/>
                      </a:lnTo>
                      <a:lnTo>
                        <a:pt x="604" y="103"/>
                      </a:lnTo>
                      <a:lnTo>
                        <a:pt x="609" y="108"/>
                      </a:lnTo>
                      <a:lnTo>
                        <a:pt x="609" y="108"/>
                      </a:lnTo>
                      <a:lnTo>
                        <a:pt x="613" y="115"/>
                      </a:lnTo>
                      <a:lnTo>
                        <a:pt x="611" y="120"/>
                      </a:lnTo>
                      <a:lnTo>
                        <a:pt x="609" y="125"/>
                      </a:lnTo>
                      <a:lnTo>
                        <a:pt x="606" y="129"/>
                      </a:lnTo>
                      <a:lnTo>
                        <a:pt x="602" y="131"/>
                      </a:lnTo>
                      <a:lnTo>
                        <a:pt x="602" y="134"/>
                      </a:lnTo>
                      <a:lnTo>
                        <a:pt x="604" y="136"/>
                      </a:lnTo>
                      <a:lnTo>
                        <a:pt x="609" y="139"/>
                      </a:lnTo>
                      <a:lnTo>
                        <a:pt x="609" y="139"/>
                      </a:lnTo>
                      <a:lnTo>
                        <a:pt x="616" y="143"/>
                      </a:lnTo>
                      <a:lnTo>
                        <a:pt x="618" y="144"/>
                      </a:lnTo>
                      <a:lnTo>
                        <a:pt x="615" y="146"/>
                      </a:lnTo>
                      <a:lnTo>
                        <a:pt x="611" y="148"/>
                      </a:lnTo>
                      <a:lnTo>
                        <a:pt x="604" y="150"/>
                      </a:lnTo>
                      <a:lnTo>
                        <a:pt x="599" y="151"/>
                      </a:lnTo>
                      <a:lnTo>
                        <a:pt x="595" y="155"/>
                      </a:lnTo>
                      <a:lnTo>
                        <a:pt x="594" y="160"/>
                      </a:lnTo>
                      <a:lnTo>
                        <a:pt x="594" y="160"/>
                      </a:lnTo>
                      <a:lnTo>
                        <a:pt x="592" y="164"/>
                      </a:lnTo>
                      <a:lnTo>
                        <a:pt x="588" y="167"/>
                      </a:lnTo>
                      <a:lnTo>
                        <a:pt x="578" y="171"/>
                      </a:lnTo>
                      <a:lnTo>
                        <a:pt x="562" y="174"/>
                      </a:lnTo>
                      <a:lnTo>
                        <a:pt x="545" y="174"/>
                      </a:lnTo>
                      <a:lnTo>
                        <a:pt x="526" y="172"/>
                      </a:lnTo>
                      <a:lnTo>
                        <a:pt x="508" y="171"/>
                      </a:lnTo>
                      <a:lnTo>
                        <a:pt x="496" y="165"/>
                      </a:lnTo>
                      <a:lnTo>
                        <a:pt x="493" y="162"/>
                      </a:lnTo>
                      <a:lnTo>
                        <a:pt x="491" y="158"/>
                      </a:lnTo>
                      <a:lnTo>
                        <a:pt x="491" y="158"/>
                      </a:lnTo>
                      <a:lnTo>
                        <a:pt x="489" y="155"/>
                      </a:lnTo>
                      <a:lnTo>
                        <a:pt x="487" y="153"/>
                      </a:lnTo>
                      <a:lnTo>
                        <a:pt x="487" y="157"/>
                      </a:lnTo>
                      <a:lnTo>
                        <a:pt x="482" y="160"/>
                      </a:lnTo>
                      <a:lnTo>
                        <a:pt x="475" y="165"/>
                      </a:lnTo>
                      <a:lnTo>
                        <a:pt x="461" y="171"/>
                      </a:lnTo>
                      <a:lnTo>
                        <a:pt x="440" y="174"/>
                      </a:lnTo>
                      <a:lnTo>
                        <a:pt x="411" y="176"/>
                      </a:lnTo>
                      <a:lnTo>
                        <a:pt x="411" y="176"/>
                      </a:lnTo>
                      <a:lnTo>
                        <a:pt x="353" y="176"/>
                      </a:lnTo>
                      <a:lnTo>
                        <a:pt x="317" y="176"/>
                      </a:lnTo>
                      <a:lnTo>
                        <a:pt x="306" y="176"/>
                      </a:lnTo>
                      <a:lnTo>
                        <a:pt x="299" y="174"/>
                      </a:lnTo>
                      <a:lnTo>
                        <a:pt x="298" y="172"/>
                      </a:lnTo>
                      <a:lnTo>
                        <a:pt x="298" y="169"/>
                      </a:lnTo>
                      <a:lnTo>
                        <a:pt x="298" y="162"/>
                      </a:lnTo>
                      <a:lnTo>
                        <a:pt x="298" y="162"/>
                      </a:lnTo>
                      <a:lnTo>
                        <a:pt x="298" y="157"/>
                      </a:lnTo>
                      <a:lnTo>
                        <a:pt x="298" y="157"/>
                      </a:lnTo>
                      <a:lnTo>
                        <a:pt x="296" y="157"/>
                      </a:lnTo>
                      <a:lnTo>
                        <a:pt x="284" y="164"/>
                      </a:lnTo>
                      <a:lnTo>
                        <a:pt x="275" y="169"/>
                      </a:lnTo>
                      <a:lnTo>
                        <a:pt x="265" y="172"/>
                      </a:lnTo>
                      <a:lnTo>
                        <a:pt x="252" y="172"/>
                      </a:lnTo>
                      <a:lnTo>
                        <a:pt x="245" y="171"/>
                      </a:lnTo>
                      <a:lnTo>
                        <a:pt x="238" y="169"/>
                      </a:lnTo>
                      <a:lnTo>
                        <a:pt x="238" y="169"/>
                      </a:lnTo>
                      <a:lnTo>
                        <a:pt x="226" y="164"/>
                      </a:lnTo>
                      <a:lnTo>
                        <a:pt x="218" y="162"/>
                      </a:lnTo>
                      <a:lnTo>
                        <a:pt x="212" y="162"/>
                      </a:lnTo>
                      <a:lnTo>
                        <a:pt x="209" y="164"/>
                      </a:lnTo>
                      <a:lnTo>
                        <a:pt x="205" y="165"/>
                      </a:lnTo>
                      <a:lnTo>
                        <a:pt x="202" y="165"/>
                      </a:lnTo>
                      <a:lnTo>
                        <a:pt x="197" y="165"/>
                      </a:lnTo>
                      <a:lnTo>
                        <a:pt x="188" y="162"/>
                      </a:lnTo>
                      <a:lnTo>
                        <a:pt x="188" y="162"/>
                      </a:lnTo>
                      <a:lnTo>
                        <a:pt x="181" y="157"/>
                      </a:lnTo>
                      <a:lnTo>
                        <a:pt x="176" y="153"/>
                      </a:lnTo>
                      <a:lnTo>
                        <a:pt x="174" y="148"/>
                      </a:lnTo>
                      <a:lnTo>
                        <a:pt x="174" y="143"/>
                      </a:lnTo>
                      <a:lnTo>
                        <a:pt x="172" y="134"/>
                      </a:lnTo>
                      <a:lnTo>
                        <a:pt x="170" y="129"/>
                      </a:lnTo>
                      <a:lnTo>
                        <a:pt x="165" y="125"/>
                      </a:lnTo>
                      <a:lnTo>
                        <a:pt x="165" y="125"/>
                      </a:lnTo>
                      <a:lnTo>
                        <a:pt x="162" y="124"/>
                      </a:lnTo>
                      <a:lnTo>
                        <a:pt x="162" y="122"/>
                      </a:lnTo>
                      <a:lnTo>
                        <a:pt x="162" y="117"/>
                      </a:lnTo>
                      <a:lnTo>
                        <a:pt x="165" y="111"/>
                      </a:lnTo>
                      <a:lnTo>
                        <a:pt x="170" y="104"/>
                      </a:lnTo>
                      <a:lnTo>
                        <a:pt x="174" y="97"/>
                      </a:lnTo>
                      <a:lnTo>
                        <a:pt x="177" y="91"/>
                      </a:lnTo>
                      <a:lnTo>
                        <a:pt x="177" y="89"/>
                      </a:lnTo>
                      <a:lnTo>
                        <a:pt x="176" y="85"/>
                      </a:lnTo>
                      <a:lnTo>
                        <a:pt x="174" y="82"/>
                      </a:lnTo>
                      <a:lnTo>
                        <a:pt x="169" y="78"/>
                      </a:lnTo>
                      <a:lnTo>
                        <a:pt x="169" y="78"/>
                      </a:lnTo>
                      <a:lnTo>
                        <a:pt x="162" y="73"/>
                      </a:lnTo>
                      <a:lnTo>
                        <a:pt x="157" y="66"/>
                      </a:lnTo>
                      <a:lnTo>
                        <a:pt x="148" y="57"/>
                      </a:lnTo>
                      <a:lnTo>
                        <a:pt x="144" y="54"/>
                      </a:lnTo>
                      <a:lnTo>
                        <a:pt x="139" y="52"/>
                      </a:lnTo>
                      <a:lnTo>
                        <a:pt x="132" y="50"/>
                      </a:lnTo>
                      <a:lnTo>
                        <a:pt x="122" y="52"/>
                      </a:lnTo>
                      <a:lnTo>
                        <a:pt x="122" y="52"/>
                      </a:lnTo>
                      <a:lnTo>
                        <a:pt x="97" y="57"/>
                      </a:lnTo>
                      <a:lnTo>
                        <a:pt x="76" y="61"/>
                      </a:lnTo>
                      <a:lnTo>
                        <a:pt x="68" y="61"/>
                      </a:lnTo>
                      <a:lnTo>
                        <a:pt x="61" y="59"/>
                      </a:lnTo>
                      <a:lnTo>
                        <a:pt x="57" y="57"/>
                      </a:lnTo>
                      <a:lnTo>
                        <a:pt x="56" y="52"/>
                      </a:lnTo>
                      <a:lnTo>
                        <a:pt x="56" y="52"/>
                      </a:lnTo>
                      <a:lnTo>
                        <a:pt x="54" y="47"/>
                      </a:lnTo>
                      <a:lnTo>
                        <a:pt x="52" y="45"/>
                      </a:lnTo>
                      <a:lnTo>
                        <a:pt x="43" y="42"/>
                      </a:lnTo>
                      <a:lnTo>
                        <a:pt x="31" y="37"/>
                      </a:lnTo>
                      <a:lnTo>
                        <a:pt x="24" y="33"/>
                      </a:lnTo>
                      <a:lnTo>
                        <a:pt x="16" y="28"/>
                      </a:lnTo>
                      <a:lnTo>
                        <a:pt x="16" y="28"/>
                      </a:lnTo>
                      <a:lnTo>
                        <a:pt x="9" y="21"/>
                      </a:lnTo>
                      <a:lnTo>
                        <a:pt x="3" y="16"/>
                      </a:lnTo>
                      <a:lnTo>
                        <a:pt x="2" y="10"/>
                      </a:lnTo>
                      <a:lnTo>
                        <a:pt x="0" y="7"/>
                      </a:lnTo>
                      <a:lnTo>
                        <a:pt x="2" y="3"/>
                      </a:lnTo>
                      <a:lnTo>
                        <a:pt x="3" y="2"/>
                      </a:lnTo>
                      <a:lnTo>
                        <a:pt x="9" y="0"/>
                      </a:lnTo>
                      <a:lnTo>
                        <a:pt x="14" y="0"/>
                      </a:lnTo>
                      <a:lnTo>
                        <a:pt x="14"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6" name="Freeform 1715">
                  <a:extLst>
                    <a:ext uri="{FF2B5EF4-FFF2-40B4-BE49-F238E27FC236}">
                      <a16:creationId xmlns:a16="http://schemas.microsoft.com/office/drawing/2014/main" id="{DED66F2C-2629-A2C3-B37E-0DF08F7C4A1D}"/>
                    </a:ext>
                  </a:extLst>
                </p:cNvPr>
                <p:cNvSpPr>
                  <a:spLocks/>
                </p:cNvSpPr>
                <p:nvPr/>
              </p:nvSpPr>
              <p:spPr bwMode="auto">
                <a:xfrm>
                  <a:off x="2469664" y="1459986"/>
                  <a:ext cx="89862" cy="56384"/>
                </a:xfrm>
                <a:custGeom>
                  <a:avLst/>
                  <a:gdLst/>
                  <a:ahLst/>
                  <a:cxnLst>
                    <a:cxn ang="0">
                      <a:pos x="14" y="22"/>
                    </a:cxn>
                    <a:cxn ang="0">
                      <a:pos x="14" y="22"/>
                    </a:cxn>
                    <a:cxn ang="0">
                      <a:pos x="23" y="14"/>
                    </a:cxn>
                    <a:cxn ang="0">
                      <a:pos x="31" y="8"/>
                    </a:cxn>
                    <a:cxn ang="0">
                      <a:pos x="40" y="3"/>
                    </a:cxn>
                    <a:cxn ang="0">
                      <a:pos x="51" y="1"/>
                    </a:cxn>
                    <a:cxn ang="0">
                      <a:pos x="61" y="0"/>
                    </a:cxn>
                    <a:cxn ang="0">
                      <a:pos x="71" y="3"/>
                    </a:cxn>
                    <a:cxn ang="0">
                      <a:pos x="80" y="7"/>
                    </a:cxn>
                    <a:cxn ang="0">
                      <a:pos x="91" y="15"/>
                    </a:cxn>
                    <a:cxn ang="0">
                      <a:pos x="91" y="15"/>
                    </a:cxn>
                    <a:cxn ang="0">
                      <a:pos x="99" y="24"/>
                    </a:cxn>
                    <a:cxn ang="0">
                      <a:pos x="106" y="35"/>
                    </a:cxn>
                    <a:cxn ang="0">
                      <a:pos x="110" y="43"/>
                    </a:cxn>
                    <a:cxn ang="0">
                      <a:pos x="111" y="52"/>
                    </a:cxn>
                    <a:cxn ang="0">
                      <a:pos x="110" y="59"/>
                    </a:cxn>
                    <a:cxn ang="0">
                      <a:pos x="104" y="64"/>
                    </a:cxn>
                    <a:cxn ang="0">
                      <a:pos x="96" y="68"/>
                    </a:cxn>
                    <a:cxn ang="0">
                      <a:pos x="84" y="69"/>
                    </a:cxn>
                    <a:cxn ang="0">
                      <a:pos x="84" y="69"/>
                    </a:cxn>
                    <a:cxn ang="0">
                      <a:pos x="70" y="68"/>
                    </a:cxn>
                    <a:cxn ang="0">
                      <a:pos x="59" y="66"/>
                    </a:cxn>
                    <a:cxn ang="0">
                      <a:pos x="47" y="62"/>
                    </a:cxn>
                    <a:cxn ang="0">
                      <a:pos x="37" y="57"/>
                    </a:cxn>
                    <a:cxn ang="0">
                      <a:pos x="28" y="55"/>
                    </a:cxn>
                    <a:cxn ang="0">
                      <a:pos x="19" y="54"/>
                    </a:cxn>
                    <a:cxn ang="0">
                      <a:pos x="19" y="54"/>
                    </a:cxn>
                    <a:cxn ang="0">
                      <a:pos x="9" y="52"/>
                    </a:cxn>
                    <a:cxn ang="0">
                      <a:pos x="3" y="50"/>
                    </a:cxn>
                    <a:cxn ang="0">
                      <a:pos x="2" y="47"/>
                    </a:cxn>
                    <a:cxn ang="0">
                      <a:pos x="0" y="42"/>
                    </a:cxn>
                    <a:cxn ang="0">
                      <a:pos x="2" y="38"/>
                    </a:cxn>
                    <a:cxn ang="0">
                      <a:pos x="5" y="33"/>
                    </a:cxn>
                    <a:cxn ang="0">
                      <a:pos x="14" y="22"/>
                    </a:cxn>
                    <a:cxn ang="0">
                      <a:pos x="14" y="22"/>
                    </a:cxn>
                  </a:cxnLst>
                  <a:rect l="0" t="0" r="r" b="b"/>
                  <a:pathLst>
                    <a:path w="111" h="69">
                      <a:moveTo>
                        <a:pt x="14" y="22"/>
                      </a:moveTo>
                      <a:lnTo>
                        <a:pt x="14" y="22"/>
                      </a:lnTo>
                      <a:lnTo>
                        <a:pt x="23" y="14"/>
                      </a:lnTo>
                      <a:lnTo>
                        <a:pt x="31" y="8"/>
                      </a:lnTo>
                      <a:lnTo>
                        <a:pt x="40" y="3"/>
                      </a:lnTo>
                      <a:lnTo>
                        <a:pt x="51" y="1"/>
                      </a:lnTo>
                      <a:lnTo>
                        <a:pt x="61" y="0"/>
                      </a:lnTo>
                      <a:lnTo>
                        <a:pt x="71" y="3"/>
                      </a:lnTo>
                      <a:lnTo>
                        <a:pt x="80" y="7"/>
                      </a:lnTo>
                      <a:lnTo>
                        <a:pt x="91" y="15"/>
                      </a:lnTo>
                      <a:lnTo>
                        <a:pt x="91" y="15"/>
                      </a:lnTo>
                      <a:lnTo>
                        <a:pt x="99" y="24"/>
                      </a:lnTo>
                      <a:lnTo>
                        <a:pt x="106" y="35"/>
                      </a:lnTo>
                      <a:lnTo>
                        <a:pt x="110" y="43"/>
                      </a:lnTo>
                      <a:lnTo>
                        <a:pt x="111" y="52"/>
                      </a:lnTo>
                      <a:lnTo>
                        <a:pt x="110" y="59"/>
                      </a:lnTo>
                      <a:lnTo>
                        <a:pt x="104" y="64"/>
                      </a:lnTo>
                      <a:lnTo>
                        <a:pt x="96" y="68"/>
                      </a:lnTo>
                      <a:lnTo>
                        <a:pt x="84" y="69"/>
                      </a:lnTo>
                      <a:lnTo>
                        <a:pt x="84" y="69"/>
                      </a:lnTo>
                      <a:lnTo>
                        <a:pt x="70" y="68"/>
                      </a:lnTo>
                      <a:lnTo>
                        <a:pt x="59" y="66"/>
                      </a:lnTo>
                      <a:lnTo>
                        <a:pt x="47" y="62"/>
                      </a:lnTo>
                      <a:lnTo>
                        <a:pt x="37" y="57"/>
                      </a:lnTo>
                      <a:lnTo>
                        <a:pt x="28" y="55"/>
                      </a:lnTo>
                      <a:lnTo>
                        <a:pt x="19" y="54"/>
                      </a:lnTo>
                      <a:lnTo>
                        <a:pt x="19" y="54"/>
                      </a:lnTo>
                      <a:lnTo>
                        <a:pt x="9" y="52"/>
                      </a:lnTo>
                      <a:lnTo>
                        <a:pt x="3" y="50"/>
                      </a:lnTo>
                      <a:lnTo>
                        <a:pt x="2" y="47"/>
                      </a:lnTo>
                      <a:lnTo>
                        <a:pt x="0" y="42"/>
                      </a:lnTo>
                      <a:lnTo>
                        <a:pt x="2" y="38"/>
                      </a:lnTo>
                      <a:lnTo>
                        <a:pt x="5" y="33"/>
                      </a:lnTo>
                      <a:lnTo>
                        <a:pt x="14" y="22"/>
                      </a:lnTo>
                      <a:lnTo>
                        <a:pt x="14" y="2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7" name="Freeform 1716">
                  <a:extLst>
                    <a:ext uri="{FF2B5EF4-FFF2-40B4-BE49-F238E27FC236}">
                      <a16:creationId xmlns:a16="http://schemas.microsoft.com/office/drawing/2014/main" id="{3D96672C-6C16-C4DD-CB89-FBE942296D37}"/>
                    </a:ext>
                  </a:extLst>
                </p:cNvPr>
                <p:cNvSpPr>
                  <a:spLocks/>
                </p:cNvSpPr>
                <p:nvPr/>
              </p:nvSpPr>
              <p:spPr bwMode="auto">
                <a:xfrm>
                  <a:off x="2489046" y="1539275"/>
                  <a:ext cx="151532" cy="112768"/>
                </a:xfrm>
                <a:custGeom>
                  <a:avLst/>
                  <a:gdLst/>
                  <a:ahLst/>
                  <a:cxnLst>
                    <a:cxn ang="0">
                      <a:pos x="54" y="139"/>
                    </a:cxn>
                    <a:cxn ang="0">
                      <a:pos x="40" y="134"/>
                    </a:cxn>
                    <a:cxn ang="0">
                      <a:pos x="23" y="136"/>
                    </a:cxn>
                    <a:cxn ang="0">
                      <a:pos x="18" y="131"/>
                    </a:cxn>
                    <a:cxn ang="0">
                      <a:pos x="18" y="124"/>
                    </a:cxn>
                    <a:cxn ang="0">
                      <a:pos x="16" y="110"/>
                    </a:cxn>
                    <a:cxn ang="0">
                      <a:pos x="6" y="92"/>
                    </a:cxn>
                    <a:cxn ang="0">
                      <a:pos x="0" y="75"/>
                    </a:cxn>
                    <a:cxn ang="0">
                      <a:pos x="0" y="63"/>
                    </a:cxn>
                    <a:cxn ang="0">
                      <a:pos x="4" y="30"/>
                    </a:cxn>
                    <a:cxn ang="0">
                      <a:pos x="7" y="26"/>
                    </a:cxn>
                    <a:cxn ang="0">
                      <a:pos x="16" y="26"/>
                    </a:cxn>
                    <a:cxn ang="0">
                      <a:pos x="20" y="24"/>
                    </a:cxn>
                    <a:cxn ang="0">
                      <a:pos x="16" y="17"/>
                    </a:cxn>
                    <a:cxn ang="0">
                      <a:pos x="27" y="9"/>
                    </a:cxn>
                    <a:cxn ang="0">
                      <a:pos x="42" y="5"/>
                    </a:cxn>
                    <a:cxn ang="0">
                      <a:pos x="84" y="0"/>
                    </a:cxn>
                    <a:cxn ang="0">
                      <a:pos x="101" y="2"/>
                    </a:cxn>
                    <a:cxn ang="0">
                      <a:pos x="122" y="10"/>
                    </a:cxn>
                    <a:cxn ang="0">
                      <a:pos x="129" y="14"/>
                    </a:cxn>
                    <a:cxn ang="0">
                      <a:pos x="145" y="12"/>
                    </a:cxn>
                    <a:cxn ang="0">
                      <a:pos x="157" y="9"/>
                    </a:cxn>
                    <a:cxn ang="0">
                      <a:pos x="178" y="14"/>
                    </a:cxn>
                    <a:cxn ang="0">
                      <a:pos x="185" y="16"/>
                    </a:cxn>
                    <a:cxn ang="0">
                      <a:pos x="190" y="21"/>
                    </a:cxn>
                    <a:cxn ang="0">
                      <a:pos x="190" y="28"/>
                    </a:cxn>
                    <a:cxn ang="0">
                      <a:pos x="181" y="40"/>
                    </a:cxn>
                    <a:cxn ang="0">
                      <a:pos x="154" y="68"/>
                    </a:cxn>
                    <a:cxn ang="0">
                      <a:pos x="145" y="80"/>
                    </a:cxn>
                    <a:cxn ang="0">
                      <a:pos x="136" y="89"/>
                    </a:cxn>
                    <a:cxn ang="0">
                      <a:pos x="124" y="92"/>
                    </a:cxn>
                    <a:cxn ang="0">
                      <a:pos x="98" y="92"/>
                    </a:cxn>
                    <a:cxn ang="0">
                      <a:pos x="77" y="89"/>
                    </a:cxn>
                    <a:cxn ang="0">
                      <a:pos x="74" y="92"/>
                    </a:cxn>
                    <a:cxn ang="0">
                      <a:pos x="75" y="99"/>
                    </a:cxn>
                    <a:cxn ang="0">
                      <a:pos x="79" y="106"/>
                    </a:cxn>
                    <a:cxn ang="0">
                      <a:pos x="79" y="115"/>
                    </a:cxn>
                    <a:cxn ang="0">
                      <a:pos x="72" y="120"/>
                    </a:cxn>
                    <a:cxn ang="0">
                      <a:pos x="67" y="125"/>
                    </a:cxn>
                    <a:cxn ang="0">
                      <a:pos x="61" y="139"/>
                    </a:cxn>
                    <a:cxn ang="0">
                      <a:pos x="54" y="139"/>
                    </a:cxn>
                  </a:cxnLst>
                  <a:rect l="0" t="0" r="r" b="b"/>
                  <a:pathLst>
                    <a:path w="190" h="141">
                      <a:moveTo>
                        <a:pt x="54" y="139"/>
                      </a:moveTo>
                      <a:lnTo>
                        <a:pt x="54" y="139"/>
                      </a:lnTo>
                      <a:lnTo>
                        <a:pt x="47" y="136"/>
                      </a:lnTo>
                      <a:lnTo>
                        <a:pt x="40" y="134"/>
                      </a:lnTo>
                      <a:lnTo>
                        <a:pt x="28" y="136"/>
                      </a:lnTo>
                      <a:lnTo>
                        <a:pt x="23" y="136"/>
                      </a:lnTo>
                      <a:lnTo>
                        <a:pt x="20" y="134"/>
                      </a:lnTo>
                      <a:lnTo>
                        <a:pt x="18" y="131"/>
                      </a:lnTo>
                      <a:lnTo>
                        <a:pt x="18" y="124"/>
                      </a:lnTo>
                      <a:lnTo>
                        <a:pt x="18" y="124"/>
                      </a:lnTo>
                      <a:lnTo>
                        <a:pt x="18" y="115"/>
                      </a:lnTo>
                      <a:lnTo>
                        <a:pt x="16" y="110"/>
                      </a:lnTo>
                      <a:lnTo>
                        <a:pt x="9" y="99"/>
                      </a:lnTo>
                      <a:lnTo>
                        <a:pt x="6" y="92"/>
                      </a:lnTo>
                      <a:lnTo>
                        <a:pt x="2" y="85"/>
                      </a:lnTo>
                      <a:lnTo>
                        <a:pt x="0" y="75"/>
                      </a:lnTo>
                      <a:lnTo>
                        <a:pt x="0" y="63"/>
                      </a:lnTo>
                      <a:lnTo>
                        <a:pt x="0" y="63"/>
                      </a:lnTo>
                      <a:lnTo>
                        <a:pt x="0" y="42"/>
                      </a:lnTo>
                      <a:lnTo>
                        <a:pt x="4" y="30"/>
                      </a:lnTo>
                      <a:lnTo>
                        <a:pt x="6" y="28"/>
                      </a:lnTo>
                      <a:lnTo>
                        <a:pt x="7" y="26"/>
                      </a:lnTo>
                      <a:lnTo>
                        <a:pt x="16" y="26"/>
                      </a:lnTo>
                      <a:lnTo>
                        <a:pt x="16" y="26"/>
                      </a:lnTo>
                      <a:lnTo>
                        <a:pt x="20" y="26"/>
                      </a:lnTo>
                      <a:lnTo>
                        <a:pt x="20" y="24"/>
                      </a:lnTo>
                      <a:lnTo>
                        <a:pt x="16" y="21"/>
                      </a:lnTo>
                      <a:lnTo>
                        <a:pt x="16" y="17"/>
                      </a:lnTo>
                      <a:lnTo>
                        <a:pt x="18" y="12"/>
                      </a:lnTo>
                      <a:lnTo>
                        <a:pt x="27" y="9"/>
                      </a:lnTo>
                      <a:lnTo>
                        <a:pt x="42" y="5"/>
                      </a:lnTo>
                      <a:lnTo>
                        <a:pt x="42" y="5"/>
                      </a:lnTo>
                      <a:lnTo>
                        <a:pt x="74" y="0"/>
                      </a:lnTo>
                      <a:lnTo>
                        <a:pt x="84" y="0"/>
                      </a:lnTo>
                      <a:lnTo>
                        <a:pt x="93" y="0"/>
                      </a:lnTo>
                      <a:lnTo>
                        <a:pt x="101" y="2"/>
                      </a:lnTo>
                      <a:lnTo>
                        <a:pt x="108" y="3"/>
                      </a:lnTo>
                      <a:lnTo>
                        <a:pt x="122" y="10"/>
                      </a:lnTo>
                      <a:lnTo>
                        <a:pt x="122" y="10"/>
                      </a:lnTo>
                      <a:lnTo>
                        <a:pt x="129" y="14"/>
                      </a:lnTo>
                      <a:lnTo>
                        <a:pt x="136" y="14"/>
                      </a:lnTo>
                      <a:lnTo>
                        <a:pt x="145" y="12"/>
                      </a:lnTo>
                      <a:lnTo>
                        <a:pt x="152" y="10"/>
                      </a:lnTo>
                      <a:lnTo>
                        <a:pt x="157" y="9"/>
                      </a:lnTo>
                      <a:lnTo>
                        <a:pt x="168" y="10"/>
                      </a:lnTo>
                      <a:lnTo>
                        <a:pt x="178" y="14"/>
                      </a:lnTo>
                      <a:lnTo>
                        <a:pt x="178" y="14"/>
                      </a:lnTo>
                      <a:lnTo>
                        <a:pt x="185" y="16"/>
                      </a:lnTo>
                      <a:lnTo>
                        <a:pt x="188" y="19"/>
                      </a:lnTo>
                      <a:lnTo>
                        <a:pt x="190" y="21"/>
                      </a:lnTo>
                      <a:lnTo>
                        <a:pt x="190" y="24"/>
                      </a:lnTo>
                      <a:lnTo>
                        <a:pt x="190" y="28"/>
                      </a:lnTo>
                      <a:lnTo>
                        <a:pt x="188" y="31"/>
                      </a:lnTo>
                      <a:lnTo>
                        <a:pt x="181" y="40"/>
                      </a:lnTo>
                      <a:lnTo>
                        <a:pt x="162" y="57"/>
                      </a:lnTo>
                      <a:lnTo>
                        <a:pt x="154" y="68"/>
                      </a:lnTo>
                      <a:lnTo>
                        <a:pt x="145" y="80"/>
                      </a:lnTo>
                      <a:lnTo>
                        <a:pt x="145" y="80"/>
                      </a:lnTo>
                      <a:lnTo>
                        <a:pt x="141" y="85"/>
                      </a:lnTo>
                      <a:lnTo>
                        <a:pt x="136" y="89"/>
                      </a:lnTo>
                      <a:lnTo>
                        <a:pt x="131" y="91"/>
                      </a:lnTo>
                      <a:lnTo>
                        <a:pt x="124" y="92"/>
                      </a:lnTo>
                      <a:lnTo>
                        <a:pt x="112" y="92"/>
                      </a:lnTo>
                      <a:lnTo>
                        <a:pt x="98" y="92"/>
                      </a:lnTo>
                      <a:lnTo>
                        <a:pt x="86" y="91"/>
                      </a:lnTo>
                      <a:lnTo>
                        <a:pt x="77" y="89"/>
                      </a:lnTo>
                      <a:lnTo>
                        <a:pt x="75" y="91"/>
                      </a:lnTo>
                      <a:lnTo>
                        <a:pt x="74" y="92"/>
                      </a:lnTo>
                      <a:lnTo>
                        <a:pt x="74" y="94"/>
                      </a:lnTo>
                      <a:lnTo>
                        <a:pt x="75" y="99"/>
                      </a:lnTo>
                      <a:lnTo>
                        <a:pt x="75" y="99"/>
                      </a:lnTo>
                      <a:lnTo>
                        <a:pt x="79" y="106"/>
                      </a:lnTo>
                      <a:lnTo>
                        <a:pt x="80" y="111"/>
                      </a:lnTo>
                      <a:lnTo>
                        <a:pt x="79" y="115"/>
                      </a:lnTo>
                      <a:lnTo>
                        <a:pt x="77" y="117"/>
                      </a:lnTo>
                      <a:lnTo>
                        <a:pt x="72" y="120"/>
                      </a:lnTo>
                      <a:lnTo>
                        <a:pt x="68" y="122"/>
                      </a:lnTo>
                      <a:lnTo>
                        <a:pt x="67" y="125"/>
                      </a:lnTo>
                      <a:lnTo>
                        <a:pt x="67" y="125"/>
                      </a:lnTo>
                      <a:lnTo>
                        <a:pt x="61" y="139"/>
                      </a:lnTo>
                      <a:lnTo>
                        <a:pt x="60" y="141"/>
                      </a:lnTo>
                      <a:lnTo>
                        <a:pt x="54" y="139"/>
                      </a:lnTo>
                      <a:lnTo>
                        <a:pt x="54" y="13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8" name="Freeform 1717">
                  <a:extLst>
                    <a:ext uri="{FF2B5EF4-FFF2-40B4-BE49-F238E27FC236}">
                      <a16:creationId xmlns:a16="http://schemas.microsoft.com/office/drawing/2014/main" id="{88203009-22D5-DD11-FC58-2ACEDADBD289}"/>
                    </a:ext>
                  </a:extLst>
                </p:cNvPr>
                <p:cNvSpPr>
                  <a:spLocks/>
                </p:cNvSpPr>
                <p:nvPr/>
              </p:nvSpPr>
              <p:spPr bwMode="auto">
                <a:xfrm>
                  <a:off x="2291702" y="1553373"/>
                  <a:ext cx="181486" cy="137437"/>
                </a:xfrm>
                <a:custGeom>
                  <a:avLst/>
                  <a:gdLst/>
                  <a:ahLst/>
                  <a:cxnLst>
                    <a:cxn ang="0">
                      <a:pos x="55" y="39"/>
                    </a:cxn>
                    <a:cxn ang="0">
                      <a:pos x="41" y="28"/>
                    </a:cxn>
                    <a:cxn ang="0">
                      <a:pos x="43" y="21"/>
                    </a:cxn>
                    <a:cxn ang="0">
                      <a:pos x="55" y="13"/>
                    </a:cxn>
                    <a:cxn ang="0">
                      <a:pos x="74" y="4"/>
                    </a:cxn>
                    <a:cxn ang="0">
                      <a:pos x="95" y="0"/>
                    </a:cxn>
                    <a:cxn ang="0">
                      <a:pos x="113" y="6"/>
                    </a:cxn>
                    <a:cxn ang="0">
                      <a:pos x="132" y="11"/>
                    </a:cxn>
                    <a:cxn ang="0">
                      <a:pos x="156" y="7"/>
                    </a:cxn>
                    <a:cxn ang="0">
                      <a:pos x="169" y="4"/>
                    </a:cxn>
                    <a:cxn ang="0">
                      <a:pos x="189" y="4"/>
                    </a:cxn>
                    <a:cxn ang="0">
                      <a:pos x="202" y="9"/>
                    </a:cxn>
                    <a:cxn ang="0">
                      <a:pos x="200" y="18"/>
                    </a:cxn>
                    <a:cxn ang="0">
                      <a:pos x="193" y="21"/>
                    </a:cxn>
                    <a:cxn ang="0">
                      <a:pos x="188" y="28"/>
                    </a:cxn>
                    <a:cxn ang="0">
                      <a:pos x="193" y="32"/>
                    </a:cxn>
                    <a:cxn ang="0">
                      <a:pos x="196" y="37"/>
                    </a:cxn>
                    <a:cxn ang="0">
                      <a:pos x="181" y="42"/>
                    </a:cxn>
                    <a:cxn ang="0">
                      <a:pos x="170" y="46"/>
                    </a:cxn>
                    <a:cxn ang="0">
                      <a:pos x="165" y="49"/>
                    </a:cxn>
                    <a:cxn ang="0">
                      <a:pos x="169" y="53"/>
                    </a:cxn>
                    <a:cxn ang="0">
                      <a:pos x="188" y="65"/>
                    </a:cxn>
                    <a:cxn ang="0">
                      <a:pos x="193" y="74"/>
                    </a:cxn>
                    <a:cxn ang="0">
                      <a:pos x="203" y="82"/>
                    </a:cxn>
                    <a:cxn ang="0">
                      <a:pos x="210" y="79"/>
                    </a:cxn>
                    <a:cxn ang="0">
                      <a:pos x="217" y="77"/>
                    </a:cxn>
                    <a:cxn ang="0">
                      <a:pos x="224" y="86"/>
                    </a:cxn>
                    <a:cxn ang="0">
                      <a:pos x="226" y="93"/>
                    </a:cxn>
                    <a:cxn ang="0">
                      <a:pos x="224" y="100"/>
                    </a:cxn>
                    <a:cxn ang="0">
                      <a:pos x="221" y="108"/>
                    </a:cxn>
                    <a:cxn ang="0">
                      <a:pos x="219" y="121"/>
                    </a:cxn>
                    <a:cxn ang="0">
                      <a:pos x="217" y="127"/>
                    </a:cxn>
                    <a:cxn ang="0">
                      <a:pos x="207" y="141"/>
                    </a:cxn>
                    <a:cxn ang="0">
                      <a:pos x="191" y="148"/>
                    </a:cxn>
                    <a:cxn ang="0">
                      <a:pos x="174" y="150"/>
                    </a:cxn>
                    <a:cxn ang="0">
                      <a:pos x="167" y="148"/>
                    </a:cxn>
                    <a:cxn ang="0">
                      <a:pos x="158" y="150"/>
                    </a:cxn>
                    <a:cxn ang="0">
                      <a:pos x="156" y="161"/>
                    </a:cxn>
                    <a:cxn ang="0">
                      <a:pos x="153" y="169"/>
                    </a:cxn>
                    <a:cxn ang="0">
                      <a:pos x="141" y="173"/>
                    </a:cxn>
                    <a:cxn ang="0">
                      <a:pos x="132" y="169"/>
                    </a:cxn>
                    <a:cxn ang="0">
                      <a:pos x="108" y="147"/>
                    </a:cxn>
                    <a:cxn ang="0">
                      <a:pos x="90" y="127"/>
                    </a:cxn>
                    <a:cxn ang="0">
                      <a:pos x="64" y="114"/>
                    </a:cxn>
                    <a:cxn ang="0">
                      <a:pos x="50" y="108"/>
                    </a:cxn>
                    <a:cxn ang="0">
                      <a:pos x="22" y="96"/>
                    </a:cxn>
                    <a:cxn ang="0">
                      <a:pos x="5" y="82"/>
                    </a:cxn>
                    <a:cxn ang="0">
                      <a:pos x="0" y="68"/>
                    </a:cxn>
                    <a:cxn ang="0">
                      <a:pos x="1" y="61"/>
                    </a:cxn>
                    <a:cxn ang="0">
                      <a:pos x="10" y="56"/>
                    </a:cxn>
                    <a:cxn ang="0">
                      <a:pos x="17" y="54"/>
                    </a:cxn>
                    <a:cxn ang="0">
                      <a:pos x="33" y="63"/>
                    </a:cxn>
                    <a:cxn ang="0">
                      <a:pos x="50" y="75"/>
                    </a:cxn>
                    <a:cxn ang="0">
                      <a:pos x="64" y="77"/>
                    </a:cxn>
                    <a:cxn ang="0">
                      <a:pos x="69" y="75"/>
                    </a:cxn>
                    <a:cxn ang="0">
                      <a:pos x="80" y="68"/>
                    </a:cxn>
                    <a:cxn ang="0">
                      <a:pos x="83" y="60"/>
                    </a:cxn>
                    <a:cxn ang="0">
                      <a:pos x="76" y="49"/>
                    </a:cxn>
                    <a:cxn ang="0">
                      <a:pos x="62" y="40"/>
                    </a:cxn>
                  </a:cxnLst>
                  <a:rect l="0" t="0" r="r" b="b"/>
                  <a:pathLst>
                    <a:path w="226" h="173">
                      <a:moveTo>
                        <a:pt x="55" y="39"/>
                      </a:moveTo>
                      <a:lnTo>
                        <a:pt x="55" y="39"/>
                      </a:lnTo>
                      <a:lnTo>
                        <a:pt x="45" y="33"/>
                      </a:lnTo>
                      <a:lnTo>
                        <a:pt x="41" y="28"/>
                      </a:lnTo>
                      <a:lnTo>
                        <a:pt x="40" y="25"/>
                      </a:lnTo>
                      <a:lnTo>
                        <a:pt x="43" y="21"/>
                      </a:lnTo>
                      <a:lnTo>
                        <a:pt x="48" y="16"/>
                      </a:lnTo>
                      <a:lnTo>
                        <a:pt x="55" y="13"/>
                      </a:lnTo>
                      <a:lnTo>
                        <a:pt x="74" y="4"/>
                      </a:lnTo>
                      <a:lnTo>
                        <a:pt x="74" y="4"/>
                      </a:lnTo>
                      <a:lnTo>
                        <a:pt x="85" y="0"/>
                      </a:lnTo>
                      <a:lnTo>
                        <a:pt x="95" y="0"/>
                      </a:lnTo>
                      <a:lnTo>
                        <a:pt x="104" y="2"/>
                      </a:lnTo>
                      <a:lnTo>
                        <a:pt x="113" y="6"/>
                      </a:lnTo>
                      <a:lnTo>
                        <a:pt x="121" y="9"/>
                      </a:lnTo>
                      <a:lnTo>
                        <a:pt x="132" y="11"/>
                      </a:lnTo>
                      <a:lnTo>
                        <a:pt x="144" y="11"/>
                      </a:lnTo>
                      <a:lnTo>
                        <a:pt x="156" y="7"/>
                      </a:lnTo>
                      <a:lnTo>
                        <a:pt x="156" y="7"/>
                      </a:lnTo>
                      <a:lnTo>
                        <a:pt x="169" y="4"/>
                      </a:lnTo>
                      <a:lnTo>
                        <a:pt x="181" y="2"/>
                      </a:lnTo>
                      <a:lnTo>
                        <a:pt x="189" y="4"/>
                      </a:lnTo>
                      <a:lnTo>
                        <a:pt x="196" y="6"/>
                      </a:lnTo>
                      <a:lnTo>
                        <a:pt x="202" y="9"/>
                      </a:lnTo>
                      <a:lnTo>
                        <a:pt x="202" y="13"/>
                      </a:lnTo>
                      <a:lnTo>
                        <a:pt x="200" y="18"/>
                      </a:lnTo>
                      <a:lnTo>
                        <a:pt x="193" y="21"/>
                      </a:lnTo>
                      <a:lnTo>
                        <a:pt x="193" y="21"/>
                      </a:lnTo>
                      <a:lnTo>
                        <a:pt x="188" y="25"/>
                      </a:lnTo>
                      <a:lnTo>
                        <a:pt x="188" y="28"/>
                      </a:lnTo>
                      <a:lnTo>
                        <a:pt x="189" y="30"/>
                      </a:lnTo>
                      <a:lnTo>
                        <a:pt x="193" y="32"/>
                      </a:lnTo>
                      <a:lnTo>
                        <a:pt x="196" y="35"/>
                      </a:lnTo>
                      <a:lnTo>
                        <a:pt x="196" y="37"/>
                      </a:lnTo>
                      <a:lnTo>
                        <a:pt x="191" y="39"/>
                      </a:lnTo>
                      <a:lnTo>
                        <a:pt x="181" y="42"/>
                      </a:lnTo>
                      <a:lnTo>
                        <a:pt x="181" y="42"/>
                      </a:lnTo>
                      <a:lnTo>
                        <a:pt x="170" y="46"/>
                      </a:lnTo>
                      <a:lnTo>
                        <a:pt x="165" y="47"/>
                      </a:lnTo>
                      <a:lnTo>
                        <a:pt x="165" y="49"/>
                      </a:lnTo>
                      <a:lnTo>
                        <a:pt x="165" y="49"/>
                      </a:lnTo>
                      <a:lnTo>
                        <a:pt x="169" y="53"/>
                      </a:lnTo>
                      <a:lnTo>
                        <a:pt x="181" y="60"/>
                      </a:lnTo>
                      <a:lnTo>
                        <a:pt x="188" y="65"/>
                      </a:lnTo>
                      <a:lnTo>
                        <a:pt x="193" y="74"/>
                      </a:lnTo>
                      <a:lnTo>
                        <a:pt x="193" y="74"/>
                      </a:lnTo>
                      <a:lnTo>
                        <a:pt x="198" y="79"/>
                      </a:lnTo>
                      <a:lnTo>
                        <a:pt x="203" y="82"/>
                      </a:lnTo>
                      <a:lnTo>
                        <a:pt x="207" y="80"/>
                      </a:lnTo>
                      <a:lnTo>
                        <a:pt x="210" y="79"/>
                      </a:lnTo>
                      <a:lnTo>
                        <a:pt x="214" y="79"/>
                      </a:lnTo>
                      <a:lnTo>
                        <a:pt x="217" y="77"/>
                      </a:lnTo>
                      <a:lnTo>
                        <a:pt x="221" y="79"/>
                      </a:lnTo>
                      <a:lnTo>
                        <a:pt x="224" y="86"/>
                      </a:lnTo>
                      <a:lnTo>
                        <a:pt x="224" y="86"/>
                      </a:lnTo>
                      <a:lnTo>
                        <a:pt x="226" y="93"/>
                      </a:lnTo>
                      <a:lnTo>
                        <a:pt x="226" y="96"/>
                      </a:lnTo>
                      <a:lnTo>
                        <a:pt x="224" y="100"/>
                      </a:lnTo>
                      <a:lnTo>
                        <a:pt x="224" y="103"/>
                      </a:lnTo>
                      <a:lnTo>
                        <a:pt x="221" y="108"/>
                      </a:lnTo>
                      <a:lnTo>
                        <a:pt x="219" y="112"/>
                      </a:lnTo>
                      <a:lnTo>
                        <a:pt x="219" y="121"/>
                      </a:lnTo>
                      <a:lnTo>
                        <a:pt x="219" y="121"/>
                      </a:lnTo>
                      <a:lnTo>
                        <a:pt x="217" y="127"/>
                      </a:lnTo>
                      <a:lnTo>
                        <a:pt x="214" y="134"/>
                      </a:lnTo>
                      <a:lnTo>
                        <a:pt x="207" y="141"/>
                      </a:lnTo>
                      <a:lnTo>
                        <a:pt x="200" y="145"/>
                      </a:lnTo>
                      <a:lnTo>
                        <a:pt x="191" y="148"/>
                      </a:lnTo>
                      <a:lnTo>
                        <a:pt x="182" y="150"/>
                      </a:lnTo>
                      <a:lnTo>
                        <a:pt x="174" y="150"/>
                      </a:lnTo>
                      <a:lnTo>
                        <a:pt x="167" y="148"/>
                      </a:lnTo>
                      <a:lnTo>
                        <a:pt x="167" y="148"/>
                      </a:lnTo>
                      <a:lnTo>
                        <a:pt x="162" y="148"/>
                      </a:lnTo>
                      <a:lnTo>
                        <a:pt x="158" y="150"/>
                      </a:lnTo>
                      <a:lnTo>
                        <a:pt x="158" y="155"/>
                      </a:lnTo>
                      <a:lnTo>
                        <a:pt x="156" y="161"/>
                      </a:lnTo>
                      <a:lnTo>
                        <a:pt x="156" y="166"/>
                      </a:lnTo>
                      <a:lnTo>
                        <a:pt x="153" y="169"/>
                      </a:lnTo>
                      <a:lnTo>
                        <a:pt x="148" y="173"/>
                      </a:lnTo>
                      <a:lnTo>
                        <a:pt x="141" y="173"/>
                      </a:lnTo>
                      <a:lnTo>
                        <a:pt x="141" y="173"/>
                      </a:lnTo>
                      <a:lnTo>
                        <a:pt x="132" y="169"/>
                      </a:lnTo>
                      <a:lnTo>
                        <a:pt x="123" y="164"/>
                      </a:lnTo>
                      <a:lnTo>
                        <a:pt x="108" y="147"/>
                      </a:lnTo>
                      <a:lnTo>
                        <a:pt x="101" y="138"/>
                      </a:lnTo>
                      <a:lnTo>
                        <a:pt x="90" y="127"/>
                      </a:lnTo>
                      <a:lnTo>
                        <a:pt x="78" y="121"/>
                      </a:lnTo>
                      <a:lnTo>
                        <a:pt x="64" y="114"/>
                      </a:lnTo>
                      <a:lnTo>
                        <a:pt x="64" y="114"/>
                      </a:lnTo>
                      <a:lnTo>
                        <a:pt x="50" y="108"/>
                      </a:lnTo>
                      <a:lnTo>
                        <a:pt x="36" y="103"/>
                      </a:lnTo>
                      <a:lnTo>
                        <a:pt x="22" y="96"/>
                      </a:lnTo>
                      <a:lnTo>
                        <a:pt x="14" y="89"/>
                      </a:lnTo>
                      <a:lnTo>
                        <a:pt x="5" y="82"/>
                      </a:lnTo>
                      <a:lnTo>
                        <a:pt x="0" y="75"/>
                      </a:lnTo>
                      <a:lnTo>
                        <a:pt x="0" y="68"/>
                      </a:lnTo>
                      <a:lnTo>
                        <a:pt x="1" y="61"/>
                      </a:lnTo>
                      <a:lnTo>
                        <a:pt x="1" y="61"/>
                      </a:lnTo>
                      <a:lnTo>
                        <a:pt x="5" y="58"/>
                      </a:lnTo>
                      <a:lnTo>
                        <a:pt x="10" y="56"/>
                      </a:lnTo>
                      <a:lnTo>
                        <a:pt x="14" y="54"/>
                      </a:lnTo>
                      <a:lnTo>
                        <a:pt x="17" y="54"/>
                      </a:lnTo>
                      <a:lnTo>
                        <a:pt x="26" y="58"/>
                      </a:lnTo>
                      <a:lnTo>
                        <a:pt x="33" y="63"/>
                      </a:lnTo>
                      <a:lnTo>
                        <a:pt x="41" y="70"/>
                      </a:lnTo>
                      <a:lnTo>
                        <a:pt x="50" y="75"/>
                      </a:lnTo>
                      <a:lnTo>
                        <a:pt x="59" y="77"/>
                      </a:lnTo>
                      <a:lnTo>
                        <a:pt x="64" y="77"/>
                      </a:lnTo>
                      <a:lnTo>
                        <a:pt x="69" y="75"/>
                      </a:lnTo>
                      <a:lnTo>
                        <a:pt x="69" y="75"/>
                      </a:lnTo>
                      <a:lnTo>
                        <a:pt x="74" y="72"/>
                      </a:lnTo>
                      <a:lnTo>
                        <a:pt x="80" y="68"/>
                      </a:lnTo>
                      <a:lnTo>
                        <a:pt x="81" y="63"/>
                      </a:lnTo>
                      <a:lnTo>
                        <a:pt x="83" y="60"/>
                      </a:lnTo>
                      <a:lnTo>
                        <a:pt x="81" y="54"/>
                      </a:lnTo>
                      <a:lnTo>
                        <a:pt x="76" y="49"/>
                      </a:lnTo>
                      <a:lnTo>
                        <a:pt x="71" y="46"/>
                      </a:lnTo>
                      <a:lnTo>
                        <a:pt x="62" y="40"/>
                      </a:lnTo>
                      <a:lnTo>
                        <a:pt x="55" y="3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9" name="Freeform 1718">
                  <a:extLst>
                    <a:ext uri="{FF2B5EF4-FFF2-40B4-BE49-F238E27FC236}">
                      <a16:creationId xmlns:a16="http://schemas.microsoft.com/office/drawing/2014/main" id="{1C6EA5DC-9D6C-6AD5-6F15-BFB992D90D02}"/>
                    </a:ext>
                  </a:extLst>
                </p:cNvPr>
                <p:cNvSpPr>
                  <a:spLocks/>
                </p:cNvSpPr>
                <p:nvPr/>
              </p:nvSpPr>
              <p:spPr bwMode="auto">
                <a:xfrm>
                  <a:off x="2214173" y="1248544"/>
                  <a:ext cx="185010" cy="93387"/>
                </a:xfrm>
                <a:custGeom>
                  <a:avLst/>
                  <a:gdLst/>
                  <a:ahLst/>
                  <a:cxnLst>
                    <a:cxn ang="0">
                      <a:pos x="211" y="113"/>
                    </a:cxn>
                    <a:cxn ang="0">
                      <a:pos x="190" y="115"/>
                    </a:cxn>
                    <a:cxn ang="0">
                      <a:pos x="176" y="111"/>
                    </a:cxn>
                    <a:cxn ang="0">
                      <a:pos x="168" y="104"/>
                    </a:cxn>
                    <a:cxn ang="0">
                      <a:pos x="157" y="90"/>
                    </a:cxn>
                    <a:cxn ang="0">
                      <a:pos x="147" y="82"/>
                    </a:cxn>
                    <a:cxn ang="0">
                      <a:pos x="134" y="80"/>
                    </a:cxn>
                    <a:cxn ang="0">
                      <a:pos x="126" y="80"/>
                    </a:cxn>
                    <a:cxn ang="0">
                      <a:pos x="103" y="80"/>
                    </a:cxn>
                    <a:cxn ang="0">
                      <a:pos x="98" y="76"/>
                    </a:cxn>
                    <a:cxn ang="0">
                      <a:pos x="93" y="71"/>
                    </a:cxn>
                    <a:cxn ang="0">
                      <a:pos x="67" y="76"/>
                    </a:cxn>
                    <a:cxn ang="0">
                      <a:pos x="51" y="80"/>
                    </a:cxn>
                    <a:cxn ang="0">
                      <a:pos x="30" y="80"/>
                    </a:cxn>
                    <a:cxn ang="0">
                      <a:pos x="20" y="73"/>
                    </a:cxn>
                    <a:cxn ang="0">
                      <a:pos x="20" y="64"/>
                    </a:cxn>
                    <a:cxn ang="0">
                      <a:pos x="21" y="63"/>
                    </a:cxn>
                    <a:cxn ang="0">
                      <a:pos x="37" y="61"/>
                    </a:cxn>
                    <a:cxn ang="0">
                      <a:pos x="58" y="61"/>
                    </a:cxn>
                    <a:cxn ang="0">
                      <a:pos x="61" y="56"/>
                    </a:cxn>
                    <a:cxn ang="0">
                      <a:pos x="56" y="47"/>
                    </a:cxn>
                    <a:cxn ang="0">
                      <a:pos x="44" y="38"/>
                    </a:cxn>
                    <a:cxn ang="0">
                      <a:pos x="33" y="42"/>
                    </a:cxn>
                    <a:cxn ang="0">
                      <a:pos x="26" y="45"/>
                    </a:cxn>
                    <a:cxn ang="0">
                      <a:pos x="25" y="36"/>
                    </a:cxn>
                    <a:cxn ang="0">
                      <a:pos x="25" y="29"/>
                    </a:cxn>
                    <a:cxn ang="0">
                      <a:pos x="16" y="28"/>
                    </a:cxn>
                    <a:cxn ang="0">
                      <a:pos x="6" y="29"/>
                    </a:cxn>
                    <a:cxn ang="0">
                      <a:pos x="0" y="26"/>
                    </a:cxn>
                    <a:cxn ang="0">
                      <a:pos x="0" y="17"/>
                    </a:cxn>
                    <a:cxn ang="0">
                      <a:pos x="7" y="9"/>
                    </a:cxn>
                    <a:cxn ang="0">
                      <a:pos x="18" y="3"/>
                    </a:cxn>
                    <a:cxn ang="0">
                      <a:pos x="51" y="2"/>
                    </a:cxn>
                    <a:cxn ang="0">
                      <a:pos x="82" y="10"/>
                    </a:cxn>
                    <a:cxn ang="0">
                      <a:pos x="100" y="21"/>
                    </a:cxn>
                    <a:cxn ang="0">
                      <a:pos x="101" y="24"/>
                    </a:cxn>
                    <a:cxn ang="0">
                      <a:pos x="107" y="33"/>
                    </a:cxn>
                    <a:cxn ang="0">
                      <a:pos x="112" y="29"/>
                    </a:cxn>
                    <a:cxn ang="0">
                      <a:pos x="122" y="24"/>
                    </a:cxn>
                    <a:cxn ang="0">
                      <a:pos x="141" y="26"/>
                    </a:cxn>
                    <a:cxn ang="0">
                      <a:pos x="152" y="29"/>
                    </a:cxn>
                    <a:cxn ang="0">
                      <a:pos x="159" y="35"/>
                    </a:cxn>
                    <a:cxn ang="0">
                      <a:pos x="162" y="38"/>
                    </a:cxn>
                    <a:cxn ang="0">
                      <a:pos x="181" y="43"/>
                    </a:cxn>
                    <a:cxn ang="0">
                      <a:pos x="194" y="45"/>
                    </a:cxn>
                    <a:cxn ang="0">
                      <a:pos x="209" y="52"/>
                    </a:cxn>
                    <a:cxn ang="0">
                      <a:pos x="215" y="61"/>
                    </a:cxn>
                    <a:cxn ang="0">
                      <a:pos x="211" y="68"/>
                    </a:cxn>
                    <a:cxn ang="0">
                      <a:pos x="206" y="69"/>
                    </a:cxn>
                    <a:cxn ang="0">
                      <a:pos x="204" y="73"/>
                    </a:cxn>
                    <a:cxn ang="0">
                      <a:pos x="223" y="90"/>
                    </a:cxn>
                    <a:cxn ang="0">
                      <a:pos x="230" y="101"/>
                    </a:cxn>
                    <a:cxn ang="0">
                      <a:pos x="230" y="106"/>
                    </a:cxn>
                    <a:cxn ang="0">
                      <a:pos x="220" y="111"/>
                    </a:cxn>
                    <a:cxn ang="0">
                      <a:pos x="211" y="113"/>
                    </a:cxn>
                  </a:cxnLst>
                  <a:rect l="0" t="0" r="r" b="b"/>
                  <a:pathLst>
                    <a:path w="232" h="115">
                      <a:moveTo>
                        <a:pt x="211" y="113"/>
                      </a:moveTo>
                      <a:lnTo>
                        <a:pt x="211" y="113"/>
                      </a:lnTo>
                      <a:lnTo>
                        <a:pt x="201" y="115"/>
                      </a:lnTo>
                      <a:lnTo>
                        <a:pt x="190" y="115"/>
                      </a:lnTo>
                      <a:lnTo>
                        <a:pt x="181" y="113"/>
                      </a:lnTo>
                      <a:lnTo>
                        <a:pt x="176" y="111"/>
                      </a:lnTo>
                      <a:lnTo>
                        <a:pt x="171" y="108"/>
                      </a:lnTo>
                      <a:lnTo>
                        <a:pt x="168" y="104"/>
                      </a:lnTo>
                      <a:lnTo>
                        <a:pt x="161" y="97"/>
                      </a:lnTo>
                      <a:lnTo>
                        <a:pt x="157" y="90"/>
                      </a:lnTo>
                      <a:lnTo>
                        <a:pt x="150" y="83"/>
                      </a:lnTo>
                      <a:lnTo>
                        <a:pt x="147" y="82"/>
                      </a:lnTo>
                      <a:lnTo>
                        <a:pt x="141" y="80"/>
                      </a:lnTo>
                      <a:lnTo>
                        <a:pt x="134" y="80"/>
                      </a:lnTo>
                      <a:lnTo>
                        <a:pt x="126" y="80"/>
                      </a:lnTo>
                      <a:lnTo>
                        <a:pt x="126" y="80"/>
                      </a:lnTo>
                      <a:lnTo>
                        <a:pt x="112" y="82"/>
                      </a:lnTo>
                      <a:lnTo>
                        <a:pt x="103" y="80"/>
                      </a:lnTo>
                      <a:lnTo>
                        <a:pt x="100" y="78"/>
                      </a:lnTo>
                      <a:lnTo>
                        <a:pt x="98" y="76"/>
                      </a:lnTo>
                      <a:lnTo>
                        <a:pt x="98" y="73"/>
                      </a:lnTo>
                      <a:lnTo>
                        <a:pt x="93" y="71"/>
                      </a:lnTo>
                      <a:lnTo>
                        <a:pt x="84" y="73"/>
                      </a:lnTo>
                      <a:lnTo>
                        <a:pt x="67" y="76"/>
                      </a:lnTo>
                      <a:lnTo>
                        <a:pt x="67" y="76"/>
                      </a:lnTo>
                      <a:lnTo>
                        <a:pt x="51" y="80"/>
                      </a:lnTo>
                      <a:lnTo>
                        <a:pt x="39" y="82"/>
                      </a:lnTo>
                      <a:lnTo>
                        <a:pt x="30" y="80"/>
                      </a:lnTo>
                      <a:lnTo>
                        <a:pt x="23" y="76"/>
                      </a:lnTo>
                      <a:lnTo>
                        <a:pt x="20" y="73"/>
                      </a:lnTo>
                      <a:lnTo>
                        <a:pt x="20" y="68"/>
                      </a:lnTo>
                      <a:lnTo>
                        <a:pt x="20" y="64"/>
                      </a:lnTo>
                      <a:lnTo>
                        <a:pt x="21" y="63"/>
                      </a:lnTo>
                      <a:lnTo>
                        <a:pt x="21" y="63"/>
                      </a:lnTo>
                      <a:lnTo>
                        <a:pt x="28" y="61"/>
                      </a:lnTo>
                      <a:lnTo>
                        <a:pt x="37" y="61"/>
                      </a:lnTo>
                      <a:lnTo>
                        <a:pt x="53" y="61"/>
                      </a:lnTo>
                      <a:lnTo>
                        <a:pt x="58" y="61"/>
                      </a:lnTo>
                      <a:lnTo>
                        <a:pt x="61" y="59"/>
                      </a:lnTo>
                      <a:lnTo>
                        <a:pt x="61" y="56"/>
                      </a:lnTo>
                      <a:lnTo>
                        <a:pt x="56" y="47"/>
                      </a:lnTo>
                      <a:lnTo>
                        <a:pt x="56" y="47"/>
                      </a:lnTo>
                      <a:lnTo>
                        <a:pt x="49" y="42"/>
                      </a:lnTo>
                      <a:lnTo>
                        <a:pt x="44" y="38"/>
                      </a:lnTo>
                      <a:lnTo>
                        <a:pt x="39" y="40"/>
                      </a:lnTo>
                      <a:lnTo>
                        <a:pt x="33" y="42"/>
                      </a:lnTo>
                      <a:lnTo>
                        <a:pt x="30" y="43"/>
                      </a:lnTo>
                      <a:lnTo>
                        <a:pt x="26" y="45"/>
                      </a:lnTo>
                      <a:lnTo>
                        <a:pt x="25" y="43"/>
                      </a:lnTo>
                      <a:lnTo>
                        <a:pt x="25" y="36"/>
                      </a:lnTo>
                      <a:lnTo>
                        <a:pt x="25" y="36"/>
                      </a:lnTo>
                      <a:lnTo>
                        <a:pt x="25" y="29"/>
                      </a:lnTo>
                      <a:lnTo>
                        <a:pt x="21" y="28"/>
                      </a:lnTo>
                      <a:lnTo>
                        <a:pt x="16" y="28"/>
                      </a:lnTo>
                      <a:lnTo>
                        <a:pt x="11" y="29"/>
                      </a:lnTo>
                      <a:lnTo>
                        <a:pt x="6" y="29"/>
                      </a:lnTo>
                      <a:lnTo>
                        <a:pt x="2" y="29"/>
                      </a:lnTo>
                      <a:lnTo>
                        <a:pt x="0" y="26"/>
                      </a:lnTo>
                      <a:lnTo>
                        <a:pt x="0" y="17"/>
                      </a:lnTo>
                      <a:lnTo>
                        <a:pt x="0" y="17"/>
                      </a:lnTo>
                      <a:lnTo>
                        <a:pt x="4" y="12"/>
                      </a:lnTo>
                      <a:lnTo>
                        <a:pt x="7" y="9"/>
                      </a:lnTo>
                      <a:lnTo>
                        <a:pt x="13" y="5"/>
                      </a:lnTo>
                      <a:lnTo>
                        <a:pt x="18" y="3"/>
                      </a:lnTo>
                      <a:lnTo>
                        <a:pt x="33" y="0"/>
                      </a:lnTo>
                      <a:lnTo>
                        <a:pt x="51" y="2"/>
                      </a:lnTo>
                      <a:lnTo>
                        <a:pt x="67" y="5"/>
                      </a:lnTo>
                      <a:lnTo>
                        <a:pt x="82" y="10"/>
                      </a:lnTo>
                      <a:lnTo>
                        <a:pt x="94" y="17"/>
                      </a:lnTo>
                      <a:lnTo>
                        <a:pt x="100" y="21"/>
                      </a:lnTo>
                      <a:lnTo>
                        <a:pt x="101" y="24"/>
                      </a:lnTo>
                      <a:lnTo>
                        <a:pt x="101" y="24"/>
                      </a:lnTo>
                      <a:lnTo>
                        <a:pt x="105" y="31"/>
                      </a:lnTo>
                      <a:lnTo>
                        <a:pt x="107" y="33"/>
                      </a:lnTo>
                      <a:lnTo>
                        <a:pt x="110" y="31"/>
                      </a:lnTo>
                      <a:lnTo>
                        <a:pt x="112" y="29"/>
                      </a:lnTo>
                      <a:lnTo>
                        <a:pt x="115" y="26"/>
                      </a:lnTo>
                      <a:lnTo>
                        <a:pt x="122" y="24"/>
                      </a:lnTo>
                      <a:lnTo>
                        <a:pt x="129" y="22"/>
                      </a:lnTo>
                      <a:lnTo>
                        <a:pt x="141" y="26"/>
                      </a:lnTo>
                      <a:lnTo>
                        <a:pt x="141" y="26"/>
                      </a:lnTo>
                      <a:lnTo>
                        <a:pt x="152" y="29"/>
                      </a:lnTo>
                      <a:lnTo>
                        <a:pt x="157" y="33"/>
                      </a:lnTo>
                      <a:lnTo>
                        <a:pt x="159" y="35"/>
                      </a:lnTo>
                      <a:lnTo>
                        <a:pt x="161" y="36"/>
                      </a:lnTo>
                      <a:lnTo>
                        <a:pt x="162" y="38"/>
                      </a:lnTo>
                      <a:lnTo>
                        <a:pt x="164" y="40"/>
                      </a:lnTo>
                      <a:lnTo>
                        <a:pt x="181" y="43"/>
                      </a:lnTo>
                      <a:lnTo>
                        <a:pt x="181" y="43"/>
                      </a:lnTo>
                      <a:lnTo>
                        <a:pt x="194" y="45"/>
                      </a:lnTo>
                      <a:lnTo>
                        <a:pt x="204" y="49"/>
                      </a:lnTo>
                      <a:lnTo>
                        <a:pt x="209" y="52"/>
                      </a:lnTo>
                      <a:lnTo>
                        <a:pt x="215" y="56"/>
                      </a:lnTo>
                      <a:lnTo>
                        <a:pt x="215" y="61"/>
                      </a:lnTo>
                      <a:lnTo>
                        <a:pt x="213" y="64"/>
                      </a:lnTo>
                      <a:lnTo>
                        <a:pt x="211" y="68"/>
                      </a:lnTo>
                      <a:lnTo>
                        <a:pt x="206" y="69"/>
                      </a:lnTo>
                      <a:lnTo>
                        <a:pt x="206" y="69"/>
                      </a:lnTo>
                      <a:lnTo>
                        <a:pt x="204" y="71"/>
                      </a:lnTo>
                      <a:lnTo>
                        <a:pt x="204" y="73"/>
                      </a:lnTo>
                      <a:lnTo>
                        <a:pt x="208" y="76"/>
                      </a:lnTo>
                      <a:lnTo>
                        <a:pt x="223" y="90"/>
                      </a:lnTo>
                      <a:lnTo>
                        <a:pt x="228" y="97"/>
                      </a:lnTo>
                      <a:lnTo>
                        <a:pt x="230" y="101"/>
                      </a:lnTo>
                      <a:lnTo>
                        <a:pt x="232" y="104"/>
                      </a:lnTo>
                      <a:lnTo>
                        <a:pt x="230" y="106"/>
                      </a:lnTo>
                      <a:lnTo>
                        <a:pt x="227" y="110"/>
                      </a:lnTo>
                      <a:lnTo>
                        <a:pt x="220" y="111"/>
                      </a:lnTo>
                      <a:lnTo>
                        <a:pt x="211" y="113"/>
                      </a:lnTo>
                      <a:lnTo>
                        <a:pt x="211" y="11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0" name="Freeform 1719">
                  <a:extLst>
                    <a:ext uri="{FF2B5EF4-FFF2-40B4-BE49-F238E27FC236}">
                      <a16:creationId xmlns:a16="http://schemas.microsoft.com/office/drawing/2014/main" id="{7AF437B4-11C2-75EB-D2EA-078123F099CE}"/>
                    </a:ext>
                  </a:extLst>
                </p:cNvPr>
                <p:cNvSpPr>
                  <a:spLocks/>
                </p:cNvSpPr>
                <p:nvPr/>
              </p:nvSpPr>
              <p:spPr bwMode="auto">
                <a:xfrm>
                  <a:off x="2603574" y="1030055"/>
                  <a:ext cx="863381" cy="401737"/>
                </a:xfrm>
                <a:custGeom>
                  <a:avLst/>
                  <a:gdLst/>
                  <a:ahLst/>
                  <a:cxnLst>
                    <a:cxn ang="0">
                      <a:pos x="108" y="441"/>
                    </a:cxn>
                    <a:cxn ang="0">
                      <a:pos x="129" y="403"/>
                    </a:cxn>
                    <a:cxn ang="0">
                      <a:pos x="178" y="384"/>
                    </a:cxn>
                    <a:cxn ang="0">
                      <a:pos x="267" y="422"/>
                    </a:cxn>
                    <a:cxn ang="0">
                      <a:pos x="317" y="375"/>
                    </a:cxn>
                    <a:cxn ang="0">
                      <a:pos x="230" y="401"/>
                    </a:cxn>
                    <a:cxn ang="0">
                      <a:pos x="213" y="368"/>
                    </a:cxn>
                    <a:cxn ang="0">
                      <a:pos x="159" y="366"/>
                    </a:cxn>
                    <a:cxn ang="0">
                      <a:pos x="180" y="324"/>
                    </a:cxn>
                    <a:cxn ang="0">
                      <a:pos x="314" y="317"/>
                    </a:cxn>
                    <a:cxn ang="0">
                      <a:pos x="246" y="298"/>
                    </a:cxn>
                    <a:cxn ang="0">
                      <a:pos x="228" y="260"/>
                    </a:cxn>
                    <a:cxn ang="0">
                      <a:pos x="186" y="215"/>
                    </a:cxn>
                    <a:cxn ang="0">
                      <a:pos x="319" y="232"/>
                    </a:cxn>
                    <a:cxn ang="0">
                      <a:pos x="390" y="258"/>
                    </a:cxn>
                    <a:cxn ang="0">
                      <a:pos x="321" y="208"/>
                    </a:cxn>
                    <a:cxn ang="0">
                      <a:pos x="484" y="168"/>
                    </a:cxn>
                    <a:cxn ang="0">
                      <a:pos x="474" y="140"/>
                    </a:cxn>
                    <a:cxn ang="0">
                      <a:pos x="300" y="185"/>
                    </a:cxn>
                    <a:cxn ang="0">
                      <a:pos x="193" y="192"/>
                    </a:cxn>
                    <a:cxn ang="0">
                      <a:pos x="221" y="161"/>
                    </a:cxn>
                    <a:cxn ang="0">
                      <a:pos x="145" y="187"/>
                    </a:cxn>
                    <a:cxn ang="0">
                      <a:pos x="52" y="154"/>
                    </a:cxn>
                    <a:cxn ang="0">
                      <a:pos x="44" y="131"/>
                    </a:cxn>
                    <a:cxn ang="0">
                      <a:pos x="2" y="119"/>
                    </a:cxn>
                    <a:cxn ang="0">
                      <a:pos x="68" y="91"/>
                    </a:cxn>
                    <a:cxn ang="0">
                      <a:pos x="143" y="75"/>
                    </a:cxn>
                    <a:cxn ang="0">
                      <a:pos x="214" y="81"/>
                    </a:cxn>
                    <a:cxn ang="0">
                      <a:pos x="216" y="58"/>
                    </a:cxn>
                    <a:cxn ang="0">
                      <a:pos x="251" y="49"/>
                    </a:cxn>
                    <a:cxn ang="0">
                      <a:pos x="317" y="58"/>
                    </a:cxn>
                    <a:cxn ang="0">
                      <a:pos x="368" y="41"/>
                    </a:cxn>
                    <a:cxn ang="0">
                      <a:pos x="375" y="21"/>
                    </a:cxn>
                    <a:cxn ang="0">
                      <a:pos x="470" y="18"/>
                    </a:cxn>
                    <a:cxn ang="0">
                      <a:pos x="662" y="9"/>
                    </a:cxn>
                    <a:cxn ang="0">
                      <a:pos x="782" y="2"/>
                    </a:cxn>
                    <a:cxn ang="0">
                      <a:pos x="874" y="21"/>
                    </a:cxn>
                    <a:cxn ang="0">
                      <a:pos x="885" y="27"/>
                    </a:cxn>
                    <a:cxn ang="0">
                      <a:pos x="996" y="27"/>
                    </a:cxn>
                    <a:cxn ang="0">
                      <a:pos x="1054" y="49"/>
                    </a:cxn>
                    <a:cxn ang="0">
                      <a:pos x="1019" y="88"/>
                    </a:cxn>
                    <a:cxn ang="0">
                      <a:pos x="902" y="124"/>
                    </a:cxn>
                    <a:cxn ang="0">
                      <a:pos x="829" y="178"/>
                    </a:cxn>
                    <a:cxn ang="0">
                      <a:pos x="695" y="255"/>
                    </a:cxn>
                    <a:cxn ang="0">
                      <a:pos x="651" y="262"/>
                    </a:cxn>
                    <a:cxn ang="0">
                      <a:pos x="500" y="283"/>
                    </a:cxn>
                    <a:cxn ang="0">
                      <a:pos x="596" y="284"/>
                    </a:cxn>
                    <a:cxn ang="0">
                      <a:pos x="564" y="302"/>
                    </a:cxn>
                    <a:cxn ang="0">
                      <a:pos x="590" y="331"/>
                    </a:cxn>
                    <a:cxn ang="0">
                      <a:pos x="564" y="370"/>
                    </a:cxn>
                    <a:cxn ang="0">
                      <a:pos x="476" y="384"/>
                    </a:cxn>
                    <a:cxn ang="0">
                      <a:pos x="448" y="427"/>
                    </a:cxn>
                    <a:cxn ang="0">
                      <a:pos x="476" y="446"/>
                    </a:cxn>
                    <a:cxn ang="0">
                      <a:pos x="472" y="479"/>
                    </a:cxn>
                    <a:cxn ang="0">
                      <a:pos x="381" y="498"/>
                    </a:cxn>
                    <a:cxn ang="0">
                      <a:pos x="357" y="481"/>
                    </a:cxn>
                    <a:cxn ang="0">
                      <a:pos x="261" y="485"/>
                    </a:cxn>
                    <a:cxn ang="0">
                      <a:pos x="178" y="479"/>
                    </a:cxn>
                    <a:cxn ang="0">
                      <a:pos x="113" y="483"/>
                    </a:cxn>
                  </a:cxnLst>
                  <a:rect l="0" t="0" r="r" b="b"/>
                  <a:pathLst>
                    <a:path w="1076" h="504">
                      <a:moveTo>
                        <a:pt x="82" y="479"/>
                      </a:moveTo>
                      <a:lnTo>
                        <a:pt x="82" y="479"/>
                      </a:lnTo>
                      <a:lnTo>
                        <a:pt x="79" y="476"/>
                      </a:lnTo>
                      <a:lnTo>
                        <a:pt x="75" y="472"/>
                      </a:lnTo>
                      <a:lnTo>
                        <a:pt x="75" y="469"/>
                      </a:lnTo>
                      <a:lnTo>
                        <a:pt x="75" y="465"/>
                      </a:lnTo>
                      <a:lnTo>
                        <a:pt x="79" y="458"/>
                      </a:lnTo>
                      <a:lnTo>
                        <a:pt x="85" y="451"/>
                      </a:lnTo>
                      <a:lnTo>
                        <a:pt x="94" y="446"/>
                      </a:lnTo>
                      <a:lnTo>
                        <a:pt x="108" y="441"/>
                      </a:lnTo>
                      <a:lnTo>
                        <a:pt x="122" y="437"/>
                      </a:lnTo>
                      <a:lnTo>
                        <a:pt x="138" y="437"/>
                      </a:lnTo>
                      <a:lnTo>
                        <a:pt x="138" y="437"/>
                      </a:lnTo>
                      <a:lnTo>
                        <a:pt x="150" y="436"/>
                      </a:lnTo>
                      <a:lnTo>
                        <a:pt x="157" y="434"/>
                      </a:lnTo>
                      <a:lnTo>
                        <a:pt x="159" y="432"/>
                      </a:lnTo>
                      <a:lnTo>
                        <a:pt x="159" y="431"/>
                      </a:lnTo>
                      <a:lnTo>
                        <a:pt x="157" y="425"/>
                      </a:lnTo>
                      <a:lnTo>
                        <a:pt x="145" y="415"/>
                      </a:lnTo>
                      <a:lnTo>
                        <a:pt x="129" y="403"/>
                      </a:lnTo>
                      <a:lnTo>
                        <a:pt x="129" y="403"/>
                      </a:lnTo>
                      <a:lnTo>
                        <a:pt x="124" y="397"/>
                      </a:lnTo>
                      <a:lnTo>
                        <a:pt x="120" y="392"/>
                      </a:lnTo>
                      <a:lnTo>
                        <a:pt x="120" y="389"/>
                      </a:lnTo>
                      <a:lnTo>
                        <a:pt x="124" y="385"/>
                      </a:lnTo>
                      <a:lnTo>
                        <a:pt x="131" y="384"/>
                      </a:lnTo>
                      <a:lnTo>
                        <a:pt x="139" y="382"/>
                      </a:lnTo>
                      <a:lnTo>
                        <a:pt x="164" y="382"/>
                      </a:lnTo>
                      <a:lnTo>
                        <a:pt x="164" y="382"/>
                      </a:lnTo>
                      <a:lnTo>
                        <a:pt x="178" y="384"/>
                      </a:lnTo>
                      <a:lnTo>
                        <a:pt x="188" y="387"/>
                      </a:lnTo>
                      <a:lnTo>
                        <a:pt x="197" y="394"/>
                      </a:lnTo>
                      <a:lnTo>
                        <a:pt x="206" y="401"/>
                      </a:lnTo>
                      <a:lnTo>
                        <a:pt x="213" y="408"/>
                      </a:lnTo>
                      <a:lnTo>
                        <a:pt x="223" y="415"/>
                      </a:lnTo>
                      <a:lnTo>
                        <a:pt x="233" y="420"/>
                      </a:lnTo>
                      <a:lnTo>
                        <a:pt x="247" y="424"/>
                      </a:lnTo>
                      <a:lnTo>
                        <a:pt x="247" y="424"/>
                      </a:lnTo>
                      <a:lnTo>
                        <a:pt x="258" y="424"/>
                      </a:lnTo>
                      <a:lnTo>
                        <a:pt x="267" y="422"/>
                      </a:lnTo>
                      <a:lnTo>
                        <a:pt x="274" y="418"/>
                      </a:lnTo>
                      <a:lnTo>
                        <a:pt x="282" y="415"/>
                      </a:lnTo>
                      <a:lnTo>
                        <a:pt x="296" y="404"/>
                      </a:lnTo>
                      <a:lnTo>
                        <a:pt x="308" y="392"/>
                      </a:lnTo>
                      <a:lnTo>
                        <a:pt x="317" y="382"/>
                      </a:lnTo>
                      <a:lnTo>
                        <a:pt x="322" y="375"/>
                      </a:lnTo>
                      <a:lnTo>
                        <a:pt x="322" y="371"/>
                      </a:lnTo>
                      <a:lnTo>
                        <a:pt x="322" y="371"/>
                      </a:lnTo>
                      <a:lnTo>
                        <a:pt x="317" y="375"/>
                      </a:lnTo>
                      <a:lnTo>
                        <a:pt x="317" y="375"/>
                      </a:lnTo>
                      <a:lnTo>
                        <a:pt x="308" y="384"/>
                      </a:lnTo>
                      <a:lnTo>
                        <a:pt x="298" y="392"/>
                      </a:lnTo>
                      <a:lnTo>
                        <a:pt x="286" y="399"/>
                      </a:lnTo>
                      <a:lnTo>
                        <a:pt x="274" y="406"/>
                      </a:lnTo>
                      <a:lnTo>
                        <a:pt x="261" y="410"/>
                      </a:lnTo>
                      <a:lnTo>
                        <a:pt x="249" y="410"/>
                      </a:lnTo>
                      <a:lnTo>
                        <a:pt x="244" y="410"/>
                      </a:lnTo>
                      <a:lnTo>
                        <a:pt x="239" y="408"/>
                      </a:lnTo>
                      <a:lnTo>
                        <a:pt x="233" y="404"/>
                      </a:lnTo>
                      <a:lnTo>
                        <a:pt x="230" y="401"/>
                      </a:lnTo>
                      <a:lnTo>
                        <a:pt x="230" y="401"/>
                      </a:lnTo>
                      <a:lnTo>
                        <a:pt x="225" y="392"/>
                      </a:lnTo>
                      <a:lnTo>
                        <a:pt x="223" y="384"/>
                      </a:lnTo>
                      <a:lnTo>
                        <a:pt x="223" y="378"/>
                      </a:lnTo>
                      <a:lnTo>
                        <a:pt x="225" y="373"/>
                      </a:lnTo>
                      <a:lnTo>
                        <a:pt x="225" y="370"/>
                      </a:lnTo>
                      <a:lnTo>
                        <a:pt x="225" y="368"/>
                      </a:lnTo>
                      <a:lnTo>
                        <a:pt x="221" y="366"/>
                      </a:lnTo>
                      <a:lnTo>
                        <a:pt x="213" y="368"/>
                      </a:lnTo>
                      <a:lnTo>
                        <a:pt x="213" y="368"/>
                      </a:lnTo>
                      <a:lnTo>
                        <a:pt x="204" y="370"/>
                      </a:lnTo>
                      <a:lnTo>
                        <a:pt x="199" y="370"/>
                      </a:lnTo>
                      <a:lnTo>
                        <a:pt x="195" y="368"/>
                      </a:lnTo>
                      <a:lnTo>
                        <a:pt x="193" y="366"/>
                      </a:lnTo>
                      <a:lnTo>
                        <a:pt x="192" y="364"/>
                      </a:lnTo>
                      <a:lnTo>
                        <a:pt x="186" y="363"/>
                      </a:lnTo>
                      <a:lnTo>
                        <a:pt x="180" y="364"/>
                      </a:lnTo>
                      <a:lnTo>
                        <a:pt x="169" y="366"/>
                      </a:lnTo>
                      <a:lnTo>
                        <a:pt x="169" y="366"/>
                      </a:lnTo>
                      <a:lnTo>
                        <a:pt x="159" y="366"/>
                      </a:lnTo>
                      <a:lnTo>
                        <a:pt x="152" y="366"/>
                      </a:lnTo>
                      <a:lnTo>
                        <a:pt x="146" y="361"/>
                      </a:lnTo>
                      <a:lnTo>
                        <a:pt x="145" y="356"/>
                      </a:lnTo>
                      <a:lnTo>
                        <a:pt x="146" y="350"/>
                      </a:lnTo>
                      <a:lnTo>
                        <a:pt x="148" y="343"/>
                      </a:lnTo>
                      <a:lnTo>
                        <a:pt x="153" y="337"/>
                      </a:lnTo>
                      <a:lnTo>
                        <a:pt x="157" y="331"/>
                      </a:lnTo>
                      <a:lnTo>
                        <a:pt x="157" y="331"/>
                      </a:lnTo>
                      <a:lnTo>
                        <a:pt x="166" y="328"/>
                      </a:lnTo>
                      <a:lnTo>
                        <a:pt x="180" y="324"/>
                      </a:lnTo>
                      <a:lnTo>
                        <a:pt x="197" y="321"/>
                      </a:lnTo>
                      <a:lnTo>
                        <a:pt x="216" y="319"/>
                      </a:lnTo>
                      <a:lnTo>
                        <a:pt x="258" y="317"/>
                      </a:lnTo>
                      <a:lnTo>
                        <a:pt x="277" y="317"/>
                      </a:lnTo>
                      <a:lnTo>
                        <a:pt x="294" y="319"/>
                      </a:lnTo>
                      <a:lnTo>
                        <a:pt x="294" y="319"/>
                      </a:lnTo>
                      <a:lnTo>
                        <a:pt x="305" y="321"/>
                      </a:lnTo>
                      <a:lnTo>
                        <a:pt x="312" y="321"/>
                      </a:lnTo>
                      <a:lnTo>
                        <a:pt x="315" y="319"/>
                      </a:lnTo>
                      <a:lnTo>
                        <a:pt x="314" y="317"/>
                      </a:lnTo>
                      <a:lnTo>
                        <a:pt x="310" y="316"/>
                      </a:lnTo>
                      <a:lnTo>
                        <a:pt x="301" y="312"/>
                      </a:lnTo>
                      <a:lnTo>
                        <a:pt x="291" y="310"/>
                      </a:lnTo>
                      <a:lnTo>
                        <a:pt x="279" y="309"/>
                      </a:lnTo>
                      <a:lnTo>
                        <a:pt x="279" y="309"/>
                      </a:lnTo>
                      <a:lnTo>
                        <a:pt x="267" y="309"/>
                      </a:lnTo>
                      <a:lnTo>
                        <a:pt x="256" y="305"/>
                      </a:lnTo>
                      <a:lnTo>
                        <a:pt x="251" y="303"/>
                      </a:lnTo>
                      <a:lnTo>
                        <a:pt x="247" y="302"/>
                      </a:lnTo>
                      <a:lnTo>
                        <a:pt x="246" y="298"/>
                      </a:lnTo>
                      <a:lnTo>
                        <a:pt x="247" y="296"/>
                      </a:lnTo>
                      <a:lnTo>
                        <a:pt x="251" y="295"/>
                      </a:lnTo>
                      <a:lnTo>
                        <a:pt x="256" y="293"/>
                      </a:lnTo>
                      <a:lnTo>
                        <a:pt x="256" y="293"/>
                      </a:lnTo>
                      <a:lnTo>
                        <a:pt x="261" y="291"/>
                      </a:lnTo>
                      <a:lnTo>
                        <a:pt x="263" y="288"/>
                      </a:lnTo>
                      <a:lnTo>
                        <a:pt x="260" y="283"/>
                      </a:lnTo>
                      <a:lnTo>
                        <a:pt x="254" y="277"/>
                      </a:lnTo>
                      <a:lnTo>
                        <a:pt x="239" y="265"/>
                      </a:lnTo>
                      <a:lnTo>
                        <a:pt x="228" y="260"/>
                      </a:lnTo>
                      <a:lnTo>
                        <a:pt x="216" y="255"/>
                      </a:lnTo>
                      <a:lnTo>
                        <a:pt x="216" y="255"/>
                      </a:lnTo>
                      <a:lnTo>
                        <a:pt x="197" y="246"/>
                      </a:lnTo>
                      <a:lnTo>
                        <a:pt x="185" y="241"/>
                      </a:lnTo>
                      <a:lnTo>
                        <a:pt x="183" y="239"/>
                      </a:lnTo>
                      <a:lnTo>
                        <a:pt x="181" y="234"/>
                      </a:lnTo>
                      <a:lnTo>
                        <a:pt x="181" y="222"/>
                      </a:lnTo>
                      <a:lnTo>
                        <a:pt x="181" y="222"/>
                      </a:lnTo>
                      <a:lnTo>
                        <a:pt x="183" y="218"/>
                      </a:lnTo>
                      <a:lnTo>
                        <a:pt x="186" y="215"/>
                      </a:lnTo>
                      <a:lnTo>
                        <a:pt x="192" y="213"/>
                      </a:lnTo>
                      <a:lnTo>
                        <a:pt x="197" y="211"/>
                      </a:lnTo>
                      <a:lnTo>
                        <a:pt x="213" y="209"/>
                      </a:lnTo>
                      <a:lnTo>
                        <a:pt x="232" y="211"/>
                      </a:lnTo>
                      <a:lnTo>
                        <a:pt x="253" y="213"/>
                      </a:lnTo>
                      <a:lnTo>
                        <a:pt x="274" y="216"/>
                      </a:lnTo>
                      <a:lnTo>
                        <a:pt x="293" y="222"/>
                      </a:lnTo>
                      <a:lnTo>
                        <a:pt x="308" y="227"/>
                      </a:lnTo>
                      <a:lnTo>
                        <a:pt x="308" y="227"/>
                      </a:lnTo>
                      <a:lnTo>
                        <a:pt x="319" y="232"/>
                      </a:lnTo>
                      <a:lnTo>
                        <a:pt x="329" y="239"/>
                      </a:lnTo>
                      <a:lnTo>
                        <a:pt x="341" y="253"/>
                      </a:lnTo>
                      <a:lnTo>
                        <a:pt x="348" y="260"/>
                      </a:lnTo>
                      <a:lnTo>
                        <a:pt x="357" y="263"/>
                      </a:lnTo>
                      <a:lnTo>
                        <a:pt x="366" y="265"/>
                      </a:lnTo>
                      <a:lnTo>
                        <a:pt x="378" y="265"/>
                      </a:lnTo>
                      <a:lnTo>
                        <a:pt x="378" y="265"/>
                      </a:lnTo>
                      <a:lnTo>
                        <a:pt x="388" y="262"/>
                      </a:lnTo>
                      <a:lnTo>
                        <a:pt x="392" y="260"/>
                      </a:lnTo>
                      <a:lnTo>
                        <a:pt x="390" y="258"/>
                      </a:lnTo>
                      <a:lnTo>
                        <a:pt x="383" y="255"/>
                      </a:lnTo>
                      <a:lnTo>
                        <a:pt x="362" y="246"/>
                      </a:lnTo>
                      <a:lnTo>
                        <a:pt x="348" y="239"/>
                      </a:lnTo>
                      <a:lnTo>
                        <a:pt x="334" y="230"/>
                      </a:lnTo>
                      <a:lnTo>
                        <a:pt x="334" y="230"/>
                      </a:lnTo>
                      <a:lnTo>
                        <a:pt x="314" y="216"/>
                      </a:lnTo>
                      <a:lnTo>
                        <a:pt x="310" y="213"/>
                      </a:lnTo>
                      <a:lnTo>
                        <a:pt x="312" y="211"/>
                      </a:lnTo>
                      <a:lnTo>
                        <a:pt x="314" y="209"/>
                      </a:lnTo>
                      <a:lnTo>
                        <a:pt x="321" y="208"/>
                      </a:lnTo>
                      <a:lnTo>
                        <a:pt x="336" y="204"/>
                      </a:lnTo>
                      <a:lnTo>
                        <a:pt x="392" y="194"/>
                      </a:lnTo>
                      <a:lnTo>
                        <a:pt x="392" y="194"/>
                      </a:lnTo>
                      <a:lnTo>
                        <a:pt x="455" y="182"/>
                      </a:lnTo>
                      <a:lnTo>
                        <a:pt x="495" y="175"/>
                      </a:lnTo>
                      <a:lnTo>
                        <a:pt x="505" y="171"/>
                      </a:lnTo>
                      <a:lnTo>
                        <a:pt x="507" y="171"/>
                      </a:lnTo>
                      <a:lnTo>
                        <a:pt x="507" y="169"/>
                      </a:lnTo>
                      <a:lnTo>
                        <a:pt x="500" y="169"/>
                      </a:lnTo>
                      <a:lnTo>
                        <a:pt x="484" y="168"/>
                      </a:lnTo>
                      <a:lnTo>
                        <a:pt x="484" y="168"/>
                      </a:lnTo>
                      <a:lnTo>
                        <a:pt x="476" y="168"/>
                      </a:lnTo>
                      <a:lnTo>
                        <a:pt x="469" y="166"/>
                      </a:lnTo>
                      <a:lnTo>
                        <a:pt x="465" y="162"/>
                      </a:lnTo>
                      <a:lnTo>
                        <a:pt x="463" y="159"/>
                      </a:lnTo>
                      <a:lnTo>
                        <a:pt x="463" y="157"/>
                      </a:lnTo>
                      <a:lnTo>
                        <a:pt x="465" y="154"/>
                      </a:lnTo>
                      <a:lnTo>
                        <a:pt x="469" y="147"/>
                      </a:lnTo>
                      <a:lnTo>
                        <a:pt x="474" y="142"/>
                      </a:lnTo>
                      <a:lnTo>
                        <a:pt x="474" y="140"/>
                      </a:lnTo>
                      <a:lnTo>
                        <a:pt x="451" y="150"/>
                      </a:lnTo>
                      <a:lnTo>
                        <a:pt x="451" y="150"/>
                      </a:lnTo>
                      <a:lnTo>
                        <a:pt x="430" y="162"/>
                      </a:lnTo>
                      <a:lnTo>
                        <a:pt x="406" y="171"/>
                      </a:lnTo>
                      <a:lnTo>
                        <a:pt x="383" y="178"/>
                      </a:lnTo>
                      <a:lnTo>
                        <a:pt x="362" y="185"/>
                      </a:lnTo>
                      <a:lnTo>
                        <a:pt x="341" y="189"/>
                      </a:lnTo>
                      <a:lnTo>
                        <a:pt x="324" y="190"/>
                      </a:lnTo>
                      <a:lnTo>
                        <a:pt x="310" y="189"/>
                      </a:lnTo>
                      <a:lnTo>
                        <a:pt x="300" y="185"/>
                      </a:lnTo>
                      <a:lnTo>
                        <a:pt x="300" y="185"/>
                      </a:lnTo>
                      <a:lnTo>
                        <a:pt x="293" y="183"/>
                      </a:lnTo>
                      <a:lnTo>
                        <a:pt x="289" y="183"/>
                      </a:lnTo>
                      <a:lnTo>
                        <a:pt x="282" y="189"/>
                      </a:lnTo>
                      <a:lnTo>
                        <a:pt x="275" y="192"/>
                      </a:lnTo>
                      <a:lnTo>
                        <a:pt x="263" y="194"/>
                      </a:lnTo>
                      <a:lnTo>
                        <a:pt x="246" y="195"/>
                      </a:lnTo>
                      <a:lnTo>
                        <a:pt x="220" y="195"/>
                      </a:lnTo>
                      <a:lnTo>
                        <a:pt x="220" y="195"/>
                      </a:lnTo>
                      <a:lnTo>
                        <a:pt x="193" y="192"/>
                      </a:lnTo>
                      <a:lnTo>
                        <a:pt x="180" y="189"/>
                      </a:lnTo>
                      <a:lnTo>
                        <a:pt x="176" y="185"/>
                      </a:lnTo>
                      <a:lnTo>
                        <a:pt x="176" y="183"/>
                      </a:lnTo>
                      <a:lnTo>
                        <a:pt x="176" y="182"/>
                      </a:lnTo>
                      <a:lnTo>
                        <a:pt x="178" y="178"/>
                      </a:lnTo>
                      <a:lnTo>
                        <a:pt x="185" y="175"/>
                      </a:lnTo>
                      <a:lnTo>
                        <a:pt x="193" y="169"/>
                      </a:lnTo>
                      <a:lnTo>
                        <a:pt x="216" y="162"/>
                      </a:lnTo>
                      <a:lnTo>
                        <a:pt x="216" y="162"/>
                      </a:lnTo>
                      <a:lnTo>
                        <a:pt x="221" y="161"/>
                      </a:lnTo>
                      <a:lnTo>
                        <a:pt x="223" y="159"/>
                      </a:lnTo>
                      <a:lnTo>
                        <a:pt x="220" y="159"/>
                      </a:lnTo>
                      <a:lnTo>
                        <a:pt x="213" y="159"/>
                      </a:lnTo>
                      <a:lnTo>
                        <a:pt x="202" y="161"/>
                      </a:lnTo>
                      <a:lnTo>
                        <a:pt x="192" y="164"/>
                      </a:lnTo>
                      <a:lnTo>
                        <a:pt x="180" y="169"/>
                      </a:lnTo>
                      <a:lnTo>
                        <a:pt x="166" y="176"/>
                      </a:lnTo>
                      <a:lnTo>
                        <a:pt x="166" y="176"/>
                      </a:lnTo>
                      <a:lnTo>
                        <a:pt x="155" y="183"/>
                      </a:lnTo>
                      <a:lnTo>
                        <a:pt x="145" y="187"/>
                      </a:lnTo>
                      <a:lnTo>
                        <a:pt x="134" y="187"/>
                      </a:lnTo>
                      <a:lnTo>
                        <a:pt x="124" y="185"/>
                      </a:lnTo>
                      <a:lnTo>
                        <a:pt x="105" y="178"/>
                      </a:lnTo>
                      <a:lnTo>
                        <a:pt x="94" y="173"/>
                      </a:lnTo>
                      <a:lnTo>
                        <a:pt x="82" y="169"/>
                      </a:lnTo>
                      <a:lnTo>
                        <a:pt x="82" y="169"/>
                      </a:lnTo>
                      <a:lnTo>
                        <a:pt x="70" y="166"/>
                      </a:lnTo>
                      <a:lnTo>
                        <a:pt x="61" y="162"/>
                      </a:lnTo>
                      <a:lnTo>
                        <a:pt x="56" y="159"/>
                      </a:lnTo>
                      <a:lnTo>
                        <a:pt x="52" y="154"/>
                      </a:lnTo>
                      <a:lnTo>
                        <a:pt x="52" y="150"/>
                      </a:lnTo>
                      <a:lnTo>
                        <a:pt x="54" y="145"/>
                      </a:lnTo>
                      <a:lnTo>
                        <a:pt x="58" y="142"/>
                      </a:lnTo>
                      <a:lnTo>
                        <a:pt x="63" y="136"/>
                      </a:lnTo>
                      <a:lnTo>
                        <a:pt x="63" y="136"/>
                      </a:lnTo>
                      <a:lnTo>
                        <a:pt x="68" y="133"/>
                      </a:lnTo>
                      <a:lnTo>
                        <a:pt x="70" y="131"/>
                      </a:lnTo>
                      <a:lnTo>
                        <a:pt x="63" y="131"/>
                      </a:lnTo>
                      <a:lnTo>
                        <a:pt x="51" y="133"/>
                      </a:lnTo>
                      <a:lnTo>
                        <a:pt x="44" y="131"/>
                      </a:lnTo>
                      <a:lnTo>
                        <a:pt x="37" y="128"/>
                      </a:lnTo>
                      <a:lnTo>
                        <a:pt x="37" y="128"/>
                      </a:lnTo>
                      <a:lnTo>
                        <a:pt x="32" y="126"/>
                      </a:lnTo>
                      <a:lnTo>
                        <a:pt x="26" y="124"/>
                      </a:lnTo>
                      <a:lnTo>
                        <a:pt x="18" y="126"/>
                      </a:lnTo>
                      <a:lnTo>
                        <a:pt x="14" y="126"/>
                      </a:lnTo>
                      <a:lnTo>
                        <a:pt x="9" y="126"/>
                      </a:lnTo>
                      <a:lnTo>
                        <a:pt x="5" y="124"/>
                      </a:lnTo>
                      <a:lnTo>
                        <a:pt x="2" y="119"/>
                      </a:lnTo>
                      <a:lnTo>
                        <a:pt x="2" y="119"/>
                      </a:lnTo>
                      <a:lnTo>
                        <a:pt x="0" y="117"/>
                      </a:lnTo>
                      <a:lnTo>
                        <a:pt x="0" y="114"/>
                      </a:lnTo>
                      <a:lnTo>
                        <a:pt x="2" y="108"/>
                      </a:lnTo>
                      <a:lnTo>
                        <a:pt x="9" y="103"/>
                      </a:lnTo>
                      <a:lnTo>
                        <a:pt x="18" y="98"/>
                      </a:lnTo>
                      <a:lnTo>
                        <a:pt x="30" y="94"/>
                      </a:lnTo>
                      <a:lnTo>
                        <a:pt x="42" y="91"/>
                      </a:lnTo>
                      <a:lnTo>
                        <a:pt x="56" y="91"/>
                      </a:lnTo>
                      <a:lnTo>
                        <a:pt x="68" y="91"/>
                      </a:lnTo>
                      <a:lnTo>
                        <a:pt x="68" y="91"/>
                      </a:lnTo>
                      <a:lnTo>
                        <a:pt x="79" y="93"/>
                      </a:lnTo>
                      <a:lnTo>
                        <a:pt x="85" y="93"/>
                      </a:lnTo>
                      <a:lnTo>
                        <a:pt x="89" y="91"/>
                      </a:lnTo>
                      <a:lnTo>
                        <a:pt x="92" y="89"/>
                      </a:lnTo>
                      <a:lnTo>
                        <a:pt x="96" y="86"/>
                      </a:lnTo>
                      <a:lnTo>
                        <a:pt x="103" y="82"/>
                      </a:lnTo>
                      <a:lnTo>
                        <a:pt x="112" y="79"/>
                      </a:lnTo>
                      <a:lnTo>
                        <a:pt x="126" y="77"/>
                      </a:lnTo>
                      <a:lnTo>
                        <a:pt x="126" y="77"/>
                      </a:lnTo>
                      <a:lnTo>
                        <a:pt x="143" y="75"/>
                      </a:lnTo>
                      <a:lnTo>
                        <a:pt x="157" y="75"/>
                      </a:lnTo>
                      <a:lnTo>
                        <a:pt x="169" y="79"/>
                      </a:lnTo>
                      <a:lnTo>
                        <a:pt x="180" y="81"/>
                      </a:lnTo>
                      <a:lnTo>
                        <a:pt x="197" y="86"/>
                      </a:lnTo>
                      <a:lnTo>
                        <a:pt x="206" y="86"/>
                      </a:lnTo>
                      <a:lnTo>
                        <a:pt x="216" y="84"/>
                      </a:lnTo>
                      <a:lnTo>
                        <a:pt x="216" y="84"/>
                      </a:lnTo>
                      <a:lnTo>
                        <a:pt x="218" y="84"/>
                      </a:lnTo>
                      <a:lnTo>
                        <a:pt x="220" y="82"/>
                      </a:lnTo>
                      <a:lnTo>
                        <a:pt x="214" y="81"/>
                      </a:lnTo>
                      <a:lnTo>
                        <a:pt x="193" y="75"/>
                      </a:lnTo>
                      <a:lnTo>
                        <a:pt x="183" y="72"/>
                      </a:lnTo>
                      <a:lnTo>
                        <a:pt x="178" y="70"/>
                      </a:lnTo>
                      <a:lnTo>
                        <a:pt x="178" y="68"/>
                      </a:lnTo>
                      <a:lnTo>
                        <a:pt x="180" y="68"/>
                      </a:lnTo>
                      <a:lnTo>
                        <a:pt x="193" y="65"/>
                      </a:lnTo>
                      <a:lnTo>
                        <a:pt x="193" y="65"/>
                      </a:lnTo>
                      <a:lnTo>
                        <a:pt x="207" y="63"/>
                      </a:lnTo>
                      <a:lnTo>
                        <a:pt x="214" y="60"/>
                      </a:lnTo>
                      <a:lnTo>
                        <a:pt x="216" y="58"/>
                      </a:lnTo>
                      <a:lnTo>
                        <a:pt x="214" y="56"/>
                      </a:lnTo>
                      <a:lnTo>
                        <a:pt x="213" y="53"/>
                      </a:lnTo>
                      <a:lnTo>
                        <a:pt x="211" y="49"/>
                      </a:lnTo>
                      <a:lnTo>
                        <a:pt x="211" y="46"/>
                      </a:lnTo>
                      <a:lnTo>
                        <a:pt x="216" y="44"/>
                      </a:lnTo>
                      <a:lnTo>
                        <a:pt x="228" y="44"/>
                      </a:lnTo>
                      <a:lnTo>
                        <a:pt x="228" y="44"/>
                      </a:lnTo>
                      <a:lnTo>
                        <a:pt x="242" y="46"/>
                      </a:lnTo>
                      <a:lnTo>
                        <a:pt x="249" y="47"/>
                      </a:lnTo>
                      <a:lnTo>
                        <a:pt x="251" y="49"/>
                      </a:lnTo>
                      <a:lnTo>
                        <a:pt x="253" y="51"/>
                      </a:lnTo>
                      <a:lnTo>
                        <a:pt x="253" y="53"/>
                      </a:lnTo>
                      <a:lnTo>
                        <a:pt x="254" y="54"/>
                      </a:lnTo>
                      <a:lnTo>
                        <a:pt x="260" y="56"/>
                      </a:lnTo>
                      <a:lnTo>
                        <a:pt x="270" y="58"/>
                      </a:lnTo>
                      <a:lnTo>
                        <a:pt x="270" y="58"/>
                      </a:lnTo>
                      <a:lnTo>
                        <a:pt x="294" y="61"/>
                      </a:lnTo>
                      <a:lnTo>
                        <a:pt x="305" y="61"/>
                      </a:lnTo>
                      <a:lnTo>
                        <a:pt x="312" y="60"/>
                      </a:lnTo>
                      <a:lnTo>
                        <a:pt x="317" y="58"/>
                      </a:lnTo>
                      <a:lnTo>
                        <a:pt x="322" y="54"/>
                      </a:lnTo>
                      <a:lnTo>
                        <a:pt x="326" y="49"/>
                      </a:lnTo>
                      <a:lnTo>
                        <a:pt x="328" y="44"/>
                      </a:lnTo>
                      <a:lnTo>
                        <a:pt x="328" y="44"/>
                      </a:lnTo>
                      <a:lnTo>
                        <a:pt x="329" y="41"/>
                      </a:lnTo>
                      <a:lnTo>
                        <a:pt x="333" y="39"/>
                      </a:lnTo>
                      <a:lnTo>
                        <a:pt x="340" y="37"/>
                      </a:lnTo>
                      <a:lnTo>
                        <a:pt x="350" y="37"/>
                      </a:lnTo>
                      <a:lnTo>
                        <a:pt x="359" y="39"/>
                      </a:lnTo>
                      <a:lnTo>
                        <a:pt x="368" y="41"/>
                      </a:lnTo>
                      <a:lnTo>
                        <a:pt x="373" y="41"/>
                      </a:lnTo>
                      <a:lnTo>
                        <a:pt x="375" y="41"/>
                      </a:lnTo>
                      <a:lnTo>
                        <a:pt x="373" y="39"/>
                      </a:lnTo>
                      <a:lnTo>
                        <a:pt x="368" y="32"/>
                      </a:lnTo>
                      <a:lnTo>
                        <a:pt x="368" y="32"/>
                      </a:lnTo>
                      <a:lnTo>
                        <a:pt x="361" y="25"/>
                      </a:lnTo>
                      <a:lnTo>
                        <a:pt x="359" y="21"/>
                      </a:lnTo>
                      <a:lnTo>
                        <a:pt x="361" y="20"/>
                      </a:lnTo>
                      <a:lnTo>
                        <a:pt x="366" y="20"/>
                      </a:lnTo>
                      <a:lnTo>
                        <a:pt x="375" y="21"/>
                      </a:lnTo>
                      <a:lnTo>
                        <a:pt x="383" y="21"/>
                      </a:lnTo>
                      <a:lnTo>
                        <a:pt x="394" y="20"/>
                      </a:lnTo>
                      <a:lnTo>
                        <a:pt x="404" y="16"/>
                      </a:lnTo>
                      <a:lnTo>
                        <a:pt x="404" y="16"/>
                      </a:lnTo>
                      <a:lnTo>
                        <a:pt x="415" y="11"/>
                      </a:lnTo>
                      <a:lnTo>
                        <a:pt x="425" y="11"/>
                      </a:lnTo>
                      <a:lnTo>
                        <a:pt x="435" y="11"/>
                      </a:lnTo>
                      <a:lnTo>
                        <a:pt x="446" y="14"/>
                      </a:lnTo>
                      <a:lnTo>
                        <a:pt x="456" y="16"/>
                      </a:lnTo>
                      <a:lnTo>
                        <a:pt x="470" y="18"/>
                      </a:lnTo>
                      <a:lnTo>
                        <a:pt x="484" y="20"/>
                      </a:lnTo>
                      <a:lnTo>
                        <a:pt x="498" y="16"/>
                      </a:lnTo>
                      <a:lnTo>
                        <a:pt x="498" y="16"/>
                      </a:lnTo>
                      <a:lnTo>
                        <a:pt x="529" y="11"/>
                      </a:lnTo>
                      <a:lnTo>
                        <a:pt x="556" y="9"/>
                      </a:lnTo>
                      <a:lnTo>
                        <a:pt x="578" y="7"/>
                      </a:lnTo>
                      <a:lnTo>
                        <a:pt x="599" y="9"/>
                      </a:lnTo>
                      <a:lnTo>
                        <a:pt x="632" y="13"/>
                      </a:lnTo>
                      <a:lnTo>
                        <a:pt x="648" y="13"/>
                      </a:lnTo>
                      <a:lnTo>
                        <a:pt x="662" y="9"/>
                      </a:lnTo>
                      <a:lnTo>
                        <a:pt x="662" y="9"/>
                      </a:lnTo>
                      <a:lnTo>
                        <a:pt x="674" y="6"/>
                      </a:lnTo>
                      <a:lnTo>
                        <a:pt x="684" y="4"/>
                      </a:lnTo>
                      <a:lnTo>
                        <a:pt x="702" y="4"/>
                      </a:lnTo>
                      <a:lnTo>
                        <a:pt x="721" y="4"/>
                      </a:lnTo>
                      <a:lnTo>
                        <a:pt x="745" y="0"/>
                      </a:lnTo>
                      <a:lnTo>
                        <a:pt x="745" y="0"/>
                      </a:lnTo>
                      <a:lnTo>
                        <a:pt x="759" y="0"/>
                      </a:lnTo>
                      <a:lnTo>
                        <a:pt x="772" y="0"/>
                      </a:lnTo>
                      <a:lnTo>
                        <a:pt x="782" y="2"/>
                      </a:lnTo>
                      <a:lnTo>
                        <a:pt x="794" y="6"/>
                      </a:lnTo>
                      <a:lnTo>
                        <a:pt x="819" y="11"/>
                      </a:lnTo>
                      <a:lnTo>
                        <a:pt x="834" y="14"/>
                      </a:lnTo>
                      <a:lnTo>
                        <a:pt x="852" y="14"/>
                      </a:lnTo>
                      <a:lnTo>
                        <a:pt x="852" y="14"/>
                      </a:lnTo>
                      <a:lnTo>
                        <a:pt x="867" y="14"/>
                      </a:lnTo>
                      <a:lnTo>
                        <a:pt x="876" y="16"/>
                      </a:lnTo>
                      <a:lnTo>
                        <a:pt x="876" y="18"/>
                      </a:lnTo>
                      <a:lnTo>
                        <a:pt x="878" y="18"/>
                      </a:lnTo>
                      <a:lnTo>
                        <a:pt x="874" y="21"/>
                      </a:lnTo>
                      <a:lnTo>
                        <a:pt x="857" y="27"/>
                      </a:lnTo>
                      <a:lnTo>
                        <a:pt x="832" y="32"/>
                      </a:lnTo>
                      <a:lnTo>
                        <a:pt x="832" y="32"/>
                      </a:lnTo>
                      <a:lnTo>
                        <a:pt x="825" y="34"/>
                      </a:lnTo>
                      <a:lnTo>
                        <a:pt x="824" y="34"/>
                      </a:lnTo>
                      <a:lnTo>
                        <a:pt x="824" y="35"/>
                      </a:lnTo>
                      <a:lnTo>
                        <a:pt x="836" y="35"/>
                      </a:lnTo>
                      <a:lnTo>
                        <a:pt x="860" y="34"/>
                      </a:lnTo>
                      <a:lnTo>
                        <a:pt x="873" y="30"/>
                      </a:lnTo>
                      <a:lnTo>
                        <a:pt x="885" y="27"/>
                      </a:lnTo>
                      <a:lnTo>
                        <a:pt x="885" y="27"/>
                      </a:lnTo>
                      <a:lnTo>
                        <a:pt x="904" y="20"/>
                      </a:lnTo>
                      <a:lnTo>
                        <a:pt x="914" y="18"/>
                      </a:lnTo>
                      <a:lnTo>
                        <a:pt x="923" y="20"/>
                      </a:lnTo>
                      <a:lnTo>
                        <a:pt x="937" y="18"/>
                      </a:lnTo>
                      <a:lnTo>
                        <a:pt x="937" y="18"/>
                      </a:lnTo>
                      <a:lnTo>
                        <a:pt x="953" y="18"/>
                      </a:lnTo>
                      <a:lnTo>
                        <a:pt x="975" y="20"/>
                      </a:lnTo>
                      <a:lnTo>
                        <a:pt x="987" y="23"/>
                      </a:lnTo>
                      <a:lnTo>
                        <a:pt x="996" y="27"/>
                      </a:lnTo>
                      <a:lnTo>
                        <a:pt x="1003" y="32"/>
                      </a:lnTo>
                      <a:lnTo>
                        <a:pt x="1005" y="35"/>
                      </a:lnTo>
                      <a:lnTo>
                        <a:pt x="1005" y="39"/>
                      </a:lnTo>
                      <a:lnTo>
                        <a:pt x="1005" y="39"/>
                      </a:lnTo>
                      <a:lnTo>
                        <a:pt x="1007" y="42"/>
                      </a:lnTo>
                      <a:lnTo>
                        <a:pt x="1008" y="44"/>
                      </a:lnTo>
                      <a:lnTo>
                        <a:pt x="1015" y="47"/>
                      </a:lnTo>
                      <a:lnTo>
                        <a:pt x="1027" y="49"/>
                      </a:lnTo>
                      <a:lnTo>
                        <a:pt x="1040" y="49"/>
                      </a:lnTo>
                      <a:lnTo>
                        <a:pt x="1054" y="49"/>
                      </a:lnTo>
                      <a:lnTo>
                        <a:pt x="1064" y="51"/>
                      </a:lnTo>
                      <a:lnTo>
                        <a:pt x="1073" y="54"/>
                      </a:lnTo>
                      <a:lnTo>
                        <a:pt x="1074" y="56"/>
                      </a:lnTo>
                      <a:lnTo>
                        <a:pt x="1076" y="60"/>
                      </a:lnTo>
                      <a:lnTo>
                        <a:pt x="1076" y="60"/>
                      </a:lnTo>
                      <a:lnTo>
                        <a:pt x="1074" y="63"/>
                      </a:lnTo>
                      <a:lnTo>
                        <a:pt x="1071" y="67"/>
                      </a:lnTo>
                      <a:lnTo>
                        <a:pt x="1059" y="74"/>
                      </a:lnTo>
                      <a:lnTo>
                        <a:pt x="1041" y="81"/>
                      </a:lnTo>
                      <a:lnTo>
                        <a:pt x="1019" y="88"/>
                      </a:lnTo>
                      <a:lnTo>
                        <a:pt x="972" y="98"/>
                      </a:lnTo>
                      <a:lnTo>
                        <a:pt x="932" y="105"/>
                      </a:lnTo>
                      <a:lnTo>
                        <a:pt x="932" y="105"/>
                      </a:lnTo>
                      <a:lnTo>
                        <a:pt x="899" y="114"/>
                      </a:lnTo>
                      <a:lnTo>
                        <a:pt x="874" y="121"/>
                      </a:lnTo>
                      <a:lnTo>
                        <a:pt x="869" y="122"/>
                      </a:lnTo>
                      <a:lnTo>
                        <a:pt x="869" y="124"/>
                      </a:lnTo>
                      <a:lnTo>
                        <a:pt x="871" y="124"/>
                      </a:lnTo>
                      <a:lnTo>
                        <a:pt x="881" y="126"/>
                      </a:lnTo>
                      <a:lnTo>
                        <a:pt x="902" y="124"/>
                      </a:lnTo>
                      <a:lnTo>
                        <a:pt x="902" y="124"/>
                      </a:lnTo>
                      <a:lnTo>
                        <a:pt x="942" y="121"/>
                      </a:lnTo>
                      <a:lnTo>
                        <a:pt x="953" y="122"/>
                      </a:lnTo>
                      <a:lnTo>
                        <a:pt x="954" y="122"/>
                      </a:lnTo>
                      <a:lnTo>
                        <a:pt x="954" y="124"/>
                      </a:lnTo>
                      <a:lnTo>
                        <a:pt x="949" y="128"/>
                      </a:lnTo>
                      <a:lnTo>
                        <a:pt x="937" y="135"/>
                      </a:lnTo>
                      <a:lnTo>
                        <a:pt x="886" y="155"/>
                      </a:lnTo>
                      <a:lnTo>
                        <a:pt x="886" y="155"/>
                      </a:lnTo>
                      <a:lnTo>
                        <a:pt x="829" y="178"/>
                      </a:lnTo>
                      <a:lnTo>
                        <a:pt x="784" y="199"/>
                      </a:lnTo>
                      <a:lnTo>
                        <a:pt x="766" y="208"/>
                      </a:lnTo>
                      <a:lnTo>
                        <a:pt x="752" y="216"/>
                      </a:lnTo>
                      <a:lnTo>
                        <a:pt x="740" y="225"/>
                      </a:lnTo>
                      <a:lnTo>
                        <a:pt x="731" y="236"/>
                      </a:lnTo>
                      <a:lnTo>
                        <a:pt x="731" y="236"/>
                      </a:lnTo>
                      <a:lnTo>
                        <a:pt x="723" y="242"/>
                      </a:lnTo>
                      <a:lnTo>
                        <a:pt x="714" y="249"/>
                      </a:lnTo>
                      <a:lnTo>
                        <a:pt x="705" y="253"/>
                      </a:lnTo>
                      <a:lnTo>
                        <a:pt x="695" y="255"/>
                      </a:lnTo>
                      <a:lnTo>
                        <a:pt x="686" y="255"/>
                      </a:lnTo>
                      <a:lnTo>
                        <a:pt x="677" y="255"/>
                      </a:lnTo>
                      <a:lnTo>
                        <a:pt x="669" y="253"/>
                      </a:lnTo>
                      <a:lnTo>
                        <a:pt x="662" y="249"/>
                      </a:lnTo>
                      <a:lnTo>
                        <a:pt x="662" y="249"/>
                      </a:lnTo>
                      <a:lnTo>
                        <a:pt x="657" y="248"/>
                      </a:lnTo>
                      <a:lnTo>
                        <a:pt x="653" y="248"/>
                      </a:lnTo>
                      <a:lnTo>
                        <a:pt x="655" y="253"/>
                      </a:lnTo>
                      <a:lnTo>
                        <a:pt x="653" y="256"/>
                      </a:lnTo>
                      <a:lnTo>
                        <a:pt x="651" y="262"/>
                      </a:lnTo>
                      <a:lnTo>
                        <a:pt x="646" y="265"/>
                      </a:lnTo>
                      <a:lnTo>
                        <a:pt x="634" y="267"/>
                      </a:lnTo>
                      <a:lnTo>
                        <a:pt x="634" y="267"/>
                      </a:lnTo>
                      <a:lnTo>
                        <a:pt x="601" y="269"/>
                      </a:lnTo>
                      <a:lnTo>
                        <a:pt x="561" y="270"/>
                      </a:lnTo>
                      <a:lnTo>
                        <a:pt x="524" y="274"/>
                      </a:lnTo>
                      <a:lnTo>
                        <a:pt x="510" y="276"/>
                      </a:lnTo>
                      <a:lnTo>
                        <a:pt x="503" y="279"/>
                      </a:lnTo>
                      <a:lnTo>
                        <a:pt x="503" y="279"/>
                      </a:lnTo>
                      <a:lnTo>
                        <a:pt x="500" y="283"/>
                      </a:lnTo>
                      <a:lnTo>
                        <a:pt x="502" y="284"/>
                      </a:lnTo>
                      <a:lnTo>
                        <a:pt x="507" y="286"/>
                      </a:lnTo>
                      <a:lnTo>
                        <a:pt x="516" y="286"/>
                      </a:lnTo>
                      <a:lnTo>
                        <a:pt x="535" y="286"/>
                      </a:lnTo>
                      <a:lnTo>
                        <a:pt x="556" y="286"/>
                      </a:lnTo>
                      <a:lnTo>
                        <a:pt x="556" y="286"/>
                      </a:lnTo>
                      <a:lnTo>
                        <a:pt x="571" y="284"/>
                      </a:lnTo>
                      <a:lnTo>
                        <a:pt x="585" y="283"/>
                      </a:lnTo>
                      <a:lnTo>
                        <a:pt x="590" y="283"/>
                      </a:lnTo>
                      <a:lnTo>
                        <a:pt x="596" y="284"/>
                      </a:lnTo>
                      <a:lnTo>
                        <a:pt x="599" y="289"/>
                      </a:lnTo>
                      <a:lnTo>
                        <a:pt x="603" y="296"/>
                      </a:lnTo>
                      <a:lnTo>
                        <a:pt x="603" y="296"/>
                      </a:lnTo>
                      <a:lnTo>
                        <a:pt x="604" y="300"/>
                      </a:lnTo>
                      <a:lnTo>
                        <a:pt x="603" y="302"/>
                      </a:lnTo>
                      <a:lnTo>
                        <a:pt x="601" y="303"/>
                      </a:lnTo>
                      <a:lnTo>
                        <a:pt x="596" y="303"/>
                      </a:lnTo>
                      <a:lnTo>
                        <a:pt x="585" y="303"/>
                      </a:lnTo>
                      <a:lnTo>
                        <a:pt x="575" y="302"/>
                      </a:lnTo>
                      <a:lnTo>
                        <a:pt x="564" y="302"/>
                      </a:lnTo>
                      <a:lnTo>
                        <a:pt x="561" y="302"/>
                      </a:lnTo>
                      <a:lnTo>
                        <a:pt x="561" y="302"/>
                      </a:lnTo>
                      <a:lnTo>
                        <a:pt x="563" y="303"/>
                      </a:lnTo>
                      <a:lnTo>
                        <a:pt x="575" y="310"/>
                      </a:lnTo>
                      <a:lnTo>
                        <a:pt x="575" y="310"/>
                      </a:lnTo>
                      <a:lnTo>
                        <a:pt x="589" y="319"/>
                      </a:lnTo>
                      <a:lnTo>
                        <a:pt x="594" y="324"/>
                      </a:lnTo>
                      <a:lnTo>
                        <a:pt x="594" y="326"/>
                      </a:lnTo>
                      <a:lnTo>
                        <a:pt x="594" y="328"/>
                      </a:lnTo>
                      <a:lnTo>
                        <a:pt x="590" y="331"/>
                      </a:lnTo>
                      <a:lnTo>
                        <a:pt x="580" y="338"/>
                      </a:lnTo>
                      <a:lnTo>
                        <a:pt x="577" y="340"/>
                      </a:lnTo>
                      <a:lnTo>
                        <a:pt x="577" y="343"/>
                      </a:lnTo>
                      <a:lnTo>
                        <a:pt x="578" y="345"/>
                      </a:lnTo>
                      <a:lnTo>
                        <a:pt x="578" y="345"/>
                      </a:lnTo>
                      <a:lnTo>
                        <a:pt x="580" y="347"/>
                      </a:lnTo>
                      <a:lnTo>
                        <a:pt x="580" y="350"/>
                      </a:lnTo>
                      <a:lnTo>
                        <a:pt x="578" y="357"/>
                      </a:lnTo>
                      <a:lnTo>
                        <a:pt x="573" y="363"/>
                      </a:lnTo>
                      <a:lnTo>
                        <a:pt x="564" y="370"/>
                      </a:lnTo>
                      <a:lnTo>
                        <a:pt x="552" y="375"/>
                      </a:lnTo>
                      <a:lnTo>
                        <a:pt x="538" y="378"/>
                      </a:lnTo>
                      <a:lnTo>
                        <a:pt x="523" y="378"/>
                      </a:lnTo>
                      <a:lnTo>
                        <a:pt x="505" y="377"/>
                      </a:lnTo>
                      <a:lnTo>
                        <a:pt x="505" y="377"/>
                      </a:lnTo>
                      <a:lnTo>
                        <a:pt x="486" y="375"/>
                      </a:lnTo>
                      <a:lnTo>
                        <a:pt x="477" y="375"/>
                      </a:lnTo>
                      <a:lnTo>
                        <a:pt x="476" y="377"/>
                      </a:lnTo>
                      <a:lnTo>
                        <a:pt x="474" y="378"/>
                      </a:lnTo>
                      <a:lnTo>
                        <a:pt x="476" y="384"/>
                      </a:lnTo>
                      <a:lnTo>
                        <a:pt x="481" y="390"/>
                      </a:lnTo>
                      <a:lnTo>
                        <a:pt x="482" y="397"/>
                      </a:lnTo>
                      <a:lnTo>
                        <a:pt x="484" y="401"/>
                      </a:lnTo>
                      <a:lnTo>
                        <a:pt x="482" y="404"/>
                      </a:lnTo>
                      <a:lnTo>
                        <a:pt x="481" y="408"/>
                      </a:lnTo>
                      <a:lnTo>
                        <a:pt x="477" y="411"/>
                      </a:lnTo>
                      <a:lnTo>
                        <a:pt x="477" y="411"/>
                      </a:lnTo>
                      <a:lnTo>
                        <a:pt x="462" y="418"/>
                      </a:lnTo>
                      <a:lnTo>
                        <a:pt x="451" y="424"/>
                      </a:lnTo>
                      <a:lnTo>
                        <a:pt x="448" y="427"/>
                      </a:lnTo>
                      <a:lnTo>
                        <a:pt x="444" y="431"/>
                      </a:lnTo>
                      <a:lnTo>
                        <a:pt x="442" y="434"/>
                      </a:lnTo>
                      <a:lnTo>
                        <a:pt x="442" y="441"/>
                      </a:lnTo>
                      <a:lnTo>
                        <a:pt x="442" y="441"/>
                      </a:lnTo>
                      <a:lnTo>
                        <a:pt x="442" y="444"/>
                      </a:lnTo>
                      <a:lnTo>
                        <a:pt x="444" y="446"/>
                      </a:lnTo>
                      <a:lnTo>
                        <a:pt x="449" y="448"/>
                      </a:lnTo>
                      <a:lnTo>
                        <a:pt x="456" y="448"/>
                      </a:lnTo>
                      <a:lnTo>
                        <a:pt x="467" y="446"/>
                      </a:lnTo>
                      <a:lnTo>
                        <a:pt x="476" y="446"/>
                      </a:lnTo>
                      <a:lnTo>
                        <a:pt x="482" y="446"/>
                      </a:lnTo>
                      <a:lnTo>
                        <a:pt x="484" y="448"/>
                      </a:lnTo>
                      <a:lnTo>
                        <a:pt x="488" y="450"/>
                      </a:lnTo>
                      <a:lnTo>
                        <a:pt x="488" y="453"/>
                      </a:lnTo>
                      <a:lnTo>
                        <a:pt x="488" y="458"/>
                      </a:lnTo>
                      <a:lnTo>
                        <a:pt x="488" y="458"/>
                      </a:lnTo>
                      <a:lnTo>
                        <a:pt x="486" y="469"/>
                      </a:lnTo>
                      <a:lnTo>
                        <a:pt x="482" y="476"/>
                      </a:lnTo>
                      <a:lnTo>
                        <a:pt x="477" y="478"/>
                      </a:lnTo>
                      <a:lnTo>
                        <a:pt x="472" y="479"/>
                      </a:lnTo>
                      <a:lnTo>
                        <a:pt x="458" y="479"/>
                      </a:lnTo>
                      <a:lnTo>
                        <a:pt x="451" y="481"/>
                      </a:lnTo>
                      <a:lnTo>
                        <a:pt x="442" y="485"/>
                      </a:lnTo>
                      <a:lnTo>
                        <a:pt x="442" y="485"/>
                      </a:lnTo>
                      <a:lnTo>
                        <a:pt x="422" y="495"/>
                      </a:lnTo>
                      <a:lnTo>
                        <a:pt x="411" y="500"/>
                      </a:lnTo>
                      <a:lnTo>
                        <a:pt x="401" y="502"/>
                      </a:lnTo>
                      <a:lnTo>
                        <a:pt x="390" y="504"/>
                      </a:lnTo>
                      <a:lnTo>
                        <a:pt x="385" y="500"/>
                      </a:lnTo>
                      <a:lnTo>
                        <a:pt x="381" y="498"/>
                      </a:lnTo>
                      <a:lnTo>
                        <a:pt x="381" y="495"/>
                      </a:lnTo>
                      <a:lnTo>
                        <a:pt x="381" y="491"/>
                      </a:lnTo>
                      <a:lnTo>
                        <a:pt x="381" y="486"/>
                      </a:lnTo>
                      <a:lnTo>
                        <a:pt x="381" y="486"/>
                      </a:lnTo>
                      <a:lnTo>
                        <a:pt x="383" y="483"/>
                      </a:lnTo>
                      <a:lnTo>
                        <a:pt x="381" y="479"/>
                      </a:lnTo>
                      <a:lnTo>
                        <a:pt x="380" y="478"/>
                      </a:lnTo>
                      <a:lnTo>
                        <a:pt x="378" y="476"/>
                      </a:lnTo>
                      <a:lnTo>
                        <a:pt x="369" y="478"/>
                      </a:lnTo>
                      <a:lnTo>
                        <a:pt x="357" y="481"/>
                      </a:lnTo>
                      <a:lnTo>
                        <a:pt x="341" y="485"/>
                      </a:lnTo>
                      <a:lnTo>
                        <a:pt x="326" y="488"/>
                      </a:lnTo>
                      <a:lnTo>
                        <a:pt x="308" y="488"/>
                      </a:lnTo>
                      <a:lnTo>
                        <a:pt x="300" y="488"/>
                      </a:lnTo>
                      <a:lnTo>
                        <a:pt x="293" y="485"/>
                      </a:lnTo>
                      <a:lnTo>
                        <a:pt x="293" y="485"/>
                      </a:lnTo>
                      <a:lnTo>
                        <a:pt x="279" y="481"/>
                      </a:lnTo>
                      <a:lnTo>
                        <a:pt x="270" y="481"/>
                      </a:lnTo>
                      <a:lnTo>
                        <a:pt x="265" y="481"/>
                      </a:lnTo>
                      <a:lnTo>
                        <a:pt x="261" y="485"/>
                      </a:lnTo>
                      <a:lnTo>
                        <a:pt x="260" y="488"/>
                      </a:lnTo>
                      <a:lnTo>
                        <a:pt x="254" y="491"/>
                      </a:lnTo>
                      <a:lnTo>
                        <a:pt x="247" y="493"/>
                      </a:lnTo>
                      <a:lnTo>
                        <a:pt x="235" y="493"/>
                      </a:lnTo>
                      <a:lnTo>
                        <a:pt x="235" y="493"/>
                      </a:lnTo>
                      <a:lnTo>
                        <a:pt x="221" y="491"/>
                      </a:lnTo>
                      <a:lnTo>
                        <a:pt x="211" y="490"/>
                      </a:lnTo>
                      <a:lnTo>
                        <a:pt x="195" y="485"/>
                      </a:lnTo>
                      <a:lnTo>
                        <a:pt x="183" y="481"/>
                      </a:lnTo>
                      <a:lnTo>
                        <a:pt x="178" y="479"/>
                      </a:lnTo>
                      <a:lnTo>
                        <a:pt x="173" y="481"/>
                      </a:lnTo>
                      <a:lnTo>
                        <a:pt x="173" y="481"/>
                      </a:lnTo>
                      <a:lnTo>
                        <a:pt x="160" y="486"/>
                      </a:lnTo>
                      <a:lnTo>
                        <a:pt x="146" y="491"/>
                      </a:lnTo>
                      <a:lnTo>
                        <a:pt x="139" y="491"/>
                      </a:lnTo>
                      <a:lnTo>
                        <a:pt x="132" y="491"/>
                      </a:lnTo>
                      <a:lnTo>
                        <a:pt x="126" y="490"/>
                      </a:lnTo>
                      <a:lnTo>
                        <a:pt x="119" y="486"/>
                      </a:lnTo>
                      <a:lnTo>
                        <a:pt x="119" y="486"/>
                      </a:lnTo>
                      <a:lnTo>
                        <a:pt x="113" y="483"/>
                      </a:lnTo>
                      <a:lnTo>
                        <a:pt x="108" y="481"/>
                      </a:lnTo>
                      <a:lnTo>
                        <a:pt x="98" y="481"/>
                      </a:lnTo>
                      <a:lnTo>
                        <a:pt x="91" y="481"/>
                      </a:lnTo>
                      <a:lnTo>
                        <a:pt x="85" y="481"/>
                      </a:lnTo>
                      <a:lnTo>
                        <a:pt x="82" y="479"/>
                      </a:lnTo>
                      <a:lnTo>
                        <a:pt x="82" y="47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1" name="Freeform 1720">
                  <a:extLst>
                    <a:ext uri="{FF2B5EF4-FFF2-40B4-BE49-F238E27FC236}">
                      <a16:creationId xmlns:a16="http://schemas.microsoft.com/office/drawing/2014/main" id="{8365CA9E-DD23-A00E-8D3F-7C7D7A621DD2}"/>
                    </a:ext>
                  </a:extLst>
                </p:cNvPr>
                <p:cNvSpPr>
                  <a:spLocks/>
                </p:cNvSpPr>
                <p:nvPr/>
              </p:nvSpPr>
              <p:spPr bwMode="auto">
                <a:xfrm>
                  <a:off x="2460853" y="1135778"/>
                  <a:ext cx="333019" cy="188535"/>
                </a:xfrm>
                <a:custGeom>
                  <a:avLst/>
                  <a:gdLst/>
                  <a:ahLst/>
                  <a:cxnLst>
                    <a:cxn ang="0">
                      <a:pos x="125" y="2"/>
                    </a:cxn>
                    <a:cxn ang="0">
                      <a:pos x="182" y="28"/>
                    </a:cxn>
                    <a:cxn ang="0">
                      <a:pos x="245" y="59"/>
                    </a:cxn>
                    <a:cxn ang="0">
                      <a:pos x="266" y="68"/>
                    </a:cxn>
                    <a:cxn ang="0">
                      <a:pos x="268" y="83"/>
                    </a:cxn>
                    <a:cxn ang="0">
                      <a:pos x="283" y="89"/>
                    </a:cxn>
                    <a:cxn ang="0">
                      <a:pos x="283" y="73"/>
                    </a:cxn>
                    <a:cxn ang="0">
                      <a:pos x="304" y="66"/>
                    </a:cxn>
                    <a:cxn ang="0">
                      <a:pos x="325" y="78"/>
                    </a:cxn>
                    <a:cxn ang="0">
                      <a:pos x="339" y="99"/>
                    </a:cxn>
                    <a:cxn ang="0">
                      <a:pos x="348" y="108"/>
                    </a:cxn>
                    <a:cxn ang="0">
                      <a:pos x="334" y="127"/>
                    </a:cxn>
                    <a:cxn ang="0">
                      <a:pos x="348" y="127"/>
                    </a:cxn>
                    <a:cxn ang="0">
                      <a:pos x="386" y="129"/>
                    </a:cxn>
                    <a:cxn ang="0">
                      <a:pos x="409" y="144"/>
                    </a:cxn>
                    <a:cxn ang="0">
                      <a:pos x="410" y="153"/>
                    </a:cxn>
                    <a:cxn ang="0">
                      <a:pos x="358" y="172"/>
                    </a:cxn>
                    <a:cxn ang="0">
                      <a:pos x="308" y="204"/>
                    </a:cxn>
                    <a:cxn ang="0">
                      <a:pos x="290" y="204"/>
                    </a:cxn>
                    <a:cxn ang="0">
                      <a:pos x="283" y="221"/>
                    </a:cxn>
                    <a:cxn ang="0">
                      <a:pos x="276" y="231"/>
                    </a:cxn>
                    <a:cxn ang="0">
                      <a:pos x="247" y="205"/>
                    </a:cxn>
                    <a:cxn ang="0">
                      <a:pos x="247" y="217"/>
                    </a:cxn>
                    <a:cxn ang="0">
                      <a:pos x="247" y="224"/>
                    </a:cxn>
                    <a:cxn ang="0">
                      <a:pos x="228" y="219"/>
                    </a:cxn>
                    <a:cxn ang="0">
                      <a:pos x="222" y="231"/>
                    </a:cxn>
                    <a:cxn ang="0">
                      <a:pos x="167" y="226"/>
                    </a:cxn>
                    <a:cxn ang="0">
                      <a:pos x="114" y="197"/>
                    </a:cxn>
                    <a:cxn ang="0">
                      <a:pos x="90" y="174"/>
                    </a:cxn>
                    <a:cxn ang="0">
                      <a:pos x="111" y="163"/>
                    </a:cxn>
                    <a:cxn ang="0">
                      <a:pos x="151" y="146"/>
                    </a:cxn>
                    <a:cxn ang="0">
                      <a:pos x="146" y="141"/>
                    </a:cxn>
                    <a:cxn ang="0">
                      <a:pos x="92" y="150"/>
                    </a:cxn>
                    <a:cxn ang="0">
                      <a:pos x="92" y="143"/>
                    </a:cxn>
                    <a:cxn ang="0">
                      <a:pos x="55" y="150"/>
                    </a:cxn>
                    <a:cxn ang="0">
                      <a:pos x="12" y="116"/>
                    </a:cxn>
                    <a:cxn ang="0">
                      <a:pos x="0" y="96"/>
                    </a:cxn>
                    <a:cxn ang="0">
                      <a:pos x="10" y="90"/>
                    </a:cxn>
                    <a:cxn ang="0">
                      <a:pos x="69" y="96"/>
                    </a:cxn>
                    <a:cxn ang="0">
                      <a:pos x="76" y="89"/>
                    </a:cxn>
                    <a:cxn ang="0">
                      <a:pos x="29" y="85"/>
                    </a:cxn>
                    <a:cxn ang="0">
                      <a:pos x="13" y="76"/>
                    </a:cxn>
                    <a:cxn ang="0">
                      <a:pos x="26" y="61"/>
                    </a:cxn>
                    <a:cxn ang="0">
                      <a:pos x="48" y="42"/>
                    </a:cxn>
                    <a:cxn ang="0">
                      <a:pos x="61" y="26"/>
                    </a:cxn>
                    <a:cxn ang="0">
                      <a:pos x="95" y="22"/>
                    </a:cxn>
                    <a:cxn ang="0">
                      <a:pos x="92" y="12"/>
                    </a:cxn>
                    <a:cxn ang="0">
                      <a:pos x="88" y="2"/>
                    </a:cxn>
                  </a:cxnLst>
                  <a:rect l="0" t="0" r="r" b="b"/>
                  <a:pathLst>
                    <a:path w="416" h="233">
                      <a:moveTo>
                        <a:pt x="102" y="0"/>
                      </a:moveTo>
                      <a:lnTo>
                        <a:pt x="102" y="0"/>
                      </a:lnTo>
                      <a:lnTo>
                        <a:pt x="114" y="0"/>
                      </a:lnTo>
                      <a:lnTo>
                        <a:pt x="125" y="2"/>
                      </a:lnTo>
                      <a:lnTo>
                        <a:pt x="137" y="3"/>
                      </a:lnTo>
                      <a:lnTo>
                        <a:pt x="148" y="7"/>
                      </a:lnTo>
                      <a:lnTo>
                        <a:pt x="167" y="17"/>
                      </a:lnTo>
                      <a:lnTo>
                        <a:pt x="182" y="28"/>
                      </a:lnTo>
                      <a:lnTo>
                        <a:pt x="215" y="49"/>
                      </a:lnTo>
                      <a:lnTo>
                        <a:pt x="229" y="56"/>
                      </a:lnTo>
                      <a:lnTo>
                        <a:pt x="238" y="59"/>
                      </a:lnTo>
                      <a:lnTo>
                        <a:pt x="245" y="59"/>
                      </a:lnTo>
                      <a:lnTo>
                        <a:pt x="245" y="59"/>
                      </a:lnTo>
                      <a:lnTo>
                        <a:pt x="257" y="61"/>
                      </a:lnTo>
                      <a:lnTo>
                        <a:pt x="264" y="64"/>
                      </a:lnTo>
                      <a:lnTo>
                        <a:pt x="266" y="68"/>
                      </a:lnTo>
                      <a:lnTo>
                        <a:pt x="266" y="71"/>
                      </a:lnTo>
                      <a:lnTo>
                        <a:pt x="264" y="75"/>
                      </a:lnTo>
                      <a:lnTo>
                        <a:pt x="264" y="80"/>
                      </a:lnTo>
                      <a:lnTo>
                        <a:pt x="268" y="83"/>
                      </a:lnTo>
                      <a:lnTo>
                        <a:pt x="275" y="87"/>
                      </a:lnTo>
                      <a:lnTo>
                        <a:pt x="275" y="87"/>
                      </a:lnTo>
                      <a:lnTo>
                        <a:pt x="282" y="89"/>
                      </a:lnTo>
                      <a:lnTo>
                        <a:pt x="283" y="89"/>
                      </a:lnTo>
                      <a:lnTo>
                        <a:pt x="285" y="87"/>
                      </a:lnTo>
                      <a:lnTo>
                        <a:pt x="285" y="83"/>
                      </a:lnTo>
                      <a:lnTo>
                        <a:pt x="283" y="78"/>
                      </a:lnTo>
                      <a:lnTo>
                        <a:pt x="283" y="73"/>
                      </a:lnTo>
                      <a:lnTo>
                        <a:pt x="287" y="69"/>
                      </a:lnTo>
                      <a:lnTo>
                        <a:pt x="292" y="66"/>
                      </a:lnTo>
                      <a:lnTo>
                        <a:pt x="304" y="66"/>
                      </a:lnTo>
                      <a:lnTo>
                        <a:pt x="304" y="66"/>
                      </a:lnTo>
                      <a:lnTo>
                        <a:pt x="316" y="69"/>
                      </a:lnTo>
                      <a:lnTo>
                        <a:pt x="322" y="71"/>
                      </a:lnTo>
                      <a:lnTo>
                        <a:pt x="325" y="75"/>
                      </a:lnTo>
                      <a:lnTo>
                        <a:pt x="325" y="78"/>
                      </a:lnTo>
                      <a:lnTo>
                        <a:pt x="325" y="82"/>
                      </a:lnTo>
                      <a:lnTo>
                        <a:pt x="325" y="87"/>
                      </a:lnTo>
                      <a:lnTo>
                        <a:pt x="330" y="92"/>
                      </a:lnTo>
                      <a:lnTo>
                        <a:pt x="339" y="99"/>
                      </a:lnTo>
                      <a:lnTo>
                        <a:pt x="339" y="99"/>
                      </a:lnTo>
                      <a:lnTo>
                        <a:pt x="343" y="103"/>
                      </a:lnTo>
                      <a:lnTo>
                        <a:pt x="346" y="106"/>
                      </a:lnTo>
                      <a:lnTo>
                        <a:pt x="348" y="108"/>
                      </a:lnTo>
                      <a:lnTo>
                        <a:pt x="346" y="111"/>
                      </a:lnTo>
                      <a:lnTo>
                        <a:pt x="344" y="118"/>
                      </a:lnTo>
                      <a:lnTo>
                        <a:pt x="339" y="122"/>
                      </a:lnTo>
                      <a:lnTo>
                        <a:pt x="334" y="127"/>
                      </a:lnTo>
                      <a:lnTo>
                        <a:pt x="332" y="129"/>
                      </a:lnTo>
                      <a:lnTo>
                        <a:pt x="336" y="129"/>
                      </a:lnTo>
                      <a:lnTo>
                        <a:pt x="348" y="127"/>
                      </a:lnTo>
                      <a:lnTo>
                        <a:pt x="348" y="127"/>
                      </a:lnTo>
                      <a:lnTo>
                        <a:pt x="362" y="125"/>
                      </a:lnTo>
                      <a:lnTo>
                        <a:pt x="372" y="125"/>
                      </a:lnTo>
                      <a:lnTo>
                        <a:pt x="379" y="127"/>
                      </a:lnTo>
                      <a:lnTo>
                        <a:pt x="386" y="129"/>
                      </a:lnTo>
                      <a:lnTo>
                        <a:pt x="395" y="136"/>
                      </a:lnTo>
                      <a:lnTo>
                        <a:pt x="402" y="141"/>
                      </a:lnTo>
                      <a:lnTo>
                        <a:pt x="409" y="144"/>
                      </a:lnTo>
                      <a:lnTo>
                        <a:pt x="409" y="144"/>
                      </a:lnTo>
                      <a:lnTo>
                        <a:pt x="416" y="148"/>
                      </a:lnTo>
                      <a:lnTo>
                        <a:pt x="416" y="150"/>
                      </a:lnTo>
                      <a:lnTo>
                        <a:pt x="416" y="151"/>
                      </a:lnTo>
                      <a:lnTo>
                        <a:pt x="410" y="153"/>
                      </a:lnTo>
                      <a:lnTo>
                        <a:pt x="404" y="156"/>
                      </a:lnTo>
                      <a:lnTo>
                        <a:pt x="381" y="162"/>
                      </a:lnTo>
                      <a:lnTo>
                        <a:pt x="369" y="167"/>
                      </a:lnTo>
                      <a:lnTo>
                        <a:pt x="358" y="172"/>
                      </a:lnTo>
                      <a:lnTo>
                        <a:pt x="358" y="172"/>
                      </a:lnTo>
                      <a:lnTo>
                        <a:pt x="323" y="197"/>
                      </a:lnTo>
                      <a:lnTo>
                        <a:pt x="316" y="200"/>
                      </a:lnTo>
                      <a:lnTo>
                        <a:pt x="308" y="204"/>
                      </a:lnTo>
                      <a:lnTo>
                        <a:pt x="301" y="205"/>
                      </a:lnTo>
                      <a:lnTo>
                        <a:pt x="294" y="204"/>
                      </a:lnTo>
                      <a:lnTo>
                        <a:pt x="294" y="204"/>
                      </a:lnTo>
                      <a:lnTo>
                        <a:pt x="290" y="204"/>
                      </a:lnTo>
                      <a:lnTo>
                        <a:pt x="289" y="204"/>
                      </a:lnTo>
                      <a:lnTo>
                        <a:pt x="285" y="207"/>
                      </a:lnTo>
                      <a:lnTo>
                        <a:pt x="283" y="214"/>
                      </a:lnTo>
                      <a:lnTo>
                        <a:pt x="283" y="221"/>
                      </a:lnTo>
                      <a:lnTo>
                        <a:pt x="283" y="226"/>
                      </a:lnTo>
                      <a:lnTo>
                        <a:pt x="280" y="230"/>
                      </a:lnTo>
                      <a:lnTo>
                        <a:pt x="280" y="231"/>
                      </a:lnTo>
                      <a:lnTo>
                        <a:pt x="276" y="231"/>
                      </a:lnTo>
                      <a:lnTo>
                        <a:pt x="271" y="226"/>
                      </a:lnTo>
                      <a:lnTo>
                        <a:pt x="271" y="226"/>
                      </a:lnTo>
                      <a:lnTo>
                        <a:pt x="257" y="214"/>
                      </a:lnTo>
                      <a:lnTo>
                        <a:pt x="247" y="205"/>
                      </a:lnTo>
                      <a:lnTo>
                        <a:pt x="243" y="204"/>
                      </a:lnTo>
                      <a:lnTo>
                        <a:pt x="242" y="205"/>
                      </a:lnTo>
                      <a:lnTo>
                        <a:pt x="243" y="210"/>
                      </a:lnTo>
                      <a:lnTo>
                        <a:pt x="247" y="217"/>
                      </a:lnTo>
                      <a:lnTo>
                        <a:pt x="247" y="217"/>
                      </a:lnTo>
                      <a:lnTo>
                        <a:pt x="250" y="223"/>
                      </a:lnTo>
                      <a:lnTo>
                        <a:pt x="249" y="226"/>
                      </a:lnTo>
                      <a:lnTo>
                        <a:pt x="247" y="224"/>
                      </a:lnTo>
                      <a:lnTo>
                        <a:pt x="242" y="223"/>
                      </a:lnTo>
                      <a:lnTo>
                        <a:pt x="236" y="219"/>
                      </a:lnTo>
                      <a:lnTo>
                        <a:pt x="231" y="219"/>
                      </a:lnTo>
                      <a:lnTo>
                        <a:pt x="228" y="219"/>
                      </a:lnTo>
                      <a:lnTo>
                        <a:pt x="226" y="224"/>
                      </a:lnTo>
                      <a:lnTo>
                        <a:pt x="226" y="224"/>
                      </a:lnTo>
                      <a:lnTo>
                        <a:pt x="224" y="228"/>
                      </a:lnTo>
                      <a:lnTo>
                        <a:pt x="222" y="231"/>
                      </a:lnTo>
                      <a:lnTo>
                        <a:pt x="215" y="233"/>
                      </a:lnTo>
                      <a:lnTo>
                        <a:pt x="205" y="233"/>
                      </a:lnTo>
                      <a:lnTo>
                        <a:pt x="193" y="233"/>
                      </a:lnTo>
                      <a:lnTo>
                        <a:pt x="167" y="226"/>
                      </a:lnTo>
                      <a:lnTo>
                        <a:pt x="144" y="216"/>
                      </a:lnTo>
                      <a:lnTo>
                        <a:pt x="144" y="216"/>
                      </a:lnTo>
                      <a:lnTo>
                        <a:pt x="128" y="207"/>
                      </a:lnTo>
                      <a:lnTo>
                        <a:pt x="114" y="197"/>
                      </a:lnTo>
                      <a:lnTo>
                        <a:pt x="104" y="186"/>
                      </a:lnTo>
                      <a:lnTo>
                        <a:pt x="92" y="176"/>
                      </a:lnTo>
                      <a:lnTo>
                        <a:pt x="92" y="176"/>
                      </a:lnTo>
                      <a:lnTo>
                        <a:pt x="90" y="174"/>
                      </a:lnTo>
                      <a:lnTo>
                        <a:pt x="90" y="172"/>
                      </a:lnTo>
                      <a:lnTo>
                        <a:pt x="94" y="169"/>
                      </a:lnTo>
                      <a:lnTo>
                        <a:pt x="101" y="167"/>
                      </a:lnTo>
                      <a:lnTo>
                        <a:pt x="111" y="163"/>
                      </a:lnTo>
                      <a:lnTo>
                        <a:pt x="135" y="156"/>
                      </a:lnTo>
                      <a:lnTo>
                        <a:pt x="146" y="151"/>
                      </a:lnTo>
                      <a:lnTo>
                        <a:pt x="149" y="148"/>
                      </a:lnTo>
                      <a:lnTo>
                        <a:pt x="151" y="146"/>
                      </a:lnTo>
                      <a:lnTo>
                        <a:pt x="151" y="146"/>
                      </a:lnTo>
                      <a:lnTo>
                        <a:pt x="153" y="143"/>
                      </a:lnTo>
                      <a:lnTo>
                        <a:pt x="151" y="141"/>
                      </a:lnTo>
                      <a:lnTo>
                        <a:pt x="146" y="141"/>
                      </a:lnTo>
                      <a:lnTo>
                        <a:pt x="123" y="146"/>
                      </a:lnTo>
                      <a:lnTo>
                        <a:pt x="101" y="151"/>
                      </a:lnTo>
                      <a:lnTo>
                        <a:pt x="94" y="151"/>
                      </a:lnTo>
                      <a:lnTo>
                        <a:pt x="92" y="150"/>
                      </a:lnTo>
                      <a:lnTo>
                        <a:pt x="92" y="148"/>
                      </a:lnTo>
                      <a:lnTo>
                        <a:pt x="92" y="148"/>
                      </a:lnTo>
                      <a:lnTo>
                        <a:pt x="94" y="143"/>
                      </a:lnTo>
                      <a:lnTo>
                        <a:pt x="92" y="143"/>
                      </a:lnTo>
                      <a:lnTo>
                        <a:pt x="83" y="148"/>
                      </a:lnTo>
                      <a:lnTo>
                        <a:pt x="74" y="150"/>
                      </a:lnTo>
                      <a:lnTo>
                        <a:pt x="66" y="151"/>
                      </a:lnTo>
                      <a:lnTo>
                        <a:pt x="55" y="150"/>
                      </a:lnTo>
                      <a:lnTo>
                        <a:pt x="45" y="143"/>
                      </a:lnTo>
                      <a:lnTo>
                        <a:pt x="45" y="143"/>
                      </a:lnTo>
                      <a:lnTo>
                        <a:pt x="26" y="129"/>
                      </a:lnTo>
                      <a:lnTo>
                        <a:pt x="12" y="116"/>
                      </a:lnTo>
                      <a:lnTo>
                        <a:pt x="5" y="111"/>
                      </a:lnTo>
                      <a:lnTo>
                        <a:pt x="1" y="106"/>
                      </a:lnTo>
                      <a:lnTo>
                        <a:pt x="0" y="101"/>
                      </a:lnTo>
                      <a:lnTo>
                        <a:pt x="0" y="96"/>
                      </a:lnTo>
                      <a:lnTo>
                        <a:pt x="0" y="96"/>
                      </a:lnTo>
                      <a:lnTo>
                        <a:pt x="0" y="92"/>
                      </a:lnTo>
                      <a:lnTo>
                        <a:pt x="3" y="92"/>
                      </a:lnTo>
                      <a:lnTo>
                        <a:pt x="10" y="90"/>
                      </a:lnTo>
                      <a:lnTo>
                        <a:pt x="34" y="94"/>
                      </a:lnTo>
                      <a:lnTo>
                        <a:pt x="48" y="96"/>
                      </a:lnTo>
                      <a:lnTo>
                        <a:pt x="61" y="97"/>
                      </a:lnTo>
                      <a:lnTo>
                        <a:pt x="69" y="96"/>
                      </a:lnTo>
                      <a:lnTo>
                        <a:pt x="73" y="94"/>
                      </a:lnTo>
                      <a:lnTo>
                        <a:pt x="76" y="90"/>
                      </a:lnTo>
                      <a:lnTo>
                        <a:pt x="76" y="90"/>
                      </a:lnTo>
                      <a:lnTo>
                        <a:pt x="76" y="89"/>
                      </a:lnTo>
                      <a:lnTo>
                        <a:pt x="73" y="89"/>
                      </a:lnTo>
                      <a:lnTo>
                        <a:pt x="66" y="87"/>
                      </a:lnTo>
                      <a:lnTo>
                        <a:pt x="41" y="87"/>
                      </a:lnTo>
                      <a:lnTo>
                        <a:pt x="29" y="85"/>
                      </a:lnTo>
                      <a:lnTo>
                        <a:pt x="19" y="83"/>
                      </a:lnTo>
                      <a:lnTo>
                        <a:pt x="15" y="82"/>
                      </a:lnTo>
                      <a:lnTo>
                        <a:pt x="13" y="78"/>
                      </a:lnTo>
                      <a:lnTo>
                        <a:pt x="13" y="76"/>
                      </a:lnTo>
                      <a:lnTo>
                        <a:pt x="15" y="73"/>
                      </a:lnTo>
                      <a:lnTo>
                        <a:pt x="15" y="73"/>
                      </a:lnTo>
                      <a:lnTo>
                        <a:pt x="20" y="66"/>
                      </a:lnTo>
                      <a:lnTo>
                        <a:pt x="26" y="61"/>
                      </a:lnTo>
                      <a:lnTo>
                        <a:pt x="34" y="56"/>
                      </a:lnTo>
                      <a:lnTo>
                        <a:pt x="43" y="50"/>
                      </a:lnTo>
                      <a:lnTo>
                        <a:pt x="47" y="47"/>
                      </a:lnTo>
                      <a:lnTo>
                        <a:pt x="48" y="42"/>
                      </a:lnTo>
                      <a:lnTo>
                        <a:pt x="48" y="42"/>
                      </a:lnTo>
                      <a:lnTo>
                        <a:pt x="54" y="31"/>
                      </a:lnTo>
                      <a:lnTo>
                        <a:pt x="57" y="28"/>
                      </a:lnTo>
                      <a:lnTo>
                        <a:pt x="61" y="26"/>
                      </a:lnTo>
                      <a:lnTo>
                        <a:pt x="69" y="24"/>
                      </a:lnTo>
                      <a:lnTo>
                        <a:pt x="83" y="22"/>
                      </a:lnTo>
                      <a:lnTo>
                        <a:pt x="83" y="22"/>
                      </a:lnTo>
                      <a:lnTo>
                        <a:pt x="95" y="22"/>
                      </a:lnTo>
                      <a:lnTo>
                        <a:pt x="97" y="21"/>
                      </a:lnTo>
                      <a:lnTo>
                        <a:pt x="99" y="19"/>
                      </a:lnTo>
                      <a:lnTo>
                        <a:pt x="97" y="15"/>
                      </a:lnTo>
                      <a:lnTo>
                        <a:pt x="92" y="12"/>
                      </a:lnTo>
                      <a:lnTo>
                        <a:pt x="87" y="9"/>
                      </a:lnTo>
                      <a:lnTo>
                        <a:pt x="85" y="5"/>
                      </a:lnTo>
                      <a:lnTo>
                        <a:pt x="87" y="3"/>
                      </a:lnTo>
                      <a:lnTo>
                        <a:pt x="88" y="2"/>
                      </a:lnTo>
                      <a:lnTo>
                        <a:pt x="102" y="0"/>
                      </a:lnTo>
                      <a:lnTo>
                        <a:pt x="10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2" name="Freeform 1721">
                  <a:extLst>
                    <a:ext uri="{FF2B5EF4-FFF2-40B4-BE49-F238E27FC236}">
                      <a16:creationId xmlns:a16="http://schemas.microsoft.com/office/drawing/2014/main" id="{9987BA33-D679-1F1F-2D5E-0213B14B6981}"/>
                    </a:ext>
                  </a:extLst>
                </p:cNvPr>
                <p:cNvSpPr>
                  <a:spLocks/>
                </p:cNvSpPr>
                <p:nvPr/>
              </p:nvSpPr>
              <p:spPr bwMode="auto">
                <a:xfrm>
                  <a:off x="2365705" y="1204496"/>
                  <a:ext cx="40526" cy="28192"/>
                </a:xfrm>
                <a:custGeom>
                  <a:avLst/>
                  <a:gdLst/>
                  <a:ahLst/>
                  <a:cxnLst>
                    <a:cxn ang="0">
                      <a:pos x="0" y="12"/>
                    </a:cxn>
                    <a:cxn ang="0">
                      <a:pos x="0" y="12"/>
                    </a:cxn>
                    <a:cxn ang="0">
                      <a:pos x="0" y="9"/>
                    </a:cxn>
                    <a:cxn ang="0">
                      <a:pos x="2" y="5"/>
                    </a:cxn>
                    <a:cxn ang="0">
                      <a:pos x="7" y="2"/>
                    </a:cxn>
                    <a:cxn ang="0">
                      <a:pos x="14" y="0"/>
                    </a:cxn>
                    <a:cxn ang="0">
                      <a:pos x="23" y="0"/>
                    </a:cxn>
                    <a:cxn ang="0">
                      <a:pos x="31" y="2"/>
                    </a:cxn>
                    <a:cxn ang="0">
                      <a:pos x="40" y="5"/>
                    </a:cxn>
                    <a:cxn ang="0">
                      <a:pos x="47" y="10"/>
                    </a:cxn>
                    <a:cxn ang="0">
                      <a:pos x="51" y="17"/>
                    </a:cxn>
                    <a:cxn ang="0">
                      <a:pos x="51" y="17"/>
                    </a:cxn>
                    <a:cxn ang="0">
                      <a:pos x="51" y="24"/>
                    </a:cxn>
                    <a:cxn ang="0">
                      <a:pos x="49" y="29"/>
                    </a:cxn>
                    <a:cxn ang="0">
                      <a:pos x="47" y="33"/>
                    </a:cxn>
                    <a:cxn ang="0">
                      <a:pos x="44" y="33"/>
                    </a:cxn>
                    <a:cxn ang="0">
                      <a:pos x="40" y="33"/>
                    </a:cxn>
                    <a:cxn ang="0">
                      <a:pos x="35" y="33"/>
                    </a:cxn>
                    <a:cxn ang="0">
                      <a:pos x="26" y="26"/>
                    </a:cxn>
                    <a:cxn ang="0">
                      <a:pos x="26" y="26"/>
                    </a:cxn>
                    <a:cxn ang="0">
                      <a:pos x="21" y="24"/>
                    </a:cxn>
                    <a:cxn ang="0">
                      <a:pos x="16" y="22"/>
                    </a:cxn>
                    <a:cxn ang="0">
                      <a:pos x="9" y="21"/>
                    </a:cxn>
                    <a:cxn ang="0">
                      <a:pos x="4" y="19"/>
                    </a:cxn>
                    <a:cxn ang="0">
                      <a:pos x="2" y="16"/>
                    </a:cxn>
                    <a:cxn ang="0">
                      <a:pos x="0" y="12"/>
                    </a:cxn>
                    <a:cxn ang="0">
                      <a:pos x="0" y="12"/>
                    </a:cxn>
                  </a:cxnLst>
                  <a:rect l="0" t="0" r="r" b="b"/>
                  <a:pathLst>
                    <a:path w="51" h="33">
                      <a:moveTo>
                        <a:pt x="0" y="12"/>
                      </a:moveTo>
                      <a:lnTo>
                        <a:pt x="0" y="12"/>
                      </a:lnTo>
                      <a:lnTo>
                        <a:pt x="0" y="9"/>
                      </a:lnTo>
                      <a:lnTo>
                        <a:pt x="2" y="5"/>
                      </a:lnTo>
                      <a:lnTo>
                        <a:pt x="7" y="2"/>
                      </a:lnTo>
                      <a:lnTo>
                        <a:pt x="14" y="0"/>
                      </a:lnTo>
                      <a:lnTo>
                        <a:pt x="23" y="0"/>
                      </a:lnTo>
                      <a:lnTo>
                        <a:pt x="31" y="2"/>
                      </a:lnTo>
                      <a:lnTo>
                        <a:pt x="40" y="5"/>
                      </a:lnTo>
                      <a:lnTo>
                        <a:pt x="47" y="10"/>
                      </a:lnTo>
                      <a:lnTo>
                        <a:pt x="51" y="17"/>
                      </a:lnTo>
                      <a:lnTo>
                        <a:pt x="51" y="17"/>
                      </a:lnTo>
                      <a:lnTo>
                        <a:pt x="51" y="24"/>
                      </a:lnTo>
                      <a:lnTo>
                        <a:pt x="49" y="29"/>
                      </a:lnTo>
                      <a:lnTo>
                        <a:pt x="47" y="33"/>
                      </a:lnTo>
                      <a:lnTo>
                        <a:pt x="44" y="33"/>
                      </a:lnTo>
                      <a:lnTo>
                        <a:pt x="40" y="33"/>
                      </a:lnTo>
                      <a:lnTo>
                        <a:pt x="35" y="33"/>
                      </a:lnTo>
                      <a:lnTo>
                        <a:pt x="26" y="26"/>
                      </a:lnTo>
                      <a:lnTo>
                        <a:pt x="26" y="26"/>
                      </a:lnTo>
                      <a:lnTo>
                        <a:pt x="21" y="24"/>
                      </a:lnTo>
                      <a:lnTo>
                        <a:pt x="16" y="22"/>
                      </a:lnTo>
                      <a:lnTo>
                        <a:pt x="9" y="21"/>
                      </a:lnTo>
                      <a:lnTo>
                        <a:pt x="4" y="19"/>
                      </a:lnTo>
                      <a:lnTo>
                        <a:pt x="2" y="16"/>
                      </a:lnTo>
                      <a:lnTo>
                        <a:pt x="0" y="12"/>
                      </a:lnTo>
                      <a:lnTo>
                        <a:pt x="0"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3" name="Freeform 1722">
                  <a:extLst>
                    <a:ext uri="{FF2B5EF4-FFF2-40B4-BE49-F238E27FC236}">
                      <a16:creationId xmlns:a16="http://schemas.microsoft.com/office/drawing/2014/main" id="{4DC1D4B2-25E6-4C7E-63FA-E3106A9EFD9B}"/>
                    </a:ext>
                  </a:extLst>
                </p:cNvPr>
                <p:cNvSpPr>
                  <a:spLocks/>
                </p:cNvSpPr>
                <p:nvPr/>
              </p:nvSpPr>
              <p:spPr bwMode="auto">
                <a:xfrm>
                  <a:off x="1874105" y="1394791"/>
                  <a:ext cx="348876" cy="133912"/>
                </a:xfrm>
                <a:custGeom>
                  <a:avLst/>
                  <a:gdLst/>
                  <a:ahLst/>
                  <a:cxnLst>
                    <a:cxn ang="0">
                      <a:pos x="117" y="151"/>
                    </a:cxn>
                    <a:cxn ang="0">
                      <a:pos x="127" y="139"/>
                    </a:cxn>
                    <a:cxn ang="0">
                      <a:pos x="185" y="127"/>
                    </a:cxn>
                    <a:cxn ang="0">
                      <a:pos x="230" y="117"/>
                    </a:cxn>
                    <a:cxn ang="0">
                      <a:pos x="202" y="115"/>
                    </a:cxn>
                    <a:cxn ang="0">
                      <a:pos x="138" y="122"/>
                    </a:cxn>
                    <a:cxn ang="0">
                      <a:pos x="133" y="113"/>
                    </a:cxn>
                    <a:cxn ang="0">
                      <a:pos x="126" y="110"/>
                    </a:cxn>
                    <a:cxn ang="0">
                      <a:pos x="108" y="129"/>
                    </a:cxn>
                    <a:cxn ang="0">
                      <a:pos x="93" y="127"/>
                    </a:cxn>
                    <a:cxn ang="0">
                      <a:pos x="82" y="118"/>
                    </a:cxn>
                    <a:cxn ang="0">
                      <a:pos x="58" y="127"/>
                    </a:cxn>
                    <a:cxn ang="0">
                      <a:pos x="5" y="115"/>
                    </a:cxn>
                    <a:cxn ang="0">
                      <a:pos x="12" y="96"/>
                    </a:cxn>
                    <a:cxn ang="0">
                      <a:pos x="23" y="85"/>
                    </a:cxn>
                    <a:cxn ang="0">
                      <a:pos x="21" y="77"/>
                    </a:cxn>
                    <a:cxn ang="0">
                      <a:pos x="40" y="57"/>
                    </a:cxn>
                    <a:cxn ang="0">
                      <a:pos x="37" y="49"/>
                    </a:cxn>
                    <a:cxn ang="0">
                      <a:pos x="89" y="28"/>
                    </a:cxn>
                    <a:cxn ang="0">
                      <a:pos x="120" y="31"/>
                    </a:cxn>
                    <a:cxn ang="0">
                      <a:pos x="136" y="47"/>
                    </a:cxn>
                    <a:cxn ang="0">
                      <a:pos x="162" y="40"/>
                    </a:cxn>
                    <a:cxn ang="0">
                      <a:pos x="206" y="63"/>
                    </a:cxn>
                    <a:cxn ang="0">
                      <a:pos x="225" y="89"/>
                    </a:cxn>
                    <a:cxn ang="0">
                      <a:pos x="246" y="89"/>
                    </a:cxn>
                    <a:cxn ang="0">
                      <a:pos x="296" y="92"/>
                    </a:cxn>
                    <a:cxn ang="0">
                      <a:pos x="310" y="85"/>
                    </a:cxn>
                    <a:cxn ang="0">
                      <a:pos x="296" y="75"/>
                    </a:cxn>
                    <a:cxn ang="0">
                      <a:pos x="274" y="68"/>
                    </a:cxn>
                    <a:cxn ang="0">
                      <a:pos x="286" y="57"/>
                    </a:cxn>
                    <a:cxn ang="0">
                      <a:pos x="279" y="47"/>
                    </a:cxn>
                    <a:cxn ang="0">
                      <a:pos x="253" y="33"/>
                    </a:cxn>
                    <a:cxn ang="0">
                      <a:pos x="263" y="24"/>
                    </a:cxn>
                    <a:cxn ang="0">
                      <a:pos x="312" y="0"/>
                    </a:cxn>
                    <a:cxn ang="0">
                      <a:pos x="322" y="14"/>
                    </a:cxn>
                    <a:cxn ang="0">
                      <a:pos x="335" y="35"/>
                    </a:cxn>
                    <a:cxn ang="0">
                      <a:pos x="335" y="45"/>
                    </a:cxn>
                    <a:cxn ang="0">
                      <a:pos x="335" y="52"/>
                    </a:cxn>
                    <a:cxn ang="0">
                      <a:pos x="350" y="57"/>
                    </a:cxn>
                    <a:cxn ang="0">
                      <a:pos x="347" y="70"/>
                    </a:cxn>
                    <a:cxn ang="0">
                      <a:pos x="380" y="59"/>
                    </a:cxn>
                    <a:cxn ang="0">
                      <a:pos x="409" y="59"/>
                    </a:cxn>
                    <a:cxn ang="0">
                      <a:pos x="434" y="71"/>
                    </a:cxn>
                    <a:cxn ang="0">
                      <a:pos x="429" y="92"/>
                    </a:cxn>
                    <a:cxn ang="0">
                      <a:pos x="401" y="120"/>
                    </a:cxn>
                    <a:cxn ang="0">
                      <a:pos x="366" y="129"/>
                    </a:cxn>
                    <a:cxn ang="0">
                      <a:pos x="343" y="125"/>
                    </a:cxn>
                    <a:cxn ang="0">
                      <a:pos x="329" y="130"/>
                    </a:cxn>
                    <a:cxn ang="0">
                      <a:pos x="305" y="127"/>
                    </a:cxn>
                    <a:cxn ang="0">
                      <a:pos x="258" y="143"/>
                    </a:cxn>
                    <a:cxn ang="0">
                      <a:pos x="206" y="158"/>
                    </a:cxn>
                    <a:cxn ang="0">
                      <a:pos x="145" y="165"/>
                    </a:cxn>
                  </a:cxnLst>
                  <a:rect l="0" t="0" r="r" b="b"/>
                  <a:pathLst>
                    <a:path w="436" h="167">
                      <a:moveTo>
                        <a:pt x="134" y="162"/>
                      </a:moveTo>
                      <a:lnTo>
                        <a:pt x="134" y="162"/>
                      </a:lnTo>
                      <a:lnTo>
                        <a:pt x="120" y="155"/>
                      </a:lnTo>
                      <a:lnTo>
                        <a:pt x="117" y="151"/>
                      </a:lnTo>
                      <a:lnTo>
                        <a:pt x="117" y="150"/>
                      </a:lnTo>
                      <a:lnTo>
                        <a:pt x="117" y="146"/>
                      </a:lnTo>
                      <a:lnTo>
                        <a:pt x="119" y="144"/>
                      </a:lnTo>
                      <a:lnTo>
                        <a:pt x="127" y="139"/>
                      </a:lnTo>
                      <a:lnTo>
                        <a:pt x="138" y="136"/>
                      </a:lnTo>
                      <a:lnTo>
                        <a:pt x="153" y="132"/>
                      </a:lnTo>
                      <a:lnTo>
                        <a:pt x="185" y="127"/>
                      </a:lnTo>
                      <a:lnTo>
                        <a:pt x="185" y="127"/>
                      </a:lnTo>
                      <a:lnTo>
                        <a:pt x="199" y="125"/>
                      </a:lnTo>
                      <a:lnTo>
                        <a:pt x="213" y="122"/>
                      </a:lnTo>
                      <a:lnTo>
                        <a:pt x="223" y="118"/>
                      </a:lnTo>
                      <a:lnTo>
                        <a:pt x="230" y="117"/>
                      </a:lnTo>
                      <a:lnTo>
                        <a:pt x="232" y="113"/>
                      </a:lnTo>
                      <a:lnTo>
                        <a:pt x="228" y="111"/>
                      </a:lnTo>
                      <a:lnTo>
                        <a:pt x="220" y="113"/>
                      </a:lnTo>
                      <a:lnTo>
                        <a:pt x="202" y="115"/>
                      </a:lnTo>
                      <a:lnTo>
                        <a:pt x="202" y="115"/>
                      </a:lnTo>
                      <a:lnTo>
                        <a:pt x="167" y="120"/>
                      </a:lnTo>
                      <a:lnTo>
                        <a:pt x="145" y="122"/>
                      </a:lnTo>
                      <a:lnTo>
                        <a:pt x="138" y="122"/>
                      </a:lnTo>
                      <a:lnTo>
                        <a:pt x="134" y="120"/>
                      </a:lnTo>
                      <a:lnTo>
                        <a:pt x="133" y="117"/>
                      </a:lnTo>
                      <a:lnTo>
                        <a:pt x="133" y="113"/>
                      </a:lnTo>
                      <a:lnTo>
                        <a:pt x="133" y="113"/>
                      </a:lnTo>
                      <a:lnTo>
                        <a:pt x="134" y="106"/>
                      </a:lnTo>
                      <a:lnTo>
                        <a:pt x="133" y="106"/>
                      </a:lnTo>
                      <a:lnTo>
                        <a:pt x="131" y="106"/>
                      </a:lnTo>
                      <a:lnTo>
                        <a:pt x="126" y="110"/>
                      </a:lnTo>
                      <a:lnTo>
                        <a:pt x="117" y="120"/>
                      </a:lnTo>
                      <a:lnTo>
                        <a:pt x="117" y="120"/>
                      </a:lnTo>
                      <a:lnTo>
                        <a:pt x="112" y="125"/>
                      </a:lnTo>
                      <a:lnTo>
                        <a:pt x="108" y="129"/>
                      </a:lnTo>
                      <a:lnTo>
                        <a:pt x="103" y="130"/>
                      </a:lnTo>
                      <a:lnTo>
                        <a:pt x="100" y="130"/>
                      </a:lnTo>
                      <a:lnTo>
                        <a:pt x="96" y="129"/>
                      </a:lnTo>
                      <a:lnTo>
                        <a:pt x="93" y="127"/>
                      </a:lnTo>
                      <a:lnTo>
                        <a:pt x="87" y="120"/>
                      </a:lnTo>
                      <a:lnTo>
                        <a:pt x="87" y="120"/>
                      </a:lnTo>
                      <a:lnTo>
                        <a:pt x="84" y="118"/>
                      </a:lnTo>
                      <a:lnTo>
                        <a:pt x="82" y="118"/>
                      </a:lnTo>
                      <a:lnTo>
                        <a:pt x="77" y="124"/>
                      </a:lnTo>
                      <a:lnTo>
                        <a:pt x="73" y="125"/>
                      </a:lnTo>
                      <a:lnTo>
                        <a:pt x="66" y="127"/>
                      </a:lnTo>
                      <a:lnTo>
                        <a:pt x="58" y="127"/>
                      </a:lnTo>
                      <a:lnTo>
                        <a:pt x="47" y="125"/>
                      </a:lnTo>
                      <a:lnTo>
                        <a:pt x="47" y="125"/>
                      </a:lnTo>
                      <a:lnTo>
                        <a:pt x="23" y="118"/>
                      </a:lnTo>
                      <a:lnTo>
                        <a:pt x="5" y="115"/>
                      </a:lnTo>
                      <a:lnTo>
                        <a:pt x="2" y="111"/>
                      </a:lnTo>
                      <a:lnTo>
                        <a:pt x="0" y="108"/>
                      </a:lnTo>
                      <a:lnTo>
                        <a:pt x="4" y="103"/>
                      </a:lnTo>
                      <a:lnTo>
                        <a:pt x="12" y="96"/>
                      </a:lnTo>
                      <a:lnTo>
                        <a:pt x="12" y="96"/>
                      </a:lnTo>
                      <a:lnTo>
                        <a:pt x="19" y="90"/>
                      </a:lnTo>
                      <a:lnTo>
                        <a:pt x="23" y="87"/>
                      </a:lnTo>
                      <a:lnTo>
                        <a:pt x="23" y="85"/>
                      </a:lnTo>
                      <a:lnTo>
                        <a:pt x="19" y="83"/>
                      </a:lnTo>
                      <a:lnTo>
                        <a:pt x="18" y="83"/>
                      </a:lnTo>
                      <a:lnTo>
                        <a:pt x="18" y="82"/>
                      </a:lnTo>
                      <a:lnTo>
                        <a:pt x="21" y="77"/>
                      </a:lnTo>
                      <a:lnTo>
                        <a:pt x="28" y="70"/>
                      </a:lnTo>
                      <a:lnTo>
                        <a:pt x="28" y="70"/>
                      </a:lnTo>
                      <a:lnTo>
                        <a:pt x="37" y="63"/>
                      </a:lnTo>
                      <a:lnTo>
                        <a:pt x="40" y="57"/>
                      </a:lnTo>
                      <a:lnTo>
                        <a:pt x="39" y="54"/>
                      </a:lnTo>
                      <a:lnTo>
                        <a:pt x="37" y="52"/>
                      </a:lnTo>
                      <a:lnTo>
                        <a:pt x="37" y="50"/>
                      </a:lnTo>
                      <a:lnTo>
                        <a:pt x="37" y="49"/>
                      </a:lnTo>
                      <a:lnTo>
                        <a:pt x="52" y="42"/>
                      </a:lnTo>
                      <a:lnTo>
                        <a:pt x="52" y="42"/>
                      </a:lnTo>
                      <a:lnTo>
                        <a:pt x="79" y="31"/>
                      </a:lnTo>
                      <a:lnTo>
                        <a:pt x="89" y="28"/>
                      </a:lnTo>
                      <a:lnTo>
                        <a:pt x="98" y="26"/>
                      </a:lnTo>
                      <a:lnTo>
                        <a:pt x="106" y="24"/>
                      </a:lnTo>
                      <a:lnTo>
                        <a:pt x="113" y="26"/>
                      </a:lnTo>
                      <a:lnTo>
                        <a:pt x="120" y="31"/>
                      </a:lnTo>
                      <a:lnTo>
                        <a:pt x="126" y="38"/>
                      </a:lnTo>
                      <a:lnTo>
                        <a:pt x="126" y="38"/>
                      </a:lnTo>
                      <a:lnTo>
                        <a:pt x="131" y="45"/>
                      </a:lnTo>
                      <a:lnTo>
                        <a:pt x="136" y="47"/>
                      </a:lnTo>
                      <a:lnTo>
                        <a:pt x="140" y="45"/>
                      </a:lnTo>
                      <a:lnTo>
                        <a:pt x="145" y="42"/>
                      </a:lnTo>
                      <a:lnTo>
                        <a:pt x="153" y="40"/>
                      </a:lnTo>
                      <a:lnTo>
                        <a:pt x="162" y="40"/>
                      </a:lnTo>
                      <a:lnTo>
                        <a:pt x="174" y="43"/>
                      </a:lnTo>
                      <a:lnTo>
                        <a:pt x="192" y="52"/>
                      </a:lnTo>
                      <a:lnTo>
                        <a:pt x="192" y="52"/>
                      </a:lnTo>
                      <a:lnTo>
                        <a:pt x="206" y="63"/>
                      </a:lnTo>
                      <a:lnTo>
                        <a:pt x="216" y="71"/>
                      </a:lnTo>
                      <a:lnTo>
                        <a:pt x="220" y="78"/>
                      </a:lnTo>
                      <a:lnTo>
                        <a:pt x="223" y="83"/>
                      </a:lnTo>
                      <a:lnTo>
                        <a:pt x="225" y="89"/>
                      </a:lnTo>
                      <a:lnTo>
                        <a:pt x="228" y="90"/>
                      </a:lnTo>
                      <a:lnTo>
                        <a:pt x="234" y="90"/>
                      </a:lnTo>
                      <a:lnTo>
                        <a:pt x="246" y="89"/>
                      </a:lnTo>
                      <a:lnTo>
                        <a:pt x="246" y="89"/>
                      </a:lnTo>
                      <a:lnTo>
                        <a:pt x="258" y="87"/>
                      </a:lnTo>
                      <a:lnTo>
                        <a:pt x="270" y="87"/>
                      </a:lnTo>
                      <a:lnTo>
                        <a:pt x="289" y="90"/>
                      </a:lnTo>
                      <a:lnTo>
                        <a:pt x="296" y="92"/>
                      </a:lnTo>
                      <a:lnTo>
                        <a:pt x="303" y="92"/>
                      </a:lnTo>
                      <a:lnTo>
                        <a:pt x="307" y="90"/>
                      </a:lnTo>
                      <a:lnTo>
                        <a:pt x="310" y="85"/>
                      </a:lnTo>
                      <a:lnTo>
                        <a:pt x="310" y="85"/>
                      </a:lnTo>
                      <a:lnTo>
                        <a:pt x="310" y="83"/>
                      </a:lnTo>
                      <a:lnTo>
                        <a:pt x="308" y="80"/>
                      </a:lnTo>
                      <a:lnTo>
                        <a:pt x="303" y="77"/>
                      </a:lnTo>
                      <a:lnTo>
                        <a:pt x="296" y="75"/>
                      </a:lnTo>
                      <a:lnTo>
                        <a:pt x="288" y="73"/>
                      </a:lnTo>
                      <a:lnTo>
                        <a:pt x="279" y="71"/>
                      </a:lnTo>
                      <a:lnTo>
                        <a:pt x="275" y="70"/>
                      </a:lnTo>
                      <a:lnTo>
                        <a:pt x="274" y="68"/>
                      </a:lnTo>
                      <a:lnTo>
                        <a:pt x="275" y="66"/>
                      </a:lnTo>
                      <a:lnTo>
                        <a:pt x="281" y="61"/>
                      </a:lnTo>
                      <a:lnTo>
                        <a:pt x="281" y="61"/>
                      </a:lnTo>
                      <a:lnTo>
                        <a:pt x="286" y="57"/>
                      </a:lnTo>
                      <a:lnTo>
                        <a:pt x="288" y="54"/>
                      </a:lnTo>
                      <a:lnTo>
                        <a:pt x="288" y="52"/>
                      </a:lnTo>
                      <a:lnTo>
                        <a:pt x="286" y="50"/>
                      </a:lnTo>
                      <a:lnTo>
                        <a:pt x="279" y="47"/>
                      </a:lnTo>
                      <a:lnTo>
                        <a:pt x="268" y="43"/>
                      </a:lnTo>
                      <a:lnTo>
                        <a:pt x="260" y="40"/>
                      </a:lnTo>
                      <a:lnTo>
                        <a:pt x="254" y="36"/>
                      </a:lnTo>
                      <a:lnTo>
                        <a:pt x="253" y="33"/>
                      </a:lnTo>
                      <a:lnTo>
                        <a:pt x="254" y="31"/>
                      </a:lnTo>
                      <a:lnTo>
                        <a:pt x="256" y="28"/>
                      </a:lnTo>
                      <a:lnTo>
                        <a:pt x="263" y="24"/>
                      </a:lnTo>
                      <a:lnTo>
                        <a:pt x="263" y="24"/>
                      </a:lnTo>
                      <a:lnTo>
                        <a:pt x="286" y="10"/>
                      </a:lnTo>
                      <a:lnTo>
                        <a:pt x="296" y="5"/>
                      </a:lnTo>
                      <a:lnTo>
                        <a:pt x="305" y="2"/>
                      </a:lnTo>
                      <a:lnTo>
                        <a:pt x="312" y="0"/>
                      </a:lnTo>
                      <a:lnTo>
                        <a:pt x="317" y="2"/>
                      </a:lnTo>
                      <a:lnTo>
                        <a:pt x="321" y="7"/>
                      </a:lnTo>
                      <a:lnTo>
                        <a:pt x="322" y="14"/>
                      </a:lnTo>
                      <a:lnTo>
                        <a:pt x="322" y="14"/>
                      </a:lnTo>
                      <a:lnTo>
                        <a:pt x="324" y="23"/>
                      </a:lnTo>
                      <a:lnTo>
                        <a:pt x="328" y="30"/>
                      </a:lnTo>
                      <a:lnTo>
                        <a:pt x="331" y="33"/>
                      </a:lnTo>
                      <a:lnTo>
                        <a:pt x="335" y="35"/>
                      </a:lnTo>
                      <a:lnTo>
                        <a:pt x="336" y="36"/>
                      </a:lnTo>
                      <a:lnTo>
                        <a:pt x="338" y="38"/>
                      </a:lnTo>
                      <a:lnTo>
                        <a:pt x="338" y="40"/>
                      </a:lnTo>
                      <a:lnTo>
                        <a:pt x="335" y="45"/>
                      </a:lnTo>
                      <a:lnTo>
                        <a:pt x="335" y="45"/>
                      </a:lnTo>
                      <a:lnTo>
                        <a:pt x="331" y="49"/>
                      </a:lnTo>
                      <a:lnTo>
                        <a:pt x="333" y="50"/>
                      </a:lnTo>
                      <a:lnTo>
                        <a:pt x="335" y="52"/>
                      </a:lnTo>
                      <a:lnTo>
                        <a:pt x="340" y="52"/>
                      </a:lnTo>
                      <a:lnTo>
                        <a:pt x="343" y="54"/>
                      </a:lnTo>
                      <a:lnTo>
                        <a:pt x="348" y="56"/>
                      </a:lnTo>
                      <a:lnTo>
                        <a:pt x="350" y="57"/>
                      </a:lnTo>
                      <a:lnTo>
                        <a:pt x="348" y="63"/>
                      </a:lnTo>
                      <a:lnTo>
                        <a:pt x="348" y="63"/>
                      </a:lnTo>
                      <a:lnTo>
                        <a:pt x="347" y="68"/>
                      </a:lnTo>
                      <a:lnTo>
                        <a:pt x="347" y="70"/>
                      </a:lnTo>
                      <a:lnTo>
                        <a:pt x="350" y="70"/>
                      </a:lnTo>
                      <a:lnTo>
                        <a:pt x="354" y="70"/>
                      </a:lnTo>
                      <a:lnTo>
                        <a:pt x="366" y="66"/>
                      </a:lnTo>
                      <a:lnTo>
                        <a:pt x="380" y="59"/>
                      </a:lnTo>
                      <a:lnTo>
                        <a:pt x="380" y="59"/>
                      </a:lnTo>
                      <a:lnTo>
                        <a:pt x="387" y="57"/>
                      </a:lnTo>
                      <a:lnTo>
                        <a:pt x="397" y="57"/>
                      </a:lnTo>
                      <a:lnTo>
                        <a:pt x="409" y="59"/>
                      </a:lnTo>
                      <a:lnTo>
                        <a:pt x="420" y="61"/>
                      </a:lnTo>
                      <a:lnTo>
                        <a:pt x="429" y="66"/>
                      </a:lnTo>
                      <a:lnTo>
                        <a:pt x="432" y="68"/>
                      </a:lnTo>
                      <a:lnTo>
                        <a:pt x="434" y="71"/>
                      </a:lnTo>
                      <a:lnTo>
                        <a:pt x="436" y="77"/>
                      </a:lnTo>
                      <a:lnTo>
                        <a:pt x="436" y="80"/>
                      </a:lnTo>
                      <a:lnTo>
                        <a:pt x="432" y="85"/>
                      </a:lnTo>
                      <a:lnTo>
                        <a:pt x="429" y="92"/>
                      </a:lnTo>
                      <a:lnTo>
                        <a:pt x="429" y="92"/>
                      </a:lnTo>
                      <a:lnTo>
                        <a:pt x="420" y="103"/>
                      </a:lnTo>
                      <a:lnTo>
                        <a:pt x="409" y="113"/>
                      </a:lnTo>
                      <a:lnTo>
                        <a:pt x="401" y="120"/>
                      </a:lnTo>
                      <a:lnTo>
                        <a:pt x="392" y="125"/>
                      </a:lnTo>
                      <a:lnTo>
                        <a:pt x="385" y="129"/>
                      </a:lnTo>
                      <a:lnTo>
                        <a:pt x="375" y="130"/>
                      </a:lnTo>
                      <a:lnTo>
                        <a:pt x="366" y="129"/>
                      </a:lnTo>
                      <a:lnTo>
                        <a:pt x="357" y="127"/>
                      </a:lnTo>
                      <a:lnTo>
                        <a:pt x="357" y="127"/>
                      </a:lnTo>
                      <a:lnTo>
                        <a:pt x="348" y="125"/>
                      </a:lnTo>
                      <a:lnTo>
                        <a:pt x="343" y="125"/>
                      </a:lnTo>
                      <a:lnTo>
                        <a:pt x="340" y="127"/>
                      </a:lnTo>
                      <a:lnTo>
                        <a:pt x="336" y="129"/>
                      </a:lnTo>
                      <a:lnTo>
                        <a:pt x="333" y="130"/>
                      </a:lnTo>
                      <a:lnTo>
                        <a:pt x="329" y="130"/>
                      </a:lnTo>
                      <a:lnTo>
                        <a:pt x="322" y="130"/>
                      </a:lnTo>
                      <a:lnTo>
                        <a:pt x="314" y="129"/>
                      </a:lnTo>
                      <a:lnTo>
                        <a:pt x="314" y="129"/>
                      </a:lnTo>
                      <a:lnTo>
                        <a:pt x="305" y="127"/>
                      </a:lnTo>
                      <a:lnTo>
                        <a:pt x="296" y="127"/>
                      </a:lnTo>
                      <a:lnTo>
                        <a:pt x="286" y="129"/>
                      </a:lnTo>
                      <a:lnTo>
                        <a:pt x="277" y="132"/>
                      </a:lnTo>
                      <a:lnTo>
                        <a:pt x="258" y="143"/>
                      </a:lnTo>
                      <a:lnTo>
                        <a:pt x="246" y="148"/>
                      </a:lnTo>
                      <a:lnTo>
                        <a:pt x="234" y="151"/>
                      </a:lnTo>
                      <a:lnTo>
                        <a:pt x="234" y="151"/>
                      </a:lnTo>
                      <a:lnTo>
                        <a:pt x="206" y="158"/>
                      </a:lnTo>
                      <a:lnTo>
                        <a:pt x="180" y="165"/>
                      </a:lnTo>
                      <a:lnTo>
                        <a:pt x="167" y="167"/>
                      </a:lnTo>
                      <a:lnTo>
                        <a:pt x="157" y="167"/>
                      </a:lnTo>
                      <a:lnTo>
                        <a:pt x="145" y="165"/>
                      </a:lnTo>
                      <a:lnTo>
                        <a:pt x="134" y="162"/>
                      </a:lnTo>
                      <a:lnTo>
                        <a:pt x="134" y="16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4" name="Freeform 1723">
                  <a:extLst>
                    <a:ext uri="{FF2B5EF4-FFF2-40B4-BE49-F238E27FC236}">
                      <a16:creationId xmlns:a16="http://schemas.microsoft.com/office/drawing/2014/main" id="{4B376468-1ADB-D4BA-219B-A150A46791AB}"/>
                    </a:ext>
                  </a:extLst>
                </p:cNvPr>
                <p:cNvSpPr>
                  <a:spLocks/>
                </p:cNvSpPr>
                <p:nvPr/>
              </p:nvSpPr>
              <p:spPr bwMode="auto">
                <a:xfrm>
                  <a:off x="1724337" y="1356026"/>
                  <a:ext cx="209679" cy="96910"/>
                </a:xfrm>
                <a:custGeom>
                  <a:avLst/>
                  <a:gdLst/>
                  <a:ahLst/>
                  <a:cxnLst>
                    <a:cxn ang="0">
                      <a:pos x="186" y="83"/>
                    </a:cxn>
                    <a:cxn ang="0">
                      <a:pos x="178" y="77"/>
                    </a:cxn>
                    <a:cxn ang="0">
                      <a:pos x="179" y="56"/>
                    </a:cxn>
                    <a:cxn ang="0">
                      <a:pos x="178" y="49"/>
                    </a:cxn>
                    <a:cxn ang="0">
                      <a:pos x="160" y="56"/>
                    </a:cxn>
                    <a:cxn ang="0">
                      <a:pos x="157" y="64"/>
                    </a:cxn>
                    <a:cxn ang="0">
                      <a:pos x="150" y="82"/>
                    </a:cxn>
                    <a:cxn ang="0">
                      <a:pos x="134" y="99"/>
                    </a:cxn>
                    <a:cxn ang="0">
                      <a:pos x="125" y="96"/>
                    </a:cxn>
                    <a:cxn ang="0">
                      <a:pos x="118" y="97"/>
                    </a:cxn>
                    <a:cxn ang="0">
                      <a:pos x="113" y="113"/>
                    </a:cxn>
                    <a:cxn ang="0">
                      <a:pos x="96" y="120"/>
                    </a:cxn>
                    <a:cxn ang="0">
                      <a:pos x="80" y="106"/>
                    </a:cxn>
                    <a:cxn ang="0">
                      <a:pos x="75" y="99"/>
                    </a:cxn>
                    <a:cxn ang="0">
                      <a:pos x="66" y="108"/>
                    </a:cxn>
                    <a:cxn ang="0">
                      <a:pos x="56" y="108"/>
                    </a:cxn>
                    <a:cxn ang="0">
                      <a:pos x="42" y="101"/>
                    </a:cxn>
                    <a:cxn ang="0">
                      <a:pos x="30" y="104"/>
                    </a:cxn>
                    <a:cxn ang="0">
                      <a:pos x="12" y="111"/>
                    </a:cxn>
                    <a:cxn ang="0">
                      <a:pos x="9" y="108"/>
                    </a:cxn>
                    <a:cxn ang="0">
                      <a:pos x="10" y="101"/>
                    </a:cxn>
                    <a:cxn ang="0">
                      <a:pos x="0" y="96"/>
                    </a:cxn>
                    <a:cxn ang="0">
                      <a:pos x="9" y="83"/>
                    </a:cxn>
                    <a:cxn ang="0">
                      <a:pos x="23" y="75"/>
                    </a:cxn>
                    <a:cxn ang="0">
                      <a:pos x="37" y="77"/>
                    </a:cxn>
                    <a:cxn ang="0">
                      <a:pos x="57" y="66"/>
                    </a:cxn>
                    <a:cxn ang="0">
                      <a:pos x="70" y="56"/>
                    </a:cxn>
                    <a:cxn ang="0">
                      <a:pos x="87" y="49"/>
                    </a:cxn>
                    <a:cxn ang="0">
                      <a:pos x="110" y="31"/>
                    </a:cxn>
                    <a:cxn ang="0">
                      <a:pos x="137" y="16"/>
                    </a:cxn>
                    <a:cxn ang="0">
                      <a:pos x="174" y="10"/>
                    </a:cxn>
                    <a:cxn ang="0">
                      <a:pos x="204" y="12"/>
                    </a:cxn>
                    <a:cxn ang="0">
                      <a:pos x="212" y="3"/>
                    </a:cxn>
                    <a:cxn ang="0">
                      <a:pos x="225" y="0"/>
                    </a:cxn>
                    <a:cxn ang="0">
                      <a:pos x="249" y="7"/>
                    </a:cxn>
                    <a:cxn ang="0">
                      <a:pos x="259" y="16"/>
                    </a:cxn>
                    <a:cxn ang="0">
                      <a:pos x="242" y="24"/>
                    </a:cxn>
                    <a:cxn ang="0">
                      <a:pos x="235" y="31"/>
                    </a:cxn>
                    <a:cxn ang="0">
                      <a:pos x="242" y="36"/>
                    </a:cxn>
                    <a:cxn ang="0">
                      <a:pos x="254" y="52"/>
                    </a:cxn>
                    <a:cxn ang="0">
                      <a:pos x="238" y="63"/>
                    </a:cxn>
                    <a:cxn ang="0">
                      <a:pos x="212" y="68"/>
                    </a:cxn>
                    <a:cxn ang="0">
                      <a:pos x="212" y="80"/>
                    </a:cxn>
                    <a:cxn ang="0">
                      <a:pos x="204" y="87"/>
                    </a:cxn>
                  </a:cxnLst>
                  <a:rect l="0" t="0" r="r" b="b"/>
                  <a:pathLst>
                    <a:path w="259" h="120">
                      <a:moveTo>
                        <a:pt x="191" y="85"/>
                      </a:moveTo>
                      <a:lnTo>
                        <a:pt x="191" y="85"/>
                      </a:lnTo>
                      <a:lnTo>
                        <a:pt x="186" y="83"/>
                      </a:lnTo>
                      <a:lnTo>
                        <a:pt x="181" y="82"/>
                      </a:lnTo>
                      <a:lnTo>
                        <a:pt x="179" y="78"/>
                      </a:lnTo>
                      <a:lnTo>
                        <a:pt x="178" y="77"/>
                      </a:lnTo>
                      <a:lnTo>
                        <a:pt x="178" y="70"/>
                      </a:lnTo>
                      <a:lnTo>
                        <a:pt x="178" y="61"/>
                      </a:lnTo>
                      <a:lnTo>
                        <a:pt x="179" y="56"/>
                      </a:lnTo>
                      <a:lnTo>
                        <a:pt x="181" y="50"/>
                      </a:lnTo>
                      <a:lnTo>
                        <a:pt x="179" y="49"/>
                      </a:lnTo>
                      <a:lnTo>
                        <a:pt x="178" y="49"/>
                      </a:lnTo>
                      <a:lnTo>
                        <a:pt x="172" y="50"/>
                      </a:lnTo>
                      <a:lnTo>
                        <a:pt x="172" y="50"/>
                      </a:lnTo>
                      <a:lnTo>
                        <a:pt x="160" y="56"/>
                      </a:lnTo>
                      <a:lnTo>
                        <a:pt x="158" y="57"/>
                      </a:lnTo>
                      <a:lnTo>
                        <a:pt x="157" y="59"/>
                      </a:lnTo>
                      <a:lnTo>
                        <a:pt x="157" y="64"/>
                      </a:lnTo>
                      <a:lnTo>
                        <a:pt x="155" y="71"/>
                      </a:lnTo>
                      <a:lnTo>
                        <a:pt x="150" y="82"/>
                      </a:lnTo>
                      <a:lnTo>
                        <a:pt x="150" y="82"/>
                      </a:lnTo>
                      <a:lnTo>
                        <a:pt x="141" y="94"/>
                      </a:lnTo>
                      <a:lnTo>
                        <a:pt x="137" y="97"/>
                      </a:lnTo>
                      <a:lnTo>
                        <a:pt x="134" y="99"/>
                      </a:lnTo>
                      <a:lnTo>
                        <a:pt x="132" y="99"/>
                      </a:lnTo>
                      <a:lnTo>
                        <a:pt x="129" y="99"/>
                      </a:lnTo>
                      <a:lnTo>
                        <a:pt x="125" y="96"/>
                      </a:lnTo>
                      <a:lnTo>
                        <a:pt x="120" y="90"/>
                      </a:lnTo>
                      <a:lnTo>
                        <a:pt x="118" y="90"/>
                      </a:lnTo>
                      <a:lnTo>
                        <a:pt x="118" y="97"/>
                      </a:lnTo>
                      <a:lnTo>
                        <a:pt x="118" y="97"/>
                      </a:lnTo>
                      <a:lnTo>
                        <a:pt x="117" y="108"/>
                      </a:lnTo>
                      <a:lnTo>
                        <a:pt x="113" y="113"/>
                      </a:lnTo>
                      <a:lnTo>
                        <a:pt x="108" y="118"/>
                      </a:lnTo>
                      <a:lnTo>
                        <a:pt x="103" y="120"/>
                      </a:lnTo>
                      <a:lnTo>
                        <a:pt x="96" y="120"/>
                      </a:lnTo>
                      <a:lnTo>
                        <a:pt x="90" y="117"/>
                      </a:lnTo>
                      <a:lnTo>
                        <a:pt x="85" y="113"/>
                      </a:lnTo>
                      <a:lnTo>
                        <a:pt x="80" y="106"/>
                      </a:lnTo>
                      <a:lnTo>
                        <a:pt x="80" y="106"/>
                      </a:lnTo>
                      <a:lnTo>
                        <a:pt x="77" y="99"/>
                      </a:lnTo>
                      <a:lnTo>
                        <a:pt x="75" y="99"/>
                      </a:lnTo>
                      <a:lnTo>
                        <a:pt x="73" y="99"/>
                      </a:lnTo>
                      <a:lnTo>
                        <a:pt x="70" y="104"/>
                      </a:lnTo>
                      <a:lnTo>
                        <a:pt x="66" y="108"/>
                      </a:lnTo>
                      <a:lnTo>
                        <a:pt x="61" y="108"/>
                      </a:lnTo>
                      <a:lnTo>
                        <a:pt x="61" y="108"/>
                      </a:lnTo>
                      <a:lnTo>
                        <a:pt x="56" y="108"/>
                      </a:lnTo>
                      <a:lnTo>
                        <a:pt x="50" y="106"/>
                      </a:lnTo>
                      <a:lnTo>
                        <a:pt x="45" y="103"/>
                      </a:lnTo>
                      <a:lnTo>
                        <a:pt x="42" y="101"/>
                      </a:lnTo>
                      <a:lnTo>
                        <a:pt x="38" y="101"/>
                      </a:lnTo>
                      <a:lnTo>
                        <a:pt x="35" y="101"/>
                      </a:lnTo>
                      <a:lnTo>
                        <a:pt x="30" y="104"/>
                      </a:lnTo>
                      <a:lnTo>
                        <a:pt x="30" y="104"/>
                      </a:lnTo>
                      <a:lnTo>
                        <a:pt x="19" y="111"/>
                      </a:lnTo>
                      <a:lnTo>
                        <a:pt x="12" y="111"/>
                      </a:lnTo>
                      <a:lnTo>
                        <a:pt x="10" y="111"/>
                      </a:lnTo>
                      <a:lnTo>
                        <a:pt x="9" y="110"/>
                      </a:lnTo>
                      <a:lnTo>
                        <a:pt x="9" y="108"/>
                      </a:lnTo>
                      <a:lnTo>
                        <a:pt x="10" y="104"/>
                      </a:lnTo>
                      <a:lnTo>
                        <a:pt x="10" y="104"/>
                      </a:lnTo>
                      <a:lnTo>
                        <a:pt x="10" y="101"/>
                      </a:lnTo>
                      <a:lnTo>
                        <a:pt x="9" y="99"/>
                      </a:lnTo>
                      <a:lnTo>
                        <a:pt x="2" y="97"/>
                      </a:lnTo>
                      <a:lnTo>
                        <a:pt x="0" y="96"/>
                      </a:lnTo>
                      <a:lnTo>
                        <a:pt x="0" y="94"/>
                      </a:lnTo>
                      <a:lnTo>
                        <a:pt x="2" y="90"/>
                      </a:lnTo>
                      <a:lnTo>
                        <a:pt x="9" y="83"/>
                      </a:lnTo>
                      <a:lnTo>
                        <a:pt x="9" y="83"/>
                      </a:lnTo>
                      <a:lnTo>
                        <a:pt x="16" y="77"/>
                      </a:lnTo>
                      <a:lnTo>
                        <a:pt x="23" y="75"/>
                      </a:lnTo>
                      <a:lnTo>
                        <a:pt x="28" y="75"/>
                      </a:lnTo>
                      <a:lnTo>
                        <a:pt x="31" y="77"/>
                      </a:lnTo>
                      <a:lnTo>
                        <a:pt x="37" y="77"/>
                      </a:lnTo>
                      <a:lnTo>
                        <a:pt x="42" y="77"/>
                      </a:lnTo>
                      <a:lnTo>
                        <a:pt x="49" y="73"/>
                      </a:lnTo>
                      <a:lnTo>
                        <a:pt x="57" y="66"/>
                      </a:lnTo>
                      <a:lnTo>
                        <a:pt x="57" y="66"/>
                      </a:lnTo>
                      <a:lnTo>
                        <a:pt x="64" y="59"/>
                      </a:lnTo>
                      <a:lnTo>
                        <a:pt x="70" y="56"/>
                      </a:lnTo>
                      <a:lnTo>
                        <a:pt x="77" y="54"/>
                      </a:lnTo>
                      <a:lnTo>
                        <a:pt x="80" y="52"/>
                      </a:lnTo>
                      <a:lnTo>
                        <a:pt x="87" y="49"/>
                      </a:lnTo>
                      <a:lnTo>
                        <a:pt x="96" y="43"/>
                      </a:lnTo>
                      <a:lnTo>
                        <a:pt x="110" y="31"/>
                      </a:lnTo>
                      <a:lnTo>
                        <a:pt x="110" y="31"/>
                      </a:lnTo>
                      <a:lnTo>
                        <a:pt x="120" y="24"/>
                      </a:lnTo>
                      <a:lnTo>
                        <a:pt x="129" y="19"/>
                      </a:lnTo>
                      <a:lnTo>
                        <a:pt x="137" y="16"/>
                      </a:lnTo>
                      <a:lnTo>
                        <a:pt x="146" y="12"/>
                      </a:lnTo>
                      <a:lnTo>
                        <a:pt x="162" y="9"/>
                      </a:lnTo>
                      <a:lnTo>
                        <a:pt x="174" y="10"/>
                      </a:lnTo>
                      <a:lnTo>
                        <a:pt x="193" y="14"/>
                      </a:lnTo>
                      <a:lnTo>
                        <a:pt x="200" y="14"/>
                      </a:lnTo>
                      <a:lnTo>
                        <a:pt x="204" y="12"/>
                      </a:lnTo>
                      <a:lnTo>
                        <a:pt x="205" y="10"/>
                      </a:lnTo>
                      <a:lnTo>
                        <a:pt x="205" y="10"/>
                      </a:lnTo>
                      <a:lnTo>
                        <a:pt x="212" y="3"/>
                      </a:lnTo>
                      <a:lnTo>
                        <a:pt x="214" y="0"/>
                      </a:lnTo>
                      <a:lnTo>
                        <a:pt x="219" y="0"/>
                      </a:lnTo>
                      <a:lnTo>
                        <a:pt x="225" y="0"/>
                      </a:lnTo>
                      <a:lnTo>
                        <a:pt x="230" y="0"/>
                      </a:lnTo>
                      <a:lnTo>
                        <a:pt x="249" y="7"/>
                      </a:lnTo>
                      <a:lnTo>
                        <a:pt x="249" y="7"/>
                      </a:lnTo>
                      <a:lnTo>
                        <a:pt x="258" y="10"/>
                      </a:lnTo>
                      <a:lnTo>
                        <a:pt x="259" y="14"/>
                      </a:lnTo>
                      <a:lnTo>
                        <a:pt x="259" y="16"/>
                      </a:lnTo>
                      <a:lnTo>
                        <a:pt x="256" y="17"/>
                      </a:lnTo>
                      <a:lnTo>
                        <a:pt x="249" y="21"/>
                      </a:lnTo>
                      <a:lnTo>
                        <a:pt x="242" y="24"/>
                      </a:lnTo>
                      <a:lnTo>
                        <a:pt x="237" y="26"/>
                      </a:lnTo>
                      <a:lnTo>
                        <a:pt x="235" y="28"/>
                      </a:lnTo>
                      <a:lnTo>
                        <a:pt x="235" y="31"/>
                      </a:lnTo>
                      <a:lnTo>
                        <a:pt x="237" y="33"/>
                      </a:lnTo>
                      <a:lnTo>
                        <a:pt x="242" y="36"/>
                      </a:lnTo>
                      <a:lnTo>
                        <a:pt x="242" y="36"/>
                      </a:lnTo>
                      <a:lnTo>
                        <a:pt x="251" y="42"/>
                      </a:lnTo>
                      <a:lnTo>
                        <a:pt x="254" y="47"/>
                      </a:lnTo>
                      <a:lnTo>
                        <a:pt x="254" y="52"/>
                      </a:lnTo>
                      <a:lnTo>
                        <a:pt x="251" y="56"/>
                      </a:lnTo>
                      <a:lnTo>
                        <a:pt x="245" y="61"/>
                      </a:lnTo>
                      <a:lnTo>
                        <a:pt x="238" y="63"/>
                      </a:lnTo>
                      <a:lnTo>
                        <a:pt x="219" y="66"/>
                      </a:lnTo>
                      <a:lnTo>
                        <a:pt x="219" y="66"/>
                      </a:lnTo>
                      <a:lnTo>
                        <a:pt x="212" y="68"/>
                      </a:lnTo>
                      <a:lnTo>
                        <a:pt x="211" y="71"/>
                      </a:lnTo>
                      <a:lnTo>
                        <a:pt x="211" y="75"/>
                      </a:lnTo>
                      <a:lnTo>
                        <a:pt x="212" y="80"/>
                      </a:lnTo>
                      <a:lnTo>
                        <a:pt x="212" y="83"/>
                      </a:lnTo>
                      <a:lnTo>
                        <a:pt x="209" y="85"/>
                      </a:lnTo>
                      <a:lnTo>
                        <a:pt x="204" y="87"/>
                      </a:lnTo>
                      <a:lnTo>
                        <a:pt x="191" y="85"/>
                      </a:lnTo>
                      <a:lnTo>
                        <a:pt x="191" y="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5" name="Freeform 1724">
                  <a:extLst>
                    <a:ext uri="{FF2B5EF4-FFF2-40B4-BE49-F238E27FC236}">
                      <a16:creationId xmlns:a16="http://schemas.microsoft.com/office/drawing/2014/main" id="{203F8629-ED2C-2526-009E-3F265C945317}"/>
                    </a:ext>
                  </a:extLst>
                </p:cNvPr>
                <p:cNvSpPr>
                  <a:spLocks/>
                </p:cNvSpPr>
                <p:nvPr/>
              </p:nvSpPr>
              <p:spPr bwMode="auto">
                <a:xfrm>
                  <a:off x="1997446" y="1287309"/>
                  <a:ext cx="112768" cy="26430"/>
                </a:xfrm>
                <a:custGeom>
                  <a:avLst/>
                  <a:gdLst/>
                  <a:ahLst/>
                  <a:cxnLst>
                    <a:cxn ang="0">
                      <a:pos x="18" y="29"/>
                    </a:cxn>
                    <a:cxn ang="0">
                      <a:pos x="18" y="29"/>
                    </a:cxn>
                    <a:cxn ang="0">
                      <a:pos x="11" y="33"/>
                    </a:cxn>
                    <a:cxn ang="0">
                      <a:pos x="4" y="33"/>
                    </a:cxn>
                    <a:cxn ang="0">
                      <a:pos x="2" y="31"/>
                    </a:cxn>
                    <a:cxn ang="0">
                      <a:pos x="0" y="27"/>
                    </a:cxn>
                    <a:cxn ang="0">
                      <a:pos x="4" y="24"/>
                    </a:cxn>
                    <a:cxn ang="0">
                      <a:pos x="9" y="20"/>
                    </a:cxn>
                    <a:cxn ang="0">
                      <a:pos x="20" y="19"/>
                    </a:cxn>
                    <a:cxn ang="0">
                      <a:pos x="32" y="15"/>
                    </a:cxn>
                    <a:cxn ang="0">
                      <a:pos x="32" y="15"/>
                    </a:cxn>
                    <a:cxn ang="0">
                      <a:pos x="46" y="14"/>
                    </a:cxn>
                    <a:cxn ang="0">
                      <a:pos x="56" y="10"/>
                    </a:cxn>
                    <a:cxn ang="0">
                      <a:pos x="75" y="3"/>
                    </a:cxn>
                    <a:cxn ang="0">
                      <a:pos x="84" y="1"/>
                    </a:cxn>
                    <a:cxn ang="0">
                      <a:pos x="95" y="0"/>
                    </a:cxn>
                    <a:cxn ang="0">
                      <a:pos x="107" y="1"/>
                    </a:cxn>
                    <a:cxn ang="0">
                      <a:pos x="121" y="7"/>
                    </a:cxn>
                    <a:cxn ang="0">
                      <a:pos x="121" y="7"/>
                    </a:cxn>
                    <a:cxn ang="0">
                      <a:pos x="135" y="12"/>
                    </a:cxn>
                    <a:cxn ang="0">
                      <a:pos x="142" y="17"/>
                    </a:cxn>
                    <a:cxn ang="0">
                      <a:pos x="142" y="19"/>
                    </a:cxn>
                    <a:cxn ang="0">
                      <a:pos x="142" y="22"/>
                    </a:cxn>
                    <a:cxn ang="0">
                      <a:pos x="140" y="26"/>
                    </a:cxn>
                    <a:cxn ang="0">
                      <a:pos x="133" y="29"/>
                    </a:cxn>
                    <a:cxn ang="0">
                      <a:pos x="122" y="31"/>
                    </a:cxn>
                    <a:cxn ang="0">
                      <a:pos x="108" y="31"/>
                    </a:cxn>
                    <a:cxn ang="0">
                      <a:pos x="95" y="31"/>
                    </a:cxn>
                    <a:cxn ang="0">
                      <a:pos x="95" y="31"/>
                    </a:cxn>
                    <a:cxn ang="0">
                      <a:pos x="74" y="29"/>
                    </a:cxn>
                    <a:cxn ang="0">
                      <a:pos x="67" y="31"/>
                    </a:cxn>
                    <a:cxn ang="0">
                      <a:pos x="63" y="33"/>
                    </a:cxn>
                    <a:cxn ang="0">
                      <a:pos x="53" y="33"/>
                    </a:cxn>
                    <a:cxn ang="0">
                      <a:pos x="53" y="33"/>
                    </a:cxn>
                    <a:cxn ang="0">
                      <a:pos x="30" y="29"/>
                    </a:cxn>
                    <a:cxn ang="0">
                      <a:pos x="23" y="29"/>
                    </a:cxn>
                    <a:cxn ang="0">
                      <a:pos x="18" y="29"/>
                    </a:cxn>
                    <a:cxn ang="0">
                      <a:pos x="18" y="29"/>
                    </a:cxn>
                  </a:cxnLst>
                  <a:rect l="0" t="0" r="r" b="b"/>
                  <a:pathLst>
                    <a:path w="142" h="33">
                      <a:moveTo>
                        <a:pt x="18" y="29"/>
                      </a:moveTo>
                      <a:lnTo>
                        <a:pt x="18" y="29"/>
                      </a:lnTo>
                      <a:lnTo>
                        <a:pt x="11" y="33"/>
                      </a:lnTo>
                      <a:lnTo>
                        <a:pt x="4" y="33"/>
                      </a:lnTo>
                      <a:lnTo>
                        <a:pt x="2" y="31"/>
                      </a:lnTo>
                      <a:lnTo>
                        <a:pt x="0" y="27"/>
                      </a:lnTo>
                      <a:lnTo>
                        <a:pt x="4" y="24"/>
                      </a:lnTo>
                      <a:lnTo>
                        <a:pt x="9" y="20"/>
                      </a:lnTo>
                      <a:lnTo>
                        <a:pt x="20" y="19"/>
                      </a:lnTo>
                      <a:lnTo>
                        <a:pt x="32" y="15"/>
                      </a:lnTo>
                      <a:lnTo>
                        <a:pt x="32" y="15"/>
                      </a:lnTo>
                      <a:lnTo>
                        <a:pt x="46" y="14"/>
                      </a:lnTo>
                      <a:lnTo>
                        <a:pt x="56" y="10"/>
                      </a:lnTo>
                      <a:lnTo>
                        <a:pt x="75" y="3"/>
                      </a:lnTo>
                      <a:lnTo>
                        <a:pt x="84" y="1"/>
                      </a:lnTo>
                      <a:lnTo>
                        <a:pt x="95" y="0"/>
                      </a:lnTo>
                      <a:lnTo>
                        <a:pt x="107" y="1"/>
                      </a:lnTo>
                      <a:lnTo>
                        <a:pt x="121" y="7"/>
                      </a:lnTo>
                      <a:lnTo>
                        <a:pt x="121" y="7"/>
                      </a:lnTo>
                      <a:lnTo>
                        <a:pt x="135" y="12"/>
                      </a:lnTo>
                      <a:lnTo>
                        <a:pt x="142" y="17"/>
                      </a:lnTo>
                      <a:lnTo>
                        <a:pt x="142" y="19"/>
                      </a:lnTo>
                      <a:lnTo>
                        <a:pt x="142" y="22"/>
                      </a:lnTo>
                      <a:lnTo>
                        <a:pt x="140" y="26"/>
                      </a:lnTo>
                      <a:lnTo>
                        <a:pt x="133" y="29"/>
                      </a:lnTo>
                      <a:lnTo>
                        <a:pt x="122" y="31"/>
                      </a:lnTo>
                      <a:lnTo>
                        <a:pt x="108" y="31"/>
                      </a:lnTo>
                      <a:lnTo>
                        <a:pt x="95" y="31"/>
                      </a:lnTo>
                      <a:lnTo>
                        <a:pt x="95" y="31"/>
                      </a:lnTo>
                      <a:lnTo>
                        <a:pt x="74" y="29"/>
                      </a:lnTo>
                      <a:lnTo>
                        <a:pt x="67" y="31"/>
                      </a:lnTo>
                      <a:lnTo>
                        <a:pt x="63" y="33"/>
                      </a:lnTo>
                      <a:lnTo>
                        <a:pt x="53" y="33"/>
                      </a:lnTo>
                      <a:lnTo>
                        <a:pt x="53" y="33"/>
                      </a:lnTo>
                      <a:lnTo>
                        <a:pt x="30" y="29"/>
                      </a:lnTo>
                      <a:lnTo>
                        <a:pt x="23" y="29"/>
                      </a:lnTo>
                      <a:lnTo>
                        <a:pt x="18" y="29"/>
                      </a:lnTo>
                      <a:lnTo>
                        <a:pt x="18" y="2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6" name="Freeform 1725">
                  <a:extLst>
                    <a:ext uri="{FF2B5EF4-FFF2-40B4-BE49-F238E27FC236}">
                      <a16:creationId xmlns:a16="http://schemas.microsoft.com/office/drawing/2014/main" id="{865133D3-6E82-E82D-ADFC-308146397934}"/>
                    </a:ext>
                  </a:extLst>
                </p:cNvPr>
                <p:cNvSpPr>
                  <a:spLocks/>
                </p:cNvSpPr>
                <p:nvPr/>
              </p:nvSpPr>
              <p:spPr bwMode="auto">
                <a:xfrm>
                  <a:off x="1993924" y="1322550"/>
                  <a:ext cx="107483" cy="44050"/>
                </a:xfrm>
                <a:custGeom>
                  <a:avLst/>
                  <a:gdLst/>
                  <a:ahLst/>
                  <a:cxnLst>
                    <a:cxn ang="0">
                      <a:pos x="7" y="40"/>
                    </a:cxn>
                    <a:cxn ang="0">
                      <a:pos x="7" y="40"/>
                    </a:cxn>
                    <a:cxn ang="0">
                      <a:pos x="2" y="28"/>
                    </a:cxn>
                    <a:cxn ang="0">
                      <a:pos x="0" y="23"/>
                    </a:cxn>
                    <a:cxn ang="0">
                      <a:pos x="3" y="20"/>
                    </a:cxn>
                    <a:cxn ang="0">
                      <a:pos x="9" y="18"/>
                    </a:cxn>
                    <a:cxn ang="0">
                      <a:pos x="16" y="14"/>
                    </a:cxn>
                    <a:cxn ang="0">
                      <a:pos x="44" y="9"/>
                    </a:cxn>
                    <a:cxn ang="0">
                      <a:pos x="44" y="9"/>
                    </a:cxn>
                    <a:cxn ang="0">
                      <a:pos x="78" y="4"/>
                    </a:cxn>
                    <a:cxn ang="0">
                      <a:pos x="108" y="0"/>
                    </a:cxn>
                    <a:cxn ang="0">
                      <a:pos x="120" y="0"/>
                    </a:cxn>
                    <a:cxn ang="0">
                      <a:pos x="129" y="2"/>
                    </a:cxn>
                    <a:cxn ang="0">
                      <a:pos x="134" y="4"/>
                    </a:cxn>
                    <a:cxn ang="0">
                      <a:pos x="134" y="6"/>
                    </a:cxn>
                    <a:cxn ang="0">
                      <a:pos x="134" y="9"/>
                    </a:cxn>
                    <a:cxn ang="0">
                      <a:pos x="134" y="9"/>
                    </a:cxn>
                    <a:cxn ang="0">
                      <a:pos x="129" y="13"/>
                    </a:cxn>
                    <a:cxn ang="0">
                      <a:pos x="120" y="16"/>
                    </a:cxn>
                    <a:cxn ang="0">
                      <a:pos x="103" y="20"/>
                    </a:cxn>
                    <a:cxn ang="0">
                      <a:pos x="91" y="23"/>
                    </a:cxn>
                    <a:cxn ang="0">
                      <a:pos x="92" y="23"/>
                    </a:cxn>
                    <a:cxn ang="0">
                      <a:pos x="99" y="25"/>
                    </a:cxn>
                    <a:cxn ang="0">
                      <a:pos x="99" y="25"/>
                    </a:cxn>
                    <a:cxn ang="0">
                      <a:pos x="110" y="25"/>
                    </a:cxn>
                    <a:cxn ang="0">
                      <a:pos x="117" y="28"/>
                    </a:cxn>
                    <a:cxn ang="0">
                      <a:pos x="120" y="32"/>
                    </a:cxn>
                    <a:cxn ang="0">
                      <a:pos x="120" y="35"/>
                    </a:cxn>
                    <a:cxn ang="0">
                      <a:pos x="118" y="40"/>
                    </a:cxn>
                    <a:cxn ang="0">
                      <a:pos x="113" y="44"/>
                    </a:cxn>
                    <a:cxn ang="0">
                      <a:pos x="104" y="47"/>
                    </a:cxn>
                    <a:cxn ang="0">
                      <a:pos x="92" y="51"/>
                    </a:cxn>
                    <a:cxn ang="0">
                      <a:pos x="92" y="51"/>
                    </a:cxn>
                    <a:cxn ang="0">
                      <a:pos x="66" y="54"/>
                    </a:cxn>
                    <a:cxn ang="0">
                      <a:pos x="40" y="56"/>
                    </a:cxn>
                    <a:cxn ang="0">
                      <a:pos x="30" y="54"/>
                    </a:cxn>
                    <a:cxn ang="0">
                      <a:pos x="19" y="53"/>
                    </a:cxn>
                    <a:cxn ang="0">
                      <a:pos x="12" y="47"/>
                    </a:cxn>
                    <a:cxn ang="0">
                      <a:pos x="7" y="40"/>
                    </a:cxn>
                    <a:cxn ang="0">
                      <a:pos x="7" y="40"/>
                    </a:cxn>
                  </a:cxnLst>
                  <a:rect l="0" t="0" r="r" b="b"/>
                  <a:pathLst>
                    <a:path w="134" h="56">
                      <a:moveTo>
                        <a:pt x="7" y="40"/>
                      </a:moveTo>
                      <a:lnTo>
                        <a:pt x="7" y="40"/>
                      </a:lnTo>
                      <a:lnTo>
                        <a:pt x="2" y="28"/>
                      </a:lnTo>
                      <a:lnTo>
                        <a:pt x="0" y="23"/>
                      </a:lnTo>
                      <a:lnTo>
                        <a:pt x="3" y="20"/>
                      </a:lnTo>
                      <a:lnTo>
                        <a:pt x="9" y="18"/>
                      </a:lnTo>
                      <a:lnTo>
                        <a:pt x="16" y="14"/>
                      </a:lnTo>
                      <a:lnTo>
                        <a:pt x="44" y="9"/>
                      </a:lnTo>
                      <a:lnTo>
                        <a:pt x="44" y="9"/>
                      </a:lnTo>
                      <a:lnTo>
                        <a:pt x="78" y="4"/>
                      </a:lnTo>
                      <a:lnTo>
                        <a:pt x="108" y="0"/>
                      </a:lnTo>
                      <a:lnTo>
                        <a:pt x="120" y="0"/>
                      </a:lnTo>
                      <a:lnTo>
                        <a:pt x="129" y="2"/>
                      </a:lnTo>
                      <a:lnTo>
                        <a:pt x="134" y="4"/>
                      </a:lnTo>
                      <a:lnTo>
                        <a:pt x="134" y="6"/>
                      </a:lnTo>
                      <a:lnTo>
                        <a:pt x="134" y="9"/>
                      </a:lnTo>
                      <a:lnTo>
                        <a:pt x="134" y="9"/>
                      </a:lnTo>
                      <a:lnTo>
                        <a:pt x="129" y="13"/>
                      </a:lnTo>
                      <a:lnTo>
                        <a:pt x="120" y="16"/>
                      </a:lnTo>
                      <a:lnTo>
                        <a:pt x="103" y="20"/>
                      </a:lnTo>
                      <a:lnTo>
                        <a:pt x="91" y="23"/>
                      </a:lnTo>
                      <a:lnTo>
                        <a:pt x="92" y="23"/>
                      </a:lnTo>
                      <a:lnTo>
                        <a:pt x="99" y="25"/>
                      </a:lnTo>
                      <a:lnTo>
                        <a:pt x="99" y="25"/>
                      </a:lnTo>
                      <a:lnTo>
                        <a:pt x="110" y="25"/>
                      </a:lnTo>
                      <a:lnTo>
                        <a:pt x="117" y="28"/>
                      </a:lnTo>
                      <a:lnTo>
                        <a:pt x="120" y="32"/>
                      </a:lnTo>
                      <a:lnTo>
                        <a:pt x="120" y="35"/>
                      </a:lnTo>
                      <a:lnTo>
                        <a:pt x="118" y="40"/>
                      </a:lnTo>
                      <a:lnTo>
                        <a:pt x="113" y="44"/>
                      </a:lnTo>
                      <a:lnTo>
                        <a:pt x="104" y="47"/>
                      </a:lnTo>
                      <a:lnTo>
                        <a:pt x="92" y="51"/>
                      </a:lnTo>
                      <a:lnTo>
                        <a:pt x="92" y="51"/>
                      </a:lnTo>
                      <a:lnTo>
                        <a:pt x="66" y="54"/>
                      </a:lnTo>
                      <a:lnTo>
                        <a:pt x="40" y="56"/>
                      </a:lnTo>
                      <a:lnTo>
                        <a:pt x="30" y="54"/>
                      </a:lnTo>
                      <a:lnTo>
                        <a:pt x="19" y="53"/>
                      </a:lnTo>
                      <a:lnTo>
                        <a:pt x="12" y="47"/>
                      </a:lnTo>
                      <a:lnTo>
                        <a:pt x="7" y="40"/>
                      </a:lnTo>
                      <a:lnTo>
                        <a:pt x="7" y="4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7" name="Freeform 1726">
                  <a:extLst>
                    <a:ext uri="{FF2B5EF4-FFF2-40B4-BE49-F238E27FC236}">
                      <a16:creationId xmlns:a16="http://schemas.microsoft.com/office/drawing/2014/main" id="{4FA3E8D6-AB2B-892E-A0B0-377B8F32E4CF}"/>
                    </a:ext>
                  </a:extLst>
                </p:cNvPr>
                <p:cNvSpPr>
                  <a:spLocks/>
                </p:cNvSpPr>
                <p:nvPr/>
              </p:nvSpPr>
              <p:spPr bwMode="auto">
                <a:xfrm>
                  <a:off x="2289937" y="1401840"/>
                  <a:ext cx="158581" cy="96910"/>
                </a:xfrm>
                <a:custGeom>
                  <a:avLst/>
                  <a:gdLst/>
                  <a:ahLst/>
                  <a:cxnLst>
                    <a:cxn ang="0">
                      <a:pos x="112" y="117"/>
                    </a:cxn>
                    <a:cxn ang="0">
                      <a:pos x="96" y="120"/>
                    </a:cxn>
                    <a:cxn ang="0">
                      <a:pos x="91" y="117"/>
                    </a:cxn>
                    <a:cxn ang="0">
                      <a:pos x="86" y="101"/>
                    </a:cxn>
                    <a:cxn ang="0">
                      <a:pos x="82" y="94"/>
                    </a:cxn>
                    <a:cxn ang="0">
                      <a:pos x="80" y="89"/>
                    </a:cxn>
                    <a:cxn ang="0">
                      <a:pos x="84" y="84"/>
                    </a:cxn>
                    <a:cxn ang="0">
                      <a:pos x="103" y="75"/>
                    </a:cxn>
                    <a:cxn ang="0">
                      <a:pos x="124" y="68"/>
                    </a:cxn>
                    <a:cxn ang="0">
                      <a:pos x="119" y="68"/>
                    </a:cxn>
                    <a:cxn ang="0">
                      <a:pos x="93" y="70"/>
                    </a:cxn>
                    <a:cxn ang="0">
                      <a:pos x="40" y="79"/>
                    </a:cxn>
                    <a:cxn ang="0">
                      <a:pos x="11" y="80"/>
                    </a:cxn>
                    <a:cxn ang="0">
                      <a:pos x="4" y="77"/>
                    </a:cxn>
                    <a:cxn ang="0">
                      <a:pos x="0" y="73"/>
                    </a:cxn>
                    <a:cxn ang="0">
                      <a:pos x="4" y="68"/>
                    </a:cxn>
                    <a:cxn ang="0">
                      <a:pos x="18" y="61"/>
                    </a:cxn>
                    <a:cxn ang="0">
                      <a:pos x="28" y="56"/>
                    </a:cxn>
                    <a:cxn ang="0">
                      <a:pos x="32" y="54"/>
                    </a:cxn>
                    <a:cxn ang="0">
                      <a:pos x="46" y="56"/>
                    </a:cxn>
                    <a:cxn ang="0">
                      <a:pos x="49" y="56"/>
                    </a:cxn>
                    <a:cxn ang="0">
                      <a:pos x="40" y="47"/>
                    </a:cxn>
                    <a:cxn ang="0">
                      <a:pos x="25" y="28"/>
                    </a:cxn>
                    <a:cxn ang="0">
                      <a:pos x="25" y="21"/>
                    </a:cxn>
                    <a:cxn ang="0">
                      <a:pos x="37" y="18"/>
                    </a:cxn>
                    <a:cxn ang="0">
                      <a:pos x="47" y="18"/>
                    </a:cxn>
                    <a:cxn ang="0">
                      <a:pos x="63" y="20"/>
                    </a:cxn>
                    <a:cxn ang="0">
                      <a:pos x="68" y="26"/>
                    </a:cxn>
                    <a:cxn ang="0">
                      <a:pos x="79" y="37"/>
                    </a:cxn>
                    <a:cxn ang="0">
                      <a:pos x="108" y="54"/>
                    </a:cxn>
                    <a:cxn ang="0">
                      <a:pos x="89" y="35"/>
                    </a:cxn>
                    <a:cxn ang="0">
                      <a:pos x="70" y="18"/>
                    </a:cxn>
                    <a:cxn ang="0">
                      <a:pos x="72" y="11"/>
                    </a:cxn>
                    <a:cxn ang="0">
                      <a:pos x="77" y="9"/>
                    </a:cxn>
                    <a:cxn ang="0">
                      <a:pos x="103" y="4"/>
                    </a:cxn>
                    <a:cxn ang="0">
                      <a:pos x="121" y="7"/>
                    </a:cxn>
                    <a:cxn ang="0">
                      <a:pos x="126" y="11"/>
                    </a:cxn>
                    <a:cxn ang="0">
                      <a:pos x="133" y="13"/>
                    </a:cxn>
                    <a:cxn ang="0">
                      <a:pos x="140" y="4"/>
                    </a:cxn>
                    <a:cxn ang="0">
                      <a:pos x="150" y="0"/>
                    </a:cxn>
                    <a:cxn ang="0">
                      <a:pos x="161" y="4"/>
                    </a:cxn>
                    <a:cxn ang="0">
                      <a:pos x="178" y="18"/>
                    </a:cxn>
                    <a:cxn ang="0">
                      <a:pos x="183" y="35"/>
                    </a:cxn>
                    <a:cxn ang="0">
                      <a:pos x="187" y="61"/>
                    </a:cxn>
                    <a:cxn ang="0">
                      <a:pos x="190" y="68"/>
                    </a:cxn>
                    <a:cxn ang="0">
                      <a:pos x="199" y="86"/>
                    </a:cxn>
                    <a:cxn ang="0">
                      <a:pos x="195" y="87"/>
                    </a:cxn>
                    <a:cxn ang="0">
                      <a:pos x="188" y="82"/>
                    </a:cxn>
                    <a:cxn ang="0">
                      <a:pos x="180" y="79"/>
                    </a:cxn>
                    <a:cxn ang="0">
                      <a:pos x="176" y="80"/>
                    </a:cxn>
                    <a:cxn ang="0">
                      <a:pos x="181" y="100"/>
                    </a:cxn>
                    <a:cxn ang="0">
                      <a:pos x="183" y="105"/>
                    </a:cxn>
                    <a:cxn ang="0">
                      <a:pos x="180" y="112"/>
                    </a:cxn>
                    <a:cxn ang="0">
                      <a:pos x="161" y="117"/>
                    </a:cxn>
                    <a:cxn ang="0">
                      <a:pos x="145" y="115"/>
                    </a:cxn>
                    <a:cxn ang="0">
                      <a:pos x="119" y="115"/>
                    </a:cxn>
                    <a:cxn ang="0">
                      <a:pos x="112" y="117"/>
                    </a:cxn>
                  </a:cxnLst>
                  <a:rect l="0" t="0" r="r" b="b"/>
                  <a:pathLst>
                    <a:path w="199" h="120">
                      <a:moveTo>
                        <a:pt x="112" y="117"/>
                      </a:moveTo>
                      <a:lnTo>
                        <a:pt x="112" y="117"/>
                      </a:lnTo>
                      <a:lnTo>
                        <a:pt x="101" y="120"/>
                      </a:lnTo>
                      <a:lnTo>
                        <a:pt x="96" y="120"/>
                      </a:lnTo>
                      <a:lnTo>
                        <a:pt x="93" y="120"/>
                      </a:lnTo>
                      <a:lnTo>
                        <a:pt x="91" y="117"/>
                      </a:lnTo>
                      <a:lnTo>
                        <a:pt x="87" y="107"/>
                      </a:lnTo>
                      <a:lnTo>
                        <a:pt x="86" y="101"/>
                      </a:lnTo>
                      <a:lnTo>
                        <a:pt x="82" y="94"/>
                      </a:lnTo>
                      <a:lnTo>
                        <a:pt x="82" y="94"/>
                      </a:lnTo>
                      <a:lnTo>
                        <a:pt x="80" y="93"/>
                      </a:lnTo>
                      <a:lnTo>
                        <a:pt x="80" y="89"/>
                      </a:lnTo>
                      <a:lnTo>
                        <a:pt x="82" y="87"/>
                      </a:lnTo>
                      <a:lnTo>
                        <a:pt x="84" y="84"/>
                      </a:lnTo>
                      <a:lnTo>
                        <a:pt x="93" y="80"/>
                      </a:lnTo>
                      <a:lnTo>
                        <a:pt x="103" y="75"/>
                      </a:lnTo>
                      <a:lnTo>
                        <a:pt x="121" y="70"/>
                      </a:lnTo>
                      <a:lnTo>
                        <a:pt x="124" y="68"/>
                      </a:lnTo>
                      <a:lnTo>
                        <a:pt x="119" y="68"/>
                      </a:lnTo>
                      <a:lnTo>
                        <a:pt x="119" y="68"/>
                      </a:lnTo>
                      <a:lnTo>
                        <a:pt x="108" y="68"/>
                      </a:lnTo>
                      <a:lnTo>
                        <a:pt x="93" y="70"/>
                      </a:lnTo>
                      <a:lnTo>
                        <a:pt x="58" y="75"/>
                      </a:lnTo>
                      <a:lnTo>
                        <a:pt x="40" y="79"/>
                      </a:lnTo>
                      <a:lnTo>
                        <a:pt x="25" y="80"/>
                      </a:lnTo>
                      <a:lnTo>
                        <a:pt x="11" y="80"/>
                      </a:lnTo>
                      <a:lnTo>
                        <a:pt x="7" y="79"/>
                      </a:lnTo>
                      <a:lnTo>
                        <a:pt x="4" y="77"/>
                      </a:lnTo>
                      <a:lnTo>
                        <a:pt x="4" y="77"/>
                      </a:lnTo>
                      <a:lnTo>
                        <a:pt x="0" y="73"/>
                      </a:lnTo>
                      <a:lnTo>
                        <a:pt x="0" y="70"/>
                      </a:lnTo>
                      <a:lnTo>
                        <a:pt x="4" y="68"/>
                      </a:lnTo>
                      <a:lnTo>
                        <a:pt x="7" y="67"/>
                      </a:lnTo>
                      <a:lnTo>
                        <a:pt x="18" y="61"/>
                      </a:lnTo>
                      <a:lnTo>
                        <a:pt x="23" y="60"/>
                      </a:lnTo>
                      <a:lnTo>
                        <a:pt x="28" y="56"/>
                      </a:lnTo>
                      <a:lnTo>
                        <a:pt x="28" y="56"/>
                      </a:lnTo>
                      <a:lnTo>
                        <a:pt x="32" y="54"/>
                      </a:lnTo>
                      <a:lnTo>
                        <a:pt x="37" y="54"/>
                      </a:lnTo>
                      <a:lnTo>
                        <a:pt x="46" y="56"/>
                      </a:lnTo>
                      <a:lnTo>
                        <a:pt x="49" y="58"/>
                      </a:lnTo>
                      <a:lnTo>
                        <a:pt x="49" y="56"/>
                      </a:lnTo>
                      <a:lnTo>
                        <a:pt x="40" y="47"/>
                      </a:lnTo>
                      <a:lnTo>
                        <a:pt x="40" y="47"/>
                      </a:lnTo>
                      <a:lnTo>
                        <a:pt x="28" y="33"/>
                      </a:lnTo>
                      <a:lnTo>
                        <a:pt x="25" y="28"/>
                      </a:lnTo>
                      <a:lnTo>
                        <a:pt x="23" y="25"/>
                      </a:lnTo>
                      <a:lnTo>
                        <a:pt x="25" y="21"/>
                      </a:lnTo>
                      <a:lnTo>
                        <a:pt x="28" y="20"/>
                      </a:lnTo>
                      <a:lnTo>
                        <a:pt x="37" y="18"/>
                      </a:lnTo>
                      <a:lnTo>
                        <a:pt x="47" y="18"/>
                      </a:lnTo>
                      <a:lnTo>
                        <a:pt x="47" y="18"/>
                      </a:lnTo>
                      <a:lnTo>
                        <a:pt x="56" y="20"/>
                      </a:lnTo>
                      <a:lnTo>
                        <a:pt x="63" y="20"/>
                      </a:lnTo>
                      <a:lnTo>
                        <a:pt x="65" y="23"/>
                      </a:lnTo>
                      <a:lnTo>
                        <a:pt x="68" y="26"/>
                      </a:lnTo>
                      <a:lnTo>
                        <a:pt x="72" y="32"/>
                      </a:lnTo>
                      <a:lnTo>
                        <a:pt x="79" y="37"/>
                      </a:lnTo>
                      <a:lnTo>
                        <a:pt x="91" y="46"/>
                      </a:lnTo>
                      <a:lnTo>
                        <a:pt x="108" y="54"/>
                      </a:lnTo>
                      <a:lnTo>
                        <a:pt x="108" y="54"/>
                      </a:lnTo>
                      <a:lnTo>
                        <a:pt x="89" y="35"/>
                      </a:lnTo>
                      <a:lnTo>
                        <a:pt x="75" y="21"/>
                      </a:lnTo>
                      <a:lnTo>
                        <a:pt x="70" y="18"/>
                      </a:lnTo>
                      <a:lnTo>
                        <a:pt x="70" y="13"/>
                      </a:lnTo>
                      <a:lnTo>
                        <a:pt x="72" y="11"/>
                      </a:lnTo>
                      <a:lnTo>
                        <a:pt x="77" y="9"/>
                      </a:lnTo>
                      <a:lnTo>
                        <a:pt x="77" y="9"/>
                      </a:lnTo>
                      <a:lnTo>
                        <a:pt x="91" y="6"/>
                      </a:lnTo>
                      <a:lnTo>
                        <a:pt x="103" y="4"/>
                      </a:lnTo>
                      <a:lnTo>
                        <a:pt x="115" y="6"/>
                      </a:lnTo>
                      <a:lnTo>
                        <a:pt x="121" y="7"/>
                      </a:lnTo>
                      <a:lnTo>
                        <a:pt x="126" y="11"/>
                      </a:lnTo>
                      <a:lnTo>
                        <a:pt x="126" y="11"/>
                      </a:lnTo>
                      <a:lnTo>
                        <a:pt x="131" y="14"/>
                      </a:lnTo>
                      <a:lnTo>
                        <a:pt x="133" y="13"/>
                      </a:lnTo>
                      <a:lnTo>
                        <a:pt x="136" y="7"/>
                      </a:lnTo>
                      <a:lnTo>
                        <a:pt x="140" y="4"/>
                      </a:lnTo>
                      <a:lnTo>
                        <a:pt x="143" y="0"/>
                      </a:lnTo>
                      <a:lnTo>
                        <a:pt x="150" y="0"/>
                      </a:lnTo>
                      <a:lnTo>
                        <a:pt x="161" y="4"/>
                      </a:lnTo>
                      <a:lnTo>
                        <a:pt x="161" y="4"/>
                      </a:lnTo>
                      <a:lnTo>
                        <a:pt x="171" y="11"/>
                      </a:lnTo>
                      <a:lnTo>
                        <a:pt x="178" y="18"/>
                      </a:lnTo>
                      <a:lnTo>
                        <a:pt x="181" y="26"/>
                      </a:lnTo>
                      <a:lnTo>
                        <a:pt x="183" y="35"/>
                      </a:lnTo>
                      <a:lnTo>
                        <a:pt x="185" y="54"/>
                      </a:lnTo>
                      <a:lnTo>
                        <a:pt x="187" y="61"/>
                      </a:lnTo>
                      <a:lnTo>
                        <a:pt x="190" y="68"/>
                      </a:lnTo>
                      <a:lnTo>
                        <a:pt x="190" y="68"/>
                      </a:lnTo>
                      <a:lnTo>
                        <a:pt x="195" y="79"/>
                      </a:lnTo>
                      <a:lnTo>
                        <a:pt x="199" y="86"/>
                      </a:lnTo>
                      <a:lnTo>
                        <a:pt x="197" y="87"/>
                      </a:lnTo>
                      <a:lnTo>
                        <a:pt x="195" y="87"/>
                      </a:lnTo>
                      <a:lnTo>
                        <a:pt x="188" y="82"/>
                      </a:lnTo>
                      <a:lnTo>
                        <a:pt x="188" y="82"/>
                      </a:lnTo>
                      <a:lnTo>
                        <a:pt x="183" y="79"/>
                      </a:lnTo>
                      <a:lnTo>
                        <a:pt x="180" y="79"/>
                      </a:lnTo>
                      <a:lnTo>
                        <a:pt x="176" y="79"/>
                      </a:lnTo>
                      <a:lnTo>
                        <a:pt x="176" y="80"/>
                      </a:lnTo>
                      <a:lnTo>
                        <a:pt x="176" y="89"/>
                      </a:lnTo>
                      <a:lnTo>
                        <a:pt x="181" y="100"/>
                      </a:lnTo>
                      <a:lnTo>
                        <a:pt x="181" y="100"/>
                      </a:lnTo>
                      <a:lnTo>
                        <a:pt x="183" y="105"/>
                      </a:lnTo>
                      <a:lnTo>
                        <a:pt x="183" y="108"/>
                      </a:lnTo>
                      <a:lnTo>
                        <a:pt x="180" y="112"/>
                      </a:lnTo>
                      <a:lnTo>
                        <a:pt x="175" y="114"/>
                      </a:lnTo>
                      <a:lnTo>
                        <a:pt x="161" y="117"/>
                      </a:lnTo>
                      <a:lnTo>
                        <a:pt x="145" y="115"/>
                      </a:lnTo>
                      <a:lnTo>
                        <a:pt x="145" y="115"/>
                      </a:lnTo>
                      <a:lnTo>
                        <a:pt x="126" y="114"/>
                      </a:lnTo>
                      <a:lnTo>
                        <a:pt x="119" y="115"/>
                      </a:lnTo>
                      <a:lnTo>
                        <a:pt x="112" y="117"/>
                      </a:lnTo>
                      <a:lnTo>
                        <a:pt x="112" y="1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8" name="Freeform 1727">
                  <a:extLst>
                    <a:ext uri="{FF2B5EF4-FFF2-40B4-BE49-F238E27FC236}">
                      <a16:creationId xmlns:a16="http://schemas.microsoft.com/office/drawing/2014/main" id="{FF92E69C-0561-A26E-E4A4-9B5AD4FB3E6E}"/>
                    </a:ext>
                  </a:extLst>
                </p:cNvPr>
                <p:cNvSpPr>
                  <a:spLocks/>
                </p:cNvSpPr>
                <p:nvPr/>
              </p:nvSpPr>
              <p:spPr bwMode="auto">
                <a:xfrm>
                  <a:off x="1216882" y="1655566"/>
                  <a:ext cx="2401609" cy="1333835"/>
                </a:xfrm>
                <a:custGeom>
                  <a:avLst/>
                  <a:gdLst/>
                  <a:ahLst/>
                  <a:cxnLst>
                    <a:cxn ang="0">
                      <a:pos x="1701" y="1345"/>
                    </a:cxn>
                    <a:cxn ang="0">
                      <a:pos x="1825" y="1336"/>
                    </a:cxn>
                    <a:cxn ang="0">
                      <a:pos x="1879" y="1324"/>
                    </a:cxn>
                    <a:cxn ang="0">
                      <a:pos x="1973" y="1414"/>
                    </a:cxn>
                    <a:cxn ang="0">
                      <a:pos x="2072" y="1460"/>
                    </a:cxn>
                    <a:cxn ang="0">
                      <a:pos x="2140" y="1524"/>
                    </a:cxn>
                    <a:cxn ang="0">
                      <a:pos x="2095" y="1515"/>
                    </a:cxn>
                    <a:cxn ang="0">
                      <a:pos x="2051" y="1625"/>
                    </a:cxn>
                    <a:cxn ang="0">
                      <a:pos x="2075" y="1644"/>
                    </a:cxn>
                    <a:cxn ang="0">
                      <a:pos x="2150" y="1592"/>
                    </a:cxn>
                    <a:cxn ang="0">
                      <a:pos x="2323" y="1513"/>
                    </a:cxn>
                    <a:cxn ang="0">
                      <a:pos x="2478" y="1470"/>
                    </a:cxn>
                    <a:cxn ang="0">
                      <a:pos x="2566" y="1421"/>
                    </a:cxn>
                    <a:cxn ang="0">
                      <a:pos x="2685" y="1496"/>
                    </a:cxn>
                    <a:cxn ang="0">
                      <a:pos x="2741" y="1529"/>
                    </a:cxn>
                    <a:cxn ang="0">
                      <a:pos x="2673" y="1428"/>
                    </a:cxn>
                    <a:cxn ang="0">
                      <a:pos x="2573" y="1322"/>
                    </a:cxn>
                    <a:cxn ang="0">
                      <a:pos x="2600" y="1263"/>
                    </a:cxn>
                    <a:cxn ang="0">
                      <a:pos x="2993" y="1146"/>
                    </a:cxn>
                    <a:cxn ang="0">
                      <a:pos x="2835" y="1085"/>
                    </a:cxn>
                    <a:cxn ang="0">
                      <a:pos x="2838" y="984"/>
                    </a:cxn>
                    <a:cxn ang="0">
                      <a:pos x="2772" y="845"/>
                    </a:cxn>
                    <a:cxn ang="0">
                      <a:pos x="2645" y="749"/>
                    </a:cxn>
                    <a:cxn ang="0">
                      <a:pos x="2512" y="770"/>
                    </a:cxn>
                    <a:cxn ang="0">
                      <a:pos x="2450" y="655"/>
                    </a:cxn>
                    <a:cxn ang="0">
                      <a:pos x="2213" y="582"/>
                    </a:cxn>
                    <a:cxn ang="0">
                      <a:pos x="2199" y="775"/>
                    </a:cxn>
                    <a:cxn ang="0">
                      <a:pos x="2152" y="1023"/>
                    </a:cxn>
                    <a:cxn ang="0">
                      <a:pos x="2152" y="1191"/>
                    </a:cxn>
                    <a:cxn ang="0">
                      <a:pos x="2023" y="986"/>
                    </a:cxn>
                    <a:cxn ang="0">
                      <a:pos x="1708" y="892"/>
                    </a:cxn>
                    <a:cxn ang="0">
                      <a:pos x="1647" y="653"/>
                    </a:cxn>
                    <a:cxn ang="0">
                      <a:pos x="1792" y="500"/>
                    </a:cxn>
                    <a:cxn ang="0">
                      <a:pos x="1790" y="387"/>
                    </a:cxn>
                    <a:cxn ang="0">
                      <a:pos x="1955" y="349"/>
                    </a:cxn>
                    <a:cxn ang="0">
                      <a:pos x="2060" y="330"/>
                    </a:cxn>
                    <a:cxn ang="0">
                      <a:pos x="2095" y="215"/>
                    </a:cxn>
                    <a:cxn ang="0">
                      <a:pos x="1966" y="136"/>
                    </a:cxn>
                    <a:cxn ang="0">
                      <a:pos x="1910" y="276"/>
                    </a:cxn>
                    <a:cxn ang="0">
                      <a:pos x="1809" y="180"/>
                    </a:cxn>
                    <a:cxn ang="0">
                      <a:pos x="1734" y="152"/>
                    </a:cxn>
                    <a:cxn ang="0">
                      <a:pos x="1617" y="0"/>
                    </a:cxn>
                    <a:cxn ang="0">
                      <a:pos x="1574" y="136"/>
                    </a:cxn>
                    <a:cxn ang="0">
                      <a:pos x="1616" y="246"/>
                    </a:cxn>
                    <a:cxn ang="0">
                      <a:pos x="1546" y="234"/>
                    </a:cxn>
                    <a:cxn ang="0">
                      <a:pos x="1306" y="248"/>
                    </a:cxn>
                    <a:cxn ang="0">
                      <a:pos x="1201" y="229"/>
                    </a:cxn>
                    <a:cxn ang="0">
                      <a:pos x="1066" y="258"/>
                    </a:cxn>
                    <a:cxn ang="0">
                      <a:pos x="832" y="192"/>
                    </a:cxn>
                    <a:cxn ang="0">
                      <a:pos x="576" y="117"/>
                    </a:cxn>
                    <a:cxn ang="0">
                      <a:pos x="458" y="108"/>
                    </a:cxn>
                    <a:cxn ang="0">
                      <a:pos x="355" y="117"/>
                    </a:cxn>
                    <a:cxn ang="0">
                      <a:pos x="171" y="199"/>
                    </a:cxn>
                    <a:cxn ang="0">
                      <a:pos x="66" y="706"/>
                    </a:cxn>
                    <a:cxn ang="0">
                      <a:pos x="157" y="756"/>
                    </a:cxn>
                    <a:cxn ang="0">
                      <a:pos x="261" y="805"/>
                    </a:cxn>
                    <a:cxn ang="0">
                      <a:pos x="371" y="935"/>
                    </a:cxn>
                    <a:cxn ang="0">
                      <a:pos x="386" y="1063"/>
                    </a:cxn>
                    <a:cxn ang="0">
                      <a:pos x="449" y="1122"/>
                    </a:cxn>
                    <a:cxn ang="0">
                      <a:pos x="496" y="1144"/>
                    </a:cxn>
                    <a:cxn ang="0">
                      <a:pos x="480" y="1216"/>
                    </a:cxn>
                    <a:cxn ang="0">
                      <a:pos x="569" y="1244"/>
                    </a:cxn>
                    <a:cxn ang="0">
                      <a:pos x="594" y="1282"/>
                    </a:cxn>
                  </a:cxnLst>
                  <a:rect l="0" t="0" r="r" b="b"/>
                  <a:pathLst>
                    <a:path w="2993" h="1663">
                      <a:moveTo>
                        <a:pt x="1605" y="1313"/>
                      </a:moveTo>
                      <a:lnTo>
                        <a:pt x="1605" y="1313"/>
                      </a:lnTo>
                      <a:lnTo>
                        <a:pt x="1607" y="1313"/>
                      </a:lnTo>
                      <a:lnTo>
                        <a:pt x="1607" y="1310"/>
                      </a:lnTo>
                      <a:lnTo>
                        <a:pt x="1607" y="1303"/>
                      </a:lnTo>
                      <a:lnTo>
                        <a:pt x="1607" y="1296"/>
                      </a:lnTo>
                      <a:lnTo>
                        <a:pt x="1609" y="1294"/>
                      </a:lnTo>
                      <a:lnTo>
                        <a:pt x="1612" y="1294"/>
                      </a:lnTo>
                      <a:lnTo>
                        <a:pt x="1612" y="1294"/>
                      </a:lnTo>
                      <a:lnTo>
                        <a:pt x="1617" y="1298"/>
                      </a:lnTo>
                      <a:lnTo>
                        <a:pt x="1619" y="1301"/>
                      </a:lnTo>
                      <a:lnTo>
                        <a:pt x="1623" y="1318"/>
                      </a:lnTo>
                      <a:lnTo>
                        <a:pt x="1623" y="1318"/>
                      </a:lnTo>
                      <a:lnTo>
                        <a:pt x="1624" y="1324"/>
                      </a:lnTo>
                      <a:lnTo>
                        <a:pt x="1628" y="1327"/>
                      </a:lnTo>
                      <a:lnTo>
                        <a:pt x="1631" y="1329"/>
                      </a:lnTo>
                      <a:lnTo>
                        <a:pt x="1637" y="1331"/>
                      </a:lnTo>
                      <a:lnTo>
                        <a:pt x="1645" y="1332"/>
                      </a:lnTo>
                      <a:lnTo>
                        <a:pt x="1651" y="1334"/>
                      </a:lnTo>
                      <a:lnTo>
                        <a:pt x="1654" y="1336"/>
                      </a:lnTo>
                      <a:lnTo>
                        <a:pt x="1654" y="1336"/>
                      </a:lnTo>
                      <a:lnTo>
                        <a:pt x="1656" y="1339"/>
                      </a:lnTo>
                      <a:lnTo>
                        <a:pt x="1658" y="1339"/>
                      </a:lnTo>
                      <a:lnTo>
                        <a:pt x="1663" y="1336"/>
                      </a:lnTo>
                      <a:lnTo>
                        <a:pt x="1666" y="1334"/>
                      </a:lnTo>
                      <a:lnTo>
                        <a:pt x="1671" y="1334"/>
                      </a:lnTo>
                      <a:lnTo>
                        <a:pt x="1677" y="1334"/>
                      </a:lnTo>
                      <a:lnTo>
                        <a:pt x="1685" y="1336"/>
                      </a:lnTo>
                      <a:lnTo>
                        <a:pt x="1685" y="1336"/>
                      </a:lnTo>
                      <a:lnTo>
                        <a:pt x="1692" y="1339"/>
                      </a:lnTo>
                      <a:lnTo>
                        <a:pt x="1698" y="1343"/>
                      </a:lnTo>
                      <a:lnTo>
                        <a:pt x="1701" y="1345"/>
                      </a:lnTo>
                      <a:lnTo>
                        <a:pt x="1701" y="1348"/>
                      </a:lnTo>
                      <a:lnTo>
                        <a:pt x="1703" y="1352"/>
                      </a:lnTo>
                      <a:lnTo>
                        <a:pt x="1708" y="1348"/>
                      </a:lnTo>
                      <a:lnTo>
                        <a:pt x="1708" y="1348"/>
                      </a:lnTo>
                      <a:lnTo>
                        <a:pt x="1713" y="1346"/>
                      </a:lnTo>
                      <a:lnTo>
                        <a:pt x="1717" y="1348"/>
                      </a:lnTo>
                      <a:lnTo>
                        <a:pt x="1724" y="1355"/>
                      </a:lnTo>
                      <a:lnTo>
                        <a:pt x="1727" y="1359"/>
                      </a:lnTo>
                      <a:lnTo>
                        <a:pt x="1732" y="1360"/>
                      </a:lnTo>
                      <a:lnTo>
                        <a:pt x="1738" y="1362"/>
                      </a:lnTo>
                      <a:lnTo>
                        <a:pt x="1743" y="1360"/>
                      </a:lnTo>
                      <a:lnTo>
                        <a:pt x="1743" y="1360"/>
                      </a:lnTo>
                      <a:lnTo>
                        <a:pt x="1755" y="1355"/>
                      </a:lnTo>
                      <a:lnTo>
                        <a:pt x="1757" y="1355"/>
                      </a:lnTo>
                      <a:lnTo>
                        <a:pt x="1759" y="1355"/>
                      </a:lnTo>
                      <a:lnTo>
                        <a:pt x="1762" y="1359"/>
                      </a:lnTo>
                      <a:lnTo>
                        <a:pt x="1765" y="1360"/>
                      </a:lnTo>
                      <a:lnTo>
                        <a:pt x="1772" y="1360"/>
                      </a:lnTo>
                      <a:lnTo>
                        <a:pt x="1772" y="1360"/>
                      </a:lnTo>
                      <a:lnTo>
                        <a:pt x="1783" y="1360"/>
                      </a:lnTo>
                      <a:lnTo>
                        <a:pt x="1788" y="1362"/>
                      </a:lnTo>
                      <a:lnTo>
                        <a:pt x="1792" y="1364"/>
                      </a:lnTo>
                      <a:lnTo>
                        <a:pt x="1802" y="1364"/>
                      </a:lnTo>
                      <a:lnTo>
                        <a:pt x="1802" y="1364"/>
                      </a:lnTo>
                      <a:lnTo>
                        <a:pt x="1806" y="1362"/>
                      </a:lnTo>
                      <a:lnTo>
                        <a:pt x="1806" y="1362"/>
                      </a:lnTo>
                      <a:lnTo>
                        <a:pt x="1809" y="1359"/>
                      </a:lnTo>
                      <a:lnTo>
                        <a:pt x="1812" y="1355"/>
                      </a:lnTo>
                      <a:lnTo>
                        <a:pt x="1816" y="1345"/>
                      </a:lnTo>
                      <a:lnTo>
                        <a:pt x="1816" y="1345"/>
                      </a:lnTo>
                      <a:lnTo>
                        <a:pt x="1819" y="1339"/>
                      </a:lnTo>
                      <a:lnTo>
                        <a:pt x="1825" y="1336"/>
                      </a:lnTo>
                      <a:lnTo>
                        <a:pt x="1826" y="1336"/>
                      </a:lnTo>
                      <a:lnTo>
                        <a:pt x="1828" y="1338"/>
                      </a:lnTo>
                      <a:lnTo>
                        <a:pt x="1828" y="1339"/>
                      </a:lnTo>
                      <a:lnTo>
                        <a:pt x="1828" y="1343"/>
                      </a:lnTo>
                      <a:lnTo>
                        <a:pt x="1828" y="1343"/>
                      </a:lnTo>
                      <a:lnTo>
                        <a:pt x="1826" y="1346"/>
                      </a:lnTo>
                      <a:lnTo>
                        <a:pt x="1830" y="1345"/>
                      </a:lnTo>
                      <a:lnTo>
                        <a:pt x="1833" y="1338"/>
                      </a:lnTo>
                      <a:lnTo>
                        <a:pt x="1839" y="1327"/>
                      </a:lnTo>
                      <a:lnTo>
                        <a:pt x="1839" y="1327"/>
                      </a:lnTo>
                      <a:lnTo>
                        <a:pt x="1842" y="1320"/>
                      </a:lnTo>
                      <a:lnTo>
                        <a:pt x="1844" y="1320"/>
                      </a:lnTo>
                      <a:lnTo>
                        <a:pt x="1844" y="1320"/>
                      </a:lnTo>
                      <a:lnTo>
                        <a:pt x="1846" y="1325"/>
                      </a:lnTo>
                      <a:lnTo>
                        <a:pt x="1842" y="1332"/>
                      </a:lnTo>
                      <a:lnTo>
                        <a:pt x="1842" y="1332"/>
                      </a:lnTo>
                      <a:lnTo>
                        <a:pt x="1840" y="1339"/>
                      </a:lnTo>
                      <a:lnTo>
                        <a:pt x="1840" y="1339"/>
                      </a:lnTo>
                      <a:lnTo>
                        <a:pt x="1840" y="1339"/>
                      </a:lnTo>
                      <a:lnTo>
                        <a:pt x="1851" y="1334"/>
                      </a:lnTo>
                      <a:lnTo>
                        <a:pt x="1851" y="1334"/>
                      </a:lnTo>
                      <a:lnTo>
                        <a:pt x="1854" y="1331"/>
                      </a:lnTo>
                      <a:lnTo>
                        <a:pt x="1854" y="1329"/>
                      </a:lnTo>
                      <a:lnTo>
                        <a:pt x="1853" y="1322"/>
                      </a:lnTo>
                      <a:lnTo>
                        <a:pt x="1851" y="1318"/>
                      </a:lnTo>
                      <a:lnTo>
                        <a:pt x="1851" y="1315"/>
                      </a:lnTo>
                      <a:lnTo>
                        <a:pt x="1853" y="1313"/>
                      </a:lnTo>
                      <a:lnTo>
                        <a:pt x="1853" y="1313"/>
                      </a:lnTo>
                      <a:lnTo>
                        <a:pt x="1854" y="1313"/>
                      </a:lnTo>
                      <a:lnTo>
                        <a:pt x="1858" y="1315"/>
                      </a:lnTo>
                      <a:lnTo>
                        <a:pt x="1868" y="1318"/>
                      </a:lnTo>
                      <a:lnTo>
                        <a:pt x="1879" y="1324"/>
                      </a:lnTo>
                      <a:lnTo>
                        <a:pt x="1884" y="1324"/>
                      </a:lnTo>
                      <a:lnTo>
                        <a:pt x="1889" y="1324"/>
                      </a:lnTo>
                      <a:lnTo>
                        <a:pt x="1889" y="1324"/>
                      </a:lnTo>
                      <a:lnTo>
                        <a:pt x="1896" y="1324"/>
                      </a:lnTo>
                      <a:lnTo>
                        <a:pt x="1900" y="1325"/>
                      </a:lnTo>
                      <a:lnTo>
                        <a:pt x="1903" y="1325"/>
                      </a:lnTo>
                      <a:lnTo>
                        <a:pt x="1910" y="1325"/>
                      </a:lnTo>
                      <a:lnTo>
                        <a:pt x="1910" y="1325"/>
                      </a:lnTo>
                      <a:lnTo>
                        <a:pt x="1913" y="1325"/>
                      </a:lnTo>
                      <a:lnTo>
                        <a:pt x="1917" y="1329"/>
                      </a:lnTo>
                      <a:lnTo>
                        <a:pt x="1920" y="1343"/>
                      </a:lnTo>
                      <a:lnTo>
                        <a:pt x="1922" y="1350"/>
                      </a:lnTo>
                      <a:lnTo>
                        <a:pt x="1926" y="1357"/>
                      </a:lnTo>
                      <a:lnTo>
                        <a:pt x="1931" y="1362"/>
                      </a:lnTo>
                      <a:lnTo>
                        <a:pt x="1938" y="1367"/>
                      </a:lnTo>
                      <a:lnTo>
                        <a:pt x="1938" y="1367"/>
                      </a:lnTo>
                      <a:lnTo>
                        <a:pt x="1941" y="1367"/>
                      </a:lnTo>
                      <a:lnTo>
                        <a:pt x="1948" y="1367"/>
                      </a:lnTo>
                      <a:lnTo>
                        <a:pt x="1959" y="1367"/>
                      </a:lnTo>
                      <a:lnTo>
                        <a:pt x="1962" y="1367"/>
                      </a:lnTo>
                      <a:lnTo>
                        <a:pt x="1966" y="1367"/>
                      </a:lnTo>
                      <a:lnTo>
                        <a:pt x="1967" y="1371"/>
                      </a:lnTo>
                      <a:lnTo>
                        <a:pt x="1966" y="1376"/>
                      </a:lnTo>
                      <a:lnTo>
                        <a:pt x="1966" y="1376"/>
                      </a:lnTo>
                      <a:lnTo>
                        <a:pt x="1962" y="1383"/>
                      </a:lnTo>
                      <a:lnTo>
                        <a:pt x="1964" y="1386"/>
                      </a:lnTo>
                      <a:lnTo>
                        <a:pt x="1974" y="1395"/>
                      </a:lnTo>
                      <a:lnTo>
                        <a:pt x="1974" y="1395"/>
                      </a:lnTo>
                      <a:lnTo>
                        <a:pt x="1976" y="1399"/>
                      </a:lnTo>
                      <a:lnTo>
                        <a:pt x="1976" y="1402"/>
                      </a:lnTo>
                      <a:lnTo>
                        <a:pt x="1974" y="1409"/>
                      </a:lnTo>
                      <a:lnTo>
                        <a:pt x="1973" y="1414"/>
                      </a:lnTo>
                      <a:lnTo>
                        <a:pt x="1973" y="1416"/>
                      </a:lnTo>
                      <a:lnTo>
                        <a:pt x="1974" y="1418"/>
                      </a:lnTo>
                      <a:lnTo>
                        <a:pt x="1974" y="1418"/>
                      </a:lnTo>
                      <a:lnTo>
                        <a:pt x="1978" y="1419"/>
                      </a:lnTo>
                      <a:lnTo>
                        <a:pt x="1980" y="1419"/>
                      </a:lnTo>
                      <a:lnTo>
                        <a:pt x="1981" y="1419"/>
                      </a:lnTo>
                      <a:lnTo>
                        <a:pt x="1983" y="1421"/>
                      </a:lnTo>
                      <a:lnTo>
                        <a:pt x="1983" y="1421"/>
                      </a:lnTo>
                      <a:lnTo>
                        <a:pt x="1985" y="1423"/>
                      </a:lnTo>
                      <a:lnTo>
                        <a:pt x="1983" y="1425"/>
                      </a:lnTo>
                      <a:lnTo>
                        <a:pt x="1980" y="1426"/>
                      </a:lnTo>
                      <a:lnTo>
                        <a:pt x="1978" y="1430"/>
                      </a:lnTo>
                      <a:lnTo>
                        <a:pt x="1978" y="1433"/>
                      </a:lnTo>
                      <a:lnTo>
                        <a:pt x="1978" y="1433"/>
                      </a:lnTo>
                      <a:lnTo>
                        <a:pt x="1978" y="1437"/>
                      </a:lnTo>
                      <a:lnTo>
                        <a:pt x="1981" y="1439"/>
                      </a:lnTo>
                      <a:lnTo>
                        <a:pt x="1987" y="1439"/>
                      </a:lnTo>
                      <a:lnTo>
                        <a:pt x="1994" y="1437"/>
                      </a:lnTo>
                      <a:lnTo>
                        <a:pt x="1995" y="1439"/>
                      </a:lnTo>
                      <a:lnTo>
                        <a:pt x="1995" y="1442"/>
                      </a:lnTo>
                      <a:lnTo>
                        <a:pt x="1995" y="1442"/>
                      </a:lnTo>
                      <a:lnTo>
                        <a:pt x="1995" y="1447"/>
                      </a:lnTo>
                      <a:lnTo>
                        <a:pt x="1999" y="1449"/>
                      </a:lnTo>
                      <a:lnTo>
                        <a:pt x="2004" y="1449"/>
                      </a:lnTo>
                      <a:lnTo>
                        <a:pt x="2013" y="1453"/>
                      </a:lnTo>
                      <a:lnTo>
                        <a:pt x="2013" y="1453"/>
                      </a:lnTo>
                      <a:lnTo>
                        <a:pt x="2025" y="1456"/>
                      </a:lnTo>
                      <a:lnTo>
                        <a:pt x="2039" y="1458"/>
                      </a:lnTo>
                      <a:lnTo>
                        <a:pt x="2051" y="1458"/>
                      </a:lnTo>
                      <a:lnTo>
                        <a:pt x="2063" y="1460"/>
                      </a:lnTo>
                      <a:lnTo>
                        <a:pt x="2063" y="1460"/>
                      </a:lnTo>
                      <a:lnTo>
                        <a:pt x="2072" y="1460"/>
                      </a:lnTo>
                      <a:lnTo>
                        <a:pt x="2079" y="1460"/>
                      </a:lnTo>
                      <a:lnTo>
                        <a:pt x="2084" y="1460"/>
                      </a:lnTo>
                      <a:lnTo>
                        <a:pt x="2084" y="1461"/>
                      </a:lnTo>
                      <a:lnTo>
                        <a:pt x="2084" y="1463"/>
                      </a:lnTo>
                      <a:lnTo>
                        <a:pt x="2084" y="1463"/>
                      </a:lnTo>
                      <a:lnTo>
                        <a:pt x="2084" y="1465"/>
                      </a:lnTo>
                      <a:lnTo>
                        <a:pt x="2084" y="1466"/>
                      </a:lnTo>
                      <a:lnTo>
                        <a:pt x="2089" y="1468"/>
                      </a:lnTo>
                      <a:lnTo>
                        <a:pt x="2105" y="1468"/>
                      </a:lnTo>
                      <a:lnTo>
                        <a:pt x="2105" y="1468"/>
                      </a:lnTo>
                      <a:lnTo>
                        <a:pt x="2110" y="1468"/>
                      </a:lnTo>
                      <a:lnTo>
                        <a:pt x="2114" y="1472"/>
                      </a:lnTo>
                      <a:lnTo>
                        <a:pt x="2121" y="1484"/>
                      </a:lnTo>
                      <a:lnTo>
                        <a:pt x="2126" y="1493"/>
                      </a:lnTo>
                      <a:lnTo>
                        <a:pt x="2129" y="1496"/>
                      </a:lnTo>
                      <a:lnTo>
                        <a:pt x="2131" y="1496"/>
                      </a:lnTo>
                      <a:lnTo>
                        <a:pt x="2131" y="1496"/>
                      </a:lnTo>
                      <a:lnTo>
                        <a:pt x="2133" y="1494"/>
                      </a:lnTo>
                      <a:lnTo>
                        <a:pt x="2135" y="1494"/>
                      </a:lnTo>
                      <a:lnTo>
                        <a:pt x="2136" y="1498"/>
                      </a:lnTo>
                      <a:lnTo>
                        <a:pt x="2136" y="1503"/>
                      </a:lnTo>
                      <a:lnTo>
                        <a:pt x="2136" y="1503"/>
                      </a:lnTo>
                      <a:lnTo>
                        <a:pt x="2136" y="1507"/>
                      </a:lnTo>
                      <a:lnTo>
                        <a:pt x="2138" y="1510"/>
                      </a:lnTo>
                      <a:lnTo>
                        <a:pt x="2143" y="1517"/>
                      </a:lnTo>
                      <a:lnTo>
                        <a:pt x="2149" y="1522"/>
                      </a:lnTo>
                      <a:lnTo>
                        <a:pt x="2150" y="1527"/>
                      </a:lnTo>
                      <a:lnTo>
                        <a:pt x="2150" y="1527"/>
                      </a:lnTo>
                      <a:lnTo>
                        <a:pt x="2150" y="1529"/>
                      </a:lnTo>
                      <a:lnTo>
                        <a:pt x="2149" y="1529"/>
                      </a:lnTo>
                      <a:lnTo>
                        <a:pt x="2145" y="1527"/>
                      </a:lnTo>
                      <a:lnTo>
                        <a:pt x="2140" y="1524"/>
                      </a:lnTo>
                      <a:lnTo>
                        <a:pt x="2138" y="1524"/>
                      </a:lnTo>
                      <a:lnTo>
                        <a:pt x="2136" y="1524"/>
                      </a:lnTo>
                      <a:lnTo>
                        <a:pt x="2136" y="1524"/>
                      </a:lnTo>
                      <a:lnTo>
                        <a:pt x="2136" y="1526"/>
                      </a:lnTo>
                      <a:lnTo>
                        <a:pt x="2136" y="1527"/>
                      </a:lnTo>
                      <a:lnTo>
                        <a:pt x="2138" y="1533"/>
                      </a:lnTo>
                      <a:lnTo>
                        <a:pt x="2140" y="1536"/>
                      </a:lnTo>
                      <a:lnTo>
                        <a:pt x="2140" y="1540"/>
                      </a:lnTo>
                      <a:lnTo>
                        <a:pt x="2138" y="1541"/>
                      </a:lnTo>
                      <a:lnTo>
                        <a:pt x="2138" y="1541"/>
                      </a:lnTo>
                      <a:lnTo>
                        <a:pt x="2135" y="1541"/>
                      </a:lnTo>
                      <a:lnTo>
                        <a:pt x="2131" y="1541"/>
                      </a:lnTo>
                      <a:lnTo>
                        <a:pt x="2124" y="1536"/>
                      </a:lnTo>
                      <a:lnTo>
                        <a:pt x="2115" y="1531"/>
                      </a:lnTo>
                      <a:lnTo>
                        <a:pt x="2112" y="1531"/>
                      </a:lnTo>
                      <a:lnTo>
                        <a:pt x="2110" y="1533"/>
                      </a:lnTo>
                      <a:lnTo>
                        <a:pt x="2110" y="1533"/>
                      </a:lnTo>
                      <a:lnTo>
                        <a:pt x="2107" y="1534"/>
                      </a:lnTo>
                      <a:lnTo>
                        <a:pt x="2107" y="1531"/>
                      </a:lnTo>
                      <a:lnTo>
                        <a:pt x="2105" y="1527"/>
                      </a:lnTo>
                      <a:lnTo>
                        <a:pt x="2105" y="1527"/>
                      </a:lnTo>
                      <a:lnTo>
                        <a:pt x="2103" y="1527"/>
                      </a:lnTo>
                      <a:lnTo>
                        <a:pt x="2103" y="1527"/>
                      </a:lnTo>
                      <a:lnTo>
                        <a:pt x="2100" y="1527"/>
                      </a:lnTo>
                      <a:lnTo>
                        <a:pt x="2100" y="1526"/>
                      </a:lnTo>
                      <a:lnTo>
                        <a:pt x="2102" y="1522"/>
                      </a:lnTo>
                      <a:lnTo>
                        <a:pt x="2103" y="1519"/>
                      </a:lnTo>
                      <a:lnTo>
                        <a:pt x="2103" y="1519"/>
                      </a:lnTo>
                      <a:lnTo>
                        <a:pt x="2100" y="1517"/>
                      </a:lnTo>
                      <a:lnTo>
                        <a:pt x="2100" y="1517"/>
                      </a:lnTo>
                      <a:lnTo>
                        <a:pt x="2096" y="1517"/>
                      </a:lnTo>
                      <a:lnTo>
                        <a:pt x="2095" y="1515"/>
                      </a:lnTo>
                      <a:lnTo>
                        <a:pt x="2095" y="1510"/>
                      </a:lnTo>
                      <a:lnTo>
                        <a:pt x="2093" y="1505"/>
                      </a:lnTo>
                      <a:lnTo>
                        <a:pt x="2093" y="1503"/>
                      </a:lnTo>
                      <a:lnTo>
                        <a:pt x="2091" y="1503"/>
                      </a:lnTo>
                      <a:lnTo>
                        <a:pt x="2091" y="1503"/>
                      </a:lnTo>
                      <a:lnTo>
                        <a:pt x="2086" y="1503"/>
                      </a:lnTo>
                      <a:lnTo>
                        <a:pt x="2082" y="1501"/>
                      </a:lnTo>
                      <a:lnTo>
                        <a:pt x="2081" y="1501"/>
                      </a:lnTo>
                      <a:lnTo>
                        <a:pt x="2079" y="1501"/>
                      </a:lnTo>
                      <a:lnTo>
                        <a:pt x="2079" y="1501"/>
                      </a:lnTo>
                      <a:lnTo>
                        <a:pt x="2081" y="1505"/>
                      </a:lnTo>
                      <a:lnTo>
                        <a:pt x="2084" y="1510"/>
                      </a:lnTo>
                      <a:lnTo>
                        <a:pt x="2091" y="1519"/>
                      </a:lnTo>
                      <a:lnTo>
                        <a:pt x="2095" y="1529"/>
                      </a:lnTo>
                      <a:lnTo>
                        <a:pt x="2095" y="1529"/>
                      </a:lnTo>
                      <a:lnTo>
                        <a:pt x="2095" y="1533"/>
                      </a:lnTo>
                      <a:lnTo>
                        <a:pt x="2093" y="1538"/>
                      </a:lnTo>
                      <a:lnTo>
                        <a:pt x="2086" y="1547"/>
                      </a:lnTo>
                      <a:lnTo>
                        <a:pt x="2082" y="1550"/>
                      </a:lnTo>
                      <a:lnTo>
                        <a:pt x="2081" y="1557"/>
                      </a:lnTo>
                      <a:lnTo>
                        <a:pt x="2079" y="1564"/>
                      </a:lnTo>
                      <a:lnTo>
                        <a:pt x="2079" y="1573"/>
                      </a:lnTo>
                      <a:lnTo>
                        <a:pt x="2079" y="1573"/>
                      </a:lnTo>
                      <a:lnTo>
                        <a:pt x="2079" y="1590"/>
                      </a:lnTo>
                      <a:lnTo>
                        <a:pt x="2077" y="1595"/>
                      </a:lnTo>
                      <a:lnTo>
                        <a:pt x="2074" y="1599"/>
                      </a:lnTo>
                      <a:lnTo>
                        <a:pt x="2072" y="1602"/>
                      </a:lnTo>
                      <a:lnTo>
                        <a:pt x="2067" y="1606"/>
                      </a:lnTo>
                      <a:lnTo>
                        <a:pt x="2055" y="1613"/>
                      </a:lnTo>
                      <a:lnTo>
                        <a:pt x="2055" y="1613"/>
                      </a:lnTo>
                      <a:lnTo>
                        <a:pt x="2053" y="1620"/>
                      </a:lnTo>
                      <a:lnTo>
                        <a:pt x="2051" y="1625"/>
                      </a:lnTo>
                      <a:lnTo>
                        <a:pt x="2051" y="1625"/>
                      </a:lnTo>
                      <a:lnTo>
                        <a:pt x="2051" y="1632"/>
                      </a:lnTo>
                      <a:lnTo>
                        <a:pt x="2049" y="1635"/>
                      </a:lnTo>
                      <a:lnTo>
                        <a:pt x="2046" y="1635"/>
                      </a:lnTo>
                      <a:lnTo>
                        <a:pt x="2046" y="1635"/>
                      </a:lnTo>
                      <a:lnTo>
                        <a:pt x="2051" y="1637"/>
                      </a:lnTo>
                      <a:lnTo>
                        <a:pt x="2053" y="1639"/>
                      </a:lnTo>
                      <a:lnTo>
                        <a:pt x="2055" y="1642"/>
                      </a:lnTo>
                      <a:lnTo>
                        <a:pt x="2053" y="1644"/>
                      </a:lnTo>
                      <a:lnTo>
                        <a:pt x="2048" y="1648"/>
                      </a:lnTo>
                      <a:lnTo>
                        <a:pt x="2039" y="1648"/>
                      </a:lnTo>
                      <a:lnTo>
                        <a:pt x="2039" y="1648"/>
                      </a:lnTo>
                      <a:lnTo>
                        <a:pt x="2034" y="1649"/>
                      </a:lnTo>
                      <a:lnTo>
                        <a:pt x="2032" y="1649"/>
                      </a:lnTo>
                      <a:lnTo>
                        <a:pt x="2030" y="1653"/>
                      </a:lnTo>
                      <a:lnTo>
                        <a:pt x="2030" y="1655"/>
                      </a:lnTo>
                      <a:lnTo>
                        <a:pt x="2030" y="1658"/>
                      </a:lnTo>
                      <a:lnTo>
                        <a:pt x="2032" y="1660"/>
                      </a:lnTo>
                      <a:lnTo>
                        <a:pt x="2035" y="1661"/>
                      </a:lnTo>
                      <a:lnTo>
                        <a:pt x="2039" y="1661"/>
                      </a:lnTo>
                      <a:lnTo>
                        <a:pt x="2039" y="1661"/>
                      </a:lnTo>
                      <a:lnTo>
                        <a:pt x="2044" y="1661"/>
                      </a:lnTo>
                      <a:lnTo>
                        <a:pt x="2048" y="1663"/>
                      </a:lnTo>
                      <a:lnTo>
                        <a:pt x="2049" y="1663"/>
                      </a:lnTo>
                      <a:lnTo>
                        <a:pt x="2051" y="1661"/>
                      </a:lnTo>
                      <a:lnTo>
                        <a:pt x="2051" y="1661"/>
                      </a:lnTo>
                      <a:lnTo>
                        <a:pt x="2055" y="1658"/>
                      </a:lnTo>
                      <a:lnTo>
                        <a:pt x="2060" y="1655"/>
                      </a:lnTo>
                      <a:lnTo>
                        <a:pt x="2070" y="1651"/>
                      </a:lnTo>
                      <a:lnTo>
                        <a:pt x="2070" y="1651"/>
                      </a:lnTo>
                      <a:lnTo>
                        <a:pt x="2072" y="1648"/>
                      </a:lnTo>
                      <a:lnTo>
                        <a:pt x="2075" y="1644"/>
                      </a:lnTo>
                      <a:lnTo>
                        <a:pt x="2082" y="1637"/>
                      </a:lnTo>
                      <a:lnTo>
                        <a:pt x="2088" y="1634"/>
                      </a:lnTo>
                      <a:lnTo>
                        <a:pt x="2095" y="1632"/>
                      </a:lnTo>
                      <a:lnTo>
                        <a:pt x="2103" y="1630"/>
                      </a:lnTo>
                      <a:lnTo>
                        <a:pt x="2114" y="1632"/>
                      </a:lnTo>
                      <a:lnTo>
                        <a:pt x="2114" y="1632"/>
                      </a:lnTo>
                      <a:lnTo>
                        <a:pt x="2129" y="1635"/>
                      </a:lnTo>
                      <a:lnTo>
                        <a:pt x="2131" y="1635"/>
                      </a:lnTo>
                      <a:lnTo>
                        <a:pt x="2131" y="1635"/>
                      </a:lnTo>
                      <a:lnTo>
                        <a:pt x="2128" y="1632"/>
                      </a:lnTo>
                      <a:lnTo>
                        <a:pt x="2126" y="1630"/>
                      </a:lnTo>
                      <a:lnTo>
                        <a:pt x="2126" y="1628"/>
                      </a:lnTo>
                      <a:lnTo>
                        <a:pt x="2126" y="1628"/>
                      </a:lnTo>
                      <a:lnTo>
                        <a:pt x="2129" y="1625"/>
                      </a:lnTo>
                      <a:lnTo>
                        <a:pt x="2135" y="1623"/>
                      </a:lnTo>
                      <a:lnTo>
                        <a:pt x="2150" y="1620"/>
                      </a:lnTo>
                      <a:lnTo>
                        <a:pt x="2150" y="1620"/>
                      </a:lnTo>
                      <a:lnTo>
                        <a:pt x="2168" y="1620"/>
                      </a:lnTo>
                      <a:lnTo>
                        <a:pt x="2171" y="1620"/>
                      </a:lnTo>
                      <a:lnTo>
                        <a:pt x="2173" y="1616"/>
                      </a:lnTo>
                      <a:lnTo>
                        <a:pt x="2173" y="1616"/>
                      </a:lnTo>
                      <a:lnTo>
                        <a:pt x="2173" y="1614"/>
                      </a:lnTo>
                      <a:lnTo>
                        <a:pt x="2173" y="1611"/>
                      </a:lnTo>
                      <a:lnTo>
                        <a:pt x="2175" y="1611"/>
                      </a:lnTo>
                      <a:lnTo>
                        <a:pt x="2162" y="1604"/>
                      </a:lnTo>
                      <a:lnTo>
                        <a:pt x="2162" y="1604"/>
                      </a:lnTo>
                      <a:lnTo>
                        <a:pt x="2157" y="1604"/>
                      </a:lnTo>
                      <a:lnTo>
                        <a:pt x="2152" y="1604"/>
                      </a:lnTo>
                      <a:lnTo>
                        <a:pt x="2150" y="1602"/>
                      </a:lnTo>
                      <a:lnTo>
                        <a:pt x="2149" y="1599"/>
                      </a:lnTo>
                      <a:lnTo>
                        <a:pt x="2149" y="1595"/>
                      </a:lnTo>
                      <a:lnTo>
                        <a:pt x="2150" y="1592"/>
                      </a:lnTo>
                      <a:lnTo>
                        <a:pt x="2150" y="1592"/>
                      </a:lnTo>
                      <a:lnTo>
                        <a:pt x="2156" y="1585"/>
                      </a:lnTo>
                      <a:lnTo>
                        <a:pt x="2159" y="1581"/>
                      </a:lnTo>
                      <a:lnTo>
                        <a:pt x="2162" y="1581"/>
                      </a:lnTo>
                      <a:lnTo>
                        <a:pt x="2166" y="1578"/>
                      </a:lnTo>
                      <a:lnTo>
                        <a:pt x="2166" y="1578"/>
                      </a:lnTo>
                      <a:lnTo>
                        <a:pt x="2173" y="1573"/>
                      </a:lnTo>
                      <a:lnTo>
                        <a:pt x="2182" y="1569"/>
                      </a:lnTo>
                      <a:lnTo>
                        <a:pt x="2208" y="1566"/>
                      </a:lnTo>
                      <a:lnTo>
                        <a:pt x="2208" y="1566"/>
                      </a:lnTo>
                      <a:lnTo>
                        <a:pt x="2218" y="1562"/>
                      </a:lnTo>
                      <a:lnTo>
                        <a:pt x="2222" y="1562"/>
                      </a:lnTo>
                      <a:lnTo>
                        <a:pt x="2234" y="1569"/>
                      </a:lnTo>
                      <a:lnTo>
                        <a:pt x="2234" y="1569"/>
                      </a:lnTo>
                      <a:lnTo>
                        <a:pt x="2239" y="1571"/>
                      </a:lnTo>
                      <a:lnTo>
                        <a:pt x="2243" y="1571"/>
                      </a:lnTo>
                      <a:lnTo>
                        <a:pt x="2244" y="1569"/>
                      </a:lnTo>
                      <a:lnTo>
                        <a:pt x="2246" y="1567"/>
                      </a:lnTo>
                      <a:lnTo>
                        <a:pt x="2248" y="1562"/>
                      </a:lnTo>
                      <a:lnTo>
                        <a:pt x="2250" y="1559"/>
                      </a:lnTo>
                      <a:lnTo>
                        <a:pt x="2253" y="1555"/>
                      </a:lnTo>
                      <a:lnTo>
                        <a:pt x="2253" y="1555"/>
                      </a:lnTo>
                      <a:lnTo>
                        <a:pt x="2260" y="1552"/>
                      </a:lnTo>
                      <a:lnTo>
                        <a:pt x="2269" y="1548"/>
                      </a:lnTo>
                      <a:lnTo>
                        <a:pt x="2277" y="1545"/>
                      </a:lnTo>
                      <a:lnTo>
                        <a:pt x="2286" y="1541"/>
                      </a:lnTo>
                      <a:lnTo>
                        <a:pt x="2286" y="1541"/>
                      </a:lnTo>
                      <a:lnTo>
                        <a:pt x="2298" y="1529"/>
                      </a:lnTo>
                      <a:lnTo>
                        <a:pt x="2309" y="1520"/>
                      </a:lnTo>
                      <a:lnTo>
                        <a:pt x="2317" y="1515"/>
                      </a:lnTo>
                      <a:lnTo>
                        <a:pt x="2323" y="1513"/>
                      </a:lnTo>
                      <a:lnTo>
                        <a:pt x="2323" y="1513"/>
                      </a:lnTo>
                      <a:lnTo>
                        <a:pt x="2330" y="1515"/>
                      </a:lnTo>
                      <a:lnTo>
                        <a:pt x="2338" y="1515"/>
                      </a:lnTo>
                      <a:lnTo>
                        <a:pt x="2338" y="1515"/>
                      </a:lnTo>
                      <a:lnTo>
                        <a:pt x="2438" y="1515"/>
                      </a:lnTo>
                      <a:lnTo>
                        <a:pt x="2438" y="1515"/>
                      </a:lnTo>
                      <a:lnTo>
                        <a:pt x="2438" y="1507"/>
                      </a:lnTo>
                      <a:lnTo>
                        <a:pt x="2439" y="1501"/>
                      </a:lnTo>
                      <a:lnTo>
                        <a:pt x="2443" y="1500"/>
                      </a:lnTo>
                      <a:lnTo>
                        <a:pt x="2446" y="1501"/>
                      </a:lnTo>
                      <a:lnTo>
                        <a:pt x="2446" y="1501"/>
                      </a:lnTo>
                      <a:lnTo>
                        <a:pt x="2450" y="1501"/>
                      </a:lnTo>
                      <a:lnTo>
                        <a:pt x="2452" y="1500"/>
                      </a:lnTo>
                      <a:lnTo>
                        <a:pt x="2453" y="1500"/>
                      </a:lnTo>
                      <a:lnTo>
                        <a:pt x="2457" y="1500"/>
                      </a:lnTo>
                      <a:lnTo>
                        <a:pt x="2457" y="1500"/>
                      </a:lnTo>
                      <a:lnTo>
                        <a:pt x="2458" y="1501"/>
                      </a:lnTo>
                      <a:lnTo>
                        <a:pt x="2460" y="1498"/>
                      </a:lnTo>
                      <a:lnTo>
                        <a:pt x="2460" y="1496"/>
                      </a:lnTo>
                      <a:lnTo>
                        <a:pt x="2464" y="1494"/>
                      </a:lnTo>
                      <a:lnTo>
                        <a:pt x="2464" y="1494"/>
                      </a:lnTo>
                      <a:lnTo>
                        <a:pt x="2467" y="1493"/>
                      </a:lnTo>
                      <a:lnTo>
                        <a:pt x="2465" y="1491"/>
                      </a:lnTo>
                      <a:lnTo>
                        <a:pt x="2464" y="1489"/>
                      </a:lnTo>
                      <a:lnTo>
                        <a:pt x="2464" y="1487"/>
                      </a:lnTo>
                      <a:lnTo>
                        <a:pt x="2465" y="1486"/>
                      </a:lnTo>
                      <a:lnTo>
                        <a:pt x="2469" y="1482"/>
                      </a:lnTo>
                      <a:lnTo>
                        <a:pt x="2469" y="1482"/>
                      </a:lnTo>
                      <a:lnTo>
                        <a:pt x="2474" y="1477"/>
                      </a:lnTo>
                      <a:lnTo>
                        <a:pt x="2474" y="1475"/>
                      </a:lnTo>
                      <a:lnTo>
                        <a:pt x="2474" y="1473"/>
                      </a:lnTo>
                      <a:lnTo>
                        <a:pt x="2478" y="1470"/>
                      </a:lnTo>
                      <a:lnTo>
                        <a:pt x="2478" y="1470"/>
                      </a:lnTo>
                      <a:lnTo>
                        <a:pt x="2479" y="1468"/>
                      </a:lnTo>
                      <a:lnTo>
                        <a:pt x="2481" y="1465"/>
                      </a:lnTo>
                      <a:lnTo>
                        <a:pt x="2481" y="1460"/>
                      </a:lnTo>
                      <a:lnTo>
                        <a:pt x="2481" y="1453"/>
                      </a:lnTo>
                      <a:lnTo>
                        <a:pt x="2481" y="1451"/>
                      </a:lnTo>
                      <a:lnTo>
                        <a:pt x="2485" y="1447"/>
                      </a:lnTo>
                      <a:lnTo>
                        <a:pt x="2485" y="1447"/>
                      </a:lnTo>
                      <a:lnTo>
                        <a:pt x="2488" y="1442"/>
                      </a:lnTo>
                      <a:lnTo>
                        <a:pt x="2488" y="1439"/>
                      </a:lnTo>
                      <a:lnTo>
                        <a:pt x="2490" y="1433"/>
                      </a:lnTo>
                      <a:lnTo>
                        <a:pt x="2493" y="1425"/>
                      </a:lnTo>
                      <a:lnTo>
                        <a:pt x="2493" y="1425"/>
                      </a:lnTo>
                      <a:lnTo>
                        <a:pt x="2516" y="1392"/>
                      </a:lnTo>
                      <a:lnTo>
                        <a:pt x="2516" y="1392"/>
                      </a:lnTo>
                      <a:lnTo>
                        <a:pt x="2519" y="1392"/>
                      </a:lnTo>
                      <a:lnTo>
                        <a:pt x="2523" y="1393"/>
                      </a:lnTo>
                      <a:lnTo>
                        <a:pt x="2523" y="1397"/>
                      </a:lnTo>
                      <a:lnTo>
                        <a:pt x="2523" y="1397"/>
                      </a:lnTo>
                      <a:lnTo>
                        <a:pt x="2523" y="1402"/>
                      </a:lnTo>
                      <a:lnTo>
                        <a:pt x="2526" y="1404"/>
                      </a:lnTo>
                      <a:lnTo>
                        <a:pt x="2530" y="1406"/>
                      </a:lnTo>
                      <a:lnTo>
                        <a:pt x="2535" y="1404"/>
                      </a:lnTo>
                      <a:lnTo>
                        <a:pt x="2535" y="1404"/>
                      </a:lnTo>
                      <a:lnTo>
                        <a:pt x="2540" y="1400"/>
                      </a:lnTo>
                      <a:lnTo>
                        <a:pt x="2546" y="1397"/>
                      </a:lnTo>
                      <a:lnTo>
                        <a:pt x="2551" y="1397"/>
                      </a:lnTo>
                      <a:lnTo>
                        <a:pt x="2558" y="1402"/>
                      </a:lnTo>
                      <a:lnTo>
                        <a:pt x="2558" y="1402"/>
                      </a:lnTo>
                      <a:lnTo>
                        <a:pt x="2563" y="1407"/>
                      </a:lnTo>
                      <a:lnTo>
                        <a:pt x="2566" y="1411"/>
                      </a:lnTo>
                      <a:lnTo>
                        <a:pt x="2566" y="1414"/>
                      </a:lnTo>
                      <a:lnTo>
                        <a:pt x="2566" y="1421"/>
                      </a:lnTo>
                      <a:lnTo>
                        <a:pt x="2566" y="1421"/>
                      </a:lnTo>
                      <a:lnTo>
                        <a:pt x="2566" y="1470"/>
                      </a:lnTo>
                      <a:lnTo>
                        <a:pt x="2566" y="1470"/>
                      </a:lnTo>
                      <a:lnTo>
                        <a:pt x="2566" y="1477"/>
                      </a:lnTo>
                      <a:lnTo>
                        <a:pt x="2568" y="1480"/>
                      </a:lnTo>
                      <a:lnTo>
                        <a:pt x="2570" y="1480"/>
                      </a:lnTo>
                      <a:lnTo>
                        <a:pt x="2570" y="1480"/>
                      </a:lnTo>
                      <a:lnTo>
                        <a:pt x="2579" y="1482"/>
                      </a:lnTo>
                      <a:lnTo>
                        <a:pt x="2579" y="1482"/>
                      </a:lnTo>
                      <a:lnTo>
                        <a:pt x="2580" y="1484"/>
                      </a:lnTo>
                      <a:lnTo>
                        <a:pt x="2580" y="1487"/>
                      </a:lnTo>
                      <a:lnTo>
                        <a:pt x="2580" y="1494"/>
                      </a:lnTo>
                      <a:lnTo>
                        <a:pt x="2580" y="1494"/>
                      </a:lnTo>
                      <a:lnTo>
                        <a:pt x="2580" y="1498"/>
                      </a:lnTo>
                      <a:lnTo>
                        <a:pt x="2582" y="1501"/>
                      </a:lnTo>
                      <a:lnTo>
                        <a:pt x="2586" y="1503"/>
                      </a:lnTo>
                      <a:lnTo>
                        <a:pt x="2591" y="1507"/>
                      </a:lnTo>
                      <a:lnTo>
                        <a:pt x="2591" y="1507"/>
                      </a:lnTo>
                      <a:lnTo>
                        <a:pt x="2601" y="1508"/>
                      </a:lnTo>
                      <a:lnTo>
                        <a:pt x="2610" y="1510"/>
                      </a:lnTo>
                      <a:lnTo>
                        <a:pt x="2617" y="1510"/>
                      </a:lnTo>
                      <a:lnTo>
                        <a:pt x="2626" y="1508"/>
                      </a:lnTo>
                      <a:lnTo>
                        <a:pt x="2641" y="1501"/>
                      </a:lnTo>
                      <a:lnTo>
                        <a:pt x="2659" y="1491"/>
                      </a:lnTo>
                      <a:lnTo>
                        <a:pt x="2659" y="1491"/>
                      </a:lnTo>
                      <a:lnTo>
                        <a:pt x="2666" y="1487"/>
                      </a:lnTo>
                      <a:lnTo>
                        <a:pt x="2669" y="1487"/>
                      </a:lnTo>
                      <a:lnTo>
                        <a:pt x="2671" y="1487"/>
                      </a:lnTo>
                      <a:lnTo>
                        <a:pt x="2671" y="1491"/>
                      </a:lnTo>
                      <a:lnTo>
                        <a:pt x="2673" y="1493"/>
                      </a:lnTo>
                      <a:lnTo>
                        <a:pt x="2676" y="1494"/>
                      </a:lnTo>
                      <a:lnTo>
                        <a:pt x="2685" y="1496"/>
                      </a:lnTo>
                      <a:lnTo>
                        <a:pt x="2699" y="1494"/>
                      </a:lnTo>
                      <a:lnTo>
                        <a:pt x="2699" y="1494"/>
                      </a:lnTo>
                      <a:lnTo>
                        <a:pt x="2711" y="1493"/>
                      </a:lnTo>
                      <a:lnTo>
                        <a:pt x="2702" y="1498"/>
                      </a:lnTo>
                      <a:lnTo>
                        <a:pt x="2683" y="1505"/>
                      </a:lnTo>
                      <a:lnTo>
                        <a:pt x="2662" y="1513"/>
                      </a:lnTo>
                      <a:lnTo>
                        <a:pt x="2662" y="1513"/>
                      </a:lnTo>
                      <a:lnTo>
                        <a:pt x="2652" y="1520"/>
                      </a:lnTo>
                      <a:lnTo>
                        <a:pt x="2643" y="1526"/>
                      </a:lnTo>
                      <a:lnTo>
                        <a:pt x="2636" y="1533"/>
                      </a:lnTo>
                      <a:lnTo>
                        <a:pt x="2629" y="1541"/>
                      </a:lnTo>
                      <a:lnTo>
                        <a:pt x="2626" y="1550"/>
                      </a:lnTo>
                      <a:lnTo>
                        <a:pt x="2624" y="1559"/>
                      </a:lnTo>
                      <a:lnTo>
                        <a:pt x="2626" y="1569"/>
                      </a:lnTo>
                      <a:lnTo>
                        <a:pt x="2629" y="1578"/>
                      </a:lnTo>
                      <a:lnTo>
                        <a:pt x="2629" y="1578"/>
                      </a:lnTo>
                      <a:lnTo>
                        <a:pt x="2636" y="1587"/>
                      </a:lnTo>
                      <a:lnTo>
                        <a:pt x="2641" y="1590"/>
                      </a:lnTo>
                      <a:lnTo>
                        <a:pt x="2648" y="1590"/>
                      </a:lnTo>
                      <a:lnTo>
                        <a:pt x="2653" y="1588"/>
                      </a:lnTo>
                      <a:lnTo>
                        <a:pt x="2660" y="1583"/>
                      </a:lnTo>
                      <a:lnTo>
                        <a:pt x="2669" y="1576"/>
                      </a:lnTo>
                      <a:lnTo>
                        <a:pt x="2685" y="1555"/>
                      </a:lnTo>
                      <a:lnTo>
                        <a:pt x="2685" y="1555"/>
                      </a:lnTo>
                      <a:lnTo>
                        <a:pt x="2692" y="1545"/>
                      </a:lnTo>
                      <a:lnTo>
                        <a:pt x="2699" y="1541"/>
                      </a:lnTo>
                      <a:lnTo>
                        <a:pt x="2704" y="1538"/>
                      </a:lnTo>
                      <a:lnTo>
                        <a:pt x="2709" y="1538"/>
                      </a:lnTo>
                      <a:lnTo>
                        <a:pt x="2714" y="1538"/>
                      </a:lnTo>
                      <a:lnTo>
                        <a:pt x="2721" y="1538"/>
                      </a:lnTo>
                      <a:lnTo>
                        <a:pt x="2730" y="1534"/>
                      </a:lnTo>
                      <a:lnTo>
                        <a:pt x="2741" y="1529"/>
                      </a:lnTo>
                      <a:lnTo>
                        <a:pt x="2741" y="1529"/>
                      </a:lnTo>
                      <a:lnTo>
                        <a:pt x="2753" y="1522"/>
                      </a:lnTo>
                      <a:lnTo>
                        <a:pt x="2765" y="1517"/>
                      </a:lnTo>
                      <a:lnTo>
                        <a:pt x="2788" y="1510"/>
                      </a:lnTo>
                      <a:lnTo>
                        <a:pt x="2795" y="1507"/>
                      </a:lnTo>
                      <a:lnTo>
                        <a:pt x="2800" y="1505"/>
                      </a:lnTo>
                      <a:lnTo>
                        <a:pt x="2801" y="1501"/>
                      </a:lnTo>
                      <a:lnTo>
                        <a:pt x="2800" y="1498"/>
                      </a:lnTo>
                      <a:lnTo>
                        <a:pt x="2800" y="1498"/>
                      </a:lnTo>
                      <a:lnTo>
                        <a:pt x="2782" y="1480"/>
                      </a:lnTo>
                      <a:lnTo>
                        <a:pt x="2777" y="1477"/>
                      </a:lnTo>
                      <a:lnTo>
                        <a:pt x="2774" y="1477"/>
                      </a:lnTo>
                      <a:lnTo>
                        <a:pt x="2768" y="1477"/>
                      </a:lnTo>
                      <a:lnTo>
                        <a:pt x="2763" y="1479"/>
                      </a:lnTo>
                      <a:lnTo>
                        <a:pt x="2763" y="1479"/>
                      </a:lnTo>
                      <a:lnTo>
                        <a:pt x="2758" y="1480"/>
                      </a:lnTo>
                      <a:lnTo>
                        <a:pt x="2749" y="1480"/>
                      </a:lnTo>
                      <a:lnTo>
                        <a:pt x="2739" y="1479"/>
                      </a:lnTo>
                      <a:lnTo>
                        <a:pt x="2728" y="1477"/>
                      </a:lnTo>
                      <a:lnTo>
                        <a:pt x="2718" y="1473"/>
                      </a:lnTo>
                      <a:lnTo>
                        <a:pt x="2711" y="1470"/>
                      </a:lnTo>
                      <a:lnTo>
                        <a:pt x="2706" y="1466"/>
                      </a:lnTo>
                      <a:lnTo>
                        <a:pt x="2704" y="1465"/>
                      </a:lnTo>
                      <a:lnTo>
                        <a:pt x="2706" y="1463"/>
                      </a:lnTo>
                      <a:lnTo>
                        <a:pt x="2706" y="1463"/>
                      </a:lnTo>
                      <a:lnTo>
                        <a:pt x="2706" y="1460"/>
                      </a:lnTo>
                      <a:lnTo>
                        <a:pt x="2704" y="1458"/>
                      </a:lnTo>
                      <a:lnTo>
                        <a:pt x="2695" y="1456"/>
                      </a:lnTo>
                      <a:lnTo>
                        <a:pt x="2690" y="1453"/>
                      </a:lnTo>
                      <a:lnTo>
                        <a:pt x="2683" y="1447"/>
                      </a:lnTo>
                      <a:lnTo>
                        <a:pt x="2678" y="1440"/>
                      </a:lnTo>
                      <a:lnTo>
                        <a:pt x="2673" y="1428"/>
                      </a:lnTo>
                      <a:lnTo>
                        <a:pt x="2673" y="1428"/>
                      </a:lnTo>
                      <a:lnTo>
                        <a:pt x="2669" y="1414"/>
                      </a:lnTo>
                      <a:lnTo>
                        <a:pt x="2669" y="1402"/>
                      </a:lnTo>
                      <a:lnTo>
                        <a:pt x="2671" y="1392"/>
                      </a:lnTo>
                      <a:lnTo>
                        <a:pt x="2673" y="1383"/>
                      </a:lnTo>
                      <a:lnTo>
                        <a:pt x="2674" y="1376"/>
                      </a:lnTo>
                      <a:lnTo>
                        <a:pt x="2674" y="1372"/>
                      </a:lnTo>
                      <a:lnTo>
                        <a:pt x="2671" y="1371"/>
                      </a:lnTo>
                      <a:lnTo>
                        <a:pt x="2662" y="1371"/>
                      </a:lnTo>
                      <a:lnTo>
                        <a:pt x="2662" y="1371"/>
                      </a:lnTo>
                      <a:lnTo>
                        <a:pt x="2650" y="1374"/>
                      </a:lnTo>
                      <a:lnTo>
                        <a:pt x="2643" y="1374"/>
                      </a:lnTo>
                      <a:lnTo>
                        <a:pt x="2641" y="1374"/>
                      </a:lnTo>
                      <a:lnTo>
                        <a:pt x="2643" y="1371"/>
                      </a:lnTo>
                      <a:lnTo>
                        <a:pt x="2657" y="1362"/>
                      </a:lnTo>
                      <a:lnTo>
                        <a:pt x="2676" y="1348"/>
                      </a:lnTo>
                      <a:lnTo>
                        <a:pt x="2676" y="1348"/>
                      </a:lnTo>
                      <a:lnTo>
                        <a:pt x="2690" y="1339"/>
                      </a:lnTo>
                      <a:lnTo>
                        <a:pt x="2694" y="1334"/>
                      </a:lnTo>
                      <a:lnTo>
                        <a:pt x="2694" y="1329"/>
                      </a:lnTo>
                      <a:lnTo>
                        <a:pt x="2694" y="1324"/>
                      </a:lnTo>
                      <a:lnTo>
                        <a:pt x="2690" y="1318"/>
                      </a:lnTo>
                      <a:lnTo>
                        <a:pt x="2685" y="1313"/>
                      </a:lnTo>
                      <a:lnTo>
                        <a:pt x="2678" y="1306"/>
                      </a:lnTo>
                      <a:lnTo>
                        <a:pt x="2678" y="1306"/>
                      </a:lnTo>
                      <a:lnTo>
                        <a:pt x="2673" y="1305"/>
                      </a:lnTo>
                      <a:lnTo>
                        <a:pt x="2666" y="1303"/>
                      </a:lnTo>
                      <a:lnTo>
                        <a:pt x="2657" y="1301"/>
                      </a:lnTo>
                      <a:lnTo>
                        <a:pt x="2647" y="1303"/>
                      </a:lnTo>
                      <a:lnTo>
                        <a:pt x="2622" y="1306"/>
                      </a:lnTo>
                      <a:lnTo>
                        <a:pt x="2598" y="1313"/>
                      </a:lnTo>
                      <a:lnTo>
                        <a:pt x="2573" y="1322"/>
                      </a:lnTo>
                      <a:lnTo>
                        <a:pt x="2549" y="1334"/>
                      </a:lnTo>
                      <a:lnTo>
                        <a:pt x="2530" y="1346"/>
                      </a:lnTo>
                      <a:lnTo>
                        <a:pt x="2523" y="1352"/>
                      </a:lnTo>
                      <a:lnTo>
                        <a:pt x="2518" y="1359"/>
                      </a:lnTo>
                      <a:lnTo>
                        <a:pt x="2518" y="1359"/>
                      </a:lnTo>
                      <a:lnTo>
                        <a:pt x="2502" y="1378"/>
                      </a:lnTo>
                      <a:lnTo>
                        <a:pt x="2488" y="1395"/>
                      </a:lnTo>
                      <a:lnTo>
                        <a:pt x="2476" y="1407"/>
                      </a:lnTo>
                      <a:lnTo>
                        <a:pt x="2465" y="1416"/>
                      </a:lnTo>
                      <a:lnTo>
                        <a:pt x="2458" y="1421"/>
                      </a:lnTo>
                      <a:lnTo>
                        <a:pt x="2453" y="1425"/>
                      </a:lnTo>
                      <a:lnTo>
                        <a:pt x="2453" y="1423"/>
                      </a:lnTo>
                      <a:lnTo>
                        <a:pt x="2453" y="1423"/>
                      </a:lnTo>
                      <a:lnTo>
                        <a:pt x="2458" y="1418"/>
                      </a:lnTo>
                      <a:lnTo>
                        <a:pt x="2458" y="1418"/>
                      </a:lnTo>
                      <a:lnTo>
                        <a:pt x="2469" y="1407"/>
                      </a:lnTo>
                      <a:lnTo>
                        <a:pt x="2478" y="1392"/>
                      </a:lnTo>
                      <a:lnTo>
                        <a:pt x="2502" y="1359"/>
                      </a:lnTo>
                      <a:lnTo>
                        <a:pt x="2514" y="1341"/>
                      </a:lnTo>
                      <a:lnTo>
                        <a:pt x="2528" y="1325"/>
                      </a:lnTo>
                      <a:lnTo>
                        <a:pt x="2544" y="1313"/>
                      </a:lnTo>
                      <a:lnTo>
                        <a:pt x="2551" y="1310"/>
                      </a:lnTo>
                      <a:lnTo>
                        <a:pt x="2559" y="1306"/>
                      </a:lnTo>
                      <a:lnTo>
                        <a:pt x="2559" y="1306"/>
                      </a:lnTo>
                      <a:lnTo>
                        <a:pt x="2570" y="1301"/>
                      </a:lnTo>
                      <a:lnTo>
                        <a:pt x="2577" y="1298"/>
                      </a:lnTo>
                      <a:lnTo>
                        <a:pt x="2582" y="1294"/>
                      </a:lnTo>
                      <a:lnTo>
                        <a:pt x="2586" y="1291"/>
                      </a:lnTo>
                      <a:lnTo>
                        <a:pt x="2591" y="1282"/>
                      </a:lnTo>
                      <a:lnTo>
                        <a:pt x="2593" y="1275"/>
                      </a:lnTo>
                      <a:lnTo>
                        <a:pt x="2596" y="1266"/>
                      </a:lnTo>
                      <a:lnTo>
                        <a:pt x="2600" y="1263"/>
                      </a:lnTo>
                      <a:lnTo>
                        <a:pt x="2605" y="1259"/>
                      </a:lnTo>
                      <a:lnTo>
                        <a:pt x="2612" y="1256"/>
                      </a:lnTo>
                      <a:lnTo>
                        <a:pt x="2622" y="1254"/>
                      </a:lnTo>
                      <a:lnTo>
                        <a:pt x="2652" y="1247"/>
                      </a:lnTo>
                      <a:lnTo>
                        <a:pt x="2652" y="1247"/>
                      </a:lnTo>
                      <a:lnTo>
                        <a:pt x="2673" y="1245"/>
                      </a:lnTo>
                      <a:lnTo>
                        <a:pt x="2692" y="1244"/>
                      </a:lnTo>
                      <a:lnTo>
                        <a:pt x="2709" y="1244"/>
                      </a:lnTo>
                      <a:lnTo>
                        <a:pt x="2725" y="1245"/>
                      </a:lnTo>
                      <a:lnTo>
                        <a:pt x="2753" y="1251"/>
                      </a:lnTo>
                      <a:lnTo>
                        <a:pt x="2777" y="1256"/>
                      </a:lnTo>
                      <a:lnTo>
                        <a:pt x="2798" y="1258"/>
                      </a:lnTo>
                      <a:lnTo>
                        <a:pt x="2808" y="1258"/>
                      </a:lnTo>
                      <a:lnTo>
                        <a:pt x="2821" y="1256"/>
                      </a:lnTo>
                      <a:lnTo>
                        <a:pt x="2831" y="1251"/>
                      </a:lnTo>
                      <a:lnTo>
                        <a:pt x="2843" y="1245"/>
                      </a:lnTo>
                      <a:lnTo>
                        <a:pt x="2855" y="1237"/>
                      </a:lnTo>
                      <a:lnTo>
                        <a:pt x="2869" y="1224"/>
                      </a:lnTo>
                      <a:lnTo>
                        <a:pt x="2869" y="1224"/>
                      </a:lnTo>
                      <a:lnTo>
                        <a:pt x="2894" y="1202"/>
                      </a:lnTo>
                      <a:lnTo>
                        <a:pt x="2911" y="1191"/>
                      </a:lnTo>
                      <a:lnTo>
                        <a:pt x="2923" y="1186"/>
                      </a:lnTo>
                      <a:lnTo>
                        <a:pt x="2932" y="1186"/>
                      </a:lnTo>
                      <a:lnTo>
                        <a:pt x="2943" y="1190"/>
                      </a:lnTo>
                      <a:lnTo>
                        <a:pt x="2948" y="1190"/>
                      </a:lnTo>
                      <a:lnTo>
                        <a:pt x="2955" y="1183"/>
                      </a:lnTo>
                      <a:lnTo>
                        <a:pt x="2955" y="1183"/>
                      </a:lnTo>
                      <a:lnTo>
                        <a:pt x="2962" y="1174"/>
                      </a:lnTo>
                      <a:lnTo>
                        <a:pt x="2970" y="1167"/>
                      </a:lnTo>
                      <a:lnTo>
                        <a:pt x="2984" y="1157"/>
                      </a:lnTo>
                      <a:lnTo>
                        <a:pt x="2990" y="1151"/>
                      </a:lnTo>
                      <a:lnTo>
                        <a:pt x="2993" y="1146"/>
                      </a:lnTo>
                      <a:lnTo>
                        <a:pt x="2993" y="1137"/>
                      </a:lnTo>
                      <a:lnTo>
                        <a:pt x="2988" y="1127"/>
                      </a:lnTo>
                      <a:lnTo>
                        <a:pt x="2988" y="1127"/>
                      </a:lnTo>
                      <a:lnTo>
                        <a:pt x="2984" y="1118"/>
                      </a:lnTo>
                      <a:lnTo>
                        <a:pt x="2984" y="1113"/>
                      </a:lnTo>
                      <a:lnTo>
                        <a:pt x="2986" y="1110"/>
                      </a:lnTo>
                      <a:lnTo>
                        <a:pt x="2988" y="1106"/>
                      </a:lnTo>
                      <a:lnTo>
                        <a:pt x="2990" y="1104"/>
                      </a:lnTo>
                      <a:lnTo>
                        <a:pt x="2991" y="1101"/>
                      </a:lnTo>
                      <a:lnTo>
                        <a:pt x="2991" y="1096"/>
                      </a:lnTo>
                      <a:lnTo>
                        <a:pt x="2988" y="1087"/>
                      </a:lnTo>
                      <a:lnTo>
                        <a:pt x="2988" y="1087"/>
                      </a:lnTo>
                      <a:lnTo>
                        <a:pt x="2983" y="1078"/>
                      </a:lnTo>
                      <a:lnTo>
                        <a:pt x="2977" y="1075"/>
                      </a:lnTo>
                      <a:lnTo>
                        <a:pt x="2970" y="1071"/>
                      </a:lnTo>
                      <a:lnTo>
                        <a:pt x="2965" y="1071"/>
                      </a:lnTo>
                      <a:lnTo>
                        <a:pt x="2958" y="1071"/>
                      </a:lnTo>
                      <a:lnTo>
                        <a:pt x="2951" y="1070"/>
                      </a:lnTo>
                      <a:lnTo>
                        <a:pt x="2944" y="1064"/>
                      </a:lnTo>
                      <a:lnTo>
                        <a:pt x="2937" y="1057"/>
                      </a:lnTo>
                      <a:lnTo>
                        <a:pt x="2937" y="1057"/>
                      </a:lnTo>
                      <a:lnTo>
                        <a:pt x="2929" y="1049"/>
                      </a:lnTo>
                      <a:lnTo>
                        <a:pt x="2922" y="1043"/>
                      </a:lnTo>
                      <a:lnTo>
                        <a:pt x="2913" y="1043"/>
                      </a:lnTo>
                      <a:lnTo>
                        <a:pt x="2906" y="1045"/>
                      </a:lnTo>
                      <a:lnTo>
                        <a:pt x="2897" y="1049"/>
                      </a:lnTo>
                      <a:lnTo>
                        <a:pt x="2887" y="1056"/>
                      </a:lnTo>
                      <a:lnTo>
                        <a:pt x="2862" y="1073"/>
                      </a:lnTo>
                      <a:lnTo>
                        <a:pt x="2862" y="1073"/>
                      </a:lnTo>
                      <a:lnTo>
                        <a:pt x="2849" y="1082"/>
                      </a:lnTo>
                      <a:lnTo>
                        <a:pt x="2840" y="1085"/>
                      </a:lnTo>
                      <a:lnTo>
                        <a:pt x="2835" y="1085"/>
                      </a:lnTo>
                      <a:lnTo>
                        <a:pt x="2831" y="1082"/>
                      </a:lnTo>
                      <a:lnTo>
                        <a:pt x="2831" y="1076"/>
                      </a:lnTo>
                      <a:lnTo>
                        <a:pt x="2835" y="1071"/>
                      </a:lnTo>
                      <a:lnTo>
                        <a:pt x="2842" y="1066"/>
                      </a:lnTo>
                      <a:lnTo>
                        <a:pt x="2852" y="1063"/>
                      </a:lnTo>
                      <a:lnTo>
                        <a:pt x="2852" y="1063"/>
                      </a:lnTo>
                      <a:lnTo>
                        <a:pt x="2861" y="1059"/>
                      </a:lnTo>
                      <a:lnTo>
                        <a:pt x="2869" y="1056"/>
                      </a:lnTo>
                      <a:lnTo>
                        <a:pt x="2882" y="1049"/>
                      </a:lnTo>
                      <a:lnTo>
                        <a:pt x="2894" y="1042"/>
                      </a:lnTo>
                      <a:lnTo>
                        <a:pt x="2902" y="1038"/>
                      </a:lnTo>
                      <a:lnTo>
                        <a:pt x="2915" y="1036"/>
                      </a:lnTo>
                      <a:lnTo>
                        <a:pt x="2915" y="1036"/>
                      </a:lnTo>
                      <a:lnTo>
                        <a:pt x="2925" y="1033"/>
                      </a:lnTo>
                      <a:lnTo>
                        <a:pt x="2930" y="1029"/>
                      </a:lnTo>
                      <a:lnTo>
                        <a:pt x="2932" y="1026"/>
                      </a:lnTo>
                      <a:lnTo>
                        <a:pt x="2930" y="1023"/>
                      </a:lnTo>
                      <a:lnTo>
                        <a:pt x="2927" y="1017"/>
                      </a:lnTo>
                      <a:lnTo>
                        <a:pt x="2918" y="1014"/>
                      </a:lnTo>
                      <a:lnTo>
                        <a:pt x="2909" y="1012"/>
                      </a:lnTo>
                      <a:lnTo>
                        <a:pt x="2897" y="1010"/>
                      </a:lnTo>
                      <a:lnTo>
                        <a:pt x="2897" y="1010"/>
                      </a:lnTo>
                      <a:lnTo>
                        <a:pt x="2889" y="1007"/>
                      </a:lnTo>
                      <a:lnTo>
                        <a:pt x="2882" y="1005"/>
                      </a:lnTo>
                      <a:lnTo>
                        <a:pt x="2880" y="1002"/>
                      </a:lnTo>
                      <a:lnTo>
                        <a:pt x="2878" y="998"/>
                      </a:lnTo>
                      <a:lnTo>
                        <a:pt x="2875" y="995"/>
                      </a:lnTo>
                      <a:lnTo>
                        <a:pt x="2871" y="991"/>
                      </a:lnTo>
                      <a:lnTo>
                        <a:pt x="2864" y="988"/>
                      </a:lnTo>
                      <a:lnTo>
                        <a:pt x="2850" y="986"/>
                      </a:lnTo>
                      <a:lnTo>
                        <a:pt x="2850" y="986"/>
                      </a:lnTo>
                      <a:lnTo>
                        <a:pt x="2838" y="984"/>
                      </a:lnTo>
                      <a:lnTo>
                        <a:pt x="2831" y="981"/>
                      </a:lnTo>
                      <a:lnTo>
                        <a:pt x="2829" y="977"/>
                      </a:lnTo>
                      <a:lnTo>
                        <a:pt x="2829" y="972"/>
                      </a:lnTo>
                      <a:lnTo>
                        <a:pt x="2829" y="969"/>
                      </a:lnTo>
                      <a:lnTo>
                        <a:pt x="2828" y="963"/>
                      </a:lnTo>
                      <a:lnTo>
                        <a:pt x="2824" y="958"/>
                      </a:lnTo>
                      <a:lnTo>
                        <a:pt x="2817" y="955"/>
                      </a:lnTo>
                      <a:lnTo>
                        <a:pt x="2817" y="955"/>
                      </a:lnTo>
                      <a:lnTo>
                        <a:pt x="2807" y="949"/>
                      </a:lnTo>
                      <a:lnTo>
                        <a:pt x="2798" y="944"/>
                      </a:lnTo>
                      <a:lnTo>
                        <a:pt x="2791" y="939"/>
                      </a:lnTo>
                      <a:lnTo>
                        <a:pt x="2786" y="932"/>
                      </a:lnTo>
                      <a:lnTo>
                        <a:pt x="2784" y="925"/>
                      </a:lnTo>
                      <a:lnTo>
                        <a:pt x="2782" y="916"/>
                      </a:lnTo>
                      <a:lnTo>
                        <a:pt x="2786" y="908"/>
                      </a:lnTo>
                      <a:lnTo>
                        <a:pt x="2789" y="897"/>
                      </a:lnTo>
                      <a:lnTo>
                        <a:pt x="2789" y="897"/>
                      </a:lnTo>
                      <a:lnTo>
                        <a:pt x="2793" y="892"/>
                      </a:lnTo>
                      <a:lnTo>
                        <a:pt x="2793" y="887"/>
                      </a:lnTo>
                      <a:lnTo>
                        <a:pt x="2793" y="883"/>
                      </a:lnTo>
                      <a:lnTo>
                        <a:pt x="2791" y="881"/>
                      </a:lnTo>
                      <a:lnTo>
                        <a:pt x="2786" y="876"/>
                      </a:lnTo>
                      <a:lnTo>
                        <a:pt x="2779" y="875"/>
                      </a:lnTo>
                      <a:lnTo>
                        <a:pt x="2772" y="873"/>
                      </a:lnTo>
                      <a:lnTo>
                        <a:pt x="2767" y="869"/>
                      </a:lnTo>
                      <a:lnTo>
                        <a:pt x="2765" y="868"/>
                      </a:lnTo>
                      <a:lnTo>
                        <a:pt x="2765" y="864"/>
                      </a:lnTo>
                      <a:lnTo>
                        <a:pt x="2765" y="862"/>
                      </a:lnTo>
                      <a:lnTo>
                        <a:pt x="2768" y="859"/>
                      </a:lnTo>
                      <a:lnTo>
                        <a:pt x="2768" y="859"/>
                      </a:lnTo>
                      <a:lnTo>
                        <a:pt x="2772" y="850"/>
                      </a:lnTo>
                      <a:lnTo>
                        <a:pt x="2772" y="845"/>
                      </a:lnTo>
                      <a:lnTo>
                        <a:pt x="2768" y="840"/>
                      </a:lnTo>
                      <a:lnTo>
                        <a:pt x="2765" y="836"/>
                      </a:lnTo>
                      <a:lnTo>
                        <a:pt x="2758" y="831"/>
                      </a:lnTo>
                      <a:lnTo>
                        <a:pt x="2753" y="826"/>
                      </a:lnTo>
                      <a:lnTo>
                        <a:pt x="2749" y="817"/>
                      </a:lnTo>
                      <a:lnTo>
                        <a:pt x="2746" y="808"/>
                      </a:lnTo>
                      <a:lnTo>
                        <a:pt x="2746" y="808"/>
                      </a:lnTo>
                      <a:lnTo>
                        <a:pt x="2742" y="793"/>
                      </a:lnTo>
                      <a:lnTo>
                        <a:pt x="2741" y="791"/>
                      </a:lnTo>
                      <a:lnTo>
                        <a:pt x="2739" y="789"/>
                      </a:lnTo>
                      <a:lnTo>
                        <a:pt x="2734" y="786"/>
                      </a:lnTo>
                      <a:lnTo>
                        <a:pt x="2732" y="782"/>
                      </a:lnTo>
                      <a:lnTo>
                        <a:pt x="2730" y="775"/>
                      </a:lnTo>
                      <a:lnTo>
                        <a:pt x="2730" y="775"/>
                      </a:lnTo>
                      <a:lnTo>
                        <a:pt x="2727" y="768"/>
                      </a:lnTo>
                      <a:lnTo>
                        <a:pt x="2725" y="765"/>
                      </a:lnTo>
                      <a:lnTo>
                        <a:pt x="2718" y="758"/>
                      </a:lnTo>
                      <a:lnTo>
                        <a:pt x="2713" y="754"/>
                      </a:lnTo>
                      <a:lnTo>
                        <a:pt x="2707" y="749"/>
                      </a:lnTo>
                      <a:lnTo>
                        <a:pt x="2702" y="742"/>
                      </a:lnTo>
                      <a:lnTo>
                        <a:pt x="2695" y="730"/>
                      </a:lnTo>
                      <a:lnTo>
                        <a:pt x="2695" y="730"/>
                      </a:lnTo>
                      <a:lnTo>
                        <a:pt x="2690" y="718"/>
                      </a:lnTo>
                      <a:lnTo>
                        <a:pt x="2685" y="711"/>
                      </a:lnTo>
                      <a:lnTo>
                        <a:pt x="2680" y="707"/>
                      </a:lnTo>
                      <a:lnTo>
                        <a:pt x="2676" y="707"/>
                      </a:lnTo>
                      <a:lnTo>
                        <a:pt x="2671" y="709"/>
                      </a:lnTo>
                      <a:lnTo>
                        <a:pt x="2667" y="714"/>
                      </a:lnTo>
                      <a:lnTo>
                        <a:pt x="2655" y="728"/>
                      </a:lnTo>
                      <a:lnTo>
                        <a:pt x="2655" y="728"/>
                      </a:lnTo>
                      <a:lnTo>
                        <a:pt x="2648" y="739"/>
                      </a:lnTo>
                      <a:lnTo>
                        <a:pt x="2645" y="749"/>
                      </a:lnTo>
                      <a:lnTo>
                        <a:pt x="2641" y="770"/>
                      </a:lnTo>
                      <a:lnTo>
                        <a:pt x="2640" y="779"/>
                      </a:lnTo>
                      <a:lnTo>
                        <a:pt x="2634" y="786"/>
                      </a:lnTo>
                      <a:lnTo>
                        <a:pt x="2633" y="789"/>
                      </a:lnTo>
                      <a:lnTo>
                        <a:pt x="2629" y="789"/>
                      </a:lnTo>
                      <a:lnTo>
                        <a:pt x="2626" y="789"/>
                      </a:lnTo>
                      <a:lnTo>
                        <a:pt x="2620" y="789"/>
                      </a:lnTo>
                      <a:lnTo>
                        <a:pt x="2620" y="789"/>
                      </a:lnTo>
                      <a:lnTo>
                        <a:pt x="2612" y="787"/>
                      </a:lnTo>
                      <a:lnTo>
                        <a:pt x="2608" y="787"/>
                      </a:lnTo>
                      <a:lnTo>
                        <a:pt x="2606" y="791"/>
                      </a:lnTo>
                      <a:lnTo>
                        <a:pt x="2606" y="794"/>
                      </a:lnTo>
                      <a:lnTo>
                        <a:pt x="2606" y="798"/>
                      </a:lnTo>
                      <a:lnTo>
                        <a:pt x="2603" y="803"/>
                      </a:lnTo>
                      <a:lnTo>
                        <a:pt x="2598" y="808"/>
                      </a:lnTo>
                      <a:lnTo>
                        <a:pt x="2587" y="814"/>
                      </a:lnTo>
                      <a:lnTo>
                        <a:pt x="2587" y="814"/>
                      </a:lnTo>
                      <a:lnTo>
                        <a:pt x="2575" y="815"/>
                      </a:lnTo>
                      <a:lnTo>
                        <a:pt x="2566" y="814"/>
                      </a:lnTo>
                      <a:lnTo>
                        <a:pt x="2559" y="808"/>
                      </a:lnTo>
                      <a:lnTo>
                        <a:pt x="2554" y="803"/>
                      </a:lnTo>
                      <a:lnTo>
                        <a:pt x="2549" y="796"/>
                      </a:lnTo>
                      <a:lnTo>
                        <a:pt x="2544" y="789"/>
                      </a:lnTo>
                      <a:lnTo>
                        <a:pt x="2535" y="786"/>
                      </a:lnTo>
                      <a:lnTo>
                        <a:pt x="2523" y="784"/>
                      </a:lnTo>
                      <a:lnTo>
                        <a:pt x="2523" y="784"/>
                      </a:lnTo>
                      <a:lnTo>
                        <a:pt x="2514" y="784"/>
                      </a:lnTo>
                      <a:lnTo>
                        <a:pt x="2509" y="782"/>
                      </a:lnTo>
                      <a:lnTo>
                        <a:pt x="2507" y="780"/>
                      </a:lnTo>
                      <a:lnTo>
                        <a:pt x="2509" y="777"/>
                      </a:lnTo>
                      <a:lnTo>
                        <a:pt x="2511" y="774"/>
                      </a:lnTo>
                      <a:lnTo>
                        <a:pt x="2512" y="770"/>
                      </a:lnTo>
                      <a:lnTo>
                        <a:pt x="2511" y="765"/>
                      </a:lnTo>
                      <a:lnTo>
                        <a:pt x="2507" y="761"/>
                      </a:lnTo>
                      <a:lnTo>
                        <a:pt x="2507" y="761"/>
                      </a:lnTo>
                      <a:lnTo>
                        <a:pt x="2500" y="758"/>
                      </a:lnTo>
                      <a:lnTo>
                        <a:pt x="2499" y="754"/>
                      </a:lnTo>
                      <a:lnTo>
                        <a:pt x="2500" y="751"/>
                      </a:lnTo>
                      <a:lnTo>
                        <a:pt x="2502" y="747"/>
                      </a:lnTo>
                      <a:lnTo>
                        <a:pt x="2504" y="744"/>
                      </a:lnTo>
                      <a:lnTo>
                        <a:pt x="2505" y="740"/>
                      </a:lnTo>
                      <a:lnTo>
                        <a:pt x="2505" y="735"/>
                      </a:lnTo>
                      <a:lnTo>
                        <a:pt x="2502" y="727"/>
                      </a:lnTo>
                      <a:lnTo>
                        <a:pt x="2502" y="727"/>
                      </a:lnTo>
                      <a:lnTo>
                        <a:pt x="2499" y="718"/>
                      </a:lnTo>
                      <a:lnTo>
                        <a:pt x="2499" y="707"/>
                      </a:lnTo>
                      <a:lnTo>
                        <a:pt x="2500" y="699"/>
                      </a:lnTo>
                      <a:lnTo>
                        <a:pt x="2504" y="690"/>
                      </a:lnTo>
                      <a:lnTo>
                        <a:pt x="2511" y="676"/>
                      </a:lnTo>
                      <a:lnTo>
                        <a:pt x="2512" y="669"/>
                      </a:lnTo>
                      <a:lnTo>
                        <a:pt x="2511" y="664"/>
                      </a:lnTo>
                      <a:lnTo>
                        <a:pt x="2511" y="664"/>
                      </a:lnTo>
                      <a:lnTo>
                        <a:pt x="2505" y="660"/>
                      </a:lnTo>
                      <a:lnTo>
                        <a:pt x="2502" y="660"/>
                      </a:lnTo>
                      <a:lnTo>
                        <a:pt x="2500" y="662"/>
                      </a:lnTo>
                      <a:lnTo>
                        <a:pt x="2497" y="666"/>
                      </a:lnTo>
                      <a:lnTo>
                        <a:pt x="2493" y="671"/>
                      </a:lnTo>
                      <a:lnTo>
                        <a:pt x="2492" y="673"/>
                      </a:lnTo>
                      <a:lnTo>
                        <a:pt x="2490" y="669"/>
                      </a:lnTo>
                      <a:lnTo>
                        <a:pt x="2490" y="669"/>
                      </a:lnTo>
                      <a:lnTo>
                        <a:pt x="2486" y="666"/>
                      </a:lnTo>
                      <a:lnTo>
                        <a:pt x="2478" y="664"/>
                      </a:lnTo>
                      <a:lnTo>
                        <a:pt x="2458" y="659"/>
                      </a:lnTo>
                      <a:lnTo>
                        <a:pt x="2450" y="655"/>
                      </a:lnTo>
                      <a:lnTo>
                        <a:pt x="2441" y="652"/>
                      </a:lnTo>
                      <a:lnTo>
                        <a:pt x="2436" y="646"/>
                      </a:lnTo>
                      <a:lnTo>
                        <a:pt x="2434" y="645"/>
                      </a:lnTo>
                      <a:lnTo>
                        <a:pt x="2434" y="641"/>
                      </a:lnTo>
                      <a:lnTo>
                        <a:pt x="2434" y="641"/>
                      </a:lnTo>
                      <a:lnTo>
                        <a:pt x="2434" y="634"/>
                      </a:lnTo>
                      <a:lnTo>
                        <a:pt x="2432" y="629"/>
                      </a:lnTo>
                      <a:lnTo>
                        <a:pt x="2427" y="624"/>
                      </a:lnTo>
                      <a:lnTo>
                        <a:pt x="2420" y="619"/>
                      </a:lnTo>
                      <a:lnTo>
                        <a:pt x="2382" y="592"/>
                      </a:lnTo>
                      <a:lnTo>
                        <a:pt x="2382" y="592"/>
                      </a:lnTo>
                      <a:lnTo>
                        <a:pt x="2366" y="582"/>
                      </a:lnTo>
                      <a:lnTo>
                        <a:pt x="2359" y="580"/>
                      </a:lnTo>
                      <a:lnTo>
                        <a:pt x="2356" y="580"/>
                      </a:lnTo>
                      <a:lnTo>
                        <a:pt x="2352" y="582"/>
                      </a:lnTo>
                      <a:lnTo>
                        <a:pt x="2349" y="584"/>
                      </a:lnTo>
                      <a:lnTo>
                        <a:pt x="2342" y="589"/>
                      </a:lnTo>
                      <a:lnTo>
                        <a:pt x="2337" y="592"/>
                      </a:lnTo>
                      <a:lnTo>
                        <a:pt x="2331" y="594"/>
                      </a:lnTo>
                      <a:lnTo>
                        <a:pt x="2324" y="596"/>
                      </a:lnTo>
                      <a:lnTo>
                        <a:pt x="2316" y="596"/>
                      </a:lnTo>
                      <a:lnTo>
                        <a:pt x="2304" y="596"/>
                      </a:lnTo>
                      <a:lnTo>
                        <a:pt x="2290" y="592"/>
                      </a:lnTo>
                      <a:lnTo>
                        <a:pt x="2272" y="587"/>
                      </a:lnTo>
                      <a:lnTo>
                        <a:pt x="2251" y="579"/>
                      </a:lnTo>
                      <a:lnTo>
                        <a:pt x="2251" y="579"/>
                      </a:lnTo>
                      <a:lnTo>
                        <a:pt x="2243" y="575"/>
                      </a:lnTo>
                      <a:lnTo>
                        <a:pt x="2234" y="575"/>
                      </a:lnTo>
                      <a:lnTo>
                        <a:pt x="2227" y="575"/>
                      </a:lnTo>
                      <a:lnTo>
                        <a:pt x="2222" y="575"/>
                      </a:lnTo>
                      <a:lnTo>
                        <a:pt x="2216" y="579"/>
                      </a:lnTo>
                      <a:lnTo>
                        <a:pt x="2213" y="582"/>
                      </a:lnTo>
                      <a:lnTo>
                        <a:pt x="2208" y="589"/>
                      </a:lnTo>
                      <a:lnTo>
                        <a:pt x="2204" y="599"/>
                      </a:lnTo>
                      <a:lnTo>
                        <a:pt x="2206" y="610"/>
                      </a:lnTo>
                      <a:lnTo>
                        <a:pt x="2208" y="620"/>
                      </a:lnTo>
                      <a:lnTo>
                        <a:pt x="2211" y="626"/>
                      </a:lnTo>
                      <a:lnTo>
                        <a:pt x="2211" y="626"/>
                      </a:lnTo>
                      <a:lnTo>
                        <a:pt x="2215" y="631"/>
                      </a:lnTo>
                      <a:lnTo>
                        <a:pt x="2216" y="638"/>
                      </a:lnTo>
                      <a:lnTo>
                        <a:pt x="2218" y="643"/>
                      </a:lnTo>
                      <a:lnTo>
                        <a:pt x="2218" y="650"/>
                      </a:lnTo>
                      <a:lnTo>
                        <a:pt x="2215" y="662"/>
                      </a:lnTo>
                      <a:lnTo>
                        <a:pt x="2208" y="673"/>
                      </a:lnTo>
                      <a:lnTo>
                        <a:pt x="2208" y="673"/>
                      </a:lnTo>
                      <a:lnTo>
                        <a:pt x="2206" y="676"/>
                      </a:lnTo>
                      <a:lnTo>
                        <a:pt x="2204" y="680"/>
                      </a:lnTo>
                      <a:lnTo>
                        <a:pt x="2206" y="681"/>
                      </a:lnTo>
                      <a:lnTo>
                        <a:pt x="2208" y="683"/>
                      </a:lnTo>
                      <a:lnTo>
                        <a:pt x="2215" y="692"/>
                      </a:lnTo>
                      <a:lnTo>
                        <a:pt x="2220" y="699"/>
                      </a:lnTo>
                      <a:lnTo>
                        <a:pt x="2223" y="707"/>
                      </a:lnTo>
                      <a:lnTo>
                        <a:pt x="2223" y="707"/>
                      </a:lnTo>
                      <a:lnTo>
                        <a:pt x="2227" y="718"/>
                      </a:lnTo>
                      <a:lnTo>
                        <a:pt x="2229" y="725"/>
                      </a:lnTo>
                      <a:lnTo>
                        <a:pt x="2229" y="730"/>
                      </a:lnTo>
                      <a:lnTo>
                        <a:pt x="2227" y="735"/>
                      </a:lnTo>
                      <a:lnTo>
                        <a:pt x="2222" y="744"/>
                      </a:lnTo>
                      <a:lnTo>
                        <a:pt x="2216" y="756"/>
                      </a:lnTo>
                      <a:lnTo>
                        <a:pt x="2216" y="756"/>
                      </a:lnTo>
                      <a:lnTo>
                        <a:pt x="2215" y="763"/>
                      </a:lnTo>
                      <a:lnTo>
                        <a:pt x="2211" y="768"/>
                      </a:lnTo>
                      <a:lnTo>
                        <a:pt x="2203" y="774"/>
                      </a:lnTo>
                      <a:lnTo>
                        <a:pt x="2199" y="775"/>
                      </a:lnTo>
                      <a:lnTo>
                        <a:pt x="2196" y="779"/>
                      </a:lnTo>
                      <a:lnTo>
                        <a:pt x="2194" y="784"/>
                      </a:lnTo>
                      <a:lnTo>
                        <a:pt x="2192" y="793"/>
                      </a:lnTo>
                      <a:lnTo>
                        <a:pt x="2192" y="793"/>
                      </a:lnTo>
                      <a:lnTo>
                        <a:pt x="2190" y="796"/>
                      </a:lnTo>
                      <a:lnTo>
                        <a:pt x="2192" y="800"/>
                      </a:lnTo>
                      <a:lnTo>
                        <a:pt x="2197" y="807"/>
                      </a:lnTo>
                      <a:lnTo>
                        <a:pt x="2204" y="812"/>
                      </a:lnTo>
                      <a:lnTo>
                        <a:pt x="2215" y="819"/>
                      </a:lnTo>
                      <a:lnTo>
                        <a:pt x="2227" y="828"/>
                      </a:lnTo>
                      <a:lnTo>
                        <a:pt x="2237" y="840"/>
                      </a:lnTo>
                      <a:lnTo>
                        <a:pt x="2244" y="847"/>
                      </a:lnTo>
                      <a:lnTo>
                        <a:pt x="2250" y="855"/>
                      </a:lnTo>
                      <a:lnTo>
                        <a:pt x="2253" y="868"/>
                      </a:lnTo>
                      <a:lnTo>
                        <a:pt x="2258" y="880"/>
                      </a:lnTo>
                      <a:lnTo>
                        <a:pt x="2258" y="880"/>
                      </a:lnTo>
                      <a:lnTo>
                        <a:pt x="2260" y="892"/>
                      </a:lnTo>
                      <a:lnTo>
                        <a:pt x="2262" y="904"/>
                      </a:lnTo>
                      <a:lnTo>
                        <a:pt x="2262" y="916"/>
                      </a:lnTo>
                      <a:lnTo>
                        <a:pt x="2258" y="928"/>
                      </a:lnTo>
                      <a:lnTo>
                        <a:pt x="2255" y="939"/>
                      </a:lnTo>
                      <a:lnTo>
                        <a:pt x="2251" y="948"/>
                      </a:lnTo>
                      <a:lnTo>
                        <a:pt x="2244" y="956"/>
                      </a:lnTo>
                      <a:lnTo>
                        <a:pt x="2237" y="965"/>
                      </a:lnTo>
                      <a:lnTo>
                        <a:pt x="2223" y="979"/>
                      </a:lnTo>
                      <a:lnTo>
                        <a:pt x="2206" y="991"/>
                      </a:lnTo>
                      <a:lnTo>
                        <a:pt x="2189" y="1002"/>
                      </a:lnTo>
                      <a:lnTo>
                        <a:pt x="2171" y="1009"/>
                      </a:lnTo>
                      <a:lnTo>
                        <a:pt x="2171" y="1009"/>
                      </a:lnTo>
                      <a:lnTo>
                        <a:pt x="2159" y="1014"/>
                      </a:lnTo>
                      <a:lnTo>
                        <a:pt x="2154" y="1019"/>
                      </a:lnTo>
                      <a:lnTo>
                        <a:pt x="2152" y="1023"/>
                      </a:lnTo>
                      <a:lnTo>
                        <a:pt x="2152" y="1024"/>
                      </a:lnTo>
                      <a:lnTo>
                        <a:pt x="2156" y="1029"/>
                      </a:lnTo>
                      <a:lnTo>
                        <a:pt x="2161" y="1036"/>
                      </a:lnTo>
                      <a:lnTo>
                        <a:pt x="2166" y="1045"/>
                      </a:lnTo>
                      <a:lnTo>
                        <a:pt x="2171" y="1056"/>
                      </a:lnTo>
                      <a:lnTo>
                        <a:pt x="2171" y="1063"/>
                      </a:lnTo>
                      <a:lnTo>
                        <a:pt x="2171" y="1070"/>
                      </a:lnTo>
                      <a:lnTo>
                        <a:pt x="2171" y="1070"/>
                      </a:lnTo>
                      <a:lnTo>
                        <a:pt x="2173" y="1083"/>
                      </a:lnTo>
                      <a:lnTo>
                        <a:pt x="2176" y="1096"/>
                      </a:lnTo>
                      <a:lnTo>
                        <a:pt x="2185" y="1122"/>
                      </a:lnTo>
                      <a:lnTo>
                        <a:pt x="2189" y="1134"/>
                      </a:lnTo>
                      <a:lnTo>
                        <a:pt x="2189" y="1144"/>
                      </a:lnTo>
                      <a:lnTo>
                        <a:pt x="2189" y="1153"/>
                      </a:lnTo>
                      <a:lnTo>
                        <a:pt x="2187" y="1157"/>
                      </a:lnTo>
                      <a:lnTo>
                        <a:pt x="2183" y="1158"/>
                      </a:lnTo>
                      <a:lnTo>
                        <a:pt x="2183" y="1158"/>
                      </a:lnTo>
                      <a:lnTo>
                        <a:pt x="2180" y="1160"/>
                      </a:lnTo>
                      <a:lnTo>
                        <a:pt x="2178" y="1164"/>
                      </a:lnTo>
                      <a:lnTo>
                        <a:pt x="2176" y="1170"/>
                      </a:lnTo>
                      <a:lnTo>
                        <a:pt x="2178" y="1176"/>
                      </a:lnTo>
                      <a:lnTo>
                        <a:pt x="2180" y="1183"/>
                      </a:lnTo>
                      <a:lnTo>
                        <a:pt x="2182" y="1186"/>
                      </a:lnTo>
                      <a:lnTo>
                        <a:pt x="2182" y="1188"/>
                      </a:lnTo>
                      <a:lnTo>
                        <a:pt x="2176" y="1188"/>
                      </a:lnTo>
                      <a:lnTo>
                        <a:pt x="2169" y="1183"/>
                      </a:lnTo>
                      <a:lnTo>
                        <a:pt x="2169" y="1183"/>
                      </a:lnTo>
                      <a:lnTo>
                        <a:pt x="2159" y="1179"/>
                      </a:lnTo>
                      <a:lnTo>
                        <a:pt x="2157" y="1179"/>
                      </a:lnTo>
                      <a:lnTo>
                        <a:pt x="2156" y="1181"/>
                      </a:lnTo>
                      <a:lnTo>
                        <a:pt x="2154" y="1186"/>
                      </a:lnTo>
                      <a:lnTo>
                        <a:pt x="2152" y="1191"/>
                      </a:lnTo>
                      <a:lnTo>
                        <a:pt x="2152" y="1198"/>
                      </a:lnTo>
                      <a:lnTo>
                        <a:pt x="2150" y="1204"/>
                      </a:lnTo>
                      <a:lnTo>
                        <a:pt x="2149" y="1205"/>
                      </a:lnTo>
                      <a:lnTo>
                        <a:pt x="2145" y="1205"/>
                      </a:lnTo>
                      <a:lnTo>
                        <a:pt x="2138" y="1200"/>
                      </a:lnTo>
                      <a:lnTo>
                        <a:pt x="2138" y="1200"/>
                      </a:lnTo>
                      <a:lnTo>
                        <a:pt x="2129" y="1195"/>
                      </a:lnTo>
                      <a:lnTo>
                        <a:pt x="2124" y="1190"/>
                      </a:lnTo>
                      <a:lnTo>
                        <a:pt x="2117" y="1177"/>
                      </a:lnTo>
                      <a:lnTo>
                        <a:pt x="2112" y="1169"/>
                      </a:lnTo>
                      <a:lnTo>
                        <a:pt x="2105" y="1158"/>
                      </a:lnTo>
                      <a:lnTo>
                        <a:pt x="2093" y="1146"/>
                      </a:lnTo>
                      <a:lnTo>
                        <a:pt x="2075" y="1130"/>
                      </a:lnTo>
                      <a:lnTo>
                        <a:pt x="2075" y="1130"/>
                      </a:lnTo>
                      <a:lnTo>
                        <a:pt x="2067" y="1120"/>
                      </a:lnTo>
                      <a:lnTo>
                        <a:pt x="2061" y="1111"/>
                      </a:lnTo>
                      <a:lnTo>
                        <a:pt x="2060" y="1101"/>
                      </a:lnTo>
                      <a:lnTo>
                        <a:pt x="2060" y="1092"/>
                      </a:lnTo>
                      <a:lnTo>
                        <a:pt x="2061" y="1073"/>
                      </a:lnTo>
                      <a:lnTo>
                        <a:pt x="2060" y="1064"/>
                      </a:lnTo>
                      <a:lnTo>
                        <a:pt x="2058" y="1052"/>
                      </a:lnTo>
                      <a:lnTo>
                        <a:pt x="2058" y="1052"/>
                      </a:lnTo>
                      <a:lnTo>
                        <a:pt x="2055" y="1040"/>
                      </a:lnTo>
                      <a:lnTo>
                        <a:pt x="2056" y="1029"/>
                      </a:lnTo>
                      <a:lnTo>
                        <a:pt x="2058" y="1019"/>
                      </a:lnTo>
                      <a:lnTo>
                        <a:pt x="2060" y="1012"/>
                      </a:lnTo>
                      <a:lnTo>
                        <a:pt x="2061" y="1005"/>
                      </a:lnTo>
                      <a:lnTo>
                        <a:pt x="2060" y="1000"/>
                      </a:lnTo>
                      <a:lnTo>
                        <a:pt x="2056" y="995"/>
                      </a:lnTo>
                      <a:lnTo>
                        <a:pt x="2046" y="991"/>
                      </a:lnTo>
                      <a:lnTo>
                        <a:pt x="2046" y="991"/>
                      </a:lnTo>
                      <a:lnTo>
                        <a:pt x="2023" y="986"/>
                      </a:lnTo>
                      <a:lnTo>
                        <a:pt x="2006" y="984"/>
                      </a:lnTo>
                      <a:lnTo>
                        <a:pt x="1992" y="984"/>
                      </a:lnTo>
                      <a:lnTo>
                        <a:pt x="1983" y="984"/>
                      </a:lnTo>
                      <a:lnTo>
                        <a:pt x="1971" y="986"/>
                      </a:lnTo>
                      <a:lnTo>
                        <a:pt x="1966" y="986"/>
                      </a:lnTo>
                      <a:lnTo>
                        <a:pt x="1959" y="984"/>
                      </a:lnTo>
                      <a:lnTo>
                        <a:pt x="1959" y="984"/>
                      </a:lnTo>
                      <a:lnTo>
                        <a:pt x="1954" y="982"/>
                      </a:lnTo>
                      <a:lnTo>
                        <a:pt x="1950" y="979"/>
                      </a:lnTo>
                      <a:lnTo>
                        <a:pt x="1943" y="972"/>
                      </a:lnTo>
                      <a:lnTo>
                        <a:pt x="1938" y="967"/>
                      </a:lnTo>
                      <a:lnTo>
                        <a:pt x="1929" y="962"/>
                      </a:lnTo>
                      <a:lnTo>
                        <a:pt x="1915" y="956"/>
                      </a:lnTo>
                      <a:lnTo>
                        <a:pt x="1896" y="949"/>
                      </a:lnTo>
                      <a:lnTo>
                        <a:pt x="1896" y="949"/>
                      </a:lnTo>
                      <a:lnTo>
                        <a:pt x="1879" y="944"/>
                      </a:lnTo>
                      <a:lnTo>
                        <a:pt x="1868" y="939"/>
                      </a:lnTo>
                      <a:lnTo>
                        <a:pt x="1865" y="934"/>
                      </a:lnTo>
                      <a:lnTo>
                        <a:pt x="1863" y="927"/>
                      </a:lnTo>
                      <a:lnTo>
                        <a:pt x="1859" y="920"/>
                      </a:lnTo>
                      <a:lnTo>
                        <a:pt x="1851" y="913"/>
                      </a:lnTo>
                      <a:lnTo>
                        <a:pt x="1835" y="902"/>
                      </a:lnTo>
                      <a:lnTo>
                        <a:pt x="1807" y="890"/>
                      </a:lnTo>
                      <a:lnTo>
                        <a:pt x="1807" y="890"/>
                      </a:lnTo>
                      <a:lnTo>
                        <a:pt x="1790" y="885"/>
                      </a:lnTo>
                      <a:lnTo>
                        <a:pt x="1776" y="881"/>
                      </a:lnTo>
                      <a:lnTo>
                        <a:pt x="1762" y="880"/>
                      </a:lnTo>
                      <a:lnTo>
                        <a:pt x="1752" y="880"/>
                      </a:lnTo>
                      <a:lnTo>
                        <a:pt x="1741" y="880"/>
                      </a:lnTo>
                      <a:lnTo>
                        <a:pt x="1732" y="881"/>
                      </a:lnTo>
                      <a:lnTo>
                        <a:pt x="1718" y="887"/>
                      </a:lnTo>
                      <a:lnTo>
                        <a:pt x="1708" y="892"/>
                      </a:lnTo>
                      <a:lnTo>
                        <a:pt x="1703" y="894"/>
                      </a:lnTo>
                      <a:lnTo>
                        <a:pt x="1701" y="894"/>
                      </a:lnTo>
                      <a:lnTo>
                        <a:pt x="1699" y="890"/>
                      </a:lnTo>
                      <a:lnTo>
                        <a:pt x="1698" y="878"/>
                      </a:lnTo>
                      <a:lnTo>
                        <a:pt x="1698" y="878"/>
                      </a:lnTo>
                      <a:lnTo>
                        <a:pt x="1698" y="864"/>
                      </a:lnTo>
                      <a:lnTo>
                        <a:pt x="1696" y="852"/>
                      </a:lnTo>
                      <a:lnTo>
                        <a:pt x="1691" y="838"/>
                      </a:lnTo>
                      <a:lnTo>
                        <a:pt x="1685" y="826"/>
                      </a:lnTo>
                      <a:lnTo>
                        <a:pt x="1684" y="817"/>
                      </a:lnTo>
                      <a:lnTo>
                        <a:pt x="1680" y="807"/>
                      </a:lnTo>
                      <a:lnTo>
                        <a:pt x="1680" y="807"/>
                      </a:lnTo>
                      <a:lnTo>
                        <a:pt x="1680" y="801"/>
                      </a:lnTo>
                      <a:lnTo>
                        <a:pt x="1677" y="798"/>
                      </a:lnTo>
                      <a:lnTo>
                        <a:pt x="1673" y="796"/>
                      </a:lnTo>
                      <a:lnTo>
                        <a:pt x="1670" y="794"/>
                      </a:lnTo>
                      <a:lnTo>
                        <a:pt x="1661" y="794"/>
                      </a:lnTo>
                      <a:lnTo>
                        <a:pt x="1651" y="794"/>
                      </a:lnTo>
                      <a:lnTo>
                        <a:pt x="1640" y="793"/>
                      </a:lnTo>
                      <a:lnTo>
                        <a:pt x="1635" y="791"/>
                      </a:lnTo>
                      <a:lnTo>
                        <a:pt x="1631" y="787"/>
                      </a:lnTo>
                      <a:lnTo>
                        <a:pt x="1626" y="782"/>
                      </a:lnTo>
                      <a:lnTo>
                        <a:pt x="1623" y="775"/>
                      </a:lnTo>
                      <a:lnTo>
                        <a:pt x="1621" y="767"/>
                      </a:lnTo>
                      <a:lnTo>
                        <a:pt x="1617" y="756"/>
                      </a:lnTo>
                      <a:lnTo>
                        <a:pt x="1617" y="756"/>
                      </a:lnTo>
                      <a:lnTo>
                        <a:pt x="1617" y="744"/>
                      </a:lnTo>
                      <a:lnTo>
                        <a:pt x="1619" y="730"/>
                      </a:lnTo>
                      <a:lnTo>
                        <a:pt x="1621" y="718"/>
                      </a:lnTo>
                      <a:lnTo>
                        <a:pt x="1624" y="704"/>
                      </a:lnTo>
                      <a:lnTo>
                        <a:pt x="1635" y="678"/>
                      </a:lnTo>
                      <a:lnTo>
                        <a:pt x="1647" y="653"/>
                      </a:lnTo>
                      <a:lnTo>
                        <a:pt x="1661" y="631"/>
                      </a:lnTo>
                      <a:lnTo>
                        <a:pt x="1675" y="613"/>
                      </a:lnTo>
                      <a:lnTo>
                        <a:pt x="1685" y="603"/>
                      </a:lnTo>
                      <a:lnTo>
                        <a:pt x="1691" y="601"/>
                      </a:lnTo>
                      <a:lnTo>
                        <a:pt x="1692" y="599"/>
                      </a:lnTo>
                      <a:lnTo>
                        <a:pt x="1692" y="599"/>
                      </a:lnTo>
                      <a:lnTo>
                        <a:pt x="1698" y="599"/>
                      </a:lnTo>
                      <a:lnTo>
                        <a:pt x="1699" y="596"/>
                      </a:lnTo>
                      <a:lnTo>
                        <a:pt x="1701" y="584"/>
                      </a:lnTo>
                      <a:lnTo>
                        <a:pt x="1705" y="577"/>
                      </a:lnTo>
                      <a:lnTo>
                        <a:pt x="1708" y="570"/>
                      </a:lnTo>
                      <a:lnTo>
                        <a:pt x="1715" y="565"/>
                      </a:lnTo>
                      <a:lnTo>
                        <a:pt x="1724" y="563"/>
                      </a:lnTo>
                      <a:lnTo>
                        <a:pt x="1724" y="563"/>
                      </a:lnTo>
                      <a:lnTo>
                        <a:pt x="1746" y="559"/>
                      </a:lnTo>
                      <a:lnTo>
                        <a:pt x="1757" y="558"/>
                      </a:lnTo>
                      <a:lnTo>
                        <a:pt x="1764" y="554"/>
                      </a:lnTo>
                      <a:lnTo>
                        <a:pt x="1767" y="549"/>
                      </a:lnTo>
                      <a:lnTo>
                        <a:pt x="1767" y="542"/>
                      </a:lnTo>
                      <a:lnTo>
                        <a:pt x="1764" y="535"/>
                      </a:lnTo>
                      <a:lnTo>
                        <a:pt x="1755" y="526"/>
                      </a:lnTo>
                      <a:lnTo>
                        <a:pt x="1755" y="526"/>
                      </a:lnTo>
                      <a:lnTo>
                        <a:pt x="1748" y="519"/>
                      </a:lnTo>
                      <a:lnTo>
                        <a:pt x="1748" y="516"/>
                      </a:lnTo>
                      <a:lnTo>
                        <a:pt x="1748" y="516"/>
                      </a:lnTo>
                      <a:lnTo>
                        <a:pt x="1753" y="514"/>
                      </a:lnTo>
                      <a:lnTo>
                        <a:pt x="1762" y="514"/>
                      </a:lnTo>
                      <a:lnTo>
                        <a:pt x="1771" y="514"/>
                      </a:lnTo>
                      <a:lnTo>
                        <a:pt x="1781" y="511"/>
                      </a:lnTo>
                      <a:lnTo>
                        <a:pt x="1786" y="509"/>
                      </a:lnTo>
                      <a:lnTo>
                        <a:pt x="1790" y="505"/>
                      </a:lnTo>
                      <a:lnTo>
                        <a:pt x="1792" y="500"/>
                      </a:lnTo>
                      <a:lnTo>
                        <a:pt x="1793" y="495"/>
                      </a:lnTo>
                      <a:lnTo>
                        <a:pt x="1793" y="495"/>
                      </a:lnTo>
                      <a:lnTo>
                        <a:pt x="1795" y="490"/>
                      </a:lnTo>
                      <a:lnTo>
                        <a:pt x="1797" y="486"/>
                      </a:lnTo>
                      <a:lnTo>
                        <a:pt x="1799" y="485"/>
                      </a:lnTo>
                      <a:lnTo>
                        <a:pt x="1802" y="485"/>
                      </a:lnTo>
                      <a:lnTo>
                        <a:pt x="1807" y="488"/>
                      </a:lnTo>
                      <a:lnTo>
                        <a:pt x="1816" y="493"/>
                      </a:lnTo>
                      <a:lnTo>
                        <a:pt x="1826" y="497"/>
                      </a:lnTo>
                      <a:lnTo>
                        <a:pt x="1832" y="497"/>
                      </a:lnTo>
                      <a:lnTo>
                        <a:pt x="1837" y="497"/>
                      </a:lnTo>
                      <a:lnTo>
                        <a:pt x="1842" y="493"/>
                      </a:lnTo>
                      <a:lnTo>
                        <a:pt x="1849" y="490"/>
                      </a:lnTo>
                      <a:lnTo>
                        <a:pt x="1856" y="483"/>
                      </a:lnTo>
                      <a:lnTo>
                        <a:pt x="1861" y="472"/>
                      </a:lnTo>
                      <a:lnTo>
                        <a:pt x="1861" y="472"/>
                      </a:lnTo>
                      <a:lnTo>
                        <a:pt x="1873" y="453"/>
                      </a:lnTo>
                      <a:lnTo>
                        <a:pt x="1882" y="441"/>
                      </a:lnTo>
                      <a:lnTo>
                        <a:pt x="1887" y="432"/>
                      </a:lnTo>
                      <a:lnTo>
                        <a:pt x="1889" y="427"/>
                      </a:lnTo>
                      <a:lnTo>
                        <a:pt x="1887" y="425"/>
                      </a:lnTo>
                      <a:lnTo>
                        <a:pt x="1886" y="425"/>
                      </a:lnTo>
                      <a:lnTo>
                        <a:pt x="1877" y="424"/>
                      </a:lnTo>
                      <a:lnTo>
                        <a:pt x="1861" y="420"/>
                      </a:lnTo>
                      <a:lnTo>
                        <a:pt x="1840" y="417"/>
                      </a:lnTo>
                      <a:lnTo>
                        <a:pt x="1840" y="417"/>
                      </a:lnTo>
                      <a:lnTo>
                        <a:pt x="1826" y="413"/>
                      </a:lnTo>
                      <a:lnTo>
                        <a:pt x="1816" y="408"/>
                      </a:lnTo>
                      <a:lnTo>
                        <a:pt x="1811" y="404"/>
                      </a:lnTo>
                      <a:lnTo>
                        <a:pt x="1806" y="401"/>
                      </a:lnTo>
                      <a:lnTo>
                        <a:pt x="1797" y="392"/>
                      </a:lnTo>
                      <a:lnTo>
                        <a:pt x="1790" y="387"/>
                      </a:lnTo>
                      <a:lnTo>
                        <a:pt x="1778" y="382"/>
                      </a:lnTo>
                      <a:lnTo>
                        <a:pt x="1778" y="382"/>
                      </a:lnTo>
                      <a:lnTo>
                        <a:pt x="1785" y="380"/>
                      </a:lnTo>
                      <a:lnTo>
                        <a:pt x="1793" y="382"/>
                      </a:lnTo>
                      <a:lnTo>
                        <a:pt x="1800" y="384"/>
                      </a:lnTo>
                      <a:lnTo>
                        <a:pt x="1807" y="385"/>
                      </a:lnTo>
                      <a:lnTo>
                        <a:pt x="1825" y="394"/>
                      </a:lnTo>
                      <a:lnTo>
                        <a:pt x="1840" y="403"/>
                      </a:lnTo>
                      <a:lnTo>
                        <a:pt x="1854" y="410"/>
                      </a:lnTo>
                      <a:lnTo>
                        <a:pt x="1863" y="411"/>
                      </a:lnTo>
                      <a:lnTo>
                        <a:pt x="1870" y="413"/>
                      </a:lnTo>
                      <a:lnTo>
                        <a:pt x="1877" y="413"/>
                      </a:lnTo>
                      <a:lnTo>
                        <a:pt x="1886" y="410"/>
                      </a:lnTo>
                      <a:lnTo>
                        <a:pt x="1893" y="406"/>
                      </a:lnTo>
                      <a:lnTo>
                        <a:pt x="1900" y="399"/>
                      </a:lnTo>
                      <a:lnTo>
                        <a:pt x="1900" y="399"/>
                      </a:lnTo>
                      <a:lnTo>
                        <a:pt x="1920" y="377"/>
                      </a:lnTo>
                      <a:lnTo>
                        <a:pt x="1926" y="371"/>
                      </a:lnTo>
                      <a:lnTo>
                        <a:pt x="1927" y="366"/>
                      </a:lnTo>
                      <a:lnTo>
                        <a:pt x="1927" y="363"/>
                      </a:lnTo>
                      <a:lnTo>
                        <a:pt x="1924" y="359"/>
                      </a:lnTo>
                      <a:lnTo>
                        <a:pt x="1907" y="349"/>
                      </a:lnTo>
                      <a:lnTo>
                        <a:pt x="1907" y="349"/>
                      </a:lnTo>
                      <a:lnTo>
                        <a:pt x="1898" y="343"/>
                      </a:lnTo>
                      <a:lnTo>
                        <a:pt x="1898" y="342"/>
                      </a:lnTo>
                      <a:lnTo>
                        <a:pt x="1898" y="340"/>
                      </a:lnTo>
                      <a:lnTo>
                        <a:pt x="1905" y="338"/>
                      </a:lnTo>
                      <a:lnTo>
                        <a:pt x="1913" y="337"/>
                      </a:lnTo>
                      <a:lnTo>
                        <a:pt x="1926" y="338"/>
                      </a:lnTo>
                      <a:lnTo>
                        <a:pt x="1938" y="340"/>
                      </a:lnTo>
                      <a:lnTo>
                        <a:pt x="1948" y="343"/>
                      </a:lnTo>
                      <a:lnTo>
                        <a:pt x="1955" y="349"/>
                      </a:lnTo>
                      <a:lnTo>
                        <a:pt x="1955" y="349"/>
                      </a:lnTo>
                      <a:lnTo>
                        <a:pt x="1964" y="357"/>
                      </a:lnTo>
                      <a:lnTo>
                        <a:pt x="1973" y="364"/>
                      </a:lnTo>
                      <a:lnTo>
                        <a:pt x="1981" y="371"/>
                      </a:lnTo>
                      <a:lnTo>
                        <a:pt x="1988" y="382"/>
                      </a:lnTo>
                      <a:lnTo>
                        <a:pt x="1988" y="382"/>
                      </a:lnTo>
                      <a:lnTo>
                        <a:pt x="1995" y="390"/>
                      </a:lnTo>
                      <a:lnTo>
                        <a:pt x="2001" y="394"/>
                      </a:lnTo>
                      <a:lnTo>
                        <a:pt x="2009" y="396"/>
                      </a:lnTo>
                      <a:lnTo>
                        <a:pt x="2020" y="392"/>
                      </a:lnTo>
                      <a:lnTo>
                        <a:pt x="2020" y="392"/>
                      </a:lnTo>
                      <a:lnTo>
                        <a:pt x="2021" y="392"/>
                      </a:lnTo>
                      <a:lnTo>
                        <a:pt x="2023" y="390"/>
                      </a:lnTo>
                      <a:lnTo>
                        <a:pt x="2021" y="387"/>
                      </a:lnTo>
                      <a:lnTo>
                        <a:pt x="2011" y="380"/>
                      </a:lnTo>
                      <a:lnTo>
                        <a:pt x="2004" y="375"/>
                      </a:lnTo>
                      <a:lnTo>
                        <a:pt x="1999" y="371"/>
                      </a:lnTo>
                      <a:lnTo>
                        <a:pt x="1999" y="370"/>
                      </a:lnTo>
                      <a:lnTo>
                        <a:pt x="1999" y="366"/>
                      </a:lnTo>
                      <a:lnTo>
                        <a:pt x="1999" y="364"/>
                      </a:lnTo>
                      <a:lnTo>
                        <a:pt x="2002" y="363"/>
                      </a:lnTo>
                      <a:lnTo>
                        <a:pt x="2002" y="363"/>
                      </a:lnTo>
                      <a:lnTo>
                        <a:pt x="2009" y="359"/>
                      </a:lnTo>
                      <a:lnTo>
                        <a:pt x="2014" y="354"/>
                      </a:lnTo>
                      <a:lnTo>
                        <a:pt x="2025" y="345"/>
                      </a:lnTo>
                      <a:lnTo>
                        <a:pt x="2034" y="338"/>
                      </a:lnTo>
                      <a:lnTo>
                        <a:pt x="2039" y="337"/>
                      </a:lnTo>
                      <a:lnTo>
                        <a:pt x="2044" y="337"/>
                      </a:lnTo>
                      <a:lnTo>
                        <a:pt x="2044" y="337"/>
                      </a:lnTo>
                      <a:lnTo>
                        <a:pt x="2051" y="337"/>
                      </a:lnTo>
                      <a:lnTo>
                        <a:pt x="2055" y="335"/>
                      </a:lnTo>
                      <a:lnTo>
                        <a:pt x="2060" y="330"/>
                      </a:lnTo>
                      <a:lnTo>
                        <a:pt x="2063" y="326"/>
                      </a:lnTo>
                      <a:lnTo>
                        <a:pt x="2070" y="317"/>
                      </a:lnTo>
                      <a:lnTo>
                        <a:pt x="2075" y="314"/>
                      </a:lnTo>
                      <a:lnTo>
                        <a:pt x="2081" y="312"/>
                      </a:lnTo>
                      <a:lnTo>
                        <a:pt x="2081" y="312"/>
                      </a:lnTo>
                      <a:lnTo>
                        <a:pt x="2086" y="310"/>
                      </a:lnTo>
                      <a:lnTo>
                        <a:pt x="2089" y="309"/>
                      </a:lnTo>
                      <a:lnTo>
                        <a:pt x="2091" y="303"/>
                      </a:lnTo>
                      <a:lnTo>
                        <a:pt x="2093" y="298"/>
                      </a:lnTo>
                      <a:lnTo>
                        <a:pt x="2093" y="291"/>
                      </a:lnTo>
                      <a:lnTo>
                        <a:pt x="2089" y="283"/>
                      </a:lnTo>
                      <a:lnTo>
                        <a:pt x="2082" y="276"/>
                      </a:lnTo>
                      <a:lnTo>
                        <a:pt x="2074" y="267"/>
                      </a:lnTo>
                      <a:lnTo>
                        <a:pt x="2074" y="267"/>
                      </a:lnTo>
                      <a:lnTo>
                        <a:pt x="2067" y="260"/>
                      </a:lnTo>
                      <a:lnTo>
                        <a:pt x="2063" y="255"/>
                      </a:lnTo>
                      <a:lnTo>
                        <a:pt x="2063" y="251"/>
                      </a:lnTo>
                      <a:lnTo>
                        <a:pt x="2065" y="248"/>
                      </a:lnTo>
                      <a:lnTo>
                        <a:pt x="2068" y="244"/>
                      </a:lnTo>
                      <a:lnTo>
                        <a:pt x="2068" y="241"/>
                      </a:lnTo>
                      <a:lnTo>
                        <a:pt x="2067" y="237"/>
                      </a:lnTo>
                      <a:lnTo>
                        <a:pt x="2061" y="232"/>
                      </a:lnTo>
                      <a:lnTo>
                        <a:pt x="2061" y="232"/>
                      </a:lnTo>
                      <a:lnTo>
                        <a:pt x="2056" y="227"/>
                      </a:lnTo>
                      <a:lnTo>
                        <a:pt x="2056" y="225"/>
                      </a:lnTo>
                      <a:lnTo>
                        <a:pt x="2058" y="223"/>
                      </a:lnTo>
                      <a:lnTo>
                        <a:pt x="2061" y="223"/>
                      </a:lnTo>
                      <a:lnTo>
                        <a:pt x="2068" y="223"/>
                      </a:lnTo>
                      <a:lnTo>
                        <a:pt x="2077" y="223"/>
                      </a:lnTo>
                      <a:lnTo>
                        <a:pt x="2084" y="222"/>
                      </a:lnTo>
                      <a:lnTo>
                        <a:pt x="2091" y="218"/>
                      </a:lnTo>
                      <a:lnTo>
                        <a:pt x="2095" y="215"/>
                      </a:lnTo>
                      <a:lnTo>
                        <a:pt x="2095" y="211"/>
                      </a:lnTo>
                      <a:lnTo>
                        <a:pt x="2095" y="211"/>
                      </a:lnTo>
                      <a:lnTo>
                        <a:pt x="2096" y="204"/>
                      </a:lnTo>
                      <a:lnTo>
                        <a:pt x="2095" y="201"/>
                      </a:lnTo>
                      <a:lnTo>
                        <a:pt x="2091" y="197"/>
                      </a:lnTo>
                      <a:lnTo>
                        <a:pt x="2089" y="197"/>
                      </a:lnTo>
                      <a:lnTo>
                        <a:pt x="2086" y="195"/>
                      </a:lnTo>
                      <a:lnTo>
                        <a:pt x="2084" y="194"/>
                      </a:lnTo>
                      <a:lnTo>
                        <a:pt x="2086" y="190"/>
                      </a:lnTo>
                      <a:lnTo>
                        <a:pt x="2089" y="185"/>
                      </a:lnTo>
                      <a:lnTo>
                        <a:pt x="2089" y="185"/>
                      </a:lnTo>
                      <a:lnTo>
                        <a:pt x="2093" y="180"/>
                      </a:lnTo>
                      <a:lnTo>
                        <a:pt x="2091" y="176"/>
                      </a:lnTo>
                      <a:lnTo>
                        <a:pt x="2088" y="175"/>
                      </a:lnTo>
                      <a:lnTo>
                        <a:pt x="2081" y="175"/>
                      </a:lnTo>
                      <a:lnTo>
                        <a:pt x="2074" y="173"/>
                      </a:lnTo>
                      <a:lnTo>
                        <a:pt x="2068" y="171"/>
                      </a:lnTo>
                      <a:lnTo>
                        <a:pt x="2061" y="166"/>
                      </a:lnTo>
                      <a:lnTo>
                        <a:pt x="2060" y="159"/>
                      </a:lnTo>
                      <a:lnTo>
                        <a:pt x="2060" y="159"/>
                      </a:lnTo>
                      <a:lnTo>
                        <a:pt x="2056" y="152"/>
                      </a:lnTo>
                      <a:lnTo>
                        <a:pt x="2051" y="148"/>
                      </a:lnTo>
                      <a:lnTo>
                        <a:pt x="2044" y="147"/>
                      </a:lnTo>
                      <a:lnTo>
                        <a:pt x="2035" y="147"/>
                      </a:lnTo>
                      <a:lnTo>
                        <a:pt x="2016" y="145"/>
                      </a:lnTo>
                      <a:lnTo>
                        <a:pt x="2004" y="143"/>
                      </a:lnTo>
                      <a:lnTo>
                        <a:pt x="1992" y="138"/>
                      </a:lnTo>
                      <a:lnTo>
                        <a:pt x="1992" y="138"/>
                      </a:lnTo>
                      <a:lnTo>
                        <a:pt x="1978" y="131"/>
                      </a:lnTo>
                      <a:lnTo>
                        <a:pt x="1973" y="131"/>
                      </a:lnTo>
                      <a:lnTo>
                        <a:pt x="1971" y="133"/>
                      </a:lnTo>
                      <a:lnTo>
                        <a:pt x="1966" y="136"/>
                      </a:lnTo>
                      <a:lnTo>
                        <a:pt x="1962" y="138"/>
                      </a:lnTo>
                      <a:lnTo>
                        <a:pt x="1954" y="138"/>
                      </a:lnTo>
                      <a:lnTo>
                        <a:pt x="1954" y="138"/>
                      </a:lnTo>
                      <a:lnTo>
                        <a:pt x="1947" y="138"/>
                      </a:lnTo>
                      <a:lnTo>
                        <a:pt x="1941" y="143"/>
                      </a:lnTo>
                      <a:lnTo>
                        <a:pt x="1940" y="150"/>
                      </a:lnTo>
                      <a:lnTo>
                        <a:pt x="1940" y="157"/>
                      </a:lnTo>
                      <a:lnTo>
                        <a:pt x="1943" y="166"/>
                      </a:lnTo>
                      <a:lnTo>
                        <a:pt x="1947" y="173"/>
                      </a:lnTo>
                      <a:lnTo>
                        <a:pt x="1952" y="180"/>
                      </a:lnTo>
                      <a:lnTo>
                        <a:pt x="1957" y="183"/>
                      </a:lnTo>
                      <a:lnTo>
                        <a:pt x="1957" y="183"/>
                      </a:lnTo>
                      <a:lnTo>
                        <a:pt x="1960" y="185"/>
                      </a:lnTo>
                      <a:lnTo>
                        <a:pt x="1964" y="189"/>
                      </a:lnTo>
                      <a:lnTo>
                        <a:pt x="1964" y="192"/>
                      </a:lnTo>
                      <a:lnTo>
                        <a:pt x="1964" y="197"/>
                      </a:lnTo>
                      <a:lnTo>
                        <a:pt x="1960" y="201"/>
                      </a:lnTo>
                      <a:lnTo>
                        <a:pt x="1957" y="202"/>
                      </a:lnTo>
                      <a:lnTo>
                        <a:pt x="1952" y="204"/>
                      </a:lnTo>
                      <a:lnTo>
                        <a:pt x="1948" y="204"/>
                      </a:lnTo>
                      <a:lnTo>
                        <a:pt x="1948" y="204"/>
                      </a:lnTo>
                      <a:lnTo>
                        <a:pt x="1943" y="204"/>
                      </a:lnTo>
                      <a:lnTo>
                        <a:pt x="1941" y="209"/>
                      </a:lnTo>
                      <a:lnTo>
                        <a:pt x="1941" y="223"/>
                      </a:lnTo>
                      <a:lnTo>
                        <a:pt x="1940" y="232"/>
                      </a:lnTo>
                      <a:lnTo>
                        <a:pt x="1938" y="241"/>
                      </a:lnTo>
                      <a:lnTo>
                        <a:pt x="1933" y="249"/>
                      </a:lnTo>
                      <a:lnTo>
                        <a:pt x="1924" y="256"/>
                      </a:lnTo>
                      <a:lnTo>
                        <a:pt x="1924" y="256"/>
                      </a:lnTo>
                      <a:lnTo>
                        <a:pt x="1917" y="263"/>
                      </a:lnTo>
                      <a:lnTo>
                        <a:pt x="1912" y="269"/>
                      </a:lnTo>
                      <a:lnTo>
                        <a:pt x="1910" y="276"/>
                      </a:lnTo>
                      <a:lnTo>
                        <a:pt x="1908" y="281"/>
                      </a:lnTo>
                      <a:lnTo>
                        <a:pt x="1908" y="286"/>
                      </a:lnTo>
                      <a:lnTo>
                        <a:pt x="1905" y="290"/>
                      </a:lnTo>
                      <a:lnTo>
                        <a:pt x="1901" y="293"/>
                      </a:lnTo>
                      <a:lnTo>
                        <a:pt x="1893" y="296"/>
                      </a:lnTo>
                      <a:lnTo>
                        <a:pt x="1893" y="296"/>
                      </a:lnTo>
                      <a:lnTo>
                        <a:pt x="1880" y="300"/>
                      </a:lnTo>
                      <a:lnTo>
                        <a:pt x="1877" y="298"/>
                      </a:lnTo>
                      <a:lnTo>
                        <a:pt x="1875" y="296"/>
                      </a:lnTo>
                      <a:lnTo>
                        <a:pt x="1870" y="288"/>
                      </a:lnTo>
                      <a:lnTo>
                        <a:pt x="1865" y="281"/>
                      </a:lnTo>
                      <a:lnTo>
                        <a:pt x="1856" y="272"/>
                      </a:lnTo>
                      <a:lnTo>
                        <a:pt x="1856" y="272"/>
                      </a:lnTo>
                      <a:lnTo>
                        <a:pt x="1849" y="265"/>
                      </a:lnTo>
                      <a:lnTo>
                        <a:pt x="1847" y="258"/>
                      </a:lnTo>
                      <a:lnTo>
                        <a:pt x="1847" y="255"/>
                      </a:lnTo>
                      <a:lnTo>
                        <a:pt x="1851" y="251"/>
                      </a:lnTo>
                      <a:lnTo>
                        <a:pt x="1861" y="244"/>
                      </a:lnTo>
                      <a:lnTo>
                        <a:pt x="1865" y="241"/>
                      </a:lnTo>
                      <a:lnTo>
                        <a:pt x="1866" y="236"/>
                      </a:lnTo>
                      <a:lnTo>
                        <a:pt x="1866" y="236"/>
                      </a:lnTo>
                      <a:lnTo>
                        <a:pt x="1865" y="227"/>
                      </a:lnTo>
                      <a:lnTo>
                        <a:pt x="1861" y="216"/>
                      </a:lnTo>
                      <a:lnTo>
                        <a:pt x="1854" y="204"/>
                      </a:lnTo>
                      <a:lnTo>
                        <a:pt x="1847" y="192"/>
                      </a:lnTo>
                      <a:lnTo>
                        <a:pt x="1837" y="182"/>
                      </a:lnTo>
                      <a:lnTo>
                        <a:pt x="1828" y="176"/>
                      </a:lnTo>
                      <a:lnTo>
                        <a:pt x="1823" y="175"/>
                      </a:lnTo>
                      <a:lnTo>
                        <a:pt x="1818" y="175"/>
                      </a:lnTo>
                      <a:lnTo>
                        <a:pt x="1812" y="176"/>
                      </a:lnTo>
                      <a:lnTo>
                        <a:pt x="1809" y="180"/>
                      </a:lnTo>
                      <a:lnTo>
                        <a:pt x="1809" y="180"/>
                      </a:lnTo>
                      <a:lnTo>
                        <a:pt x="1802" y="189"/>
                      </a:lnTo>
                      <a:lnTo>
                        <a:pt x="1797" y="199"/>
                      </a:lnTo>
                      <a:lnTo>
                        <a:pt x="1792" y="222"/>
                      </a:lnTo>
                      <a:lnTo>
                        <a:pt x="1790" y="229"/>
                      </a:lnTo>
                      <a:lnTo>
                        <a:pt x="1786" y="234"/>
                      </a:lnTo>
                      <a:lnTo>
                        <a:pt x="1785" y="234"/>
                      </a:lnTo>
                      <a:lnTo>
                        <a:pt x="1783" y="234"/>
                      </a:lnTo>
                      <a:lnTo>
                        <a:pt x="1776" y="227"/>
                      </a:lnTo>
                      <a:lnTo>
                        <a:pt x="1776" y="227"/>
                      </a:lnTo>
                      <a:lnTo>
                        <a:pt x="1771" y="220"/>
                      </a:lnTo>
                      <a:lnTo>
                        <a:pt x="1769" y="215"/>
                      </a:lnTo>
                      <a:lnTo>
                        <a:pt x="1769" y="211"/>
                      </a:lnTo>
                      <a:lnTo>
                        <a:pt x="1772" y="208"/>
                      </a:lnTo>
                      <a:lnTo>
                        <a:pt x="1774" y="204"/>
                      </a:lnTo>
                      <a:lnTo>
                        <a:pt x="1774" y="201"/>
                      </a:lnTo>
                      <a:lnTo>
                        <a:pt x="1772" y="195"/>
                      </a:lnTo>
                      <a:lnTo>
                        <a:pt x="1765" y="189"/>
                      </a:lnTo>
                      <a:lnTo>
                        <a:pt x="1765" y="189"/>
                      </a:lnTo>
                      <a:lnTo>
                        <a:pt x="1760" y="180"/>
                      </a:lnTo>
                      <a:lnTo>
                        <a:pt x="1759" y="178"/>
                      </a:lnTo>
                      <a:lnTo>
                        <a:pt x="1760" y="175"/>
                      </a:lnTo>
                      <a:lnTo>
                        <a:pt x="1764" y="171"/>
                      </a:lnTo>
                      <a:lnTo>
                        <a:pt x="1767" y="169"/>
                      </a:lnTo>
                      <a:lnTo>
                        <a:pt x="1772" y="168"/>
                      </a:lnTo>
                      <a:lnTo>
                        <a:pt x="1774" y="166"/>
                      </a:lnTo>
                      <a:lnTo>
                        <a:pt x="1772" y="162"/>
                      </a:lnTo>
                      <a:lnTo>
                        <a:pt x="1764" y="157"/>
                      </a:lnTo>
                      <a:lnTo>
                        <a:pt x="1764" y="157"/>
                      </a:lnTo>
                      <a:lnTo>
                        <a:pt x="1753" y="152"/>
                      </a:lnTo>
                      <a:lnTo>
                        <a:pt x="1745" y="150"/>
                      </a:lnTo>
                      <a:lnTo>
                        <a:pt x="1739" y="150"/>
                      </a:lnTo>
                      <a:lnTo>
                        <a:pt x="1734" y="152"/>
                      </a:lnTo>
                      <a:lnTo>
                        <a:pt x="1729" y="154"/>
                      </a:lnTo>
                      <a:lnTo>
                        <a:pt x="1725" y="154"/>
                      </a:lnTo>
                      <a:lnTo>
                        <a:pt x="1718" y="154"/>
                      </a:lnTo>
                      <a:lnTo>
                        <a:pt x="1710" y="150"/>
                      </a:lnTo>
                      <a:lnTo>
                        <a:pt x="1710" y="150"/>
                      </a:lnTo>
                      <a:lnTo>
                        <a:pt x="1706" y="148"/>
                      </a:lnTo>
                      <a:lnTo>
                        <a:pt x="1705" y="145"/>
                      </a:lnTo>
                      <a:lnTo>
                        <a:pt x="1705" y="143"/>
                      </a:lnTo>
                      <a:lnTo>
                        <a:pt x="1705" y="140"/>
                      </a:lnTo>
                      <a:lnTo>
                        <a:pt x="1710" y="135"/>
                      </a:lnTo>
                      <a:lnTo>
                        <a:pt x="1717" y="129"/>
                      </a:lnTo>
                      <a:lnTo>
                        <a:pt x="1731" y="117"/>
                      </a:lnTo>
                      <a:lnTo>
                        <a:pt x="1732" y="112"/>
                      </a:lnTo>
                      <a:lnTo>
                        <a:pt x="1732" y="110"/>
                      </a:lnTo>
                      <a:lnTo>
                        <a:pt x="1731" y="108"/>
                      </a:lnTo>
                      <a:lnTo>
                        <a:pt x="1731" y="108"/>
                      </a:lnTo>
                      <a:lnTo>
                        <a:pt x="1718" y="100"/>
                      </a:lnTo>
                      <a:lnTo>
                        <a:pt x="1703" y="89"/>
                      </a:lnTo>
                      <a:lnTo>
                        <a:pt x="1696" y="82"/>
                      </a:lnTo>
                      <a:lnTo>
                        <a:pt x="1691" y="75"/>
                      </a:lnTo>
                      <a:lnTo>
                        <a:pt x="1687" y="67"/>
                      </a:lnTo>
                      <a:lnTo>
                        <a:pt x="1687" y="58"/>
                      </a:lnTo>
                      <a:lnTo>
                        <a:pt x="1687" y="58"/>
                      </a:lnTo>
                      <a:lnTo>
                        <a:pt x="1687" y="53"/>
                      </a:lnTo>
                      <a:lnTo>
                        <a:pt x="1685" y="47"/>
                      </a:lnTo>
                      <a:lnTo>
                        <a:pt x="1680" y="39"/>
                      </a:lnTo>
                      <a:lnTo>
                        <a:pt x="1671" y="28"/>
                      </a:lnTo>
                      <a:lnTo>
                        <a:pt x="1663" y="20"/>
                      </a:lnTo>
                      <a:lnTo>
                        <a:pt x="1651" y="13"/>
                      </a:lnTo>
                      <a:lnTo>
                        <a:pt x="1638" y="7"/>
                      </a:lnTo>
                      <a:lnTo>
                        <a:pt x="1628" y="2"/>
                      </a:lnTo>
                      <a:lnTo>
                        <a:pt x="1617" y="0"/>
                      </a:lnTo>
                      <a:lnTo>
                        <a:pt x="1617" y="0"/>
                      </a:lnTo>
                      <a:lnTo>
                        <a:pt x="1611" y="0"/>
                      </a:lnTo>
                      <a:lnTo>
                        <a:pt x="1607" y="2"/>
                      </a:lnTo>
                      <a:lnTo>
                        <a:pt x="1605" y="4"/>
                      </a:lnTo>
                      <a:lnTo>
                        <a:pt x="1604" y="7"/>
                      </a:lnTo>
                      <a:lnTo>
                        <a:pt x="1604" y="11"/>
                      </a:lnTo>
                      <a:lnTo>
                        <a:pt x="1602" y="14"/>
                      </a:lnTo>
                      <a:lnTo>
                        <a:pt x="1597" y="18"/>
                      </a:lnTo>
                      <a:lnTo>
                        <a:pt x="1590" y="20"/>
                      </a:lnTo>
                      <a:lnTo>
                        <a:pt x="1590" y="20"/>
                      </a:lnTo>
                      <a:lnTo>
                        <a:pt x="1583" y="21"/>
                      </a:lnTo>
                      <a:lnTo>
                        <a:pt x="1579" y="25"/>
                      </a:lnTo>
                      <a:lnTo>
                        <a:pt x="1577" y="27"/>
                      </a:lnTo>
                      <a:lnTo>
                        <a:pt x="1577" y="30"/>
                      </a:lnTo>
                      <a:lnTo>
                        <a:pt x="1577" y="34"/>
                      </a:lnTo>
                      <a:lnTo>
                        <a:pt x="1576" y="37"/>
                      </a:lnTo>
                      <a:lnTo>
                        <a:pt x="1572" y="41"/>
                      </a:lnTo>
                      <a:lnTo>
                        <a:pt x="1563" y="44"/>
                      </a:lnTo>
                      <a:lnTo>
                        <a:pt x="1563" y="44"/>
                      </a:lnTo>
                      <a:lnTo>
                        <a:pt x="1557" y="49"/>
                      </a:lnTo>
                      <a:lnTo>
                        <a:pt x="1555" y="54"/>
                      </a:lnTo>
                      <a:lnTo>
                        <a:pt x="1555" y="61"/>
                      </a:lnTo>
                      <a:lnTo>
                        <a:pt x="1557" y="68"/>
                      </a:lnTo>
                      <a:lnTo>
                        <a:pt x="1563" y="86"/>
                      </a:lnTo>
                      <a:lnTo>
                        <a:pt x="1565" y="93"/>
                      </a:lnTo>
                      <a:lnTo>
                        <a:pt x="1565" y="100"/>
                      </a:lnTo>
                      <a:lnTo>
                        <a:pt x="1565" y="100"/>
                      </a:lnTo>
                      <a:lnTo>
                        <a:pt x="1562" y="112"/>
                      </a:lnTo>
                      <a:lnTo>
                        <a:pt x="1562" y="117"/>
                      </a:lnTo>
                      <a:lnTo>
                        <a:pt x="1563" y="124"/>
                      </a:lnTo>
                      <a:lnTo>
                        <a:pt x="1567" y="129"/>
                      </a:lnTo>
                      <a:lnTo>
                        <a:pt x="1574" y="136"/>
                      </a:lnTo>
                      <a:lnTo>
                        <a:pt x="1584" y="142"/>
                      </a:lnTo>
                      <a:lnTo>
                        <a:pt x="1597" y="145"/>
                      </a:lnTo>
                      <a:lnTo>
                        <a:pt x="1597" y="145"/>
                      </a:lnTo>
                      <a:lnTo>
                        <a:pt x="1612" y="150"/>
                      </a:lnTo>
                      <a:lnTo>
                        <a:pt x="1623" y="155"/>
                      </a:lnTo>
                      <a:lnTo>
                        <a:pt x="1631" y="162"/>
                      </a:lnTo>
                      <a:lnTo>
                        <a:pt x="1638" y="169"/>
                      </a:lnTo>
                      <a:lnTo>
                        <a:pt x="1640" y="175"/>
                      </a:lnTo>
                      <a:lnTo>
                        <a:pt x="1642" y="182"/>
                      </a:lnTo>
                      <a:lnTo>
                        <a:pt x="1638" y="187"/>
                      </a:lnTo>
                      <a:lnTo>
                        <a:pt x="1633" y="190"/>
                      </a:lnTo>
                      <a:lnTo>
                        <a:pt x="1633" y="190"/>
                      </a:lnTo>
                      <a:lnTo>
                        <a:pt x="1626" y="194"/>
                      </a:lnTo>
                      <a:lnTo>
                        <a:pt x="1624" y="197"/>
                      </a:lnTo>
                      <a:lnTo>
                        <a:pt x="1623" y="201"/>
                      </a:lnTo>
                      <a:lnTo>
                        <a:pt x="1624" y="204"/>
                      </a:lnTo>
                      <a:lnTo>
                        <a:pt x="1628" y="206"/>
                      </a:lnTo>
                      <a:lnTo>
                        <a:pt x="1633" y="208"/>
                      </a:lnTo>
                      <a:lnTo>
                        <a:pt x="1638" y="206"/>
                      </a:lnTo>
                      <a:lnTo>
                        <a:pt x="1645" y="202"/>
                      </a:lnTo>
                      <a:lnTo>
                        <a:pt x="1645" y="202"/>
                      </a:lnTo>
                      <a:lnTo>
                        <a:pt x="1651" y="201"/>
                      </a:lnTo>
                      <a:lnTo>
                        <a:pt x="1656" y="201"/>
                      </a:lnTo>
                      <a:lnTo>
                        <a:pt x="1659" y="202"/>
                      </a:lnTo>
                      <a:lnTo>
                        <a:pt x="1659" y="208"/>
                      </a:lnTo>
                      <a:lnTo>
                        <a:pt x="1658" y="213"/>
                      </a:lnTo>
                      <a:lnTo>
                        <a:pt x="1654" y="222"/>
                      </a:lnTo>
                      <a:lnTo>
                        <a:pt x="1645" y="229"/>
                      </a:lnTo>
                      <a:lnTo>
                        <a:pt x="1635" y="237"/>
                      </a:lnTo>
                      <a:lnTo>
                        <a:pt x="1635" y="237"/>
                      </a:lnTo>
                      <a:lnTo>
                        <a:pt x="1624" y="244"/>
                      </a:lnTo>
                      <a:lnTo>
                        <a:pt x="1616" y="246"/>
                      </a:lnTo>
                      <a:lnTo>
                        <a:pt x="1611" y="246"/>
                      </a:lnTo>
                      <a:lnTo>
                        <a:pt x="1605" y="246"/>
                      </a:lnTo>
                      <a:lnTo>
                        <a:pt x="1604" y="244"/>
                      </a:lnTo>
                      <a:lnTo>
                        <a:pt x="1600" y="244"/>
                      </a:lnTo>
                      <a:lnTo>
                        <a:pt x="1598" y="248"/>
                      </a:lnTo>
                      <a:lnTo>
                        <a:pt x="1595" y="253"/>
                      </a:lnTo>
                      <a:lnTo>
                        <a:pt x="1595" y="253"/>
                      </a:lnTo>
                      <a:lnTo>
                        <a:pt x="1595" y="262"/>
                      </a:lnTo>
                      <a:lnTo>
                        <a:pt x="1597" y="272"/>
                      </a:lnTo>
                      <a:lnTo>
                        <a:pt x="1604" y="291"/>
                      </a:lnTo>
                      <a:lnTo>
                        <a:pt x="1605" y="298"/>
                      </a:lnTo>
                      <a:lnTo>
                        <a:pt x="1605" y="303"/>
                      </a:lnTo>
                      <a:lnTo>
                        <a:pt x="1605" y="303"/>
                      </a:lnTo>
                      <a:lnTo>
                        <a:pt x="1602" y="303"/>
                      </a:lnTo>
                      <a:lnTo>
                        <a:pt x="1595" y="300"/>
                      </a:lnTo>
                      <a:lnTo>
                        <a:pt x="1595" y="300"/>
                      </a:lnTo>
                      <a:lnTo>
                        <a:pt x="1577" y="288"/>
                      </a:lnTo>
                      <a:lnTo>
                        <a:pt x="1572" y="284"/>
                      </a:lnTo>
                      <a:lnTo>
                        <a:pt x="1569" y="279"/>
                      </a:lnTo>
                      <a:lnTo>
                        <a:pt x="1569" y="276"/>
                      </a:lnTo>
                      <a:lnTo>
                        <a:pt x="1569" y="270"/>
                      </a:lnTo>
                      <a:lnTo>
                        <a:pt x="1572" y="260"/>
                      </a:lnTo>
                      <a:lnTo>
                        <a:pt x="1572" y="260"/>
                      </a:lnTo>
                      <a:lnTo>
                        <a:pt x="1577" y="249"/>
                      </a:lnTo>
                      <a:lnTo>
                        <a:pt x="1577" y="244"/>
                      </a:lnTo>
                      <a:lnTo>
                        <a:pt x="1576" y="241"/>
                      </a:lnTo>
                      <a:lnTo>
                        <a:pt x="1574" y="237"/>
                      </a:lnTo>
                      <a:lnTo>
                        <a:pt x="1570" y="236"/>
                      </a:lnTo>
                      <a:lnTo>
                        <a:pt x="1563" y="234"/>
                      </a:lnTo>
                      <a:lnTo>
                        <a:pt x="1555" y="236"/>
                      </a:lnTo>
                      <a:lnTo>
                        <a:pt x="1555" y="236"/>
                      </a:lnTo>
                      <a:lnTo>
                        <a:pt x="1546" y="234"/>
                      </a:lnTo>
                      <a:lnTo>
                        <a:pt x="1539" y="232"/>
                      </a:lnTo>
                      <a:lnTo>
                        <a:pt x="1527" y="225"/>
                      </a:lnTo>
                      <a:lnTo>
                        <a:pt x="1522" y="223"/>
                      </a:lnTo>
                      <a:lnTo>
                        <a:pt x="1515" y="222"/>
                      </a:lnTo>
                      <a:lnTo>
                        <a:pt x="1508" y="222"/>
                      </a:lnTo>
                      <a:lnTo>
                        <a:pt x="1497" y="225"/>
                      </a:lnTo>
                      <a:lnTo>
                        <a:pt x="1497" y="225"/>
                      </a:lnTo>
                      <a:lnTo>
                        <a:pt x="1489" y="230"/>
                      </a:lnTo>
                      <a:lnTo>
                        <a:pt x="1485" y="236"/>
                      </a:lnTo>
                      <a:lnTo>
                        <a:pt x="1485" y="242"/>
                      </a:lnTo>
                      <a:lnTo>
                        <a:pt x="1485" y="249"/>
                      </a:lnTo>
                      <a:lnTo>
                        <a:pt x="1487" y="255"/>
                      </a:lnTo>
                      <a:lnTo>
                        <a:pt x="1487" y="260"/>
                      </a:lnTo>
                      <a:lnTo>
                        <a:pt x="1483" y="265"/>
                      </a:lnTo>
                      <a:lnTo>
                        <a:pt x="1478" y="269"/>
                      </a:lnTo>
                      <a:lnTo>
                        <a:pt x="1478" y="269"/>
                      </a:lnTo>
                      <a:lnTo>
                        <a:pt x="1469" y="269"/>
                      </a:lnTo>
                      <a:lnTo>
                        <a:pt x="1464" y="269"/>
                      </a:lnTo>
                      <a:lnTo>
                        <a:pt x="1454" y="263"/>
                      </a:lnTo>
                      <a:lnTo>
                        <a:pt x="1447" y="262"/>
                      </a:lnTo>
                      <a:lnTo>
                        <a:pt x="1438" y="260"/>
                      </a:lnTo>
                      <a:lnTo>
                        <a:pt x="1426" y="260"/>
                      </a:lnTo>
                      <a:lnTo>
                        <a:pt x="1409" y="263"/>
                      </a:lnTo>
                      <a:lnTo>
                        <a:pt x="1409" y="263"/>
                      </a:lnTo>
                      <a:lnTo>
                        <a:pt x="1384" y="267"/>
                      </a:lnTo>
                      <a:lnTo>
                        <a:pt x="1365" y="267"/>
                      </a:lnTo>
                      <a:lnTo>
                        <a:pt x="1349" y="263"/>
                      </a:lnTo>
                      <a:lnTo>
                        <a:pt x="1339" y="258"/>
                      </a:lnTo>
                      <a:lnTo>
                        <a:pt x="1320" y="249"/>
                      </a:lnTo>
                      <a:lnTo>
                        <a:pt x="1313" y="248"/>
                      </a:lnTo>
                      <a:lnTo>
                        <a:pt x="1306" y="248"/>
                      </a:lnTo>
                      <a:lnTo>
                        <a:pt x="1306" y="248"/>
                      </a:lnTo>
                      <a:lnTo>
                        <a:pt x="1299" y="249"/>
                      </a:lnTo>
                      <a:lnTo>
                        <a:pt x="1290" y="249"/>
                      </a:lnTo>
                      <a:lnTo>
                        <a:pt x="1283" y="249"/>
                      </a:lnTo>
                      <a:lnTo>
                        <a:pt x="1276" y="246"/>
                      </a:lnTo>
                      <a:lnTo>
                        <a:pt x="1266" y="237"/>
                      </a:lnTo>
                      <a:lnTo>
                        <a:pt x="1255" y="225"/>
                      </a:lnTo>
                      <a:lnTo>
                        <a:pt x="1245" y="215"/>
                      </a:lnTo>
                      <a:lnTo>
                        <a:pt x="1236" y="204"/>
                      </a:lnTo>
                      <a:lnTo>
                        <a:pt x="1231" y="199"/>
                      </a:lnTo>
                      <a:lnTo>
                        <a:pt x="1226" y="197"/>
                      </a:lnTo>
                      <a:lnTo>
                        <a:pt x="1220" y="195"/>
                      </a:lnTo>
                      <a:lnTo>
                        <a:pt x="1215" y="195"/>
                      </a:lnTo>
                      <a:lnTo>
                        <a:pt x="1215" y="195"/>
                      </a:lnTo>
                      <a:lnTo>
                        <a:pt x="1189" y="201"/>
                      </a:lnTo>
                      <a:lnTo>
                        <a:pt x="1173" y="204"/>
                      </a:lnTo>
                      <a:lnTo>
                        <a:pt x="1160" y="209"/>
                      </a:lnTo>
                      <a:lnTo>
                        <a:pt x="1147" y="215"/>
                      </a:lnTo>
                      <a:lnTo>
                        <a:pt x="1139" y="220"/>
                      </a:lnTo>
                      <a:lnTo>
                        <a:pt x="1135" y="223"/>
                      </a:lnTo>
                      <a:lnTo>
                        <a:pt x="1133" y="227"/>
                      </a:lnTo>
                      <a:lnTo>
                        <a:pt x="1133" y="232"/>
                      </a:lnTo>
                      <a:lnTo>
                        <a:pt x="1135" y="236"/>
                      </a:lnTo>
                      <a:lnTo>
                        <a:pt x="1135" y="236"/>
                      </a:lnTo>
                      <a:lnTo>
                        <a:pt x="1139" y="239"/>
                      </a:lnTo>
                      <a:lnTo>
                        <a:pt x="1142" y="242"/>
                      </a:lnTo>
                      <a:lnTo>
                        <a:pt x="1146" y="242"/>
                      </a:lnTo>
                      <a:lnTo>
                        <a:pt x="1149" y="242"/>
                      </a:lnTo>
                      <a:lnTo>
                        <a:pt x="1160" y="241"/>
                      </a:lnTo>
                      <a:lnTo>
                        <a:pt x="1168" y="237"/>
                      </a:lnTo>
                      <a:lnTo>
                        <a:pt x="1189" y="230"/>
                      </a:lnTo>
                      <a:lnTo>
                        <a:pt x="1198" y="229"/>
                      </a:lnTo>
                      <a:lnTo>
                        <a:pt x="1201" y="229"/>
                      </a:lnTo>
                      <a:lnTo>
                        <a:pt x="1203" y="230"/>
                      </a:lnTo>
                      <a:lnTo>
                        <a:pt x="1203" y="230"/>
                      </a:lnTo>
                      <a:lnTo>
                        <a:pt x="1205" y="232"/>
                      </a:lnTo>
                      <a:lnTo>
                        <a:pt x="1207" y="234"/>
                      </a:lnTo>
                      <a:lnTo>
                        <a:pt x="1203" y="237"/>
                      </a:lnTo>
                      <a:lnTo>
                        <a:pt x="1189" y="242"/>
                      </a:lnTo>
                      <a:lnTo>
                        <a:pt x="1172" y="249"/>
                      </a:lnTo>
                      <a:lnTo>
                        <a:pt x="1165" y="255"/>
                      </a:lnTo>
                      <a:lnTo>
                        <a:pt x="1160" y="260"/>
                      </a:lnTo>
                      <a:lnTo>
                        <a:pt x="1160" y="260"/>
                      </a:lnTo>
                      <a:lnTo>
                        <a:pt x="1160" y="263"/>
                      </a:lnTo>
                      <a:lnTo>
                        <a:pt x="1161" y="269"/>
                      </a:lnTo>
                      <a:lnTo>
                        <a:pt x="1165" y="279"/>
                      </a:lnTo>
                      <a:lnTo>
                        <a:pt x="1177" y="298"/>
                      </a:lnTo>
                      <a:lnTo>
                        <a:pt x="1180" y="305"/>
                      </a:lnTo>
                      <a:lnTo>
                        <a:pt x="1180" y="307"/>
                      </a:lnTo>
                      <a:lnTo>
                        <a:pt x="1179" y="307"/>
                      </a:lnTo>
                      <a:lnTo>
                        <a:pt x="1172" y="305"/>
                      </a:lnTo>
                      <a:lnTo>
                        <a:pt x="1156" y="295"/>
                      </a:lnTo>
                      <a:lnTo>
                        <a:pt x="1156" y="295"/>
                      </a:lnTo>
                      <a:lnTo>
                        <a:pt x="1139" y="284"/>
                      </a:lnTo>
                      <a:lnTo>
                        <a:pt x="1125" y="277"/>
                      </a:lnTo>
                      <a:lnTo>
                        <a:pt x="1109" y="270"/>
                      </a:lnTo>
                      <a:lnTo>
                        <a:pt x="1100" y="267"/>
                      </a:lnTo>
                      <a:lnTo>
                        <a:pt x="1095" y="263"/>
                      </a:lnTo>
                      <a:lnTo>
                        <a:pt x="1088" y="256"/>
                      </a:lnTo>
                      <a:lnTo>
                        <a:pt x="1088" y="256"/>
                      </a:lnTo>
                      <a:lnTo>
                        <a:pt x="1083" y="251"/>
                      </a:lnTo>
                      <a:lnTo>
                        <a:pt x="1079" y="249"/>
                      </a:lnTo>
                      <a:lnTo>
                        <a:pt x="1076" y="249"/>
                      </a:lnTo>
                      <a:lnTo>
                        <a:pt x="1072" y="253"/>
                      </a:lnTo>
                      <a:lnTo>
                        <a:pt x="1066" y="258"/>
                      </a:lnTo>
                      <a:lnTo>
                        <a:pt x="1057" y="262"/>
                      </a:lnTo>
                      <a:lnTo>
                        <a:pt x="1041" y="265"/>
                      </a:lnTo>
                      <a:lnTo>
                        <a:pt x="1022" y="267"/>
                      </a:lnTo>
                      <a:lnTo>
                        <a:pt x="1022" y="267"/>
                      </a:lnTo>
                      <a:lnTo>
                        <a:pt x="971" y="269"/>
                      </a:lnTo>
                      <a:lnTo>
                        <a:pt x="949" y="267"/>
                      </a:lnTo>
                      <a:lnTo>
                        <a:pt x="930" y="265"/>
                      </a:lnTo>
                      <a:lnTo>
                        <a:pt x="914" y="263"/>
                      </a:lnTo>
                      <a:lnTo>
                        <a:pt x="904" y="260"/>
                      </a:lnTo>
                      <a:lnTo>
                        <a:pt x="902" y="256"/>
                      </a:lnTo>
                      <a:lnTo>
                        <a:pt x="900" y="255"/>
                      </a:lnTo>
                      <a:lnTo>
                        <a:pt x="902" y="251"/>
                      </a:lnTo>
                      <a:lnTo>
                        <a:pt x="907" y="248"/>
                      </a:lnTo>
                      <a:lnTo>
                        <a:pt x="907" y="248"/>
                      </a:lnTo>
                      <a:lnTo>
                        <a:pt x="916" y="241"/>
                      </a:lnTo>
                      <a:lnTo>
                        <a:pt x="926" y="239"/>
                      </a:lnTo>
                      <a:lnTo>
                        <a:pt x="942" y="236"/>
                      </a:lnTo>
                      <a:lnTo>
                        <a:pt x="947" y="236"/>
                      </a:lnTo>
                      <a:lnTo>
                        <a:pt x="949" y="234"/>
                      </a:lnTo>
                      <a:lnTo>
                        <a:pt x="947" y="230"/>
                      </a:lnTo>
                      <a:lnTo>
                        <a:pt x="942" y="223"/>
                      </a:lnTo>
                      <a:lnTo>
                        <a:pt x="942" y="223"/>
                      </a:lnTo>
                      <a:lnTo>
                        <a:pt x="926" y="209"/>
                      </a:lnTo>
                      <a:lnTo>
                        <a:pt x="918" y="202"/>
                      </a:lnTo>
                      <a:lnTo>
                        <a:pt x="909" y="197"/>
                      </a:lnTo>
                      <a:lnTo>
                        <a:pt x="900" y="194"/>
                      </a:lnTo>
                      <a:lnTo>
                        <a:pt x="890" y="192"/>
                      </a:lnTo>
                      <a:lnTo>
                        <a:pt x="877" y="190"/>
                      </a:lnTo>
                      <a:lnTo>
                        <a:pt x="862" y="192"/>
                      </a:lnTo>
                      <a:lnTo>
                        <a:pt x="862" y="192"/>
                      </a:lnTo>
                      <a:lnTo>
                        <a:pt x="848" y="192"/>
                      </a:lnTo>
                      <a:lnTo>
                        <a:pt x="832" y="192"/>
                      </a:lnTo>
                      <a:lnTo>
                        <a:pt x="818" y="189"/>
                      </a:lnTo>
                      <a:lnTo>
                        <a:pt x="804" y="185"/>
                      </a:lnTo>
                      <a:lnTo>
                        <a:pt x="776" y="176"/>
                      </a:lnTo>
                      <a:lnTo>
                        <a:pt x="749" y="169"/>
                      </a:lnTo>
                      <a:lnTo>
                        <a:pt x="749" y="169"/>
                      </a:lnTo>
                      <a:lnTo>
                        <a:pt x="735" y="166"/>
                      </a:lnTo>
                      <a:lnTo>
                        <a:pt x="721" y="161"/>
                      </a:lnTo>
                      <a:lnTo>
                        <a:pt x="696" y="148"/>
                      </a:lnTo>
                      <a:lnTo>
                        <a:pt x="684" y="143"/>
                      </a:lnTo>
                      <a:lnTo>
                        <a:pt x="672" y="140"/>
                      </a:lnTo>
                      <a:lnTo>
                        <a:pt x="660" y="138"/>
                      </a:lnTo>
                      <a:lnTo>
                        <a:pt x="646" y="138"/>
                      </a:lnTo>
                      <a:lnTo>
                        <a:pt x="646" y="138"/>
                      </a:lnTo>
                      <a:lnTo>
                        <a:pt x="635" y="140"/>
                      </a:lnTo>
                      <a:lnTo>
                        <a:pt x="628" y="143"/>
                      </a:lnTo>
                      <a:lnTo>
                        <a:pt x="625" y="148"/>
                      </a:lnTo>
                      <a:lnTo>
                        <a:pt x="623" y="154"/>
                      </a:lnTo>
                      <a:lnTo>
                        <a:pt x="621" y="159"/>
                      </a:lnTo>
                      <a:lnTo>
                        <a:pt x="618" y="162"/>
                      </a:lnTo>
                      <a:lnTo>
                        <a:pt x="611" y="164"/>
                      </a:lnTo>
                      <a:lnTo>
                        <a:pt x="601" y="164"/>
                      </a:lnTo>
                      <a:lnTo>
                        <a:pt x="601" y="164"/>
                      </a:lnTo>
                      <a:lnTo>
                        <a:pt x="595" y="162"/>
                      </a:lnTo>
                      <a:lnTo>
                        <a:pt x="590" y="161"/>
                      </a:lnTo>
                      <a:lnTo>
                        <a:pt x="587" y="157"/>
                      </a:lnTo>
                      <a:lnTo>
                        <a:pt x="585" y="154"/>
                      </a:lnTo>
                      <a:lnTo>
                        <a:pt x="583" y="145"/>
                      </a:lnTo>
                      <a:lnTo>
                        <a:pt x="585" y="135"/>
                      </a:lnTo>
                      <a:lnTo>
                        <a:pt x="585" y="126"/>
                      </a:lnTo>
                      <a:lnTo>
                        <a:pt x="581" y="121"/>
                      </a:lnTo>
                      <a:lnTo>
                        <a:pt x="580" y="117"/>
                      </a:lnTo>
                      <a:lnTo>
                        <a:pt x="576" y="117"/>
                      </a:lnTo>
                      <a:lnTo>
                        <a:pt x="571" y="115"/>
                      </a:lnTo>
                      <a:lnTo>
                        <a:pt x="564" y="117"/>
                      </a:lnTo>
                      <a:lnTo>
                        <a:pt x="564" y="117"/>
                      </a:lnTo>
                      <a:lnTo>
                        <a:pt x="559" y="119"/>
                      </a:lnTo>
                      <a:lnTo>
                        <a:pt x="557" y="122"/>
                      </a:lnTo>
                      <a:lnTo>
                        <a:pt x="554" y="129"/>
                      </a:lnTo>
                      <a:lnTo>
                        <a:pt x="552" y="150"/>
                      </a:lnTo>
                      <a:lnTo>
                        <a:pt x="550" y="159"/>
                      </a:lnTo>
                      <a:lnTo>
                        <a:pt x="548" y="162"/>
                      </a:lnTo>
                      <a:lnTo>
                        <a:pt x="545" y="164"/>
                      </a:lnTo>
                      <a:lnTo>
                        <a:pt x="541" y="166"/>
                      </a:lnTo>
                      <a:lnTo>
                        <a:pt x="536" y="166"/>
                      </a:lnTo>
                      <a:lnTo>
                        <a:pt x="529" y="164"/>
                      </a:lnTo>
                      <a:lnTo>
                        <a:pt x="522" y="161"/>
                      </a:lnTo>
                      <a:lnTo>
                        <a:pt x="522" y="161"/>
                      </a:lnTo>
                      <a:lnTo>
                        <a:pt x="517" y="157"/>
                      </a:lnTo>
                      <a:lnTo>
                        <a:pt x="512" y="154"/>
                      </a:lnTo>
                      <a:lnTo>
                        <a:pt x="503" y="142"/>
                      </a:lnTo>
                      <a:lnTo>
                        <a:pt x="487" y="114"/>
                      </a:lnTo>
                      <a:lnTo>
                        <a:pt x="479" y="101"/>
                      </a:lnTo>
                      <a:lnTo>
                        <a:pt x="470" y="93"/>
                      </a:lnTo>
                      <a:lnTo>
                        <a:pt x="467" y="89"/>
                      </a:lnTo>
                      <a:lnTo>
                        <a:pt x="461" y="89"/>
                      </a:lnTo>
                      <a:lnTo>
                        <a:pt x="456" y="89"/>
                      </a:lnTo>
                      <a:lnTo>
                        <a:pt x="453" y="91"/>
                      </a:lnTo>
                      <a:lnTo>
                        <a:pt x="453" y="91"/>
                      </a:lnTo>
                      <a:lnTo>
                        <a:pt x="444" y="98"/>
                      </a:lnTo>
                      <a:lnTo>
                        <a:pt x="444" y="101"/>
                      </a:lnTo>
                      <a:lnTo>
                        <a:pt x="444" y="103"/>
                      </a:lnTo>
                      <a:lnTo>
                        <a:pt x="447" y="105"/>
                      </a:lnTo>
                      <a:lnTo>
                        <a:pt x="453" y="107"/>
                      </a:lnTo>
                      <a:lnTo>
                        <a:pt x="458" y="108"/>
                      </a:lnTo>
                      <a:lnTo>
                        <a:pt x="460" y="110"/>
                      </a:lnTo>
                      <a:lnTo>
                        <a:pt x="460" y="112"/>
                      </a:lnTo>
                      <a:lnTo>
                        <a:pt x="453" y="119"/>
                      </a:lnTo>
                      <a:lnTo>
                        <a:pt x="437" y="131"/>
                      </a:lnTo>
                      <a:lnTo>
                        <a:pt x="437" y="131"/>
                      </a:lnTo>
                      <a:lnTo>
                        <a:pt x="421" y="140"/>
                      </a:lnTo>
                      <a:lnTo>
                        <a:pt x="420" y="140"/>
                      </a:lnTo>
                      <a:lnTo>
                        <a:pt x="420" y="138"/>
                      </a:lnTo>
                      <a:lnTo>
                        <a:pt x="416" y="136"/>
                      </a:lnTo>
                      <a:lnTo>
                        <a:pt x="409" y="136"/>
                      </a:lnTo>
                      <a:lnTo>
                        <a:pt x="397" y="138"/>
                      </a:lnTo>
                      <a:lnTo>
                        <a:pt x="376" y="145"/>
                      </a:lnTo>
                      <a:lnTo>
                        <a:pt x="376" y="145"/>
                      </a:lnTo>
                      <a:lnTo>
                        <a:pt x="341" y="157"/>
                      </a:lnTo>
                      <a:lnTo>
                        <a:pt x="336" y="157"/>
                      </a:lnTo>
                      <a:lnTo>
                        <a:pt x="336" y="157"/>
                      </a:lnTo>
                      <a:lnTo>
                        <a:pt x="336" y="155"/>
                      </a:lnTo>
                      <a:lnTo>
                        <a:pt x="352" y="147"/>
                      </a:lnTo>
                      <a:lnTo>
                        <a:pt x="379" y="133"/>
                      </a:lnTo>
                      <a:lnTo>
                        <a:pt x="379" y="133"/>
                      </a:lnTo>
                      <a:lnTo>
                        <a:pt x="402" y="121"/>
                      </a:lnTo>
                      <a:lnTo>
                        <a:pt x="407" y="117"/>
                      </a:lnTo>
                      <a:lnTo>
                        <a:pt x="409" y="115"/>
                      </a:lnTo>
                      <a:lnTo>
                        <a:pt x="409" y="114"/>
                      </a:lnTo>
                      <a:lnTo>
                        <a:pt x="406" y="114"/>
                      </a:lnTo>
                      <a:lnTo>
                        <a:pt x="390" y="117"/>
                      </a:lnTo>
                      <a:lnTo>
                        <a:pt x="390" y="117"/>
                      </a:lnTo>
                      <a:lnTo>
                        <a:pt x="383" y="117"/>
                      </a:lnTo>
                      <a:lnTo>
                        <a:pt x="376" y="117"/>
                      </a:lnTo>
                      <a:lnTo>
                        <a:pt x="367" y="115"/>
                      </a:lnTo>
                      <a:lnTo>
                        <a:pt x="362" y="115"/>
                      </a:lnTo>
                      <a:lnTo>
                        <a:pt x="355" y="117"/>
                      </a:lnTo>
                      <a:lnTo>
                        <a:pt x="346" y="122"/>
                      </a:lnTo>
                      <a:lnTo>
                        <a:pt x="336" y="129"/>
                      </a:lnTo>
                      <a:lnTo>
                        <a:pt x="336" y="129"/>
                      </a:lnTo>
                      <a:lnTo>
                        <a:pt x="324" y="136"/>
                      </a:lnTo>
                      <a:lnTo>
                        <a:pt x="317" y="140"/>
                      </a:lnTo>
                      <a:lnTo>
                        <a:pt x="312" y="140"/>
                      </a:lnTo>
                      <a:lnTo>
                        <a:pt x="308" y="140"/>
                      </a:lnTo>
                      <a:lnTo>
                        <a:pt x="303" y="140"/>
                      </a:lnTo>
                      <a:lnTo>
                        <a:pt x="298" y="142"/>
                      </a:lnTo>
                      <a:lnTo>
                        <a:pt x="289" y="147"/>
                      </a:lnTo>
                      <a:lnTo>
                        <a:pt x="277" y="155"/>
                      </a:lnTo>
                      <a:lnTo>
                        <a:pt x="277" y="155"/>
                      </a:lnTo>
                      <a:lnTo>
                        <a:pt x="251" y="173"/>
                      </a:lnTo>
                      <a:lnTo>
                        <a:pt x="233" y="182"/>
                      </a:lnTo>
                      <a:lnTo>
                        <a:pt x="228" y="187"/>
                      </a:lnTo>
                      <a:lnTo>
                        <a:pt x="226" y="190"/>
                      </a:lnTo>
                      <a:lnTo>
                        <a:pt x="226" y="194"/>
                      </a:lnTo>
                      <a:lnTo>
                        <a:pt x="228" y="199"/>
                      </a:lnTo>
                      <a:lnTo>
                        <a:pt x="228" y="199"/>
                      </a:lnTo>
                      <a:lnTo>
                        <a:pt x="230" y="204"/>
                      </a:lnTo>
                      <a:lnTo>
                        <a:pt x="228" y="204"/>
                      </a:lnTo>
                      <a:lnTo>
                        <a:pt x="218" y="202"/>
                      </a:lnTo>
                      <a:lnTo>
                        <a:pt x="212" y="201"/>
                      </a:lnTo>
                      <a:lnTo>
                        <a:pt x="204" y="199"/>
                      </a:lnTo>
                      <a:lnTo>
                        <a:pt x="197" y="199"/>
                      </a:lnTo>
                      <a:lnTo>
                        <a:pt x="190" y="202"/>
                      </a:lnTo>
                      <a:lnTo>
                        <a:pt x="190" y="202"/>
                      </a:lnTo>
                      <a:lnTo>
                        <a:pt x="184" y="206"/>
                      </a:lnTo>
                      <a:lnTo>
                        <a:pt x="179" y="206"/>
                      </a:lnTo>
                      <a:lnTo>
                        <a:pt x="177" y="204"/>
                      </a:lnTo>
                      <a:lnTo>
                        <a:pt x="174" y="202"/>
                      </a:lnTo>
                      <a:lnTo>
                        <a:pt x="171" y="199"/>
                      </a:lnTo>
                      <a:lnTo>
                        <a:pt x="165" y="197"/>
                      </a:lnTo>
                      <a:lnTo>
                        <a:pt x="158" y="194"/>
                      </a:lnTo>
                      <a:lnTo>
                        <a:pt x="146" y="194"/>
                      </a:lnTo>
                      <a:lnTo>
                        <a:pt x="146" y="194"/>
                      </a:lnTo>
                      <a:lnTo>
                        <a:pt x="127" y="192"/>
                      </a:lnTo>
                      <a:lnTo>
                        <a:pt x="111" y="187"/>
                      </a:lnTo>
                      <a:lnTo>
                        <a:pt x="94" y="178"/>
                      </a:lnTo>
                      <a:lnTo>
                        <a:pt x="78" y="169"/>
                      </a:lnTo>
                      <a:lnTo>
                        <a:pt x="61" y="162"/>
                      </a:lnTo>
                      <a:lnTo>
                        <a:pt x="42" y="155"/>
                      </a:lnTo>
                      <a:lnTo>
                        <a:pt x="23" y="150"/>
                      </a:lnTo>
                      <a:lnTo>
                        <a:pt x="10" y="148"/>
                      </a:lnTo>
                      <a:lnTo>
                        <a:pt x="0" y="148"/>
                      </a:lnTo>
                      <a:lnTo>
                        <a:pt x="0" y="706"/>
                      </a:lnTo>
                      <a:lnTo>
                        <a:pt x="0" y="706"/>
                      </a:lnTo>
                      <a:lnTo>
                        <a:pt x="9" y="709"/>
                      </a:lnTo>
                      <a:lnTo>
                        <a:pt x="14" y="711"/>
                      </a:lnTo>
                      <a:lnTo>
                        <a:pt x="17" y="711"/>
                      </a:lnTo>
                      <a:lnTo>
                        <a:pt x="17" y="709"/>
                      </a:lnTo>
                      <a:lnTo>
                        <a:pt x="19" y="706"/>
                      </a:lnTo>
                      <a:lnTo>
                        <a:pt x="21" y="706"/>
                      </a:lnTo>
                      <a:lnTo>
                        <a:pt x="23" y="706"/>
                      </a:lnTo>
                      <a:lnTo>
                        <a:pt x="23" y="706"/>
                      </a:lnTo>
                      <a:lnTo>
                        <a:pt x="29" y="711"/>
                      </a:lnTo>
                      <a:lnTo>
                        <a:pt x="35" y="713"/>
                      </a:lnTo>
                      <a:lnTo>
                        <a:pt x="38" y="711"/>
                      </a:lnTo>
                      <a:lnTo>
                        <a:pt x="42" y="707"/>
                      </a:lnTo>
                      <a:lnTo>
                        <a:pt x="42" y="707"/>
                      </a:lnTo>
                      <a:lnTo>
                        <a:pt x="49" y="704"/>
                      </a:lnTo>
                      <a:lnTo>
                        <a:pt x="57" y="702"/>
                      </a:lnTo>
                      <a:lnTo>
                        <a:pt x="64" y="704"/>
                      </a:lnTo>
                      <a:lnTo>
                        <a:pt x="66" y="706"/>
                      </a:lnTo>
                      <a:lnTo>
                        <a:pt x="66" y="707"/>
                      </a:lnTo>
                      <a:lnTo>
                        <a:pt x="66" y="707"/>
                      </a:lnTo>
                      <a:lnTo>
                        <a:pt x="64" y="713"/>
                      </a:lnTo>
                      <a:lnTo>
                        <a:pt x="63" y="716"/>
                      </a:lnTo>
                      <a:lnTo>
                        <a:pt x="64" y="721"/>
                      </a:lnTo>
                      <a:lnTo>
                        <a:pt x="70" y="725"/>
                      </a:lnTo>
                      <a:lnTo>
                        <a:pt x="70" y="725"/>
                      </a:lnTo>
                      <a:lnTo>
                        <a:pt x="80" y="730"/>
                      </a:lnTo>
                      <a:lnTo>
                        <a:pt x="83" y="735"/>
                      </a:lnTo>
                      <a:lnTo>
                        <a:pt x="87" y="742"/>
                      </a:lnTo>
                      <a:lnTo>
                        <a:pt x="92" y="746"/>
                      </a:lnTo>
                      <a:lnTo>
                        <a:pt x="101" y="753"/>
                      </a:lnTo>
                      <a:lnTo>
                        <a:pt x="101" y="753"/>
                      </a:lnTo>
                      <a:lnTo>
                        <a:pt x="110" y="758"/>
                      </a:lnTo>
                      <a:lnTo>
                        <a:pt x="115" y="763"/>
                      </a:lnTo>
                      <a:lnTo>
                        <a:pt x="118" y="768"/>
                      </a:lnTo>
                      <a:lnTo>
                        <a:pt x="120" y="772"/>
                      </a:lnTo>
                      <a:lnTo>
                        <a:pt x="120" y="777"/>
                      </a:lnTo>
                      <a:lnTo>
                        <a:pt x="122" y="779"/>
                      </a:lnTo>
                      <a:lnTo>
                        <a:pt x="125" y="780"/>
                      </a:lnTo>
                      <a:lnTo>
                        <a:pt x="125" y="780"/>
                      </a:lnTo>
                      <a:lnTo>
                        <a:pt x="127" y="780"/>
                      </a:lnTo>
                      <a:lnTo>
                        <a:pt x="129" y="780"/>
                      </a:lnTo>
                      <a:lnTo>
                        <a:pt x="132" y="777"/>
                      </a:lnTo>
                      <a:lnTo>
                        <a:pt x="139" y="772"/>
                      </a:lnTo>
                      <a:lnTo>
                        <a:pt x="150" y="768"/>
                      </a:lnTo>
                      <a:lnTo>
                        <a:pt x="150" y="768"/>
                      </a:lnTo>
                      <a:lnTo>
                        <a:pt x="155" y="767"/>
                      </a:lnTo>
                      <a:lnTo>
                        <a:pt x="157" y="765"/>
                      </a:lnTo>
                      <a:lnTo>
                        <a:pt x="158" y="763"/>
                      </a:lnTo>
                      <a:lnTo>
                        <a:pt x="157" y="760"/>
                      </a:lnTo>
                      <a:lnTo>
                        <a:pt x="157" y="756"/>
                      </a:lnTo>
                      <a:lnTo>
                        <a:pt x="158" y="754"/>
                      </a:lnTo>
                      <a:lnTo>
                        <a:pt x="162" y="753"/>
                      </a:lnTo>
                      <a:lnTo>
                        <a:pt x="162" y="753"/>
                      </a:lnTo>
                      <a:lnTo>
                        <a:pt x="167" y="751"/>
                      </a:lnTo>
                      <a:lnTo>
                        <a:pt x="165" y="747"/>
                      </a:lnTo>
                      <a:lnTo>
                        <a:pt x="165" y="746"/>
                      </a:lnTo>
                      <a:lnTo>
                        <a:pt x="165" y="744"/>
                      </a:lnTo>
                      <a:lnTo>
                        <a:pt x="169" y="742"/>
                      </a:lnTo>
                      <a:lnTo>
                        <a:pt x="169" y="742"/>
                      </a:lnTo>
                      <a:lnTo>
                        <a:pt x="184" y="737"/>
                      </a:lnTo>
                      <a:lnTo>
                        <a:pt x="195" y="737"/>
                      </a:lnTo>
                      <a:lnTo>
                        <a:pt x="198" y="737"/>
                      </a:lnTo>
                      <a:lnTo>
                        <a:pt x="202" y="739"/>
                      </a:lnTo>
                      <a:lnTo>
                        <a:pt x="207" y="746"/>
                      </a:lnTo>
                      <a:lnTo>
                        <a:pt x="207" y="746"/>
                      </a:lnTo>
                      <a:lnTo>
                        <a:pt x="209" y="753"/>
                      </a:lnTo>
                      <a:lnTo>
                        <a:pt x="209" y="754"/>
                      </a:lnTo>
                      <a:lnTo>
                        <a:pt x="209" y="754"/>
                      </a:lnTo>
                      <a:lnTo>
                        <a:pt x="211" y="760"/>
                      </a:lnTo>
                      <a:lnTo>
                        <a:pt x="211" y="760"/>
                      </a:lnTo>
                      <a:lnTo>
                        <a:pt x="216" y="765"/>
                      </a:lnTo>
                      <a:lnTo>
                        <a:pt x="221" y="767"/>
                      </a:lnTo>
                      <a:lnTo>
                        <a:pt x="226" y="770"/>
                      </a:lnTo>
                      <a:lnTo>
                        <a:pt x="231" y="779"/>
                      </a:lnTo>
                      <a:lnTo>
                        <a:pt x="231" y="779"/>
                      </a:lnTo>
                      <a:lnTo>
                        <a:pt x="235" y="784"/>
                      </a:lnTo>
                      <a:lnTo>
                        <a:pt x="238" y="787"/>
                      </a:lnTo>
                      <a:lnTo>
                        <a:pt x="245" y="791"/>
                      </a:lnTo>
                      <a:lnTo>
                        <a:pt x="252" y="796"/>
                      </a:lnTo>
                      <a:lnTo>
                        <a:pt x="256" y="800"/>
                      </a:lnTo>
                      <a:lnTo>
                        <a:pt x="261" y="805"/>
                      </a:lnTo>
                      <a:lnTo>
                        <a:pt x="261" y="805"/>
                      </a:lnTo>
                      <a:lnTo>
                        <a:pt x="305" y="875"/>
                      </a:lnTo>
                      <a:lnTo>
                        <a:pt x="305" y="875"/>
                      </a:lnTo>
                      <a:lnTo>
                        <a:pt x="306" y="880"/>
                      </a:lnTo>
                      <a:lnTo>
                        <a:pt x="305" y="883"/>
                      </a:lnTo>
                      <a:lnTo>
                        <a:pt x="305" y="885"/>
                      </a:lnTo>
                      <a:lnTo>
                        <a:pt x="308" y="887"/>
                      </a:lnTo>
                      <a:lnTo>
                        <a:pt x="308" y="887"/>
                      </a:lnTo>
                      <a:lnTo>
                        <a:pt x="312" y="887"/>
                      </a:lnTo>
                      <a:lnTo>
                        <a:pt x="312" y="888"/>
                      </a:lnTo>
                      <a:lnTo>
                        <a:pt x="312" y="892"/>
                      </a:lnTo>
                      <a:lnTo>
                        <a:pt x="312" y="895"/>
                      </a:lnTo>
                      <a:lnTo>
                        <a:pt x="313" y="897"/>
                      </a:lnTo>
                      <a:lnTo>
                        <a:pt x="315" y="899"/>
                      </a:lnTo>
                      <a:lnTo>
                        <a:pt x="315" y="899"/>
                      </a:lnTo>
                      <a:lnTo>
                        <a:pt x="319" y="901"/>
                      </a:lnTo>
                      <a:lnTo>
                        <a:pt x="319" y="902"/>
                      </a:lnTo>
                      <a:lnTo>
                        <a:pt x="320" y="908"/>
                      </a:lnTo>
                      <a:lnTo>
                        <a:pt x="320" y="911"/>
                      </a:lnTo>
                      <a:lnTo>
                        <a:pt x="322" y="911"/>
                      </a:lnTo>
                      <a:lnTo>
                        <a:pt x="327" y="911"/>
                      </a:lnTo>
                      <a:lnTo>
                        <a:pt x="327" y="911"/>
                      </a:lnTo>
                      <a:lnTo>
                        <a:pt x="331" y="911"/>
                      </a:lnTo>
                      <a:lnTo>
                        <a:pt x="332" y="911"/>
                      </a:lnTo>
                      <a:lnTo>
                        <a:pt x="336" y="915"/>
                      </a:lnTo>
                      <a:lnTo>
                        <a:pt x="343" y="920"/>
                      </a:lnTo>
                      <a:lnTo>
                        <a:pt x="348" y="923"/>
                      </a:lnTo>
                      <a:lnTo>
                        <a:pt x="355" y="925"/>
                      </a:lnTo>
                      <a:lnTo>
                        <a:pt x="355" y="925"/>
                      </a:lnTo>
                      <a:lnTo>
                        <a:pt x="362" y="928"/>
                      </a:lnTo>
                      <a:lnTo>
                        <a:pt x="367" y="930"/>
                      </a:lnTo>
                      <a:lnTo>
                        <a:pt x="369" y="934"/>
                      </a:lnTo>
                      <a:lnTo>
                        <a:pt x="371" y="935"/>
                      </a:lnTo>
                      <a:lnTo>
                        <a:pt x="371" y="939"/>
                      </a:lnTo>
                      <a:lnTo>
                        <a:pt x="376" y="939"/>
                      </a:lnTo>
                      <a:lnTo>
                        <a:pt x="376" y="939"/>
                      </a:lnTo>
                      <a:lnTo>
                        <a:pt x="383" y="939"/>
                      </a:lnTo>
                      <a:lnTo>
                        <a:pt x="385" y="942"/>
                      </a:lnTo>
                      <a:lnTo>
                        <a:pt x="385" y="946"/>
                      </a:lnTo>
                      <a:lnTo>
                        <a:pt x="383" y="949"/>
                      </a:lnTo>
                      <a:lnTo>
                        <a:pt x="383" y="949"/>
                      </a:lnTo>
                      <a:lnTo>
                        <a:pt x="383" y="956"/>
                      </a:lnTo>
                      <a:lnTo>
                        <a:pt x="383" y="962"/>
                      </a:lnTo>
                      <a:lnTo>
                        <a:pt x="385" y="974"/>
                      </a:lnTo>
                      <a:lnTo>
                        <a:pt x="386" y="984"/>
                      </a:lnTo>
                      <a:lnTo>
                        <a:pt x="386" y="988"/>
                      </a:lnTo>
                      <a:lnTo>
                        <a:pt x="383" y="991"/>
                      </a:lnTo>
                      <a:lnTo>
                        <a:pt x="383" y="991"/>
                      </a:lnTo>
                      <a:lnTo>
                        <a:pt x="379" y="995"/>
                      </a:lnTo>
                      <a:lnTo>
                        <a:pt x="379" y="996"/>
                      </a:lnTo>
                      <a:lnTo>
                        <a:pt x="379" y="1003"/>
                      </a:lnTo>
                      <a:lnTo>
                        <a:pt x="379" y="1009"/>
                      </a:lnTo>
                      <a:lnTo>
                        <a:pt x="378" y="1012"/>
                      </a:lnTo>
                      <a:lnTo>
                        <a:pt x="376" y="1016"/>
                      </a:lnTo>
                      <a:lnTo>
                        <a:pt x="376" y="1016"/>
                      </a:lnTo>
                      <a:lnTo>
                        <a:pt x="371" y="1021"/>
                      </a:lnTo>
                      <a:lnTo>
                        <a:pt x="367" y="1026"/>
                      </a:lnTo>
                      <a:lnTo>
                        <a:pt x="367" y="1029"/>
                      </a:lnTo>
                      <a:lnTo>
                        <a:pt x="369" y="1033"/>
                      </a:lnTo>
                      <a:lnTo>
                        <a:pt x="373" y="1036"/>
                      </a:lnTo>
                      <a:lnTo>
                        <a:pt x="376" y="1040"/>
                      </a:lnTo>
                      <a:lnTo>
                        <a:pt x="378" y="1043"/>
                      </a:lnTo>
                      <a:lnTo>
                        <a:pt x="378" y="1043"/>
                      </a:lnTo>
                      <a:lnTo>
                        <a:pt x="381" y="1054"/>
                      </a:lnTo>
                      <a:lnTo>
                        <a:pt x="386" y="1063"/>
                      </a:lnTo>
                      <a:lnTo>
                        <a:pt x="395" y="1073"/>
                      </a:lnTo>
                      <a:lnTo>
                        <a:pt x="404" y="1082"/>
                      </a:lnTo>
                      <a:lnTo>
                        <a:pt x="404" y="1082"/>
                      </a:lnTo>
                      <a:lnTo>
                        <a:pt x="407" y="1085"/>
                      </a:lnTo>
                      <a:lnTo>
                        <a:pt x="409" y="1083"/>
                      </a:lnTo>
                      <a:lnTo>
                        <a:pt x="411" y="1076"/>
                      </a:lnTo>
                      <a:lnTo>
                        <a:pt x="413" y="1071"/>
                      </a:lnTo>
                      <a:lnTo>
                        <a:pt x="416" y="1066"/>
                      </a:lnTo>
                      <a:lnTo>
                        <a:pt x="421" y="1061"/>
                      </a:lnTo>
                      <a:lnTo>
                        <a:pt x="430" y="1059"/>
                      </a:lnTo>
                      <a:lnTo>
                        <a:pt x="430" y="1059"/>
                      </a:lnTo>
                      <a:lnTo>
                        <a:pt x="437" y="1059"/>
                      </a:lnTo>
                      <a:lnTo>
                        <a:pt x="439" y="1059"/>
                      </a:lnTo>
                      <a:lnTo>
                        <a:pt x="433" y="1064"/>
                      </a:lnTo>
                      <a:lnTo>
                        <a:pt x="428" y="1070"/>
                      </a:lnTo>
                      <a:lnTo>
                        <a:pt x="425" y="1073"/>
                      </a:lnTo>
                      <a:lnTo>
                        <a:pt x="423" y="1080"/>
                      </a:lnTo>
                      <a:lnTo>
                        <a:pt x="423" y="1087"/>
                      </a:lnTo>
                      <a:lnTo>
                        <a:pt x="423" y="1087"/>
                      </a:lnTo>
                      <a:lnTo>
                        <a:pt x="428" y="1094"/>
                      </a:lnTo>
                      <a:lnTo>
                        <a:pt x="432" y="1097"/>
                      </a:lnTo>
                      <a:lnTo>
                        <a:pt x="433" y="1099"/>
                      </a:lnTo>
                      <a:lnTo>
                        <a:pt x="435" y="1108"/>
                      </a:lnTo>
                      <a:lnTo>
                        <a:pt x="435" y="1108"/>
                      </a:lnTo>
                      <a:lnTo>
                        <a:pt x="437" y="1113"/>
                      </a:lnTo>
                      <a:lnTo>
                        <a:pt x="440" y="1115"/>
                      </a:lnTo>
                      <a:lnTo>
                        <a:pt x="444" y="1115"/>
                      </a:lnTo>
                      <a:lnTo>
                        <a:pt x="447" y="1113"/>
                      </a:lnTo>
                      <a:lnTo>
                        <a:pt x="451" y="1111"/>
                      </a:lnTo>
                      <a:lnTo>
                        <a:pt x="453" y="1111"/>
                      </a:lnTo>
                      <a:lnTo>
                        <a:pt x="453" y="1115"/>
                      </a:lnTo>
                      <a:lnTo>
                        <a:pt x="449" y="1122"/>
                      </a:lnTo>
                      <a:lnTo>
                        <a:pt x="449" y="1122"/>
                      </a:lnTo>
                      <a:lnTo>
                        <a:pt x="444" y="1137"/>
                      </a:lnTo>
                      <a:lnTo>
                        <a:pt x="440" y="1146"/>
                      </a:lnTo>
                      <a:lnTo>
                        <a:pt x="442" y="1151"/>
                      </a:lnTo>
                      <a:lnTo>
                        <a:pt x="444" y="1151"/>
                      </a:lnTo>
                      <a:lnTo>
                        <a:pt x="444" y="1151"/>
                      </a:lnTo>
                      <a:lnTo>
                        <a:pt x="446" y="1151"/>
                      </a:lnTo>
                      <a:lnTo>
                        <a:pt x="446" y="1151"/>
                      </a:lnTo>
                      <a:lnTo>
                        <a:pt x="446" y="1158"/>
                      </a:lnTo>
                      <a:lnTo>
                        <a:pt x="447" y="1164"/>
                      </a:lnTo>
                      <a:lnTo>
                        <a:pt x="447" y="1167"/>
                      </a:lnTo>
                      <a:lnTo>
                        <a:pt x="451" y="1169"/>
                      </a:lnTo>
                      <a:lnTo>
                        <a:pt x="451" y="1169"/>
                      </a:lnTo>
                      <a:lnTo>
                        <a:pt x="454" y="1167"/>
                      </a:lnTo>
                      <a:lnTo>
                        <a:pt x="454" y="1165"/>
                      </a:lnTo>
                      <a:lnTo>
                        <a:pt x="456" y="1158"/>
                      </a:lnTo>
                      <a:lnTo>
                        <a:pt x="458" y="1150"/>
                      </a:lnTo>
                      <a:lnTo>
                        <a:pt x="460" y="1146"/>
                      </a:lnTo>
                      <a:lnTo>
                        <a:pt x="463" y="1144"/>
                      </a:lnTo>
                      <a:lnTo>
                        <a:pt x="463" y="1144"/>
                      </a:lnTo>
                      <a:lnTo>
                        <a:pt x="472" y="1139"/>
                      </a:lnTo>
                      <a:lnTo>
                        <a:pt x="477" y="1136"/>
                      </a:lnTo>
                      <a:lnTo>
                        <a:pt x="480" y="1132"/>
                      </a:lnTo>
                      <a:lnTo>
                        <a:pt x="482" y="1132"/>
                      </a:lnTo>
                      <a:lnTo>
                        <a:pt x="482" y="1134"/>
                      </a:lnTo>
                      <a:lnTo>
                        <a:pt x="482" y="1134"/>
                      </a:lnTo>
                      <a:lnTo>
                        <a:pt x="484" y="1137"/>
                      </a:lnTo>
                      <a:lnTo>
                        <a:pt x="486" y="1137"/>
                      </a:lnTo>
                      <a:lnTo>
                        <a:pt x="491" y="1137"/>
                      </a:lnTo>
                      <a:lnTo>
                        <a:pt x="496" y="1139"/>
                      </a:lnTo>
                      <a:lnTo>
                        <a:pt x="496" y="1141"/>
                      </a:lnTo>
                      <a:lnTo>
                        <a:pt x="496" y="1144"/>
                      </a:lnTo>
                      <a:lnTo>
                        <a:pt x="496" y="1144"/>
                      </a:lnTo>
                      <a:lnTo>
                        <a:pt x="496" y="1148"/>
                      </a:lnTo>
                      <a:lnTo>
                        <a:pt x="496" y="1148"/>
                      </a:lnTo>
                      <a:lnTo>
                        <a:pt x="493" y="1146"/>
                      </a:lnTo>
                      <a:lnTo>
                        <a:pt x="489" y="1144"/>
                      </a:lnTo>
                      <a:lnTo>
                        <a:pt x="486" y="1143"/>
                      </a:lnTo>
                      <a:lnTo>
                        <a:pt x="480" y="1144"/>
                      </a:lnTo>
                      <a:lnTo>
                        <a:pt x="475" y="1148"/>
                      </a:lnTo>
                      <a:lnTo>
                        <a:pt x="475" y="1148"/>
                      </a:lnTo>
                      <a:lnTo>
                        <a:pt x="465" y="1157"/>
                      </a:lnTo>
                      <a:lnTo>
                        <a:pt x="460" y="1164"/>
                      </a:lnTo>
                      <a:lnTo>
                        <a:pt x="460" y="1169"/>
                      </a:lnTo>
                      <a:lnTo>
                        <a:pt x="460" y="1176"/>
                      </a:lnTo>
                      <a:lnTo>
                        <a:pt x="460" y="1176"/>
                      </a:lnTo>
                      <a:lnTo>
                        <a:pt x="461" y="1179"/>
                      </a:lnTo>
                      <a:lnTo>
                        <a:pt x="463" y="1183"/>
                      </a:lnTo>
                      <a:lnTo>
                        <a:pt x="467" y="1184"/>
                      </a:lnTo>
                      <a:lnTo>
                        <a:pt x="468" y="1186"/>
                      </a:lnTo>
                      <a:lnTo>
                        <a:pt x="467" y="1190"/>
                      </a:lnTo>
                      <a:lnTo>
                        <a:pt x="467" y="1190"/>
                      </a:lnTo>
                      <a:lnTo>
                        <a:pt x="463" y="1191"/>
                      </a:lnTo>
                      <a:lnTo>
                        <a:pt x="463" y="1193"/>
                      </a:lnTo>
                      <a:lnTo>
                        <a:pt x="465" y="1195"/>
                      </a:lnTo>
                      <a:lnTo>
                        <a:pt x="467" y="1195"/>
                      </a:lnTo>
                      <a:lnTo>
                        <a:pt x="465" y="1198"/>
                      </a:lnTo>
                      <a:lnTo>
                        <a:pt x="465" y="1198"/>
                      </a:lnTo>
                      <a:lnTo>
                        <a:pt x="461" y="1200"/>
                      </a:lnTo>
                      <a:lnTo>
                        <a:pt x="461" y="1202"/>
                      </a:lnTo>
                      <a:lnTo>
                        <a:pt x="463" y="1205"/>
                      </a:lnTo>
                      <a:lnTo>
                        <a:pt x="465" y="1207"/>
                      </a:lnTo>
                      <a:lnTo>
                        <a:pt x="472" y="1212"/>
                      </a:lnTo>
                      <a:lnTo>
                        <a:pt x="480" y="1216"/>
                      </a:lnTo>
                      <a:lnTo>
                        <a:pt x="480" y="1216"/>
                      </a:lnTo>
                      <a:lnTo>
                        <a:pt x="487" y="1218"/>
                      </a:lnTo>
                      <a:lnTo>
                        <a:pt x="493" y="1216"/>
                      </a:lnTo>
                      <a:lnTo>
                        <a:pt x="498" y="1214"/>
                      </a:lnTo>
                      <a:lnTo>
                        <a:pt x="505" y="1214"/>
                      </a:lnTo>
                      <a:lnTo>
                        <a:pt x="505" y="1214"/>
                      </a:lnTo>
                      <a:lnTo>
                        <a:pt x="510" y="1216"/>
                      </a:lnTo>
                      <a:lnTo>
                        <a:pt x="510" y="1218"/>
                      </a:lnTo>
                      <a:lnTo>
                        <a:pt x="510" y="1219"/>
                      </a:lnTo>
                      <a:lnTo>
                        <a:pt x="515" y="1219"/>
                      </a:lnTo>
                      <a:lnTo>
                        <a:pt x="515" y="1219"/>
                      </a:lnTo>
                      <a:lnTo>
                        <a:pt x="521" y="1219"/>
                      </a:lnTo>
                      <a:lnTo>
                        <a:pt x="521" y="1223"/>
                      </a:lnTo>
                      <a:lnTo>
                        <a:pt x="519" y="1230"/>
                      </a:lnTo>
                      <a:lnTo>
                        <a:pt x="519" y="1233"/>
                      </a:lnTo>
                      <a:lnTo>
                        <a:pt x="519" y="1235"/>
                      </a:lnTo>
                      <a:lnTo>
                        <a:pt x="521" y="1237"/>
                      </a:lnTo>
                      <a:lnTo>
                        <a:pt x="526" y="1237"/>
                      </a:lnTo>
                      <a:lnTo>
                        <a:pt x="526" y="1237"/>
                      </a:lnTo>
                      <a:lnTo>
                        <a:pt x="531" y="1237"/>
                      </a:lnTo>
                      <a:lnTo>
                        <a:pt x="534" y="1238"/>
                      </a:lnTo>
                      <a:lnTo>
                        <a:pt x="536" y="1240"/>
                      </a:lnTo>
                      <a:lnTo>
                        <a:pt x="543" y="1238"/>
                      </a:lnTo>
                      <a:lnTo>
                        <a:pt x="543" y="1238"/>
                      </a:lnTo>
                      <a:lnTo>
                        <a:pt x="547" y="1237"/>
                      </a:lnTo>
                      <a:lnTo>
                        <a:pt x="552" y="1238"/>
                      </a:lnTo>
                      <a:lnTo>
                        <a:pt x="557" y="1242"/>
                      </a:lnTo>
                      <a:lnTo>
                        <a:pt x="562" y="1244"/>
                      </a:lnTo>
                      <a:lnTo>
                        <a:pt x="564" y="1245"/>
                      </a:lnTo>
                      <a:lnTo>
                        <a:pt x="568" y="1244"/>
                      </a:lnTo>
                      <a:lnTo>
                        <a:pt x="568" y="1244"/>
                      </a:lnTo>
                      <a:lnTo>
                        <a:pt x="569" y="1244"/>
                      </a:lnTo>
                      <a:lnTo>
                        <a:pt x="573" y="1244"/>
                      </a:lnTo>
                      <a:lnTo>
                        <a:pt x="574" y="1249"/>
                      </a:lnTo>
                      <a:lnTo>
                        <a:pt x="574" y="1256"/>
                      </a:lnTo>
                      <a:lnTo>
                        <a:pt x="573" y="1258"/>
                      </a:lnTo>
                      <a:lnTo>
                        <a:pt x="569" y="1259"/>
                      </a:lnTo>
                      <a:lnTo>
                        <a:pt x="569" y="1259"/>
                      </a:lnTo>
                      <a:lnTo>
                        <a:pt x="568" y="1261"/>
                      </a:lnTo>
                      <a:lnTo>
                        <a:pt x="568" y="1263"/>
                      </a:lnTo>
                      <a:lnTo>
                        <a:pt x="573" y="1270"/>
                      </a:lnTo>
                      <a:lnTo>
                        <a:pt x="581" y="1273"/>
                      </a:lnTo>
                      <a:lnTo>
                        <a:pt x="587" y="1275"/>
                      </a:lnTo>
                      <a:lnTo>
                        <a:pt x="590" y="1273"/>
                      </a:lnTo>
                      <a:lnTo>
                        <a:pt x="590" y="1273"/>
                      </a:lnTo>
                      <a:lnTo>
                        <a:pt x="597" y="1270"/>
                      </a:lnTo>
                      <a:lnTo>
                        <a:pt x="599" y="1266"/>
                      </a:lnTo>
                      <a:lnTo>
                        <a:pt x="599" y="1265"/>
                      </a:lnTo>
                      <a:lnTo>
                        <a:pt x="601" y="1265"/>
                      </a:lnTo>
                      <a:lnTo>
                        <a:pt x="601" y="1271"/>
                      </a:lnTo>
                      <a:lnTo>
                        <a:pt x="601" y="1271"/>
                      </a:lnTo>
                      <a:lnTo>
                        <a:pt x="601" y="1277"/>
                      </a:lnTo>
                      <a:lnTo>
                        <a:pt x="604" y="1280"/>
                      </a:lnTo>
                      <a:lnTo>
                        <a:pt x="606" y="1280"/>
                      </a:lnTo>
                      <a:lnTo>
                        <a:pt x="606" y="1284"/>
                      </a:lnTo>
                      <a:lnTo>
                        <a:pt x="606" y="1284"/>
                      </a:lnTo>
                      <a:lnTo>
                        <a:pt x="604" y="1285"/>
                      </a:lnTo>
                      <a:lnTo>
                        <a:pt x="604" y="1285"/>
                      </a:lnTo>
                      <a:lnTo>
                        <a:pt x="601" y="1282"/>
                      </a:lnTo>
                      <a:lnTo>
                        <a:pt x="597" y="1278"/>
                      </a:lnTo>
                      <a:lnTo>
                        <a:pt x="595" y="1278"/>
                      </a:lnTo>
                      <a:lnTo>
                        <a:pt x="594" y="1280"/>
                      </a:lnTo>
                      <a:lnTo>
                        <a:pt x="594" y="1280"/>
                      </a:lnTo>
                      <a:lnTo>
                        <a:pt x="594" y="1282"/>
                      </a:lnTo>
                      <a:lnTo>
                        <a:pt x="595" y="1285"/>
                      </a:lnTo>
                      <a:lnTo>
                        <a:pt x="601" y="1291"/>
                      </a:lnTo>
                      <a:lnTo>
                        <a:pt x="609" y="1294"/>
                      </a:lnTo>
                      <a:lnTo>
                        <a:pt x="613" y="1294"/>
                      </a:lnTo>
                      <a:lnTo>
                        <a:pt x="615" y="1292"/>
                      </a:lnTo>
                      <a:lnTo>
                        <a:pt x="615" y="1292"/>
                      </a:lnTo>
                      <a:lnTo>
                        <a:pt x="616" y="1287"/>
                      </a:lnTo>
                      <a:lnTo>
                        <a:pt x="618" y="1284"/>
                      </a:lnTo>
                      <a:lnTo>
                        <a:pt x="621" y="1284"/>
                      </a:lnTo>
                      <a:lnTo>
                        <a:pt x="621" y="1287"/>
                      </a:lnTo>
                      <a:lnTo>
                        <a:pt x="621" y="1287"/>
                      </a:lnTo>
                      <a:lnTo>
                        <a:pt x="621" y="1292"/>
                      </a:lnTo>
                      <a:lnTo>
                        <a:pt x="623" y="1299"/>
                      </a:lnTo>
                      <a:lnTo>
                        <a:pt x="625" y="1305"/>
                      </a:lnTo>
                      <a:lnTo>
                        <a:pt x="627" y="1310"/>
                      </a:lnTo>
                      <a:lnTo>
                        <a:pt x="627" y="1310"/>
                      </a:lnTo>
                      <a:lnTo>
                        <a:pt x="625" y="1315"/>
                      </a:lnTo>
                      <a:lnTo>
                        <a:pt x="627" y="1315"/>
                      </a:lnTo>
                      <a:lnTo>
                        <a:pt x="630" y="1315"/>
                      </a:lnTo>
                      <a:lnTo>
                        <a:pt x="632" y="1312"/>
                      </a:lnTo>
                      <a:lnTo>
                        <a:pt x="632" y="1312"/>
                      </a:lnTo>
                      <a:lnTo>
                        <a:pt x="634" y="1310"/>
                      </a:lnTo>
                      <a:lnTo>
                        <a:pt x="635" y="1310"/>
                      </a:lnTo>
                      <a:lnTo>
                        <a:pt x="639" y="1313"/>
                      </a:lnTo>
                      <a:lnTo>
                        <a:pt x="1605" y="131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9" name="Freeform 1728">
                  <a:extLst>
                    <a:ext uri="{FF2B5EF4-FFF2-40B4-BE49-F238E27FC236}">
                      <a16:creationId xmlns:a16="http://schemas.microsoft.com/office/drawing/2014/main" id="{06AF3C6D-24A3-E373-3BC8-8B569BB6E13F}"/>
                    </a:ext>
                  </a:extLst>
                </p:cNvPr>
                <p:cNvSpPr>
                  <a:spLocks/>
                </p:cNvSpPr>
                <p:nvPr/>
              </p:nvSpPr>
              <p:spPr bwMode="auto">
                <a:xfrm>
                  <a:off x="2927783" y="2124261"/>
                  <a:ext cx="22907" cy="38764"/>
                </a:xfrm>
                <a:custGeom>
                  <a:avLst/>
                  <a:gdLst/>
                  <a:ahLst/>
                  <a:cxnLst>
                    <a:cxn ang="0">
                      <a:pos x="14" y="2"/>
                    </a:cxn>
                    <a:cxn ang="0">
                      <a:pos x="14" y="2"/>
                    </a:cxn>
                    <a:cxn ang="0">
                      <a:pos x="19" y="0"/>
                    </a:cxn>
                    <a:cxn ang="0">
                      <a:pos x="23" y="2"/>
                    </a:cxn>
                    <a:cxn ang="0">
                      <a:pos x="26" y="4"/>
                    </a:cxn>
                    <a:cxn ang="0">
                      <a:pos x="28" y="6"/>
                    </a:cxn>
                    <a:cxn ang="0">
                      <a:pos x="30" y="13"/>
                    </a:cxn>
                    <a:cxn ang="0">
                      <a:pos x="30" y="21"/>
                    </a:cxn>
                    <a:cxn ang="0">
                      <a:pos x="28" y="30"/>
                    </a:cxn>
                    <a:cxn ang="0">
                      <a:pos x="25" y="39"/>
                    </a:cxn>
                    <a:cxn ang="0">
                      <a:pos x="21" y="46"/>
                    </a:cxn>
                    <a:cxn ang="0">
                      <a:pos x="16" y="48"/>
                    </a:cxn>
                    <a:cxn ang="0">
                      <a:pos x="16" y="48"/>
                    </a:cxn>
                    <a:cxn ang="0">
                      <a:pos x="11" y="48"/>
                    </a:cxn>
                    <a:cxn ang="0">
                      <a:pos x="7" y="42"/>
                    </a:cxn>
                    <a:cxn ang="0">
                      <a:pos x="2" y="37"/>
                    </a:cxn>
                    <a:cxn ang="0">
                      <a:pos x="0" y="28"/>
                    </a:cxn>
                    <a:cxn ang="0">
                      <a:pos x="0" y="21"/>
                    </a:cxn>
                    <a:cxn ang="0">
                      <a:pos x="2" y="13"/>
                    </a:cxn>
                    <a:cxn ang="0">
                      <a:pos x="7" y="6"/>
                    </a:cxn>
                    <a:cxn ang="0">
                      <a:pos x="11" y="4"/>
                    </a:cxn>
                    <a:cxn ang="0">
                      <a:pos x="14" y="2"/>
                    </a:cxn>
                    <a:cxn ang="0">
                      <a:pos x="14" y="2"/>
                    </a:cxn>
                  </a:cxnLst>
                  <a:rect l="0" t="0" r="r" b="b"/>
                  <a:pathLst>
                    <a:path w="30" h="48">
                      <a:moveTo>
                        <a:pt x="14" y="2"/>
                      </a:moveTo>
                      <a:lnTo>
                        <a:pt x="14" y="2"/>
                      </a:lnTo>
                      <a:lnTo>
                        <a:pt x="19" y="0"/>
                      </a:lnTo>
                      <a:lnTo>
                        <a:pt x="23" y="2"/>
                      </a:lnTo>
                      <a:lnTo>
                        <a:pt x="26" y="4"/>
                      </a:lnTo>
                      <a:lnTo>
                        <a:pt x="28" y="6"/>
                      </a:lnTo>
                      <a:lnTo>
                        <a:pt x="30" y="13"/>
                      </a:lnTo>
                      <a:lnTo>
                        <a:pt x="30" y="21"/>
                      </a:lnTo>
                      <a:lnTo>
                        <a:pt x="28" y="30"/>
                      </a:lnTo>
                      <a:lnTo>
                        <a:pt x="25" y="39"/>
                      </a:lnTo>
                      <a:lnTo>
                        <a:pt x="21" y="46"/>
                      </a:lnTo>
                      <a:lnTo>
                        <a:pt x="16" y="48"/>
                      </a:lnTo>
                      <a:lnTo>
                        <a:pt x="16" y="48"/>
                      </a:lnTo>
                      <a:lnTo>
                        <a:pt x="11" y="48"/>
                      </a:lnTo>
                      <a:lnTo>
                        <a:pt x="7" y="42"/>
                      </a:lnTo>
                      <a:lnTo>
                        <a:pt x="2" y="37"/>
                      </a:lnTo>
                      <a:lnTo>
                        <a:pt x="0" y="28"/>
                      </a:lnTo>
                      <a:lnTo>
                        <a:pt x="0" y="21"/>
                      </a:lnTo>
                      <a:lnTo>
                        <a:pt x="2" y="13"/>
                      </a:lnTo>
                      <a:lnTo>
                        <a:pt x="7" y="6"/>
                      </a:lnTo>
                      <a:lnTo>
                        <a:pt x="11" y="4"/>
                      </a:lnTo>
                      <a:lnTo>
                        <a:pt x="14" y="2"/>
                      </a:lnTo>
                      <a:lnTo>
                        <a:pt x="14"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0" name="Freeform 1729">
                  <a:extLst>
                    <a:ext uri="{FF2B5EF4-FFF2-40B4-BE49-F238E27FC236}">
                      <a16:creationId xmlns:a16="http://schemas.microsoft.com/office/drawing/2014/main" id="{C2D5598D-4A9B-2F77-CA53-2B53C336968E}"/>
                    </a:ext>
                  </a:extLst>
                </p:cNvPr>
                <p:cNvSpPr>
                  <a:spLocks/>
                </p:cNvSpPr>
                <p:nvPr/>
              </p:nvSpPr>
              <p:spPr bwMode="auto">
                <a:xfrm>
                  <a:off x="2235319" y="1472321"/>
                  <a:ext cx="33478" cy="22906"/>
                </a:xfrm>
                <a:custGeom>
                  <a:avLst/>
                  <a:gdLst/>
                  <a:ahLst/>
                  <a:cxnLst>
                    <a:cxn ang="0">
                      <a:pos x="0" y="16"/>
                    </a:cxn>
                    <a:cxn ang="0">
                      <a:pos x="0" y="16"/>
                    </a:cxn>
                    <a:cxn ang="0">
                      <a:pos x="2" y="7"/>
                    </a:cxn>
                    <a:cxn ang="0">
                      <a:pos x="6" y="2"/>
                    </a:cxn>
                    <a:cxn ang="0">
                      <a:pos x="13" y="0"/>
                    </a:cxn>
                    <a:cxn ang="0">
                      <a:pos x="20" y="0"/>
                    </a:cxn>
                    <a:cxn ang="0">
                      <a:pos x="27" y="2"/>
                    </a:cxn>
                    <a:cxn ang="0">
                      <a:pos x="34" y="6"/>
                    </a:cxn>
                    <a:cxn ang="0">
                      <a:pos x="39" y="11"/>
                    </a:cxn>
                    <a:cxn ang="0">
                      <a:pos x="42" y="16"/>
                    </a:cxn>
                    <a:cxn ang="0">
                      <a:pos x="42" y="16"/>
                    </a:cxn>
                    <a:cxn ang="0">
                      <a:pos x="42" y="18"/>
                    </a:cxn>
                    <a:cxn ang="0">
                      <a:pos x="42" y="20"/>
                    </a:cxn>
                    <a:cxn ang="0">
                      <a:pos x="37" y="23"/>
                    </a:cxn>
                    <a:cxn ang="0">
                      <a:pos x="30" y="27"/>
                    </a:cxn>
                    <a:cxn ang="0">
                      <a:pos x="23" y="28"/>
                    </a:cxn>
                    <a:cxn ang="0">
                      <a:pos x="14" y="28"/>
                    </a:cxn>
                    <a:cxn ang="0">
                      <a:pos x="7" y="27"/>
                    </a:cxn>
                    <a:cxn ang="0">
                      <a:pos x="2" y="23"/>
                    </a:cxn>
                    <a:cxn ang="0">
                      <a:pos x="0" y="20"/>
                    </a:cxn>
                    <a:cxn ang="0">
                      <a:pos x="0" y="16"/>
                    </a:cxn>
                    <a:cxn ang="0">
                      <a:pos x="0" y="16"/>
                    </a:cxn>
                  </a:cxnLst>
                  <a:rect l="0" t="0" r="r" b="b"/>
                  <a:pathLst>
                    <a:path w="42" h="28">
                      <a:moveTo>
                        <a:pt x="0" y="16"/>
                      </a:moveTo>
                      <a:lnTo>
                        <a:pt x="0" y="16"/>
                      </a:lnTo>
                      <a:lnTo>
                        <a:pt x="2" y="7"/>
                      </a:lnTo>
                      <a:lnTo>
                        <a:pt x="6" y="2"/>
                      </a:lnTo>
                      <a:lnTo>
                        <a:pt x="13" y="0"/>
                      </a:lnTo>
                      <a:lnTo>
                        <a:pt x="20" y="0"/>
                      </a:lnTo>
                      <a:lnTo>
                        <a:pt x="27" y="2"/>
                      </a:lnTo>
                      <a:lnTo>
                        <a:pt x="34" y="6"/>
                      </a:lnTo>
                      <a:lnTo>
                        <a:pt x="39" y="11"/>
                      </a:lnTo>
                      <a:lnTo>
                        <a:pt x="42" y="16"/>
                      </a:lnTo>
                      <a:lnTo>
                        <a:pt x="42" y="16"/>
                      </a:lnTo>
                      <a:lnTo>
                        <a:pt x="42" y="18"/>
                      </a:lnTo>
                      <a:lnTo>
                        <a:pt x="42" y="20"/>
                      </a:lnTo>
                      <a:lnTo>
                        <a:pt x="37" y="23"/>
                      </a:lnTo>
                      <a:lnTo>
                        <a:pt x="30" y="27"/>
                      </a:lnTo>
                      <a:lnTo>
                        <a:pt x="23" y="28"/>
                      </a:lnTo>
                      <a:lnTo>
                        <a:pt x="14" y="28"/>
                      </a:lnTo>
                      <a:lnTo>
                        <a:pt x="7" y="27"/>
                      </a:lnTo>
                      <a:lnTo>
                        <a:pt x="2" y="23"/>
                      </a:lnTo>
                      <a:lnTo>
                        <a:pt x="0" y="20"/>
                      </a:lnTo>
                      <a:lnTo>
                        <a:pt x="0" y="16"/>
                      </a:lnTo>
                      <a:lnTo>
                        <a:pt x="0"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1" name="Freeform 1730">
                  <a:extLst>
                    <a:ext uri="{FF2B5EF4-FFF2-40B4-BE49-F238E27FC236}">
                      <a16:creationId xmlns:a16="http://schemas.microsoft.com/office/drawing/2014/main" id="{799D5DC0-EEC8-DC32-D89C-5FDDF6F80C1E}"/>
                    </a:ext>
                  </a:extLst>
                </p:cNvPr>
                <p:cNvSpPr>
                  <a:spLocks/>
                </p:cNvSpPr>
                <p:nvPr/>
              </p:nvSpPr>
              <p:spPr bwMode="auto">
                <a:xfrm>
                  <a:off x="2238840" y="1400077"/>
                  <a:ext cx="51098" cy="22907"/>
                </a:xfrm>
                <a:custGeom>
                  <a:avLst/>
                  <a:gdLst/>
                  <a:ahLst/>
                  <a:cxnLst>
                    <a:cxn ang="0">
                      <a:pos x="7" y="3"/>
                    </a:cxn>
                    <a:cxn ang="0">
                      <a:pos x="7" y="3"/>
                    </a:cxn>
                    <a:cxn ang="0">
                      <a:pos x="16" y="0"/>
                    </a:cxn>
                    <a:cxn ang="0">
                      <a:pos x="21" y="0"/>
                    </a:cxn>
                    <a:cxn ang="0">
                      <a:pos x="27" y="1"/>
                    </a:cxn>
                    <a:cxn ang="0">
                      <a:pos x="30" y="3"/>
                    </a:cxn>
                    <a:cxn ang="0">
                      <a:pos x="40" y="10"/>
                    </a:cxn>
                    <a:cxn ang="0">
                      <a:pos x="46" y="14"/>
                    </a:cxn>
                    <a:cxn ang="0">
                      <a:pos x="54" y="15"/>
                    </a:cxn>
                    <a:cxn ang="0">
                      <a:pos x="54" y="15"/>
                    </a:cxn>
                    <a:cxn ang="0">
                      <a:pos x="61" y="17"/>
                    </a:cxn>
                    <a:cxn ang="0">
                      <a:pos x="61" y="19"/>
                    </a:cxn>
                    <a:cxn ang="0">
                      <a:pos x="60" y="21"/>
                    </a:cxn>
                    <a:cxn ang="0">
                      <a:pos x="54" y="22"/>
                    </a:cxn>
                    <a:cxn ang="0">
                      <a:pos x="46" y="26"/>
                    </a:cxn>
                    <a:cxn ang="0">
                      <a:pos x="35" y="27"/>
                    </a:cxn>
                    <a:cxn ang="0">
                      <a:pos x="25" y="27"/>
                    </a:cxn>
                    <a:cxn ang="0">
                      <a:pos x="14" y="27"/>
                    </a:cxn>
                    <a:cxn ang="0">
                      <a:pos x="11" y="26"/>
                    </a:cxn>
                    <a:cxn ang="0">
                      <a:pos x="7" y="22"/>
                    </a:cxn>
                    <a:cxn ang="0">
                      <a:pos x="7" y="22"/>
                    </a:cxn>
                    <a:cxn ang="0">
                      <a:pos x="2" y="14"/>
                    </a:cxn>
                    <a:cxn ang="0">
                      <a:pos x="0" y="10"/>
                    </a:cxn>
                    <a:cxn ang="0">
                      <a:pos x="2" y="7"/>
                    </a:cxn>
                    <a:cxn ang="0">
                      <a:pos x="7" y="3"/>
                    </a:cxn>
                    <a:cxn ang="0">
                      <a:pos x="7" y="3"/>
                    </a:cxn>
                  </a:cxnLst>
                  <a:rect l="0" t="0" r="r" b="b"/>
                  <a:pathLst>
                    <a:path w="61" h="27">
                      <a:moveTo>
                        <a:pt x="7" y="3"/>
                      </a:moveTo>
                      <a:lnTo>
                        <a:pt x="7" y="3"/>
                      </a:lnTo>
                      <a:lnTo>
                        <a:pt x="16" y="0"/>
                      </a:lnTo>
                      <a:lnTo>
                        <a:pt x="21" y="0"/>
                      </a:lnTo>
                      <a:lnTo>
                        <a:pt x="27" y="1"/>
                      </a:lnTo>
                      <a:lnTo>
                        <a:pt x="30" y="3"/>
                      </a:lnTo>
                      <a:lnTo>
                        <a:pt x="40" y="10"/>
                      </a:lnTo>
                      <a:lnTo>
                        <a:pt x="46" y="14"/>
                      </a:lnTo>
                      <a:lnTo>
                        <a:pt x="54" y="15"/>
                      </a:lnTo>
                      <a:lnTo>
                        <a:pt x="54" y="15"/>
                      </a:lnTo>
                      <a:lnTo>
                        <a:pt x="61" y="17"/>
                      </a:lnTo>
                      <a:lnTo>
                        <a:pt x="61" y="19"/>
                      </a:lnTo>
                      <a:lnTo>
                        <a:pt x="60" y="21"/>
                      </a:lnTo>
                      <a:lnTo>
                        <a:pt x="54" y="22"/>
                      </a:lnTo>
                      <a:lnTo>
                        <a:pt x="46" y="26"/>
                      </a:lnTo>
                      <a:lnTo>
                        <a:pt x="35" y="27"/>
                      </a:lnTo>
                      <a:lnTo>
                        <a:pt x="25" y="27"/>
                      </a:lnTo>
                      <a:lnTo>
                        <a:pt x="14" y="27"/>
                      </a:lnTo>
                      <a:lnTo>
                        <a:pt x="11" y="26"/>
                      </a:lnTo>
                      <a:lnTo>
                        <a:pt x="7" y="22"/>
                      </a:lnTo>
                      <a:lnTo>
                        <a:pt x="7" y="22"/>
                      </a:lnTo>
                      <a:lnTo>
                        <a:pt x="2" y="14"/>
                      </a:lnTo>
                      <a:lnTo>
                        <a:pt x="0" y="10"/>
                      </a:lnTo>
                      <a:lnTo>
                        <a:pt x="2" y="7"/>
                      </a:lnTo>
                      <a:lnTo>
                        <a:pt x="7" y="3"/>
                      </a:lnTo>
                      <a:lnTo>
                        <a:pt x="7"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2" name="Freeform 1731">
                  <a:extLst>
                    <a:ext uri="{FF2B5EF4-FFF2-40B4-BE49-F238E27FC236}">
                      <a16:creationId xmlns:a16="http://schemas.microsoft.com/office/drawing/2014/main" id="{0C63BA4B-CD21-00D6-ACCB-15838A3C435D}"/>
                    </a:ext>
                  </a:extLst>
                </p:cNvPr>
                <p:cNvSpPr>
                  <a:spLocks/>
                </p:cNvSpPr>
                <p:nvPr/>
              </p:nvSpPr>
              <p:spPr bwMode="auto">
                <a:xfrm>
                  <a:off x="2876685" y="2531283"/>
                  <a:ext cx="40526" cy="22907"/>
                </a:xfrm>
                <a:custGeom>
                  <a:avLst/>
                  <a:gdLst/>
                  <a:ahLst/>
                  <a:cxnLst>
                    <a:cxn ang="0">
                      <a:pos x="0" y="7"/>
                    </a:cxn>
                    <a:cxn ang="0">
                      <a:pos x="0" y="7"/>
                    </a:cxn>
                    <a:cxn ang="0">
                      <a:pos x="4" y="4"/>
                    </a:cxn>
                    <a:cxn ang="0">
                      <a:pos x="7" y="2"/>
                    </a:cxn>
                    <a:cxn ang="0">
                      <a:pos x="18" y="0"/>
                    </a:cxn>
                    <a:cxn ang="0">
                      <a:pos x="28" y="0"/>
                    </a:cxn>
                    <a:cxn ang="0">
                      <a:pos x="35" y="2"/>
                    </a:cxn>
                    <a:cxn ang="0">
                      <a:pos x="35" y="2"/>
                    </a:cxn>
                    <a:cxn ang="0">
                      <a:pos x="44" y="14"/>
                    </a:cxn>
                    <a:cxn ang="0">
                      <a:pos x="49" y="21"/>
                    </a:cxn>
                    <a:cxn ang="0">
                      <a:pos x="49" y="25"/>
                    </a:cxn>
                    <a:cxn ang="0">
                      <a:pos x="47" y="28"/>
                    </a:cxn>
                    <a:cxn ang="0">
                      <a:pos x="47" y="28"/>
                    </a:cxn>
                    <a:cxn ang="0">
                      <a:pos x="46" y="28"/>
                    </a:cxn>
                    <a:cxn ang="0">
                      <a:pos x="42" y="28"/>
                    </a:cxn>
                    <a:cxn ang="0">
                      <a:pos x="34" y="26"/>
                    </a:cxn>
                    <a:cxn ang="0">
                      <a:pos x="13" y="18"/>
                    </a:cxn>
                    <a:cxn ang="0">
                      <a:pos x="13" y="18"/>
                    </a:cxn>
                    <a:cxn ang="0">
                      <a:pos x="0" y="12"/>
                    </a:cxn>
                    <a:cxn ang="0">
                      <a:pos x="0" y="9"/>
                    </a:cxn>
                    <a:cxn ang="0">
                      <a:pos x="0" y="7"/>
                    </a:cxn>
                    <a:cxn ang="0">
                      <a:pos x="0" y="7"/>
                    </a:cxn>
                  </a:cxnLst>
                  <a:rect l="0" t="0" r="r" b="b"/>
                  <a:pathLst>
                    <a:path w="49" h="28">
                      <a:moveTo>
                        <a:pt x="0" y="7"/>
                      </a:moveTo>
                      <a:lnTo>
                        <a:pt x="0" y="7"/>
                      </a:lnTo>
                      <a:lnTo>
                        <a:pt x="4" y="4"/>
                      </a:lnTo>
                      <a:lnTo>
                        <a:pt x="7" y="2"/>
                      </a:lnTo>
                      <a:lnTo>
                        <a:pt x="18" y="0"/>
                      </a:lnTo>
                      <a:lnTo>
                        <a:pt x="28" y="0"/>
                      </a:lnTo>
                      <a:lnTo>
                        <a:pt x="35" y="2"/>
                      </a:lnTo>
                      <a:lnTo>
                        <a:pt x="35" y="2"/>
                      </a:lnTo>
                      <a:lnTo>
                        <a:pt x="44" y="14"/>
                      </a:lnTo>
                      <a:lnTo>
                        <a:pt x="49" y="21"/>
                      </a:lnTo>
                      <a:lnTo>
                        <a:pt x="49" y="25"/>
                      </a:lnTo>
                      <a:lnTo>
                        <a:pt x="47" y="28"/>
                      </a:lnTo>
                      <a:lnTo>
                        <a:pt x="47" y="28"/>
                      </a:lnTo>
                      <a:lnTo>
                        <a:pt x="46" y="28"/>
                      </a:lnTo>
                      <a:lnTo>
                        <a:pt x="42" y="28"/>
                      </a:lnTo>
                      <a:lnTo>
                        <a:pt x="34" y="26"/>
                      </a:lnTo>
                      <a:lnTo>
                        <a:pt x="13" y="18"/>
                      </a:lnTo>
                      <a:lnTo>
                        <a:pt x="13" y="18"/>
                      </a:lnTo>
                      <a:lnTo>
                        <a:pt x="0" y="12"/>
                      </a:lnTo>
                      <a:lnTo>
                        <a:pt x="0" y="9"/>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3" name="Freeform 1732">
                  <a:extLst>
                    <a:ext uri="{FF2B5EF4-FFF2-40B4-BE49-F238E27FC236}">
                      <a16:creationId xmlns:a16="http://schemas.microsoft.com/office/drawing/2014/main" id="{91BF1376-82E4-532E-0872-BD241C79F886}"/>
                    </a:ext>
                  </a:extLst>
                </p:cNvPr>
                <p:cNvSpPr>
                  <a:spLocks/>
                </p:cNvSpPr>
                <p:nvPr/>
              </p:nvSpPr>
              <p:spPr bwMode="auto">
                <a:xfrm>
                  <a:off x="2933072" y="2386800"/>
                  <a:ext cx="28192" cy="33478"/>
                </a:xfrm>
                <a:custGeom>
                  <a:avLst/>
                  <a:gdLst/>
                  <a:ahLst/>
                  <a:cxnLst>
                    <a:cxn ang="0">
                      <a:pos x="0" y="40"/>
                    </a:cxn>
                    <a:cxn ang="0">
                      <a:pos x="0" y="40"/>
                    </a:cxn>
                    <a:cxn ang="0">
                      <a:pos x="0" y="36"/>
                    </a:cxn>
                    <a:cxn ang="0">
                      <a:pos x="0" y="35"/>
                    </a:cxn>
                    <a:cxn ang="0">
                      <a:pos x="7" y="26"/>
                    </a:cxn>
                    <a:cxn ang="0">
                      <a:pos x="7" y="26"/>
                    </a:cxn>
                    <a:cxn ang="0">
                      <a:pos x="11" y="22"/>
                    </a:cxn>
                    <a:cxn ang="0">
                      <a:pos x="12" y="19"/>
                    </a:cxn>
                    <a:cxn ang="0">
                      <a:pos x="16" y="17"/>
                    </a:cxn>
                    <a:cxn ang="0">
                      <a:pos x="18" y="14"/>
                    </a:cxn>
                    <a:cxn ang="0">
                      <a:pos x="18" y="14"/>
                    </a:cxn>
                    <a:cxn ang="0">
                      <a:pos x="18" y="10"/>
                    </a:cxn>
                    <a:cxn ang="0">
                      <a:pos x="18" y="7"/>
                    </a:cxn>
                    <a:cxn ang="0">
                      <a:pos x="18" y="5"/>
                    </a:cxn>
                    <a:cxn ang="0">
                      <a:pos x="18" y="3"/>
                    </a:cxn>
                    <a:cxn ang="0">
                      <a:pos x="18" y="3"/>
                    </a:cxn>
                    <a:cxn ang="0">
                      <a:pos x="19" y="3"/>
                    </a:cxn>
                    <a:cxn ang="0">
                      <a:pos x="19" y="5"/>
                    </a:cxn>
                    <a:cxn ang="0">
                      <a:pos x="19" y="12"/>
                    </a:cxn>
                    <a:cxn ang="0">
                      <a:pos x="19" y="12"/>
                    </a:cxn>
                    <a:cxn ang="0">
                      <a:pos x="19" y="15"/>
                    </a:cxn>
                    <a:cxn ang="0">
                      <a:pos x="21" y="15"/>
                    </a:cxn>
                    <a:cxn ang="0">
                      <a:pos x="24" y="7"/>
                    </a:cxn>
                    <a:cxn ang="0">
                      <a:pos x="24" y="7"/>
                    </a:cxn>
                    <a:cxn ang="0">
                      <a:pos x="26" y="0"/>
                    </a:cxn>
                    <a:cxn ang="0">
                      <a:pos x="28" y="2"/>
                    </a:cxn>
                    <a:cxn ang="0">
                      <a:pos x="31" y="3"/>
                    </a:cxn>
                    <a:cxn ang="0">
                      <a:pos x="31" y="3"/>
                    </a:cxn>
                    <a:cxn ang="0">
                      <a:pos x="37" y="9"/>
                    </a:cxn>
                    <a:cxn ang="0">
                      <a:pos x="37" y="12"/>
                    </a:cxn>
                    <a:cxn ang="0">
                      <a:pos x="35" y="19"/>
                    </a:cxn>
                    <a:cxn ang="0">
                      <a:pos x="35" y="19"/>
                    </a:cxn>
                    <a:cxn ang="0">
                      <a:pos x="31" y="35"/>
                    </a:cxn>
                    <a:cxn ang="0">
                      <a:pos x="30" y="38"/>
                    </a:cxn>
                    <a:cxn ang="0">
                      <a:pos x="26" y="40"/>
                    </a:cxn>
                    <a:cxn ang="0">
                      <a:pos x="26" y="40"/>
                    </a:cxn>
                    <a:cxn ang="0">
                      <a:pos x="26" y="40"/>
                    </a:cxn>
                    <a:cxn ang="0">
                      <a:pos x="26" y="38"/>
                    </a:cxn>
                    <a:cxn ang="0">
                      <a:pos x="28" y="31"/>
                    </a:cxn>
                    <a:cxn ang="0">
                      <a:pos x="30" y="24"/>
                    </a:cxn>
                    <a:cxn ang="0">
                      <a:pos x="30" y="22"/>
                    </a:cxn>
                    <a:cxn ang="0">
                      <a:pos x="28" y="21"/>
                    </a:cxn>
                    <a:cxn ang="0">
                      <a:pos x="28" y="21"/>
                    </a:cxn>
                    <a:cxn ang="0">
                      <a:pos x="24" y="24"/>
                    </a:cxn>
                    <a:cxn ang="0">
                      <a:pos x="23" y="31"/>
                    </a:cxn>
                    <a:cxn ang="0">
                      <a:pos x="19" y="36"/>
                    </a:cxn>
                    <a:cxn ang="0">
                      <a:pos x="18" y="40"/>
                    </a:cxn>
                    <a:cxn ang="0">
                      <a:pos x="14" y="40"/>
                    </a:cxn>
                    <a:cxn ang="0">
                      <a:pos x="14" y="40"/>
                    </a:cxn>
                    <a:cxn ang="0">
                      <a:pos x="9" y="42"/>
                    </a:cxn>
                    <a:cxn ang="0">
                      <a:pos x="14" y="33"/>
                    </a:cxn>
                    <a:cxn ang="0">
                      <a:pos x="14" y="33"/>
                    </a:cxn>
                    <a:cxn ang="0">
                      <a:pos x="16" y="28"/>
                    </a:cxn>
                    <a:cxn ang="0">
                      <a:pos x="16" y="26"/>
                    </a:cxn>
                    <a:cxn ang="0">
                      <a:pos x="11" y="31"/>
                    </a:cxn>
                    <a:cxn ang="0">
                      <a:pos x="11" y="31"/>
                    </a:cxn>
                    <a:cxn ang="0">
                      <a:pos x="4" y="40"/>
                    </a:cxn>
                    <a:cxn ang="0">
                      <a:pos x="2" y="42"/>
                    </a:cxn>
                    <a:cxn ang="0">
                      <a:pos x="0" y="40"/>
                    </a:cxn>
                    <a:cxn ang="0">
                      <a:pos x="0" y="40"/>
                    </a:cxn>
                  </a:cxnLst>
                  <a:rect l="0" t="0" r="r" b="b"/>
                  <a:pathLst>
                    <a:path w="37" h="42">
                      <a:moveTo>
                        <a:pt x="0" y="40"/>
                      </a:moveTo>
                      <a:lnTo>
                        <a:pt x="0" y="40"/>
                      </a:lnTo>
                      <a:lnTo>
                        <a:pt x="0" y="36"/>
                      </a:lnTo>
                      <a:lnTo>
                        <a:pt x="0" y="35"/>
                      </a:lnTo>
                      <a:lnTo>
                        <a:pt x="7" y="26"/>
                      </a:lnTo>
                      <a:lnTo>
                        <a:pt x="7" y="26"/>
                      </a:lnTo>
                      <a:lnTo>
                        <a:pt x="11" y="22"/>
                      </a:lnTo>
                      <a:lnTo>
                        <a:pt x="12" y="19"/>
                      </a:lnTo>
                      <a:lnTo>
                        <a:pt x="16" y="17"/>
                      </a:lnTo>
                      <a:lnTo>
                        <a:pt x="18" y="14"/>
                      </a:lnTo>
                      <a:lnTo>
                        <a:pt x="18" y="14"/>
                      </a:lnTo>
                      <a:lnTo>
                        <a:pt x="18" y="10"/>
                      </a:lnTo>
                      <a:lnTo>
                        <a:pt x="18" y="7"/>
                      </a:lnTo>
                      <a:lnTo>
                        <a:pt x="18" y="5"/>
                      </a:lnTo>
                      <a:lnTo>
                        <a:pt x="18" y="3"/>
                      </a:lnTo>
                      <a:lnTo>
                        <a:pt x="18" y="3"/>
                      </a:lnTo>
                      <a:lnTo>
                        <a:pt x="19" y="3"/>
                      </a:lnTo>
                      <a:lnTo>
                        <a:pt x="19" y="5"/>
                      </a:lnTo>
                      <a:lnTo>
                        <a:pt x="19" y="12"/>
                      </a:lnTo>
                      <a:lnTo>
                        <a:pt x="19" y="12"/>
                      </a:lnTo>
                      <a:lnTo>
                        <a:pt x="19" y="15"/>
                      </a:lnTo>
                      <a:lnTo>
                        <a:pt x="21" y="15"/>
                      </a:lnTo>
                      <a:lnTo>
                        <a:pt x="24" y="7"/>
                      </a:lnTo>
                      <a:lnTo>
                        <a:pt x="24" y="7"/>
                      </a:lnTo>
                      <a:lnTo>
                        <a:pt x="26" y="0"/>
                      </a:lnTo>
                      <a:lnTo>
                        <a:pt x="28" y="2"/>
                      </a:lnTo>
                      <a:lnTo>
                        <a:pt x="31" y="3"/>
                      </a:lnTo>
                      <a:lnTo>
                        <a:pt x="31" y="3"/>
                      </a:lnTo>
                      <a:lnTo>
                        <a:pt x="37" y="9"/>
                      </a:lnTo>
                      <a:lnTo>
                        <a:pt x="37" y="12"/>
                      </a:lnTo>
                      <a:lnTo>
                        <a:pt x="35" y="19"/>
                      </a:lnTo>
                      <a:lnTo>
                        <a:pt x="35" y="19"/>
                      </a:lnTo>
                      <a:lnTo>
                        <a:pt x="31" y="35"/>
                      </a:lnTo>
                      <a:lnTo>
                        <a:pt x="30" y="38"/>
                      </a:lnTo>
                      <a:lnTo>
                        <a:pt x="26" y="40"/>
                      </a:lnTo>
                      <a:lnTo>
                        <a:pt x="26" y="40"/>
                      </a:lnTo>
                      <a:lnTo>
                        <a:pt x="26" y="40"/>
                      </a:lnTo>
                      <a:lnTo>
                        <a:pt x="26" y="38"/>
                      </a:lnTo>
                      <a:lnTo>
                        <a:pt x="28" y="31"/>
                      </a:lnTo>
                      <a:lnTo>
                        <a:pt x="30" y="24"/>
                      </a:lnTo>
                      <a:lnTo>
                        <a:pt x="30" y="22"/>
                      </a:lnTo>
                      <a:lnTo>
                        <a:pt x="28" y="21"/>
                      </a:lnTo>
                      <a:lnTo>
                        <a:pt x="28" y="21"/>
                      </a:lnTo>
                      <a:lnTo>
                        <a:pt x="24" y="24"/>
                      </a:lnTo>
                      <a:lnTo>
                        <a:pt x="23" y="31"/>
                      </a:lnTo>
                      <a:lnTo>
                        <a:pt x="19" y="36"/>
                      </a:lnTo>
                      <a:lnTo>
                        <a:pt x="18" y="40"/>
                      </a:lnTo>
                      <a:lnTo>
                        <a:pt x="14" y="40"/>
                      </a:lnTo>
                      <a:lnTo>
                        <a:pt x="14" y="40"/>
                      </a:lnTo>
                      <a:lnTo>
                        <a:pt x="9" y="42"/>
                      </a:lnTo>
                      <a:lnTo>
                        <a:pt x="14" y="33"/>
                      </a:lnTo>
                      <a:lnTo>
                        <a:pt x="14" y="33"/>
                      </a:lnTo>
                      <a:lnTo>
                        <a:pt x="16" y="28"/>
                      </a:lnTo>
                      <a:lnTo>
                        <a:pt x="16" y="26"/>
                      </a:lnTo>
                      <a:lnTo>
                        <a:pt x="11" y="31"/>
                      </a:lnTo>
                      <a:lnTo>
                        <a:pt x="11" y="31"/>
                      </a:lnTo>
                      <a:lnTo>
                        <a:pt x="4" y="40"/>
                      </a:lnTo>
                      <a:lnTo>
                        <a:pt x="2" y="42"/>
                      </a:lnTo>
                      <a:lnTo>
                        <a:pt x="0" y="40"/>
                      </a:lnTo>
                      <a:lnTo>
                        <a:pt x="0" y="4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4" name="Freeform 1733">
                  <a:extLst>
                    <a:ext uri="{FF2B5EF4-FFF2-40B4-BE49-F238E27FC236}">
                      <a16:creationId xmlns:a16="http://schemas.microsoft.com/office/drawing/2014/main" id="{13CFAB62-6490-9E44-F4B5-2503D9BE65F3}"/>
                    </a:ext>
                  </a:extLst>
                </p:cNvPr>
                <p:cNvSpPr>
                  <a:spLocks/>
                </p:cNvSpPr>
                <p:nvPr/>
              </p:nvSpPr>
              <p:spPr bwMode="auto">
                <a:xfrm>
                  <a:off x="5033376" y="1840578"/>
                  <a:ext cx="368258" cy="636083"/>
                </a:xfrm>
                <a:custGeom>
                  <a:avLst/>
                  <a:gdLst/>
                  <a:ahLst/>
                  <a:cxnLst>
                    <a:cxn ang="0">
                      <a:pos x="19" y="594"/>
                    </a:cxn>
                    <a:cxn ang="0">
                      <a:pos x="24" y="554"/>
                    </a:cxn>
                    <a:cxn ang="0">
                      <a:pos x="45" y="533"/>
                    </a:cxn>
                    <a:cxn ang="0">
                      <a:pos x="40" y="486"/>
                    </a:cxn>
                    <a:cxn ang="0">
                      <a:pos x="55" y="472"/>
                    </a:cxn>
                    <a:cxn ang="0">
                      <a:pos x="34" y="423"/>
                    </a:cxn>
                    <a:cxn ang="0">
                      <a:pos x="33" y="380"/>
                    </a:cxn>
                    <a:cxn ang="0">
                      <a:pos x="29" y="354"/>
                    </a:cxn>
                    <a:cxn ang="0">
                      <a:pos x="45" y="317"/>
                    </a:cxn>
                    <a:cxn ang="0">
                      <a:pos x="106" y="291"/>
                    </a:cxn>
                    <a:cxn ang="0">
                      <a:pos x="90" y="268"/>
                    </a:cxn>
                    <a:cxn ang="0">
                      <a:pos x="118" y="218"/>
                    </a:cxn>
                    <a:cxn ang="0">
                      <a:pos x="116" y="180"/>
                    </a:cxn>
                    <a:cxn ang="0">
                      <a:pos x="151" y="155"/>
                    </a:cxn>
                    <a:cxn ang="0">
                      <a:pos x="184" y="119"/>
                    </a:cxn>
                    <a:cxn ang="0">
                      <a:pos x="193" y="77"/>
                    </a:cxn>
                    <a:cxn ang="0">
                      <a:pos x="236" y="68"/>
                    </a:cxn>
                    <a:cxn ang="0">
                      <a:pos x="243" y="33"/>
                    </a:cxn>
                    <a:cxn ang="0">
                      <a:pos x="318" y="35"/>
                    </a:cxn>
                    <a:cxn ang="0">
                      <a:pos x="322" y="7"/>
                    </a:cxn>
                    <a:cxn ang="0">
                      <a:pos x="348" y="12"/>
                    </a:cxn>
                    <a:cxn ang="0">
                      <a:pos x="421" y="53"/>
                    </a:cxn>
                    <a:cxn ang="0">
                      <a:pos x="433" y="75"/>
                    </a:cxn>
                    <a:cxn ang="0">
                      <a:pos x="437" y="100"/>
                    </a:cxn>
                    <a:cxn ang="0">
                      <a:pos x="437" y="122"/>
                    </a:cxn>
                    <a:cxn ang="0">
                      <a:pos x="442" y="159"/>
                    </a:cxn>
                    <a:cxn ang="0">
                      <a:pos x="452" y="201"/>
                    </a:cxn>
                    <a:cxn ang="0">
                      <a:pos x="412" y="201"/>
                    </a:cxn>
                    <a:cxn ang="0">
                      <a:pos x="379" y="223"/>
                    </a:cxn>
                    <a:cxn ang="0">
                      <a:pos x="353" y="256"/>
                    </a:cxn>
                    <a:cxn ang="0">
                      <a:pos x="358" y="284"/>
                    </a:cxn>
                    <a:cxn ang="0">
                      <a:pos x="323" y="321"/>
                    </a:cxn>
                    <a:cxn ang="0">
                      <a:pos x="297" y="338"/>
                    </a:cxn>
                    <a:cxn ang="0">
                      <a:pos x="269" y="352"/>
                    </a:cxn>
                    <a:cxn ang="0">
                      <a:pos x="236" y="382"/>
                    </a:cxn>
                    <a:cxn ang="0">
                      <a:pos x="217" y="392"/>
                    </a:cxn>
                    <a:cxn ang="0">
                      <a:pos x="224" y="413"/>
                    </a:cxn>
                    <a:cxn ang="0">
                      <a:pos x="212" y="453"/>
                    </a:cxn>
                    <a:cxn ang="0">
                      <a:pos x="226" y="502"/>
                    </a:cxn>
                    <a:cxn ang="0">
                      <a:pos x="256" y="517"/>
                    </a:cxn>
                    <a:cxn ang="0">
                      <a:pos x="278" y="545"/>
                    </a:cxn>
                    <a:cxn ang="0">
                      <a:pos x="224" y="563"/>
                    </a:cxn>
                    <a:cxn ang="0">
                      <a:pos x="184" y="564"/>
                    </a:cxn>
                    <a:cxn ang="0">
                      <a:pos x="236" y="577"/>
                    </a:cxn>
                    <a:cxn ang="0">
                      <a:pos x="256" y="582"/>
                    </a:cxn>
                    <a:cxn ang="0">
                      <a:pos x="236" y="599"/>
                    </a:cxn>
                    <a:cxn ang="0">
                      <a:pos x="200" y="615"/>
                    </a:cxn>
                    <a:cxn ang="0">
                      <a:pos x="196" y="631"/>
                    </a:cxn>
                    <a:cxn ang="0">
                      <a:pos x="191" y="669"/>
                    </a:cxn>
                    <a:cxn ang="0">
                      <a:pos x="177" y="726"/>
                    </a:cxn>
                    <a:cxn ang="0">
                      <a:pos x="134" y="749"/>
                    </a:cxn>
                    <a:cxn ang="0">
                      <a:pos x="111" y="773"/>
                    </a:cxn>
                    <a:cxn ang="0">
                      <a:pos x="61" y="789"/>
                    </a:cxn>
                    <a:cxn ang="0">
                      <a:pos x="52" y="744"/>
                    </a:cxn>
                    <a:cxn ang="0">
                      <a:pos x="62" y="725"/>
                    </a:cxn>
                    <a:cxn ang="0">
                      <a:pos x="22" y="658"/>
                    </a:cxn>
                    <a:cxn ang="0">
                      <a:pos x="12" y="636"/>
                    </a:cxn>
                    <a:cxn ang="0">
                      <a:pos x="0" y="596"/>
                    </a:cxn>
                  </a:cxnLst>
                  <a:rect l="0" t="0" r="r" b="b"/>
                  <a:pathLst>
                    <a:path w="458" h="794">
                      <a:moveTo>
                        <a:pt x="3" y="587"/>
                      </a:moveTo>
                      <a:lnTo>
                        <a:pt x="3" y="587"/>
                      </a:lnTo>
                      <a:lnTo>
                        <a:pt x="5" y="587"/>
                      </a:lnTo>
                      <a:lnTo>
                        <a:pt x="7" y="589"/>
                      </a:lnTo>
                      <a:lnTo>
                        <a:pt x="10" y="598"/>
                      </a:lnTo>
                      <a:lnTo>
                        <a:pt x="10" y="598"/>
                      </a:lnTo>
                      <a:lnTo>
                        <a:pt x="12" y="599"/>
                      </a:lnTo>
                      <a:lnTo>
                        <a:pt x="14" y="599"/>
                      </a:lnTo>
                      <a:lnTo>
                        <a:pt x="17" y="598"/>
                      </a:lnTo>
                      <a:lnTo>
                        <a:pt x="19" y="594"/>
                      </a:lnTo>
                      <a:lnTo>
                        <a:pt x="21" y="589"/>
                      </a:lnTo>
                      <a:lnTo>
                        <a:pt x="22" y="584"/>
                      </a:lnTo>
                      <a:lnTo>
                        <a:pt x="21" y="577"/>
                      </a:lnTo>
                      <a:lnTo>
                        <a:pt x="19" y="570"/>
                      </a:lnTo>
                      <a:lnTo>
                        <a:pt x="19" y="570"/>
                      </a:lnTo>
                      <a:lnTo>
                        <a:pt x="17" y="564"/>
                      </a:lnTo>
                      <a:lnTo>
                        <a:pt x="17" y="561"/>
                      </a:lnTo>
                      <a:lnTo>
                        <a:pt x="19" y="559"/>
                      </a:lnTo>
                      <a:lnTo>
                        <a:pt x="21" y="557"/>
                      </a:lnTo>
                      <a:lnTo>
                        <a:pt x="24" y="554"/>
                      </a:lnTo>
                      <a:lnTo>
                        <a:pt x="24" y="550"/>
                      </a:lnTo>
                      <a:lnTo>
                        <a:pt x="24" y="547"/>
                      </a:lnTo>
                      <a:lnTo>
                        <a:pt x="24" y="547"/>
                      </a:lnTo>
                      <a:lnTo>
                        <a:pt x="24" y="544"/>
                      </a:lnTo>
                      <a:lnTo>
                        <a:pt x="27" y="544"/>
                      </a:lnTo>
                      <a:lnTo>
                        <a:pt x="34" y="542"/>
                      </a:lnTo>
                      <a:lnTo>
                        <a:pt x="38" y="540"/>
                      </a:lnTo>
                      <a:lnTo>
                        <a:pt x="41" y="537"/>
                      </a:lnTo>
                      <a:lnTo>
                        <a:pt x="41" y="537"/>
                      </a:lnTo>
                      <a:lnTo>
                        <a:pt x="45" y="533"/>
                      </a:lnTo>
                      <a:lnTo>
                        <a:pt x="47" y="530"/>
                      </a:lnTo>
                      <a:lnTo>
                        <a:pt x="47" y="526"/>
                      </a:lnTo>
                      <a:lnTo>
                        <a:pt x="45" y="521"/>
                      </a:lnTo>
                      <a:lnTo>
                        <a:pt x="47" y="519"/>
                      </a:lnTo>
                      <a:lnTo>
                        <a:pt x="48" y="516"/>
                      </a:lnTo>
                      <a:lnTo>
                        <a:pt x="48" y="516"/>
                      </a:lnTo>
                      <a:lnTo>
                        <a:pt x="50" y="512"/>
                      </a:lnTo>
                      <a:lnTo>
                        <a:pt x="50" y="507"/>
                      </a:lnTo>
                      <a:lnTo>
                        <a:pt x="45" y="497"/>
                      </a:lnTo>
                      <a:lnTo>
                        <a:pt x="40" y="486"/>
                      </a:lnTo>
                      <a:lnTo>
                        <a:pt x="38" y="483"/>
                      </a:lnTo>
                      <a:lnTo>
                        <a:pt x="38" y="479"/>
                      </a:lnTo>
                      <a:lnTo>
                        <a:pt x="38" y="479"/>
                      </a:lnTo>
                      <a:lnTo>
                        <a:pt x="40" y="477"/>
                      </a:lnTo>
                      <a:lnTo>
                        <a:pt x="41" y="477"/>
                      </a:lnTo>
                      <a:lnTo>
                        <a:pt x="47" y="476"/>
                      </a:lnTo>
                      <a:lnTo>
                        <a:pt x="50" y="476"/>
                      </a:lnTo>
                      <a:lnTo>
                        <a:pt x="54" y="474"/>
                      </a:lnTo>
                      <a:lnTo>
                        <a:pt x="55" y="472"/>
                      </a:lnTo>
                      <a:lnTo>
                        <a:pt x="55" y="472"/>
                      </a:lnTo>
                      <a:lnTo>
                        <a:pt x="59" y="465"/>
                      </a:lnTo>
                      <a:lnTo>
                        <a:pt x="59" y="460"/>
                      </a:lnTo>
                      <a:lnTo>
                        <a:pt x="59" y="456"/>
                      </a:lnTo>
                      <a:lnTo>
                        <a:pt x="55" y="455"/>
                      </a:lnTo>
                      <a:lnTo>
                        <a:pt x="47" y="448"/>
                      </a:lnTo>
                      <a:lnTo>
                        <a:pt x="47" y="448"/>
                      </a:lnTo>
                      <a:lnTo>
                        <a:pt x="38" y="443"/>
                      </a:lnTo>
                      <a:lnTo>
                        <a:pt x="34" y="436"/>
                      </a:lnTo>
                      <a:lnTo>
                        <a:pt x="34" y="430"/>
                      </a:lnTo>
                      <a:lnTo>
                        <a:pt x="34" y="423"/>
                      </a:lnTo>
                      <a:lnTo>
                        <a:pt x="40" y="411"/>
                      </a:lnTo>
                      <a:lnTo>
                        <a:pt x="40" y="404"/>
                      </a:lnTo>
                      <a:lnTo>
                        <a:pt x="36" y="397"/>
                      </a:lnTo>
                      <a:lnTo>
                        <a:pt x="36" y="397"/>
                      </a:lnTo>
                      <a:lnTo>
                        <a:pt x="33" y="392"/>
                      </a:lnTo>
                      <a:lnTo>
                        <a:pt x="31" y="389"/>
                      </a:lnTo>
                      <a:lnTo>
                        <a:pt x="31" y="387"/>
                      </a:lnTo>
                      <a:lnTo>
                        <a:pt x="31" y="383"/>
                      </a:lnTo>
                      <a:lnTo>
                        <a:pt x="33" y="382"/>
                      </a:lnTo>
                      <a:lnTo>
                        <a:pt x="33" y="380"/>
                      </a:lnTo>
                      <a:lnTo>
                        <a:pt x="33" y="376"/>
                      </a:lnTo>
                      <a:lnTo>
                        <a:pt x="33" y="376"/>
                      </a:lnTo>
                      <a:lnTo>
                        <a:pt x="31" y="375"/>
                      </a:lnTo>
                      <a:lnTo>
                        <a:pt x="31" y="371"/>
                      </a:lnTo>
                      <a:lnTo>
                        <a:pt x="33" y="368"/>
                      </a:lnTo>
                      <a:lnTo>
                        <a:pt x="36" y="362"/>
                      </a:lnTo>
                      <a:lnTo>
                        <a:pt x="34" y="361"/>
                      </a:lnTo>
                      <a:lnTo>
                        <a:pt x="33" y="359"/>
                      </a:lnTo>
                      <a:lnTo>
                        <a:pt x="33" y="359"/>
                      </a:lnTo>
                      <a:lnTo>
                        <a:pt x="29" y="354"/>
                      </a:lnTo>
                      <a:lnTo>
                        <a:pt x="27" y="350"/>
                      </a:lnTo>
                      <a:lnTo>
                        <a:pt x="29" y="347"/>
                      </a:lnTo>
                      <a:lnTo>
                        <a:pt x="31" y="343"/>
                      </a:lnTo>
                      <a:lnTo>
                        <a:pt x="36" y="338"/>
                      </a:lnTo>
                      <a:lnTo>
                        <a:pt x="36" y="336"/>
                      </a:lnTo>
                      <a:lnTo>
                        <a:pt x="34" y="333"/>
                      </a:lnTo>
                      <a:lnTo>
                        <a:pt x="34" y="333"/>
                      </a:lnTo>
                      <a:lnTo>
                        <a:pt x="34" y="329"/>
                      </a:lnTo>
                      <a:lnTo>
                        <a:pt x="36" y="326"/>
                      </a:lnTo>
                      <a:lnTo>
                        <a:pt x="45" y="317"/>
                      </a:lnTo>
                      <a:lnTo>
                        <a:pt x="57" y="308"/>
                      </a:lnTo>
                      <a:lnTo>
                        <a:pt x="69" y="302"/>
                      </a:lnTo>
                      <a:lnTo>
                        <a:pt x="69" y="302"/>
                      </a:lnTo>
                      <a:lnTo>
                        <a:pt x="73" y="300"/>
                      </a:lnTo>
                      <a:lnTo>
                        <a:pt x="78" y="300"/>
                      </a:lnTo>
                      <a:lnTo>
                        <a:pt x="88" y="303"/>
                      </a:lnTo>
                      <a:lnTo>
                        <a:pt x="94" y="303"/>
                      </a:lnTo>
                      <a:lnTo>
                        <a:pt x="99" y="303"/>
                      </a:lnTo>
                      <a:lnTo>
                        <a:pt x="102" y="298"/>
                      </a:lnTo>
                      <a:lnTo>
                        <a:pt x="106" y="291"/>
                      </a:lnTo>
                      <a:lnTo>
                        <a:pt x="106" y="291"/>
                      </a:lnTo>
                      <a:lnTo>
                        <a:pt x="106" y="286"/>
                      </a:lnTo>
                      <a:lnTo>
                        <a:pt x="106" y="282"/>
                      </a:lnTo>
                      <a:lnTo>
                        <a:pt x="104" y="281"/>
                      </a:lnTo>
                      <a:lnTo>
                        <a:pt x="102" y="279"/>
                      </a:lnTo>
                      <a:lnTo>
                        <a:pt x="97" y="277"/>
                      </a:lnTo>
                      <a:lnTo>
                        <a:pt x="90" y="274"/>
                      </a:lnTo>
                      <a:lnTo>
                        <a:pt x="90" y="274"/>
                      </a:lnTo>
                      <a:lnTo>
                        <a:pt x="88" y="272"/>
                      </a:lnTo>
                      <a:lnTo>
                        <a:pt x="90" y="268"/>
                      </a:lnTo>
                      <a:lnTo>
                        <a:pt x="97" y="256"/>
                      </a:lnTo>
                      <a:lnTo>
                        <a:pt x="106" y="246"/>
                      </a:lnTo>
                      <a:lnTo>
                        <a:pt x="109" y="241"/>
                      </a:lnTo>
                      <a:lnTo>
                        <a:pt x="111" y="237"/>
                      </a:lnTo>
                      <a:lnTo>
                        <a:pt x="111" y="237"/>
                      </a:lnTo>
                      <a:lnTo>
                        <a:pt x="113" y="232"/>
                      </a:lnTo>
                      <a:lnTo>
                        <a:pt x="116" y="228"/>
                      </a:lnTo>
                      <a:lnTo>
                        <a:pt x="118" y="227"/>
                      </a:lnTo>
                      <a:lnTo>
                        <a:pt x="118" y="218"/>
                      </a:lnTo>
                      <a:lnTo>
                        <a:pt x="118" y="218"/>
                      </a:lnTo>
                      <a:lnTo>
                        <a:pt x="116" y="213"/>
                      </a:lnTo>
                      <a:lnTo>
                        <a:pt x="118" y="209"/>
                      </a:lnTo>
                      <a:lnTo>
                        <a:pt x="120" y="204"/>
                      </a:lnTo>
                      <a:lnTo>
                        <a:pt x="121" y="201"/>
                      </a:lnTo>
                      <a:lnTo>
                        <a:pt x="120" y="195"/>
                      </a:lnTo>
                      <a:lnTo>
                        <a:pt x="120" y="190"/>
                      </a:lnTo>
                      <a:lnTo>
                        <a:pt x="116" y="181"/>
                      </a:lnTo>
                      <a:lnTo>
                        <a:pt x="116" y="181"/>
                      </a:lnTo>
                      <a:lnTo>
                        <a:pt x="116" y="181"/>
                      </a:lnTo>
                      <a:lnTo>
                        <a:pt x="116" y="180"/>
                      </a:lnTo>
                      <a:lnTo>
                        <a:pt x="121" y="178"/>
                      </a:lnTo>
                      <a:lnTo>
                        <a:pt x="135" y="176"/>
                      </a:lnTo>
                      <a:lnTo>
                        <a:pt x="142" y="174"/>
                      </a:lnTo>
                      <a:lnTo>
                        <a:pt x="148" y="173"/>
                      </a:lnTo>
                      <a:lnTo>
                        <a:pt x="151" y="169"/>
                      </a:lnTo>
                      <a:lnTo>
                        <a:pt x="151" y="167"/>
                      </a:lnTo>
                      <a:lnTo>
                        <a:pt x="149" y="164"/>
                      </a:lnTo>
                      <a:lnTo>
                        <a:pt x="149" y="164"/>
                      </a:lnTo>
                      <a:lnTo>
                        <a:pt x="148" y="159"/>
                      </a:lnTo>
                      <a:lnTo>
                        <a:pt x="151" y="155"/>
                      </a:lnTo>
                      <a:lnTo>
                        <a:pt x="156" y="152"/>
                      </a:lnTo>
                      <a:lnTo>
                        <a:pt x="160" y="148"/>
                      </a:lnTo>
                      <a:lnTo>
                        <a:pt x="163" y="143"/>
                      </a:lnTo>
                      <a:lnTo>
                        <a:pt x="163" y="143"/>
                      </a:lnTo>
                      <a:lnTo>
                        <a:pt x="170" y="134"/>
                      </a:lnTo>
                      <a:lnTo>
                        <a:pt x="175" y="131"/>
                      </a:lnTo>
                      <a:lnTo>
                        <a:pt x="181" y="127"/>
                      </a:lnTo>
                      <a:lnTo>
                        <a:pt x="184" y="122"/>
                      </a:lnTo>
                      <a:lnTo>
                        <a:pt x="184" y="122"/>
                      </a:lnTo>
                      <a:lnTo>
                        <a:pt x="184" y="119"/>
                      </a:lnTo>
                      <a:lnTo>
                        <a:pt x="184" y="115"/>
                      </a:lnTo>
                      <a:lnTo>
                        <a:pt x="179" y="110"/>
                      </a:lnTo>
                      <a:lnTo>
                        <a:pt x="174" y="105"/>
                      </a:lnTo>
                      <a:lnTo>
                        <a:pt x="172" y="103"/>
                      </a:lnTo>
                      <a:lnTo>
                        <a:pt x="174" y="101"/>
                      </a:lnTo>
                      <a:lnTo>
                        <a:pt x="174" y="101"/>
                      </a:lnTo>
                      <a:lnTo>
                        <a:pt x="175" y="98"/>
                      </a:lnTo>
                      <a:lnTo>
                        <a:pt x="179" y="96"/>
                      </a:lnTo>
                      <a:lnTo>
                        <a:pt x="186" y="89"/>
                      </a:lnTo>
                      <a:lnTo>
                        <a:pt x="193" y="77"/>
                      </a:lnTo>
                      <a:lnTo>
                        <a:pt x="193" y="77"/>
                      </a:lnTo>
                      <a:lnTo>
                        <a:pt x="196" y="70"/>
                      </a:lnTo>
                      <a:lnTo>
                        <a:pt x="202" y="66"/>
                      </a:lnTo>
                      <a:lnTo>
                        <a:pt x="214" y="60"/>
                      </a:lnTo>
                      <a:lnTo>
                        <a:pt x="214" y="60"/>
                      </a:lnTo>
                      <a:lnTo>
                        <a:pt x="216" y="60"/>
                      </a:lnTo>
                      <a:lnTo>
                        <a:pt x="219" y="60"/>
                      </a:lnTo>
                      <a:lnTo>
                        <a:pt x="226" y="63"/>
                      </a:lnTo>
                      <a:lnTo>
                        <a:pt x="233" y="66"/>
                      </a:lnTo>
                      <a:lnTo>
                        <a:pt x="236" y="68"/>
                      </a:lnTo>
                      <a:lnTo>
                        <a:pt x="238" y="66"/>
                      </a:lnTo>
                      <a:lnTo>
                        <a:pt x="238" y="66"/>
                      </a:lnTo>
                      <a:lnTo>
                        <a:pt x="243" y="63"/>
                      </a:lnTo>
                      <a:lnTo>
                        <a:pt x="245" y="58"/>
                      </a:lnTo>
                      <a:lnTo>
                        <a:pt x="245" y="53"/>
                      </a:lnTo>
                      <a:lnTo>
                        <a:pt x="243" y="49"/>
                      </a:lnTo>
                      <a:lnTo>
                        <a:pt x="242" y="39"/>
                      </a:lnTo>
                      <a:lnTo>
                        <a:pt x="242" y="35"/>
                      </a:lnTo>
                      <a:lnTo>
                        <a:pt x="243" y="33"/>
                      </a:lnTo>
                      <a:lnTo>
                        <a:pt x="243" y="33"/>
                      </a:lnTo>
                      <a:lnTo>
                        <a:pt x="250" y="32"/>
                      </a:lnTo>
                      <a:lnTo>
                        <a:pt x="259" y="32"/>
                      </a:lnTo>
                      <a:lnTo>
                        <a:pt x="268" y="33"/>
                      </a:lnTo>
                      <a:lnTo>
                        <a:pt x="278" y="37"/>
                      </a:lnTo>
                      <a:lnTo>
                        <a:pt x="297" y="44"/>
                      </a:lnTo>
                      <a:lnTo>
                        <a:pt x="306" y="44"/>
                      </a:lnTo>
                      <a:lnTo>
                        <a:pt x="313" y="42"/>
                      </a:lnTo>
                      <a:lnTo>
                        <a:pt x="313" y="42"/>
                      </a:lnTo>
                      <a:lnTo>
                        <a:pt x="318" y="39"/>
                      </a:lnTo>
                      <a:lnTo>
                        <a:pt x="318" y="35"/>
                      </a:lnTo>
                      <a:lnTo>
                        <a:pt x="317" y="35"/>
                      </a:lnTo>
                      <a:lnTo>
                        <a:pt x="315" y="33"/>
                      </a:lnTo>
                      <a:lnTo>
                        <a:pt x="311" y="33"/>
                      </a:lnTo>
                      <a:lnTo>
                        <a:pt x="311" y="32"/>
                      </a:lnTo>
                      <a:lnTo>
                        <a:pt x="311" y="28"/>
                      </a:lnTo>
                      <a:lnTo>
                        <a:pt x="317" y="23"/>
                      </a:lnTo>
                      <a:lnTo>
                        <a:pt x="317" y="23"/>
                      </a:lnTo>
                      <a:lnTo>
                        <a:pt x="322" y="16"/>
                      </a:lnTo>
                      <a:lnTo>
                        <a:pt x="323" y="12"/>
                      </a:lnTo>
                      <a:lnTo>
                        <a:pt x="322" y="7"/>
                      </a:lnTo>
                      <a:lnTo>
                        <a:pt x="320" y="6"/>
                      </a:lnTo>
                      <a:lnTo>
                        <a:pt x="318" y="2"/>
                      </a:lnTo>
                      <a:lnTo>
                        <a:pt x="318" y="0"/>
                      </a:lnTo>
                      <a:lnTo>
                        <a:pt x="332" y="0"/>
                      </a:lnTo>
                      <a:lnTo>
                        <a:pt x="332" y="0"/>
                      </a:lnTo>
                      <a:lnTo>
                        <a:pt x="339" y="2"/>
                      </a:lnTo>
                      <a:lnTo>
                        <a:pt x="339" y="4"/>
                      </a:lnTo>
                      <a:lnTo>
                        <a:pt x="339" y="6"/>
                      </a:lnTo>
                      <a:lnTo>
                        <a:pt x="339" y="7"/>
                      </a:lnTo>
                      <a:lnTo>
                        <a:pt x="348" y="12"/>
                      </a:lnTo>
                      <a:lnTo>
                        <a:pt x="348" y="12"/>
                      </a:lnTo>
                      <a:lnTo>
                        <a:pt x="374" y="30"/>
                      </a:lnTo>
                      <a:lnTo>
                        <a:pt x="386" y="37"/>
                      </a:lnTo>
                      <a:lnTo>
                        <a:pt x="391" y="39"/>
                      </a:lnTo>
                      <a:lnTo>
                        <a:pt x="397" y="39"/>
                      </a:lnTo>
                      <a:lnTo>
                        <a:pt x="397" y="39"/>
                      </a:lnTo>
                      <a:lnTo>
                        <a:pt x="407" y="40"/>
                      </a:lnTo>
                      <a:lnTo>
                        <a:pt x="414" y="44"/>
                      </a:lnTo>
                      <a:lnTo>
                        <a:pt x="419" y="49"/>
                      </a:lnTo>
                      <a:lnTo>
                        <a:pt x="421" y="53"/>
                      </a:lnTo>
                      <a:lnTo>
                        <a:pt x="421" y="53"/>
                      </a:lnTo>
                      <a:lnTo>
                        <a:pt x="419" y="54"/>
                      </a:lnTo>
                      <a:lnTo>
                        <a:pt x="423" y="54"/>
                      </a:lnTo>
                      <a:lnTo>
                        <a:pt x="428" y="58"/>
                      </a:lnTo>
                      <a:lnTo>
                        <a:pt x="428" y="58"/>
                      </a:lnTo>
                      <a:lnTo>
                        <a:pt x="438" y="66"/>
                      </a:lnTo>
                      <a:lnTo>
                        <a:pt x="438" y="68"/>
                      </a:lnTo>
                      <a:lnTo>
                        <a:pt x="438" y="70"/>
                      </a:lnTo>
                      <a:lnTo>
                        <a:pt x="433" y="73"/>
                      </a:lnTo>
                      <a:lnTo>
                        <a:pt x="433" y="75"/>
                      </a:lnTo>
                      <a:lnTo>
                        <a:pt x="433" y="80"/>
                      </a:lnTo>
                      <a:lnTo>
                        <a:pt x="433" y="80"/>
                      </a:lnTo>
                      <a:lnTo>
                        <a:pt x="435" y="91"/>
                      </a:lnTo>
                      <a:lnTo>
                        <a:pt x="433" y="93"/>
                      </a:lnTo>
                      <a:lnTo>
                        <a:pt x="431" y="94"/>
                      </a:lnTo>
                      <a:lnTo>
                        <a:pt x="431" y="98"/>
                      </a:lnTo>
                      <a:lnTo>
                        <a:pt x="431" y="98"/>
                      </a:lnTo>
                      <a:lnTo>
                        <a:pt x="431" y="100"/>
                      </a:lnTo>
                      <a:lnTo>
                        <a:pt x="433" y="100"/>
                      </a:lnTo>
                      <a:lnTo>
                        <a:pt x="437" y="100"/>
                      </a:lnTo>
                      <a:lnTo>
                        <a:pt x="440" y="100"/>
                      </a:lnTo>
                      <a:lnTo>
                        <a:pt x="442" y="100"/>
                      </a:lnTo>
                      <a:lnTo>
                        <a:pt x="444" y="101"/>
                      </a:lnTo>
                      <a:lnTo>
                        <a:pt x="444" y="101"/>
                      </a:lnTo>
                      <a:lnTo>
                        <a:pt x="442" y="105"/>
                      </a:lnTo>
                      <a:lnTo>
                        <a:pt x="438" y="108"/>
                      </a:lnTo>
                      <a:lnTo>
                        <a:pt x="437" y="113"/>
                      </a:lnTo>
                      <a:lnTo>
                        <a:pt x="437" y="119"/>
                      </a:lnTo>
                      <a:lnTo>
                        <a:pt x="437" y="119"/>
                      </a:lnTo>
                      <a:lnTo>
                        <a:pt x="437" y="122"/>
                      </a:lnTo>
                      <a:lnTo>
                        <a:pt x="440" y="126"/>
                      </a:lnTo>
                      <a:lnTo>
                        <a:pt x="445" y="131"/>
                      </a:lnTo>
                      <a:lnTo>
                        <a:pt x="449" y="134"/>
                      </a:lnTo>
                      <a:lnTo>
                        <a:pt x="451" y="138"/>
                      </a:lnTo>
                      <a:lnTo>
                        <a:pt x="449" y="140"/>
                      </a:lnTo>
                      <a:lnTo>
                        <a:pt x="449" y="140"/>
                      </a:lnTo>
                      <a:lnTo>
                        <a:pt x="447" y="145"/>
                      </a:lnTo>
                      <a:lnTo>
                        <a:pt x="447" y="148"/>
                      </a:lnTo>
                      <a:lnTo>
                        <a:pt x="447" y="152"/>
                      </a:lnTo>
                      <a:lnTo>
                        <a:pt x="442" y="159"/>
                      </a:lnTo>
                      <a:lnTo>
                        <a:pt x="442" y="159"/>
                      </a:lnTo>
                      <a:lnTo>
                        <a:pt x="438" y="164"/>
                      </a:lnTo>
                      <a:lnTo>
                        <a:pt x="438" y="167"/>
                      </a:lnTo>
                      <a:lnTo>
                        <a:pt x="440" y="173"/>
                      </a:lnTo>
                      <a:lnTo>
                        <a:pt x="444" y="178"/>
                      </a:lnTo>
                      <a:lnTo>
                        <a:pt x="451" y="188"/>
                      </a:lnTo>
                      <a:lnTo>
                        <a:pt x="454" y="194"/>
                      </a:lnTo>
                      <a:lnTo>
                        <a:pt x="458" y="199"/>
                      </a:lnTo>
                      <a:lnTo>
                        <a:pt x="458" y="199"/>
                      </a:lnTo>
                      <a:lnTo>
                        <a:pt x="452" y="201"/>
                      </a:lnTo>
                      <a:lnTo>
                        <a:pt x="449" y="201"/>
                      </a:lnTo>
                      <a:lnTo>
                        <a:pt x="440" y="201"/>
                      </a:lnTo>
                      <a:lnTo>
                        <a:pt x="433" y="199"/>
                      </a:lnTo>
                      <a:lnTo>
                        <a:pt x="428" y="201"/>
                      </a:lnTo>
                      <a:lnTo>
                        <a:pt x="423" y="202"/>
                      </a:lnTo>
                      <a:lnTo>
                        <a:pt x="423" y="202"/>
                      </a:lnTo>
                      <a:lnTo>
                        <a:pt x="419" y="204"/>
                      </a:lnTo>
                      <a:lnTo>
                        <a:pt x="416" y="204"/>
                      </a:lnTo>
                      <a:lnTo>
                        <a:pt x="414" y="202"/>
                      </a:lnTo>
                      <a:lnTo>
                        <a:pt x="412" y="201"/>
                      </a:lnTo>
                      <a:lnTo>
                        <a:pt x="411" y="197"/>
                      </a:lnTo>
                      <a:lnTo>
                        <a:pt x="409" y="195"/>
                      </a:lnTo>
                      <a:lnTo>
                        <a:pt x="405" y="197"/>
                      </a:lnTo>
                      <a:lnTo>
                        <a:pt x="405" y="197"/>
                      </a:lnTo>
                      <a:lnTo>
                        <a:pt x="390" y="209"/>
                      </a:lnTo>
                      <a:lnTo>
                        <a:pt x="384" y="214"/>
                      </a:lnTo>
                      <a:lnTo>
                        <a:pt x="381" y="220"/>
                      </a:lnTo>
                      <a:lnTo>
                        <a:pt x="381" y="220"/>
                      </a:lnTo>
                      <a:lnTo>
                        <a:pt x="381" y="221"/>
                      </a:lnTo>
                      <a:lnTo>
                        <a:pt x="379" y="223"/>
                      </a:lnTo>
                      <a:lnTo>
                        <a:pt x="374" y="223"/>
                      </a:lnTo>
                      <a:lnTo>
                        <a:pt x="370" y="225"/>
                      </a:lnTo>
                      <a:lnTo>
                        <a:pt x="369" y="227"/>
                      </a:lnTo>
                      <a:lnTo>
                        <a:pt x="367" y="230"/>
                      </a:lnTo>
                      <a:lnTo>
                        <a:pt x="365" y="235"/>
                      </a:lnTo>
                      <a:lnTo>
                        <a:pt x="365" y="235"/>
                      </a:lnTo>
                      <a:lnTo>
                        <a:pt x="364" y="241"/>
                      </a:lnTo>
                      <a:lnTo>
                        <a:pt x="362" y="246"/>
                      </a:lnTo>
                      <a:lnTo>
                        <a:pt x="357" y="251"/>
                      </a:lnTo>
                      <a:lnTo>
                        <a:pt x="353" y="256"/>
                      </a:lnTo>
                      <a:lnTo>
                        <a:pt x="351" y="260"/>
                      </a:lnTo>
                      <a:lnTo>
                        <a:pt x="353" y="263"/>
                      </a:lnTo>
                      <a:lnTo>
                        <a:pt x="353" y="263"/>
                      </a:lnTo>
                      <a:lnTo>
                        <a:pt x="355" y="268"/>
                      </a:lnTo>
                      <a:lnTo>
                        <a:pt x="358" y="272"/>
                      </a:lnTo>
                      <a:lnTo>
                        <a:pt x="364" y="275"/>
                      </a:lnTo>
                      <a:lnTo>
                        <a:pt x="365" y="277"/>
                      </a:lnTo>
                      <a:lnTo>
                        <a:pt x="365" y="279"/>
                      </a:lnTo>
                      <a:lnTo>
                        <a:pt x="364" y="281"/>
                      </a:lnTo>
                      <a:lnTo>
                        <a:pt x="358" y="284"/>
                      </a:lnTo>
                      <a:lnTo>
                        <a:pt x="358" y="284"/>
                      </a:lnTo>
                      <a:lnTo>
                        <a:pt x="351" y="291"/>
                      </a:lnTo>
                      <a:lnTo>
                        <a:pt x="346" y="296"/>
                      </a:lnTo>
                      <a:lnTo>
                        <a:pt x="339" y="308"/>
                      </a:lnTo>
                      <a:lnTo>
                        <a:pt x="336" y="317"/>
                      </a:lnTo>
                      <a:lnTo>
                        <a:pt x="332" y="319"/>
                      </a:lnTo>
                      <a:lnTo>
                        <a:pt x="329" y="319"/>
                      </a:lnTo>
                      <a:lnTo>
                        <a:pt x="329" y="319"/>
                      </a:lnTo>
                      <a:lnTo>
                        <a:pt x="325" y="321"/>
                      </a:lnTo>
                      <a:lnTo>
                        <a:pt x="323" y="321"/>
                      </a:lnTo>
                      <a:lnTo>
                        <a:pt x="322" y="324"/>
                      </a:lnTo>
                      <a:lnTo>
                        <a:pt x="318" y="328"/>
                      </a:lnTo>
                      <a:lnTo>
                        <a:pt x="317" y="329"/>
                      </a:lnTo>
                      <a:lnTo>
                        <a:pt x="313" y="329"/>
                      </a:lnTo>
                      <a:lnTo>
                        <a:pt x="313" y="329"/>
                      </a:lnTo>
                      <a:lnTo>
                        <a:pt x="310" y="329"/>
                      </a:lnTo>
                      <a:lnTo>
                        <a:pt x="308" y="329"/>
                      </a:lnTo>
                      <a:lnTo>
                        <a:pt x="304" y="333"/>
                      </a:lnTo>
                      <a:lnTo>
                        <a:pt x="301" y="336"/>
                      </a:lnTo>
                      <a:lnTo>
                        <a:pt x="297" y="338"/>
                      </a:lnTo>
                      <a:lnTo>
                        <a:pt x="292" y="338"/>
                      </a:lnTo>
                      <a:lnTo>
                        <a:pt x="292" y="338"/>
                      </a:lnTo>
                      <a:lnTo>
                        <a:pt x="289" y="338"/>
                      </a:lnTo>
                      <a:lnTo>
                        <a:pt x="285" y="342"/>
                      </a:lnTo>
                      <a:lnTo>
                        <a:pt x="282" y="349"/>
                      </a:lnTo>
                      <a:lnTo>
                        <a:pt x="280" y="354"/>
                      </a:lnTo>
                      <a:lnTo>
                        <a:pt x="276" y="355"/>
                      </a:lnTo>
                      <a:lnTo>
                        <a:pt x="273" y="354"/>
                      </a:lnTo>
                      <a:lnTo>
                        <a:pt x="273" y="354"/>
                      </a:lnTo>
                      <a:lnTo>
                        <a:pt x="269" y="352"/>
                      </a:lnTo>
                      <a:lnTo>
                        <a:pt x="266" y="354"/>
                      </a:lnTo>
                      <a:lnTo>
                        <a:pt x="261" y="362"/>
                      </a:lnTo>
                      <a:lnTo>
                        <a:pt x="259" y="366"/>
                      </a:lnTo>
                      <a:lnTo>
                        <a:pt x="256" y="371"/>
                      </a:lnTo>
                      <a:lnTo>
                        <a:pt x="250" y="375"/>
                      </a:lnTo>
                      <a:lnTo>
                        <a:pt x="243" y="378"/>
                      </a:lnTo>
                      <a:lnTo>
                        <a:pt x="243" y="378"/>
                      </a:lnTo>
                      <a:lnTo>
                        <a:pt x="238" y="378"/>
                      </a:lnTo>
                      <a:lnTo>
                        <a:pt x="235" y="380"/>
                      </a:lnTo>
                      <a:lnTo>
                        <a:pt x="236" y="382"/>
                      </a:lnTo>
                      <a:lnTo>
                        <a:pt x="238" y="383"/>
                      </a:lnTo>
                      <a:lnTo>
                        <a:pt x="240" y="385"/>
                      </a:lnTo>
                      <a:lnTo>
                        <a:pt x="242" y="389"/>
                      </a:lnTo>
                      <a:lnTo>
                        <a:pt x="240" y="390"/>
                      </a:lnTo>
                      <a:lnTo>
                        <a:pt x="235" y="394"/>
                      </a:lnTo>
                      <a:lnTo>
                        <a:pt x="235" y="394"/>
                      </a:lnTo>
                      <a:lnTo>
                        <a:pt x="229" y="396"/>
                      </a:lnTo>
                      <a:lnTo>
                        <a:pt x="224" y="396"/>
                      </a:lnTo>
                      <a:lnTo>
                        <a:pt x="221" y="394"/>
                      </a:lnTo>
                      <a:lnTo>
                        <a:pt x="217" y="392"/>
                      </a:lnTo>
                      <a:lnTo>
                        <a:pt x="217" y="397"/>
                      </a:lnTo>
                      <a:lnTo>
                        <a:pt x="217" y="397"/>
                      </a:lnTo>
                      <a:lnTo>
                        <a:pt x="217" y="401"/>
                      </a:lnTo>
                      <a:lnTo>
                        <a:pt x="219" y="404"/>
                      </a:lnTo>
                      <a:lnTo>
                        <a:pt x="222" y="404"/>
                      </a:lnTo>
                      <a:lnTo>
                        <a:pt x="226" y="404"/>
                      </a:lnTo>
                      <a:lnTo>
                        <a:pt x="226" y="406"/>
                      </a:lnTo>
                      <a:lnTo>
                        <a:pt x="226" y="408"/>
                      </a:lnTo>
                      <a:lnTo>
                        <a:pt x="224" y="413"/>
                      </a:lnTo>
                      <a:lnTo>
                        <a:pt x="224" y="413"/>
                      </a:lnTo>
                      <a:lnTo>
                        <a:pt x="221" y="420"/>
                      </a:lnTo>
                      <a:lnTo>
                        <a:pt x="221" y="425"/>
                      </a:lnTo>
                      <a:lnTo>
                        <a:pt x="222" y="434"/>
                      </a:lnTo>
                      <a:lnTo>
                        <a:pt x="222" y="441"/>
                      </a:lnTo>
                      <a:lnTo>
                        <a:pt x="222" y="443"/>
                      </a:lnTo>
                      <a:lnTo>
                        <a:pt x="219" y="443"/>
                      </a:lnTo>
                      <a:lnTo>
                        <a:pt x="219" y="443"/>
                      </a:lnTo>
                      <a:lnTo>
                        <a:pt x="217" y="444"/>
                      </a:lnTo>
                      <a:lnTo>
                        <a:pt x="216" y="446"/>
                      </a:lnTo>
                      <a:lnTo>
                        <a:pt x="212" y="453"/>
                      </a:lnTo>
                      <a:lnTo>
                        <a:pt x="212" y="462"/>
                      </a:lnTo>
                      <a:lnTo>
                        <a:pt x="212" y="472"/>
                      </a:lnTo>
                      <a:lnTo>
                        <a:pt x="212" y="483"/>
                      </a:lnTo>
                      <a:lnTo>
                        <a:pt x="216" y="491"/>
                      </a:lnTo>
                      <a:lnTo>
                        <a:pt x="217" y="498"/>
                      </a:lnTo>
                      <a:lnTo>
                        <a:pt x="219" y="500"/>
                      </a:lnTo>
                      <a:lnTo>
                        <a:pt x="222" y="500"/>
                      </a:lnTo>
                      <a:lnTo>
                        <a:pt x="222" y="500"/>
                      </a:lnTo>
                      <a:lnTo>
                        <a:pt x="226" y="500"/>
                      </a:lnTo>
                      <a:lnTo>
                        <a:pt x="226" y="502"/>
                      </a:lnTo>
                      <a:lnTo>
                        <a:pt x="226" y="503"/>
                      </a:lnTo>
                      <a:lnTo>
                        <a:pt x="228" y="507"/>
                      </a:lnTo>
                      <a:lnTo>
                        <a:pt x="233" y="505"/>
                      </a:lnTo>
                      <a:lnTo>
                        <a:pt x="233" y="505"/>
                      </a:lnTo>
                      <a:lnTo>
                        <a:pt x="236" y="505"/>
                      </a:lnTo>
                      <a:lnTo>
                        <a:pt x="240" y="505"/>
                      </a:lnTo>
                      <a:lnTo>
                        <a:pt x="245" y="509"/>
                      </a:lnTo>
                      <a:lnTo>
                        <a:pt x="249" y="514"/>
                      </a:lnTo>
                      <a:lnTo>
                        <a:pt x="256" y="517"/>
                      </a:lnTo>
                      <a:lnTo>
                        <a:pt x="256" y="517"/>
                      </a:lnTo>
                      <a:lnTo>
                        <a:pt x="257" y="519"/>
                      </a:lnTo>
                      <a:lnTo>
                        <a:pt x="259" y="521"/>
                      </a:lnTo>
                      <a:lnTo>
                        <a:pt x="257" y="526"/>
                      </a:lnTo>
                      <a:lnTo>
                        <a:pt x="257" y="530"/>
                      </a:lnTo>
                      <a:lnTo>
                        <a:pt x="257" y="530"/>
                      </a:lnTo>
                      <a:lnTo>
                        <a:pt x="261" y="530"/>
                      </a:lnTo>
                      <a:lnTo>
                        <a:pt x="261" y="530"/>
                      </a:lnTo>
                      <a:lnTo>
                        <a:pt x="266" y="531"/>
                      </a:lnTo>
                      <a:lnTo>
                        <a:pt x="271" y="535"/>
                      </a:lnTo>
                      <a:lnTo>
                        <a:pt x="278" y="545"/>
                      </a:lnTo>
                      <a:lnTo>
                        <a:pt x="278" y="545"/>
                      </a:lnTo>
                      <a:lnTo>
                        <a:pt x="278" y="547"/>
                      </a:lnTo>
                      <a:lnTo>
                        <a:pt x="276" y="550"/>
                      </a:lnTo>
                      <a:lnTo>
                        <a:pt x="266" y="557"/>
                      </a:lnTo>
                      <a:lnTo>
                        <a:pt x="242" y="571"/>
                      </a:lnTo>
                      <a:lnTo>
                        <a:pt x="242" y="571"/>
                      </a:lnTo>
                      <a:lnTo>
                        <a:pt x="238" y="573"/>
                      </a:lnTo>
                      <a:lnTo>
                        <a:pt x="235" y="571"/>
                      </a:lnTo>
                      <a:lnTo>
                        <a:pt x="229" y="568"/>
                      </a:lnTo>
                      <a:lnTo>
                        <a:pt x="224" y="563"/>
                      </a:lnTo>
                      <a:lnTo>
                        <a:pt x="221" y="561"/>
                      </a:lnTo>
                      <a:lnTo>
                        <a:pt x="219" y="563"/>
                      </a:lnTo>
                      <a:lnTo>
                        <a:pt x="219" y="563"/>
                      </a:lnTo>
                      <a:lnTo>
                        <a:pt x="217" y="563"/>
                      </a:lnTo>
                      <a:lnTo>
                        <a:pt x="214" y="563"/>
                      </a:lnTo>
                      <a:lnTo>
                        <a:pt x="207" y="561"/>
                      </a:lnTo>
                      <a:lnTo>
                        <a:pt x="196" y="561"/>
                      </a:lnTo>
                      <a:lnTo>
                        <a:pt x="191" y="561"/>
                      </a:lnTo>
                      <a:lnTo>
                        <a:pt x="184" y="564"/>
                      </a:lnTo>
                      <a:lnTo>
                        <a:pt x="184" y="564"/>
                      </a:lnTo>
                      <a:lnTo>
                        <a:pt x="179" y="568"/>
                      </a:lnTo>
                      <a:lnTo>
                        <a:pt x="186" y="568"/>
                      </a:lnTo>
                      <a:lnTo>
                        <a:pt x="193" y="566"/>
                      </a:lnTo>
                      <a:lnTo>
                        <a:pt x="202" y="568"/>
                      </a:lnTo>
                      <a:lnTo>
                        <a:pt x="210" y="570"/>
                      </a:lnTo>
                      <a:lnTo>
                        <a:pt x="217" y="573"/>
                      </a:lnTo>
                      <a:lnTo>
                        <a:pt x="217" y="573"/>
                      </a:lnTo>
                      <a:lnTo>
                        <a:pt x="222" y="578"/>
                      </a:lnTo>
                      <a:lnTo>
                        <a:pt x="229" y="578"/>
                      </a:lnTo>
                      <a:lnTo>
                        <a:pt x="236" y="577"/>
                      </a:lnTo>
                      <a:lnTo>
                        <a:pt x="243" y="575"/>
                      </a:lnTo>
                      <a:lnTo>
                        <a:pt x="254" y="570"/>
                      </a:lnTo>
                      <a:lnTo>
                        <a:pt x="257" y="570"/>
                      </a:lnTo>
                      <a:lnTo>
                        <a:pt x="259" y="570"/>
                      </a:lnTo>
                      <a:lnTo>
                        <a:pt x="259" y="570"/>
                      </a:lnTo>
                      <a:lnTo>
                        <a:pt x="261" y="575"/>
                      </a:lnTo>
                      <a:lnTo>
                        <a:pt x="263" y="577"/>
                      </a:lnTo>
                      <a:lnTo>
                        <a:pt x="261" y="578"/>
                      </a:lnTo>
                      <a:lnTo>
                        <a:pt x="259" y="580"/>
                      </a:lnTo>
                      <a:lnTo>
                        <a:pt x="256" y="582"/>
                      </a:lnTo>
                      <a:lnTo>
                        <a:pt x="254" y="582"/>
                      </a:lnTo>
                      <a:lnTo>
                        <a:pt x="254" y="584"/>
                      </a:lnTo>
                      <a:lnTo>
                        <a:pt x="254" y="584"/>
                      </a:lnTo>
                      <a:lnTo>
                        <a:pt x="254" y="585"/>
                      </a:lnTo>
                      <a:lnTo>
                        <a:pt x="254" y="587"/>
                      </a:lnTo>
                      <a:lnTo>
                        <a:pt x="249" y="589"/>
                      </a:lnTo>
                      <a:lnTo>
                        <a:pt x="243" y="591"/>
                      </a:lnTo>
                      <a:lnTo>
                        <a:pt x="238" y="598"/>
                      </a:lnTo>
                      <a:lnTo>
                        <a:pt x="238" y="598"/>
                      </a:lnTo>
                      <a:lnTo>
                        <a:pt x="236" y="599"/>
                      </a:lnTo>
                      <a:lnTo>
                        <a:pt x="235" y="599"/>
                      </a:lnTo>
                      <a:lnTo>
                        <a:pt x="231" y="596"/>
                      </a:lnTo>
                      <a:lnTo>
                        <a:pt x="228" y="594"/>
                      </a:lnTo>
                      <a:lnTo>
                        <a:pt x="228" y="596"/>
                      </a:lnTo>
                      <a:lnTo>
                        <a:pt x="226" y="599"/>
                      </a:lnTo>
                      <a:lnTo>
                        <a:pt x="226" y="599"/>
                      </a:lnTo>
                      <a:lnTo>
                        <a:pt x="224" y="603"/>
                      </a:lnTo>
                      <a:lnTo>
                        <a:pt x="221" y="606"/>
                      </a:lnTo>
                      <a:lnTo>
                        <a:pt x="209" y="611"/>
                      </a:lnTo>
                      <a:lnTo>
                        <a:pt x="200" y="615"/>
                      </a:lnTo>
                      <a:lnTo>
                        <a:pt x="198" y="617"/>
                      </a:lnTo>
                      <a:lnTo>
                        <a:pt x="198" y="620"/>
                      </a:lnTo>
                      <a:lnTo>
                        <a:pt x="198" y="620"/>
                      </a:lnTo>
                      <a:lnTo>
                        <a:pt x="200" y="622"/>
                      </a:lnTo>
                      <a:lnTo>
                        <a:pt x="200" y="624"/>
                      </a:lnTo>
                      <a:lnTo>
                        <a:pt x="196" y="624"/>
                      </a:lnTo>
                      <a:lnTo>
                        <a:pt x="195" y="625"/>
                      </a:lnTo>
                      <a:lnTo>
                        <a:pt x="195" y="627"/>
                      </a:lnTo>
                      <a:lnTo>
                        <a:pt x="196" y="631"/>
                      </a:lnTo>
                      <a:lnTo>
                        <a:pt x="196" y="631"/>
                      </a:lnTo>
                      <a:lnTo>
                        <a:pt x="198" y="636"/>
                      </a:lnTo>
                      <a:lnTo>
                        <a:pt x="196" y="641"/>
                      </a:lnTo>
                      <a:lnTo>
                        <a:pt x="195" y="645"/>
                      </a:lnTo>
                      <a:lnTo>
                        <a:pt x="196" y="648"/>
                      </a:lnTo>
                      <a:lnTo>
                        <a:pt x="196" y="648"/>
                      </a:lnTo>
                      <a:lnTo>
                        <a:pt x="196" y="651"/>
                      </a:lnTo>
                      <a:lnTo>
                        <a:pt x="196" y="655"/>
                      </a:lnTo>
                      <a:lnTo>
                        <a:pt x="195" y="660"/>
                      </a:lnTo>
                      <a:lnTo>
                        <a:pt x="191" y="665"/>
                      </a:lnTo>
                      <a:lnTo>
                        <a:pt x="191" y="669"/>
                      </a:lnTo>
                      <a:lnTo>
                        <a:pt x="191" y="672"/>
                      </a:lnTo>
                      <a:lnTo>
                        <a:pt x="191" y="672"/>
                      </a:lnTo>
                      <a:lnTo>
                        <a:pt x="191" y="679"/>
                      </a:lnTo>
                      <a:lnTo>
                        <a:pt x="189" y="686"/>
                      </a:lnTo>
                      <a:lnTo>
                        <a:pt x="188" y="695"/>
                      </a:lnTo>
                      <a:lnTo>
                        <a:pt x="188" y="702"/>
                      </a:lnTo>
                      <a:lnTo>
                        <a:pt x="188" y="702"/>
                      </a:lnTo>
                      <a:lnTo>
                        <a:pt x="186" y="709"/>
                      </a:lnTo>
                      <a:lnTo>
                        <a:pt x="182" y="716"/>
                      </a:lnTo>
                      <a:lnTo>
                        <a:pt x="177" y="726"/>
                      </a:lnTo>
                      <a:lnTo>
                        <a:pt x="172" y="740"/>
                      </a:lnTo>
                      <a:lnTo>
                        <a:pt x="172" y="740"/>
                      </a:lnTo>
                      <a:lnTo>
                        <a:pt x="167" y="751"/>
                      </a:lnTo>
                      <a:lnTo>
                        <a:pt x="165" y="752"/>
                      </a:lnTo>
                      <a:lnTo>
                        <a:pt x="163" y="752"/>
                      </a:lnTo>
                      <a:lnTo>
                        <a:pt x="155" y="749"/>
                      </a:lnTo>
                      <a:lnTo>
                        <a:pt x="149" y="747"/>
                      </a:lnTo>
                      <a:lnTo>
                        <a:pt x="141" y="749"/>
                      </a:lnTo>
                      <a:lnTo>
                        <a:pt x="141" y="749"/>
                      </a:lnTo>
                      <a:lnTo>
                        <a:pt x="134" y="749"/>
                      </a:lnTo>
                      <a:lnTo>
                        <a:pt x="128" y="751"/>
                      </a:lnTo>
                      <a:lnTo>
                        <a:pt x="127" y="752"/>
                      </a:lnTo>
                      <a:lnTo>
                        <a:pt x="127" y="754"/>
                      </a:lnTo>
                      <a:lnTo>
                        <a:pt x="127" y="758"/>
                      </a:lnTo>
                      <a:lnTo>
                        <a:pt x="120" y="758"/>
                      </a:lnTo>
                      <a:lnTo>
                        <a:pt x="120" y="758"/>
                      </a:lnTo>
                      <a:lnTo>
                        <a:pt x="116" y="758"/>
                      </a:lnTo>
                      <a:lnTo>
                        <a:pt x="113" y="761"/>
                      </a:lnTo>
                      <a:lnTo>
                        <a:pt x="111" y="766"/>
                      </a:lnTo>
                      <a:lnTo>
                        <a:pt x="111" y="773"/>
                      </a:lnTo>
                      <a:lnTo>
                        <a:pt x="109" y="786"/>
                      </a:lnTo>
                      <a:lnTo>
                        <a:pt x="108" y="789"/>
                      </a:lnTo>
                      <a:lnTo>
                        <a:pt x="102" y="791"/>
                      </a:lnTo>
                      <a:lnTo>
                        <a:pt x="102" y="791"/>
                      </a:lnTo>
                      <a:lnTo>
                        <a:pt x="95" y="791"/>
                      </a:lnTo>
                      <a:lnTo>
                        <a:pt x="87" y="791"/>
                      </a:lnTo>
                      <a:lnTo>
                        <a:pt x="71" y="794"/>
                      </a:lnTo>
                      <a:lnTo>
                        <a:pt x="66" y="794"/>
                      </a:lnTo>
                      <a:lnTo>
                        <a:pt x="61" y="793"/>
                      </a:lnTo>
                      <a:lnTo>
                        <a:pt x="61" y="789"/>
                      </a:lnTo>
                      <a:lnTo>
                        <a:pt x="62" y="784"/>
                      </a:lnTo>
                      <a:lnTo>
                        <a:pt x="62" y="784"/>
                      </a:lnTo>
                      <a:lnTo>
                        <a:pt x="64" y="779"/>
                      </a:lnTo>
                      <a:lnTo>
                        <a:pt x="64" y="775"/>
                      </a:lnTo>
                      <a:lnTo>
                        <a:pt x="62" y="768"/>
                      </a:lnTo>
                      <a:lnTo>
                        <a:pt x="59" y="759"/>
                      </a:lnTo>
                      <a:lnTo>
                        <a:pt x="54" y="752"/>
                      </a:lnTo>
                      <a:lnTo>
                        <a:pt x="47" y="744"/>
                      </a:lnTo>
                      <a:lnTo>
                        <a:pt x="47" y="742"/>
                      </a:lnTo>
                      <a:lnTo>
                        <a:pt x="52" y="744"/>
                      </a:lnTo>
                      <a:lnTo>
                        <a:pt x="52" y="744"/>
                      </a:lnTo>
                      <a:lnTo>
                        <a:pt x="57" y="745"/>
                      </a:lnTo>
                      <a:lnTo>
                        <a:pt x="55" y="742"/>
                      </a:lnTo>
                      <a:lnTo>
                        <a:pt x="54" y="737"/>
                      </a:lnTo>
                      <a:lnTo>
                        <a:pt x="54" y="735"/>
                      </a:lnTo>
                      <a:lnTo>
                        <a:pt x="55" y="733"/>
                      </a:lnTo>
                      <a:lnTo>
                        <a:pt x="55" y="733"/>
                      </a:lnTo>
                      <a:lnTo>
                        <a:pt x="61" y="730"/>
                      </a:lnTo>
                      <a:lnTo>
                        <a:pt x="64" y="726"/>
                      </a:lnTo>
                      <a:lnTo>
                        <a:pt x="62" y="725"/>
                      </a:lnTo>
                      <a:lnTo>
                        <a:pt x="62" y="723"/>
                      </a:lnTo>
                      <a:lnTo>
                        <a:pt x="57" y="723"/>
                      </a:lnTo>
                      <a:lnTo>
                        <a:pt x="57" y="723"/>
                      </a:lnTo>
                      <a:lnTo>
                        <a:pt x="52" y="721"/>
                      </a:lnTo>
                      <a:lnTo>
                        <a:pt x="48" y="718"/>
                      </a:lnTo>
                      <a:lnTo>
                        <a:pt x="40" y="702"/>
                      </a:lnTo>
                      <a:lnTo>
                        <a:pt x="31" y="685"/>
                      </a:lnTo>
                      <a:lnTo>
                        <a:pt x="24" y="665"/>
                      </a:lnTo>
                      <a:lnTo>
                        <a:pt x="24" y="665"/>
                      </a:lnTo>
                      <a:lnTo>
                        <a:pt x="22" y="658"/>
                      </a:lnTo>
                      <a:lnTo>
                        <a:pt x="22" y="653"/>
                      </a:lnTo>
                      <a:lnTo>
                        <a:pt x="24" y="646"/>
                      </a:lnTo>
                      <a:lnTo>
                        <a:pt x="26" y="641"/>
                      </a:lnTo>
                      <a:lnTo>
                        <a:pt x="26" y="638"/>
                      </a:lnTo>
                      <a:lnTo>
                        <a:pt x="24" y="634"/>
                      </a:lnTo>
                      <a:lnTo>
                        <a:pt x="24" y="634"/>
                      </a:lnTo>
                      <a:lnTo>
                        <a:pt x="22" y="631"/>
                      </a:lnTo>
                      <a:lnTo>
                        <a:pt x="21" y="631"/>
                      </a:lnTo>
                      <a:lnTo>
                        <a:pt x="17" y="632"/>
                      </a:lnTo>
                      <a:lnTo>
                        <a:pt x="12" y="636"/>
                      </a:lnTo>
                      <a:lnTo>
                        <a:pt x="8" y="634"/>
                      </a:lnTo>
                      <a:lnTo>
                        <a:pt x="7" y="632"/>
                      </a:lnTo>
                      <a:lnTo>
                        <a:pt x="7" y="632"/>
                      </a:lnTo>
                      <a:lnTo>
                        <a:pt x="3" y="627"/>
                      </a:lnTo>
                      <a:lnTo>
                        <a:pt x="3" y="624"/>
                      </a:lnTo>
                      <a:lnTo>
                        <a:pt x="3" y="615"/>
                      </a:lnTo>
                      <a:lnTo>
                        <a:pt x="3" y="608"/>
                      </a:lnTo>
                      <a:lnTo>
                        <a:pt x="1" y="601"/>
                      </a:lnTo>
                      <a:lnTo>
                        <a:pt x="1" y="601"/>
                      </a:lnTo>
                      <a:lnTo>
                        <a:pt x="0" y="596"/>
                      </a:lnTo>
                      <a:lnTo>
                        <a:pt x="1" y="592"/>
                      </a:lnTo>
                      <a:lnTo>
                        <a:pt x="1" y="589"/>
                      </a:lnTo>
                      <a:lnTo>
                        <a:pt x="3" y="587"/>
                      </a:lnTo>
                      <a:lnTo>
                        <a:pt x="3" y="58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5" name="Freeform 1734">
                  <a:extLst>
                    <a:ext uri="{FF2B5EF4-FFF2-40B4-BE49-F238E27FC236}">
                      <a16:creationId xmlns:a16="http://schemas.microsoft.com/office/drawing/2014/main" id="{62E0480E-A7A9-2FD6-853D-329D7B8B4025}"/>
                    </a:ext>
                  </a:extLst>
                </p:cNvPr>
                <p:cNvSpPr>
                  <a:spLocks/>
                </p:cNvSpPr>
                <p:nvPr/>
              </p:nvSpPr>
              <p:spPr bwMode="auto">
                <a:xfrm>
                  <a:off x="5301204" y="1787719"/>
                  <a:ext cx="306589" cy="491599"/>
                </a:xfrm>
                <a:custGeom>
                  <a:avLst/>
                  <a:gdLst/>
                  <a:ahLst/>
                  <a:cxnLst>
                    <a:cxn ang="0">
                      <a:pos x="16" y="76"/>
                    </a:cxn>
                    <a:cxn ang="0">
                      <a:pos x="75" y="104"/>
                    </a:cxn>
                    <a:cxn ang="0">
                      <a:pos x="96" y="122"/>
                    </a:cxn>
                    <a:cxn ang="0">
                      <a:pos x="101" y="144"/>
                    </a:cxn>
                    <a:cxn ang="0">
                      <a:pos x="99" y="164"/>
                    </a:cxn>
                    <a:cxn ang="0">
                      <a:pos x="110" y="169"/>
                    </a:cxn>
                    <a:cxn ang="0">
                      <a:pos x="113" y="195"/>
                    </a:cxn>
                    <a:cxn ang="0">
                      <a:pos x="115" y="216"/>
                    </a:cxn>
                    <a:cxn ang="0">
                      <a:pos x="119" y="252"/>
                    </a:cxn>
                    <a:cxn ang="0">
                      <a:pos x="152" y="273"/>
                    </a:cxn>
                    <a:cxn ang="0">
                      <a:pos x="162" y="298"/>
                    </a:cxn>
                    <a:cxn ang="0">
                      <a:pos x="162" y="317"/>
                    </a:cxn>
                    <a:cxn ang="0">
                      <a:pos x="126" y="345"/>
                    </a:cxn>
                    <a:cxn ang="0">
                      <a:pos x="98" y="371"/>
                    </a:cxn>
                    <a:cxn ang="0">
                      <a:pos x="79" y="388"/>
                    </a:cxn>
                    <a:cxn ang="0">
                      <a:pos x="63" y="397"/>
                    </a:cxn>
                    <a:cxn ang="0">
                      <a:pos x="56" y="411"/>
                    </a:cxn>
                    <a:cxn ang="0">
                      <a:pos x="35" y="416"/>
                    </a:cxn>
                    <a:cxn ang="0">
                      <a:pos x="19" y="442"/>
                    </a:cxn>
                    <a:cxn ang="0">
                      <a:pos x="25" y="479"/>
                    </a:cxn>
                    <a:cxn ang="0">
                      <a:pos x="35" y="505"/>
                    </a:cxn>
                    <a:cxn ang="0">
                      <a:pos x="28" y="517"/>
                    </a:cxn>
                    <a:cxn ang="0">
                      <a:pos x="25" y="567"/>
                    </a:cxn>
                    <a:cxn ang="0">
                      <a:pos x="65" y="585"/>
                    </a:cxn>
                    <a:cxn ang="0">
                      <a:pos x="75" y="599"/>
                    </a:cxn>
                    <a:cxn ang="0">
                      <a:pos x="85" y="602"/>
                    </a:cxn>
                    <a:cxn ang="0">
                      <a:pos x="106" y="602"/>
                    </a:cxn>
                    <a:cxn ang="0">
                      <a:pos x="180" y="585"/>
                    </a:cxn>
                    <a:cxn ang="0">
                      <a:pos x="200" y="580"/>
                    </a:cxn>
                    <a:cxn ang="0">
                      <a:pos x="242" y="573"/>
                    </a:cxn>
                    <a:cxn ang="0">
                      <a:pos x="315" y="514"/>
                    </a:cxn>
                    <a:cxn ang="0">
                      <a:pos x="383" y="432"/>
                    </a:cxn>
                    <a:cxn ang="0">
                      <a:pos x="368" y="411"/>
                    </a:cxn>
                    <a:cxn ang="0">
                      <a:pos x="333" y="381"/>
                    </a:cxn>
                    <a:cxn ang="0">
                      <a:pos x="347" y="355"/>
                    </a:cxn>
                    <a:cxn ang="0">
                      <a:pos x="331" y="339"/>
                    </a:cxn>
                    <a:cxn ang="0">
                      <a:pos x="321" y="319"/>
                    </a:cxn>
                    <a:cxn ang="0">
                      <a:pos x="324" y="303"/>
                    </a:cxn>
                    <a:cxn ang="0">
                      <a:pos x="319" y="291"/>
                    </a:cxn>
                    <a:cxn ang="0">
                      <a:pos x="322" y="275"/>
                    </a:cxn>
                    <a:cxn ang="0">
                      <a:pos x="333" y="263"/>
                    </a:cxn>
                    <a:cxn ang="0">
                      <a:pos x="296" y="191"/>
                    </a:cxn>
                    <a:cxn ang="0">
                      <a:pos x="333" y="150"/>
                    </a:cxn>
                    <a:cxn ang="0">
                      <a:pos x="307" y="124"/>
                    </a:cxn>
                    <a:cxn ang="0">
                      <a:pos x="279" y="106"/>
                    </a:cxn>
                    <a:cxn ang="0">
                      <a:pos x="287" y="82"/>
                    </a:cxn>
                    <a:cxn ang="0">
                      <a:pos x="277" y="71"/>
                    </a:cxn>
                    <a:cxn ang="0">
                      <a:pos x="301" y="40"/>
                    </a:cxn>
                    <a:cxn ang="0">
                      <a:pos x="270" y="12"/>
                    </a:cxn>
                    <a:cxn ang="0">
                      <a:pos x="242" y="3"/>
                    </a:cxn>
                    <a:cxn ang="0">
                      <a:pos x="207" y="7"/>
                    </a:cxn>
                    <a:cxn ang="0">
                      <a:pos x="183" y="38"/>
                    </a:cxn>
                    <a:cxn ang="0">
                      <a:pos x="183" y="68"/>
                    </a:cxn>
                    <a:cxn ang="0">
                      <a:pos x="159" y="87"/>
                    </a:cxn>
                    <a:cxn ang="0">
                      <a:pos x="117" y="78"/>
                    </a:cxn>
                    <a:cxn ang="0">
                      <a:pos x="89" y="87"/>
                    </a:cxn>
                    <a:cxn ang="0">
                      <a:pos x="61" y="76"/>
                    </a:cxn>
                    <a:cxn ang="0">
                      <a:pos x="26" y="47"/>
                    </a:cxn>
                    <a:cxn ang="0">
                      <a:pos x="18" y="64"/>
                    </a:cxn>
                    <a:cxn ang="0">
                      <a:pos x="0" y="64"/>
                    </a:cxn>
                  </a:cxnLst>
                  <a:rect l="0" t="0" r="r" b="b"/>
                  <a:pathLst>
                    <a:path w="383" h="613">
                      <a:moveTo>
                        <a:pt x="0" y="64"/>
                      </a:moveTo>
                      <a:lnTo>
                        <a:pt x="0" y="64"/>
                      </a:lnTo>
                      <a:lnTo>
                        <a:pt x="7" y="66"/>
                      </a:lnTo>
                      <a:lnTo>
                        <a:pt x="7" y="68"/>
                      </a:lnTo>
                      <a:lnTo>
                        <a:pt x="7" y="70"/>
                      </a:lnTo>
                      <a:lnTo>
                        <a:pt x="7" y="71"/>
                      </a:lnTo>
                      <a:lnTo>
                        <a:pt x="16" y="76"/>
                      </a:lnTo>
                      <a:lnTo>
                        <a:pt x="16" y="76"/>
                      </a:lnTo>
                      <a:lnTo>
                        <a:pt x="42" y="94"/>
                      </a:lnTo>
                      <a:lnTo>
                        <a:pt x="54" y="101"/>
                      </a:lnTo>
                      <a:lnTo>
                        <a:pt x="59" y="103"/>
                      </a:lnTo>
                      <a:lnTo>
                        <a:pt x="65" y="103"/>
                      </a:lnTo>
                      <a:lnTo>
                        <a:pt x="65" y="103"/>
                      </a:lnTo>
                      <a:lnTo>
                        <a:pt x="75" y="104"/>
                      </a:lnTo>
                      <a:lnTo>
                        <a:pt x="82" y="108"/>
                      </a:lnTo>
                      <a:lnTo>
                        <a:pt x="87" y="113"/>
                      </a:lnTo>
                      <a:lnTo>
                        <a:pt x="89" y="117"/>
                      </a:lnTo>
                      <a:lnTo>
                        <a:pt x="89" y="117"/>
                      </a:lnTo>
                      <a:lnTo>
                        <a:pt x="87" y="118"/>
                      </a:lnTo>
                      <a:lnTo>
                        <a:pt x="91" y="118"/>
                      </a:lnTo>
                      <a:lnTo>
                        <a:pt x="96" y="122"/>
                      </a:lnTo>
                      <a:lnTo>
                        <a:pt x="96" y="122"/>
                      </a:lnTo>
                      <a:lnTo>
                        <a:pt x="106" y="130"/>
                      </a:lnTo>
                      <a:lnTo>
                        <a:pt x="106" y="132"/>
                      </a:lnTo>
                      <a:lnTo>
                        <a:pt x="106" y="134"/>
                      </a:lnTo>
                      <a:lnTo>
                        <a:pt x="101" y="137"/>
                      </a:lnTo>
                      <a:lnTo>
                        <a:pt x="101" y="139"/>
                      </a:lnTo>
                      <a:lnTo>
                        <a:pt x="101" y="144"/>
                      </a:lnTo>
                      <a:lnTo>
                        <a:pt x="101" y="144"/>
                      </a:lnTo>
                      <a:lnTo>
                        <a:pt x="103" y="155"/>
                      </a:lnTo>
                      <a:lnTo>
                        <a:pt x="101" y="157"/>
                      </a:lnTo>
                      <a:lnTo>
                        <a:pt x="99" y="158"/>
                      </a:lnTo>
                      <a:lnTo>
                        <a:pt x="99" y="162"/>
                      </a:lnTo>
                      <a:lnTo>
                        <a:pt x="99" y="162"/>
                      </a:lnTo>
                      <a:lnTo>
                        <a:pt x="99" y="164"/>
                      </a:lnTo>
                      <a:lnTo>
                        <a:pt x="101" y="164"/>
                      </a:lnTo>
                      <a:lnTo>
                        <a:pt x="105" y="164"/>
                      </a:lnTo>
                      <a:lnTo>
                        <a:pt x="108" y="164"/>
                      </a:lnTo>
                      <a:lnTo>
                        <a:pt x="110" y="164"/>
                      </a:lnTo>
                      <a:lnTo>
                        <a:pt x="112" y="165"/>
                      </a:lnTo>
                      <a:lnTo>
                        <a:pt x="112" y="165"/>
                      </a:lnTo>
                      <a:lnTo>
                        <a:pt x="110" y="169"/>
                      </a:lnTo>
                      <a:lnTo>
                        <a:pt x="106" y="172"/>
                      </a:lnTo>
                      <a:lnTo>
                        <a:pt x="105" y="177"/>
                      </a:lnTo>
                      <a:lnTo>
                        <a:pt x="105" y="183"/>
                      </a:lnTo>
                      <a:lnTo>
                        <a:pt x="105" y="183"/>
                      </a:lnTo>
                      <a:lnTo>
                        <a:pt x="105" y="186"/>
                      </a:lnTo>
                      <a:lnTo>
                        <a:pt x="108" y="190"/>
                      </a:lnTo>
                      <a:lnTo>
                        <a:pt x="113" y="195"/>
                      </a:lnTo>
                      <a:lnTo>
                        <a:pt x="117" y="198"/>
                      </a:lnTo>
                      <a:lnTo>
                        <a:pt x="119" y="202"/>
                      </a:lnTo>
                      <a:lnTo>
                        <a:pt x="117" y="204"/>
                      </a:lnTo>
                      <a:lnTo>
                        <a:pt x="117" y="204"/>
                      </a:lnTo>
                      <a:lnTo>
                        <a:pt x="115" y="209"/>
                      </a:lnTo>
                      <a:lnTo>
                        <a:pt x="115" y="212"/>
                      </a:lnTo>
                      <a:lnTo>
                        <a:pt x="115" y="216"/>
                      </a:lnTo>
                      <a:lnTo>
                        <a:pt x="110" y="223"/>
                      </a:lnTo>
                      <a:lnTo>
                        <a:pt x="110" y="223"/>
                      </a:lnTo>
                      <a:lnTo>
                        <a:pt x="106" y="228"/>
                      </a:lnTo>
                      <a:lnTo>
                        <a:pt x="106" y="231"/>
                      </a:lnTo>
                      <a:lnTo>
                        <a:pt x="108" y="237"/>
                      </a:lnTo>
                      <a:lnTo>
                        <a:pt x="112" y="242"/>
                      </a:lnTo>
                      <a:lnTo>
                        <a:pt x="119" y="252"/>
                      </a:lnTo>
                      <a:lnTo>
                        <a:pt x="122" y="258"/>
                      </a:lnTo>
                      <a:lnTo>
                        <a:pt x="126" y="263"/>
                      </a:lnTo>
                      <a:lnTo>
                        <a:pt x="126" y="263"/>
                      </a:lnTo>
                      <a:lnTo>
                        <a:pt x="134" y="265"/>
                      </a:lnTo>
                      <a:lnTo>
                        <a:pt x="139" y="268"/>
                      </a:lnTo>
                      <a:lnTo>
                        <a:pt x="143" y="270"/>
                      </a:lnTo>
                      <a:lnTo>
                        <a:pt x="152" y="273"/>
                      </a:lnTo>
                      <a:lnTo>
                        <a:pt x="152" y="273"/>
                      </a:lnTo>
                      <a:lnTo>
                        <a:pt x="160" y="277"/>
                      </a:lnTo>
                      <a:lnTo>
                        <a:pt x="164" y="278"/>
                      </a:lnTo>
                      <a:lnTo>
                        <a:pt x="164" y="282"/>
                      </a:lnTo>
                      <a:lnTo>
                        <a:pt x="164" y="289"/>
                      </a:lnTo>
                      <a:lnTo>
                        <a:pt x="162" y="298"/>
                      </a:lnTo>
                      <a:lnTo>
                        <a:pt x="162" y="298"/>
                      </a:lnTo>
                      <a:lnTo>
                        <a:pt x="162" y="305"/>
                      </a:lnTo>
                      <a:lnTo>
                        <a:pt x="164" y="308"/>
                      </a:lnTo>
                      <a:lnTo>
                        <a:pt x="167" y="310"/>
                      </a:lnTo>
                      <a:lnTo>
                        <a:pt x="167" y="313"/>
                      </a:lnTo>
                      <a:lnTo>
                        <a:pt x="167" y="313"/>
                      </a:lnTo>
                      <a:lnTo>
                        <a:pt x="164" y="317"/>
                      </a:lnTo>
                      <a:lnTo>
                        <a:pt x="162" y="317"/>
                      </a:lnTo>
                      <a:lnTo>
                        <a:pt x="157" y="317"/>
                      </a:lnTo>
                      <a:lnTo>
                        <a:pt x="146" y="319"/>
                      </a:lnTo>
                      <a:lnTo>
                        <a:pt x="146" y="319"/>
                      </a:lnTo>
                      <a:lnTo>
                        <a:pt x="141" y="320"/>
                      </a:lnTo>
                      <a:lnTo>
                        <a:pt x="138" y="324"/>
                      </a:lnTo>
                      <a:lnTo>
                        <a:pt x="133" y="332"/>
                      </a:lnTo>
                      <a:lnTo>
                        <a:pt x="126" y="345"/>
                      </a:lnTo>
                      <a:lnTo>
                        <a:pt x="120" y="350"/>
                      </a:lnTo>
                      <a:lnTo>
                        <a:pt x="112" y="357"/>
                      </a:lnTo>
                      <a:lnTo>
                        <a:pt x="112" y="357"/>
                      </a:lnTo>
                      <a:lnTo>
                        <a:pt x="105" y="362"/>
                      </a:lnTo>
                      <a:lnTo>
                        <a:pt x="99" y="366"/>
                      </a:lnTo>
                      <a:lnTo>
                        <a:pt x="98" y="369"/>
                      </a:lnTo>
                      <a:lnTo>
                        <a:pt x="98" y="371"/>
                      </a:lnTo>
                      <a:lnTo>
                        <a:pt x="98" y="372"/>
                      </a:lnTo>
                      <a:lnTo>
                        <a:pt x="92" y="374"/>
                      </a:lnTo>
                      <a:lnTo>
                        <a:pt x="92" y="374"/>
                      </a:lnTo>
                      <a:lnTo>
                        <a:pt x="87" y="376"/>
                      </a:lnTo>
                      <a:lnTo>
                        <a:pt x="84" y="379"/>
                      </a:lnTo>
                      <a:lnTo>
                        <a:pt x="80" y="385"/>
                      </a:lnTo>
                      <a:lnTo>
                        <a:pt x="79" y="388"/>
                      </a:lnTo>
                      <a:lnTo>
                        <a:pt x="77" y="390"/>
                      </a:lnTo>
                      <a:lnTo>
                        <a:pt x="75" y="390"/>
                      </a:lnTo>
                      <a:lnTo>
                        <a:pt x="75" y="390"/>
                      </a:lnTo>
                      <a:lnTo>
                        <a:pt x="72" y="388"/>
                      </a:lnTo>
                      <a:lnTo>
                        <a:pt x="68" y="390"/>
                      </a:lnTo>
                      <a:lnTo>
                        <a:pt x="66" y="393"/>
                      </a:lnTo>
                      <a:lnTo>
                        <a:pt x="63" y="397"/>
                      </a:lnTo>
                      <a:lnTo>
                        <a:pt x="61" y="399"/>
                      </a:lnTo>
                      <a:lnTo>
                        <a:pt x="59" y="399"/>
                      </a:lnTo>
                      <a:lnTo>
                        <a:pt x="59" y="399"/>
                      </a:lnTo>
                      <a:lnTo>
                        <a:pt x="58" y="399"/>
                      </a:lnTo>
                      <a:lnTo>
                        <a:pt x="56" y="400"/>
                      </a:lnTo>
                      <a:lnTo>
                        <a:pt x="56" y="406"/>
                      </a:lnTo>
                      <a:lnTo>
                        <a:pt x="56" y="411"/>
                      </a:lnTo>
                      <a:lnTo>
                        <a:pt x="56" y="414"/>
                      </a:lnTo>
                      <a:lnTo>
                        <a:pt x="52" y="418"/>
                      </a:lnTo>
                      <a:lnTo>
                        <a:pt x="52" y="418"/>
                      </a:lnTo>
                      <a:lnTo>
                        <a:pt x="51" y="418"/>
                      </a:lnTo>
                      <a:lnTo>
                        <a:pt x="47" y="419"/>
                      </a:lnTo>
                      <a:lnTo>
                        <a:pt x="40" y="418"/>
                      </a:lnTo>
                      <a:lnTo>
                        <a:pt x="35" y="416"/>
                      </a:lnTo>
                      <a:lnTo>
                        <a:pt x="33" y="418"/>
                      </a:lnTo>
                      <a:lnTo>
                        <a:pt x="33" y="419"/>
                      </a:lnTo>
                      <a:lnTo>
                        <a:pt x="33" y="419"/>
                      </a:lnTo>
                      <a:lnTo>
                        <a:pt x="32" y="423"/>
                      </a:lnTo>
                      <a:lnTo>
                        <a:pt x="30" y="428"/>
                      </a:lnTo>
                      <a:lnTo>
                        <a:pt x="23" y="437"/>
                      </a:lnTo>
                      <a:lnTo>
                        <a:pt x="19" y="442"/>
                      </a:lnTo>
                      <a:lnTo>
                        <a:pt x="18" y="449"/>
                      </a:lnTo>
                      <a:lnTo>
                        <a:pt x="18" y="456"/>
                      </a:lnTo>
                      <a:lnTo>
                        <a:pt x="21" y="465"/>
                      </a:lnTo>
                      <a:lnTo>
                        <a:pt x="21" y="465"/>
                      </a:lnTo>
                      <a:lnTo>
                        <a:pt x="25" y="472"/>
                      </a:lnTo>
                      <a:lnTo>
                        <a:pt x="25" y="477"/>
                      </a:lnTo>
                      <a:lnTo>
                        <a:pt x="25" y="479"/>
                      </a:lnTo>
                      <a:lnTo>
                        <a:pt x="23" y="482"/>
                      </a:lnTo>
                      <a:lnTo>
                        <a:pt x="21" y="484"/>
                      </a:lnTo>
                      <a:lnTo>
                        <a:pt x="21" y="487"/>
                      </a:lnTo>
                      <a:lnTo>
                        <a:pt x="25" y="493"/>
                      </a:lnTo>
                      <a:lnTo>
                        <a:pt x="30" y="500"/>
                      </a:lnTo>
                      <a:lnTo>
                        <a:pt x="30" y="500"/>
                      </a:lnTo>
                      <a:lnTo>
                        <a:pt x="35" y="505"/>
                      </a:lnTo>
                      <a:lnTo>
                        <a:pt x="35" y="508"/>
                      </a:lnTo>
                      <a:lnTo>
                        <a:pt x="35" y="510"/>
                      </a:lnTo>
                      <a:lnTo>
                        <a:pt x="33" y="510"/>
                      </a:lnTo>
                      <a:lnTo>
                        <a:pt x="30" y="512"/>
                      </a:lnTo>
                      <a:lnTo>
                        <a:pt x="28" y="514"/>
                      </a:lnTo>
                      <a:lnTo>
                        <a:pt x="28" y="517"/>
                      </a:lnTo>
                      <a:lnTo>
                        <a:pt x="28" y="517"/>
                      </a:lnTo>
                      <a:lnTo>
                        <a:pt x="30" y="524"/>
                      </a:lnTo>
                      <a:lnTo>
                        <a:pt x="30" y="531"/>
                      </a:lnTo>
                      <a:lnTo>
                        <a:pt x="26" y="550"/>
                      </a:lnTo>
                      <a:lnTo>
                        <a:pt x="26" y="550"/>
                      </a:lnTo>
                      <a:lnTo>
                        <a:pt x="23" y="559"/>
                      </a:lnTo>
                      <a:lnTo>
                        <a:pt x="23" y="566"/>
                      </a:lnTo>
                      <a:lnTo>
                        <a:pt x="25" y="567"/>
                      </a:lnTo>
                      <a:lnTo>
                        <a:pt x="28" y="569"/>
                      </a:lnTo>
                      <a:lnTo>
                        <a:pt x="38" y="573"/>
                      </a:lnTo>
                      <a:lnTo>
                        <a:pt x="38" y="573"/>
                      </a:lnTo>
                      <a:lnTo>
                        <a:pt x="59" y="576"/>
                      </a:lnTo>
                      <a:lnTo>
                        <a:pt x="65" y="580"/>
                      </a:lnTo>
                      <a:lnTo>
                        <a:pt x="66" y="581"/>
                      </a:lnTo>
                      <a:lnTo>
                        <a:pt x="65" y="585"/>
                      </a:lnTo>
                      <a:lnTo>
                        <a:pt x="65" y="585"/>
                      </a:lnTo>
                      <a:lnTo>
                        <a:pt x="65" y="592"/>
                      </a:lnTo>
                      <a:lnTo>
                        <a:pt x="66" y="599"/>
                      </a:lnTo>
                      <a:lnTo>
                        <a:pt x="68" y="601"/>
                      </a:lnTo>
                      <a:lnTo>
                        <a:pt x="70" y="602"/>
                      </a:lnTo>
                      <a:lnTo>
                        <a:pt x="72" y="601"/>
                      </a:lnTo>
                      <a:lnTo>
                        <a:pt x="75" y="599"/>
                      </a:lnTo>
                      <a:lnTo>
                        <a:pt x="75" y="599"/>
                      </a:lnTo>
                      <a:lnTo>
                        <a:pt x="80" y="594"/>
                      </a:lnTo>
                      <a:lnTo>
                        <a:pt x="85" y="594"/>
                      </a:lnTo>
                      <a:lnTo>
                        <a:pt x="87" y="594"/>
                      </a:lnTo>
                      <a:lnTo>
                        <a:pt x="89" y="595"/>
                      </a:lnTo>
                      <a:lnTo>
                        <a:pt x="87" y="599"/>
                      </a:lnTo>
                      <a:lnTo>
                        <a:pt x="85" y="602"/>
                      </a:lnTo>
                      <a:lnTo>
                        <a:pt x="85" y="602"/>
                      </a:lnTo>
                      <a:lnTo>
                        <a:pt x="82" y="609"/>
                      </a:lnTo>
                      <a:lnTo>
                        <a:pt x="80" y="613"/>
                      </a:lnTo>
                      <a:lnTo>
                        <a:pt x="85" y="611"/>
                      </a:lnTo>
                      <a:lnTo>
                        <a:pt x="98" y="606"/>
                      </a:lnTo>
                      <a:lnTo>
                        <a:pt x="98" y="606"/>
                      </a:lnTo>
                      <a:lnTo>
                        <a:pt x="106" y="602"/>
                      </a:lnTo>
                      <a:lnTo>
                        <a:pt x="119" y="601"/>
                      </a:lnTo>
                      <a:lnTo>
                        <a:pt x="134" y="597"/>
                      </a:lnTo>
                      <a:lnTo>
                        <a:pt x="160" y="588"/>
                      </a:lnTo>
                      <a:lnTo>
                        <a:pt x="160" y="588"/>
                      </a:lnTo>
                      <a:lnTo>
                        <a:pt x="169" y="585"/>
                      </a:lnTo>
                      <a:lnTo>
                        <a:pt x="174" y="583"/>
                      </a:lnTo>
                      <a:lnTo>
                        <a:pt x="180" y="585"/>
                      </a:lnTo>
                      <a:lnTo>
                        <a:pt x="181" y="585"/>
                      </a:lnTo>
                      <a:lnTo>
                        <a:pt x="185" y="587"/>
                      </a:lnTo>
                      <a:lnTo>
                        <a:pt x="188" y="583"/>
                      </a:lnTo>
                      <a:lnTo>
                        <a:pt x="188" y="583"/>
                      </a:lnTo>
                      <a:lnTo>
                        <a:pt x="193" y="578"/>
                      </a:lnTo>
                      <a:lnTo>
                        <a:pt x="197" y="578"/>
                      </a:lnTo>
                      <a:lnTo>
                        <a:pt x="200" y="580"/>
                      </a:lnTo>
                      <a:lnTo>
                        <a:pt x="206" y="578"/>
                      </a:lnTo>
                      <a:lnTo>
                        <a:pt x="213" y="576"/>
                      </a:lnTo>
                      <a:lnTo>
                        <a:pt x="213" y="576"/>
                      </a:lnTo>
                      <a:lnTo>
                        <a:pt x="220" y="573"/>
                      </a:lnTo>
                      <a:lnTo>
                        <a:pt x="225" y="573"/>
                      </a:lnTo>
                      <a:lnTo>
                        <a:pt x="234" y="573"/>
                      </a:lnTo>
                      <a:lnTo>
                        <a:pt x="242" y="573"/>
                      </a:lnTo>
                      <a:lnTo>
                        <a:pt x="247" y="571"/>
                      </a:lnTo>
                      <a:lnTo>
                        <a:pt x="254" y="569"/>
                      </a:lnTo>
                      <a:lnTo>
                        <a:pt x="254" y="569"/>
                      </a:lnTo>
                      <a:lnTo>
                        <a:pt x="263" y="559"/>
                      </a:lnTo>
                      <a:lnTo>
                        <a:pt x="275" y="550"/>
                      </a:lnTo>
                      <a:lnTo>
                        <a:pt x="293" y="536"/>
                      </a:lnTo>
                      <a:lnTo>
                        <a:pt x="315" y="514"/>
                      </a:lnTo>
                      <a:lnTo>
                        <a:pt x="315" y="514"/>
                      </a:lnTo>
                      <a:lnTo>
                        <a:pt x="341" y="489"/>
                      </a:lnTo>
                      <a:lnTo>
                        <a:pt x="359" y="468"/>
                      </a:lnTo>
                      <a:lnTo>
                        <a:pt x="382" y="440"/>
                      </a:lnTo>
                      <a:lnTo>
                        <a:pt x="382" y="440"/>
                      </a:lnTo>
                      <a:lnTo>
                        <a:pt x="383" y="433"/>
                      </a:lnTo>
                      <a:lnTo>
                        <a:pt x="383" y="432"/>
                      </a:lnTo>
                      <a:lnTo>
                        <a:pt x="382" y="430"/>
                      </a:lnTo>
                      <a:lnTo>
                        <a:pt x="378" y="426"/>
                      </a:lnTo>
                      <a:lnTo>
                        <a:pt x="376" y="423"/>
                      </a:lnTo>
                      <a:lnTo>
                        <a:pt x="375" y="419"/>
                      </a:lnTo>
                      <a:lnTo>
                        <a:pt x="375" y="419"/>
                      </a:lnTo>
                      <a:lnTo>
                        <a:pt x="371" y="416"/>
                      </a:lnTo>
                      <a:lnTo>
                        <a:pt x="368" y="411"/>
                      </a:lnTo>
                      <a:lnTo>
                        <a:pt x="357" y="404"/>
                      </a:lnTo>
                      <a:lnTo>
                        <a:pt x="345" y="397"/>
                      </a:lnTo>
                      <a:lnTo>
                        <a:pt x="333" y="390"/>
                      </a:lnTo>
                      <a:lnTo>
                        <a:pt x="333" y="390"/>
                      </a:lnTo>
                      <a:lnTo>
                        <a:pt x="331" y="386"/>
                      </a:lnTo>
                      <a:lnTo>
                        <a:pt x="331" y="383"/>
                      </a:lnTo>
                      <a:lnTo>
                        <a:pt x="333" y="381"/>
                      </a:lnTo>
                      <a:lnTo>
                        <a:pt x="336" y="379"/>
                      </a:lnTo>
                      <a:lnTo>
                        <a:pt x="345" y="372"/>
                      </a:lnTo>
                      <a:lnTo>
                        <a:pt x="348" y="369"/>
                      </a:lnTo>
                      <a:lnTo>
                        <a:pt x="350" y="362"/>
                      </a:lnTo>
                      <a:lnTo>
                        <a:pt x="350" y="362"/>
                      </a:lnTo>
                      <a:lnTo>
                        <a:pt x="350" y="359"/>
                      </a:lnTo>
                      <a:lnTo>
                        <a:pt x="347" y="355"/>
                      </a:lnTo>
                      <a:lnTo>
                        <a:pt x="340" y="352"/>
                      </a:lnTo>
                      <a:lnTo>
                        <a:pt x="333" y="348"/>
                      </a:lnTo>
                      <a:lnTo>
                        <a:pt x="331" y="346"/>
                      </a:lnTo>
                      <a:lnTo>
                        <a:pt x="331" y="345"/>
                      </a:lnTo>
                      <a:lnTo>
                        <a:pt x="331" y="345"/>
                      </a:lnTo>
                      <a:lnTo>
                        <a:pt x="333" y="341"/>
                      </a:lnTo>
                      <a:lnTo>
                        <a:pt x="331" y="339"/>
                      </a:lnTo>
                      <a:lnTo>
                        <a:pt x="329" y="338"/>
                      </a:lnTo>
                      <a:lnTo>
                        <a:pt x="334" y="332"/>
                      </a:lnTo>
                      <a:lnTo>
                        <a:pt x="334" y="332"/>
                      </a:lnTo>
                      <a:lnTo>
                        <a:pt x="336" y="331"/>
                      </a:lnTo>
                      <a:lnTo>
                        <a:pt x="336" y="329"/>
                      </a:lnTo>
                      <a:lnTo>
                        <a:pt x="329" y="324"/>
                      </a:lnTo>
                      <a:lnTo>
                        <a:pt x="321" y="319"/>
                      </a:lnTo>
                      <a:lnTo>
                        <a:pt x="317" y="317"/>
                      </a:lnTo>
                      <a:lnTo>
                        <a:pt x="315" y="313"/>
                      </a:lnTo>
                      <a:lnTo>
                        <a:pt x="315" y="313"/>
                      </a:lnTo>
                      <a:lnTo>
                        <a:pt x="315" y="310"/>
                      </a:lnTo>
                      <a:lnTo>
                        <a:pt x="317" y="308"/>
                      </a:lnTo>
                      <a:lnTo>
                        <a:pt x="322" y="305"/>
                      </a:lnTo>
                      <a:lnTo>
                        <a:pt x="324" y="303"/>
                      </a:lnTo>
                      <a:lnTo>
                        <a:pt x="324" y="301"/>
                      </a:lnTo>
                      <a:lnTo>
                        <a:pt x="324" y="299"/>
                      </a:lnTo>
                      <a:lnTo>
                        <a:pt x="321" y="298"/>
                      </a:lnTo>
                      <a:lnTo>
                        <a:pt x="321" y="298"/>
                      </a:lnTo>
                      <a:lnTo>
                        <a:pt x="317" y="296"/>
                      </a:lnTo>
                      <a:lnTo>
                        <a:pt x="317" y="294"/>
                      </a:lnTo>
                      <a:lnTo>
                        <a:pt x="319" y="291"/>
                      </a:lnTo>
                      <a:lnTo>
                        <a:pt x="321" y="285"/>
                      </a:lnTo>
                      <a:lnTo>
                        <a:pt x="321" y="285"/>
                      </a:lnTo>
                      <a:lnTo>
                        <a:pt x="321" y="280"/>
                      </a:lnTo>
                      <a:lnTo>
                        <a:pt x="324" y="278"/>
                      </a:lnTo>
                      <a:lnTo>
                        <a:pt x="326" y="278"/>
                      </a:lnTo>
                      <a:lnTo>
                        <a:pt x="322" y="275"/>
                      </a:lnTo>
                      <a:lnTo>
                        <a:pt x="322" y="275"/>
                      </a:lnTo>
                      <a:lnTo>
                        <a:pt x="321" y="271"/>
                      </a:lnTo>
                      <a:lnTo>
                        <a:pt x="321" y="270"/>
                      </a:lnTo>
                      <a:lnTo>
                        <a:pt x="331" y="271"/>
                      </a:lnTo>
                      <a:lnTo>
                        <a:pt x="331" y="271"/>
                      </a:lnTo>
                      <a:lnTo>
                        <a:pt x="333" y="271"/>
                      </a:lnTo>
                      <a:lnTo>
                        <a:pt x="334" y="270"/>
                      </a:lnTo>
                      <a:lnTo>
                        <a:pt x="333" y="263"/>
                      </a:lnTo>
                      <a:lnTo>
                        <a:pt x="324" y="240"/>
                      </a:lnTo>
                      <a:lnTo>
                        <a:pt x="312" y="218"/>
                      </a:lnTo>
                      <a:lnTo>
                        <a:pt x="305" y="207"/>
                      </a:lnTo>
                      <a:lnTo>
                        <a:pt x="300" y="202"/>
                      </a:lnTo>
                      <a:lnTo>
                        <a:pt x="300" y="202"/>
                      </a:lnTo>
                      <a:lnTo>
                        <a:pt x="296" y="197"/>
                      </a:lnTo>
                      <a:lnTo>
                        <a:pt x="296" y="191"/>
                      </a:lnTo>
                      <a:lnTo>
                        <a:pt x="300" y="186"/>
                      </a:lnTo>
                      <a:lnTo>
                        <a:pt x="305" y="179"/>
                      </a:lnTo>
                      <a:lnTo>
                        <a:pt x="317" y="167"/>
                      </a:lnTo>
                      <a:lnTo>
                        <a:pt x="328" y="157"/>
                      </a:lnTo>
                      <a:lnTo>
                        <a:pt x="328" y="157"/>
                      </a:lnTo>
                      <a:lnTo>
                        <a:pt x="331" y="153"/>
                      </a:lnTo>
                      <a:lnTo>
                        <a:pt x="333" y="150"/>
                      </a:lnTo>
                      <a:lnTo>
                        <a:pt x="331" y="148"/>
                      </a:lnTo>
                      <a:lnTo>
                        <a:pt x="329" y="146"/>
                      </a:lnTo>
                      <a:lnTo>
                        <a:pt x="321" y="141"/>
                      </a:lnTo>
                      <a:lnTo>
                        <a:pt x="317" y="136"/>
                      </a:lnTo>
                      <a:lnTo>
                        <a:pt x="312" y="130"/>
                      </a:lnTo>
                      <a:lnTo>
                        <a:pt x="312" y="130"/>
                      </a:lnTo>
                      <a:lnTo>
                        <a:pt x="307" y="124"/>
                      </a:lnTo>
                      <a:lnTo>
                        <a:pt x="303" y="122"/>
                      </a:lnTo>
                      <a:lnTo>
                        <a:pt x="298" y="122"/>
                      </a:lnTo>
                      <a:lnTo>
                        <a:pt x="294" y="122"/>
                      </a:lnTo>
                      <a:lnTo>
                        <a:pt x="291" y="122"/>
                      </a:lnTo>
                      <a:lnTo>
                        <a:pt x="287" y="120"/>
                      </a:lnTo>
                      <a:lnTo>
                        <a:pt x="282" y="115"/>
                      </a:lnTo>
                      <a:lnTo>
                        <a:pt x="279" y="106"/>
                      </a:lnTo>
                      <a:lnTo>
                        <a:pt x="279" y="106"/>
                      </a:lnTo>
                      <a:lnTo>
                        <a:pt x="277" y="99"/>
                      </a:lnTo>
                      <a:lnTo>
                        <a:pt x="277" y="94"/>
                      </a:lnTo>
                      <a:lnTo>
                        <a:pt x="279" y="90"/>
                      </a:lnTo>
                      <a:lnTo>
                        <a:pt x="282" y="89"/>
                      </a:lnTo>
                      <a:lnTo>
                        <a:pt x="286" y="83"/>
                      </a:lnTo>
                      <a:lnTo>
                        <a:pt x="287" y="82"/>
                      </a:lnTo>
                      <a:lnTo>
                        <a:pt x="287" y="78"/>
                      </a:lnTo>
                      <a:lnTo>
                        <a:pt x="287" y="78"/>
                      </a:lnTo>
                      <a:lnTo>
                        <a:pt x="286" y="76"/>
                      </a:lnTo>
                      <a:lnTo>
                        <a:pt x="282" y="75"/>
                      </a:lnTo>
                      <a:lnTo>
                        <a:pt x="277" y="75"/>
                      </a:lnTo>
                      <a:lnTo>
                        <a:pt x="275" y="73"/>
                      </a:lnTo>
                      <a:lnTo>
                        <a:pt x="277" y="71"/>
                      </a:lnTo>
                      <a:lnTo>
                        <a:pt x="293" y="64"/>
                      </a:lnTo>
                      <a:lnTo>
                        <a:pt x="293" y="64"/>
                      </a:lnTo>
                      <a:lnTo>
                        <a:pt x="287" y="61"/>
                      </a:lnTo>
                      <a:lnTo>
                        <a:pt x="286" y="56"/>
                      </a:lnTo>
                      <a:lnTo>
                        <a:pt x="287" y="52"/>
                      </a:lnTo>
                      <a:lnTo>
                        <a:pt x="293" y="49"/>
                      </a:lnTo>
                      <a:lnTo>
                        <a:pt x="301" y="40"/>
                      </a:lnTo>
                      <a:lnTo>
                        <a:pt x="303" y="36"/>
                      </a:lnTo>
                      <a:lnTo>
                        <a:pt x="303" y="33"/>
                      </a:lnTo>
                      <a:lnTo>
                        <a:pt x="303" y="33"/>
                      </a:lnTo>
                      <a:lnTo>
                        <a:pt x="300" y="28"/>
                      </a:lnTo>
                      <a:lnTo>
                        <a:pt x="294" y="24"/>
                      </a:lnTo>
                      <a:lnTo>
                        <a:pt x="282" y="19"/>
                      </a:lnTo>
                      <a:lnTo>
                        <a:pt x="270" y="12"/>
                      </a:lnTo>
                      <a:lnTo>
                        <a:pt x="265" y="9"/>
                      </a:lnTo>
                      <a:lnTo>
                        <a:pt x="261" y="5"/>
                      </a:lnTo>
                      <a:lnTo>
                        <a:pt x="261" y="5"/>
                      </a:lnTo>
                      <a:lnTo>
                        <a:pt x="258" y="2"/>
                      </a:lnTo>
                      <a:lnTo>
                        <a:pt x="253" y="0"/>
                      </a:lnTo>
                      <a:lnTo>
                        <a:pt x="247" y="0"/>
                      </a:lnTo>
                      <a:lnTo>
                        <a:pt x="242" y="3"/>
                      </a:lnTo>
                      <a:lnTo>
                        <a:pt x="242" y="3"/>
                      </a:lnTo>
                      <a:lnTo>
                        <a:pt x="232" y="7"/>
                      </a:lnTo>
                      <a:lnTo>
                        <a:pt x="225" y="9"/>
                      </a:lnTo>
                      <a:lnTo>
                        <a:pt x="221" y="9"/>
                      </a:lnTo>
                      <a:lnTo>
                        <a:pt x="216" y="9"/>
                      </a:lnTo>
                      <a:lnTo>
                        <a:pt x="211" y="7"/>
                      </a:lnTo>
                      <a:lnTo>
                        <a:pt x="207" y="7"/>
                      </a:lnTo>
                      <a:lnTo>
                        <a:pt x="204" y="10"/>
                      </a:lnTo>
                      <a:lnTo>
                        <a:pt x="204" y="10"/>
                      </a:lnTo>
                      <a:lnTo>
                        <a:pt x="195" y="17"/>
                      </a:lnTo>
                      <a:lnTo>
                        <a:pt x="188" y="24"/>
                      </a:lnTo>
                      <a:lnTo>
                        <a:pt x="185" y="31"/>
                      </a:lnTo>
                      <a:lnTo>
                        <a:pt x="183" y="38"/>
                      </a:lnTo>
                      <a:lnTo>
                        <a:pt x="183" y="38"/>
                      </a:lnTo>
                      <a:lnTo>
                        <a:pt x="181" y="43"/>
                      </a:lnTo>
                      <a:lnTo>
                        <a:pt x="180" y="49"/>
                      </a:lnTo>
                      <a:lnTo>
                        <a:pt x="180" y="54"/>
                      </a:lnTo>
                      <a:lnTo>
                        <a:pt x="181" y="61"/>
                      </a:lnTo>
                      <a:lnTo>
                        <a:pt x="181" y="61"/>
                      </a:lnTo>
                      <a:lnTo>
                        <a:pt x="183" y="66"/>
                      </a:lnTo>
                      <a:lnTo>
                        <a:pt x="183" y="68"/>
                      </a:lnTo>
                      <a:lnTo>
                        <a:pt x="180" y="70"/>
                      </a:lnTo>
                      <a:lnTo>
                        <a:pt x="176" y="71"/>
                      </a:lnTo>
                      <a:lnTo>
                        <a:pt x="167" y="75"/>
                      </a:lnTo>
                      <a:lnTo>
                        <a:pt x="164" y="76"/>
                      </a:lnTo>
                      <a:lnTo>
                        <a:pt x="160" y="80"/>
                      </a:lnTo>
                      <a:lnTo>
                        <a:pt x="160" y="80"/>
                      </a:lnTo>
                      <a:lnTo>
                        <a:pt x="159" y="87"/>
                      </a:lnTo>
                      <a:lnTo>
                        <a:pt x="155" y="90"/>
                      </a:lnTo>
                      <a:lnTo>
                        <a:pt x="150" y="94"/>
                      </a:lnTo>
                      <a:lnTo>
                        <a:pt x="150" y="94"/>
                      </a:lnTo>
                      <a:lnTo>
                        <a:pt x="141" y="87"/>
                      </a:lnTo>
                      <a:lnTo>
                        <a:pt x="131" y="82"/>
                      </a:lnTo>
                      <a:lnTo>
                        <a:pt x="117" y="78"/>
                      </a:lnTo>
                      <a:lnTo>
                        <a:pt x="117" y="78"/>
                      </a:lnTo>
                      <a:lnTo>
                        <a:pt x="113" y="78"/>
                      </a:lnTo>
                      <a:lnTo>
                        <a:pt x="112" y="80"/>
                      </a:lnTo>
                      <a:lnTo>
                        <a:pt x="106" y="85"/>
                      </a:lnTo>
                      <a:lnTo>
                        <a:pt x="98" y="89"/>
                      </a:lnTo>
                      <a:lnTo>
                        <a:pt x="98" y="89"/>
                      </a:lnTo>
                      <a:lnTo>
                        <a:pt x="91" y="89"/>
                      </a:lnTo>
                      <a:lnTo>
                        <a:pt x="89" y="87"/>
                      </a:lnTo>
                      <a:lnTo>
                        <a:pt x="84" y="85"/>
                      </a:lnTo>
                      <a:lnTo>
                        <a:pt x="73" y="85"/>
                      </a:lnTo>
                      <a:lnTo>
                        <a:pt x="73" y="85"/>
                      </a:lnTo>
                      <a:lnTo>
                        <a:pt x="63" y="83"/>
                      </a:lnTo>
                      <a:lnTo>
                        <a:pt x="61" y="83"/>
                      </a:lnTo>
                      <a:lnTo>
                        <a:pt x="61" y="82"/>
                      </a:lnTo>
                      <a:lnTo>
                        <a:pt x="61" y="76"/>
                      </a:lnTo>
                      <a:lnTo>
                        <a:pt x="59" y="73"/>
                      </a:lnTo>
                      <a:lnTo>
                        <a:pt x="56" y="68"/>
                      </a:lnTo>
                      <a:lnTo>
                        <a:pt x="56" y="68"/>
                      </a:lnTo>
                      <a:lnTo>
                        <a:pt x="44" y="57"/>
                      </a:lnTo>
                      <a:lnTo>
                        <a:pt x="35" y="50"/>
                      </a:lnTo>
                      <a:lnTo>
                        <a:pt x="30" y="49"/>
                      </a:lnTo>
                      <a:lnTo>
                        <a:pt x="26" y="47"/>
                      </a:lnTo>
                      <a:lnTo>
                        <a:pt x="21" y="47"/>
                      </a:lnTo>
                      <a:lnTo>
                        <a:pt x="18" y="50"/>
                      </a:lnTo>
                      <a:lnTo>
                        <a:pt x="18" y="50"/>
                      </a:lnTo>
                      <a:lnTo>
                        <a:pt x="16" y="54"/>
                      </a:lnTo>
                      <a:lnTo>
                        <a:pt x="16" y="57"/>
                      </a:lnTo>
                      <a:lnTo>
                        <a:pt x="18" y="61"/>
                      </a:lnTo>
                      <a:lnTo>
                        <a:pt x="18" y="64"/>
                      </a:lnTo>
                      <a:lnTo>
                        <a:pt x="18" y="64"/>
                      </a:lnTo>
                      <a:lnTo>
                        <a:pt x="14" y="64"/>
                      </a:lnTo>
                      <a:lnTo>
                        <a:pt x="9" y="63"/>
                      </a:lnTo>
                      <a:lnTo>
                        <a:pt x="4" y="61"/>
                      </a:lnTo>
                      <a:lnTo>
                        <a:pt x="2" y="63"/>
                      </a:lnTo>
                      <a:lnTo>
                        <a:pt x="0" y="64"/>
                      </a:lnTo>
                      <a:lnTo>
                        <a:pt x="0" y="6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6" name="Freeform 1735">
                  <a:extLst>
                    <a:ext uri="{FF2B5EF4-FFF2-40B4-BE49-F238E27FC236}">
                      <a16:creationId xmlns:a16="http://schemas.microsoft.com/office/drawing/2014/main" id="{EDA951C4-1EC6-FC0F-883E-3CF830E797AD}"/>
                    </a:ext>
                  </a:extLst>
                </p:cNvPr>
                <p:cNvSpPr>
                  <a:spLocks/>
                </p:cNvSpPr>
                <p:nvPr/>
              </p:nvSpPr>
              <p:spPr bwMode="auto">
                <a:xfrm>
                  <a:off x="5343490" y="2601762"/>
                  <a:ext cx="509218" cy="327732"/>
                </a:xfrm>
                <a:custGeom>
                  <a:avLst/>
                  <a:gdLst/>
                  <a:ahLst/>
                  <a:cxnLst>
                    <a:cxn ang="0">
                      <a:pos x="61" y="68"/>
                    </a:cxn>
                    <a:cxn ang="0">
                      <a:pos x="72" y="97"/>
                    </a:cxn>
                    <a:cxn ang="0">
                      <a:pos x="25" y="141"/>
                    </a:cxn>
                    <a:cxn ang="0">
                      <a:pos x="23" y="169"/>
                    </a:cxn>
                    <a:cxn ang="0">
                      <a:pos x="9" y="188"/>
                    </a:cxn>
                    <a:cxn ang="0">
                      <a:pos x="18" y="221"/>
                    </a:cxn>
                    <a:cxn ang="0">
                      <a:pos x="28" y="230"/>
                    </a:cxn>
                    <a:cxn ang="0">
                      <a:pos x="42" y="225"/>
                    </a:cxn>
                    <a:cxn ang="0">
                      <a:pos x="82" y="230"/>
                    </a:cxn>
                    <a:cxn ang="0">
                      <a:pos x="112" y="233"/>
                    </a:cxn>
                    <a:cxn ang="0">
                      <a:pos x="159" y="214"/>
                    </a:cxn>
                    <a:cxn ang="0">
                      <a:pos x="192" y="202"/>
                    </a:cxn>
                    <a:cxn ang="0">
                      <a:pos x="237" y="223"/>
                    </a:cxn>
                    <a:cxn ang="0">
                      <a:pos x="248" y="244"/>
                    </a:cxn>
                    <a:cxn ang="0">
                      <a:pos x="262" y="261"/>
                    </a:cxn>
                    <a:cxn ang="0">
                      <a:pos x="274" y="299"/>
                    </a:cxn>
                    <a:cxn ang="0">
                      <a:pos x="267" y="306"/>
                    </a:cxn>
                    <a:cxn ang="0">
                      <a:pos x="239" y="308"/>
                    </a:cxn>
                    <a:cxn ang="0">
                      <a:pos x="227" y="343"/>
                    </a:cxn>
                    <a:cxn ang="0">
                      <a:pos x="227" y="367"/>
                    </a:cxn>
                    <a:cxn ang="0">
                      <a:pos x="251" y="357"/>
                    </a:cxn>
                    <a:cxn ang="0">
                      <a:pos x="263" y="348"/>
                    </a:cxn>
                    <a:cxn ang="0">
                      <a:pos x="298" y="322"/>
                    </a:cxn>
                    <a:cxn ang="0">
                      <a:pos x="328" y="296"/>
                    </a:cxn>
                    <a:cxn ang="0">
                      <a:pos x="347" y="279"/>
                    </a:cxn>
                    <a:cxn ang="0">
                      <a:pos x="359" y="301"/>
                    </a:cxn>
                    <a:cxn ang="0">
                      <a:pos x="343" y="312"/>
                    </a:cxn>
                    <a:cxn ang="0">
                      <a:pos x="389" y="322"/>
                    </a:cxn>
                    <a:cxn ang="0">
                      <a:pos x="406" y="331"/>
                    </a:cxn>
                    <a:cxn ang="0">
                      <a:pos x="368" y="360"/>
                    </a:cxn>
                    <a:cxn ang="0">
                      <a:pos x="399" y="392"/>
                    </a:cxn>
                    <a:cxn ang="0">
                      <a:pos x="424" y="404"/>
                    </a:cxn>
                    <a:cxn ang="0">
                      <a:pos x="462" y="381"/>
                    </a:cxn>
                    <a:cxn ang="0">
                      <a:pos x="504" y="373"/>
                    </a:cxn>
                    <a:cxn ang="0">
                      <a:pos x="498" y="353"/>
                    </a:cxn>
                    <a:cxn ang="0">
                      <a:pos x="455" y="346"/>
                    </a:cxn>
                    <a:cxn ang="0">
                      <a:pos x="457" y="315"/>
                    </a:cxn>
                    <a:cxn ang="0">
                      <a:pos x="486" y="296"/>
                    </a:cxn>
                    <a:cxn ang="0">
                      <a:pos x="549" y="272"/>
                    </a:cxn>
                    <a:cxn ang="0">
                      <a:pos x="568" y="249"/>
                    </a:cxn>
                    <a:cxn ang="0">
                      <a:pos x="615" y="235"/>
                    </a:cxn>
                    <a:cxn ang="0">
                      <a:pos x="617" y="197"/>
                    </a:cxn>
                    <a:cxn ang="0">
                      <a:pos x="629" y="179"/>
                    </a:cxn>
                    <a:cxn ang="0">
                      <a:pos x="634" y="158"/>
                    </a:cxn>
                    <a:cxn ang="0">
                      <a:pos x="615" y="141"/>
                    </a:cxn>
                    <a:cxn ang="0">
                      <a:pos x="580" y="124"/>
                    </a:cxn>
                    <a:cxn ang="0">
                      <a:pos x="545" y="113"/>
                    </a:cxn>
                    <a:cxn ang="0">
                      <a:pos x="502" y="110"/>
                    </a:cxn>
                    <a:cxn ang="0">
                      <a:pos x="469" y="96"/>
                    </a:cxn>
                    <a:cxn ang="0">
                      <a:pos x="441" y="63"/>
                    </a:cxn>
                    <a:cxn ang="0">
                      <a:pos x="424" y="40"/>
                    </a:cxn>
                    <a:cxn ang="0">
                      <a:pos x="418" y="7"/>
                    </a:cxn>
                    <a:cxn ang="0">
                      <a:pos x="397" y="0"/>
                    </a:cxn>
                    <a:cxn ang="0">
                      <a:pos x="363" y="3"/>
                    </a:cxn>
                    <a:cxn ang="0">
                      <a:pos x="338" y="14"/>
                    </a:cxn>
                    <a:cxn ang="0">
                      <a:pos x="298" y="45"/>
                    </a:cxn>
                    <a:cxn ang="0">
                      <a:pos x="265" y="50"/>
                    </a:cxn>
                    <a:cxn ang="0">
                      <a:pos x="237" y="43"/>
                    </a:cxn>
                    <a:cxn ang="0">
                      <a:pos x="201" y="40"/>
                    </a:cxn>
                    <a:cxn ang="0">
                      <a:pos x="138" y="24"/>
                    </a:cxn>
                    <a:cxn ang="0">
                      <a:pos x="70" y="40"/>
                    </a:cxn>
                  </a:cxnLst>
                  <a:rect l="0" t="0" r="r" b="b"/>
                  <a:pathLst>
                    <a:path w="634" h="407">
                      <a:moveTo>
                        <a:pt x="53" y="45"/>
                      </a:moveTo>
                      <a:lnTo>
                        <a:pt x="53" y="45"/>
                      </a:lnTo>
                      <a:lnTo>
                        <a:pt x="54" y="49"/>
                      </a:lnTo>
                      <a:lnTo>
                        <a:pt x="54" y="50"/>
                      </a:lnTo>
                      <a:lnTo>
                        <a:pt x="53" y="54"/>
                      </a:lnTo>
                      <a:lnTo>
                        <a:pt x="53" y="57"/>
                      </a:lnTo>
                      <a:lnTo>
                        <a:pt x="54" y="59"/>
                      </a:lnTo>
                      <a:lnTo>
                        <a:pt x="61" y="68"/>
                      </a:lnTo>
                      <a:lnTo>
                        <a:pt x="61" y="68"/>
                      </a:lnTo>
                      <a:lnTo>
                        <a:pt x="70" y="80"/>
                      </a:lnTo>
                      <a:lnTo>
                        <a:pt x="70" y="84"/>
                      </a:lnTo>
                      <a:lnTo>
                        <a:pt x="70" y="84"/>
                      </a:lnTo>
                      <a:lnTo>
                        <a:pt x="65" y="84"/>
                      </a:lnTo>
                      <a:lnTo>
                        <a:pt x="65" y="85"/>
                      </a:lnTo>
                      <a:lnTo>
                        <a:pt x="67" y="87"/>
                      </a:lnTo>
                      <a:lnTo>
                        <a:pt x="67" y="87"/>
                      </a:lnTo>
                      <a:lnTo>
                        <a:pt x="70" y="92"/>
                      </a:lnTo>
                      <a:lnTo>
                        <a:pt x="72" y="97"/>
                      </a:lnTo>
                      <a:lnTo>
                        <a:pt x="70" y="99"/>
                      </a:lnTo>
                      <a:lnTo>
                        <a:pt x="68" y="101"/>
                      </a:lnTo>
                      <a:lnTo>
                        <a:pt x="60" y="104"/>
                      </a:lnTo>
                      <a:lnTo>
                        <a:pt x="60" y="104"/>
                      </a:lnTo>
                      <a:lnTo>
                        <a:pt x="56" y="106"/>
                      </a:lnTo>
                      <a:lnTo>
                        <a:pt x="51" y="110"/>
                      </a:lnTo>
                      <a:lnTo>
                        <a:pt x="42" y="118"/>
                      </a:lnTo>
                      <a:lnTo>
                        <a:pt x="25" y="141"/>
                      </a:lnTo>
                      <a:lnTo>
                        <a:pt x="25" y="141"/>
                      </a:lnTo>
                      <a:lnTo>
                        <a:pt x="21" y="144"/>
                      </a:lnTo>
                      <a:lnTo>
                        <a:pt x="21" y="148"/>
                      </a:lnTo>
                      <a:lnTo>
                        <a:pt x="21" y="153"/>
                      </a:lnTo>
                      <a:lnTo>
                        <a:pt x="23" y="158"/>
                      </a:lnTo>
                      <a:lnTo>
                        <a:pt x="23" y="160"/>
                      </a:lnTo>
                      <a:lnTo>
                        <a:pt x="23" y="164"/>
                      </a:lnTo>
                      <a:lnTo>
                        <a:pt x="23" y="164"/>
                      </a:lnTo>
                      <a:lnTo>
                        <a:pt x="21" y="165"/>
                      </a:lnTo>
                      <a:lnTo>
                        <a:pt x="23" y="169"/>
                      </a:lnTo>
                      <a:lnTo>
                        <a:pt x="27" y="172"/>
                      </a:lnTo>
                      <a:lnTo>
                        <a:pt x="27" y="174"/>
                      </a:lnTo>
                      <a:lnTo>
                        <a:pt x="25" y="174"/>
                      </a:lnTo>
                      <a:lnTo>
                        <a:pt x="16" y="172"/>
                      </a:lnTo>
                      <a:lnTo>
                        <a:pt x="16" y="172"/>
                      </a:lnTo>
                      <a:lnTo>
                        <a:pt x="14" y="178"/>
                      </a:lnTo>
                      <a:lnTo>
                        <a:pt x="11" y="184"/>
                      </a:lnTo>
                      <a:lnTo>
                        <a:pt x="11" y="184"/>
                      </a:lnTo>
                      <a:lnTo>
                        <a:pt x="9" y="188"/>
                      </a:lnTo>
                      <a:lnTo>
                        <a:pt x="6" y="191"/>
                      </a:lnTo>
                      <a:lnTo>
                        <a:pt x="2" y="197"/>
                      </a:lnTo>
                      <a:lnTo>
                        <a:pt x="0" y="205"/>
                      </a:lnTo>
                      <a:lnTo>
                        <a:pt x="0" y="205"/>
                      </a:lnTo>
                      <a:lnTo>
                        <a:pt x="6" y="207"/>
                      </a:lnTo>
                      <a:lnTo>
                        <a:pt x="9" y="211"/>
                      </a:lnTo>
                      <a:lnTo>
                        <a:pt x="14" y="216"/>
                      </a:lnTo>
                      <a:lnTo>
                        <a:pt x="16" y="221"/>
                      </a:lnTo>
                      <a:lnTo>
                        <a:pt x="18" y="221"/>
                      </a:lnTo>
                      <a:lnTo>
                        <a:pt x="21" y="221"/>
                      </a:lnTo>
                      <a:lnTo>
                        <a:pt x="21" y="221"/>
                      </a:lnTo>
                      <a:lnTo>
                        <a:pt x="25" y="221"/>
                      </a:lnTo>
                      <a:lnTo>
                        <a:pt x="27" y="223"/>
                      </a:lnTo>
                      <a:lnTo>
                        <a:pt x="28" y="225"/>
                      </a:lnTo>
                      <a:lnTo>
                        <a:pt x="27" y="226"/>
                      </a:lnTo>
                      <a:lnTo>
                        <a:pt x="27" y="226"/>
                      </a:lnTo>
                      <a:lnTo>
                        <a:pt x="27" y="228"/>
                      </a:lnTo>
                      <a:lnTo>
                        <a:pt x="28" y="230"/>
                      </a:lnTo>
                      <a:lnTo>
                        <a:pt x="28" y="230"/>
                      </a:lnTo>
                      <a:lnTo>
                        <a:pt x="30" y="228"/>
                      </a:lnTo>
                      <a:lnTo>
                        <a:pt x="32" y="228"/>
                      </a:lnTo>
                      <a:lnTo>
                        <a:pt x="32" y="228"/>
                      </a:lnTo>
                      <a:lnTo>
                        <a:pt x="35" y="225"/>
                      </a:lnTo>
                      <a:lnTo>
                        <a:pt x="35" y="225"/>
                      </a:lnTo>
                      <a:lnTo>
                        <a:pt x="37" y="223"/>
                      </a:lnTo>
                      <a:lnTo>
                        <a:pt x="39" y="223"/>
                      </a:lnTo>
                      <a:lnTo>
                        <a:pt x="42" y="225"/>
                      </a:lnTo>
                      <a:lnTo>
                        <a:pt x="47" y="228"/>
                      </a:lnTo>
                      <a:lnTo>
                        <a:pt x="51" y="228"/>
                      </a:lnTo>
                      <a:lnTo>
                        <a:pt x="54" y="228"/>
                      </a:lnTo>
                      <a:lnTo>
                        <a:pt x="54" y="228"/>
                      </a:lnTo>
                      <a:lnTo>
                        <a:pt x="65" y="230"/>
                      </a:lnTo>
                      <a:lnTo>
                        <a:pt x="70" y="230"/>
                      </a:lnTo>
                      <a:lnTo>
                        <a:pt x="75" y="232"/>
                      </a:lnTo>
                      <a:lnTo>
                        <a:pt x="82" y="230"/>
                      </a:lnTo>
                      <a:lnTo>
                        <a:pt x="82" y="230"/>
                      </a:lnTo>
                      <a:lnTo>
                        <a:pt x="86" y="230"/>
                      </a:lnTo>
                      <a:lnTo>
                        <a:pt x="89" y="232"/>
                      </a:lnTo>
                      <a:lnTo>
                        <a:pt x="94" y="237"/>
                      </a:lnTo>
                      <a:lnTo>
                        <a:pt x="98" y="242"/>
                      </a:lnTo>
                      <a:lnTo>
                        <a:pt x="101" y="242"/>
                      </a:lnTo>
                      <a:lnTo>
                        <a:pt x="103" y="240"/>
                      </a:lnTo>
                      <a:lnTo>
                        <a:pt x="103" y="240"/>
                      </a:lnTo>
                      <a:lnTo>
                        <a:pt x="108" y="235"/>
                      </a:lnTo>
                      <a:lnTo>
                        <a:pt x="112" y="233"/>
                      </a:lnTo>
                      <a:lnTo>
                        <a:pt x="117" y="232"/>
                      </a:lnTo>
                      <a:lnTo>
                        <a:pt x="129" y="230"/>
                      </a:lnTo>
                      <a:lnTo>
                        <a:pt x="129" y="230"/>
                      </a:lnTo>
                      <a:lnTo>
                        <a:pt x="136" y="228"/>
                      </a:lnTo>
                      <a:lnTo>
                        <a:pt x="140" y="226"/>
                      </a:lnTo>
                      <a:lnTo>
                        <a:pt x="145" y="223"/>
                      </a:lnTo>
                      <a:lnTo>
                        <a:pt x="150" y="218"/>
                      </a:lnTo>
                      <a:lnTo>
                        <a:pt x="154" y="216"/>
                      </a:lnTo>
                      <a:lnTo>
                        <a:pt x="159" y="214"/>
                      </a:lnTo>
                      <a:lnTo>
                        <a:pt x="159" y="214"/>
                      </a:lnTo>
                      <a:lnTo>
                        <a:pt x="161" y="211"/>
                      </a:lnTo>
                      <a:lnTo>
                        <a:pt x="164" y="209"/>
                      </a:lnTo>
                      <a:lnTo>
                        <a:pt x="173" y="207"/>
                      </a:lnTo>
                      <a:lnTo>
                        <a:pt x="182" y="205"/>
                      </a:lnTo>
                      <a:lnTo>
                        <a:pt x="185" y="205"/>
                      </a:lnTo>
                      <a:lnTo>
                        <a:pt x="188" y="204"/>
                      </a:lnTo>
                      <a:lnTo>
                        <a:pt x="188" y="204"/>
                      </a:lnTo>
                      <a:lnTo>
                        <a:pt x="192" y="202"/>
                      </a:lnTo>
                      <a:lnTo>
                        <a:pt x="197" y="204"/>
                      </a:lnTo>
                      <a:lnTo>
                        <a:pt x="208" y="209"/>
                      </a:lnTo>
                      <a:lnTo>
                        <a:pt x="218" y="216"/>
                      </a:lnTo>
                      <a:lnTo>
                        <a:pt x="223" y="218"/>
                      </a:lnTo>
                      <a:lnTo>
                        <a:pt x="227" y="218"/>
                      </a:lnTo>
                      <a:lnTo>
                        <a:pt x="227" y="218"/>
                      </a:lnTo>
                      <a:lnTo>
                        <a:pt x="230" y="218"/>
                      </a:lnTo>
                      <a:lnTo>
                        <a:pt x="234" y="219"/>
                      </a:lnTo>
                      <a:lnTo>
                        <a:pt x="237" y="223"/>
                      </a:lnTo>
                      <a:lnTo>
                        <a:pt x="241" y="228"/>
                      </a:lnTo>
                      <a:lnTo>
                        <a:pt x="242" y="228"/>
                      </a:lnTo>
                      <a:lnTo>
                        <a:pt x="244" y="228"/>
                      </a:lnTo>
                      <a:lnTo>
                        <a:pt x="244" y="228"/>
                      </a:lnTo>
                      <a:lnTo>
                        <a:pt x="248" y="226"/>
                      </a:lnTo>
                      <a:lnTo>
                        <a:pt x="249" y="228"/>
                      </a:lnTo>
                      <a:lnTo>
                        <a:pt x="251" y="232"/>
                      </a:lnTo>
                      <a:lnTo>
                        <a:pt x="249" y="237"/>
                      </a:lnTo>
                      <a:lnTo>
                        <a:pt x="248" y="244"/>
                      </a:lnTo>
                      <a:lnTo>
                        <a:pt x="248" y="244"/>
                      </a:lnTo>
                      <a:lnTo>
                        <a:pt x="248" y="249"/>
                      </a:lnTo>
                      <a:lnTo>
                        <a:pt x="249" y="256"/>
                      </a:lnTo>
                      <a:lnTo>
                        <a:pt x="253" y="259"/>
                      </a:lnTo>
                      <a:lnTo>
                        <a:pt x="256" y="259"/>
                      </a:lnTo>
                      <a:lnTo>
                        <a:pt x="258" y="259"/>
                      </a:lnTo>
                      <a:lnTo>
                        <a:pt x="258" y="259"/>
                      </a:lnTo>
                      <a:lnTo>
                        <a:pt x="260" y="259"/>
                      </a:lnTo>
                      <a:lnTo>
                        <a:pt x="262" y="261"/>
                      </a:lnTo>
                      <a:lnTo>
                        <a:pt x="262" y="268"/>
                      </a:lnTo>
                      <a:lnTo>
                        <a:pt x="263" y="277"/>
                      </a:lnTo>
                      <a:lnTo>
                        <a:pt x="265" y="280"/>
                      </a:lnTo>
                      <a:lnTo>
                        <a:pt x="269" y="282"/>
                      </a:lnTo>
                      <a:lnTo>
                        <a:pt x="269" y="282"/>
                      </a:lnTo>
                      <a:lnTo>
                        <a:pt x="272" y="285"/>
                      </a:lnTo>
                      <a:lnTo>
                        <a:pt x="274" y="289"/>
                      </a:lnTo>
                      <a:lnTo>
                        <a:pt x="274" y="294"/>
                      </a:lnTo>
                      <a:lnTo>
                        <a:pt x="274" y="299"/>
                      </a:lnTo>
                      <a:lnTo>
                        <a:pt x="276" y="301"/>
                      </a:lnTo>
                      <a:lnTo>
                        <a:pt x="277" y="305"/>
                      </a:lnTo>
                      <a:lnTo>
                        <a:pt x="277" y="305"/>
                      </a:lnTo>
                      <a:lnTo>
                        <a:pt x="281" y="308"/>
                      </a:lnTo>
                      <a:lnTo>
                        <a:pt x="279" y="310"/>
                      </a:lnTo>
                      <a:lnTo>
                        <a:pt x="276" y="310"/>
                      </a:lnTo>
                      <a:lnTo>
                        <a:pt x="272" y="308"/>
                      </a:lnTo>
                      <a:lnTo>
                        <a:pt x="272" y="308"/>
                      </a:lnTo>
                      <a:lnTo>
                        <a:pt x="267" y="306"/>
                      </a:lnTo>
                      <a:lnTo>
                        <a:pt x="262" y="308"/>
                      </a:lnTo>
                      <a:lnTo>
                        <a:pt x="255" y="308"/>
                      </a:lnTo>
                      <a:lnTo>
                        <a:pt x="253" y="306"/>
                      </a:lnTo>
                      <a:lnTo>
                        <a:pt x="251" y="305"/>
                      </a:lnTo>
                      <a:lnTo>
                        <a:pt x="251" y="305"/>
                      </a:lnTo>
                      <a:lnTo>
                        <a:pt x="248" y="303"/>
                      </a:lnTo>
                      <a:lnTo>
                        <a:pt x="246" y="303"/>
                      </a:lnTo>
                      <a:lnTo>
                        <a:pt x="241" y="305"/>
                      </a:lnTo>
                      <a:lnTo>
                        <a:pt x="239" y="308"/>
                      </a:lnTo>
                      <a:lnTo>
                        <a:pt x="239" y="312"/>
                      </a:lnTo>
                      <a:lnTo>
                        <a:pt x="241" y="313"/>
                      </a:lnTo>
                      <a:lnTo>
                        <a:pt x="241" y="313"/>
                      </a:lnTo>
                      <a:lnTo>
                        <a:pt x="242" y="319"/>
                      </a:lnTo>
                      <a:lnTo>
                        <a:pt x="242" y="322"/>
                      </a:lnTo>
                      <a:lnTo>
                        <a:pt x="239" y="327"/>
                      </a:lnTo>
                      <a:lnTo>
                        <a:pt x="235" y="331"/>
                      </a:lnTo>
                      <a:lnTo>
                        <a:pt x="229" y="339"/>
                      </a:lnTo>
                      <a:lnTo>
                        <a:pt x="227" y="343"/>
                      </a:lnTo>
                      <a:lnTo>
                        <a:pt x="225" y="346"/>
                      </a:lnTo>
                      <a:lnTo>
                        <a:pt x="225" y="346"/>
                      </a:lnTo>
                      <a:lnTo>
                        <a:pt x="225" y="352"/>
                      </a:lnTo>
                      <a:lnTo>
                        <a:pt x="222" y="353"/>
                      </a:lnTo>
                      <a:lnTo>
                        <a:pt x="218" y="353"/>
                      </a:lnTo>
                      <a:lnTo>
                        <a:pt x="215" y="355"/>
                      </a:lnTo>
                      <a:lnTo>
                        <a:pt x="215" y="355"/>
                      </a:lnTo>
                      <a:lnTo>
                        <a:pt x="222" y="362"/>
                      </a:lnTo>
                      <a:lnTo>
                        <a:pt x="227" y="367"/>
                      </a:lnTo>
                      <a:lnTo>
                        <a:pt x="232" y="367"/>
                      </a:lnTo>
                      <a:lnTo>
                        <a:pt x="234" y="364"/>
                      </a:lnTo>
                      <a:lnTo>
                        <a:pt x="234" y="364"/>
                      </a:lnTo>
                      <a:lnTo>
                        <a:pt x="235" y="362"/>
                      </a:lnTo>
                      <a:lnTo>
                        <a:pt x="239" y="362"/>
                      </a:lnTo>
                      <a:lnTo>
                        <a:pt x="242" y="362"/>
                      </a:lnTo>
                      <a:lnTo>
                        <a:pt x="248" y="359"/>
                      </a:lnTo>
                      <a:lnTo>
                        <a:pt x="248" y="359"/>
                      </a:lnTo>
                      <a:lnTo>
                        <a:pt x="251" y="357"/>
                      </a:lnTo>
                      <a:lnTo>
                        <a:pt x="256" y="357"/>
                      </a:lnTo>
                      <a:lnTo>
                        <a:pt x="263" y="359"/>
                      </a:lnTo>
                      <a:lnTo>
                        <a:pt x="265" y="362"/>
                      </a:lnTo>
                      <a:lnTo>
                        <a:pt x="269" y="366"/>
                      </a:lnTo>
                      <a:lnTo>
                        <a:pt x="269" y="366"/>
                      </a:lnTo>
                      <a:lnTo>
                        <a:pt x="269" y="359"/>
                      </a:lnTo>
                      <a:lnTo>
                        <a:pt x="267" y="355"/>
                      </a:lnTo>
                      <a:lnTo>
                        <a:pt x="265" y="353"/>
                      </a:lnTo>
                      <a:lnTo>
                        <a:pt x="263" y="348"/>
                      </a:lnTo>
                      <a:lnTo>
                        <a:pt x="263" y="348"/>
                      </a:lnTo>
                      <a:lnTo>
                        <a:pt x="263" y="343"/>
                      </a:lnTo>
                      <a:lnTo>
                        <a:pt x="267" y="341"/>
                      </a:lnTo>
                      <a:lnTo>
                        <a:pt x="272" y="343"/>
                      </a:lnTo>
                      <a:lnTo>
                        <a:pt x="277" y="341"/>
                      </a:lnTo>
                      <a:lnTo>
                        <a:pt x="281" y="338"/>
                      </a:lnTo>
                      <a:lnTo>
                        <a:pt x="281" y="338"/>
                      </a:lnTo>
                      <a:lnTo>
                        <a:pt x="291" y="329"/>
                      </a:lnTo>
                      <a:lnTo>
                        <a:pt x="298" y="322"/>
                      </a:lnTo>
                      <a:lnTo>
                        <a:pt x="302" y="315"/>
                      </a:lnTo>
                      <a:lnTo>
                        <a:pt x="303" y="306"/>
                      </a:lnTo>
                      <a:lnTo>
                        <a:pt x="303" y="306"/>
                      </a:lnTo>
                      <a:lnTo>
                        <a:pt x="303" y="303"/>
                      </a:lnTo>
                      <a:lnTo>
                        <a:pt x="305" y="301"/>
                      </a:lnTo>
                      <a:lnTo>
                        <a:pt x="309" y="299"/>
                      </a:lnTo>
                      <a:lnTo>
                        <a:pt x="312" y="298"/>
                      </a:lnTo>
                      <a:lnTo>
                        <a:pt x="321" y="298"/>
                      </a:lnTo>
                      <a:lnTo>
                        <a:pt x="328" y="296"/>
                      </a:lnTo>
                      <a:lnTo>
                        <a:pt x="328" y="296"/>
                      </a:lnTo>
                      <a:lnTo>
                        <a:pt x="335" y="294"/>
                      </a:lnTo>
                      <a:lnTo>
                        <a:pt x="338" y="296"/>
                      </a:lnTo>
                      <a:lnTo>
                        <a:pt x="342" y="296"/>
                      </a:lnTo>
                      <a:lnTo>
                        <a:pt x="342" y="291"/>
                      </a:lnTo>
                      <a:lnTo>
                        <a:pt x="342" y="291"/>
                      </a:lnTo>
                      <a:lnTo>
                        <a:pt x="343" y="277"/>
                      </a:lnTo>
                      <a:lnTo>
                        <a:pt x="345" y="273"/>
                      </a:lnTo>
                      <a:lnTo>
                        <a:pt x="347" y="279"/>
                      </a:lnTo>
                      <a:lnTo>
                        <a:pt x="347" y="279"/>
                      </a:lnTo>
                      <a:lnTo>
                        <a:pt x="347" y="287"/>
                      </a:lnTo>
                      <a:lnTo>
                        <a:pt x="347" y="294"/>
                      </a:lnTo>
                      <a:lnTo>
                        <a:pt x="349" y="296"/>
                      </a:lnTo>
                      <a:lnTo>
                        <a:pt x="352" y="298"/>
                      </a:lnTo>
                      <a:lnTo>
                        <a:pt x="357" y="299"/>
                      </a:lnTo>
                      <a:lnTo>
                        <a:pt x="366" y="299"/>
                      </a:lnTo>
                      <a:lnTo>
                        <a:pt x="366" y="299"/>
                      </a:lnTo>
                      <a:lnTo>
                        <a:pt x="359" y="301"/>
                      </a:lnTo>
                      <a:lnTo>
                        <a:pt x="354" y="303"/>
                      </a:lnTo>
                      <a:lnTo>
                        <a:pt x="343" y="301"/>
                      </a:lnTo>
                      <a:lnTo>
                        <a:pt x="336" y="299"/>
                      </a:lnTo>
                      <a:lnTo>
                        <a:pt x="333" y="299"/>
                      </a:lnTo>
                      <a:lnTo>
                        <a:pt x="333" y="301"/>
                      </a:lnTo>
                      <a:lnTo>
                        <a:pt x="333" y="301"/>
                      </a:lnTo>
                      <a:lnTo>
                        <a:pt x="333" y="303"/>
                      </a:lnTo>
                      <a:lnTo>
                        <a:pt x="336" y="306"/>
                      </a:lnTo>
                      <a:lnTo>
                        <a:pt x="343" y="312"/>
                      </a:lnTo>
                      <a:lnTo>
                        <a:pt x="352" y="317"/>
                      </a:lnTo>
                      <a:lnTo>
                        <a:pt x="356" y="320"/>
                      </a:lnTo>
                      <a:lnTo>
                        <a:pt x="356" y="322"/>
                      </a:lnTo>
                      <a:lnTo>
                        <a:pt x="356" y="322"/>
                      </a:lnTo>
                      <a:lnTo>
                        <a:pt x="357" y="324"/>
                      </a:lnTo>
                      <a:lnTo>
                        <a:pt x="361" y="324"/>
                      </a:lnTo>
                      <a:lnTo>
                        <a:pt x="371" y="322"/>
                      </a:lnTo>
                      <a:lnTo>
                        <a:pt x="383" y="322"/>
                      </a:lnTo>
                      <a:lnTo>
                        <a:pt x="389" y="322"/>
                      </a:lnTo>
                      <a:lnTo>
                        <a:pt x="392" y="324"/>
                      </a:lnTo>
                      <a:lnTo>
                        <a:pt x="392" y="324"/>
                      </a:lnTo>
                      <a:lnTo>
                        <a:pt x="394" y="324"/>
                      </a:lnTo>
                      <a:lnTo>
                        <a:pt x="397" y="324"/>
                      </a:lnTo>
                      <a:lnTo>
                        <a:pt x="401" y="324"/>
                      </a:lnTo>
                      <a:lnTo>
                        <a:pt x="403" y="324"/>
                      </a:lnTo>
                      <a:lnTo>
                        <a:pt x="406" y="327"/>
                      </a:lnTo>
                      <a:lnTo>
                        <a:pt x="406" y="327"/>
                      </a:lnTo>
                      <a:lnTo>
                        <a:pt x="406" y="331"/>
                      </a:lnTo>
                      <a:lnTo>
                        <a:pt x="406" y="332"/>
                      </a:lnTo>
                      <a:lnTo>
                        <a:pt x="401" y="336"/>
                      </a:lnTo>
                      <a:lnTo>
                        <a:pt x="385" y="345"/>
                      </a:lnTo>
                      <a:lnTo>
                        <a:pt x="370" y="352"/>
                      </a:lnTo>
                      <a:lnTo>
                        <a:pt x="364" y="355"/>
                      </a:lnTo>
                      <a:lnTo>
                        <a:pt x="364" y="357"/>
                      </a:lnTo>
                      <a:lnTo>
                        <a:pt x="364" y="359"/>
                      </a:lnTo>
                      <a:lnTo>
                        <a:pt x="364" y="359"/>
                      </a:lnTo>
                      <a:lnTo>
                        <a:pt x="368" y="360"/>
                      </a:lnTo>
                      <a:lnTo>
                        <a:pt x="373" y="362"/>
                      </a:lnTo>
                      <a:lnTo>
                        <a:pt x="385" y="366"/>
                      </a:lnTo>
                      <a:lnTo>
                        <a:pt x="390" y="367"/>
                      </a:lnTo>
                      <a:lnTo>
                        <a:pt x="396" y="371"/>
                      </a:lnTo>
                      <a:lnTo>
                        <a:pt x="401" y="374"/>
                      </a:lnTo>
                      <a:lnTo>
                        <a:pt x="401" y="381"/>
                      </a:lnTo>
                      <a:lnTo>
                        <a:pt x="401" y="381"/>
                      </a:lnTo>
                      <a:lnTo>
                        <a:pt x="401" y="388"/>
                      </a:lnTo>
                      <a:lnTo>
                        <a:pt x="399" y="392"/>
                      </a:lnTo>
                      <a:lnTo>
                        <a:pt x="396" y="395"/>
                      </a:lnTo>
                      <a:lnTo>
                        <a:pt x="396" y="395"/>
                      </a:lnTo>
                      <a:lnTo>
                        <a:pt x="396" y="397"/>
                      </a:lnTo>
                      <a:lnTo>
                        <a:pt x="401" y="404"/>
                      </a:lnTo>
                      <a:lnTo>
                        <a:pt x="401" y="404"/>
                      </a:lnTo>
                      <a:lnTo>
                        <a:pt x="408" y="407"/>
                      </a:lnTo>
                      <a:lnTo>
                        <a:pt x="413" y="407"/>
                      </a:lnTo>
                      <a:lnTo>
                        <a:pt x="418" y="407"/>
                      </a:lnTo>
                      <a:lnTo>
                        <a:pt x="424" y="404"/>
                      </a:lnTo>
                      <a:lnTo>
                        <a:pt x="432" y="395"/>
                      </a:lnTo>
                      <a:lnTo>
                        <a:pt x="443" y="386"/>
                      </a:lnTo>
                      <a:lnTo>
                        <a:pt x="443" y="386"/>
                      </a:lnTo>
                      <a:lnTo>
                        <a:pt x="446" y="385"/>
                      </a:lnTo>
                      <a:lnTo>
                        <a:pt x="450" y="385"/>
                      </a:lnTo>
                      <a:lnTo>
                        <a:pt x="453" y="385"/>
                      </a:lnTo>
                      <a:lnTo>
                        <a:pt x="455" y="385"/>
                      </a:lnTo>
                      <a:lnTo>
                        <a:pt x="462" y="381"/>
                      </a:lnTo>
                      <a:lnTo>
                        <a:pt x="462" y="381"/>
                      </a:lnTo>
                      <a:lnTo>
                        <a:pt x="467" y="376"/>
                      </a:lnTo>
                      <a:lnTo>
                        <a:pt x="472" y="373"/>
                      </a:lnTo>
                      <a:lnTo>
                        <a:pt x="476" y="373"/>
                      </a:lnTo>
                      <a:lnTo>
                        <a:pt x="478" y="374"/>
                      </a:lnTo>
                      <a:lnTo>
                        <a:pt x="484" y="378"/>
                      </a:lnTo>
                      <a:lnTo>
                        <a:pt x="490" y="378"/>
                      </a:lnTo>
                      <a:lnTo>
                        <a:pt x="495" y="378"/>
                      </a:lnTo>
                      <a:lnTo>
                        <a:pt x="495" y="378"/>
                      </a:lnTo>
                      <a:lnTo>
                        <a:pt x="504" y="373"/>
                      </a:lnTo>
                      <a:lnTo>
                        <a:pt x="505" y="373"/>
                      </a:lnTo>
                      <a:lnTo>
                        <a:pt x="505" y="371"/>
                      </a:lnTo>
                      <a:lnTo>
                        <a:pt x="504" y="367"/>
                      </a:lnTo>
                      <a:lnTo>
                        <a:pt x="504" y="366"/>
                      </a:lnTo>
                      <a:lnTo>
                        <a:pt x="505" y="362"/>
                      </a:lnTo>
                      <a:lnTo>
                        <a:pt x="505" y="362"/>
                      </a:lnTo>
                      <a:lnTo>
                        <a:pt x="507" y="359"/>
                      </a:lnTo>
                      <a:lnTo>
                        <a:pt x="505" y="355"/>
                      </a:lnTo>
                      <a:lnTo>
                        <a:pt x="498" y="353"/>
                      </a:lnTo>
                      <a:lnTo>
                        <a:pt x="488" y="355"/>
                      </a:lnTo>
                      <a:lnTo>
                        <a:pt x="488" y="355"/>
                      </a:lnTo>
                      <a:lnTo>
                        <a:pt x="483" y="357"/>
                      </a:lnTo>
                      <a:lnTo>
                        <a:pt x="478" y="359"/>
                      </a:lnTo>
                      <a:lnTo>
                        <a:pt x="472" y="362"/>
                      </a:lnTo>
                      <a:lnTo>
                        <a:pt x="469" y="362"/>
                      </a:lnTo>
                      <a:lnTo>
                        <a:pt x="465" y="360"/>
                      </a:lnTo>
                      <a:lnTo>
                        <a:pt x="460" y="355"/>
                      </a:lnTo>
                      <a:lnTo>
                        <a:pt x="455" y="346"/>
                      </a:lnTo>
                      <a:lnTo>
                        <a:pt x="455" y="346"/>
                      </a:lnTo>
                      <a:lnTo>
                        <a:pt x="446" y="331"/>
                      </a:lnTo>
                      <a:lnTo>
                        <a:pt x="444" y="322"/>
                      </a:lnTo>
                      <a:lnTo>
                        <a:pt x="444" y="320"/>
                      </a:lnTo>
                      <a:lnTo>
                        <a:pt x="446" y="319"/>
                      </a:lnTo>
                      <a:lnTo>
                        <a:pt x="450" y="317"/>
                      </a:lnTo>
                      <a:lnTo>
                        <a:pt x="450" y="317"/>
                      </a:lnTo>
                      <a:lnTo>
                        <a:pt x="455" y="313"/>
                      </a:lnTo>
                      <a:lnTo>
                        <a:pt x="457" y="315"/>
                      </a:lnTo>
                      <a:lnTo>
                        <a:pt x="458" y="315"/>
                      </a:lnTo>
                      <a:lnTo>
                        <a:pt x="457" y="319"/>
                      </a:lnTo>
                      <a:lnTo>
                        <a:pt x="457" y="322"/>
                      </a:lnTo>
                      <a:lnTo>
                        <a:pt x="457" y="322"/>
                      </a:lnTo>
                      <a:lnTo>
                        <a:pt x="460" y="320"/>
                      </a:lnTo>
                      <a:lnTo>
                        <a:pt x="460" y="320"/>
                      </a:lnTo>
                      <a:lnTo>
                        <a:pt x="469" y="312"/>
                      </a:lnTo>
                      <a:lnTo>
                        <a:pt x="478" y="303"/>
                      </a:lnTo>
                      <a:lnTo>
                        <a:pt x="486" y="296"/>
                      </a:lnTo>
                      <a:lnTo>
                        <a:pt x="490" y="294"/>
                      </a:lnTo>
                      <a:lnTo>
                        <a:pt x="493" y="294"/>
                      </a:lnTo>
                      <a:lnTo>
                        <a:pt x="493" y="294"/>
                      </a:lnTo>
                      <a:lnTo>
                        <a:pt x="500" y="296"/>
                      </a:lnTo>
                      <a:lnTo>
                        <a:pt x="507" y="294"/>
                      </a:lnTo>
                      <a:lnTo>
                        <a:pt x="516" y="291"/>
                      </a:lnTo>
                      <a:lnTo>
                        <a:pt x="525" y="285"/>
                      </a:lnTo>
                      <a:lnTo>
                        <a:pt x="540" y="277"/>
                      </a:lnTo>
                      <a:lnTo>
                        <a:pt x="549" y="272"/>
                      </a:lnTo>
                      <a:lnTo>
                        <a:pt x="549" y="272"/>
                      </a:lnTo>
                      <a:lnTo>
                        <a:pt x="558" y="273"/>
                      </a:lnTo>
                      <a:lnTo>
                        <a:pt x="561" y="275"/>
                      </a:lnTo>
                      <a:lnTo>
                        <a:pt x="563" y="277"/>
                      </a:lnTo>
                      <a:lnTo>
                        <a:pt x="566" y="273"/>
                      </a:lnTo>
                      <a:lnTo>
                        <a:pt x="566" y="273"/>
                      </a:lnTo>
                      <a:lnTo>
                        <a:pt x="565" y="261"/>
                      </a:lnTo>
                      <a:lnTo>
                        <a:pt x="566" y="254"/>
                      </a:lnTo>
                      <a:lnTo>
                        <a:pt x="568" y="249"/>
                      </a:lnTo>
                      <a:lnTo>
                        <a:pt x="572" y="247"/>
                      </a:lnTo>
                      <a:lnTo>
                        <a:pt x="580" y="244"/>
                      </a:lnTo>
                      <a:lnTo>
                        <a:pt x="584" y="242"/>
                      </a:lnTo>
                      <a:lnTo>
                        <a:pt x="585" y="238"/>
                      </a:lnTo>
                      <a:lnTo>
                        <a:pt x="585" y="238"/>
                      </a:lnTo>
                      <a:lnTo>
                        <a:pt x="587" y="235"/>
                      </a:lnTo>
                      <a:lnTo>
                        <a:pt x="592" y="233"/>
                      </a:lnTo>
                      <a:lnTo>
                        <a:pt x="603" y="233"/>
                      </a:lnTo>
                      <a:lnTo>
                        <a:pt x="615" y="235"/>
                      </a:lnTo>
                      <a:lnTo>
                        <a:pt x="620" y="233"/>
                      </a:lnTo>
                      <a:lnTo>
                        <a:pt x="624" y="230"/>
                      </a:lnTo>
                      <a:lnTo>
                        <a:pt x="624" y="230"/>
                      </a:lnTo>
                      <a:lnTo>
                        <a:pt x="627" y="219"/>
                      </a:lnTo>
                      <a:lnTo>
                        <a:pt x="627" y="211"/>
                      </a:lnTo>
                      <a:lnTo>
                        <a:pt x="624" y="204"/>
                      </a:lnTo>
                      <a:lnTo>
                        <a:pt x="619" y="198"/>
                      </a:lnTo>
                      <a:lnTo>
                        <a:pt x="619" y="198"/>
                      </a:lnTo>
                      <a:lnTo>
                        <a:pt x="617" y="197"/>
                      </a:lnTo>
                      <a:lnTo>
                        <a:pt x="615" y="195"/>
                      </a:lnTo>
                      <a:lnTo>
                        <a:pt x="615" y="193"/>
                      </a:lnTo>
                      <a:lnTo>
                        <a:pt x="617" y="191"/>
                      </a:lnTo>
                      <a:lnTo>
                        <a:pt x="622" y="188"/>
                      </a:lnTo>
                      <a:lnTo>
                        <a:pt x="627" y="186"/>
                      </a:lnTo>
                      <a:lnTo>
                        <a:pt x="627" y="186"/>
                      </a:lnTo>
                      <a:lnTo>
                        <a:pt x="631" y="184"/>
                      </a:lnTo>
                      <a:lnTo>
                        <a:pt x="631" y="181"/>
                      </a:lnTo>
                      <a:lnTo>
                        <a:pt x="629" y="179"/>
                      </a:lnTo>
                      <a:lnTo>
                        <a:pt x="624" y="178"/>
                      </a:lnTo>
                      <a:lnTo>
                        <a:pt x="624" y="178"/>
                      </a:lnTo>
                      <a:lnTo>
                        <a:pt x="619" y="178"/>
                      </a:lnTo>
                      <a:lnTo>
                        <a:pt x="620" y="174"/>
                      </a:lnTo>
                      <a:lnTo>
                        <a:pt x="624" y="171"/>
                      </a:lnTo>
                      <a:lnTo>
                        <a:pt x="631" y="165"/>
                      </a:lnTo>
                      <a:lnTo>
                        <a:pt x="631" y="165"/>
                      </a:lnTo>
                      <a:lnTo>
                        <a:pt x="634" y="160"/>
                      </a:lnTo>
                      <a:lnTo>
                        <a:pt x="634" y="158"/>
                      </a:lnTo>
                      <a:lnTo>
                        <a:pt x="632" y="155"/>
                      </a:lnTo>
                      <a:lnTo>
                        <a:pt x="631" y="148"/>
                      </a:lnTo>
                      <a:lnTo>
                        <a:pt x="631" y="148"/>
                      </a:lnTo>
                      <a:lnTo>
                        <a:pt x="631" y="144"/>
                      </a:lnTo>
                      <a:lnTo>
                        <a:pt x="631" y="144"/>
                      </a:lnTo>
                      <a:lnTo>
                        <a:pt x="626" y="146"/>
                      </a:lnTo>
                      <a:lnTo>
                        <a:pt x="620" y="146"/>
                      </a:lnTo>
                      <a:lnTo>
                        <a:pt x="617" y="144"/>
                      </a:lnTo>
                      <a:lnTo>
                        <a:pt x="615" y="141"/>
                      </a:lnTo>
                      <a:lnTo>
                        <a:pt x="615" y="141"/>
                      </a:lnTo>
                      <a:lnTo>
                        <a:pt x="612" y="137"/>
                      </a:lnTo>
                      <a:lnTo>
                        <a:pt x="608" y="136"/>
                      </a:lnTo>
                      <a:lnTo>
                        <a:pt x="601" y="134"/>
                      </a:lnTo>
                      <a:lnTo>
                        <a:pt x="592" y="132"/>
                      </a:lnTo>
                      <a:lnTo>
                        <a:pt x="589" y="131"/>
                      </a:lnTo>
                      <a:lnTo>
                        <a:pt x="585" y="129"/>
                      </a:lnTo>
                      <a:lnTo>
                        <a:pt x="585" y="129"/>
                      </a:lnTo>
                      <a:lnTo>
                        <a:pt x="580" y="124"/>
                      </a:lnTo>
                      <a:lnTo>
                        <a:pt x="575" y="122"/>
                      </a:lnTo>
                      <a:lnTo>
                        <a:pt x="572" y="122"/>
                      </a:lnTo>
                      <a:lnTo>
                        <a:pt x="568" y="124"/>
                      </a:lnTo>
                      <a:lnTo>
                        <a:pt x="559" y="125"/>
                      </a:lnTo>
                      <a:lnTo>
                        <a:pt x="556" y="125"/>
                      </a:lnTo>
                      <a:lnTo>
                        <a:pt x="551" y="122"/>
                      </a:lnTo>
                      <a:lnTo>
                        <a:pt x="551" y="122"/>
                      </a:lnTo>
                      <a:lnTo>
                        <a:pt x="547" y="117"/>
                      </a:lnTo>
                      <a:lnTo>
                        <a:pt x="545" y="113"/>
                      </a:lnTo>
                      <a:lnTo>
                        <a:pt x="540" y="104"/>
                      </a:lnTo>
                      <a:lnTo>
                        <a:pt x="538" y="103"/>
                      </a:lnTo>
                      <a:lnTo>
                        <a:pt x="535" y="103"/>
                      </a:lnTo>
                      <a:lnTo>
                        <a:pt x="530" y="103"/>
                      </a:lnTo>
                      <a:lnTo>
                        <a:pt x="521" y="106"/>
                      </a:lnTo>
                      <a:lnTo>
                        <a:pt x="521" y="106"/>
                      </a:lnTo>
                      <a:lnTo>
                        <a:pt x="514" y="110"/>
                      </a:lnTo>
                      <a:lnTo>
                        <a:pt x="507" y="111"/>
                      </a:lnTo>
                      <a:lnTo>
                        <a:pt x="502" y="110"/>
                      </a:lnTo>
                      <a:lnTo>
                        <a:pt x="498" y="108"/>
                      </a:lnTo>
                      <a:lnTo>
                        <a:pt x="490" y="103"/>
                      </a:lnTo>
                      <a:lnTo>
                        <a:pt x="486" y="103"/>
                      </a:lnTo>
                      <a:lnTo>
                        <a:pt x="479" y="103"/>
                      </a:lnTo>
                      <a:lnTo>
                        <a:pt x="479" y="103"/>
                      </a:lnTo>
                      <a:lnTo>
                        <a:pt x="474" y="104"/>
                      </a:lnTo>
                      <a:lnTo>
                        <a:pt x="471" y="104"/>
                      </a:lnTo>
                      <a:lnTo>
                        <a:pt x="469" y="101"/>
                      </a:lnTo>
                      <a:lnTo>
                        <a:pt x="469" y="96"/>
                      </a:lnTo>
                      <a:lnTo>
                        <a:pt x="467" y="84"/>
                      </a:lnTo>
                      <a:lnTo>
                        <a:pt x="465" y="77"/>
                      </a:lnTo>
                      <a:lnTo>
                        <a:pt x="462" y="70"/>
                      </a:lnTo>
                      <a:lnTo>
                        <a:pt x="462" y="70"/>
                      </a:lnTo>
                      <a:lnTo>
                        <a:pt x="455" y="63"/>
                      </a:lnTo>
                      <a:lnTo>
                        <a:pt x="451" y="61"/>
                      </a:lnTo>
                      <a:lnTo>
                        <a:pt x="450" y="61"/>
                      </a:lnTo>
                      <a:lnTo>
                        <a:pt x="444" y="63"/>
                      </a:lnTo>
                      <a:lnTo>
                        <a:pt x="441" y="63"/>
                      </a:lnTo>
                      <a:lnTo>
                        <a:pt x="436" y="61"/>
                      </a:lnTo>
                      <a:lnTo>
                        <a:pt x="436" y="61"/>
                      </a:lnTo>
                      <a:lnTo>
                        <a:pt x="429" y="57"/>
                      </a:lnTo>
                      <a:lnTo>
                        <a:pt x="429" y="56"/>
                      </a:lnTo>
                      <a:lnTo>
                        <a:pt x="429" y="52"/>
                      </a:lnTo>
                      <a:lnTo>
                        <a:pt x="425" y="47"/>
                      </a:lnTo>
                      <a:lnTo>
                        <a:pt x="425" y="47"/>
                      </a:lnTo>
                      <a:lnTo>
                        <a:pt x="424" y="42"/>
                      </a:lnTo>
                      <a:lnTo>
                        <a:pt x="424" y="40"/>
                      </a:lnTo>
                      <a:lnTo>
                        <a:pt x="429" y="35"/>
                      </a:lnTo>
                      <a:lnTo>
                        <a:pt x="434" y="30"/>
                      </a:lnTo>
                      <a:lnTo>
                        <a:pt x="434" y="28"/>
                      </a:lnTo>
                      <a:lnTo>
                        <a:pt x="430" y="26"/>
                      </a:lnTo>
                      <a:lnTo>
                        <a:pt x="430" y="26"/>
                      </a:lnTo>
                      <a:lnTo>
                        <a:pt x="424" y="21"/>
                      </a:lnTo>
                      <a:lnTo>
                        <a:pt x="420" y="16"/>
                      </a:lnTo>
                      <a:lnTo>
                        <a:pt x="418" y="12"/>
                      </a:lnTo>
                      <a:lnTo>
                        <a:pt x="418" y="7"/>
                      </a:lnTo>
                      <a:lnTo>
                        <a:pt x="417" y="3"/>
                      </a:lnTo>
                      <a:lnTo>
                        <a:pt x="417" y="2"/>
                      </a:lnTo>
                      <a:lnTo>
                        <a:pt x="413" y="2"/>
                      </a:lnTo>
                      <a:lnTo>
                        <a:pt x="408" y="3"/>
                      </a:lnTo>
                      <a:lnTo>
                        <a:pt x="408" y="3"/>
                      </a:lnTo>
                      <a:lnTo>
                        <a:pt x="404" y="5"/>
                      </a:lnTo>
                      <a:lnTo>
                        <a:pt x="403" y="5"/>
                      </a:lnTo>
                      <a:lnTo>
                        <a:pt x="399" y="2"/>
                      </a:lnTo>
                      <a:lnTo>
                        <a:pt x="397" y="0"/>
                      </a:lnTo>
                      <a:lnTo>
                        <a:pt x="394" y="0"/>
                      </a:lnTo>
                      <a:lnTo>
                        <a:pt x="392" y="0"/>
                      </a:lnTo>
                      <a:lnTo>
                        <a:pt x="387" y="3"/>
                      </a:lnTo>
                      <a:lnTo>
                        <a:pt x="387" y="3"/>
                      </a:lnTo>
                      <a:lnTo>
                        <a:pt x="383" y="5"/>
                      </a:lnTo>
                      <a:lnTo>
                        <a:pt x="378" y="7"/>
                      </a:lnTo>
                      <a:lnTo>
                        <a:pt x="370" y="5"/>
                      </a:lnTo>
                      <a:lnTo>
                        <a:pt x="366" y="3"/>
                      </a:lnTo>
                      <a:lnTo>
                        <a:pt x="363" y="3"/>
                      </a:lnTo>
                      <a:lnTo>
                        <a:pt x="361" y="5"/>
                      </a:lnTo>
                      <a:lnTo>
                        <a:pt x="359" y="10"/>
                      </a:lnTo>
                      <a:lnTo>
                        <a:pt x="359" y="10"/>
                      </a:lnTo>
                      <a:lnTo>
                        <a:pt x="357" y="14"/>
                      </a:lnTo>
                      <a:lnTo>
                        <a:pt x="356" y="17"/>
                      </a:lnTo>
                      <a:lnTo>
                        <a:pt x="354" y="17"/>
                      </a:lnTo>
                      <a:lnTo>
                        <a:pt x="350" y="17"/>
                      </a:lnTo>
                      <a:lnTo>
                        <a:pt x="338" y="14"/>
                      </a:lnTo>
                      <a:lnTo>
                        <a:pt x="338" y="14"/>
                      </a:lnTo>
                      <a:lnTo>
                        <a:pt x="330" y="14"/>
                      </a:lnTo>
                      <a:lnTo>
                        <a:pt x="321" y="16"/>
                      </a:lnTo>
                      <a:lnTo>
                        <a:pt x="314" y="19"/>
                      </a:lnTo>
                      <a:lnTo>
                        <a:pt x="309" y="23"/>
                      </a:lnTo>
                      <a:lnTo>
                        <a:pt x="303" y="26"/>
                      </a:lnTo>
                      <a:lnTo>
                        <a:pt x="300" y="33"/>
                      </a:lnTo>
                      <a:lnTo>
                        <a:pt x="298" y="38"/>
                      </a:lnTo>
                      <a:lnTo>
                        <a:pt x="298" y="45"/>
                      </a:lnTo>
                      <a:lnTo>
                        <a:pt x="298" y="45"/>
                      </a:lnTo>
                      <a:lnTo>
                        <a:pt x="298" y="56"/>
                      </a:lnTo>
                      <a:lnTo>
                        <a:pt x="296" y="61"/>
                      </a:lnTo>
                      <a:lnTo>
                        <a:pt x="295" y="61"/>
                      </a:lnTo>
                      <a:lnTo>
                        <a:pt x="293" y="59"/>
                      </a:lnTo>
                      <a:lnTo>
                        <a:pt x="286" y="52"/>
                      </a:lnTo>
                      <a:lnTo>
                        <a:pt x="286" y="52"/>
                      </a:lnTo>
                      <a:lnTo>
                        <a:pt x="282" y="50"/>
                      </a:lnTo>
                      <a:lnTo>
                        <a:pt x="274" y="49"/>
                      </a:lnTo>
                      <a:lnTo>
                        <a:pt x="265" y="50"/>
                      </a:lnTo>
                      <a:lnTo>
                        <a:pt x="258" y="52"/>
                      </a:lnTo>
                      <a:lnTo>
                        <a:pt x="258" y="52"/>
                      </a:lnTo>
                      <a:lnTo>
                        <a:pt x="255" y="54"/>
                      </a:lnTo>
                      <a:lnTo>
                        <a:pt x="253" y="52"/>
                      </a:lnTo>
                      <a:lnTo>
                        <a:pt x="251" y="45"/>
                      </a:lnTo>
                      <a:lnTo>
                        <a:pt x="249" y="42"/>
                      </a:lnTo>
                      <a:lnTo>
                        <a:pt x="248" y="40"/>
                      </a:lnTo>
                      <a:lnTo>
                        <a:pt x="244" y="40"/>
                      </a:lnTo>
                      <a:lnTo>
                        <a:pt x="237" y="43"/>
                      </a:lnTo>
                      <a:lnTo>
                        <a:pt x="237" y="43"/>
                      </a:lnTo>
                      <a:lnTo>
                        <a:pt x="230" y="49"/>
                      </a:lnTo>
                      <a:lnTo>
                        <a:pt x="229" y="49"/>
                      </a:lnTo>
                      <a:lnTo>
                        <a:pt x="229" y="47"/>
                      </a:lnTo>
                      <a:lnTo>
                        <a:pt x="227" y="45"/>
                      </a:lnTo>
                      <a:lnTo>
                        <a:pt x="222" y="42"/>
                      </a:lnTo>
                      <a:lnTo>
                        <a:pt x="213" y="40"/>
                      </a:lnTo>
                      <a:lnTo>
                        <a:pt x="201" y="40"/>
                      </a:lnTo>
                      <a:lnTo>
                        <a:pt x="201" y="40"/>
                      </a:lnTo>
                      <a:lnTo>
                        <a:pt x="185" y="40"/>
                      </a:lnTo>
                      <a:lnTo>
                        <a:pt x="180" y="37"/>
                      </a:lnTo>
                      <a:lnTo>
                        <a:pt x="176" y="35"/>
                      </a:lnTo>
                      <a:lnTo>
                        <a:pt x="169" y="33"/>
                      </a:lnTo>
                      <a:lnTo>
                        <a:pt x="169" y="33"/>
                      </a:lnTo>
                      <a:lnTo>
                        <a:pt x="164" y="33"/>
                      </a:lnTo>
                      <a:lnTo>
                        <a:pt x="159" y="31"/>
                      </a:lnTo>
                      <a:lnTo>
                        <a:pt x="147" y="28"/>
                      </a:lnTo>
                      <a:lnTo>
                        <a:pt x="138" y="24"/>
                      </a:lnTo>
                      <a:lnTo>
                        <a:pt x="129" y="23"/>
                      </a:lnTo>
                      <a:lnTo>
                        <a:pt x="117" y="23"/>
                      </a:lnTo>
                      <a:lnTo>
                        <a:pt x="101" y="23"/>
                      </a:lnTo>
                      <a:lnTo>
                        <a:pt x="101" y="23"/>
                      </a:lnTo>
                      <a:lnTo>
                        <a:pt x="89" y="26"/>
                      </a:lnTo>
                      <a:lnTo>
                        <a:pt x="81" y="28"/>
                      </a:lnTo>
                      <a:lnTo>
                        <a:pt x="75" y="31"/>
                      </a:lnTo>
                      <a:lnTo>
                        <a:pt x="72" y="35"/>
                      </a:lnTo>
                      <a:lnTo>
                        <a:pt x="70" y="40"/>
                      </a:lnTo>
                      <a:lnTo>
                        <a:pt x="68" y="42"/>
                      </a:lnTo>
                      <a:lnTo>
                        <a:pt x="65" y="40"/>
                      </a:lnTo>
                      <a:lnTo>
                        <a:pt x="65" y="40"/>
                      </a:lnTo>
                      <a:lnTo>
                        <a:pt x="60" y="40"/>
                      </a:lnTo>
                      <a:lnTo>
                        <a:pt x="56" y="42"/>
                      </a:lnTo>
                      <a:lnTo>
                        <a:pt x="53" y="45"/>
                      </a:lnTo>
                      <a:lnTo>
                        <a:pt x="53" y="4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7" name="Freeform 1736">
                  <a:extLst>
                    <a:ext uri="{FF2B5EF4-FFF2-40B4-BE49-F238E27FC236}">
                      <a16:creationId xmlns:a16="http://schemas.microsoft.com/office/drawing/2014/main" id="{905A63E8-23AC-7F57-4636-910D72569A92}"/>
                    </a:ext>
                  </a:extLst>
                </p:cNvPr>
                <p:cNvSpPr>
                  <a:spLocks/>
                </p:cNvSpPr>
                <p:nvPr/>
              </p:nvSpPr>
              <p:spPr bwMode="auto">
                <a:xfrm>
                  <a:off x="7193591" y="2615859"/>
                  <a:ext cx="903907" cy="422880"/>
                </a:xfrm>
                <a:custGeom>
                  <a:avLst/>
                  <a:gdLst/>
                  <a:ahLst/>
                  <a:cxnLst>
                    <a:cxn ang="0">
                      <a:pos x="982" y="188"/>
                    </a:cxn>
                    <a:cxn ang="0">
                      <a:pos x="973" y="215"/>
                    </a:cxn>
                    <a:cxn ang="0">
                      <a:pos x="989" y="221"/>
                    </a:cxn>
                    <a:cxn ang="0">
                      <a:pos x="1029" y="221"/>
                    </a:cxn>
                    <a:cxn ang="0">
                      <a:pos x="1048" y="213"/>
                    </a:cxn>
                    <a:cxn ang="0">
                      <a:pos x="1084" y="215"/>
                    </a:cxn>
                    <a:cxn ang="0">
                      <a:pos x="1123" y="258"/>
                    </a:cxn>
                    <a:cxn ang="0">
                      <a:pos x="1119" y="279"/>
                    </a:cxn>
                    <a:cxn ang="0">
                      <a:pos x="1084" y="275"/>
                    </a:cxn>
                    <a:cxn ang="0">
                      <a:pos x="1055" y="281"/>
                    </a:cxn>
                    <a:cxn ang="0">
                      <a:pos x="1011" y="295"/>
                    </a:cxn>
                    <a:cxn ang="0">
                      <a:pos x="995" y="319"/>
                    </a:cxn>
                    <a:cxn ang="0">
                      <a:pos x="961" y="342"/>
                    </a:cxn>
                    <a:cxn ang="0">
                      <a:pos x="933" y="349"/>
                    </a:cxn>
                    <a:cxn ang="0">
                      <a:pos x="900" y="371"/>
                    </a:cxn>
                    <a:cxn ang="0">
                      <a:pos x="846" y="356"/>
                    </a:cxn>
                    <a:cxn ang="0">
                      <a:pos x="830" y="390"/>
                    </a:cxn>
                    <a:cxn ang="0">
                      <a:pos x="846" y="420"/>
                    </a:cxn>
                    <a:cxn ang="0">
                      <a:pos x="809" y="446"/>
                    </a:cxn>
                    <a:cxn ang="0">
                      <a:pos x="766" y="483"/>
                    </a:cxn>
                    <a:cxn ang="0">
                      <a:pos x="740" y="486"/>
                    </a:cxn>
                    <a:cxn ang="0">
                      <a:pos x="705" y="486"/>
                    </a:cxn>
                    <a:cxn ang="0">
                      <a:pos x="670" y="495"/>
                    </a:cxn>
                    <a:cxn ang="0">
                      <a:pos x="604" y="526"/>
                    </a:cxn>
                    <a:cxn ang="0">
                      <a:pos x="590" y="524"/>
                    </a:cxn>
                    <a:cxn ang="0">
                      <a:pos x="578" y="514"/>
                    </a:cxn>
                    <a:cxn ang="0">
                      <a:pos x="541" y="509"/>
                    </a:cxn>
                    <a:cxn ang="0">
                      <a:pos x="503" y="495"/>
                    </a:cxn>
                    <a:cxn ang="0">
                      <a:pos x="442" y="474"/>
                    </a:cxn>
                    <a:cxn ang="0">
                      <a:pos x="316" y="469"/>
                    </a:cxn>
                    <a:cxn ang="0">
                      <a:pos x="294" y="462"/>
                    </a:cxn>
                    <a:cxn ang="0">
                      <a:pos x="271" y="413"/>
                    </a:cxn>
                    <a:cxn ang="0">
                      <a:pos x="240" y="390"/>
                    </a:cxn>
                    <a:cxn ang="0">
                      <a:pos x="177" y="361"/>
                    </a:cxn>
                    <a:cxn ang="0">
                      <a:pos x="114" y="350"/>
                    </a:cxn>
                    <a:cxn ang="0">
                      <a:pos x="102" y="322"/>
                    </a:cxn>
                    <a:cxn ang="0">
                      <a:pos x="107" y="282"/>
                    </a:cxn>
                    <a:cxn ang="0">
                      <a:pos x="80" y="223"/>
                    </a:cxn>
                    <a:cxn ang="0">
                      <a:pos x="67" y="216"/>
                    </a:cxn>
                    <a:cxn ang="0">
                      <a:pos x="57" y="208"/>
                    </a:cxn>
                    <a:cxn ang="0">
                      <a:pos x="22" y="194"/>
                    </a:cxn>
                    <a:cxn ang="0">
                      <a:pos x="0" y="150"/>
                    </a:cxn>
                    <a:cxn ang="0">
                      <a:pos x="36" y="133"/>
                    </a:cxn>
                    <a:cxn ang="0">
                      <a:pos x="62" y="115"/>
                    </a:cxn>
                    <a:cxn ang="0">
                      <a:pos x="118" y="82"/>
                    </a:cxn>
                    <a:cxn ang="0">
                      <a:pos x="177" y="72"/>
                    </a:cxn>
                    <a:cxn ang="0">
                      <a:pos x="226" y="82"/>
                    </a:cxn>
                    <a:cxn ang="0">
                      <a:pos x="273" y="108"/>
                    </a:cxn>
                    <a:cxn ang="0">
                      <a:pos x="362" y="103"/>
                    </a:cxn>
                    <a:cxn ang="0">
                      <a:pos x="355" y="68"/>
                    </a:cxn>
                    <a:cxn ang="0">
                      <a:pos x="374" y="11"/>
                    </a:cxn>
                    <a:cxn ang="0">
                      <a:pos x="430" y="16"/>
                    </a:cxn>
                    <a:cxn ang="0">
                      <a:pos x="504" y="39"/>
                    </a:cxn>
                    <a:cxn ang="0">
                      <a:pos x="525" y="89"/>
                    </a:cxn>
                    <a:cxn ang="0">
                      <a:pos x="602" y="89"/>
                    </a:cxn>
                    <a:cxn ang="0">
                      <a:pos x="670" y="100"/>
                    </a:cxn>
                    <a:cxn ang="0">
                      <a:pos x="717" y="134"/>
                    </a:cxn>
                    <a:cxn ang="0">
                      <a:pos x="806" y="147"/>
                    </a:cxn>
                    <a:cxn ang="0">
                      <a:pos x="858" y="133"/>
                    </a:cxn>
                    <a:cxn ang="0">
                      <a:pos x="903" y="107"/>
                    </a:cxn>
                    <a:cxn ang="0">
                      <a:pos x="935" y="93"/>
                    </a:cxn>
                    <a:cxn ang="0">
                      <a:pos x="985" y="108"/>
                    </a:cxn>
                  </a:cxnLst>
                  <a:rect l="0" t="0" r="r" b="b"/>
                  <a:pathLst>
                    <a:path w="1126" h="528">
                      <a:moveTo>
                        <a:pt x="1013" y="115"/>
                      </a:moveTo>
                      <a:lnTo>
                        <a:pt x="1013" y="115"/>
                      </a:lnTo>
                      <a:lnTo>
                        <a:pt x="999" y="145"/>
                      </a:lnTo>
                      <a:lnTo>
                        <a:pt x="989" y="166"/>
                      </a:lnTo>
                      <a:lnTo>
                        <a:pt x="985" y="180"/>
                      </a:lnTo>
                      <a:lnTo>
                        <a:pt x="982" y="188"/>
                      </a:lnTo>
                      <a:lnTo>
                        <a:pt x="982" y="195"/>
                      </a:lnTo>
                      <a:lnTo>
                        <a:pt x="975" y="202"/>
                      </a:lnTo>
                      <a:lnTo>
                        <a:pt x="975" y="202"/>
                      </a:lnTo>
                      <a:lnTo>
                        <a:pt x="973" y="206"/>
                      </a:lnTo>
                      <a:lnTo>
                        <a:pt x="971" y="209"/>
                      </a:lnTo>
                      <a:lnTo>
                        <a:pt x="973" y="215"/>
                      </a:lnTo>
                      <a:lnTo>
                        <a:pt x="975" y="218"/>
                      </a:lnTo>
                      <a:lnTo>
                        <a:pt x="978" y="221"/>
                      </a:lnTo>
                      <a:lnTo>
                        <a:pt x="982" y="223"/>
                      </a:lnTo>
                      <a:lnTo>
                        <a:pt x="987" y="223"/>
                      </a:lnTo>
                      <a:lnTo>
                        <a:pt x="989" y="221"/>
                      </a:lnTo>
                      <a:lnTo>
                        <a:pt x="989" y="221"/>
                      </a:lnTo>
                      <a:lnTo>
                        <a:pt x="997" y="218"/>
                      </a:lnTo>
                      <a:lnTo>
                        <a:pt x="1008" y="216"/>
                      </a:lnTo>
                      <a:lnTo>
                        <a:pt x="1020" y="216"/>
                      </a:lnTo>
                      <a:lnTo>
                        <a:pt x="1025" y="218"/>
                      </a:lnTo>
                      <a:lnTo>
                        <a:pt x="1029" y="221"/>
                      </a:lnTo>
                      <a:lnTo>
                        <a:pt x="1029" y="221"/>
                      </a:lnTo>
                      <a:lnTo>
                        <a:pt x="1034" y="225"/>
                      </a:lnTo>
                      <a:lnTo>
                        <a:pt x="1037" y="225"/>
                      </a:lnTo>
                      <a:lnTo>
                        <a:pt x="1039" y="223"/>
                      </a:lnTo>
                      <a:lnTo>
                        <a:pt x="1041" y="220"/>
                      </a:lnTo>
                      <a:lnTo>
                        <a:pt x="1043" y="216"/>
                      </a:lnTo>
                      <a:lnTo>
                        <a:pt x="1048" y="213"/>
                      </a:lnTo>
                      <a:lnTo>
                        <a:pt x="1053" y="211"/>
                      </a:lnTo>
                      <a:lnTo>
                        <a:pt x="1062" y="209"/>
                      </a:lnTo>
                      <a:lnTo>
                        <a:pt x="1062" y="209"/>
                      </a:lnTo>
                      <a:lnTo>
                        <a:pt x="1070" y="209"/>
                      </a:lnTo>
                      <a:lnTo>
                        <a:pt x="1077" y="213"/>
                      </a:lnTo>
                      <a:lnTo>
                        <a:pt x="1084" y="215"/>
                      </a:lnTo>
                      <a:lnTo>
                        <a:pt x="1088" y="220"/>
                      </a:lnTo>
                      <a:lnTo>
                        <a:pt x="1096" y="228"/>
                      </a:lnTo>
                      <a:lnTo>
                        <a:pt x="1105" y="239"/>
                      </a:lnTo>
                      <a:lnTo>
                        <a:pt x="1105" y="239"/>
                      </a:lnTo>
                      <a:lnTo>
                        <a:pt x="1114" y="249"/>
                      </a:lnTo>
                      <a:lnTo>
                        <a:pt x="1123" y="258"/>
                      </a:lnTo>
                      <a:lnTo>
                        <a:pt x="1124" y="263"/>
                      </a:lnTo>
                      <a:lnTo>
                        <a:pt x="1126" y="268"/>
                      </a:lnTo>
                      <a:lnTo>
                        <a:pt x="1126" y="272"/>
                      </a:lnTo>
                      <a:lnTo>
                        <a:pt x="1123" y="275"/>
                      </a:lnTo>
                      <a:lnTo>
                        <a:pt x="1123" y="275"/>
                      </a:lnTo>
                      <a:lnTo>
                        <a:pt x="1119" y="279"/>
                      </a:lnTo>
                      <a:lnTo>
                        <a:pt x="1114" y="279"/>
                      </a:lnTo>
                      <a:lnTo>
                        <a:pt x="1102" y="277"/>
                      </a:lnTo>
                      <a:lnTo>
                        <a:pt x="1091" y="274"/>
                      </a:lnTo>
                      <a:lnTo>
                        <a:pt x="1086" y="274"/>
                      </a:lnTo>
                      <a:lnTo>
                        <a:pt x="1084" y="275"/>
                      </a:lnTo>
                      <a:lnTo>
                        <a:pt x="1084" y="275"/>
                      </a:lnTo>
                      <a:lnTo>
                        <a:pt x="1081" y="277"/>
                      </a:lnTo>
                      <a:lnTo>
                        <a:pt x="1079" y="277"/>
                      </a:lnTo>
                      <a:lnTo>
                        <a:pt x="1072" y="275"/>
                      </a:lnTo>
                      <a:lnTo>
                        <a:pt x="1065" y="275"/>
                      </a:lnTo>
                      <a:lnTo>
                        <a:pt x="1060" y="277"/>
                      </a:lnTo>
                      <a:lnTo>
                        <a:pt x="1055" y="281"/>
                      </a:lnTo>
                      <a:lnTo>
                        <a:pt x="1055" y="281"/>
                      </a:lnTo>
                      <a:lnTo>
                        <a:pt x="1049" y="284"/>
                      </a:lnTo>
                      <a:lnTo>
                        <a:pt x="1043" y="286"/>
                      </a:lnTo>
                      <a:lnTo>
                        <a:pt x="1030" y="288"/>
                      </a:lnTo>
                      <a:lnTo>
                        <a:pt x="1016" y="291"/>
                      </a:lnTo>
                      <a:lnTo>
                        <a:pt x="1011" y="295"/>
                      </a:lnTo>
                      <a:lnTo>
                        <a:pt x="1004" y="300"/>
                      </a:lnTo>
                      <a:lnTo>
                        <a:pt x="1004" y="300"/>
                      </a:lnTo>
                      <a:lnTo>
                        <a:pt x="999" y="305"/>
                      </a:lnTo>
                      <a:lnTo>
                        <a:pt x="997" y="309"/>
                      </a:lnTo>
                      <a:lnTo>
                        <a:pt x="997" y="314"/>
                      </a:lnTo>
                      <a:lnTo>
                        <a:pt x="995" y="319"/>
                      </a:lnTo>
                      <a:lnTo>
                        <a:pt x="994" y="322"/>
                      </a:lnTo>
                      <a:lnTo>
                        <a:pt x="990" y="326"/>
                      </a:lnTo>
                      <a:lnTo>
                        <a:pt x="990" y="326"/>
                      </a:lnTo>
                      <a:lnTo>
                        <a:pt x="980" y="335"/>
                      </a:lnTo>
                      <a:lnTo>
                        <a:pt x="971" y="340"/>
                      </a:lnTo>
                      <a:lnTo>
                        <a:pt x="961" y="342"/>
                      </a:lnTo>
                      <a:lnTo>
                        <a:pt x="948" y="340"/>
                      </a:lnTo>
                      <a:lnTo>
                        <a:pt x="948" y="340"/>
                      </a:lnTo>
                      <a:lnTo>
                        <a:pt x="942" y="340"/>
                      </a:lnTo>
                      <a:lnTo>
                        <a:pt x="938" y="342"/>
                      </a:lnTo>
                      <a:lnTo>
                        <a:pt x="936" y="345"/>
                      </a:lnTo>
                      <a:lnTo>
                        <a:pt x="933" y="349"/>
                      </a:lnTo>
                      <a:lnTo>
                        <a:pt x="931" y="354"/>
                      </a:lnTo>
                      <a:lnTo>
                        <a:pt x="926" y="359"/>
                      </a:lnTo>
                      <a:lnTo>
                        <a:pt x="921" y="364"/>
                      </a:lnTo>
                      <a:lnTo>
                        <a:pt x="912" y="368"/>
                      </a:lnTo>
                      <a:lnTo>
                        <a:pt x="912" y="368"/>
                      </a:lnTo>
                      <a:lnTo>
                        <a:pt x="900" y="371"/>
                      </a:lnTo>
                      <a:lnTo>
                        <a:pt x="891" y="371"/>
                      </a:lnTo>
                      <a:lnTo>
                        <a:pt x="882" y="369"/>
                      </a:lnTo>
                      <a:lnTo>
                        <a:pt x="874" y="366"/>
                      </a:lnTo>
                      <a:lnTo>
                        <a:pt x="860" y="357"/>
                      </a:lnTo>
                      <a:lnTo>
                        <a:pt x="853" y="356"/>
                      </a:lnTo>
                      <a:lnTo>
                        <a:pt x="846" y="356"/>
                      </a:lnTo>
                      <a:lnTo>
                        <a:pt x="846" y="356"/>
                      </a:lnTo>
                      <a:lnTo>
                        <a:pt x="841" y="359"/>
                      </a:lnTo>
                      <a:lnTo>
                        <a:pt x="837" y="361"/>
                      </a:lnTo>
                      <a:lnTo>
                        <a:pt x="834" y="368"/>
                      </a:lnTo>
                      <a:lnTo>
                        <a:pt x="832" y="378"/>
                      </a:lnTo>
                      <a:lnTo>
                        <a:pt x="830" y="390"/>
                      </a:lnTo>
                      <a:lnTo>
                        <a:pt x="830" y="390"/>
                      </a:lnTo>
                      <a:lnTo>
                        <a:pt x="830" y="396"/>
                      </a:lnTo>
                      <a:lnTo>
                        <a:pt x="832" y="401"/>
                      </a:lnTo>
                      <a:lnTo>
                        <a:pt x="841" y="411"/>
                      </a:lnTo>
                      <a:lnTo>
                        <a:pt x="844" y="415"/>
                      </a:lnTo>
                      <a:lnTo>
                        <a:pt x="846" y="420"/>
                      </a:lnTo>
                      <a:lnTo>
                        <a:pt x="846" y="423"/>
                      </a:lnTo>
                      <a:lnTo>
                        <a:pt x="841" y="429"/>
                      </a:lnTo>
                      <a:lnTo>
                        <a:pt x="841" y="429"/>
                      </a:lnTo>
                      <a:lnTo>
                        <a:pt x="828" y="434"/>
                      </a:lnTo>
                      <a:lnTo>
                        <a:pt x="820" y="439"/>
                      </a:lnTo>
                      <a:lnTo>
                        <a:pt x="809" y="446"/>
                      </a:lnTo>
                      <a:lnTo>
                        <a:pt x="799" y="458"/>
                      </a:lnTo>
                      <a:lnTo>
                        <a:pt x="799" y="458"/>
                      </a:lnTo>
                      <a:lnTo>
                        <a:pt x="787" y="470"/>
                      </a:lnTo>
                      <a:lnTo>
                        <a:pt x="778" y="476"/>
                      </a:lnTo>
                      <a:lnTo>
                        <a:pt x="771" y="477"/>
                      </a:lnTo>
                      <a:lnTo>
                        <a:pt x="766" y="483"/>
                      </a:lnTo>
                      <a:lnTo>
                        <a:pt x="766" y="483"/>
                      </a:lnTo>
                      <a:lnTo>
                        <a:pt x="762" y="484"/>
                      </a:lnTo>
                      <a:lnTo>
                        <a:pt x="760" y="486"/>
                      </a:lnTo>
                      <a:lnTo>
                        <a:pt x="753" y="486"/>
                      </a:lnTo>
                      <a:lnTo>
                        <a:pt x="746" y="484"/>
                      </a:lnTo>
                      <a:lnTo>
                        <a:pt x="740" y="486"/>
                      </a:lnTo>
                      <a:lnTo>
                        <a:pt x="740" y="486"/>
                      </a:lnTo>
                      <a:lnTo>
                        <a:pt x="733" y="488"/>
                      </a:lnTo>
                      <a:lnTo>
                        <a:pt x="727" y="488"/>
                      </a:lnTo>
                      <a:lnTo>
                        <a:pt x="719" y="486"/>
                      </a:lnTo>
                      <a:lnTo>
                        <a:pt x="705" y="486"/>
                      </a:lnTo>
                      <a:lnTo>
                        <a:pt x="705" y="486"/>
                      </a:lnTo>
                      <a:lnTo>
                        <a:pt x="693" y="486"/>
                      </a:lnTo>
                      <a:lnTo>
                        <a:pt x="687" y="484"/>
                      </a:lnTo>
                      <a:lnTo>
                        <a:pt x="684" y="486"/>
                      </a:lnTo>
                      <a:lnTo>
                        <a:pt x="675" y="491"/>
                      </a:lnTo>
                      <a:lnTo>
                        <a:pt x="675" y="491"/>
                      </a:lnTo>
                      <a:lnTo>
                        <a:pt x="670" y="495"/>
                      </a:lnTo>
                      <a:lnTo>
                        <a:pt x="665" y="497"/>
                      </a:lnTo>
                      <a:lnTo>
                        <a:pt x="654" y="498"/>
                      </a:lnTo>
                      <a:lnTo>
                        <a:pt x="646" y="502"/>
                      </a:lnTo>
                      <a:lnTo>
                        <a:pt x="637" y="507"/>
                      </a:lnTo>
                      <a:lnTo>
                        <a:pt x="623" y="514"/>
                      </a:lnTo>
                      <a:lnTo>
                        <a:pt x="604" y="526"/>
                      </a:lnTo>
                      <a:lnTo>
                        <a:pt x="604" y="526"/>
                      </a:lnTo>
                      <a:lnTo>
                        <a:pt x="600" y="528"/>
                      </a:lnTo>
                      <a:lnTo>
                        <a:pt x="598" y="526"/>
                      </a:lnTo>
                      <a:lnTo>
                        <a:pt x="595" y="523"/>
                      </a:lnTo>
                      <a:lnTo>
                        <a:pt x="590" y="524"/>
                      </a:lnTo>
                      <a:lnTo>
                        <a:pt x="590" y="524"/>
                      </a:lnTo>
                      <a:lnTo>
                        <a:pt x="586" y="524"/>
                      </a:lnTo>
                      <a:lnTo>
                        <a:pt x="586" y="523"/>
                      </a:lnTo>
                      <a:lnTo>
                        <a:pt x="585" y="517"/>
                      </a:lnTo>
                      <a:lnTo>
                        <a:pt x="585" y="516"/>
                      </a:lnTo>
                      <a:lnTo>
                        <a:pt x="583" y="514"/>
                      </a:lnTo>
                      <a:lnTo>
                        <a:pt x="578" y="514"/>
                      </a:lnTo>
                      <a:lnTo>
                        <a:pt x="572" y="516"/>
                      </a:lnTo>
                      <a:lnTo>
                        <a:pt x="572" y="516"/>
                      </a:lnTo>
                      <a:lnTo>
                        <a:pt x="564" y="517"/>
                      </a:lnTo>
                      <a:lnTo>
                        <a:pt x="557" y="516"/>
                      </a:lnTo>
                      <a:lnTo>
                        <a:pt x="548" y="512"/>
                      </a:lnTo>
                      <a:lnTo>
                        <a:pt x="541" y="509"/>
                      </a:lnTo>
                      <a:lnTo>
                        <a:pt x="527" y="502"/>
                      </a:lnTo>
                      <a:lnTo>
                        <a:pt x="520" y="500"/>
                      </a:lnTo>
                      <a:lnTo>
                        <a:pt x="513" y="500"/>
                      </a:lnTo>
                      <a:lnTo>
                        <a:pt x="513" y="500"/>
                      </a:lnTo>
                      <a:lnTo>
                        <a:pt x="508" y="498"/>
                      </a:lnTo>
                      <a:lnTo>
                        <a:pt x="503" y="495"/>
                      </a:lnTo>
                      <a:lnTo>
                        <a:pt x="491" y="486"/>
                      </a:lnTo>
                      <a:lnTo>
                        <a:pt x="482" y="481"/>
                      </a:lnTo>
                      <a:lnTo>
                        <a:pt x="470" y="476"/>
                      </a:lnTo>
                      <a:lnTo>
                        <a:pt x="457" y="474"/>
                      </a:lnTo>
                      <a:lnTo>
                        <a:pt x="442" y="474"/>
                      </a:lnTo>
                      <a:lnTo>
                        <a:pt x="442" y="474"/>
                      </a:lnTo>
                      <a:lnTo>
                        <a:pt x="412" y="477"/>
                      </a:lnTo>
                      <a:lnTo>
                        <a:pt x="390" y="479"/>
                      </a:lnTo>
                      <a:lnTo>
                        <a:pt x="363" y="476"/>
                      </a:lnTo>
                      <a:lnTo>
                        <a:pt x="329" y="470"/>
                      </a:lnTo>
                      <a:lnTo>
                        <a:pt x="329" y="470"/>
                      </a:lnTo>
                      <a:lnTo>
                        <a:pt x="316" y="469"/>
                      </a:lnTo>
                      <a:lnTo>
                        <a:pt x="308" y="470"/>
                      </a:lnTo>
                      <a:lnTo>
                        <a:pt x="304" y="470"/>
                      </a:lnTo>
                      <a:lnTo>
                        <a:pt x="301" y="469"/>
                      </a:lnTo>
                      <a:lnTo>
                        <a:pt x="297" y="467"/>
                      </a:lnTo>
                      <a:lnTo>
                        <a:pt x="294" y="462"/>
                      </a:lnTo>
                      <a:lnTo>
                        <a:pt x="294" y="462"/>
                      </a:lnTo>
                      <a:lnTo>
                        <a:pt x="290" y="455"/>
                      </a:lnTo>
                      <a:lnTo>
                        <a:pt x="285" y="451"/>
                      </a:lnTo>
                      <a:lnTo>
                        <a:pt x="280" y="444"/>
                      </a:lnTo>
                      <a:lnTo>
                        <a:pt x="275" y="427"/>
                      </a:lnTo>
                      <a:lnTo>
                        <a:pt x="275" y="427"/>
                      </a:lnTo>
                      <a:lnTo>
                        <a:pt x="271" y="413"/>
                      </a:lnTo>
                      <a:lnTo>
                        <a:pt x="271" y="411"/>
                      </a:lnTo>
                      <a:lnTo>
                        <a:pt x="269" y="410"/>
                      </a:lnTo>
                      <a:lnTo>
                        <a:pt x="259" y="404"/>
                      </a:lnTo>
                      <a:lnTo>
                        <a:pt x="252" y="399"/>
                      </a:lnTo>
                      <a:lnTo>
                        <a:pt x="240" y="390"/>
                      </a:lnTo>
                      <a:lnTo>
                        <a:pt x="240" y="390"/>
                      </a:lnTo>
                      <a:lnTo>
                        <a:pt x="226" y="380"/>
                      </a:lnTo>
                      <a:lnTo>
                        <a:pt x="214" y="373"/>
                      </a:lnTo>
                      <a:lnTo>
                        <a:pt x="203" y="366"/>
                      </a:lnTo>
                      <a:lnTo>
                        <a:pt x="195" y="363"/>
                      </a:lnTo>
                      <a:lnTo>
                        <a:pt x="186" y="361"/>
                      </a:lnTo>
                      <a:lnTo>
                        <a:pt x="177" y="361"/>
                      </a:lnTo>
                      <a:lnTo>
                        <a:pt x="161" y="359"/>
                      </a:lnTo>
                      <a:lnTo>
                        <a:pt x="161" y="359"/>
                      </a:lnTo>
                      <a:lnTo>
                        <a:pt x="148" y="359"/>
                      </a:lnTo>
                      <a:lnTo>
                        <a:pt x="137" y="356"/>
                      </a:lnTo>
                      <a:lnTo>
                        <a:pt x="114" y="350"/>
                      </a:lnTo>
                      <a:lnTo>
                        <a:pt x="114" y="350"/>
                      </a:lnTo>
                      <a:lnTo>
                        <a:pt x="109" y="349"/>
                      </a:lnTo>
                      <a:lnTo>
                        <a:pt x="104" y="347"/>
                      </a:lnTo>
                      <a:lnTo>
                        <a:pt x="102" y="343"/>
                      </a:lnTo>
                      <a:lnTo>
                        <a:pt x="101" y="340"/>
                      </a:lnTo>
                      <a:lnTo>
                        <a:pt x="99" y="331"/>
                      </a:lnTo>
                      <a:lnTo>
                        <a:pt x="102" y="322"/>
                      </a:lnTo>
                      <a:lnTo>
                        <a:pt x="102" y="322"/>
                      </a:lnTo>
                      <a:lnTo>
                        <a:pt x="107" y="310"/>
                      </a:lnTo>
                      <a:lnTo>
                        <a:pt x="107" y="303"/>
                      </a:lnTo>
                      <a:lnTo>
                        <a:pt x="106" y="296"/>
                      </a:lnTo>
                      <a:lnTo>
                        <a:pt x="107" y="282"/>
                      </a:lnTo>
                      <a:lnTo>
                        <a:pt x="107" y="282"/>
                      </a:lnTo>
                      <a:lnTo>
                        <a:pt x="107" y="274"/>
                      </a:lnTo>
                      <a:lnTo>
                        <a:pt x="106" y="263"/>
                      </a:lnTo>
                      <a:lnTo>
                        <a:pt x="101" y="255"/>
                      </a:lnTo>
                      <a:lnTo>
                        <a:pt x="95" y="246"/>
                      </a:lnTo>
                      <a:lnTo>
                        <a:pt x="85" y="228"/>
                      </a:lnTo>
                      <a:lnTo>
                        <a:pt x="80" y="223"/>
                      </a:lnTo>
                      <a:lnTo>
                        <a:pt x="78" y="218"/>
                      </a:lnTo>
                      <a:lnTo>
                        <a:pt x="78" y="218"/>
                      </a:lnTo>
                      <a:lnTo>
                        <a:pt x="76" y="215"/>
                      </a:lnTo>
                      <a:lnTo>
                        <a:pt x="74" y="215"/>
                      </a:lnTo>
                      <a:lnTo>
                        <a:pt x="71" y="216"/>
                      </a:lnTo>
                      <a:lnTo>
                        <a:pt x="67" y="216"/>
                      </a:lnTo>
                      <a:lnTo>
                        <a:pt x="66" y="218"/>
                      </a:lnTo>
                      <a:lnTo>
                        <a:pt x="62" y="216"/>
                      </a:lnTo>
                      <a:lnTo>
                        <a:pt x="60" y="213"/>
                      </a:lnTo>
                      <a:lnTo>
                        <a:pt x="60" y="213"/>
                      </a:lnTo>
                      <a:lnTo>
                        <a:pt x="59" y="208"/>
                      </a:lnTo>
                      <a:lnTo>
                        <a:pt x="57" y="208"/>
                      </a:lnTo>
                      <a:lnTo>
                        <a:pt x="52" y="208"/>
                      </a:lnTo>
                      <a:lnTo>
                        <a:pt x="45" y="209"/>
                      </a:lnTo>
                      <a:lnTo>
                        <a:pt x="40" y="208"/>
                      </a:lnTo>
                      <a:lnTo>
                        <a:pt x="34" y="206"/>
                      </a:lnTo>
                      <a:lnTo>
                        <a:pt x="34" y="206"/>
                      </a:lnTo>
                      <a:lnTo>
                        <a:pt x="22" y="194"/>
                      </a:lnTo>
                      <a:lnTo>
                        <a:pt x="8" y="181"/>
                      </a:lnTo>
                      <a:lnTo>
                        <a:pt x="5" y="173"/>
                      </a:lnTo>
                      <a:lnTo>
                        <a:pt x="1" y="166"/>
                      </a:lnTo>
                      <a:lnTo>
                        <a:pt x="0" y="157"/>
                      </a:lnTo>
                      <a:lnTo>
                        <a:pt x="0" y="150"/>
                      </a:lnTo>
                      <a:lnTo>
                        <a:pt x="0" y="150"/>
                      </a:lnTo>
                      <a:lnTo>
                        <a:pt x="8" y="141"/>
                      </a:lnTo>
                      <a:lnTo>
                        <a:pt x="13" y="136"/>
                      </a:lnTo>
                      <a:lnTo>
                        <a:pt x="17" y="133"/>
                      </a:lnTo>
                      <a:lnTo>
                        <a:pt x="22" y="133"/>
                      </a:lnTo>
                      <a:lnTo>
                        <a:pt x="31" y="134"/>
                      </a:lnTo>
                      <a:lnTo>
                        <a:pt x="36" y="133"/>
                      </a:lnTo>
                      <a:lnTo>
                        <a:pt x="45" y="131"/>
                      </a:lnTo>
                      <a:lnTo>
                        <a:pt x="45" y="131"/>
                      </a:lnTo>
                      <a:lnTo>
                        <a:pt x="53" y="127"/>
                      </a:lnTo>
                      <a:lnTo>
                        <a:pt x="59" y="124"/>
                      </a:lnTo>
                      <a:lnTo>
                        <a:pt x="60" y="119"/>
                      </a:lnTo>
                      <a:lnTo>
                        <a:pt x="62" y="115"/>
                      </a:lnTo>
                      <a:lnTo>
                        <a:pt x="64" y="112"/>
                      </a:lnTo>
                      <a:lnTo>
                        <a:pt x="69" y="107"/>
                      </a:lnTo>
                      <a:lnTo>
                        <a:pt x="76" y="101"/>
                      </a:lnTo>
                      <a:lnTo>
                        <a:pt x="88" y="94"/>
                      </a:lnTo>
                      <a:lnTo>
                        <a:pt x="88" y="94"/>
                      </a:lnTo>
                      <a:lnTo>
                        <a:pt x="118" y="82"/>
                      </a:lnTo>
                      <a:lnTo>
                        <a:pt x="142" y="72"/>
                      </a:lnTo>
                      <a:lnTo>
                        <a:pt x="151" y="68"/>
                      </a:lnTo>
                      <a:lnTo>
                        <a:pt x="161" y="68"/>
                      </a:lnTo>
                      <a:lnTo>
                        <a:pt x="168" y="68"/>
                      </a:lnTo>
                      <a:lnTo>
                        <a:pt x="177" y="72"/>
                      </a:lnTo>
                      <a:lnTo>
                        <a:pt x="177" y="72"/>
                      </a:lnTo>
                      <a:lnTo>
                        <a:pt x="184" y="75"/>
                      </a:lnTo>
                      <a:lnTo>
                        <a:pt x="191" y="77"/>
                      </a:lnTo>
                      <a:lnTo>
                        <a:pt x="207" y="75"/>
                      </a:lnTo>
                      <a:lnTo>
                        <a:pt x="214" y="75"/>
                      </a:lnTo>
                      <a:lnTo>
                        <a:pt x="221" y="77"/>
                      </a:lnTo>
                      <a:lnTo>
                        <a:pt x="226" y="82"/>
                      </a:lnTo>
                      <a:lnTo>
                        <a:pt x="229" y="91"/>
                      </a:lnTo>
                      <a:lnTo>
                        <a:pt x="229" y="91"/>
                      </a:lnTo>
                      <a:lnTo>
                        <a:pt x="233" y="94"/>
                      </a:lnTo>
                      <a:lnTo>
                        <a:pt x="236" y="98"/>
                      </a:lnTo>
                      <a:lnTo>
                        <a:pt x="252" y="103"/>
                      </a:lnTo>
                      <a:lnTo>
                        <a:pt x="273" y="108"/>
                      </a:lnTo>
                      <a:lnTo>
                        <a:pt x="296" y="112"/>
                      </a:lnTo>
                      <a:lnTo>
                        <a:pt x="318" y="112"/>
                      </a:lnTo>
                      <a:lnTo>
                        <a:pt x="339" y="110"/>
                      </a:lnTo>
                      <a:lnTo>
                        <a:pt x="348" y="108"/>
                      </a:lnTo>
                      <a:lnTo>
                        <a:pt x="356" y="107"/>
                      </a:lnTo>
                      <a:lnTo>
                        <a:pt x="362" y="103"/>
                      </a:lnTo>
                      <a:lnTo>
                        <a:pt x="363" y="98"/>
                      </a:lnTo>
                      <a:lnTo>
                        <a:pt x="363" y="98"/>
                      </a:lnTo>
                      <a:lnTo>
                        <a:pt x="365" y="89"/>
                      </a:lnTo>
                      <a:lnTo>
                        <a:pt x="363" y="80"/>
                      </a:lnTo>
                      <a:lnTo>
                        <a:pt x="358" y="75"/>
                      </a:lnTo>
                      <a:lnTo>
                        <a:pt x="355" y="68"/>
                      </a:lnTo>
                      <a:lnTo>
                        <a:pt x="351" y="61"/>
                      </a:lnTo>
                      <a:lnTo>
                        <a:pt x="350" y="54"/>
                      </a:lnTo>
                      <a:lnTo>
                        <a:pt x="351" y="44"/>
                      </a:lnTo>
                      <a:lnTo>
                        <a:pt x="360" y="32"/>
                      </a:lnTo>
                      <a:lnTo>
                        <a:pt x="360" y="32"/>
                      </a:lnTo>
                      <a:lnTo>
                        <a:pt x="374" y="11"/>
                      </a:lnTo>
                      <a:lnTo>
                        <a:pt x="379" y="4"/>
                      </a:lnTo>
                      <a:lnTo>
                        <a:pt x="384" y="0"/>
                      </a:lnTo>
                      <a:lnTo>
                        <a:pt x="391" y="0"/>
                      </a:lnTo>
                      <a:lnTo>
                        <a:pt x="400" y="2"/>
                      </a:lnTo>
                      <a:lnTo>
                        <a:pt x="430" y="16"/>
                      </a:lnTo>
                      <a:lnTo>
                        <a:pt x="430" y="16"/>
                      </a:lnTo>
                      <a:lnTo>
                        <a:pt x="449" y="23"/>
                      </a:lnTo>
                      <a:lnTo>
                        <a:pt x="464" y="26"/>
                      </a:lnTo>
                      <a:lnTo>
                        <a:pt x="489" y="28"/>
                      </a:lnTo>
                      <a:lnTo>
                        <a:pt x="496" y="30"/>
                      </a:lnTo>
                      <a:lnTo>
                        <a:pt x="501" y="33"/>
                      </a:lnTo>
                      <a:lnTo>
                        <a:pt x="504" y="39"/>
                      </a:lnTo>
                      <a:lnTo>
                        <a:pt x="504" y="49"/>
                      </a:lnTo>
                      <a:lnTo>
                        <a:pt x="504" y="49"/>
                      </a:lnTo>
                      <a:lnTo>
                        <a:pt x="506" y="61"/>
                      </a:lnTo>
                      <a:lnTo>
                        <a:pt x="511" y="72"/>
                      </a:lnTo>
                      <a:lnTo>
                        <a:pt x="517" y="82"/>
                      </a:lnTo>
                      <a:lnTo>
                        <a:pt x="525" y="89"/>
                      </a:lnTo>
                      <a:lnTo>
                        <a:pt x="538" y="96"/>
                      </a:lnTo>
                      <a:lnTo>
                        <a:pt x="550" y="98"/>
                      </a:lnTo>
                      <a:lnTo>
                        <a:pt x="562" y="100"/>
                      </a:lnTo>
                      <a:lnTo>
                        <a:pt x="578" y="96"/>
                      </a:lnTo>
                      <a:lnTo>
                        <a:pt x="578" y="96"/>
                      </a:lnTo>
                      <a:lnTo>
                        <a:pt x="602" y="89"/>
                      </a:lnTo>
                      <a:lnTo>
                        <a:pt x="611" y="87"/>
                      </a:lnTo>
                      <a:lnTo>
                        <a:pt x="621" y="86"/>
                      </a:lnTo>
                      <a:lnTo>
                        <a:pt x="632" y="87"/>
                      </a:lnTo>
                      <a:lnTo>
                        <a:pt x="642" y="89"/>
                      </a:lnTo>
                      <a:lnTo>
                        <a:pt x="670" y="100"/>
                      </a:lnTo>
                      <a:lnTo>
                        <a:pt x="670" y="100"/>
                      </a:lnTo>
                      <a:lnTo>
                        <a:pt x="684" y="107"/>
                      </a:lnTo>
                      <a:lnTo>
                        <a:pt x="694" y="112"/>
                      </a:lnTo>
                      <a:lnTo>
                        <a:pt x="699" y="117"/>
                      </a:lnTo>
                      <a:lnTo>
                        <a:pt x="705" y="124"/>
                      </a:lnTo>
                      <a:lnTo>
                        <a:pt x="710" y="129"/>
                      </a:lnTo>
                      <a:lnTo>
                        <a:pt x="717" y="134"/>
                      </a:lnTo>
                      <a:lnTo>
                        <a:pt x="729" y="138"/>
                      </a:lnTo>
                      <a:lnTo>
                        <a:pt x="746" y="143"/>
                      </a:lnTo>
                      <a:lnTo>
                        <a:pt x="746" y="143"/>
                      </a:lnTo>
                      <a:lnTo>
                        <a:pt x="774" y="148"/>
                      </a:lnTo>
                      <a:lnTo>
                        <a:pt x="794" y="148"/>
                      </a:lnTo>
                      <a:lnTo>
                        <a:pt x="806" y="147"/>
                      </a:lnTo>
                      <a:lnTo>
                        <a:pt x="814" y="143"/>
                      </a:lnTo>
                      <a:lnTo>
                        <a:pt x="821" y="140"/>
                      </a:lnTo>
                      <a:lnTo>
                        <a:pt x="830" y="136"/>
                      </a:lnTo>
                      <a:lnTo>
                        <a:pt x="841" y="133"/>
                      </a:lnTo>
                      <a:lnTo>
                        <a:pt x="858" y="133"/>
                      </a:lnTo>
                      <a:lnTo>
                        <a:pt x="858" y="133"/>
                      </a:lnTo>
                      <a:lnTo>
                        <a:pt x="868" y="133"/>
                      </a:lnTo>
                      <a:lnTo>
                        <a:pt x="875" y="131"/>
                      </a:lnTo>
                      <a:lnTo>
                        <a:pt x="882" y="127"/>
                      </a:lnTo>
                      <a:lnTo>
                        <a:pt x="888" y="124"/>
                      </a:lnTo>
                      <a:lnTo>
                        <a:pt x="896" y="115"/>
                      </a:lnTo>
                      <a:lnTo>
                        <a:pt x="903" y="107"/>
                      </a:lnTo>
                      <a:lnTo>
                        <a:pt x="910" y="98"/>
                      </a:lnTo>
                      <a:lnTo>
                        <a:pt x="914" y="94"/>
                      </a:lnTo>
                      <a:lnTo>
                        <a:pt x="917" y="91"/>
                      </a:lnTo>
                      <a:lnTo>
                        <a:pt x="922" y="91"/>
                      </a:lnTo>
                      <a:lnTo>
                        <a:pt x="928" y="91"/>
                      </a:lnTo>
                      <a:lnTo>
                        <a:pt x="935" y="93"/>
                      </a:lnTo>
                      <a:lnTo>
                        <a:pt x="942" y="96"/>
                      </a:lnTo>
                      <a:lnTo>
                        <a:pt x="942" y="96"/>
                      </a:lnTo>
                      <a:lnTo>
                        <a:pt x="957" y="103"/>
                      </a:lnTo>
                      <a:lnTo>
                        <a:pt x="968" y="107"/>
                      </a:lnTo>
                      <a:lnTo>
                        <a:pt x="978" y="108"/>
                      </a:lnTo>
                      <a:lnTo>
                        <a:pt x="985" y="108"/>
                      </a:lnTo>
                      <a:lnTo>
                        <a:pt x="992" y="107"/>
                      </a:lnTo>
                      <a:lnTo>
                        <a:pt x="997" y="108"/>
                      </a:lnTo>
                      <a:lnTo>
                        <a:pt x="1004" y="110"/>
                      </a:lnTo>
                      <a:lnTo>
                        <a:pt x="1013" y="115"/>
                      </a:lnTo>
                      <a:lnTo>
                        <a:pt x="1013" y="11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8" name="Freeform 1737">
                  <a:extLst>
                    <a:ext uri="{FF2B5EF4-FFF2-40B4-BE49-F238E27FC236}">
                      <a16:creationId xmlns:a16="http://schemas.microsoft.com/office/drawing/2014/main" id="{A56D7F42-B335-CDBC-C7AF-433F3AE743D5}"/>
                    </a:ext>
                  </a:extLst>
                </p:cNvPr>
                <p:cNvSpPr>
                  <a:spLocks/>
                </p:cNvSpPr>
                <p:nvPr/>
              </p:nvSpPr>
              <p:spPr bwMode="auto">
                <a:xfrm>
                  <a:off x="5939047" y="4925845"/>
                  <a:ext cx="202630" cy="473978"/>
                </a:xfrm>
                <a:custGeom>
                  <a:avLst/>
                  <a:gdLst/>
                  <a:ahLst/>
                  <a:cxnLst>
                    <a:cxn ang="0">
                      <a:pos x="200" y="18"/>
                    </a:cxn>
                    <a:cxn ang="0">
                      <a:pos x="207" y="6"/>
                    </a:cxn>
                    <a:cxn ang="0">
                      <a:pos x="216" y="4"/>
                    </a:cxn>
                    <a:cxn ang="0">
                      <a:pos x="225" y="28"/>
                    </a:cxn>
                    <a:cxn ang="0">
                      <a:pos x="233" y="39"/>
                    </a:cxn>
                    <a:cxn ang="0">
                      <a:pos x="245" y="108"/>
                    </a:cxn>
                    <a:cxn ang="0">
                      <a:pos x="249" y="129"/>
                    </a:cxn>
                    <a:cxn ang="0">
                      <a:pos x="251" y="154"/>
                    </a:cxn>
                    <a:cxn ang="0">
                      <a:pos x="244" y="171"/>
                    </a:cxn>
                    <a:cxn ang="0">
                      <a:pos x="238" y="168"/>
                    </a:cxn>
                    <a:cxn ang="0">
                      <a:pos x="228" y="148"/>
                    </a:cxn>
                    <a:cxn ang="0">
                      <a:pos x="225" y="157"/>
                    </a:cxn>
                    <a:cxn ang="0">
                      <a:pos x="228" y="171"/>
                    </a:cxn>
                    <a:cxn ang="0">
                      <a:pos x="230" y="188"/>
                    </a:cxn>
                    <a:cxn ang="0">
                      <a:pos x="230" y="204"/>
                    </a:cxn>
                    <a:cxn ang="0">
                      <a:pos x="223" y="216"/>
                    </a:cxn>
                    <a:cxn ang="0">
                      <a:pos x="218" y="230"/>
                    </a:cxn>
                    <a:cxn ang="0">
                      <a:pos x="219" y="253"/>
                    </a:cxn>
                    <a:cxn ang="0">
                      <a:pos x="214" y="282"/>
                    </a:cxn>
                    <a:cxn ang="0">
                      <a:pos x="191" y="350"/>
                    </a:cxn>
                    <a:cxn ang="0">
                      <a:pos x="150" y="524"/>
                    </a:cxn>
                    <a:cxn ang="0">
                      <a:pos x="131" y="570"/>
                    </a:cxn>
                    <a:cxn ang="0">
                      <a:pos x="118" y="573"/>
                    </a:cxn>
                    <a:cxn ang="0">
                      <a:pos x="83" y="589"/>
                    </a:cxn>
                    <a:cxn ang="0">
                      <a:pos x="64" y="591"/>
                    </a:cxn>
                    <a:cxn ang="0">
                      <a:pos x="57" y="584"/>
                    </a:cxn>
                    <a:cxn ang="0">
                      <a:pos x="40" y="575"/>
                    </a:cxn>
                    <a:cxn ang="0">
                      <a:pos x="23" y="552"/>
                    </a:cxn>
                    <a:cxn ang="0">
                      <a:pos x="16" y="526"/>
                    </a:cxn>
                    <a:cxn ang="0">
                      <a:pos x="17" y="500"/>
                    </a:cxn>
                    <a:cxn ang="0">
                      <a:pos x="14" y="488"/>
                    </a:cxn>
                    <a:cxn ang="0">
                      <a:pos x="0" y="457"/>
                    </a:cxn>
                    <a:cxn ang="0">
                      <a:pos x="3" y="425"/>
                    </a:cxn>
                    <a:cxn ang="0">
                      <a:pos x="9" y="408"/>
                    </a:cxn>
                    <a:cxn ang="0">
                      <a:pos x="17" y="403"/>
                    </a:cxn>
                    <a:cxn ang="0">
                      <a:pos x="23" y="392"/>
                    </a:cxn>
                    <a:cxn ang="0">
                      <a:pos x="28" y="376"/>
                    </a:cxn>
                    <a:cxn ang="0">
                      <a:pos x="42" y="350"/>
                    </a:cxn>
                    <a:cxn ang="0">
                      <a:pos x="43" y="333"/>
                    </a:cxn>
                    <a:cxn ang="0">
                      <a:pos x="35" y="303"/>
                    </a:cxn>
                    <a:cxn ang="0">
                      <a:pos x="35" y="291"/>
                    </a:cxn>
                    <a:cxn ang="0">
                      <a:pos x="30" y="272"/>
                    </a:cxn>
                    <a:cxn ang="0">
                      <a:pos x="30" y="258"/>
                    </a:cxn>
                    <a:cxn ang="0">
                      <a:pos x="26" y="241"/>
                    </a:cxn>
                    <a:cxn ang="0">
                      <a:pos x="28" y="225"/>
                    </a:cxn>
                    <a:cxn ang="0">
                      <a:pos x="38" y="202"/>
                    </a:cxn>
                    <a:cxn ang="0">
                      <a:pos x="42" y="180"/>
                    </a:cxn>
                    <a:cxn ang="0">
                      <a:pos x="50" y="178"/>
                    </a:cxn>
                    <a:cxn ang="0">
                      <a:pos x="61" y="176"/>
                    </a:cxn>
                    <a:cxn ang="0">
                      <a:pos x="68" y="168"/>
                    </a:cxn>
                    <a:cxn ang="0">
                      <a:pos x="78" y="164"/>
                    </a:cxn>
                    <a:cxn ang="0">
                      <a:pos x="108" y="157"/>
                    </a:cxn>
                    <a:cxn ang="0">
                      <a:pos x="129" y="133"/>
                    </a:cxn>
                    <a:cxn ang="0">
                      <a:pos x="155" y="107"/>
                    </a:cxn>
                    <a:cxn ang="0">
                      <a:pos x="165" y="87"/>
                    </a:cxn>
                    <a:cxn ang="0">
                      <a:pos x="160" y="72"/>
                    </a:cxn>
                    <a:cxn ang="0">
                      <a:pos x="183" y="67"/>
                    </a:cxn>
                    <a:cxn ang="0">
                      <a:pos x="195" y="51"/>
                    </a:cxn>
                    <a:cxn ang="0">
                      <a:pos x="198" y="35"/>
                    </a:cxn>
                  </a:cxnLst>
                  <a:rect l="0" t="0" r="r" b="b"/>
                  <a:pathLst>
                    <a:path w="252" h="592">
                      <a:moveTo>
                        <a:pt x="198" y="35"/>
                      </a:moveTo>
                      <a:lnTo>
                        <a:pt x="198" y="35"/>
                      </a:lnTo>
                      <a:lnTo>
                        <a:pt x="200" y="18"/>
                      </a:lnTo>
                      <a:lnTo>
                        <a:pt x="202" y="13"/>
                      </a:lnTo>
                      <a:lnTo>
                        <a:pt x="207" y="6"/>
                      </a:lnTo>
                      <a:lnTo>
                        <a:pt x="207" y="6"/>
                      </a:lnTo>
                      <a:lnTo>
                        <a:pt x="211" y="0"/>
                      </a:lnTo>
                      <a:lnTo>
                        <a:pt x="212" y="0"/>
                      </a:lnTo>
                      <a:lnTo>
                        <a:pt x="216" y="4"/>
                      </a:lnTo>
                      <a:lnTo>
                        <a:pt x="218" y="9"/>
                      </a:lnTo>
                      <a:lnTo>
                        <a:pt x="221" y="23"/>
                      </a:lnTo>
                      <a:lnTo>
                        <a:pt x="225" y="28"/>
                      </a:lnTo>
                      <a:lnTo>
                        <a:pt x="230" y="33"/>
                      </a:lnTo>
                      <a:lnTo>
                        <a:pt x="230" y="33"/>
                      </a:lnTo>
                      <a:lnTo>
                        <a:pt x="233" y="39"/>
                      </a:lnTo>
                      <a:lnTo>
                        <a:pt x="237" y="49"/>
                      </a:lnTo>
                      <a:lnTo>
                        <a:pt x="242" y="77"/>
                      </a:lnTo>
                      <a:lnTo>
                        <a:pt x="245" y="108"/>
                      </a:lnTo>
                      <a:lnTo>
                        <a:pt x="247" y="121"/>
                      </a:lnTo>
                      <a:lnTo>
                        <a:pt x="249" y="129"/>
                      </a:lnTo>
                      <a:lnTo>
                        <a:pt x="249" y="129"/>
                      </a:lnTo>
                      <a:lnTo>
                        <a:pt x="252" y="138"/>
                      </a:lnTo>
                      <a:lnTo>
                        <a:pt x="252" y="145"/>
                      </a:lnTo>
                      <a:lnTo>
                        <a:pt x="251" y="154"/>
                      </a:lnTo>
                      <a:lnTo>
                        <a:pt x="249" y="162"/>
                      </a:lnTo>
                      <a:lnTo>
                        <a:pt x="247" y="168"/>
                      </a:lnTo>
                      <a:lnTo>
                        <a:pt x="244" y="171"/>
                      </a:lnTo>
                      <a:lnTo>
                        <a:pt x="242" y="171"/>
                      </a:lnTo>
                      <a:lnTo>
                        <a:pt x="238" y="168"/>
                      </a:lnTo>
                      <a:lnTo>
                        <a:pt x="238" y="168"/>
                      </a:lnTo>
                      <a:lnTo>
                        <a:pt x="235" y="157"/>
                      </a:lnTo>
                      <a:lnTo>
                        <a:pt x="231" y="150"/>
                      </a:lnTo>
                      <a:lnTo>
                        <a:pt x="228" y="148"/>
                      </a:lnTo>
                      <a:lnTo>
                        <a:pt x="226" y="150"/>
                      </a:lnTo>
                      <a:lnTo>
                        <a:pt x="225" y="152"/>
                      </a:lnTo>
                      <a:lnTo>
                        <a:pt x="225" y="157"/>
                      </a:lnTo>
                      <a:lnTo>
                        <a:pt x="226" y="164"/>
                      </a:lnTo>
                      <a:lnTo>
                        <a:pt x="228" y="171"/>
                      </a:lnTo>
                      <a:lnTo>
                        <a:pt x="228" y="171"/>
                      </a:lnTo>
                      <a:lnTo>
                        <a:pt x="230" y="176"/>
                      </a:lnTo>
                      <a:lnTo>
                        <a:pt x="231" y="181"/>
                      </a:lnTo>
                      <a:lnTo>
                        <a:pt x="230" y="188"/>
                      </a:lnTo>
                      <a:lnTo>
                        <a:pt x="228" y="195"/>
                      </a:lnTo>
                      <a:lnTo>
                        <a:pt x="230" y="204"/>
                      </a:lnTo>
                      <a:lnTo>
                        <a:pt x="230" y="204"/>
                      </a:lnTo>
                      <a:lnTo>
                        <a:pt x="230" y="209"/>
                      </a:lnTo>
                      <a:lnTo>
                        <a:pt x="228" y="211"/>
                      </a:lnTo>
                      <a:lnTo>
                        <a:pt x="223" y="216"/>
                      </a:lnTo>
                      <a:lnTo>
                        <a:pt x="219" y="218"/>
                      </a:lnTo>
                      <a:lnTo>
                        <a:pt x="218" y="223"/>
                      </a:lnTo>
                      <a:lnTo>
                        <a:pt x="218" y="230"/>
                      </a:lnTo>
                      <a:lnTo>
                        <a:pt x="218" y="241"/>
                      </a:lnTo>
                      <a:lnTo>
                        <a:pt x="218" y="241"/>
                      </a:lnTo>
                      <a:lnTo>
                        <a:pt x="219" y="253"/>
                      </a:lnTo>
                      <a:lnTo>
                        <a:pt x="219" y="262"/>
                      </a:lnTo>
                      <a:lnTo>
                        <a:pt x="218" y="272"/>
                      </a:lnTo>
                      <a:lnTo>
                        <a:pt x="214" y="282"/>
                      </a:lnTo>
                      <a:lnTo>
                        <a:pt x="204" y="310"/>
                      </a:lnTo>
                      <a:lnTo>
                        <a:pt x="191" y="350"/>
                      </a:lnTo>
                      <a:lnTo>
                        <a:pt x="191" y="350"/>
                      </a:lnTo>
                      <a:lnTo>
                        <a:pt x="174" y="423"/>
                      </a:lnTo>
                      <a:lnTo>
                        <a:pt x="157" y="493"/>
                      </a:lnTo>
                      <a:lnTo>
                        <a:pt x="150" y="524"/>
                      </a:lnTo>
                      <a:lnTo>
                        <a:pt x="141" y="549"/>
                      </a:lnTo>
                      <a:lnTo>
                        <a:pt x="134" y="564"/>
                      </a:lnTo>
                      <a:lnTo>
                        <a:pt x="131" y="570"/>
                      </a:lnTo>
                      <a:lnTo>
                        <a:pt x="127" y="571"/>
                      </a:lnTo>
                      <a:lnTo>
                        <a:pt x="127" y="571"/>
                      </a:lnTo>
                      <a:lnTo>
                        <a:pt x="118" y="573"/>
                      </a:lnTo>
                      <a:lnTo>
                        <a:pt x="110" y="577"/>
                      </a:lnTo>
                      <a:lnTo>
                        <a:pt x="92" y="585"/>
                      </a:lnTo>
                      <a:lnTo>
                        <a:pt x="83" y="589"/>
                      </a:lnTo>
                      <a:lnTo>
                        <a:pt x="75" y="592"/>
                      </a:lnTo>
                      <a:lnTo>
                        <a:pt x="68" y="592"/>
                      </a:lnTo>
                      <a:lnTo>
                        <a:pt x="64" y="591"/>
                      </a:lnTo>
                      <a:lnTo>
                        <a:pt x="63" y="589"/>
                      </a:lnTo>
                      <a:lnTo>
                        <a:pt x="63" y="589"/>
                      </a:lnTo>
                      <a:lnTo>
                        <a:pt x="57" y="584"/>
                      </a:lnTo>
                      <a:lnTo>
                        <a:pt x="54" y="582"/>
                      </a:lnTo>
                      <a:lnTo>
                        <a:pt x="43" y="578"/>
                      </a:lnTo>
                      <a:lnTo>
                        <a:pt x="40" y="575"/>
                      </a:lnTo>
                      <a:lnTo>
                        <a:pt x="35" y="571"/>
                      </a:lnTo>
                      <a:lnTo>
                        <a:pt x="30" y="563"/>
                      </a:lnTo>
                      <a:lnTo>
                        <a:pt x="23" y="552"/>
                      </a:lnTo>
                      <a:lnTo>
                        <a:pt x="23" y="552"/>
                      </a:lnTo>
                      <a:lnTo>
                        <a:pt x="17" y="538"/>
                      </a:lnTo>
                      <a:lnTo>
                        <a:pt x="16" y="526"/>
                      </a:lnTo>
                      <a:lnTo>
                        <a:pt x="14" y="517"/>
                      </a:lnTo>
                      <a:lnTo>
                        <a:pt x="16" y="511"/>
                      </a:lnTo>
                      <a:lnTo>
                        <a:pt x="17" y="500"/>
                      </a:lnTo>
                      <a:lnTo>
                        <a:pt x="16" y="495"/>
                      </a:lnTo>
                      <a:lnTo>
                        <a:pt x="14" y="488"/>
                      </a:lnTo>
                      <a:lnTo>
                        <a:pt x="14" y="488"/>
                      </a:lnTo>
                      <a:lnTo>
                        <a:pt x="7" y="474"/>
                      </a:lnTo>
                      <a:lnTo>
                        <a:pt x="2" y="464"/>
                      </a:lnTo>
                      <a:lnTo>
                        <a:pt x="0" y="457"/>
                      </a:lnTo>
                      <a:lnTo>
                        <a:pt x="0" y="448"/>
                      </a:lnTo>
                      <a:lnTo>
                        <a:pt x="0" y="437"/>
                      </a:lnTo>
                      <a:lnTo>
                        <a:pt x="3" y="425"/>
                      </a:lnTo>
                      <a:lnTo>
                        <a:pt x="3" y="425"/>
                      </a:lnTo>
                      <a:lnTo>
                        <a:pt x="5" y="413"/>
                      </a:lnTo>
                      <a:lnTo>
                        <a:pt x="9" y="408"/>
                      </a:lnTo>
                      <a:lnTo>
                        <a:pt x="12" y="404"/>
                      </a:lnTo>
                      <a:lnTo>
                        <a:pt x="14" y="403"/>
                      </a:lnTo>
                      <a:lnTo>
                        <a:pt x="17" y="403"/>
                      </a:lnTo>
                      <a:lnTo>
                        <a:pt x="19" y="401"/>
                      </a:lnTo>
                      <a:lnTo>
                        <a:pt x="21" y="399"/>
                      </a:lnTo>
                      <a:lnTo>
                        <a:pt x="23" y="392"/>
                      </a:lnTo>
                      <a:lnTo>
                        <a:pt x="23" y="392"/>
                      </a:lnTo>
                      <a:lnTo>
                        <a:pt x="24" y="383"/>
                      </a:lnTo>
                      <a:lnTo>
                        <a:pt x="28" y="376"/>
                      </a:lnTo>
                      <a:lnTo>
                        <a:pt x="35" y="364"/>
                      </a:lnTo>
                      <a:lnTo>
                        <a:pt x="40" y="357"/>
                      </a:lnTo>
                      <a:lnTo>
                        <a:pt x="42" y="350"/>
                      </a:lnTo>
                      <a:lnTo>
                        <a:pt x="43" y="342"/>
                      </a:lnTo>
                      <a:lnTo>
                        <a:pt x="43" y="333"/>
                      </a:lnTo>
                      <a:lnTo>
                        <a:pt x="43" y="333"/>
                      </a:lnTo>
                      <a:lnTo>
                        <a:pt x="40" y="317"/>
                      </a:lnTo>
                      <a:lnTo>
                        <a:pt x="36" y="309"/>
                      </a:lnTo>
                      <a:lnTo>
                        <a:pt x="35" y="303"/>
                      </a:lnTo>
                      <a:lnTo>
                        <a:pt x="35" y="296"/>
                      </a:lnTo>
                      <a:lnTo>
                        <a:pt x="35" y="296"/>
                      </a:lnTo>
                      <a:lnTo>
                        <a:pt x="35" y="291"/>
                      </a:lnTo>
                      <a:lnTo>
                        <a:pt x="35" y="288"/>
                      </a:lnTo>
                      <a:lnTo>
                        <a:pt x="31" y="281"/>
                      </a:lnTo>
                      <a:lnTo>
                        <a:pt x="30" y="272"/>
                      </a:lnTo>
                      <a:lnTo>
                        <a:pt x="28" y="267"/>
                      </a:lnTo>
                      <a:lnTo>
                        <a:pt x="30" y="258"/>
                      </a:lnTo>
                      <a:lnTo>
                        <a:pt x="30" y="258"/>
                      </a:lnTo>
                      <a:lnTo>
                        <a:pt x="30" y="251"/>
                      </a:lnTo>
                      <a:lnTo>
                        <a:pt x="30" y="246"/>
                      </a:lnTo>
                      <a:lnTo>
                        <a:pt x="26" y="241"/>
                      </a:lnTo>
                      <a:lnTo>
                        <a:pt x="26" y="237"/>
                      </a:lnTo>
                      <a:lnTo>
                        <a:pt x="26" y="232"/>
                      </a:lnTo>
                      <a:lnTo>
                        <a:pt x="28" y="225"/>
                      </a:lnTo>
                      <a:lnTo>
                        <a:pt x="33" y="215"/>
                      </a:lnTo>
                      <a:lnTo>
                        <a:pt x="33" y="215"/>
                      </a:lnTo>
                      <a:lnTo>
                        <a:pt x="38" y="202"/>
                      </a:lnTo>
                      <a:lnTo>
                        <a:pt x="40" y="194"/>
                      </a:lnTo>
                      <a:lnTo>
                        <a:pt x="42" y="183"/>
                      </a:lnTo>
                      <a:lnTo>
                        <a:pt x="42" y="180"/>
                      </a:lnTo>
                      <a:lnTo>
                        <a:pt x="43" y="178"/>
                      </a:lnTo>
                      <a:lnTo>
                        <a:pt x="45" y="178"/>
                      </a:lnTo>
                      <a:lnTo>
                        <a:pt x="50" y="178"/>
                      </a:lnTo>
                      <a:lnTo>
                        <a:pt x="50" y="178"/>
                      </a:lnTo>
                      <a:lnTo>
                        <a:pt x="57" y="178"/>
                      </a:lnTo>
                      <a:lnTo>
                        <a:pt x="61" y="176"/>
                      </a:lnTo>
                      <a:lnTo>
                        <a:pt x="63" y="174"/>
                      </a:lnTo>
                      <a:lnTo>
                        <a:pt x="64" y="173"/>
                      </a:lnTo>
                      <a:lnTo>
                        <a:pt x="68" y="168"/>
                      </a:lnTo>
                      <a:lnTo>
                        <a:pt x="71" y="166"/>
                      </a:lnTo>
                      <a:lnTo>
                        <a:pt x="78" y="164"/>
                      </a:lnTo>
                      <a:lnTo>
                        <a:pt x="78" y="164"/>
                      </a:lnTo>
                      <a:lnTo>
                        <a:pt x="92" y="162"/>
                      </a:lnTo>
                      <a:lnTo>
                        <a:pt x="103" y="161"/>
                      </a:lnTo>
                      <a:lnTo>
                        <a:pt x="108" y="157"/>
                      </a:lnTo>
                      <a:lnTo>
                        <a:pt x="113" y="152"/>
                      </a:lnTo>
                      <a:lnTo>
                        <a:pt x="122" y="140"/>
                      </a:lnTo>
                      <a:lnTo>
                        <a:pt x="129" y="133"/>
                      </a:lnTo>
                      <a:lnTo>
                        <a:pt x="137" y="122"/>
                      </a:lnTo>
                      <a:lnTo>
                        <a:pt x="137" y="122"/>
                      </a:lnTo>
                      <a:lnTo>
                        <a:pt x="155" y="107"/>
                      </a:lnTo>
                      <a:lnTo>
                        <a:pt x="164" y="96"/>
                      </a:lnTo>
                      <a:lnTo>
                        <a:pt x="165" y="93"/>
                      </a:lnTo>
                      <a:lnTo>
                        <a:pt x="165" y="87"/>
                      </a:lnTo>
                      <a:lnTo>
                        <a:pt x="162" y="77"/>
                      </a:lnTo>
                      <a:lnTo>
                        <a:pt x="162" y="77"/>
                      </a:lnTo>
                      <a:lnTo>
                        <a:pt x="160" y="72"/>
                      </a:lnTo>
                      <a:lnTo>
                        <a:pt x="164" y="70"/>
                      </a:lnTo>
                      <a:lnTo>
                        <a:pt x="174" y="68"/>
                      </a:lnTo>
                      <a:lnTo>
                        <a:pt x="183" y="67"/>
                      </a:lnTo>
                      <a:lnTo>
                        <a:pt x="190" y="61"/>
                      </a:lnTo>
                      <a:lnTo>
                        <a:pt x="191" y="58"/>
                      </a:lnTo>
                      <a:lnTo>
                        <a:pt x="195" y="51"/>
                      </a:lnTo>
                      <a:lnTo>
                        <a:pt x="197" y="44"/>
                      </a:lnTo>
                      <a:lnTo>
                        <a:pt x="198" y="35"/>
                      </a:lnTo>
                      <a:lnTo>
                        <a:pt x="198" y="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9" name="Freeform 1738">
                  <a:extLst>
                    <a:ext uri="{FF2B5EF4-FFF2-40B4-BE49-F238E27FC236}">
                      <a16:creationId xmlns:a16="http://schemas.microsoft.com/office/drawing/2014/main" id="{A79D028F-17AB-5A37-1887-2040978C080B}"/>
                    </a:ext>
                  </a:extLst>
                </p:cNvPr>
                <p:cNvSpPr>
                  <a:spLocks/>
                </p:cNvSpPr>
                <p:nvPr/>
              </p:nvSpPr>
              <p:spPr bwMode="auto">
                <a:xfrm>
                  <a:off x="6638559" y="3255467"/>
                  <a:ext cx="822855" cy="988483"/>
                </a:xfrm>
                <a:custGeom>
                  <a:avLst/>
                  <a:gdLst/>
                  <a:ahLst/>
                  <a:cxnLst>
                    <a:cxn ang="0">
                      <a:pos x="64" y="592"/>
                    </a:cxn>
                    <a:cxn ang="0">
                      <a:pos x="48" y="644"/>
                    </a:cxn>
                    <a:cxn ang="0">
                      <a:pos x="146" y="622"/>
                    </a:cxn>
                    <a:cxn ang="0">
                      <a:pos x="158" y="665"/>
                    </a:cxn>
                    <a:cxn ang="0">
                      <a:pos x="214" y="949"/>
                    </a:cxn>
                    <a:cxn ang="0">
                      <a:pos x="304" y="1214"/>
                    </a:cxn>
                    <a:cxn ang="0">
                      <a:pos x="365" y="1186"/>
                    </a:cxn>
                    <a:cxn ang="0">
                      <a:pos x="390" y="1153"/>
                    </a:cxn>
                    <a:cxn ang="0">
                      <a:pos x="414" y="1059"/>
                    </a:cxn>
                    <a:cxn ang="0">
                      <a:pos x="419" y="911"/>
                    </a:cxn>
                    <a:cxn ang="0">
                      <a:pos x="484" y="879"/>
                    </a:cxn>
                    <a:cxn ang="0">
                      <a:pos x="600" y="740"/>
                    </a:cxn>
                    <a:cxn ang="0">
                      <a:pos x="658" y="662"/>
                    </a:cxn>
                    <a:cxn ang="0">
                      <a:pos x="722" y="646"/>
                    </a:cxn>
                    <a:cxn ang="0">
                      <a:pos x="729" y="590"/>
                    </a:cxn>
                    <a:cxn ang="0">
                      <a:pos x="724" y="540"/>
                    </a:cxn>
                    <a:cxn ang="0">
                      <a:pos x="712" y="495"/>
                    </a:cxn>
                    <a:cxn ang="0">
                      <a:pos x="710" y="467"/>
                    </a:cxn>
                    <a:cxn ang="0">
                      <a:pos x="719" y="430"/>
                    </a:cxn>
                    <a:cxn ang="0">
                      <a:pos x="757" y="444"/>
                    </a:cxn>
                    <a:cxn ang="0">
                      <a:pos x="856" y="505"/>
                    </a:cxn>
                    <a:cxn ang="0">
                      <a:pos x="813" y="571"/>
                    </a:cxn>
                    <a:cxn ang="0">
                      <a:pos x="847" y="568"/>
                    </a:cxn>
                    <a:cxn ang="0">
                      <a:pos x="875" y="629"/>
                    </a:cxn>
                    <a:cxn ang="0">
                      <a:pos x="884" y="540"/>
                    </a:cxn>
                    <a:cxn ang="0">
                      <a:pos x="935" y="495"/>
                    </a:cxn>
                    <a:cxn ang="0">
                      <a:pos x="945" y="434"/>
                    </a:cxn>
                    <a:cxn ang="0">
                      <a:pos x="1008" y="399"/>
                    </a:cxn>
                    <a:cxn ang="0">
                      <a:pos x="1025" y="355"/>
                    </a:cxn>
                    <a:cxn ang="0">
                      <a:pos x="985" y="320"/>
                    </a:cxn>
                    <a:cxn ang="0">
                      <a:pos x="962" y="312"/>
                    </a:cxn>
                    <a:cxn ang="0">
                      <a:pos x="884" y="336"/>
                    </a:cxn>
                    <a:cxn ang="0">
                      <a:pos x="825" y="374"/>
                    </a:cxn>
                    <a:cxn ang="0">
                      <a:pos x="841" y="409"/>
                    </a:cxn>
                    <a:cxn ang="0">
                      <a:pos x="792" y="420"/>
                    </a:cxn>
                    <a:cxn ang="0">
                      <a:pos x="736" y="416"/>
                    </a:cxn>
                    <a:cxn ang="0">
                      <a:pos x="705" y="373"/>
                    </a:cxn>
                    <a:cxn ang="0">
                      <a:pos x="680" y="437"/>
                    </a:cxn>
                    <a:cxn ang="0">
                      <a:pos x="625" y="427"/>
                    </a:cxn>
                    <a:cxn ang="0">
                      <a:pos x="581" y="406"/>
                    </a:cxn>
                    <a:cxn ang="0">
                      <a:pos x="539" y="388"/>
                    </a:cxn>
                    <a:cxn ang="0">
                      <a:pos x="485" y="369"/>
                    </a:cxn>
                    <a:cxn ang="0">
                      <a:pos x="419" y="324"/>
                    </a:cxn>
                    <a:cxn ang="0">
                      <a:pos x="444" y="272"/>
                    </a:cxn>
                    <a:cxn ang="0">
                      <a:pos x="388" y="212"/>
                    </a:cxn>
                    <a:cxn ang="0">
                      <a:pos x="363" y="157"/>
                    </a:cxn>
                    <a:cxn ang="0">
                      <a:pos x="397" y="139"/>
                    </a:cxn>
                    <a:cxn ang="0">
                      <a:pos x="379" y="92"/>
                    </a:cxn>
                    <a:cxn ang="0">
                      <a:pos x="426" y="47"/>
                    </a:cxn>
                    <a:cxn ang="0">
                      <a:pos x="414" y="16"/>
                    </a:cxn>
                    <a:cxn ang="0">
                      <a:pos x="337" y="23"/>
                    </a:cxn>
                    <a:cxn ang="0">
                      <a:pos x="261" y="68"/>
                    </a:cxn>
                    <a:cxn ang="0">
                      <a:pos x="200" y="87"/>
                    </a:cxn>
                    <a:cxn ang="0">
                      <a:pos x="207" y="122"/>
                    </a:cxn>
                    <a:cxn ang="0">
                      <a:pos x="231" y="160"/>
                    </a:cxn>
                    <a:cxn ang="0">
                      <a:pos x="221" y="228"/>
                    </a:cxn>
                    <a:cxn ang="0">
                      <a:pos x="172" y="313"/>
                    </a:cxn>
                    <a:cxn ang="0">
                      <a:pos x="130" y="369"/>
                    </a:cxn>
                    <a:cxn ang="0">
                      <a:pos x="60" y="390"/>
                    </a:cxn>
                    <a:cxn ang="0">
                      <a:pos x="69" y="460"/>
                    </a:cxn>
                    <a:cxn ang="0">
                      <a:pos x="101" y="522"/>
                    </a:cxn>
                    <a:cxn ang="0">
                      <a:pos x="67" y="533"/>
                    </a:cxn>
                    <a:cxn ang="0">
                      <a:pos x="20" y="545"/>
                    </a:cxn>
                  </a:cxnLst>
                  <a:rect l="0" t="0" r="r" b="b"/>
                  <a:pathLst>
                    <a:path w="1025" h="1233">
                      <a:moveTo>
                        <a:pt x="0" y="557"/>
                      </a:moveTo>
                      <a:lnTo>
                        <a:pt x="0" y="557"/>
                      </a:lnTo>
                      <a:lnTo>
                        <a:pt x="3" y="561"/>
                      </a:lnTo>
                      <a:lnTo>
                        <a:pt x="6" y="562"/>
                      </a:lnTo>
                      <a:lnTo>
                        <a:pt x="10" y="566"/>
                      </a:lnTo>
                      <a:lnTo>
                        <a:pt x="15" y="573"/>
                      </a:lnTo>
                      <a:lnTo>
                        <a:pt x="15" y="573"/>
                      </a:lnTo>
                      <a:lnTo>
                        <a:pt x="19" y="580"/>
                      </a:lnTo>
                      <a:lnTo>
                        <a:pt x="24" y="585"/>
                      </a:lnTo>
                      <a:lnTo>
                        <a:pt x="31" y="590"/>
                      </a:lnTo>
                      <a:lnTo>
                        <a:pt x="38" y="594"/>
                      </a:lnTo>
                      <a:lnTo>
                        <a:pt x="45" y="595"/>
                      </a:lnTo>
                      <a:lnTo>
                        <a:pt x="52" y="597"/>
                      </a:lnTo>
                      <a:lnTo>
                        <a:pt x="59" y="595"/>
                      </a:lnTo>
                      <a:lnTo>
                        <a:pt x="64" y="592"/>
                      </a:lnTo>
                      <a:lnTo>
                        <a:pt x="64" y="592"/>
                      </a:lnTo>
                      <a:lnTo>
                        <a:pt x="69" y="590"/>
                      </a:lnTo>
                      <a:lnTo>
                        <a:pt x="73" y="590"/>
                      </a:lnTo>
                      <a:lnTo>
                        <a:pt x="76" y="592"/>
                      </a:lnTo>
                      <a:lnTo>
                        <a:pt x="76" y="595"/>
                      </a:lnTo>
                      <a:lnTo>
                        <a:pt x="76" y="601"/>
                      </a:lnTo>
                      <a:lnTo>
                        <a:pt x="71" y="606"/>
                      </a:lnTo>
                      <a:lnTo>
                        <a:pt x="66" y="609"/>
                      </a:lnTo>
                      <a:lnTo>
                        <a:pt x="55" y="613"/>
                      </a:lnTo>
                      <a:lnTo>
                        <a:pt x="55" y="613"/>
                      </a:lnTo>
                      <a:lnTo>
                        <a:pt x="45" y="615"/>
                      </a:lnTo>
                      <a:lnTo>
                        <a:pt x="36" y="613"/>
                      </a:lnTo>
                      <a:lnTo>
                        <a:pt x="24" y="611"/>
                      </a:lnTo>
                      <a:lnTo>
                        <a:pt x="24" y="611"/>
                      </a:lnTo>
                      <a:lnTo>
                        <a:pt x="24" y="613"/>
                      </a:lnTo>
                      <a:lnTo>
                        <a:pt x="26" y="618"/>
                      </a:lnTo>
                      <a:lnTo>
                        <a:pt x="48" y="644"/>
                      </a:lnTo>
                      <a:lnTo>
                        <a:pt x="48" y="644"/>
                      </a:lnTo>
                      <a:lnTo>
                        <a:pt x="74" y="674"/>
                      </a:lnTo>
                      <a:lnTo>
                        <a:pt x="83" y="683"/>
                      </a:lnTo>
                      <a:lnTo>
                        <a:pt x="92" y="688"/>
                      </a:lnTo>
                      <a:lnTo>
                        <a:pt x="101" y="688"/>
                      </a:lnTo>
                      <a:lnTo>
                        <a:pt x="109" y="686"/>
                      </a:lnTo>
                      <a:lnTo>
                        <a:pt x="120" y="679"/>
                      </a:lnTo>
                      <a:lnTo>
                        <a:pt x="134" y="669"/>
                      </a:lnTo>
                      <a:lnTo>
                        <a:pt x="134" y="669"/>
                      </a:lnTo>
                      <a:lnTo>
                        <a:pt x="139" y="662"/>
                      </a:lnTo>
                      <a:lnTo>
                        <a:pt x="142" y="653"/>
                      </a:lnTo>
                      <a:lnTo>
                        <a:pt x="142" y="646"/>
                      </a:lnTo>
                      <a:lnTo>
                        <a:pt x="142" y="639"/>
                      </a:lnTo>
                      <a:lnTo>
                        <a:pt x="142" y="632"/>
                      </a:lnTo>
                      <a:lnTo>
                        <a:pt x="144" y="627"/>
                      </a:lnTo>
                      <a:lnTo>
                        <a:pt x="146" y="622"/>
                      </a:lnTo>
                      <a:lnTo>
                        <a:pt x="151" y="618"/>
                      </a:lnTo>
                      <a:lnTo>
                        <a:pt x="151" y="618"/>
                      </a:lnTo>
                      <a:lnTo>
                        <a:pt x="158" y="618"/>
                      </a:lnTo>
                      <a:lnTo>
                        <a:pt x="160" y="618"/>
                      </a:lnTo>
                      <a:lnTo>
                        <a:pt x="160" y="620"/>
                      </a:lnTo>
                      <a:lnTo>
                        <a:pt x="158" y="622"/>
                      </a:lnTo>
                      <a:lnTo>
                        <a:pt x="154" y="630"/>
                      </a:lnTo>
                      <a:lnTo>
                        <a:pt x="154" y="634"/>
                      </a:lnTo>
                      <a:lnTo>
                        <a:pt x="156" y="639"/>
                      </a:lnTo>
                      <a:lnTo>
                        <a:pt x="156" y="639"/>
                      </a:lnTo>
                      <a:lnTo>
                        <a:pt x="158" y="644"/>
                      </a:lnTo>
                      <a:lnTo>
                        <a:pt x="158" y="646"/>
                      </a:lnTo>
                      <a:lnTo>
                        <a:pt x="156" y="651"/>
                      </a:lnTo>
                      <a:lnTo>
                        <a:pt x="156" y="655"/>
                      </a:lnTo>
                      <a:lnTo>
                        <a:pt x="156" y="660"/>
                      </a:lnTo>
                      <a:lnTo>
                        <a:pt x="158" y="665"/>
                      </a:lnTo>
                      <a:lnTo>
                        <a:pt x="161" y="674"/>
                      </a:lnTo>
                      <a:lnTo>
                        <a:pt x="161" y="674"/>
                      </a:lnTo>
                      <a:lnTo>
                        <a:pt x="165" y="683"/>
                      </a:lnTo>
                      <a:lnTo>
                        <a:pt x="165" y="690"/>
                      </a:lnTo>
                      <a:lnTo>
                        <a:pt x="163" y="703"/>
                      </a:lnTo>
                      <a:lnTo>
                        <a:pt x="161" y="712"/>
                      </a:lnTo>
                      <a:lnTo>
                        <a:pt x="160" y="724"/>
                      </a:lnTo>
                      <a:lnTo>
                        <a:pt x="160" y="743"/>
                      </a:lnTo>
                      <a:lnTo>
                        <a:pt x="163" y="768"/>
                      </a:lnTo>
                      <a:lnTo>
                        <a:pt x="163" y="768"/>
                      </a:lnTo>
                      <a:lnTo>
                        <a:pt x="179" y="853"/>
                      </a:lnTo>
                      <a:lnTo>
                        <a:pt x="184" y="879"/>
                      </a:lnTo>
                      <a:lnTo>
                        <a:pt x="191" y="897"/>
                      </a:lnTo>
                      <a:lnTo>
                        <a:pt x="191" y="897"/>
                      </a:lnTo>
                      <a:lnTo>
                        <a:pt x="200" y="918"/>
                      </a:lnTo>
                      <a:lnTo>
                        <a:pt x="214" y="949"/>
                      </a:lnTo>
                      <a:lnTo>
                        <a:pt x="226" y="987"/>
                      </a:lnTo>
                      <a:lnTo>
                        <a:pt x="231" y="1005"/>
                      </a:lnTo>
                      <a:lnTo>
                        <a:pt x="235" y="1022"/>
                      </a:lnTo>
                      <a:lnTo>
                        <a:pt x="235" y="1022"/>
                      </a:lnTo>
                      <a:lnTo>
                        <a:pt x="236" y="1036"/>
                      </a:lnTo>
                      <a:lnTo>
                        <a:pt x="242" y="1046"/>
                      </a:lnTo>
                      <a:lnTo>
                        <a:pt x="252" y="1066"/>
                      </a:lnTo>
                      <a:lnTo>
                        <a:pt x="259" y="1078"/>
                      </a:lnTo>
                      <a:lnTo>
                        <a:pt x="266" y="1092"/>
                      </a:lnTo>
                      <a:lnTo>
                        <a:pt x="271" y="1109"/>
                      </a:lnTo>
                      <a:lnTo>
                        <a:pt x="276" y="1132"/>
                      </a:lnTo>
                      <a:lnTo>
                        <a:pt x="276" y="1132"/>
                      </a:lnTo>
                      <a:lnTo>
                        <a:pt x="283" y="1156"/>
                      </a:lnTo>
                      <a:lnTo>
                        <a:pt x="290" y="1177"/>
                      </a:lnTo>
                      <a:lnTo>
                        <a:pt x="297" y="1198"/>
                      </a:lnTo>
                      <a:lnTo>
                        <a:pt x="304" y="1214"/>
                      </a:lnTo>
                      <a:lnTo>
                        <a:pt x="313" y="1224"/>
                      </a:lnTo>
                      <a:lnTo>
                        <a:pt x="318" y="1227"/>
                      </a:lnTo>
                      <a:lnTo>
                        <a:pt x="322" y="1231"/>
                      </a:lnTo>
                      <a:lnTo>
                        <a:pt x="327" y="1233"/>
                      </a:lnTo>
                      <a:lnTo>
                        <a:pt x="330" y="1233"/>
                      </a:lnTo>
                      <a:lnTo>
                        <a:pt x="336" y="1231"/>
                      </a:lnTo>
                      <a:lnTo>
                        <a:pt x="339" y="1227"/>
                      </a:lnTo>
                      <a:lnTo>
                        <a:pt x="339" y="1227"/>
                      </a:lnTo>
                      <a:lnTo>
                        <a:pt x="346" y="1219"/>
                      </a:lnTo>
                      <a:lnTo>
                        <a:pt x="350" y="1214"/>
                      </a:lnTo>
                      <a:lnTo>
                        <a:pt x="351" y="1207"/>
                      </a:lnTo>
                      <a:lnTo>
                        <a:pt x="351" y="1201"/>
                      </a:lnTo>
                      <a:lnTo>
                        <a:pt x="353" y="1196"/>
                      </a:lnTo>
                      <a:lnTo>
                        <a:pt x="355" y="1193"/>
                      </a:lnTo>
                      <a:lnTo>
                        <a:pt x="358" y="1189"/>
                      </a:lnTo>
                      <a:lnTo>
                        <a:pt x="365" y="1186"/>
                      </a:lnTo>
                      <a:lnTo>
                        <a:pt x="365" y="1186"/>
                      </a:lnTo>
                      <a:lnTo>
                        <a:pt x="381" y="1184"/>
                      </a:lnTo>
                      <a:lnTo>
                        <a:pt x="390" y="1184"/>
                      </a:lnTo>
                      <a:lnTo>
                        <a:pt x="395" y="1184"/>
                      </a:lnTo>
                      <a:lnTo>
                        <a:pt x="397" y="1184"/>
                      </a:lnTo>
                      <a:lnTo>
                        <a:pt x="397" y="1182"/>
                      </a:lnTo>
                      <a:lnTo>
                        <a:pt x="397" y="1182"/>
                      </a:lnTo>
                      <a:lnTo>
                        <a:pt x="397" y="1180"/>
                      </a:lnTo>
                      <a:lnTo>
                        <a:pt x="393" y="1179"/>
                      </a:lnTo>
                      <a:lnTo>
                        <a:pt x="386" y="1177"/>
                      </a:lnTo>
                      <a:lnTo>
                        <a:pt x="383" y="1174"/>
                      </a:lnTo>
                      <a:lnTo>
                        <a:pt x="381" y="1170"/>
                      </a:lnTo>
                      <a:lnTo>
                        <a:pt x="381" y="1167"/>
                      </a:lnTo>
                      <a:lnTo>
                        <a:pt x="384" y="1160"/>
                      </a:lnTo>
                      <a:lnTo>
                        <a:pt x="384" y="1160"/>
                      </a:lnTo>
                      <a:lnTo>
                        <a:pt x="390" y="1153"/>
                      </a:lnTo>
                      <a:lnTo>
                        <a:pt x="391" y="1147"/>
                      </a:lnTo>
                      <a:lnTo>
                        <a:pt x="391" y="1142"/>
                      </a:lnTo>
                      <a:lnTo>
                        <a:pt x="391" y="1140"/>
                      </a:lnTo>
                      <a:lnTo>
                        <a:pt x="393" y="1139"/>
                      </a:lnTo>
                      <a:lnTo>
                        <a:pt x="403" y="1139"/>
                      </a:lnTo>
                      <a:lnTo>
                        <a:pt x="403" y="1139"/>
                      </a:lnTo>
                      <a:lnTo>
                        <a:pt x="410" y="1137"/>
                      </a:lnTo>
                      <a:lnTo>
                        <a:pt x="412" y="1135"/>
                      </a:lnTo>
                      <a:lnTo>
                        <a:pt x="412" y="1132"/>
                      </a:lnTo>
                      <a:lnTo>
                        <a:pt x="412" y="1125"/>
                      </a:lnTo>
                      <a:lnTo>
                        <a:pt x="410" y="1116"/>
                      </a:lnTo>
                      <a:lnTo>
                        <a:pt x="409" y="1104"/>
                      </a:lnTo>
                      <a:lnTo>
                        <a:pt x="409" y="1090"/>
                      </a:lnTo>
                      <a:lnTo>
                        <a:pt x="409" y="1074"/>
                      </a:lnTo>
                      <a:lnTo>
                        <a:pt x="414" y="1059"/>
                      </a:lnTo>
                      <a:lnTo>
                        <a:pt x="414" y="1059"/>
                      </a:lnTo>
                      <a:lnTo>
                        <a:pt x="421" y="1039"/>
                      </a:lnTo>
                      <a:lnTo>
                        <a:pt x="426" y="1024"/>
                      </a:lnTo>
                      <a:lnTo>
                        <a:pt x="428" y="1015"/>
                      </a:lnTo>
                      <a:lnTo>
                        <a:pt x="428" y="1005"/>
                      </a:lnTo>
                      <a:lnTo>
                        <a:pt x="426" y="992"/>
                      </a:lnTo>
                      <a:lnTo>
                        <a:pt x="423" y="979"/>
                      </a:lnTo>
                      <a:lnTo>
                        <a:pt x="423" y="979"/>
                      </a:lnTo>
                      <a:lnTo>
                        <a:pt x="421" y="968"/>
                      </a:lnTo>
                      <a:lnTo>
                        <a:pt x="423" y="963"/>
                      </a:lnTo>
                      <a:lnTo>
                        <a:pt x="423" y="956"/>
                      </a:lnTo>
                      <a:lnTo>
                        <a:pt x="419" y="938"/>
                      </a:lnTo>
                      <a:lnTo>
                        <a:pt x="419" y="938"/>
                      </a:lnTo>
                      <a:lnTo>
                        <a:pt x="417" y="928"/>
                      </a:lnTo>
                      <a:lnTo>
                        <a:pt x="416" y="921"/>
                      </a:lnTo>
                      <a:lnTo>
                        <a:pt x="417" y="916"/>
                      </a:lnTo>
                      <a:lnTo>
                        <a:pt x="419" y="911"/>
                      </a:lnTo>
                      <a:lnTo>
                        <a:pt x="421" y="907"/>
                      </a:lnTo>
                      <a:lnTo>
                        <a:pt x="424" y="905"/>
                      </a:lnTo>
                      <a:lnTo>
                        <a:pt x="431" y="902"/>
                      </a:lnTo>
                      <a:lnTo>
                        <a:pt x="440" y="900"/>
                      </a:lnTo>
                      <a:lnTo>
                        <a:pt x="449" y="898"/>
                      </a:lnTo>
                      <a:lnTo>
                        <a:pt x="456" y="895"/>
                      </a:lnTo>
                      <a:lnTo>
                        <a:pt x="457" y="891"/>
                      </a:lnTo>
                      <a:lnTo>
                        <a:pt x="459" y="888"/>
                      </a:lnTo>
                      <a:lnTo>
                        <a:pt x="459" y="888"/>
                      </a:lnTo>
                      <a:lnTo>
                        <a:pt x="461" y="879"/>
                      </a:lnTo>
                      <a:lnTo>
                        <a:pt x="463" y="876"/>
                      </a:lnTo>
                      <a:lnTo>
                        <a:pt x="464" y="876"/>
                      </a:lnTo>
                      <a:lnTo>
                        <a:pt x="468" y="878"/>
                      </a:lnTo>
                      <a:lnTo>
                        <a:pt x="473" y="881"/>
                      </a:lnTo>
                      <a:lnTo>
                        <a:pt x="478" y="881"/>
                      </a:lnTo>
                      <a:lnTo>
                        <a:pt x="484" y="879"/>
                      </a:lnTo>
                      <a:lnTo>
                        <a:pt x="492" y="872"/>
                      </a:lnTo>
                      <a:lnTo>
                        <a:pt x="492" y="872"/>
                      </a:lnTo>
                      <a:lnTo>
                        <a:pt x="498" y="865"/>
                      </a:lnTo>
                      <a:lnTo>
                        <a:pt x="499" y="862"/>
                      </a:lnTo>
                      <a:lnTo>
                        <a:pt x="499" y="858"/>
                      </a:lnTo>
                      <a:lnTo>
                        <a:pt x="499" y="857"/>
                      </a:lnTo>
                      <a:lnTo>
                        <a:pt x="499" y="853"/>
                      </a:lnTo>
                      <a:lnTo>
                        <a:pt x="503" y="848"/>
                      </a:lnTo>
                      <a:lnTo>
                        <a:pt x="511" y="841"/>
                      </a:lnTo>
                      <a:lnTo>
                        <a:pt x="524" y="829"/>
                      </a:lnTo>
                      <a:lnTo>
                        <a:pt x="524" y="829"/>
                      </a:lnTo>
                      <a:lnTo>
                        <a:pt x="539" y="815"/>
                      </a:lnTo>
                      <a:lnTo>
                        <a:pt x="553" y="799"/>
                      </a:lnTo>
                      <a:lnTo>
                        <a:pt x="574" y="773"/>
                      </a:lnTo>
                      <a:lnTo>
                        <a:pt x="592" y="750"/>
                      </a:lnTo>
                      <a:lnTo>
                        <a:pt x="600" y="740"/>
                      </a:lnTo>
                      <a:lnTo>
                        <a:pt x="611" y="731"/>
                      </a:lnTo>
                      <a:lnTo>
                        <a:pt x="611" y="731"/>
                      </a:lnTo>
                      <a:lnTo>
                        <a:pt x="618" y="728"/>
                      </a:lnTo>
                      <a:lnTo>
                        <a:pt x="623" y="726"/>
                      </a:lnTo>
                      <a:lnTo>
                        <a:pt x="630" y="726"/>
                      </a:lnTo>
                      <a:lnTo>
                        <a:pt x="633" y="724"/>
                      </a:lnTo>
                      <a:lnTo>
                        <a:pt x="639" y="723"/>
                      </a:lnTo>
                      <a:lnTo>
                        <a:pt x="644" y="716"/>
                      </a:lnTo>
                      <a:lnTo>
                        <a:pt x="652" y="705"/>
                      </a:lnTo>
                      <a:lnTo>
                        <a:pt x="652" y="705"/>
                      </a:lnTo>
                      <a:lnTo>
                        <a:pt x="659" y="695"/>
                      </a:lnTo>
                      <a:lnTo>
                        <a:pt x="661" y="684"/>
                      </a:lnTo>
                      <a:lnTo>
                        <a:pt x="661" y="677"/>
                      </a:lnTo>
                      <a:lnTo>
                        <a:pt x="659" y="670"/>
                      </a:lnTo>
                      <a:lnTo>
                        <a:pt x="658" y="665"/>
                      </a:lnTo>
                      <a:lnTo>
                        <a:pt x="658" y="662"/>
                      </a:lnTo>
                      <a:lnTo>
                        <a:pt x="663" y="656"/>
                      </a:lnTo>
                      <a:lnTo>
                        <a:pt x="672" y="651"/>
                      </a:lnTo>
                      <a:lnTo>
                        <a:pt x="672" y="651"/>
                      </a:lnTo>
                      <a:lnTo>
                        <a:pt x="682" y="646"/>
                      </a:lnTo>
                      <a:lnTo>
                        <a:pt x="691" y="641"/>
                      </a:lnTo>
                      <a:lnTo>
                        <a:pt x="699" y="634"/>
                      </a:lnTo>
                      <a:lnTo>
                        <a:pt x="701" y="632"/>
                      </a:lnTo>
                      <a:lnTo>
                        <a:pt x="703" y="632"/>
                      </a:lnTo>
                      <a:lnTo>
                        <a:pt x="705" y="641"/>
                      </a:lnTo>
                      <a:lnTo>
                        <a:pt x="705" y="641"/>
                      </a:lnTo>
                      <a:lnTo>
                        <a:pt x="706" y="646"/>
                      </a:lnTo>
                      <a:lnTo>
                        <a:pt x="708" y="649"/>
                      </a:lnTo>
                      <a:lnTo>
                        <a:pt x="710" y="649"/>
                      </a:lnTo>
                      <a:lnTo>
                        <a:pt x="713" y="649"/>
                      </a:lnTo>
                      <a:lnTo>
                        <a:pt x="719" y="648"/>
                      </a:lnTo>
                      <a:lnTo>
                        <a:pt x="722" y="646"/>
                      </a:lnTo>
                      <a:lnTo>
                        <a:pt x="726" y="648"/>
                      </a:lnTo>
                      <a:lnTo>
                        <a:pt x="726" y="648"/>
                      </a:lnTo>
                      <a:lnTo>
                        <a:pt x="733" y="649"/>
                      </a:lnTo>
                      <a:lnTo>
                        <a:pt x="734" y="649"/>
                      </a:lnTo>
                      <a:lnTo>
                        <a:pt x="736" y="646"/>
                      </a:lnTo>
                      <a:lnTo>
                        <a:pt x="734" y="642"/>
                      </a:lnTo>
                      <a:lnTo>
                        <a:pt x="734" y="642"/>
                      </a:lnTo>
                      <a:lnTo>
                        <a:pt x="733" y="636"/>
                      </a:lnTo>
                      <a:lnTo>
                        <a:pt x="733" y="634"/>
                      </a:lnTo>
                      <a:lnTo>
                        <a:pt x="736" y="632"/>
                      </a:lnTo>
                      <a:lnTo>
                        <a:pt x="736" y="632"/>
                      </a:lnTo>
                      <a:lnTo>
                        <a:pt x="736" y="625"/>
                      </a:lnTo>
                      <a:lnTo>
                        <a:pt x="734" y="620"/>
                      </a:lnTo>
                      <a:lnTo>
                        <a:pt x="731" y="604"/>
                      </a:lnTo>
                      <a:lnTo>
                        <a:pt x="731" y="604"/>
                      </a:lnTo>
                      <a:lnTo>
                        <a:pt x="729" y="590"/>
                      </a:lnTo>
                      <a:lnTo>
                        <a:pt x="731" y="582"/>
                      </a:lnTo>
                      <a:lnTo>
                        <a:pt x="731" y="580"/>
                      </a:lnTo>
                      <a:lnTo>
                        <a:pt x="727" y="578"/>
                      </a:lnTo>
                      <a:lnTo>
                        <a:pt x="727" y="578"/>
                      </a:lnTo>
                      <a:lnTo>
                        <a:pt x="722" y="576"/>
                      </a:lnTo>
                      <a:lnTo>
                        <a:pt x="724" y="573"/>
                      </a:lnTo>
                      <a:lnTo>
                        <a:pt x="724" y="568"/>
                      </a:lnTo>
                      <a:lnTo>
                        <a:pt x="722" y="566"/>
                      </a:lnTo>
                      <a:lnTo>
                        <a:pt x="720" y="562"/>
                      </a:lnTo>
                      <a:lnTo>
                        <a:pt x="720" y="562"/>
                      </a:lnTo>
                      <a:lnTo>
                        <a:pt x="717" y="557"/>
                      </a:lnTo>
                      <a:lnTo>
                        <a:pt x="719" y="554"/>
                      </a:lnTo>
                      <a:lnTo>
                        <a:pt x="722" y="550"/>
                      </a:lnTo>
                      <a:lnTo>
                        <a:pt x="724" y="545"/>
                      </a:lnTo>
                      <a:lnTo>
                        <a:pt x="724" y="540"/>
                      </a:lnTo>
                      <a:lnTo>
                        <a:pt x="724" y="540"/>
                      </a:lnTo>
                      <a:lnTo>
                        <a:pt x="722" y="533"/>
                      </a:lnTo>
                      <a:lnTo>
                        <a:pt x="719" y="529"/>
                      </a:lnTo>
                      <a:lnTo>
                        <a:pt x="710" y="526"/>
                      </a:lnTo>
                      <a:lnTo>
                        <a:pt x="706" y="524"/>
                      </a:lnTo>
                      <a:lnTo>
                        <a:pt x="703" y="522"/>
                      </a:lnTo>
                      <a:lnTo>
                        <a:pt x="699" y="517"/>
                      </a:lnTo>
                      <a:lnTo>
                        <a:pt x="701" y="510"/>
                      </a:lnTo>
                      <a:lnTo>
                        <a:pt x="701" y="510"/>
                      </a:lnTo>
                      <a:lnTo>
                        <a:pt x="701" y="505"/>
                      </a:lnTo>
                      <a:lnTo>
                        <a:pt x="703" y="503"/>
                      </a:lnTo>
                      <a:lnTo>
                        <a:pt x="706" y="503"/>
                      </a:lnTo>
                      <a:lnTo>
                        <a:pt x="708" y="503"/>
                      </a:lnTo>
                      <a:lnTo>
                        <a:pt x="710" y="503"/>
                      </a:lnTo>
                      <a:lnTo>
                        <a:pt x="712" y="503"/>
                      </a:lnTo>
                      <a:lnTo>
                        <a:pt x="712" y="500"/>
                      </a:lnTo>
                      <a:lnTo>
                        <a:pt x="712" y="495"/>
                      </a:lnTo>
                      <a:lnTo>
                        <a:pt x="712" y="495"/>
                      </a:lnTo>
                      <a:lnTo>
                        <a:pt x="713" y="491"/>
                      </a:lnTo>
                      <a:lnTo>
                        <a:pt x="715" y="489"/>
                      </a:lnTo>
                      <a:lnTo>
                        <a:pt x="724" y="489"/>
                      </a:lnTo>
                      <a:lnTo>
                        <a:pt x="733" y="491"/>
                      </a:lnTo>
                      <a:lnTo>
                        <a:pt x="733" y="489"/>
                      </a:lnTo>
                      <a:lnTo>
                        <a:pt x="731" y="484"/>
                      </a:lnTo>
                      <a:lnTo>
                        <a:pt x="731" y="484"/>
                      </a:lnTo>
                      <a:lnTo>
                        <a:pt x="727" y="477"/>
                      </a:lnTo>
                      <a:lnTo>
                        <a:pt x="726" y="477"/>
                      </a:lnTo>
                      <a:lnTo>
                        <a:pt x="720" y="477"/>
                      </a:lnTo>
                      <a:lnTo>
                        <a:pt x="720" y="477"/>
                      </a:lnTo>
                      <a:lnTo>
                        <a:pt x="717" y="477"/>
                      </a:lnTo>
                      <a:lnTo>
                        <a:pt x="715" y="475"/>
                      </a:lnTo>
                      <a:lnTo>
                        <a:pt x="713" y="472"/>
                      </a:lnTo>
                      <a:lnTo>
                        <a:pt x="710" y="467"/>
                      </a:lnTo>
                      <a:lnTo>
                        <a:pt x="706" y="465"/>
                      </a:lnTo>
                      <a:lnTo>
                        <a:pt x="703" y="463"/>
                      </a:lnTo>
                      <a:lnTo>
                        <a:pt x="703" y="463"/>
                      </a:lnTo>
                      <a:lnTo>
                        <a:pt x="699" y="460"/>
                      </a:lnTo>
                      <a:lnTo>
                        <a:pt x="699" y="458"/>
                      </a:lnTo>
                      <a:lnTo>
                        <a:pt x="706" y="449"/>
                      </a:lnTo>
                      <a:lnTo>
                        <a:pt x="713" y="441"/>
                      </a:lnTo>
                      <a:lnTo>
                        <a:pt x="715" y="437"/>
                      </a:lnTo>
                      <a:lnTo>
                        <a:pt x="713" y="435"/>
                      </a:lnTo>
                      <a:lnTo>
                        <a:pt x="713" y="435"/>
                      </a:lnTo>
                      <a:lnTo>
                        <a:pt x="710" y="430"/>
                      </a:lnTo>
                      <a:lnTo>
                        <a:pt x="708" y="428"/>
                      </a:lnTo>
                      <a:lnTo>
                        <a:pt x="710" y="427"/>
                      </a:lnTo>
                      <a:lnTo>
                        <a:pt x="715" y="428"/>
                      </a:lnTo>
                      <a:lnTo>
                        <a:pt x="715" y="428"/>
                      </a:lnTo>
                      <a:lnTo>
                        <a:pt x="719" y="430"/>
                      </a:lnTo>
                      <a:lnTo>
                        <a:pt x="720" y="434"/>
                      </a:lnTo>
                      <a:lnTo>
                        <a:pt x="722" y="439"/>
                      </a:lnTo>
                      <a:lnTo>
                        <a:pt x="722" y="441"/>
                      </a:lnTo>
                      <a:lnTo>
                        <a:pt x="724" y="442"/>
                      </a:lnTo>
                      <a:lnTo>
                        <a:pt x="727" y="442"/>
                      </a:lnTo>
                      <a:lnTo>
                        <a:pt x="731" y="441"/>
                      </a:lnTo>
                      <a:lnTo>
                        <a:pt x="731" y="441"/>
                      </a:lnTo>
                      <a:lnTo>
                        <a:pt x="734" y="441"/>
                      </a:lnTo>
                      <a:lnTo>
                        <a:pt x="738" y="442"/>
                      </a:lnTo>
                      <a:lnTo>
                        <a:pt x="743" y="449"/>
                      </a:lnTo>
                      <a:lnTo>
                        <a:pt x="745" y="453"/>
                      </a:lnTo>
                      <a:lnTo>
                        <a:pt x="748" y="454"/>
                      </a:lnTo>
                      <a:lnTo>
                        <a:pt x="752" y="453"/>
                      </a:lnTo>
                      <a:lnTo>
                        <a:pt x="753" y="447"/>
                      </a:lnTo>
                      <a:lnTo>
                        <a:pt x="753" y="447"/>
                      </a:lnTo>
                      <a:lnTo>
                        <a:pt x="757" y="444"/>
                      </a:lnTo>
                      <a:lnTo>
                        <a:pt x="759" y="444"/>
                      </a:lnTo>
                      <a:lnTo>
                        <a:pt x="760" y="453"/>
                      </a:lnTo>
                      <a:lnTo>
                        <a:pt x="760" y="467"/>
                      </a:lnTo>
                      <a:lnTo>
                        <a:pt x="760" y="481"/>
                      </a:lnTo>
                      <a:lnTo>
                        <a:pt x="760" y="481"/>
                      </a:lnTo>
                      <a:lnTo>
                        <a:pt x="762" y="484"/>
                      </a:lnTo>
                      <a:lnTo>
                        <a:pt x="764" y="486"/>
                      </a:lnTo>
                      <a:lnTo>
                        <a:pt x="773" y="489"/>
                      </a:lnTo>
                      <a:lnTo>
                        <a:pt x="787" y="491"/>
                      </a:lnTo>
                      <a:lnTo>
                        <a:pt x="804" y="493"/>
                      </a:lnTo>
                      <a:lnTo>
                        <a:pt x="835" y="493"/>
                      </a:lnTo>
                      <a:lnTo>
                        <a:pt x="847" y="495"/>
                      </a:lnTo>
                      <a:lnTo>
                        <a:pt x="851" y="496"/>
                      </a:lnTo>
                      <a:lnTo>
                        <a:pt x="853" y="500"/>
                      </a:lnTo>
                      <a:lnTo>
                        <a:pt x="853" y="500"/>
                      </a:lnTo>
                      <a:lnTo>
                        <a:pt x="856" y="505"/>
                      </a:lnTo>
                      <a:lnTo>
                        <a:pt x="853" y="503"/>
                      </a:lnTo>
                      <a:lnTo>
                        <a:pt x="851" y="503"/>
                      </a:lnTo>
                      <a:lnTo>
                        <a:pt x="847" y="505"/>
                      </a:lnTo>
                      <a:lnTo>
                        <a:pt x="846" y="508"/>
                      </a:lnTo>
                      <a:lnTo>
                        <a:pt x="844" y="514"/>
                      </a:lnTo>
                      <a:lnTo>
                        <a:pt x="844" y="514"/>
                      </a:lnTo>
                      <a:lnTo>
                        <a:pt x="842" y="522"/>
                      </a:lnTo>
                      <a:lnTo>
                        <a:pt x="839" y="528"/>
                      </a:lnTo>
                      <a:lnTo>
                        <a:pt x="832" y="531"/>
                      </a:lnTo>
                      <a:lnTo>
                        <a:pt x="825" y="536"/>
                      </a:lnTo>
                      <a:lnTo>
                        <a:pt x="820" y="540"/>
                      </a:lnTo>
                      <a:lnTo>
                        <a:pt x="813" y="545"/>
                      </a:lnTo>
                      <a:lnTo>
                        <a:pt x="811" y="552"/>
                      </a:lnTo>
                      <a:lnTo>
                        <a:pt x="809" y="561"/>
                      </a:lnTo>
                      <a:lnTo>
                        <a:pt x="809" y="561"/>
                      </a:lnTo>
                      <a:lnTo>
                        <a:pt x="813" y="571"/>
                      </a:lnTo>
                      <a:lnTo>
                        <a:pt x="814" y="580"/>
                      </a:lnTo>
                      <a:lnTo>
                        <a:pt x="818" y="585"/>
                      </a:lnTo>
                      <a:lnTo>
                        <a:pt x="821" y="589"/>
                      </a:lnTo>
                      <a:lnTo>
                        <a:pt x="825" y="589"/>
                      </a:lnTo>
                      <a:lnTo>
                        <a:pt x="828" y="585"/>
                      </a:lnTo>
                      <a:lnTo>
                        <a:pt x="832" y="578"/>
                      </a:lnTo>
                      <a:lnTo>
                        <a:pt x="835" y="566"/>
                      </a:lnTo>
                      <a:lnTo>
                        <a:pt x="835" y="566"/>
                      </a:lnTo>
                      <a:lnTo>
                        <a:pt x="839" y="559"/>
                      </a:lnTo>
                      <a:lnTo>
                        <a:pt x="841" y="555"/>
                      </a:lnTo>
                      <a:lnTo>
                        <a:pt x="844" y="555"/>
                      </a:lnTo>
                      <a:lnTo>
                        <a:pt x="846" y="555"/>
                      </a:lnTo>
                      <a:lnTo>
                        <a:pt x="847" y="557"/>
                      </a:lnTo>
                      <a:lnTo>
                        <a:pt x="847" y="562"/>
                      </a:lnTo>
                      <a:lnTo>
                        <a:pt x="847" y="568"/>
                      </a:lnTo>
                      <a:lnTo>
                        <a:pt x="847" y="568"/>
                      </a:lnTo>
                      <a:lnTo>
                        <a:pt x="847" y="576"/>
                      </a:lnTo>
                      <a:lnTo>
                        <a:pt x="847" y="583"/>
                      </a:lnTo>
                      <a:lnTo>
                        <a:pt x="851" y="595"/>
                      </a:lnTo>
                      <a:lnTo>
                        <a:pt x="856" y="609"/>
                      </a:lnTo>
                      <a:lnTo>
                        <a:pt x="858" y="620"/>
                      </a:lnTo>
                      <a:lnTo>
                        <a:pt x="860" y="632"/>
                      </a:lnTo>
                      <a:lnTo>
                        <a:pt x="860" y="632"/>
                      </a:lnTo>
                      <a:lnTo>
                        <a:pt x="861" y="627"/>
                      </a:lnTo>
                      <a:lnTo>
                        <a:pt x="865" y="625"/>
                      </a:lnTo>
                      <a:lnTo>
                        <a:pt x="865" y="627"/>
                      </a:lnTo>
                      <a:lnTo>
                        <a:pt x="867" y="629"/>
                      </a:lnTo>
                      <a:lnTo>
                        <a:pt x="868" y="632"/>
                      </a:lnTo>
                      <a:lnTo>
                        <a:pt x="870" y="634"/>
                      </a:lnTo>
                      <a:lnTo>
                        <a:pt x="872" y="632"/>
                      </a:lnTo>
                      <a:lnTo>
                        <a:pt x="875" y="629"/>
                      </a:lnTo>
                      <a:lnTo>
                        <a:pt x="875" y="629"/>
                      </a:lnTo>
                      <a:lnTo>
                        <a:pt x="879" y="618"/>
                      </a:lnTo>
                      <a:lnTo>
                        <a:pt x="879" y="613"/>
                      </a:lnTo>
                      <a:lnTo>
                        <a:pt x="877" y="608"/>
                      </a:lnTo>
                      <a:lnTo>
                        <a:pt x="875" y="602"/>
                      </a:lnTo>
                      <a:lnTo>
                        <a:pt x="875" y="602"/>
                      </a:lnTo>
                      <a:lnTo>
                        <a:pt x="875" y="592"/>
                      </a:lnTo>
                      <a:lnTo>
                        <a:pt x="877" y="587"/>
                      </a:lnTo>
                      <a:lnTo>
                        <a:pt x="881" y="587"/>
                      </a:lnTo>
                      <a:lnTo>
                        <a:pt x="882" y="587"/>
                      </a:lnTo>
                      <a:lnTo>
                        <a:pt x="886" y="587"/>
                      </a:lnTo>
                      <a:lnTo>
                        <a:pt x="888" y="583"/>
                      </a:lnTo>
                      <a:lnTo>
                        <a:pt x="888" y="575"/>
                      </a:lnTo>
                      <a:lnTo>
                        <a:pt x="886" y="559"/>
                      </a:lnTo>
                      <a:lnTo>
                        <a:pt x="886" y="559"/>
                      </a:lnTo>
                      <a:lnTo>
                        <a:pt x="884" y="543"/>
                      </a:lnTo>
                      <a:lnTo>
                        <a:pt x="884" y="540"/>
                      </a:lnTo>
                      <a:lnTo>
                        <a:pt x="884" y="538"/>
                      </a:lnTo>
                      <a:lnTo>
                        <a:pt x="889" y="540"/>
                      </a:lnTo>
                      <a:lnTo>
                        <a:pt x="898" y="543"/>
                      </a:lnTo>
                      <a:lnTo>
                        <a:pt x="898" y="543"/>
                      </a:lnTo>
                      <a:lnTo>
                        <a:pt x="903" y="545"/>
                      </a:lnTo>
                      <a:lnTo>
                        <a:pt x="907" y="548"/>
                      </a:lnTo>
                      <a:lnTo>
                        <a:pt x="910" y="550"/>
                      </a:lnTo>
                      <a:lnTo>
                        <a:pt x="912" y="550"/>
                      </a:lnTo>
                      <a:lnTo>
                        <a:pt x="914" y="547"/>
                      </a:lnTo>
                      <a:lnTo>
                        <a:pt x="917" y="533"/>
                      </a:lnTo>
                      <a:lnTo>
                        <a:pt x="917" y="533"/>
                      </a:lnTo>
                      <a:lnTo>
                        <a:pt x="921" y="522"/>
                      </a:lnTo>
                      <a:lnTo>
                        <a:pt x="924" y="515"/>
                      </a:lnTo>
                      <a:lnTo>
                        <a:pt x="931" y="505"/>
                      </a:lnTo>
                      <a:lnTo>
                        <a:pt x="935" y="498"/>
                      </a:lnTo>
                      <a:lnTo>
                        <a:pt x="935" y="495"/>
                      </a:lnTo>
                      <a:lnTo>
                        <a:pt x="931" y="491"/>
                      </a:lnTo>
                      <a:lnTo>
                        <a:pt x="931" y="491"/>
                      </a:lnTo>
                      <a:lnTo>
                        <a:pt x="929" y="488"/>
                      </a:lnTo>
                      <a:lnTo>
                        <a:pt x="928" y="486"/>
                      </a:lnTo>
                      <a:lnTo>
                        <a:pt x="929" y="484"/>
                      </a:lnTo>
                      <a:lnTo>
                        <a:pt x="931" y="481"/>
                      </a:lnTo>
                      <a:lnTo>
                        <a:pt x="940" y="474"/>
                      </a:lnTo>
                      <a:lnTo>
                        <a:pt x="943" y="468"/>
                      </a:lnTo>
                      <a:lnTo>
                        <a:pt x="947" y="461"/>
                      </a:lnTo>
                      <a:lnTo>
                        <a:pt x="947" y="461"/>
                      </a:lnTo>
                      <a:lnTo>
                        <a:pt x="950" y="453"/>
                      </a:lnTo>
                      <a:lnTo>
                        <a:pt x="950" y="447"/>
                      </a:lnTo>
                      <a:lnTo>
                        <a:pt x="950" y="444"/>
                      </a:lnTo>
                      <a:lnTo>
                        <a:pt x="948" y="442"/>
                      </a:lnTo>
                      <a:lnTo>
                        <a:pt x="947" y="437"/>
                      </a:lnTo>
                      <a:lnTo>
                        <a:pt x="945" y="434"/>
                      </a:lnTo>
                      <a:lnTo>
                        <a:pt x="947" y="430"/>
                      </a:lnTo>
                      <a:lnTo>
                        <a:pt x="947" y="430"/>
                      </a:lnTo>
                      <a:lnTo>
                        <a:pt x="950" y="425"/>
                      </a:lnTo>
                      <a:lnTo>
                        <a:pt x="954" y="425"/>
                      </a:lnTo>
                      <a:lnTo>
                        <a:pt x="955" y="425"/>
                      </a:lnTo>
                      <a:lnTo>
                        <a:pt x="957" y="423"/>
                      </a:lnTo>
                      <a:lnTo>
                        <a:pt x="961" y="421"/>
                      </a:lnTo>
                      <a:lnTo>
                        <a:pt x="966" y="416"/>
                      </a:lnTo>
                      <a:lnTo>
                        <a:pt x="966" y="416"/>
                      </a:lnTo>
                      <a:lnTo>
                        <a:pt x="975" y="406"/>
                      </a:lnTo>
                      <a:lnTo>
                        <a:pt x="987" y="397"/>
                      </a:lnTo>
                      <a:lnTo>
                        <a:pt x="992" y="394"/>
                      </a:lnTo>
                      <a:lnTo>
                        <a:pt x="999" y="394"/>
                      </a:lnTo>
                      <a:lnTo>
                        <a:pt x="1004" y="394"/>
                      </a:lnTo>
                      <a:lnTo>
                        <a:pt x="1008" y="399"/>
                      </a:lnTo>
                      <a:lnTo>
                        <a:pt x="1008" y="399"/>
                      </a:lnTo>
                      <a:lnTo>
                        <a:pt x="1013" y="404"/>
                      </a:lnTo>
                      <a:lnTo>
                        <a:pt x="1015" y="406"/>
                      </a:lnTo>
                      <a:lnTo>
                        <a:pt x="1016" y="406"/>
                      </a:lnTo>
                      <a:lnTo>
                        <a:pt x="1016" y="404"/>
                      </a:lnTo>
                      <a:lnTo>
                        <a:pt x="1016" y="402"/>
                      </a:lnTo>
                      <a:lnTo>
                        <a:pt x="1013" y="392"/>
                      </a:lnTo>
                      <a:lnTo>
                        <a:pt x="1013" y="392"/>
                      </a:lnTo>
                      <a:lnTo>
                        <a:pt x="1011" y="387"/>
                      </a:lnTo>
                      <a:lnTo>
                        <a:pt x="1011" y="383"/>
                      </a:lnTo>
                      <a:lnTo>
                        <a:pt x="1015" y="380"/>
                      </a:lnTo>
                      <a:lnTo>
                        <a:pt x="1016" y="376"/>
                      </a:lnTo>
                      <a:lnTo>
                        <a:pt x="1020" y="373"/>
                      </a:lnTo>
                      <a:lnTo>
                        <a:pt x="1023" y="367"/>
                      </a:lnTo>
                      <a:lnTo>
                        <a:pt x="1025" y="362"/>
                      </a:lnTo>
                      <a:lnTo>
                        <a:pt x="1025" y="355"/>
                      </a:lnTo>
                      <a:lnTo>
                        <a:pt x="1025" y="355"/>
                      </a:lnTo>
                      <a:lnTo>
                        <a:pt x="1022" y="352"/>
                      </a:lnTo>
                      <a:lnTo>
                        <a:pt x="1016" y="348"/>
                      </a:lnTo>
                      <a:lnTo>
                        <a:pt x="1009" y="347"/>
                      </a:lnTo>
                      <a:lnTo>
                        <a:pt x="995" y="347"/>
                      </a:lnTo>
                      <a:lnTo>
                        <a:pt x="995" y="347"/>
                      </a:lnTo>
                      <a:lnTo>
                        <a:pt x="987" y="347"/>
                      </a:lnTo>
                      <a:lnTo>
                        <a:pt x="987" y="345"/>
                      </a:lnTo>
                      <a:lnTo>
                        <a:pt x="990" y="343"/>
                      </a:lnTo>
                      <a:lnTo>
                        <a:pt x="997" y="336"/>
                      </a:lnTo>
                      <a:lnTo>
                        <a:pt x="999" y="331"/>
                      </a:lnTo>
                      <a:lnTo>
                        <a:pt x="999" y="324"/>
                      </a:lnTo>
                      <a:lnTo>
                        <a:pt x="999" y="324"/>
                      </a:lnTo>
                      <a:lnTo>
                        <a:pt x="997" y="320"/>
                      </a:lnTo>
                      <a:lnTo>
                        <a:pt x="994" y="320"/>
                      </a:lnTo>
                      <a:lnTo>
                        <a:pt x="987" y="320"/>
                      </a:lnTo>
                      <a:lnTo>
                        <a:pt x="985" y="320"/>
                      </a:lnTo>
                      <a:lnTo>
                        <a:pt x="985" y="320"/>
                      </a:lnTo>
                      <a:lnTo>
                        <a:pt x="989" y="313"/>
                      </a:lnTo>
                      <a:lnTo>
                        <a:pt x="989" y="313"/>
                      </a:lnTo>
                      <a:lnTo>
                        <a:pt x="992" y="308"/>
                      </a:lnTo>
                      <a:lnTo>
                        <a:pt x="992" y="306"/>
                      </a:lnTo>
                      <a:lnTo>
                        <a:pt x="990" y="306"/>
                      </a:lnTo>
                      <a:lnTo>
                        <a:pt x="989" y="306"/>
                      </a:lnTo>
                      <a:lnTo>
                        <a:pt x="987" y="306"/>
                      </a:lnTo>
                      <a:lnTo>
                        <a:pt x="985" y="303"/>
                      </a:lnTo>
                      <a:lnTo>
                        <a:pt x="985" y="303"/>
                      </a:lnTo>
                      <a:lnTo>
                        <a:pt x="983" y="301"/>
                      </a:lnTo>
                      <a:lnTo>
                        <a:pt x="980" y="299"/>
                      </a:lnTo>
                      <a:lnTo>
                        <a:pt x="973" y="301"/>
                      </a:lnTo>
                      <a:lnTo>
                        <a:pt x="968" y="305"/>
                      </a:lnTo>
                      <a:lnTo>
                        <a:pt x="962" y="312"/>
                      </a:lnTo>
                      <a:lnTo>
                        <a:pt x="962" y="312"/>
                      </a:lnTo>
                      <a:lnTo>
                        <a:pt x="959" y="315"/>
                      </a:lnTo>
                      <a:lnTo>
                        <a:pt x="954" y="317"/>
                      </a:lnTo>
                      <a:lnTo>
                        <a:pt x="947" y="315"/>
                      </a:lnTo>
                      <a:lnTo>
                        <a:pt x="938" y="310"/>
                      </a:lnTo>
                      <a:lnTo>
                        <a:pt x="938" y="310"/>
                      </a:lnTo>
                      <a:lnTo>
                        <a:pt x="935" y="308"/>
                      </a:lnTo>
                      <a:lnTo>
                        <a:pt x="931" y="306"/>
                      </a:lnTo>
                      <a:lnTo>
                        <a:pt x="928" y="308"/>
                      </a:lnTo>
                      <a:lnTo>
                        <a:pt x="924" y="308"/>
                      </a:lnTo>
                      <a:lnTo>
                        <a:pt x="917" y="315"/>
                      </a:lnTo>
                      <a:lnTo>
                        <a:pt x="908" y="324"/>
                      </a:lnTo>
                      <a:lnTo>
                        <a:pt x="908" y="324"/>
                      </a:lnTo>
                      <a:lnTo>
                        <a:pt x="905" y="329"/>
                      </a:lnTo>
                      <a:lnTo>
                        <a:pt x="900" y="331"/>
                      </a:lnTo>
                      <a:lnTo>
                        <a:pt x="891" y="334"/>
                      </a:lnTo>
                      <a:lnTo>
                        <a:pt x="884" y="336"/>
                      </a:lnTo>
                      <a:lnTo>
                        <a:pt x="881" y="338"/>
                      </a:lnTo>
                      <a:lnTo>
                        <a:pt x="879" y="343"/>
                      </a:lnTo>
                      <a:lnTo>
                        <a:pt x="879" y="343"/>
                      </a:lnTo>
                      <a:lnTo>
                        <a:pt x="877" y="347"/>
                      </a:lnTo>
                      <a:lnTo>
                        <a:pt x="875" y="350"/>
                      </a:lnTo>
                      <a:lnTo>
                        <a:pt x="870" y="353"/>
                      </a:lnTo>
                      <a:lnTo>
                        <a:pt x="865" y="357"/>
                      </a:lnTo>
                      <a:lnTo>
                        <a:pt x="863" y="359"/>
                      </a:lnTo>
                      <a:lnTo>
                        <a:pt x="863" y="362"/>
                      </a:lnTo>
                      <a:lnTo>
                        <a:pt x="863" y="362"/>
                      </a:lnTo>
                      <a:lnTo>
                        <a:pt x="863" y="366"/>
                      </a:lnTo>
                      <a:lnTo>
                        <a:pt x="861" y="369"/>
                      </a:lnTo>
                      <a:lnTo>
                        <a:pt x="858" y="371"/>
                      </a:lnTo>
                      <a:lnTo>
                        <a:pt x="853" y="373"/>
                      </a:lnTo>
                      <a:lnTo>
                        <a:pt x="841" y="376"/>
                      </a:lnTo>
                      <a:lnTo>
                        <a:pt x="825" y="374"/>
                      </a:lnTo>
                      <a:lnTo>
                        <a:pt x="825" y="374"/>
                      </a:lnTo>
                      <a:lnTo>
                        <a:pt x="825" y="380"/>
                      </a:lnTo>
                      <a:lnTo>
                        <a:pt x="825" y="385"/>
                      </a:lnTo>
                      <a:lnTo>
                        <a:pt x="827" y="388"/>
                      </a:lnTo>
                      <a:lnTo>
                        <a:pt x="827" y="390"/>
                      </a:lnTo>
                      <a:lnTo>
                        <a:pt x="830" y="390"/>
                      </a:lnTo>
                      <a:lnTo>
                        <a:pt x="834" y="390"/>
                      </a:lnTo>
                      <a:lnTo>
                        <a:pt x="834" y="390"/>
                      </a:lnTo>
                      <a:lnTo>
                        <a:pt x="839" y="390"/>
                      </a:lnTo>
                      <a:lnTo>
                        <a:pt x="841" y="390"/>
                      </a:lnTo>
                      <a:lnTo>
                        <a:pt x="842" y="392"/>
                      </a:lnTo>
                      <a:lnTo>
                        <a:pt x="841" y="394"/>
                      </a:lnTo>
                      <a:lnTo>
                        <a:pt x="841" y="400"/>
                      </a:lnTo>
                      <a:lnTo>
                        <a:pt x="839" y="404"/>
                      </a:lnTo>
                      <a:lnTo>
                        <a:pt x="841" y="409"/>
                      </a:lnTo>
                      <a:lnTo>
                        <a:pt x="841" y="409"/>
                      </a:lnTo>
                      <a:lnTo>
                        <a:pt x="841" y="414"/>
                      </a:lnTo>
                      <a:lnTo>
                        <a:pt x="841" y="416"/>
                      </a:lnTo>
                      <a:lnTo>
                        <a:pt x="839" y="416"/>
                      </a:lnTo>
                      <a:lnTo>
                        <a:pt x="834" y="414"/>
                      </a:lnTo>
                      <a:lnTo>
                        <a:pt x="832" y="416"/>
                      </a:lnTo>
                      <a:lnTo>
                        <a:pt x="828" y="418"/>
                      </a:lnTo>
                      <a:lnTo>
                        <a:pt x="828" y="418"/>
                      </a:lnTo>
                      <a:lnTo>
                        <a:pt x="827" y="420"/>
                      </a:lnTo>
                      <a:lnTo>
                        <a:pt x="823" y="418"/>
                      </a:lnTo>
                      <a:lnTo>
                        <a:pt x="818" y="418"/>
                      </a:lnTo>
                      <a:lnTo>
                        <a:pt x="813" y="418"/>
                      </a:lnTo>
                      <a:lnTo>
                        <a:pt x="806" y="420"/>
                      </a:lnTo>
                      <a:lnTo>
                        <a:pt x="806" y="420"/>
                      </a:lnTo>
                      <a:lnTo>
                        <a:pt x="800" y="421"/>
                      </a:lnTo>
                      <a:lnTo>
                        <a:pt x="795" y="421"/>
                      </a:lnTo>
                      <a:lnTo>
                        <a:pt x="792" y="420"/>
                      </a:lnTo>
                      <a:lnTo>
                        <a:pt x="790" y="418"/>
                      </a:lnTo>
                      <a:lnTo>
                        <a:pt x="787" y="416"/>
                      </a:lnTo>
                      <a:lnTo>
                        <a:pt x="783" y="416"/>
                      </a:lnTo>
                      <a:lnTo>
                        <a:pt x="780" y="416"/>
                      </a:lnTo>
                      <a:lnTo>
                        <a:pt x="773" y="420"/>
                      </a:lnTo>
                      <a:lnTo>
                        <a:pt x="773" y="420"/>
                      </a:lnTo>
                      <a:lnTo>
                        <a:pt x="766" y="421"/>
                      </a:lnTo>
                      <a:lnTo>
                        <a:pt x="760" y="421"/>
                      </a:lnTo>
                      <a:lnTo>
                        <a:pt x="757" y="421"/>
                      </a:lnTo>
                      <a:lnTo>
                        <a:pt x="755" y="420"/>
                      </a:lnTo>
                      <a:lnTo>
                        <a:pt x="750" y="416"/>
                      </a:lnTo>
                      <a:lnTo>
                        <a:pt x="746" y="416"/>
                      </a:lnTo>
                      <a:lnTo>
                        <a:pt x="745" y="416"/>
                      </a:lnTo>
                      <a:lnTo>
                        <a:pt x="745" y="416"/>
                      </a:lnTo>
                      <a:lnTo>
                        <a:pt x="741" y="416"/>
                      </a:lnTo>
                      <a:lnTo>
                        <a:pt x="736" y="416"/>
                      </a:lnTo>
                      <a:lnTo>
                        <a:pt x="729" y="409"/>
                      </a:lnTo>
                      <a:lnTo>
                        <a:pt x="726" y="406"/>
                      </a:lnTo>
                      <a:lnTo>
                        <a:pt x="726" y="402"/>
                      </a:lnTo>
                      <a:lnTo>
                        <a:pt x="726" y="399"/>
                      </a:lnTo>
                      <a:lnTo>
                        <a:pt x="729" y="395"/>
                      </a:lnTo>
                      <a:lnTo>
                        <a:pt x="729" y="395"/>
                      </a:lnTo>
                      <a:lnTo>
                        <a:pt x="727" y="388"/>
                      </a:lnTo>
                      <a:lnTo>
                        <a:pt x="727" y="381"/>
                      </a:lnTo>
                      <a:lnTo>
                        <a:pt x="729" y="367"/>
                      </a:lnTo>
                      <a:lnTo>
                        <a:pt x="727" y="364"/>
                      </a:lnTo>
                      <a:lnTo>
                        <a:pt x="726" y="362"/>
                      </a:lnTo>
                      <a:lnTo>
                        <a:pt x="724" y="362"/>
                      </a:lnTo>
                      <a:lnTo>
                        <a:pt x="715" y="364"/>
                      </a:lnTo>
                      <a:lnTo>
                        <a:pt x="703" y="371"/>
                      </a:lnTo>
                      <a:lnTo>
                        <a:pt x="703" y="371"/>
                      </a:lnTo>
                      <a:lnTo>
                        <a:pt x="705" y="373"/>
                      </a:lnTo>
                      <a:lnTo>
                        <a:pt x="705" y="374"/>
                      </a:lnTo>
                      <a:lnTo>
                        <a:pt x="705" y="380"/>
                      </a:lnTo>
                      <a:lnTo>
                        <a:pt x="699" y="388"/>
                      </a:lnTo>
                      <a:lnTo>
                        <a:pt x="699" y="388"/>
                      </a:lnTo>
                      <a:lnTo>
                        <a:pt x="698" y="395"/>
                      </a:lnTo>
                      <a:lnTo>
                        <a:pt x="698" y="400"/>
                      </a:lnTo>
                      <a:lnTo>
                        <a:pt x="701" y="409"/>
                      </a:lnTo>
                      <a:lnTo>
                        <a:pt x="705" y="418"/>
                      </a:lnTo>
                      <a:lnTo>
                        <a:pt x="705" y="423"/>
                      </a:lnTo>
                      <a:lnTo>
                        <a:pt x="703" y="428"/>
                      </a:lnTo>
                      <a:lnTo>
                        <a:pt x="703" y="428"/>
                      </a:lnTo>
                      <a:lnTo>
                        <a:pt x="699" y="437"/>
                      </a:lnTo>
                      <a:lnTo>
                        <a:pt x="698" y="437"/>
                      </a:lnTo>
                      <a:lnTo>
                        <a:pt x="698" y="437"/>
                      </a:lnTo>
                      <a:lnTo>
                        <a:pt x="691" y="437"/>
                      </a:lnTo>
                      <a:lnTo>
                        <a:pt x="680" y="437"/>
                      </a:lnTo>
                      <a:lnTo>
                        <a:pt x="680" y="437"/>
                      </a:lnTo>
                      <a:lnTo>
                        <a:pt x="673" y="437"/>
                      </a:lnTo>
                      <a:lnTo>
                        <a:pt x="670" y="437"/>
                      </a:lnTo>
                      <a:lnTo>
                        <a:pt x="666" y="435"/>
                      </a:lnTo>
                      <a:lnTo>
                        <a:pt x="666" y="434"/>
                      </a:lnTo>
                      <a:lnTo>
                        <a:pt x="665" y="430"/>
                      </a:lnTo>
                      <a:lnTo>
                        <a:pt x="663" y="430"/>
                      </a:lnTo>
                      <a:lnTo>
                        <a:pt x="658" y="432"/>
                      </a:lnTo>
                      <a:lnTo>
                        <a:pt x="658" y="432"/>
                      </a:lnTo>
                      <a:lnTo>
                        <a:pt x="654" y="435"/>
                      </a:lnTo>
                      <a:lnTo>
                        <a:pt x="649" y="434"/>
                      </a:lnTo>
                      <a:lnTo>
                        <a:pt x="642" y="430"/>
                      </a:lnTo>
                      <a:lnTo>
                        <a:pt x="635" y="425"/>
                      </a:lnTo>
                      <a:lnTo>
                        <a:pt x="630" y="425"/>
                      </a:lnTo>
                      <a:lnTo>
                        <a:pt x="625" y="427"/>
                      </a:lnTo>
                      <a:lnTo>
                        <a:pt x="625" y="427"/>
                      </a:lnTo>
                      <a:lnTo>
                        <a:pt x="621" y="428"/>
                      </a:lnTo>
                      <a:lnTo>
                        <a:pt x="619" y="427"/>
                      </a:lnTo>
                      <a:lnTo>
                        <a:pt x="618" y="425"/>
                      </a:lnTo>
                      <a:lnTo>
                        <a:pt x="618" y="423"/>
                      </a:lnTo>
                      <a:lnTo>
                        <a:pt x="616" y="418"/>
                      </a:lnTo>
                      <a:lnTo>
                        <a:pt x="612" y="416"/>
                      </a:lnTo>
                      <a:lnTo>
                        <a:pt x="609" y="418"/>
                      </a:lnTo>
                      <a:lnTo>
                        <a:pt x="609" y="418"/>
                      </a:lnTo>
                      <a:lnTo>
                        <a:pt x="602" y="420"/>
                      </a:lnTo>
                      <a:lnTo>
                        <a:pt x="600" y="420"/>
                      </a:lnTo>
                      <a:lnTo>
                        <a:pt x="597" y="418"/>
                      </a:lnTo>
                      <a:lnTo>
                        <a:pt x="590" y="413"/>
                      </a:lnTo>
                      <a:lnTo>
                        <a:pt x="590" y="413"/>
                      </a:lnTo>
                      <a:lnTo>
                        <a:pt x="585" y="411"/>
                      </a:lnTo>
                      <a:lnTo>
                        <a:pt x="581" y="409"/>
                      </a:lnTo>
                      <a:lnTo>
                        <a:pt x="581" y="406"/>
                      </a:lnTo>
                      <a:lnTo>
                        <a:pt x="581" y="404"/>
                      </a:lnTo>
                      <a:lnTo>
                        <a:pt x="581" y="400"/>
                      </a:lnTo>
                      <a:lnTo>
                        <a:pt x="579" y="397"/>
                      </a:lnTo>
                      <a:lnTo>
                        <a:pt x="576" y="394"/>
                      </a:lnTo>
                      <a:lnTo>
                        <a:pt x="571" y="390"/>
                      </a:lnTo>
                      <a:lnTo>
                        <a:pt x="571" y="390"/>
                      </a:lnTo>
                      <a:lnTo>
                        <a:pt x="565" y="388"/>
                      </a:lnTo>
                      <a:lnTo>
                        <a:pt x="560" y="388"/>
                      </a:lnTo>
                      <a:lnTo>
                        <a:pt x="558" y="388"/>
                      </a:lnTo>
                      <a:lnTo>
                        <a:pt x="557" y="390"/>
                      </a:lnTo>
                      <a:lnTo>
                        <a:pt x="555" y="394"/>
                      </a:lnTo>
                      <a:lnTo>
                        <a:pt x="553" y="394"/>
                      </a:lnTo>
                      <a:lnTo>
                        <a:pt x="550" y="392"/>
                      </a:lnTo>
                      <a:lnTo>
                        <a:pt x="550" y="392"/>
                      </a:lnTo>
                      <a:lnTo>
                        <a:pt x="545" y="390"/>
                      </a:lnTo>
                      <a:lnTo>
                        <a:pt x="539" y="388"/>
                      </a:lnTo>
                      <a:lnTo>
                        <a:pt x="527" y="390"/>
                      </a:lnTo>
                      <a:lnTo>
                        <a:pt x="522" y="390"/>
                      </a:lnTo>
                      <a:lnTo>
                        <a:pt x="518" y="388"/>
                      </a:lnTo>
                      <a:lnTo>
                        <a:pt x="515" y="387"/>
                      </a:lnTo>
                      <a:lnTo>
                        <a:pt x="511" y="381"/>
                      </a:lnTo>
                      <a:lnTo>
                        <a:pt x="511" y="381"/>
                      </a:lnTo>
                      <a:lnTo>
                        <a:pt x="510" y="376"/>
                      </a:lnTo>
                      <a:lnTo>
                        <a:pt x="508" y="378"/>
                      </a:lnTo>
                      <a:lnTo>
                        <a:pt x="506" y="380"/>
                      </a:lnTo>
                      <a:lnTo>
                        <a:pt x="503" y="380"/>
                      </a:lnTo>
                      <a:lnTo>
                        <a:pt x="501" y="378"/>
                      </a:lnTo>
                      <a:lnTo>
                        <a:pt x="496" y="374"/>
                      </a:lnTo>
                      <a:lnTo>
                        <a:pt x="496" y="374"/>
                      </a:lnTo>
                      <a:lnTo>
                        <a:pt x="491" y="371"/>
                      </a:lnTo>
                      <a:lnTo>
                        <a:pt x="489" y="369"/>
                      </a:lnTo>
                      <a:lnTo>
                        <a:pt x="485" y="369"/>
                      </a:lnTo>
                      <a:lnTo>
                        <a:pt x="484" y="369"/>
                      </a:lnTo>
                      <a:lnTo>
                        <a:pt x="480" y="369"/>
                      </a:lnTo>
                      <a:lnTo>
                        <a:pt x="477" y="366"/>
                      </a:lnTo>
                      <a:lnTo>
                        <a:pt x="470" y="360"/>
                      </a:lnTo>
                      <a:lnTo>
                        <a:pt x="470" y="360"/>
                      </a:lnTo>
                      <a:lnTo>
                        <a:pt x="449" y="341"/>
                      </a:lnTo>
                      <a:lnTo>
                        <a:pt x="440" y="334"/>
                      </a:lnTo>
                      <a:lnTo>
                        <a:pt x="437" y="333"/>
                      </a:lnTo>
                      <a:lnTo>
                        <a:pt x="435" y="336"/>
                      </a:lnTo>
                      <a:lnTo>
                        <a:pt x="435" y="336"/>
                      </a:lnTo>
                      <a:lnTo>
                        <a:pt x="435" y="338"/>
                      </a:lnTo>
                      <a:lnTo>
                        <a:pt x="431" y="338"/>
                      </a:lnTo>
                      <a:lnTo>
                        <a:pt x="428" y="336"/>
                      </a:lnTo>
                      <a:lnTo>
                        <a:pt x="424" y="333"/>
                      </a:lnTo>
                      <a:lnTo>
                        <a:pt x="421" y="329"/>
                      </a:lnTo>
                      <a:lnTo>
                        <a:pt x="419" y="324"/>
                      </a:lnTo>
                      <a:lnTo>
                        <a:pt x="419" y="319"/>
                      </a:lnTo>
                      <a:lnTo>
                        <a:pt x="421" y="315"/>
                      </a:lnTo>
                      <a:lnTo>
                        <a:pt x="421" y="315"/>
                      </a:lnTo>
                      <a:lnTo>
                        <a:pt x="424" y="313"/>
                      </a:lnTo>
                      <a:lnTo>
                        <a:pt x="424" y="310"/>
                      </a:lnTo>
                      <a:lnTo>
                        <a:pt x="424" y="306"/>
                      </a:lnTo>
                      <a:lnTo>
                        <a:pt x="423" y="303"/>
                      </a:lnTo>
                      <a:lnTo>
                        <a:pt x="424" y="301"/>
                      </a:lnTo>
                      <a:lnTo>
                        <a:pt x="426" y="298"/>
                      </a:lnTo>
                      <a:lnTo>
                        <a:pt x="426" y="298"/>
                      </a:lnTo>
                      <a:lnTo>
                        <a:pt x="430" y="296"/>
                      </a:lnTo>
                      <a:lnTo>
                        <a:pt x="430" y="293"/>
                      </a:lnTo>
                      <a:lnTo>
                        <a:pt x="431" y="286"/>
                      </a:lnTo>
                      <a:lnTo>
                        <a:pt x="433" y="282"/>
                      </a:lnTo>
                      <a:lnTo>
                        <a:pt x="437" y="279"/>
                      </a:lnTo>
                      <a:lnTo>
                        <a:pt x="444" y="272"/>
                      </a:lnTo>
                      <a:lnTo>
                        <a:pt x="452" y="265"/>
                      </a:lnTo>
                      <a:lnTo>
                        <a:pt x="452" y="265"/>
                      </a:lnTo>
                      <a:lnTo>
                        <a:pt x="449" y="259"/>
                      </a:lnTo>
                      <a:lnTo>
                        <a:pt x="440" y="252"/>
                      </a:lnTo>
                      <a:lnTo>
                        <a:pt x="430" y="246"/>
                      </a:lnTo>
                      <a:lnTo>
                        <a:pt x="419" y="235"/>
                      </a:lnTo>
                      <a:lnTo>
                        <a:pt x="419" y="235"/>
                      </a:lnTo>
                      <a:lnTo>
                        <a:pt x="414" y="232"/>
                      </a:lnTo>
                      <a:lnTo>
                        <a:pt x="410" y="230"/>
                      </a:lnTo>
                      <a:lnTo>
                        <a:pt x="407" y="232"/>
                      </a:lnTo>
                      <a:lnTo>
                        <a:pt x="403" y="232"/>
                      </a:lnTo>
                      <a:lnTo>
                        <a:pt x="400" y="230"/>
                      </a:lnTo>
                      <a:lnTo>
                        <a:pt x="397" y="225"/>
                      </a:lnTo>
                      <a:lnTo>
                        <a:pt x="391" y="218"/>
                      </a:lnTo>
                      <a:lnTo>
                        <a:pt x="391" y="218"/>
                      </a:lnTo>
                      <a:lnTo>
                        <a:pt x="388" y="212"/>
                      </a:lnTo>
                      <a:lnTo>
                        <a:pt x="384" y="211"/>
                      </a:lnTo>
                      <a:lnTo>
                        <a:pt x="381" y="212"/>
                      </a:lnTo>
                      <a:lnTo>
                        <a:pt x="379" y="212"/>
                      </a:lnTo>
                      <a:lnTo>
                        <a:pt x="376" y="214"/>
                      </a:lnTo>
                      <a:lnTo>
                        <a:pt x="374" y="214"/>
                      </a:lnTo>
                      <a:lnTo>
                        <a:pt x="374" y="212"/>
                      </a:lnTo>
                      <a:lnTo>
                        <a:pt x="374" y="207"/>
                      </a:lnTo>
                      <a:lnTo>
                        <a:pt x="374" y="207"/>
                      </a:lnTo>
                      <a:lnTo>
                        <a:pt x="374" y="195"/>
                      </a:lnTo>
                      <a:lnTo>
                        <a:pt x="372" y="185"/>
                      </a:lnTo>
                      <a:lnTo>
                        <a:pt x="369" y="174"/>
                      </a:lnTo>
                      <a:lnTo>
                        <a:pt x="363" y="165"/>
                      </a:lnTo>
                      <a:lnTo>
                        <a:pt x="363" y="165"/>
                      </a:lnTo>
                      <a:lnTo>
                        <a:pt x="362" y="162"/>
                      </a:lnTo>
                      <a:lnTo>
                        <a:pt x="362" y="158"/>
                      </a:lnTo>
                      <a:lnTo>
                        <a:pt x="363" y="157"/>
                      </a:lnTo>
                      <a:lnTo>
                        <a:pt x="365" y="157"/>
                      </a:lnTo>
                      <a:lnTo>
                        <a:pt x="370" y="157"/>
                      </a:lnTo>
                      <a:lnTo>
                        <a:pt x="374" y="158"/>
                      </a:lnTo>
                      <a:lnTo>
                        <a:pt x="376" y="160"/>
                      </a:lnTo>
                      <a:lnTo>
                        <a:pt x="376" y="160"/>
                      </a:lnTo>
                      <a:lnTo>
                        <a:pt x="381" y="167"/>
                      </a:lnTo>
                      <a:lnTo>
                        <a:pt x="383" y="167"/>
                      </a:lnTo>
                      <a:lnTo>
                        <a:pt x="384" y="165"/>
                      </a:lnTo>
                      <a:lnTo>
                        <a:pt x="388" y="164"/>
                      </a:lnTo>
                      <a:lnTo>
                        <a:pt x="393" y="160"/>
                      </a:lnTo>
                      <a:lnTo>
                        <a:pt x="393" y="160"/>
                      </a:lnTo>
                      <a:lnTo>
                        <a:pt x="398" y="157"/>
                      </a:lnTo>
                      <a:lnTo>
                        <a:pt x="400" y="153"/>
                      </a:lnTo>
                      <a:lnTo>
                        <a:pt x="400" y="150"/>
                      </a:lnTo>
                      <a:lnTo>
                        <a:pt x="400" y="146"/>
                      </a:lnTo>
                      <a:lnTo>
                        <a:pt x="397" y="139"/>
                      </a:lnTo>
                      <a:lnTo>
                        <a:pt x="395" y="136"/>
                      </a:lnTo>
                      <a:lnTo>
                        <a:pt x="395" y="132"/>
                      </a:lnTo>
                      <a:lnTo>
                        <a:pt x="395" y="132"/>
                      </a:lnTo>
                      <a:lnTo>
                        <a:pt x="395" y="131"/>
                      </a:lnTo>
                      <a:lnTo>
                        <a:pt x="391" y="129"/>
                      </a:lnTo>
                      <a:lnTo>
                        <a:pt x="384" y="125"/>
                      </a:lnTo>
                      <a:lnTo>
                        <a:pt x="381" y="124"/>
                      </a:lnTo>
                      <a:lnTo>
                        <a:pt x="379" y="120"/>
                      </a:lnTo>
                      <a:lnTo>
                        <a:pt x="379" y="117"/>
                      </a:lnTo>
                      <a:lnTo>
                        <a:pt x="381" y="110"/>
                      </a:lnTo>
                      <a:lnTo>
                        <a:pt x="381" y="110"/>
                      </a:lnTo>
                      <a:lnTo>
                        <a:pt x="383" y="106"/>
                      </a:lnTo>
                      <a:lnTo>
                        <a:pt x="381" y="103"/>
                      </a:lnTo>
                      <a:lnTo>
                        <a:pt x="379" y="96"/>
                      </a:lnTo>
                      <a:lnTo>
                        <a:pt x="377" y="94"/>
                      </a:lnTo>
                      <a:lnTo>
                        <a:pt x="379" y="92"/>
                      </a:lnTo>
                      <a:lnTo>
                        <a:pt x="383" y="91"/>
                      </a:lnTo>
                      <a:lnTo>
                        <a:pt x="390" y="91"/>
                      </a:lnTo>
                      <a:lnTo>
                        <a:pt x="390" y="91"/>
                      </a:lnTo>
                      <a:lnTo>
                        <a:pt x="397" y="89"/>
                      </a:lnTo>
                      <a:lnTo>
                        <a:pt x="400" y="87"/>
                      </a:lnTo>
                      <a:lnTo>
                        <a:pt x="402" y="85"/>
                      </a:lnTo>
                      <a:lnTo>
                        <a:pt x="402" y="82"/>
                      </a:lnTo>
                      <a:lnTo>
                        <a:pt x="402" y="78"/>
                      </a:lnTo>
                      <a:lnTo>
                        <a:pt x="403" y="73"/>
                      </a:lnTo>
                      <a:lnTo>
                        <a:pt x="409" y="68"/>
                      </a:lnTo>
                      <a:lnTo>
                        <a:pt x="416" y="61"/>
                      </a:lnTo>
                      <a:lnTo>
                        <a:pt x="416" y="61"/>
                      </a:lnTo>
                      <a:lnTo>
                        <a:pt x="421" y="57"/>
                      </a:lnTo>
                      <a:lnTo>
                        <a:pt x="424" y="54"/>
                      </a:lnTo>
                      <a:lnTo>
                        <a:pt x="424" y="51"/>
                      </a:lnTo>
                      <a:lnTo>
                        <a:pt x="426" y="47"/>
                      </a:lnTo>
                      <a:lnTo>
                        <a:pt x="424" y="42"/>
                      </a:lnTo>
                      <a:lnTo>
                        <a:pt x="426" y="38"/>
                      </a:lnTo>
                      <a:lnTo>
                        <a:pt x="428" y="33"/>
                      </a:lnTo>
                      <a:lnTo>
                        <a:pt x="428" y="33"/>
                      </a:lnTo>
                      <a:lnTo>
                        <a:pt x="430" y="28"/>
                      </a:lnTo>
                      <a:lnTo>
                        <a:pt x="431" y="24"/>
                      </a:lnTo>
                      <a:lnTo>
                        <a:pt x="430" y="21"/>
                      </a:lnTo>
                      <a:lnTo>
                        <a:pt x="430" y="19"/>
                      </a:lnTo>
                      <a:lnTo>
                        <a:pt x="426" y="19"/>
                      </a:lnTo>
                      <a:lnTo>
                        <a:pt x="423" y="23"/>
                      </a:lnTo>
                      <a:lnTo>
                        <a:pt x="423" y="23"/>
                      </a:lnTo>
                      <a:lnTo>
                        <a:pt x="421" y="24"/>
                      </a:lnTo>
                      <a:lnTo>
                        <a:pt x="419" y="24"/>
                      </a:lnTo>
                      <a:lnTo>
                        <a:pt x="417" y="21"/>
                      </a:lnTo>
                      <a:lnTo>
                        <a:pt x="416" y="17"/>
                      </a:lnTo>
                      <a:lnTo>
                        <a:pt x="414" y="16"/>
                      </a:lnTo>
                      <a:lnTo>
                        <a:pt x="414" y="16"/>
                      </a:lnTo>
                      <a:lnTo>
                        <a:pt x="410" y="17"/>
                      </a:lnTo>
                      <a:lnTo>
                        <a:pt x="409" y="16"/>
                      </a:lnTo>
                      <a:lnTo>
                        <a:pt x="405" y="9"/>
                      </a:lnTo>
                      <a:lnTo>
                        <a:pt x="402" y="5"/>
                      </a:lnTo>
                      <a:lnTo>
                        <a:pt x="398" y="2"/>
                      </a:lnTo>
                      <a:lnTo>
                        <a:pt x="393" y="0"/>
                      </a:lnTo>
                      <a:lnTo>
                        <a:pt x="384" y="0"/>
                      </a:lnTo>
                      <a:lnTo>
                        <a:pt x="384" y="0"/>
                      </a:lnTo>
                      <a:lnTo>
                        <a:pt x="376" y="4"/>
                      </a:lnTo>
                      <a:lnTo>
                        <a:pt x="369" y="5"/>
                      </a:lnTo>
                      <a:lnTo>
                        <a:pt x="362" y="10"/>
                      </a:lnTo>
                      <a:lnTo>
                        <a:pt x="355" y="16"/>
                      </a:lnTo>
                      <a:lnTo>
                        <a:pt x="350" y="17"/>
                      </a:lnTo>
                      <a:lnTo>
                        <a:pt x="343" y="21"/>
                      </a:lnTo>
                      <a:lnTo>
                        <a:pt x="337" y="23"/>
                      </a:lnTo>
                      <a:lnTo>
                        <a:pt x="337" y="23"/>
                      </a:lnTo>
                      <a:lnTo>
                        <a:pt x="327" y="28"/>
                      </a:lnTo>
                      <a:lnTo>
                        <a:pt x="320" y="35"/>
                      </a:lnTo>
                      <a:lnTo>
                        <a:pt x="315" y="42"/>
                      </a:lnTo>
                      <a:lnTo>
                        <a:pt x="313" y="47"/>
                      </a:lnTo>
                      <a:lnTo>
                        <a:pt x="311" y="52"/>
                      </a:lnTo>
                      <a:lnTo>
                        <a:pt x="308" y="56"/>
                      </a:lnTo>
                      <a:lnTo>
                        <a:pt x="304" y="57"/>
                      </a:lnTo>
                      <a:lnTo>
                        <a:pt x="299" y="56"/>
                      </a:lnTo>
                      <a:lnTo>
                        <a:pt x="299" y="56"/>
                      </a:lnTo>
                      <a:lnTo>
                        <a:pt x="294" y="56"/>
                      </a:lnTo>
                      <a:lnTo>
                        <a:pt x="289" y="57"/>
                      </a:lnTo>
                      <a:lnTo>
                        <a:pt x="278" y="63"/>
                      </a:lnTo>
                      <a:lnTo>
                        <a:pt x="273" y="66"/>
                      </a:lnTo>
                      <a:lnTo>
                        <a:pt x="266" y="68"/>
                      </a:lnTo>
                      <a:lnTo>
                        <a:pt x="261" y="68"/>
                      </a:lnTo>
                      <a:lnTo>
                        <a:pt x="252" y="66"/>
                      </a:lnTo>
                      <a:lnTo>
                        <a:pt x="252" y="66"/>
                      </a:lnTo>
                      <a:lnTo>
                        <a:pt x="238" y="61"/>
                      </a:lnTo>
                      <a:lnTo>
                        <a:pt x="226" y="57"/>
                      </a:lnTo>
                      <a:lnTo>
                        <a:pt x="215" y="57"/>
                      </a:lnTo>
                      <a:lnTo>
                        <a:pt x="207" y="59"/>
                      </a:lnTo>
                      <a:lnTo>
                        <a:pt x="201" y="63"/>
                      </a:lnTo>
                      <a:lnTo>
                        <a:pt x="198" y="66"/>
                      </a:lnTo>
                      <a:lnTo>
                        <a:pt x="198" y="71"/>
                      </a:lnTo>
                      <a:lnTo>
                        <a:pt x="201" y="75"/>
                      </a:lnTo>
                      <a:lnTo>
                        <a:pt x="201" y="75"/>
                      </a:lnTo>
                      <a:lnTo>
                        <a:pt x="205" y="80"/>
                      </a:lnTo>
                      <a:lnTo>
                        <a:pt x="205" y="82"/>
                      </a:lnTo>
                      <a:lnTo>
                        <a:pt x="203" y="85"/>
                      </a:lnTo>
                      <a:lnTo>
                        <a:pt x="201" y="87"/>
                      </a:lnTo>
                      <a:lnTo>
                        <a:pt x="200" y="87"/>
                      </a:lnTo>
                      <a:lnTo>
                        <a:pt x="201" y="89"/>
                      </a:lnTo>
                      <a:lnTo>
                        <a:pt x="210" y="91"/>
                      </a:lnTo>
                      <a:lnTo>
                        <a:pt x="210" y="91"/>
                      </a:lnTo>
                      <a:lnTo>
                        <a:pt x="217" y="91"/>
                      </a:lnTo>
                      <a:lnTo>
                        <a:pt x="219" y="92"/>
                      </a:lnTo>
                      <a:lnTo>
                        <a:pt x="214" y="96"/>
                      </a:lnTo>
                      <a:lnTo>
                        <a:pt x="208" y="98"/>
                      </a:lnTo>
                      <a:lnTo>
                        <a:pt x="205" y="99"/>
                      </a:lnTo>
                      <a:lnTo>
                        <a:pt x="205" y="103"/>
                      </a:lnTo>
                      <a:lnTo>
                        <a:pt x="208" y="108"/>
                      </a:lnTo>
                      <a:lnTo>
                        <a:pt x="208" y="108"/>
                      </a:lnTo>
                      <a:lnTo>
                        <a:pt x="212" y="111"/>
                      </a:lnTo>
                      <a:lnTo>
                        <a:pt x="214" y="115"/>
                      </a:lnTo>
                      <a:lnTo>
                        <a:pt x="212" y="118"/>
                      </a:lnTo>
                      <a:lnTo>
                        <a:pt x="210" y="120"/>
                      </a:lnTo>
                      <a:lnTo>
                        <a:pt x="207" y="122"/>
                      </a:lnTo>
                      <a:lnTo>
                        <a:pt x="207" y="125"/>
                      </a:lnTo>
                      <a:lnTo>
                        <a:pt x="207" y="127"/>
                      </a:lnTo>
                      <a:lnTo>
                        <a:pt x="210" y="131"/>
                      </a:lnTo>
                      <a:lnTo>
                        <a:pt x="210" y="131"/>
                      </a:lnTo>
                      <a:lnTo>
                        <a:pt x="214" y="134"/>
                      </a:lnTo>
                      <a:lnTo>
                        <a:pt x="217" y="138"/>
                      </a:lnTo>
                      <a:lnTo>
                        <a:pt x="219" y="145"/>
                      </a:lnTo>
                      <a:lnTo>
                        <a:pt x="221" y="146"/>
                      </a:lnTo>
                      <a:lnTo>
                        <a:pt x="226" y="146"/>
                      </a:lnTo>
                      <a:lnTo>
                        <a:pt x="226" y="146"/>
                      </a:lnTo>
                      <a:lnTo>
                        <a:pt x="229" y="146"/>
                      </a:lnTo>
                      <a:lnTo>
                        <a:pt x="231" y="148"/>
                      </a:lnTo>
                      <a:lnTo>
                        <a:pt x="231" y="152"/>
                      </a:lnTo>
                      <a:lnTo>
                        <a:pt x="229" y="155"/>
                      </a:lnTo>
                      <a:lnTo>
                        <a:pt x="229" y="157"/>
                      </a:lnTo>
                      <a:lnTo>
                        <a:pt x="231" y="160"/>
                      </a:lnTo>
                      <a:lnTo>
                        <a:pt x="235" y="162"/>
                      </a:lnTo>
                      <a:lnTo>
                        <a:pt x="235" y="162"/>
                      </a:lnTo>
                      <a:lnTo>
                        <a:pt x="249" y="165"/>
                      </a:lnTo>
                      <a:lnTo>
                        <a:pt x="254" y="167"/>
                      </a:lnTo>
                      <a:lnTo>
                        <a:pt x="255" y="169"/>
                      </a:lnTo>
                      <a:lnTo>
                        <a:pt x="254" y="172"/>
                      </a:lnTo>
                      <a:lnTo>
                        <a:pt x="250" y="176"/>
                      </a:lnTo>
                      <a:lnTo>
                        <a:pt x="235" y="185"/>
                      </a:lnTo>
                      <a:lnTo>
                        <a:pt x="235" y="185"/>
                      </a:lnTo>
                      <a:lnTo>
                        <a:pt x="226" y="188"/>
                      </a:lnTo>
                      <a:lnTo>
                        <a:pt x="224" y="192"/>
                      </a:lnTo>
                      <a:lnTo>
                        <a:pt x="224" y="197"/>
                      </a:lnTo>
                      <a:lnTo>
                        <a:pt x="224" y="200"/>
                      </a:lnTo>
                      <a:lnTo>
                        <a:pt x="226" y="207"/>
                      </a:lnTo>
                      <a:lnTo>
                        <a:pt x="226" y="216"/>
                      </a:lnTo>
                      <a:lnTo>
                        <a:pt x="221" y="228"/>
                      </a:lnTo>
                      <a:lnTo>
                        <a:pt x="210" y="242"/>
                      </a:lnTo>
                      <a:lnTo>
                        <a:pt x="210" y="242"/>
                      </a:lnTo>
                      <a:lnTo>
                        <a:pt x="207" y="251"/>
                      </a:lnTo>
                      <a:lnTo>
                        <a:pt x="205" y="258"/>
                      </a:lnTo>
                      <a:lnTo>
                        <a:pt x="205" y="261"/>
                      </a:lnTo>
                      <a:lnTo>
                        <a:pt x="205" y="265"/>
                      </a:lnTo>
                      <a:lnTo>
                        <a:pt x="207" y="266"/>
                      </a:lnTo>
                      <a:lnTo>
                        <a:pt x="205" y="268"/>
                      </a:lnTo>
                      <a:lnTo>
                        <a:pt x="196" y="272"/>
                      </a:lnTo>
                      <a:lnTo>
                        <a:pt x="196" y="272"/>
                      </a:lnTo>
                      <a:lnTo>
                        <a:pt x="188" y="275"/>
                      </a:lnTo>
                      <a:lnTo>
                        <a:pt x="182" y="282"/>
                      </a:lnTo>
                      <a:lnTo>
                        <a:pt x="179" y="289"/>
                      </a:lnTo>
                      <a:lnTo>
                        <a:pt x="177" y="298"/>
                      </a:lnTo>
                      <a:lnTo>
                        <a:pt x="174" y="306"/>
                      </a:lnTo>
                      <a:lnTo>
                        <a:pt x="172" y="313"/>
                      </a:lnTo>
                      <a:lnTo>
                        <a:pt x="167" y="319"/>
                      </a:lnTo>
                      <a:lnTo>
                        <a:pt x="160" y="324"/>
                      </a:lnTo>
                      <a:lnTo>
                        <a:pt x="160" y="324"/>
                      </a:lnTo>
                      <a:lnTo>
                        <a:pt x="154" y="326"/>
                      </a:lnTo>
                      <a:lnTo>
                        <a:pt x="149" y="329"/>
                      </a:lnTo>
                      <a:lnTo>
                        <a:pt x="148" y="333"/>
                      </a:lnTo>
                      <a:lnTo>
                        <a:pt x="146" y="338"/>
                      </a:lnTo>
                      <a:lnTo>
                        <a:pt x="144" y="345"/>
                      </a:lnTo>
                      <a:lnTo>
                        <a:pt x="142" y="348"/>
                      </a:lnTo>
                      <a:lnTo>
                        <a:pt x="139" y="352"/>
                      </a:lnTo>
                      <a:lnTo>
                        <a:pt x="139" y="352"/>
                      </a:lnTo>
                      <a:lnTo>
                        <a:pt x="135" y="355"/>
                      </a:lnTo>
                      <a:lnTo>
                        <a:pt x="135" y="357"/>
                      </a:lnTo>
                      <a:lnTo>
                        <a:pt x="134" y="364"/>
                      </a:lnTo>
                      <a:lnTo>
                        <a:pt x="132" y="367"/>
                      </a:lnTo>
                      <a:lnTo>
                        <a:pt x="130" y="369"/>
                      </a:lnTo>
                      <a:lnTo>
                        <a:pt x="127" y="369"/>
                      </a:lnTo>
                      <a:lnTo>
                        <a:pt x="127" y="369"/>
                      </a:lnTo>
                      <a:lnTo>
                        <a:pt x="113" y="373"/>
                      </a:lnTo>
                      <a:lnTo>
                        <a:pt x="102" y="376"/>
                      </a:lnTo>
                      <a:lnTo>
                        <a:pt x="99" y="376"/>
                      </a:lnTo>
                      <a:lnTo>
                        <a:pt x="95" y="376"/>
                      </a:lnTo>
                      <a:lnTo>
                        <a:pt x="92" y="373"/>
                      </a:lnTo>
                      <a:lnTo>
                        <a:pt x="88" y="369"/>
                      </a:lnTo>
                      <a:lnTo>
                        <a:pt x="88" y="369"/>
                      </a:lnTo>
                      <a:lnTo>
                        <a:pt x="85" y="364"/>
                      </a:lnTo>
                      <a:lnTo>
                        <a:pt x="80" y="362"/>
                      </a:lnTo>
                      <a:lnTo>
                        <a:pt x="76" y="364"/>
                      </a:lnTo>
                      <a:lnTo>
                        <a:pt x="74" y="367"/>
                      </a:lnTo>
                      <a:lnTo>
                        <a:pt x="67" y="378"/>
                      </a:lnTo>
                      <a:lnTo>
                        <a:pt x="60" y="390"/>
                      </a:lnTo>
                      <a:lnTo>
                        <a:pt x="60" y="390"/>
                      </a:lnTo>
                      <a:lnTo>
                        <a:pt x="52" y="402"/>
                      </a:lnTo>
                      <a:lnTo>
                        <a:pt x="48" y="407"/>
                      </a:lnTo>
                      <a:lnTo>
                        <a:pt x="47" y="413"/>
                      </a:lnTo>
                      <a:lnTo>
                        <a:pt x="45" y="416"/>
                      </a:lnTo>
                      <a:lnTo>
                        <a:pt x="47" y="421"/>
                      </a:lnTo>
                      <a:lnTo>
                        <a:pt x="52" y="423"/>
                      </a:lnTo>
                      <a:lnTo>
                        <a:pt x="60" y="427"/>
                      </a:lnTo>
                      <a:lnTo>
                        <a:pt x="60" y="427"/>
                      </a:lnTo>
                      <a:lnTo>
                        <a:pt x="64" y="427"/>
                      </a:lnTo>
                      <a:lnTo>
                        <a:pt x="67" y="428"/>
                      </a:lnTo>
                      <a:lnTo>
                        <a:pt x="69" y="432"/>
                      </a:lnTo>
                      <a:lnTo>
                        <a:pt x="71" y="434"/>
                      </a:lnTo>
                      <a:lnTo>
                        <a:pt x="71" y="441"/>
                      </a:lnTo>
                      <a:lnTo>
                        <a:pt x="69" y="447"/>
                      </a:lnTo>
                      <a:lnTo>
                        <a:pt x="69" y="454"/>
                      </a:lnTo>
                      <a:lnTo>
                        <a:pt x="69" y="460"/>
                      </a:lnTo>
                      <a:lnTo>
                        <a:pt x="71" y="463"/>
                      </a:lnTo>
                      <a:lnTo>
                        <a:pt x="74" y="465"/>
                      </a:lnTo>
                      <a:lnTo>
                        <a:pt x="83" y="467"/>
                      </a:lnTo>
                      <a:lnTo>
                        <a:pt x="83" y="467"/>
                      </a:lnTo>
                      <a:lnTo>
                        <a:pt x="90" y="468"/>
                      </a:lnTo>
                      <a:lnTo>
                        <a:pt x="90" y="474"/>
                      </a:lnTo>
                      <a:lnTo>
                        <a:pt x="88" y="477"/>
                      </a:lnTo>
                      <a:lnTo>
                        <a:pt x="90" y="482"/>
                      </a:lnTo>
                      <a:lnTo>
                        <a:pt x="94" y="491"/>
                      </a:lnTo>
                      <a:lnTo>
                        <a:pt x="101" y="501"/>
                      </a:lnTo>
                      <a:lnTo>
                        <a:pt x="101" y="501"/>
                      </a:lnTo>
                      <a:lnTo>
                        <a:pt x="102" y="507"/>
                      </a:lnTo>
                      <a:lnTo>
                        <a:pt x="104" y="510"/>
                      </a:lnTo>
                      <a:lnTo>
                        <a:pt x="102" y="515"/>
                      </a:lnTo>
                      <a:lnTo>
                        <a:pt x="101" y="521"/>
                      </a:lnTo>
                      <a:lnTo>
                        <a:pt x="101" y="522"/>
                      </a:lnTo>
                      <a:lnTo>
                        <a:pt x="102" y="524"/>
                      </a:lnTo>
                      <a:lnTo>
                        <a:pt x="102" y="524"/>
                      </a:lnTo>
                      <a:lnTo>
                        <a:pt x="102" y="526"/>
                      </a:lnTo>
                      <a:lnTo>
                        <a:pt x="102" y="528"/>
                      </a:lnTo>
                      <a:lnTo>
                        <a:pt x="97" y="531"/>
                      </a:lnTo>
                      <a:lnTo>
                        <a:pt x="90" y="533"/>
                      </a:lnTo>
                      <a:lnTo>
                        <a:pt x="87" y="531"/>
                      </a:lnTo>
                      <a:lnTo>
                        <a:pt x="85" y="529"/>
                      </a:lnTo>
                      <a:lnTo>
                        <a:pt x="85" y="529"/>
                      </a:lnTo>
                      <a:lnTo>
                        <a:pt x="85" y="526"/>
                      </a:lnTo>
                      <a:lnTo>
                        <a:pt x="83" y="524"/>
                      </a:lnTo>
                      <a:lnTo>
                        <a:pt x="81" y="524"/>
                      </a:lnTo>
                      <a:lnTo>
                        <a:pt x="80" y="524"/>
                      </a:lnTo>
                      <a:lnTo>
                        <a:pt x="73" y="528"/>
                      </a:lnTo>
                      <a:lnTo>
                        <a:pt x="67" y="533"/>
                      </a:lnTo>
                      <a:lnTo>
                        <a:pt x="67" y="533"/>
                      </a:lnTo>
                      <a:lnTo>
                        <a:pt x="64" y="536"/>
                      </a:lnTo>
                      <a:lnTo>
                        <a:pt x="62" y="536"/>
                      </a:lnTo>
                      <a:lnTo>
                        <a:pt x="59" y="535"/>
                      </a:lnTo>
                      <a:lnTo>
                        <a:pt x="53" y="531"/>
                      </a:lnTo>
                      <a:lnTo>
                        <a:pt x="48" y="529"/>
                      </a:lnTo>
                      <a:lnTo>
                        <a:pt x="43" y="531"/>
                      </a:lnTo>
                      <a:lnTo>
                        <a:pt x="43" y="531"/>
                      </a:lnTo>
                      <a:lnTo>
                        <a:pt x="34" y="531"/>
                      </a:lnTo>
                      <a:lnTo>
                        <a:pt x="27" y="529"/>
                      </a:lnTo>
                      <a:lnTo>
                        <a:pt x="24" y="529"/>
                      </a:lnTo>
                      <a:lnTo>
                        <a:pt x="22" y="531"/>
                      </a:lnTo>
                      <a:lnTo>
                        <a:pt x="22" y="533"/>
                      </a:lnTo>
                      <a:lnTo>
                        <a:pt x="22" y="538"/>
                      </a:lnTo>
                      <a:lnTo>
                        <a:pt x="22" y="538"/>
                      </a:lnTo>
                      <a:lnTo>
                        <a:pt x="22" y="543"/>
                      </a:lnTo>
                      <a:lnTo>
                        <a:pt x="20" y="545"/>
                      </a:lnTo>
                      <a:lnTo>
                        <a:pt x="17" y="547"/>
                      </a:lnTo>
                      <a:lnTo>
                        <a:pt x="13" y="547"/>
                      </a:lnTo>
                      <a:lnTo>
                        <a:pt x="10" y="548"/>
                      </a:lnTo>
                      <a:lnTo>
                        <a:pt x="5" y="548"/>
                      </a:lnTo>
                      <a:lnTo>
                        <a:pt x="1" y="552"/>
                      </a:lnTo>
                      <a:lnTo>
                        <a:pt x="0" y="557"/>
                      </a:lnTo>
                      <a:lnTo>
                        <a:pt x="0" y="55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0" name="Freeform 1739">
                  <a:extLst>
                    <a:ext uri="{FF2B5EF4-FFF2-40B4-BE49-F238E27FC236}">
                      <a16:creationId xmlns:a16="http://schemas.microsoft.com/office/drawing/2014/main" id="{2C3E2C63-0356-CB09-229F-88FC9529F40D}"/>
                    </a:ext>
                  </a:extLst>
                </p:cNvPr>
                <p:cNvSpPr>
                  <a:spLocks/>
                </p:cNvSpPr>
                <p:nvPr/>
              </p:nvSpPr>
              <p:spPr bwMode="auto">
                <a:xfrm>
                  <a:off x="6423597" y="3160319"/>
                  <a:ext cx="399975" cy="336542"/>
                </a:xfrm>
                <a:custGeom>
                  <a:avLst/>
                  <a:gdLst/>
                  <a:ahLst/>
                  <a:cxnLst>
                    <a:cxn ang="0">
                      <a:pos x="14" y="176"/>
                    </a:cxn>
                    <a:cxn ang="0">
                      <a:pos x="2" y="213"/>
                    </a:cxn>
                    <a:cxn ang="0">
                      <a:pos x="13" y="312"/>
                    </a:cxn>
                    <a:cxn ang="0">
                      <a:pos x="30" y="328"/>
                    </a:cxn>
                    <a:cxn ang="0">
                      <a:pos x="49" y="335"/>
                    </a:cxn>
                    <a:cxn ang="0">
                      <a:pos x="39" y="366"/>
                    </a:cxn>
                    <a:cxn ang="0">
                      <a:pos x="14" y="397"/>
                    </a:cxn>
                    <a:cxn ang="0">
                      <a:pos x="84" y="420"/>
                    </a:cxn>
                    <a:cxn ang="0">
                      <a:pos x="185" y="403"/>
                    </a:cxn>
                    <a:cxn ang="0">
                      <a:pos x="206" y="371"/>
                    </a:cxn>
                    <a:cxn ang="0">
                      <a:pos x="225" y="340"/>
                    </a:cxn>
                    <a:cxn ang="0">
                      <a:pos x="270" y="312"/>
                    </a:cxn>
                    <a:cxn ang="0">
                      <a:pos x="302" y="316"/>
                    </a:cxn>
                    <a:cxn ang="0">
                      <a:pos x="309" y="296"/>
                    </a:cxn>
                    <a:cxn ang="0">
                      <a:pos x="322" y="251"/>
                    </a:cxn>
                    <a:cxn ang="0">
                      <a:pos x="343" y="234"/>
                    </a:cxn>
                    <a:cxn ang="0">
                      <a:pos x="333" y="208"/>
                    </a:cxn>
                    <a:cxn ang="0">
                      <a:pos x="368" y="208"/>
                    </a:cxn>
                    <a:cxn ang="0">
                      <a:pos x="378" y="194"/>
                    </a:cxn>
                    <a:cxn ang="0">
                      <a:pos x="390" y="155"/>
                    </a:cxn>
                    <a:cxn ang="0">
                      <a:pos x="380" y="119"/>
                    </a:cxn>
                    <a:cxn ang="0">
                      <a:pos x="423" y="80"/>
                    </a:cxn>
                    <a:cxn ang="0">
                      <a:pos x="469" y="74"/>
                    </a:cxn>
                    <a:cxn ang="0">
                      <a:pos x="493" y="65"/>
                    </a:cxn>
                    <a:cxn ang="0">
                      <a:pos x="502" y="56"/>
                    </a:cxn>
                    <a:cxn ang="0">
                      <a:pos x="495" y="47"/>
                    </a:cxn>
                    <a:cxn ang="0">
                      <a:pos x="470" y="56"/>
                    </a:cxn>
                    <a:cxn ang="0">
                      <a:pos x="465" y="53"/>
                    </a:cxn>
                    <a:cxn ang="0">
                      <a:pos x="446" y="49"/>
                    </a:cxn>
                    <a:cxn ang="0">
                      <a:pos x="430" y="61"/>
                    </a:cxn>
                    <a:cxn ang="0">
                      <a:pos x="415" y="72"/>
                    </a:cxn>
                    <a:cxn ang="0">
                      <a:pos x="390" y="80"/>
                    </a:cxn>
                    <a:cxn ang="0">
                      <a:pos x="387" y="35"/>
                    </a:cxn>
                    <a:cxn ang="0">
                      <a:pos x="380" y="25"/>
                    </a:cxn>
                    <a:cxn ang="0">
                      <a:pos x="382" y="11"/>
                    </a:cxn>
                    <a:cxn ang="0">
                      <a:pos x="373" y="0"/>
                    </a:cxn>
                    <a:cxn ang="0">
                      <a:pos x="350" y="14"/>
                    </a:cxn>
                    <a:cxn ang="0">
                      <a:pos x="342" y="25"/>
                    </a:cxn>
                    <a:cxn ang="0">
                      <a:pos x="343" y="40"/>
                    </a:cxn>
                    <a:cxn ang="0">
                      <a:pos x="322" y="39"/>
                    </a:cxn>
                    <a:cxn ang="0">
                      <a:pos x="314" y="53"/>
                    </a:cxn>
                    <a:cxn ang="0">
                      <a:pos x="310" y="61"/>
                    </a:cxn>
                    <a:cxn ang="0">
                      <a:pos x="295" y="54"/>
                    </a:cxn>
                    <a:cxn ang="0">
                      <a:pos x="272" y="67"/>
                    </a:cxn>
                    <a:cxn ang="0">
                      <a:pos x="256" y="60"/>
                    </a:cxn>
                    <a:cxn ang="0">
                      <a:pos x="241" y="60"/>
                    </a:cxn>
                    <a:cxn ang="0">
                      <a:pos x="227" y="49"/>
                    </a:cxn>
                    <a:cxn ang="0">
                      <a:pos x="202" y="51"/>
                    </a:cxn>
                    <a:cxn ang="0">
                      <a:pos x="181" y="46"/>
                    </a:cxn>
                    <a:cxn ang="0">
                      <a:pos x="157" y="61"/>
                    </a:cxn>
                    <a:cxn ang="0">
                      <a:pos x="143" y="96"/>
                    </a:cxn>
                    <a:cxn ang="0">
                      <a:pos x="108" y="119"/>
                    </a:cxn>
                    <a:cxn ang="0">
                      <a:pos x="87" y="143"/>
                    </a:cxn>
                    <a:cxn ang="0">
                      <a:pos x="65" y="152"/>
                    </a:cxn>
                    <a:cxn ang="0">
                      <a:pos x="53" y="140"/>
                    </a:cxn>
                    <a:cxn ang="0">
                      <a:pos x="37" y="141"/>
                    </a:cxn>
                    <a:cxn ang="0">
                      <a:pos x="30" y="133"/>
                    </a:cxn>
                  </a:cxnLst>
                  <a:rect l="0" t="0" r="r" b="b"/>
                  <a:pathLst>
                    <a:path w="502" h="420">
                      <a:moveTo>
                        <a:pt x="30" y="133"/>
                      </a:moveTo>
                      <a:lnTo>
                        <a:pt x="30" y="133"/>
                      </a:lnTo>
                      <a:lnTo>
                        <a:pt x="25" y="154"/>
                      </a:lnTo>
                      <a:lnTo>
                        <a:pt x="20" y="168"/>
                      </a:lnTo>
                      <a:lnTo>
                        <a:pt x="14" y="176"/>
                      </a:lnTo>
                      <a:lnTo>
                        <a:pt x="9" y="183"/>
                      </a:lnTo>
                      <a:lnTo>
                        <a:pt x="6" y="190"/>
                      </a:lnTo>
                      <a:lnTo>
                        <a:pt x="2" y="195"/>
                      </a:lnTo>
                      <a:lnTo>
                        <a:pt x="0" y="202"/>
                      </a:lnTo>
                      <a:lnTo>
                        <a:pt x="2" y="213"/>
                      </a:lnTo>
                      <a:lnTo>
                        <a:pt x="2" y="213"/>
                      </a:lnTo>
                      <a:lnTo>
                        <a:pt x="11" y="263"/>
                      </a:lnTo>
                      <a:lnTo>
                        <a:pt x="13" y="288"/>
                      </a:lnTo>
                      <a:lnTo>
                        <a:pt x="13" y="312"/>
                      </a:lnTo>
                      <a:lnTo>
                        <a:pt x="13" y="312"/>
                      </a:lnTo>
                      <a:lnTo>
                        <a:pt x="13" y="321"/>
                      </a:lnTo>
                      <a:lnTo>
                        <a:pt x="14" y="324"/>
                      </a:lnTo>
                      <a:lnTo>
                        <a:pt x="18" y="326"/>
                      </a:lnTo>
                      <a:lnTo>
                        <a:pt x="23" y="328"/>
                      </a:lnTo>
                      <a:lnTo>
                        <a:pt x="30" y="328"/>
                      </a:lnTo>
                      <a:lnTo>
                        <a:pt x="37" y="328"/>
                      </a:lnTo>
                      <a:lnTo>
                        <a:pt x="42" y="328"/>
                      </a:lnTo>
                      <a:lnTo>
                        <a:pt x="46" y="329"/>
                      </a:lnTo>
                      <a:lnTo>
                        <a:pt x="47" y="331"/>
                      </a:lnTo>
                      <a:lnTo>
                        <a:pt x="49" y="335"/>
                      </a:lnTo>
                      <a:lnTo>
                        <a:pt x="49" y="340"/>
                      </a:lnTo>
                      <a:lnTo>
                        <a:pt x="49" y="340"/>
                      </a:lnTo>
                      <a:lnTo>
                        <a:pt x="49" y="350"/>
                      </a:lnTo>
                      <a:lnTo>
                        <a:pt x="44" y="359"/>
                      </a:lnTo>
                      <a:lnTo>
                        <a:pt x="39" y="366"/>
                      </a:lnTo>
                      <a:lnTo>
                        <a:pt x="32" y="373"/>
                      </a:lnTo>
                      <a:lnTo>
                        <a:pt x="20" y="385"/>
                      </a:lnTo>
                      <a:lnTo>
                        <a:pt x="16" y="390"/>
                      </a:lnTo>
                      <a:lnTo>
                        <a:pt x="14" y="397"/>
                      </a:lnTo>
                      <a:lnTo>
                        <a:pt x="14" y="397"/>
                      </a:lnTo>
                      <a:lnTo>
                        <a:pt x="23" y="397"/>
                      </a:lnTo>
                      <a:lnTo>
                        <a:pt x="32" y="401"/>
                      </a:lnTo>
                      <a:lnTo>
                        <a:pt x="53" y="411"/>
                      </a:lnTo>
                      <a:lnTo>
                        <a:pt x="67" y="416"/>
                      </a:lnTo>
                      <a:lnTo>
                        <a:pt x="84" y="420"/>
                      </a:lnTo>
                      <a:lnTo>
                        <a:pt x="105" y="420"/>
                      </a:lnTo>
                      <a:lnTo>
                        <a:pt x="129" y="416"/>
                      </a:lnTo>
                      <a:lnTo>
                        <a:pt x="129" y="416"/>
                      </a:lnTo>
                      <a:lnTo>
                        <a:pt x="173" y="406"/>
                      </a:lnTo>
                      <a:lnTo>
                        <a:pt x="185" y="403"/>
                      </a:lnTo>
                      <a:lnTo>
                        <a:pt x="195" y="399"/>
                      </a:lnTo>
                      <a:lnTo>
                        <a:pt x="202" y="394"/>
                      </a:lnTo>
                      <a:lnTo>
                        <a:pt x="206" y="389"/>
                      </a:lnTo>
                      <a:lnTo>
                        <a:pt x="206" y="382"/>
                      </a:lnTo>
                      <a:lnTo>
                        <a:pt x="206" y="371"/>
                      </a:lnTo>
                      <a:lnTo>
                        <a:pt x="206" y="371"/>
                      </a:lnTo>
                      <a:lnTo>
                        <a:pt x="206" y="361"/>
                      </a:lnTo>
                      <a:lnTo>
                        <a:pt x="211" y="352"/>
                      </a:lnTo>
                      <a:lnTo>
                        <a:pt x="216" y="345"/>
                      </a:lnTo>
                      <a:lnTo>
                        <a:pt x="225" y="340"/>
                      </a:lnTo>
                      <a:lnTo>
                        <a:pt x="244" y="329"/>
                      </a:lnTo>
                      <a:lnTo>
                        <a:pt x="255" y="324"/>
                      </a:lnTo>
                      <a:lnTo>
                        <a:pt x="263" y="317"/>
                      </a:lnTo>
                      <a:lnTo>
                        <a:pt x="263" y="317"/>
                      </a:lnTo>
                      <a:lnTo>
                        <a:pt x="270" y="312"/>
                      </a:lnTo>
                      <a:lnTo>
                        <a:pt x="277" y="310"/>
                      </a:lnTo>
                      <a:lnTo>
                        <a:pt x="282" y="310"/>
                      </a:lnTo>
                      <a:lnTo>
                        <a:pt x="288" y="312"/>
                      </a:lnTo>
                      <a:lnTo>
                        <a:pt x="298" y="316"/>
                      </a:lnTo>
                      <a:lnTo>
                        <a:pt x="302" y="316"/>
                      </a:lnTo>
                      <a:lnTo>
                        <a:pt x="305" y="312"/>
                      </a:lnTo>
                      <a:lnTo>
                        <a:pt x="305" y="312"/>
                      </a:lnTo>
                      <a:lnTo>
                        <a:pt x="307" y="309"/>
                      </a:lnTo>
                      <a:lnTo>
                        <a:pt x="309" y="305"/>
                      </a:lnTo>
                      <a:lnTo>
                        <a:pt x="309" y="296"/>
                      </a:lnTo>
                      <a:lnTo>
                        <a:pt x="309" y="286"/>
                      </a:lnTo>
                      <a:lnTo>
                        <a:pt x="312" y="269"/>
                      </a:lnTo>
                      <a:lnTo>
                        <a:pt x="312" y="269"/>
                      </a:lnTo>
                      <a:lnTo>
                        <a:pt x="316" y="258"/>
                      </a:lnTo>
                      <a:lnTo>
                        <a:pt x="322" y="251"/>
                      </a:lnTo>
                      <a:lnTo>
                        <a:pt x="329" y="248"/>
                      </a:lnTo>
                      <a:lnTo>
                        <a:pt x="336" y="246"/>
                      </a:lnTo>
                      <a:lnTo>
                        <a:pt x="342" y="242"/>
                      </a:lnTo>
                      <a:lnTo>
                        <a:pt x="343" y="239"/>
                      </a:lnTo>
                      <a:lnTo>
                        <a:pt x="343" y="234"/>
                      </a:lnTo>
                      <a:lnTo>
                        <a:pt x="338" y="225"/>
                      </a:lnTo>
                      <a:lnTo>
                        <a:pt x="338" y="225"/>
                      </a:lnTo>
                      <a:lnTo>
                        <a:pt x="333" y="213"/>
                      </a:lnTo>
                      <a:lnTo>
                        <a:pt x="333" y="209"/>
                      </a:lnTo>
                      <a:lnTo>
                        <a:pt x="333" y="208"/>
                      </a:lnTo>
                      <a:lnTo>
                        <a:pt x="336" y="206"/>
                      </a:lnTo>
                      <a:lnTo>
                        <a:pt x="340" y="206"/>
                      </a:lnTo>
                      <a:lnTo>
                        <a:pt x="349" y="206"/>
                      </a:lnTo>
                      <a:lnTo>
                        <a:pt x="359" y="208"/>
                      </a:lnTo>
                      <a:lnTo>
                        <a:pt x="368" y="208"/>
                      </a:lnTo>
                      <a:lnTo>
                        <a:pt x="371" y="206"/>
                      </a:lnTo>
                      <a:lnTo>
                        <a:pt x="375" y="204"/>
                      </a:lnTo>
                      <a:lnTo>
                        <a:pt x="376" y="199"/>
                      </a:lnTo>
                      <a:lnTo>
                        <a:pt x="378" y="194"/>
                      </a:lnTo>
                      <a:lnTo>
                        <a:pt x="378" y="194"/>
                      </a:lnTo>
                      <a:lnTo>
                        <a:pt x="378" y="187"/>
                      </a:lnTo>
                      <a:lnTo>
                        <a:pt x="382" y="180"/>
                      </a:lnTo>
                      <a:lnTo>
                        <a:pt x="387" y="168"/>
                      </a:lnTo>
                      <a:lnTo>
                        <a:pt x="389" y="162"/>
                      </a:lnTo>
                      <a:lnTo>
                        <a:pt x="390" y="155"/>
                      </a:lnTo>
                      <a:lnTo>
                        <a:pt x="389" y="147"/>
                      </a:lnTo>
                      <a:lnTo>
                        <a:pt x="387" y="136"/>
                      </a:lnTo>
                      <a:lnTo>
                        <a:pt x="387" y="136"/>
                      </a:lnTo>
                      <a:lnTo>
                        <a:pt x="382" y="127"/>
                      </a:lnTo>
                      <a:lnTo>
                        <a:pt x="380" y="119"/>
                      </a:lnTo>
                      <a:lnTo>
                        <a:pt x="382" y="112"/>
                      </a:lnTo>
                      <a:lnTo>
                        <a:pt x="383" y="105"/>
                      </a:lnTo>
                      <a:lnTo>
                        <a:pt x="389" y="100"/>
                      </a:lnTo>
                      <a:lnTo>
                        <a:pt x="397" y="93"/>
                      </a:lnTo>
                      <a:lnTo>
                        <a:pt x="423" y="80"/>
                      </a:lnTo>
                      <a:lnTo>
                        <a:pt x="423" y="80"/>
                      </a:lnTo>
                      <a:lnTo>
                        <a:pt x="437" y="74"/>
                      </a:lnTo>
                      <a:lnTo>
                        <a:pt x="451" y="72"/>
                      </a:lnTo>
                      <a:lnTo>
                        <a:pt x="460" y="72"/>
                      </a:lnTo>
                      <a:lnTo>
                        <a:pt x="469" y="74"/>
                      </a:lnTo>
                      <a:lnTo>
                        <a:pt x="477" y="75"/>
                      </a:lnTo>
                      <a:lnTo>
                        <a:pt x="483" y="74"/>
                      </a:lnTo>
                      <a:lnTo>
                        <a:pt x="488" y="72"/>
                      </a:lnTo>
                      <a:lnTo>
                        <a:pt x="493" y="65"/>
                      </a:lnTo>
                      <a:lnTo>
                        <a:pt x="493" y="65"/>
                      </a:lnTo>
                      <a:lnTo>
                        <a:pt x="491" y="61"/>
                      </a:lnTo>
                      <a:lnTo>
                        <a:pt x="490" y="58"/>
                      </a:lnTo>
                      <a:lnTo>
                        <a:pt x="491" y="56"/>
                      </a:lnTo>
                      <a:lnTo>
                        <a:pt x="493" y="56"/>
                      </a:lnTo>
                      <a:lnTo>
                        <a:pt x="502" y="56"/>
                      </a:lnTo>
                      <a:lnTo>
                        <a:pt x="502" y="56"/>
                      </a:lnTo>
                      <a:lnTo>
                        <a:pt x="502" y="53"/>
                      </a:lnTo>
                      <a:lnTo>
                        <a:pt x="502" y="51"/>
                      </a:lnTo>
                      <a:lnTo>
                        <a:pt x="498" y="49"/>
                      </a:lnTo>
                      <a:lnTo>
                        <a:pt x="495" y="47"/>
                      </a:lnTo>
                      <a:lnTo>
                        <a:pt x="488" y="47"/>
                      </a:lnTo>
                      <a:lnTo>
                        <a:pt x="483" y="49"/>
                      </a:lnTo>
                      <a:lnTo>
                        <a:pt x="479" y="51"/>
                      </a:lnTo>
                      <a:lnTo>
                        <a:pt x="479" y="51"/>
                      </a:lnTo>
                      <a:lnTo>
                        <a:pt x="470" y="56"/>
                      </a:lnTo>
                      <a:lnTo>
                        <a:pt x="465" y="58"/>
                      </a:lnTo>
                      <a:lnTo>
                        <a:pt x="464" y="58"/>
                      </a:lnTo>
                      <a:lnTo>
                        <a:pt x="464" y="56"/>
                      </a:lnTo>
                      <a:lnTo>
                        <a:pt x="465" y="53"/>
                      </a:lnTo>
                      <a:lnTo>
                        <a:pt x="465" y="53"/>
                      </a:lnTo>
                      <a:lnTo>
                        <a:pt x="467" y="49"/>
                      </a:lnTo>
                      <a:lnTo>
                        <a:pt x="465" y="47"/>
                      </a:lnTo>
                      <a:lnTo>
                        <a:pt x="460" y="46"/>
                      </a:lnTo>
                      <a:lnTo>
                        <a:pt x="453" y="46"/>
                      </a:lnTo>
                      <a:lnTo>
                        <a:pt x="446" y="49"/>
                      </a:lnTo>
                      <a:lnTo>
                        <a:pt x="446" y="49"/>
                      </a:lnTo>
                      <a:lnTo>
                        <a:pt x="441" y="51"/>
                      </a:lnTo>
                      <a:lnTo>
                        <a:pt x="437" y="54"/>
                      </a:lnTo>
                      <a:lnTo>
                        <a:pt x="434" y="56"/>
                      </a:lnTo>
                      <a:lnTo>
                        <a:pt x="430" y="61"/>
                      </a:lnTo>
                      <a:lnTo>
                        <a:pt x="430" y="61"/>
                      </a:lnTo>
                      <a:lnTo>
                        <a:pt x="430" y="65"/>
                      </a:lnTo>
                      <a:lnTo>
                        <a:pt x="429" y="67"/>
                      </a:lnTo>
                      <a:lnTo>
                        <a:pt x="422" y="68"/>
                      </a:lnTo>
                      <a:lnTo>
                        <a:pt x="415" y="72"/>
                      </a:lnTo>
                      <a:lnTo>
                        <a:pt x="404" y="79"/>
                      </a:lnTo>
                      <a:lnTo>
                        <a:pt x="404" y="79"/>
                      </a:lnTo>
                      <a:lnTo>
                        <a:pt x="399" y="82"/>
                      </a:lnTo>
                      <a:lnTo>
                        <a:pt x="394" y="82"/>
                      </a:lnTo>
                      <a:lnTo>
                        <a:pt x="390" y="80"/>
                      </a:lnTo>
                      <a:lnTo>
                        <a:pt x="389" y="77"/>
                      </a:lnTo>
                      <a:lnTo>
                        <a:pt x="387" y="70"/>
                      </a:lnTo>
                      <a:lnTo>
                        <a:pt x="385" y="61"/>
                      </a:lnTo>
                      <a:lnTo>
                        <a:pt x="387" y="35"/>
                      </a:lnTo>
                      <a:lnTo>
                        <a:pt x="387" y="35"/>
                      </a:lnTo>
                      <a:lnTo>
                        <a:pt x="389" y="25"/>
                      </a:lnTo>
                      <a:lnTo>
                        <a:pt x="387" y="23"/>
                      </a:lnTo>
                      <a:lnTo>
                        <a:pt x="387" y="23"/>
                      </a:lnTo>
                      <a:lnTo>
                        <a:pt x="383" y="25"/>
                      </a:lnTo>
                      <a:lnTo>
                        <a:pt x="380" y="25"/>
                      </a:lnTo>
                      <a:lnTo>
                        <a:pt x="378" y="23"/>
                      </a:lnTo>
                      <a:lnTo>
                        <a:pt x="378" y="23"/>
                      </a:lnTo>
                      <a:lnTo>
                        <a:pt x="378" y="21"/>
                      </a:lnTo>
                      <a:lnTo>
                        <a:pt x="378" y="18"/>
                      </a:lnTo>
                      <a:lnTo>
                        <a:pt x="382" y="11"/>
                      </a:lnTo>
                      <a:lnTo>
                        <a:pt x="383" y="7"/>
                      </a:lnTo>
                      <a:lnTo>
                        <a:pt x="382" y="6"/>
                      </a:lnTo>
                      <a:lnTo>
                        <a:pt x="378" y="4"/>
                      </a:lnTo>
                      <a:lnTo>
                        <a:pt x="373" y="0"/>
                      </a:lnTo>
                      <a:lnTo>
                        <a:pt x="373" y="0"/>
                      </a:lnTo>
                      <a:lnTo>
                        <a:pt x="366" y="0"/>
                      </a:lnTo>
                      <a:lnTo>
                        <a:pt x="361" y="2"/>
                      </a:lnTo>
                      <a:lnTo>
                        <a:pt x="357" y="4"/>
                      </a:lnTo>
                      <a:lnTo>
                        <a:pt x="356" y="7"/>
                      </a:lnTo>
                      <a:lnTo>
                        <a:pt x="350" y="14"/>
                      </a:lnTo>
                      <a:lnTo>
                        <a:pt x="349" y="18"/>
                      </a:lnTo>
                      <a:lnTo>
                        <a:pt x="345" y="20"/>
                      </a:lnTo>
                      <a:lnTo>
                        <a:pt x="345" y="20"/>
                      </a:lnTo>
                      <a:lnTo>
                        <a:pt x="342" y="23"/>
                      </a:lnTo>
                      <a:lnTo>
                        <a:pt x="342" y="25"/>
                      </a:lnTo>
                      <a:lnTo>
                        <a:pt x="343" y="32"/>
                      </a:lnTo>
                      <a:lnTo>
                        <a:pt x="345" y="37"/>
                      </a:lnTo>
                      <a:lnTo>
                        <a:pt x="345" y="39"/>
                      </a:lnTo>
                      <a:lnTo>
                        <a:pt x="343" y="40"/>
                      </a:lnTo>
                      <a:lnTo>
                        <a:pt x="343" y="40"/>
                      </a:lnTo>
                      <a:lnTo>
                        <a:pt x="340" y="42"/>
                      </a:lnTo>
                      <a:lnTo>
                        <a:pt x="336" y="42"/>
                      </a:lnTo>
                      <a:lnTo>
                        <a:pt x="331" y="40"/>
                      </a:lnTo>
                      <a:lnTo>
                        <a:pt x="326" y="39"/>
                      </a:lnTo>
                      <a:lnTo>
                        <a:pt x="322" y="39"/>
                      </a:lnTo>
                      <a:lnTo>
                        <a:pt x="319" y="40"/>
                      </a:lnTo>
                      <a:lnTo>
                        <a:pt x="319" y="40"/>
                      </a:lnTo>
                      <a:lnTo>
                        <a:pt x="316" y="42"/>
                      </a:lnTo>
                      <a:lnTo>
                        <a:pt x="314" y="46"/>
                      </a:lnTo>
                      <a:lnTo>
                        <a:pt x="314" y="53"/>
                      </a:lnTo>
                      <a:lnTo>
                        <a:pt x="314" y="58"/>
                      </a:lnTo>
                      <a:lnTo>
                        <a:pt x="314" y="61"/>
                      </a:lnTo>
                      <a:lnTo>
                        <a:pt x="312" y="61"/>
                      </a:lnTo>
                      <a:lnTo>
                        <a:pt x="312" y="61"/>
                      </a:lnTo>
                      <a:lnTo>
                        <a:pt x="310" y="61"/>
                      </a:lnTo>
                      <a:lnTo>
                        <a:pt x="309" y="61"/>
                      </a:lnTo>
                      <a:lnTo>
                        <a:pt x="305" y="58"/>
                      </a:lnTo>
                      <a:lnTo>
                        <a:pt x="300" y="54"/>
                      </a:lnTo>
                      <a:lnTo>
                        <a:pt x="296" y="54"/>
                      </a:lnTo>
                      <a:lnTo>
                        <a:pt x="295" y="54"/>
                      </a:lnTo>
                      <a:lnTo>
                        <a:pt x="295" y="54"/>
                      </a:lnTo>
                      <a:lnTo>
                        <a:pt x="281" y="58"/>
                      </a:lnTo>
                      <a:lnTo>
                        <a:pt x="275" y="61"/>
                      </a:lnTo>
                      <a:lnTo>
                        <a:pt x="272" y="67"/>
                      </a:lnTo>
                      <a:lnTo>
                        <a:pt x="272" y="67"/>
                      </a:lnTo>
                      <a:lnTo>
                        <a:pt x="269" y="70"/>
                      </a:lnTo>
                      <a:lnTo>
                        <a:pt x="267" y="72"/>
                      </a:lnTo>
                      <a:lnTo>
                        <a:pt x="263" y="72"/>
                      </a:lnTo>
                      <a:lnTo>
                        <a:pt x="262" y="70"/>
                      </a:lnTo>
                      <a:lnTo>
                        <a:pt x="256" y="60"/>
                      </a:lnTo>
                      <a:lnTo>
                        <a:pt x="256" y="60"/>
                      </a:lnTo>
                      <a:lnTo>
                        <a:pt x="249" y="56"/>
                      </a:lnTo>
                      <a:lnTo>
                        <a:pt x="246" y="58"/>
                      </a:lnTo>
                      <a:lnTo>
                        <a:pt x="241" y="60"/>
                      </a:lnTo>
                      <a:lnTo>
                        <a:pt x="241" y="60"/>
                      </a:lnTo>
                      <a:lnTo>
                        <a:pt x="239" y="60"/>
                      </a:lnTo>
                      <a:lnTo>
                        <a:pt x="237" y="58"/>
                      </a:lnTo>
                      <a:lnTo>
                        <a:pt x="234" y="54"/>
                      </a:lnTo>
                      <a:lnTo>
                        <a:pt x="232" y="51"/>
                      </a:lnTo>
                      <a:lnTo>
                        <a:pt x="227" y="49"/>
                      </a:lnTo>
                      <a:lnTo>
                        <a:pt x="222" y="49"/>
                      </a:lnTo>
                      <a:lnTo>
                        <a:pt x="213" y="53"/>
                      </a:lnTo>
                      <a:lnTo>
                        <a:pt x="213" y="53"/>
                      </a:lnTo>
                      <a:lnTo>
                        <a:pt x="208" y="53"/>
                      </a:lnTo>
                      <a:lnTo>
                        <a:pt x="202" y="51"/>
                      </a:lnTo>
                      <a:lnTo>
                        <a:pt x="194" y="46"/>
                      </a:lnTo>
                      <a:lnTo>
                        <a:pt x="190" y="42"/>
                      </a:lnTo>
                      <a:lnTo>
                        <a:pt x="188" y="42"/>
                      </a:lnTo>
                      <a:lnTo>
                        <a:pt x="185" y="42"/>
                      </a:lnTo>
                      <a:lnTo>
                        <a:pt x="181" y="46"/>
                      </a:lnTo>
                      <a:lnTo>
                        <a:pt x="181" y="46"/>
                      </a:lnTo>
                      <a:lnTo>
                        <a:pt x="176" y="51"/>
                      </a:lnTo>
                      <a:lnTo>
                        <a:pt x="171" y="54"/>
                      </a:lnTo>
                      <a:lnTo>
                        <a:pt x="161" y="60"/>
                      </a:lnTo>
                      <a:lnTo>
                        <a:pt x="157" y="61"/>
                      </a:lnTo>
                      <a:lnTo>
                        <a:pt x="152" y="67"/>
                      </a:lnTo>
                      <a:lnTo>
                        <a:pt x="148" y="74"/>
                      </a:lnTo>
                      <a:lnTo>
                        <a:pt x="145" y="84"/>
                      </a:lnTo>
                      <a:lnTo>
                        <a:pt x="145" y="84"/>
                      </a:lnTo>
                      <a:lnTo>
                        <a:pt x="143" y="96"/>
                      </a:lnTo>
                      <a:lnTo>
                        <a:pt x="140" y="103"/>
                      </a:lnTo>
                      <a:lnTo>
                        <a:pt x="134" y="108"/>
                      </a:lnTo>
                      <a:lnTo>
                        <a:pt x="129" y="112"/>
                      </a:lnTo>
                      <a:lnTo>
                        <a:pt x="119" y="115"/>
                      </a:lnTo>
                      <a:lnTo>
                        <a:pt x="108" y="119"/>
                      </a:lnTo>
                      <a:lnTo>
                        <a:pt x="108" y="119"/>
                      </a:lnTo>
                      <a:lnTo>
                        <a:pt x="105" y="121"/>
                      </a:lnTo>
                      <a:lnTo>
                        <a:pt x="101" y="126"/>
                      </a:lnTo>
                      <a:lnTo>
                        <a:pt x="94" y="134"/>
                      </a:lnTo>
                      <a:lnTo>
                        <a:pt x="87" y="143"/>
                      </a:lnTo>
                      <a:lnTo>
                        <a:pt x="82" y="147"/>
                      </a:lnTo>
                      <a:lnTo>
                        <a:pt x="77" y="150"/>
                      </a:lnTo>
                      <a:lnTo>
                        <a:pt x="77" y="150"/>
                      </a:lnTo>
                      <a:lnTo>
                        <a:pt x="70" y="152"/>
                      </a:lnTo>
                      <a:lnTo>
                        <a:pt x="65" y="152"/>
                      </a:lnTo>
                      <a:lnTo>
                        <a:pt x="61" y="150"/>
                      </a:lnTo>
                      <a:lnTo>
                        <a:pt x="60" y="147"/>
                      </a:lnTo>
                      <a:lnTo>
                        <a:pt x="58" y="143"/>
                      </a:lnTo>
                      <a:lnTo>
                        <a:pt x="56" y="141"/>
                      </a:lnTo>
                      <a:lnTo>
                        <a:pt x="53" y="140"/>
                      </a:lnTo>
                      <a:lnTo>
                        <a:pt x="47" y="141"/>
                      </a:lnTo>
                      <a:lnTo>
                        <a:pt x="47" y="141"/>
                      </a:lnTo>
                      <a:lnTo>
                        <a:pt x="42" y="141"/>
                      </a:lnTo>
                      <a:lnTo>
                        <a:pt x="39" y="141"/>
                      </a:lnTo>
                      <a:lnTo>
                        <a:pt x="37" y="141"/>
                      </a:lnTo>
                      <a:lnTo>
                        <a:pt x="35" y="140"/>
                      </a:lnTo>
                      <a:lnTo>
                        <a:pt x="33" y="136"/>
                      </a:lnTo>
                      <a:lnTo>
                        <a:pt x="32" y="134"/>
                      </a:lnTo>
                      <a:lnTo>
                        <a:pt x="30" y="133"/>
                      </a:lnTo>
                      <a:lnTo>
                        <a:pt x="30" y="1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1" name="Freeform 1740">
                  <a:extLst>
                    <a:ext uri="{FF2B5EF4-FFF2-40B4-BE49-F238E27FC236}">
                      <a16:creationId xmlns:a16="http://schemas.microsoft.com/office/drawing/2014/main" id="{AB3E7FCB-09E4-18AB-657A-8DD24ABDC8FB}"/>
                    </a:ext>
                  </a:extLst>
                </p:cNvPr>
                <p:cNvSpPr>
                  <a:spLocks/>
                </p:cNvSpPr>
                <p:nvPr/>
              </p:nvSpPr>
              <p:spPr bwMode="auto">
                <a:xfrm>
                  <a:off x="6434169" y="3211417"/>
                  <a:ext cx="475741" cy="489836"/>
                </a:xfrm>
                <a:custGeom>
                  <a:avLst/>
                  <a:gdLst/>
                  <a:ahLst/>
                  <a:cxnLst>
                    <a:cxn ang="0">
                      <a:pos x="509" y="7"/>
                    </a:cxn>
                    <a:cxn ang="0">
                      <a:pos x="523" y="15"/>
                    </a:cxn>
                    <a:cxn ang="0">
                      <a:pos x="531" y="38"/>
                    </a:cxn>
                    <a:cxn ang="0">
                      <a:pos x="542" y="57"/>
                    </a:cxn>
                    <a:cxn ang="0">
                      <a:pos x="559" y="64"/>
                    </a:cxn>
                    <a:cxn ang="0">
                      <a:pos x="568" y="99"/>
                    </a:cxn>
                    <a:cxn ang="0">
                      <a:pos x="544" y="109"/>
                    </a:cxn>
                    <a:cxn ang="0">
                      <a:pos x="493" y="113"/>
                    </a:cxn>
                    <a:cxn ang="0">
                      <a:pos x="456" y="127"/>
                    </a:cxn>
                    <a:cxn ang="0">
                      <a:pos x="456" y="141"/>
                    </a:cxn>
                    <a:cxn ang="0">
                      <a:pos x="460" y="151"/>
                    </a:cxn>
                    <a:cxn ang="0">
                      <a:pos x="465" y="172"/>
                    </a:cxn>
                    <a:cxn ang="0">
                      <a:pos x="472" y="190"/>
                    </a:cxn>
                    <a:cxn ang="0">
                      <a:pos x="486" y="204"/>
                    </a:cxn>
                    <a:cxn ang="0">
                      <a:pos x="509" y="219"/>
                    </a:cxn>
                    <a:cxn ang="0">
                      <a:pos x="479" y="244"/>
                    </a:cxn>
                    <a:cxn ang="0">
                      <a:pos x="465" y="294"/>
                    </a:cxn>
                    <a:cxn ang="0">
                      <a:pos x="451" y="324"/>
                    </a:cxn>
                    <a:cxn ang="0">
                      <a:pos x="427" y="365"/>
                    </a:cxn>
                    <a:cxn ang="0">
                      <a:pos x="401" y="390"/>
                    </a:cxn>
                    <a:cxn ang="0">
                      <a:pos x="389" y="416"/>
                    </a:cxn>
                    <a:cxn ang="0">
                      <a:pos x="354" y="428"/>
                    </a:cxn>
                    <a:cxn ang="0">
                      <a:pos x="331" y="416"/>
                    </a:cxn>
                    <a:cxn ang="0">
                      <a:pos x="302" y="465"/>
                    </a:cxn>
                    <a:cxn ang="0">
                      <a:pos x="322" y="480"/>
                    </a:cxn>
                    <a:cxn ang="0">
                      <a:pos x="326" y="515"/>
                    </a:cxn>
                    <a:cxn ang="0">
                      <a:pos x="345" y="534"/>
                    </a:cxn>
                    <a:cxn ang="0">
                      <a:pos x="356" y="573"/>
                    </a:cxn>
                    <a:cxn ang="0">
                      <a:pos x="345" y="585"/>
                    </a:cxn>
                    <a:cxn ang="0">
                      <a:pos x="335" y="576"/>
                    </a:cxn>
                    <a:cxn ang="0">
                      <a:pos x="308" y="583"/>
                    </a:cxn>
                    <a:cxn ang="0">
                      <a:pos x="277" y="583"/>
                    </a:cxn>
                    <a:cxn ang="0">
                      <a:pos x="268" y="599"/>
                    </a:cxn>
                    <a:cxn ang="0">
                      <a:pos x="248" y="602"/>
                    </a:cxn>
                    <a:cxn ang="0">
                      <a:pos x="230" y="599"/>
                    </a:cxn>
                    <a:cxn ang="0">
                      <a:pos x="227" y="581"/>
                    </a:cxn>
                    <a:cxn ang="0">
                      <a:pos x="220" y="560"/>
                    </a:cxn>
                    <a:cxn ang="0">
                      <a:pos x="204" y="547"/>
                    </a:cxn>
                    <a:cxn ang="0">
                      <a:pos x="147" y="536"/>
                    </a:cxn>
                    <a:cxn ang="0">
                      <a:pos x="107" y="536"/>
                    </a:cxn>
                    <a:cxn ang="0">
                      <a:pos x="91" y="543"/>
                    </a:cxn>
                    <a:cxn ang="0">
                      <a:pos x="58" y="540"/>
                    </a:cxn>
                    <a:cxn ang="0">
                      <a:pos x="39" y="547"/>
                    </a:cxn>
                    <a:cxn ang="0">
                      <a:pos x="30" y="522"/>
                    </a:cxn>
                    <a:cxn ang="0">
                      <a:pos x="49" y="489"/>
                    </a:cxn>
                    <a:cxn ang="0">
                      <a:pos x="77" y="477"/>
                    </a:cxn>
                    <a:cxn ang="0">
                      <a:pos x="84" y="451"/>
                    </a:cxn>
                    <a:cxn ang="0">
                      <a:pos x="68" y="444"/>
                    </a:cxn>
                    <a:cxn ang="0">
                      <a:pos x="66" y="404"/>
                    </a:cxn>
                    <a:cxn ang="0">
                      <a:pos x="51" y="395"/>
                    </a:cxn>
                    <a:cxn ang="0">
                      <a:pos x="19" y="362"/>
                    </a:cxn>
                    <a:cxn ang="0">
                      <a:pos x="39" y="346"/>
                    </a:cxn>
                    <a:cxn ang="0">
                      <a:pos x="171" y="338"/>
                    </a:cxn>
                    <a:cxn ang="0">
                      <a:pos x="192" y="296"/>
                    </a:cxn>
                    <a:cxn ang="0">
                      <a:pos x="249" y="252"/>
                    </a:cxn>
                    <a:cxn ang="0">
                      <a:pos x="291" y="247"/>
                    </a:cxn>
                    <a:cxn ang="0">
                      <a:pos x="298" y="204"/>
                    </a:cxn>
                    <a:cxn ang="0">
                      <a:pos x="329" y="169"/>
                    </a:cxn>
                    <a:cxn ang="0">
                      <a:pos x="326" y="141"/>
                    </a:cxn>
                    <a:cxn ang="0">
                      <a:pos x="364" y="129"/>
                    </a:cxn>
                    <a:cxn ang="0">
                      <a:pos x="375" y="82"/>
                    </a:cxn>
                    <a:cxn ang="0">
                      <a:pos x="375" y="35"/>
                    </a:cxn>
                    <a:cxn ang="0">
                      <a:pos x="455" y="9"/>
                    </a:cxn>
                  </a:cxnLst>
                  <a:rect l="0" t="0" r="r" b="b"/>
                  <a:pathLst>
                    <a:path w="592" h="609">
                      <a:moveTo>
                        <a:pt x="479" y="0"/>
                      </a:moveTo>
                      <a:lnTo>
                        <a:pt x="479" y="0"/>
                      </a:lnTo>
                      <a:lnTo>
                        <a:pt x="484" y="2"/>
                      </a:lnTo>
                      <a:lnTo>
                        <a:pt x="490" y="3"/>
                      </a:lnTo>
                      <a:lnTo>
                        <a:pt x="498" y="3"/>
                      </a:lnTo>
                      <a:lnTo>
                        <a:pt x="505" y="3"/>
                      </a:lnTo>
                      <a:lnTo>
                        <a:pt x="509" y="7"/>
                      </a:lnTo>
                      <a:lnTo>
                        <a:pt x="510" y="10"/>
                      </a:lnTo>
                      <a:lnTo>
                        <a:pt x="510" y="10"/>
                      </a:lnTo>
                      <a:lnTo>
                        <a:pt x="512" y="12"/>
                      </a:lnTo>
                      <a:lnTo>
                        <a:pt x="514" y="14"/>
                      </a:lnTo>
                      <a:lnTo>
                        <a:pt x="517" y="14"/>
                      </a:lnTo>
                      <a:lnTo>
                        <a:pt x="519" y="14"/>
                      </a:lnTo>
                      <a:lnTo>
                        <a:pt x="523" y="15"/>
                      </a:lnTo>
                      <a:lnTo>
                        <a:pt x="524" y="19"/>
                      </a:lnTo>
                      <a:lnTo>
                        <a:pt x="530" y="24"/>
                      </a:lnTo>
                      <a:lnTo>
                        <a:pt x="530" y="24"/>
                      </a:lnTo>
                      <a:lnTo>
                        <a:pt x="531" y="29"/>
                      </a:lnTo>
                      <a:lnTo>
                        <a:pt x="533" y="35"/>
                      </a:lnTo>
                      <a:lnTo>
                        <a:pt x="533" y="36"/>
                      </a:lnTo>
                      <a:lnTo>
                        <a:pt x="531" y="38"/>
                      </a:lnTo>
                      <a:lnTo>
                        <a:pt x="530" y="42"/>
                      </a:lnTo>
                      <a:lnTo>
                        <a:pt x="530" y="45"/>
                      </a:lnTo>
                      <a:lnTo>
                        <a:pt x="531" y="49"/>
                      </a:lnTo>
                      <a:lnTo>
                        <a:pt x="531" y="49"/>
                      </a:lnTo>
                      <a:lnTo>
                        <a:pt x="535" y="54"/>
                      </a:lnTo>
                      <a:lnTo>
                        <a:pt x="538" y="57"/>
                      </a:lnTo>
                      <a:lnTo>
                        <a:pt x="542" y="57"/>
                      </a:lnTo>
                      <a:lnTo>
                        <a:pt x="545" y="57"/>
                      </a:lnTo>
                      <a:lnTo>
                        <a:pt x="549" y="56"/>
                      </a:lnTo>
                      <a:lnTo>
                        <a:pt x="551" y="56"/>
                      </a:lnTo>
                      <a:lnTo>
                        <a:pt x="552" y="57"/>
                      </a:lnTo>
                      <a:lnTo>
                        <a:pt x="552" y="57"/>
                      </a:lnTo>
                      <a:lnTo>
                        <a:pt x="556" y="61"/>
                      </a:lnTo>
                      <a:lnTo>
                        <a:pt x="559" y="64"/>
                      </a:lnTo>
                      <a:lnTo>
                        <a:pt x="568" y="68"/>
                      </a:lnTo>
                      <a:lnTo>
                        <a:pt x="592" y="75"/>
                      </a:lnTo>
                      <a:lnTo>
                        <a:pt x="592" y="75"/>
                      </a:lnTo>
                      <a:lnTo>
                        <a:pt x="582" y="80"/>
                      </a:lnTo>
                      <a:lnTo>
                        <a:pt x="575" y="87"/>
                      </a:lnTo>
                      <a:lnTo>
                        <a:pt x="570" y="94"/>
                      </a:lnTo>
                      <a:lnTo>
                        <a:pt x="568" y="99"/>
                      </a:lnTo>
                      <a:lnTo>
                        <a:pt x="566" y="104"/>
                      </a:lnTo>
                      <a:lnTo>
                        <a:pt x="563" y="108"/>
                      </a:lnTo>
                      <a:lnTo>
                        <a:pt x="559" y="109"/>
                      </a:lnTo>
                      <a:lnTo>
                        <a:pt x="554" y="108"/>
                      </a:lnTo>
                      <a:lnTo>
                        <a:pt x="554" y="108"/>
                      </a:lnTo>
                      <a:lnTo>
                        <a:pt x="549" y="108"/>
                      </a:lnTo>
                      <a:lnTo>
                        <a:pt x="544" y="109"/>
                      </a:lnTo>
                      <a:lnTo>
                        <a:pt x="533" y="115"/>
                      </a:lnTo>
                      <a:lnTo>
                        <a:pt x="528" y="118"/>
                      </a:lnTo>
                      <a:lnTo>
                        <a:pt x="521" y="120"/>
                      </a:lnTo>
                      <a:lnTo>
                        <a:pt x="516" y="120"/>
                      </a:lnTo>
                      <a:lnTo>
                        <a:pt x="507" y="118"/>
                      </a:lnTo>
                      <a:lnTo>
                        <a:pt x="507" y="118"/>
                      </a:lnTo>
                      <a:lnTo>
                        <a:pt x="493" y="113"/>
                      </a:lnTo>
                      <a:lnTo>
                        <a:pt x="481" y="109"/>
                      </a:lnTo>
                      <a:lnTo>
                        <a:pt x="470" y="109"/>
                      </a:lnTo>
                      <a:lnTo>
                        <a:pt x="462" y="111"/>
                      </a:lnTo>
                      <a:lnTo>
                        <a:pt x="456" y="115"/>
                      </a:lnTo>
                      <a:lnTo>
                        <a:pt x="453" y="118"/>
                      </a:lnTo>
                      <a:lnTo>
                        <a:pt x="453" y="123"/>
                      </a:lnTo>
                      <a:lnTo>
                        <a:pt x="456" y="127"/>
                      </a:lnTo>
                      <a:lnTo>
                        <a:pt x="456" y="127"/>
                      </a:lnTo>
                      <a:lnTo>
                        <a:pt x="460" y="132"/>
                      </a:lnTo>
                      <a:lnTo>
                        <a:pt x="460" y="134"/>
                      </a:lnTo>
                      <a:lnTo>
                        <a:pt x="458" y="137"/>
                      </a:lnTo>
                      <a:lnTo>
                        <a:pt x="456" y="139"/>
                      </a:lnTo>
                      <a:lnTo>
                        <a:pt x="455" y="139"/>
                      </a:lnTo>
                      <a:lnTo>
                        <a:pt x="456" y="141"/>
                      </a:lnTo>
                      <a:lnTo>
                        <a:pt x="465" y="143"/>
                      </a:lnTo>
                      <a:lnTo>
                        <a:pt x="465" y="143"/>
                      </a:lnTo>
                      <a:lnTo>
                        <a:pt x="472" y="143"/>
                      </a:lnTo>
                      <a:lnTo>
                        <a:pt x="474" y="144"/>
                      </a:lnTo>
                      <a:lnTo>
                        <a:pt x="469" y="148"/>
                      </a:lnTo>
                      <a:lnTo>
                        <a:pt x="463" y="150"/>
                      </a:lnTo>
                      <a:lnTo>
                        <a:pt x="460" y="151"/>
                      </a:lnTo>
                      <a:lnTo>
                        <a:pt x="460" y="155"/>
                      </a:lnTo>
                      <a:lnTo>
                        <a:pt x="463" y="160"/>
                      </a:lnTo>
                      <a:lnTo>
                        <a:pt x="463" y="160"/>
                      </a:lnTo>
                      <a:lnTo>
                        <a:pt x="467" y="163"/>
                      </a:lnTo>
                      <a:lnTo>
                        <a:pt x="469" y="167"/>
                      </a:lnTo>
                      <a:lnTo>
                        <a:pt x="467" y="170"/>
                      </a:lnTo>
                      <a:lnTo>
                        <a:pt x="465" y="172"/>
                      </a:lnTo>
                      <a:lnTo>
                        <a:pt x="462" y="174"/>
                      </a:lnTo>
                      <a:lnTo>
                        <a:pt x="462" y="177"/>
                      </a:lnTo>
                      <a:lnTo>
                        <a:pt x="462" y="179"/>
                      </a:lnTo>
                      <a:lnTo>
                        <a:pt x="465" y="183"/>
                      </a:lnTo>
                      <a:lnTo>
                        <a:pt x="465" y="183"/>
                      </a:lnTo>
                      <a:lnTo>
                        <a:pt x="469" y="186"/>
                      </a:lnTo>
                      <a:lnTo>
                        <a:pt x="472" y="190"/>
                      </a:lnTo>
                      <a:lnTo>
                        <a:pt x="474" y="197"/>
                      </a:lnTo>
                      <a:lnTo>
                        <a:pt x="476" y="198"/>
                      </a:lnTo>
                      <a:lnTo>
                        <a:pt x="481" y="198"/>
                      </a:lnTo>
                      <a:lnTo>
                        <a:pt x="481" y="198"/>
                      </a:lnTo>
                      <a:lnTo>
                        <a:pt x="484" y="198"/>
                      </a:lnTo>
                      <a:lnTo>
                        <a:pt x="486" y="200"/>
                      </a:lnTo>
                      <a:lnTo>
                        <a:pt x="486" y="204"/>
                      </a:lnTo>
                      <a:lnTo>
                        <a:pt x="484" y="207"/>
                      </a:lnTo>
                      <a:lnTo>
                        <a:pt x="484" y="209"/>
                      </a:lnTo>
                      <a:lnTo>
                        <a:pt x="486" y="212"/>
                      </a:lnTo>
                      <a:lnTo>
                        <a:pt x="490" y="214"/>
                      </a:lnTo>
                      <a:lnTo>
                        <a:pt x="490" y="214"/>
                      </a:lnTo>
                      <a:lnTo>
                        <a:pt x="504" y="217"/>
                      </a:lnTo>
                      <a:lnTo>
                        <a:pt x="509" y="219"/>
                      </a:lnTo>
                      <a:lnTo>
                        <a:pt x="510" y="221"/>
                      </a:lnTo>
                      <a:lnTo>
                        <a:pt x="509" y="224"/>
                      </a:lnTo>
                      <a:lnTo>
                        <a:pt x="505" y="228"/>
                      </a:lnTo>
                      <a:lnTo>
                        <a:pt x="490" y="237"/>
                      </a:lnTo>
                      <a:lnTo>
                        <a:pt x="490" y="237"/>
                      </a:lnTo>
                      <a:lnTo>
                        <a:pt x="481" y="240"/>
                      </a:lnTo>
                      <a:lnTo>
                        <a:pt x="479" y="244"/>
                      </a:lnTo>
                      <a:lnTo>
                        <a:pt x="479" y="249"/>
                      </a:lnTo>
                      <a:lnTo>
                        <a:pt x="479" y="252"/>
                      </a:lnTo>
                      <a:lnTo>
                        <a:pt x="481" y="259"/>
                      </a:lnTo>
                      <a:lnTo>
                        <a:pt x="481" y="268"/>
                      </a:lnTo>
                      <a:lnTo>
                        <a:pt x="476" y="280"/>
                      </a:lnTo>
                      <a:lnTo>
                        <a:pt x="465" y="294"/>
                      </a:lnTo>
                      <a:lnTo>
                        <a:pt x="465" y="294"/>
                      </a:lnTo>
                      <a:lnTo>
                        <a:pt x="462" y="303"/>
                      </a:lnTo>
                      <a:lnTo>
                        <a:pt x="460" y="310"/>
                      </a:lnTo>
                      <a:lnTo>
                        <a:pt x="460" y="313"/>
                      </a:lnTo>
                      <a:lnTo>
                        <a:pt x="460" y="317"/>
                      </a:lnTo>
                      <a:lnTo>
                        <a:pt x="462" y="318"/>
                      </a:lnTo>
                      <a:lnTo>
                        <a:pt x="460" y="320"/>
                      </a:lnTo>
                      <a:lnTo>
                        <a:pt x="451" y="324"/>
                      </a:lnTo>
                      <a:lnTo>
                        <a:pt x="451" y="324"/>
                      </a:lnTo>
                      <a:lnTo>
                        <a:pt x="443" y="327"/>
                      </a:lnTo>
                      <a:lnTo>
                        <a:pt x="437" y="334"/>
                      </a:lnTo>
                      <a:lnTo>
                        <a:pt x="434" y="341"/>
                      </a:lnTo>
                      <a:lnTo>
                        <a:pt x="432" y="350"/>
                      </a:lnTo>
                      <a:lnTo>
                        <a:pt x="429" y="358"/>
                      </a:lnTo>
                      <a:lnTo>
                        <a:pt x="427" y="365"/>
                      </a:lnTo>
                      <a:lnTo>
                        <a:pt x="422" y="371"/>
                      </a:lnTo>
                      <a:lnTo>
                        <a:pt x="415" y="376"/>
                      </a:lnTo>
                      <a:lnTo>
                        <a:pt x="415" y="376"/>
                      </a:lnTo>
                      <a:lnTo>
                        <a:pt x="409" y="378"/>
                      </a:lnTo>
                      <a:lnTo>
                        <a:pt x="404" y="381"/>
                      </a:lnTo>
                      <a:lnTo>
                        <a:pt x="403" y="385"/>
                      </a:lnTo>
                      <a:lnTo>
                        <a:pt x="401" y="390"/>
                      </a:lnTo>
                      <a:lnTo>
                        <a:pt x="399" y="397"/>
                      </a:lnTo>
                      <a:lnTo>
                        <a:pt x="397" y="400"/>
                      </a:lnTo>
                      <a:lnTo>
                        <a:pt x="394" y="404"/>
                      </a:lnTo>
                      <a:lnTo>
                        <a:pt x="394" y="404"/>
                      </a:lnTo>
                      <a:lnTo>
                        <a:pt x="390" y="407"/>
                      </a:lnTo>
                      <a:lnTo>
                        <a:pt x="390" y="409"/>
                      </a:lnTo>
                      <a:lnTo>
                        <a:pt x="389" y="416"/>
                      </a:lnTo>
                      <a:lnTo>
                        <a:pt x="387" y="419"/>
                      </a:lnTo>
                      <a:lnTo>
                        <a:pt x="385" y="421"/>
                      </a:lnTo>
                      <a:lnTo>
                        <a:pt x="382" y="421"/>
                      </a:lnTo>
                      <a:lnTo>
                        <a:pt x="382" y="421"/>
                      </a:lnTo>
                      <a:lnTo>
                        <a:pt x="368" y="425"/>
                      </a:lnTo>
                      <a:lnTo>
                        <a:pt x="357" y="428"/>
                      </a:lnTo>
                      <a:lnTo>
                        <a:pt x="354" y="428"/>
                      </a:lnTo>
                      <a:lnTo>
                        <a:pt x="350" y="428"/>
                      </a:lnTo>
                      <a:lnTo>
                        <a:pt x="347" y="425"/>
                      </a:lnTo>
                      <a:lnTo>
                        <a:pt x="343" y="421"/>
                      </a:lnTo>
                      <a:lnTo>
                        <a:pt x="343" y="421"/>
                      </a:lnTo>
                      <a:lnTo>
                        <a:pt x="340" y="416"/>
                      </a:lnTo>
                      <a:lnTo>
                        <a:pt x="335" y="414"/>
                      </a:lnTo>
                      <a:lnTo>
                        <a:pt x="331" y="416"/>
                      </a:lnTo>
                      <a:lnTo>
                        <a:pt x="329" y="419"/>
                      </a:lnTo>
                      <a:lnTo>
                        <a:pt x="322" y="430"/>
                      </a:lnTo>
                      <a:lnTo>
                        <a:pt x="315" y="442"/>
                      </a:lnTo>
                      <a:lnTo>
                        <a:pt x="315" y="442"/>
                      </a:lnTo>
                      <a:lnTo>
                        <a:pt x="307" y="454"/>
                      </a:lnTo>
                      <a:lnTo>
                        <a:pt x="303" y="459"/>
                      </a:lnTo>
                      <a:lnTo>
                        <a:pt x="302" y="465"/>
                      </a:lnTo>
                      <a:lnTo>
                        <a:pt x="300" y="468"/>
                      </a:lnTo>
                      <a:lnTo>
                        <a:pt x="302" y="473"/>
                      </a:lnTo>
                      <a:lnTo>
                        <a:pt x="307" y="475"/>
                      </a:lnTo>
                      <a:lnTo>
                        <a:pt x="315" y="479"/>
                      </a:lnTo>
                      <a:lnTo>
                        <a:pt x="315" y="479"/>
                      </a:lnTo>
                      <a:lnTo>
                        <a:pt x="319" y="479"/>
                      </a:lnTo>
                      <a:lnTo>
                        <a:pt x="322" y="480"/>
                      </a:lnTo>
                      <a:lnTo>
                        <a:pt x="324" y="484"/>
                      </a:lnTo>
                      <a:lnTo>
                        <a:pt x="326" y="486"/>
                      </a:lnTo>
                      <a:lnTo>
                        <a:pt x="326" y="493"/>
                      </a:lnTo>
                      <a:lnTo>
                        <a:pt x="324" y="499"/>
                      </a:lnTo>
                      <a:lnTo>
                        <a:pt x="324" y="506"/>
                      </a:lnTo>
                      <a:lnTo>
                        <a:pt x="324" y="512"/>
                      </a:lnTo>
                      <a:lnTo>
                        <a:pt x="326" y="515"/>
                      </a:lnTo>
                      <a:lnTo>
                        <a:pt x="329" y="517"/>
                      </a:lnTo>
                      <a:lnTo>
                        <a:pt x="338" y="519"/>
                      </a:lnTo>
                      <a:lnTo>
                        <a:pt x="338" y="519"/>
                      </a:lnTo>
                      <a:lnTo>
                        <a:pt x="345" y="520"/>
                      </a:lnTo>
                      <a:lnTo>
                        <a:pt x="345" y="526"/>
                      </a:lnTo>
                      <a:lnTo>
                        <a:pt x="343" y="529"/>
                      </a:lnTo>
                      <a:lnTo>
                        <a:pt x="345" y="534"/>
                      </a:lnTo>
                      <a:lnTo>
                        <a:pt x="349" y="543"/>
                      </a:lnTo>
                      <a:lnTo>
                        <a:pt x="356" y="553"/>
                      </a:lnTo>
                      <a:lnTo>
                        <a:pt x="356" y="553"/>
                      </a:lnTo>
                      <a:lnTo>
                        <a:pt x="357" y="559"/>
                      </a:lnTo>
                      <a:lnTo>
                        <a:pt x="359" y="562"/>
                      </a:lnTo>
                      <a:lnTo>
                        <a:pt x="357" y="567"/>
                      </a:lnTo>
                      <a:lnTo>
                        <a:pt x="356" y="573"/>
                      </a:lnTo>
                      <a:lnTo>
                        <a:pt x="356" y="574"/>
                      </a:lnTo>
                      <a:lnTo>
                        <a:pt x="357" y="576"/>
                      </a:lnTo>
                      <a:lnTo>
                        <a:pt x="357" y="576"/>
                      </a:lnTo>
                      <a:lnTo>
                        <a:pt x="357" y="578"/>
                      </a:lnTo>
                      <a:lnTo>
                        <a:pt x="357" y="580"/>
                      </a:lnTo>
                      <a:lnTo>
                        <a:pt x="352" y="583"/>
                      </a:lnTo>
                      <a:lnTo>
                        <a:pt x="345" y="585"/>
                      </a:lnTo>
                      <a:lnTo>
                        <a:pt x="342" y="583"/>
                      </a:lnTo>
                      <a:lnTo>
                        <a:pt x="340" y="581"/>
                      </a:lnTo>
                      <a:lnTo>
                        <a:pt x="340" y="581"/>
                      </a:lnTo>
                      <a:lnTo>
                        <a:pt x="340" y="578"/>
                      </a:lnTo>
                      <a:lnTo>
                        <a:pt x="338" y="576"/>
                      </a:lnTo>
                      <a:lnTo>
                        <a:pt x="336" y="576"/>
                      </a:lnTo>
                      <a:lnTo>
                        <a:pt x="335" y="576"/>
                      </a:lnTo>
                      <a:lnTo>
                        <a:pt x="328" y="580"/>
                      </a:lnTo>
                      <a:lnTo>
                        <a:pt x="322" y="585"/>
                      </a:lnTo>
                      <a:lnTo>
                        <a:pt x="322" y="585"/>
                      </a:lnTo>
                      <a:lnTo>
                        <a:pt x="319" y="588"/>
                      </a:lnTo>
                      <a:lnTo>
                        <a:pt x="317" y="588"/>
                      </a:lnTo>
                      <a:lnTo>
                        <a:pt x="314" y="587"/>
                      </a:lnTo>
                      <a:lnTo>
                        <a:pt x="308" y="583"/>
                      </a:lnTo>
                      <a:lnTo>
                        <a:pt x="303" y="581"/>
                      </a:lnTo>
                      <a:lnTo>
                        <a:pt x="298" y="583"/>
                      </a:lnTo>
                      <a:lnTo>
                        <a:pt x="298" y="583"/>
                      </a:lnTo>
                      <a:lnTo>
                        <a:pt x="289" y="583"/>
                      </a:lnTo>
                      <a:lnTo>
                        <a:pt x="282" y="581"/>
                      </a:lnTo>
                      <a:lnTo>
                        <a:pt x="279" y="581"/>
                      </a:lnTo>
                      <a:lnTo>
                        <a:pt x="277" y="583"/>
                      </a:lnTo>
                      <a:lnTo>
                        <a:pt x="277" y="585"/>
                      </a:lnTo>
                      <a:lnTo>
                        <a:pt x="277" y="590"/>
                      </a:lnTo>
                      <a:lnTo>
                        <a:pt x="277" y="590"/>
                      </a:lnTo>
                      <a:lnTo>
                        <a:pt x="277" y="595"/>
                      </a:lnTo>
                      <a:lnTo>
                        <a:pt x="275" y="597"/>
                      </a:lnTo>
                      <a:lnTo>
                        <a:pt x="272" y="599"/>
                      </a:lnTo>
                      <a:lnTo>
                        <a:pt x="268" y="599"/>
                      </a:lnTo>
                      <a:lnTo>
                        <a:pt x="265" y="600"/>
                      </a:lnTo>
                      <a:lnTo>
                        <a:pt x="260" y="600"/>
                      </a:lnTo>
                      <a:lnTo>
                        <a:pt x="256" y="604"/>
                      </a:lnTo>
                      <a:lnTo>
                        <a:pt x="255" y="609"/>
                      </a:lnTo>
                      <a:lnTo>
                        <a:pt x="255" y="609"/>
                      </a:lnTo>
                      <a:lnTo>
                        <a:pt x="249" y="604"/>
                      </a:lnTo>
                      <a:lnTo>
                        <a:pt x="248" y="602"/>
                      </a:lnTo>
                      <a:lnTo>
                        <a:pt x="244" y="602"/>
                      </a:lnTo>
                      <a:lnTo>
                        <a:pt x="242" y="602"/>
                      </a:lnTo>
                      <a:lnTo>
                        <a:pt x="239" y="604"/>
                      </a:lnTo>
                      <a:lnTo>
                        <a:pt x="237" y="604"/>
                      </a:lnTo>
                      <a:lnTo>
                        <a:pt x="234" y="602"/>
                      </a:lnTo>
                      <a:lnTo>
                        <a:pt x="234" y="602"/>
                      </a:lnTo>
                      <a:lnTo>
                        <a:pt x="230" y="599"/>
                      </a:lnTo>
                      <a:lnTo>
                        <a:pt x="230" y="597"/>
                      </a:lnTo>
                      <a:lnTo>
                        <a:pt x="232" y="595"/>
                      </a:lnTo>
                      <a:lnTo>
                        <a:pt x="228" y="592"/>
                      </a:lnTo>
                      <a:lnTo>
                        <a:pt x="228" y="592"/>
                      </a:lnTo>
                      <a:lnTo>
                        <a:pt x="227" y="588"/>
                      </a:lnTo>
                      <a:lnTo>
                        <a:pt x="227" y="585"/>
                      </a:lnTo>
                      <a:lnTo>
                        <a:pt x="227" y="581"/>
                      </a:lnTo>
                      <a:lnTo>
                        <a:pt x="223" y="576"/>
                      </a:lnTo>
                      <a:lnTo>
                        <a:pt x="223" y="576"/>
                      </a:lnTo>
                      <a:lnTo>
                        <a:pt x="221" y="574"/>
                      </a:lnTo>
                      <a:lnTo>
                        <a:pt x="221" y="571"/>
                      </a:lnTo>
                      <a:lnTo>
                        <a:pt x="221" y="566"/>
                      </a:lnTo>
                      <a:lnTo>
                        <a:pt x="221" y="562"/>
                      </a:lnTo>
                      <a:lnTo>
                        <a:pt x="220" y="560"/>
                      </a:lnTo>
                      <a:lnTo>
                        <a:pt x="218" y="559"/>
                      </a:lnTo>
                      <a:lnTo>
                        <a:pt x="213" y="559"/>
                      </a:lnTo>
                      <a:lnTo>
                        <a:pt x="213" y="559"/>
                      </a:lnTo>
                      <a:lnTo>
                        <a:pt x="206" y="557"/>
                      </a:lnTo>
                      <a:lnTo>
                        <a:pt x="204" y="555"/>
                      </a:lnTo>
                      <a:lnTo>
                        <a:pt x="202" y="552"/>
                      </a:lnTo>
                      <a:lnTo>
                        <a:pt x="204" y="547"/>
                      </a:lnTo>
                      <a:lnTo>
                        <a:pt x="202" y="538"/>
                      </a:lnTo>
                      <a:lnTo>
                        <a:pt x="202" y="538"/>
                      </a:lnTo>
                      <a:lnTo>
                        <a:pt x="202" y="536"/>
                      </a:lnTo>
                      <a:lnTo>
                        <a:pt x="199" y="534"/>
                      </a:lnTo>
                      <a:lnTo>
                        <a:pt x="192" y="533"/>
                      </a:lnTo>
                      <a:lnTo>
                        <a:pt x="169" y="533"/>
                      </a:lnTo>
                      <a:lnTo>
                        <a:pt x="147" y="536"/>
                      </a:lnTo>
                      <a:lnTo>
                        <a:pt x="140" y="538"/>
                      </a:lnTo>
                      <a:lnTo>
                        <a:pt x="136" y="540"/>
                      </a:lnTo>
                      <a:lnTo>
                        <a:pt x="136" y="540"/>
                      </a:lnTo>
                      <a:lnTo>
                        <a:pt x="133" y="543"/>
                      </a:lnTo>
                      <a:lnTo>
                        <a:pt x="129" y="541"/>
                      </a:lnTo>
                      <a:lnTo>
                        <a:pt x="120" y="540"/>
                      </a:lnTo>
                      <a:lnTo>
                        <a:pt x="107" y="536"/>
                      </a:lnTo>
                      <a:lnTo>
                        <a:pt x="107" y="536"/>
                      </a:lnTo>
                      <a:lnTo>
                        <a:pt x="100" y="536"/>
                      </a:lnTo>
                      <a:lnTo>
                        <a:pt x="96" y="536"/>
                      </a:lnTo>
                      <a:lnTo>
                        <a:pt x="94" y="538"/>
                      </a:lnTo>
                      <a:lnTo>
                        <a:pt x="93" y="540"/>
                      </a:lnTo>
                      <a:lnTo>
                        <a:pt x="93" y="541"/>
                      </a:lnTo>
                      <a:lnTo>
                        <a:pt x="91" y="543"/>
                      </a:lnTo>
                      <a:lnTo>
                        <a:pt x="86" y="541"/>
                      </a:lnTo>
                      <a:lnTo>
                        <a:pt x="79" y="540"/>
                      </a:lnTo>
                      <a:lnTo>
                        <a:pt x="79" y="540"/>
                      </a:lnTo>
                      <a:lnTo>
                        <a:pt x="70" y="538"/>
                      </a:lnTo>
                      <a:lnTo>
                        <a:pt x="65" y="538"/>
                      </a:lnTo>
                      <a:lnTo>
                        <a:pt x="60" y="538"/>
                      </a:lnTo>
                      <a:lnTo>
                        <a:pt x="58" y="540"/>
                      </a:lnTo>
                      <a:lnTo>
                        <a:pt x="54" y="543"/>
                      </a:lnTo>
                      <a:lnTo>
                        <a:pt x="53" y="543"/>
                      </a:lnTo>
                      <a:lnTo>
                        <a:pt x="51" y="543"/>
                      </a:lnTo>
                      <a:lnTo>
                        <a:pt x="51" y="543"/>
                      </a:lnTo>
                      <a:lnTo>
                        <a:pt x="49" y="541"/>
                      </a:lnTo>
                      <a:lnTo>
                        <a:pt x="46" y="543"/>
                      </a:lnTo>
                      <a:lnTo>
                        <a:pt x="39" y="547"/>
                      </a:lnTo>
                      <a:lnTo>
                        <a:pt x="37" y="548"/>
                      </a:lnTo>
                      <a:lnTo>
                        <a:pt x="33" y="548"/>
                      </a:lnTo>
                      <a:lnTo>
                        <a:pt x="30" y="547"/>
                      </a:lnTo>
                      <a:lnTo>
                        <a:pt x="26" y="540"/>
                      </a:lnTo>
                      <a:lnTo>
                        <a:pt x="26" y="540"/>
                      </a:lnTo>
                      <a:lnTo>
                        <a:pt x="28" y="531"/>
                      </a:lnTo>
                      <a:lnTo>
                        <a:pt x="30" y="522"/>
                      </a:lnTo>
                      <a:lnTo>
                        <a:pt x="30" y="512"/>
                      </a:lnTo>
                      <a:lnTo>
                        <a:pt x="33" y="501"/>
                      </a:lnTo>
                      <a:lnTo>
                        <a:pt x="33" y="501"/>
                      </a:lnTo>
                      <a:lnTo>
                        <a:pt x="35" y="496"/>
                      </a:lnTo>
                      <a:lnTo>
                        <a:pt x="37" y="494"/>
                      </a:lnTo>
                      <a:lnTo>
                        <a:pt x="44" y="491"/>
                      </a:lnTo>
                      <a:lnTo>
                        <a:pt x="49" y="489"/>
                      </a:lnTo>
                      <a:lnTo>
                        <a:pt x="51" y="487"/>
                      </a:lnTo>
                      <a:lnTo>
                        <a:pt x="51" y="486"/>
                      </a:lnTo>
                      <a:lnTo>
                        <a:pt x="51" y="486"/>
                      </a:lnTo>
                      <a:lnTo>
                        <a:pt x="53" y="482"/>
                      </a:lnTo>
                      <a:lnTo>
                        <a:pt x="56" y="480"/>
                      </a:lnTo>
                      <a:lnTo>
                        <a:pt x="66" y="479"/>
                      </a:lnTo>
                      <a:lnTo>
                        <a:pt x="77" y="477"/>
                      </a:lnTo>
                      <a:lnTo>
                        <a:pt x="80" y="475"/>
                      </a:lnTo>
                      <a:lnTo>
                        <a:pt x="82" y="472"/>
                      </a:lnTo>
                      <a:lnTo>
                        <a:pt x="82" y="472"/>
                      </a:lnTo>
                      <a:lnTo>
                        <a:pt x="82" y="466"/>
                      </a:lnTo>
                      <a:lnTo>
                        <a:pt x="84" y="459"/>
                      </a:lnTo>
                      <a:lnTo>
                        <a:pt x="86" y="456"/>
                      </a:lnTo>
                      <a:lnTo>
                        <a:pt x="84" y="451"/>
                      </a:lnTo>
                      <a:lnTo>
                        <a:pt x="84" y="451"/>
                      </a:lnTo>
                      <a:lnTo>
                        <a:pt x="82" y="451"/>
                      </a:lnTo>
                      <a:lnTo>
                        <a:pt x="79" y="449"/>
                      </a:lnTo>
                      <a:lnTo>
                        <a:pt x="73" y="451"/>
                      </a:lnTo>
                      <a:lnTo>
                        <a:pt x="68" y="449"/>
                      </a:lnTo>
                      <a:lnTo>
                        <a:pt x="66" y="447"/>
                      </a:lnTo>
                      <a:lnTo>
                        <a:pt x="68" y="444"/>
                      </a:lnTo>
                      <a:lnTo>
                        <a:pt x="68" y="444"/>
                      </a:lnTo>
                      <a:lnTo>
                        <a:pt x="70" y="437"/>
                      </a:lnTo>
                      <a:lnTo>
                        <a:pt x="70" y="426"/>
                      </a:lnTo>
                      <a:lnTo>
                        <a:pt x="68" y="418"/>
                      </a:lnTo>
                      <a:lnTo>
                        <a:pt x="66" y="409"/>
                      </a:lnTo>
                      <a:lnTo>
                        <a:pt x="66" y="409"/>
                      </a:lnTo>
                      <a:lnTo>
                        <a:pt x="66" y="404"/>
                      </a:lnTo>
                      <a:lnTo>
                        <a:pt x="65" y="404"/>
                      </a:lnTo>
                      <a:lnTo>
                        <a:pt x="61" y="405"/>
                      </a:lnTo>
                      <a:lnTo>
                        <a:pt x="60" y="404"/>
                      </a:lnTo>
                      <a:lnTo>
                        <a:pt x="58" y="402"/>
                      </a:lnTo>
                      <a:lnTo>
                        <a:pt x="58" y="402"/>
                      </a:lnTo>
                      <a:lnTo>
                        <a:pt x="54" y="399"/>
                      </a:lnTo>
                      <a:lnTo>
                        <a:pt x="51" y="395"/>
                      </a:lnTo>
                      <a:lnTo>
                        <a:pt x="42" y="393"/>
                      </a:lnTo>
                      <a:lnTo>
                        <a:pt x="37" y="392"/>
                      </a:lnTo>
                      <a:lnTo>
                        <a:pt x="33" y="388"/>
                      </a:lnTo>
                      <a:lnTo>
                        <a:pt x="28" y="383"/>
                      </a:lnTo>
                      <a:lnTo>
                        <a:pt x="25" y="376"/>
                      </a:lnTo>
                      <a:lnTo>
                        <a:pt x="25" y="376"/>
                      </a:lnTo>
                      <a:lnTo>
                        <a:pt x="19" y="362"/>
                      </a:lnTo>
                      <a:lnTo>
                        <a:pt x="14" y="351"/>
                      </a:lnTo>
                      <a:lnTo>
                        <a:pt x="7" y="341"/>
                      </a:lnTo>
                      <a:lnTo>
                        <a:pt x="0" y="332"/>
                      </a:lnTo>
                      <a:lnTo>
                        <a:pt x="0" y="332"/>
                      </a:lnTo>
                      <a:lnTo>
                        <a:pt x="9" y="332"/>
                      </a:lnTo>
                      <a:lnTo>
                        <a:pt x="18" y="336"/>
                      </a:lnTo>
                      <a:lnTo>
                        <a:pt x="39" y="346"/>
                      </a:lnTo>
                      <a:lnTo>
                        <a:pt x="53" y="351"/>
                      </a:lnTo>
                      <a:lnTo>
                        <a:pt x="70" y="355"/>
                      </a:lnTo>
                      <a:lnTo>
                        <a:pt x="91" y="355"/>
                      </a:lnTo>
                      <a:lnTo>
                        <a:pt x="115" y="351"/>
                      </a:lnTo>
                      <a:lnTo>
                        <a:pt x="115" y="351"/>
                      </a:lnTo>
                      <a:lnTo>
                        <a:pt x="159" y="341"/>
                      </a:lnTo>
                      <a:lnTo>
                        <a:pt x="171" y="338"/>
                      </a:lnTo>
                      <a:lnTo>
                        <a:pt x="181" y="334"/>
                      </a:lnTo>
                      <a:lnTo>
                        <a:pt x="188" y="329"/>
                      </a:lnTo>
                      <a:lnTo>
                        <a:pt x="192" y="324"/>
                      </a:lnTo>
                      <a:lnTo>
                        <a:pt x="192" y="317"/>
                      </a:lnTo>
                      <a:lnTo>
                        <a:pt x="192" y="306"/>
                      </a:lnTo>
                      <a:lnTo>
                        <a:pt x="192" y="306"/>
                      </a:lnTo>
                      <a:lnTo>
                        <a:pt x="192" y="296"/>
                      </a:lnTo>
                      <a:lnTo>
                        <a:pt x="197" y="287"/>
                      </a:lnTo>
                      <a:lnTo>
                        <a:pt x="202" y="280"/>
                      </a:lnTo>
                      <a:lnTo>
                        <a:pt x="211" y="275"/>
                      </a:lnTo>
                      <a:lnTo>
                        <a:pt x="230" y="264"/>
                      </a:lnTo>
                      <a:lnTo>
                        <a:pt x="241" y="259"/>
                      </a:lnTo>
                      <a:lnTo>
                        <a:pt x="249" y="252"/>
                      </a:lnTo>
                      <a:lnTo>
                        <a:pt x="249" y="252"/>
                      </a:lnTo>
                      <a:lnTo>
                        <a:pt x="256" y="247"/>
                      </a:lnTo>
                      <a:lnTo>
                        <a:pt x="263" y="245"/>
                      </a:lnTo>
                      <a:lnTo>
                        <a:pt x="268" y="245"/>
                      </a:lnTo>
                      <a:lnTo>
                        <a:pt x="274" y="247"/>
                      </a:lnTo>
                      <a:lnTo>
                        <a:pt x="284" y="251"/>
                      </a:lnTo>
                      <a:lnTo>
                        <a:pt x="288" y="251"/>
                      </a:lnTo>
                      <a:lnTo>
                        <a:pt x="291" y="247"/>
                      </a:lnTo>
                      <a:lnTo>
                        <a:pt x="291" y="247"/>
                      </a:lnTo>
                      <a:lnTo>
                        <a:pt x="293" y="244"/>
                      </a:lnTo>
                      <a:lnTo>
                        <a:pt x="295" y="240"/>
                      </a:lnTo>
                      <a:lnTo>
                        <a:pt x="295" y="231"/>
                      </a:lnTo>
                      <a:lnTo>
                        <a:pt x="295" y="221"/>
                      </a:lnTo>
                      <a:lnTo>
                        <a:pt x="298" y="204"/>
                      </a:lnTo>
                      <a:lnTo>
                        <a:pt x="298" y="204"/>
                      </a:lnTo>
                      <a:lnTo>
                        <a:pt x="302" y="193"/>
                      </a:lnTo>
                      <a:lnTo>
                        <a:pt x="308" y="186"/>
                      </a:lnTo>
                      <a:lnTo>
                        <a:pt x="315" y="183"/>
                      </a:lnTo>
                      <a:lnTo>
                        <a:pt x="322" y="181"/>
                      </a:lnTo>
                      <a:lnTo>
                        <a:pt x="328" y="177"/>
                      </a:lnTo>
                      <a:lnTo>
                        <a:pt x="329" y="174"/>
                      </a:lnTo>
                      <a:lnTo>
                        <a:pt x="329" y="169"/>
                      </a:lnTo>
                      <a:lnTo>
                        <a:pt x="324" y="160"/>
                      </a:lnTo>
                      <a:lnTo>
                        <a:pt x="324" y="160"/>
                      </a:lnTo>
                      <a:lnTo>
                        <a:pt x="319" y="148"/>
                      </a:lnTo>
                      <a:lnTo>
                        <a:pt x="319" y="144"/>
                      </a:lnTo>
                      <a:lnTo>
                        <a:pt x="319" y="143"/>
                      </a:lnTo>
                      <a:lnTo>
                        <a:pt x="322" y="141"/>
                      </a:lnTo>
                      <a:lnTo>
                        <a:pt x="326" y="141"/>
                      </a:lnTo>
                      <a:lnTo>
                        <a:pt x="335" y="141"/>
                      </a:lnTo>
                      <a:lnTo>
                        <a:pt x="345" y="143"/>
                      </a:lnTo>
                      <a:lnTo>
                        <a:pt x="354" y="143"/>
                      </a:lnTo>
                      <a:lnTo>
                        <a:pt x="357" y="141"/>
                      </a:lnTo>
                      <a:lnTo>
                        <a:pt x="361" y="139"/>
                      </a:lnTo>
                      <a:lnTo>
                        <a:pt x="362" y="134"/>
                      </a:lnTo>
                      <a:lnTo>
                        <a:pt x="364" y="129"/>
                      </a:lnTo>
                      <a:lnTo>
                        <a:pt x="364" y="129"/>
                      </a:lnTo>
                      <a:lnTo>
                        <a:pt x="364" y="122"/>
                      </a:lnTo>
                      <a:lnTo>
                        <a:pt x="368" y="115"/>
                      </a:lnTo>
                      <a:lnTo>
                        <a:pt x="373" y="103"/>
                      </a:lnTo>
                      <a:lnTo>
                        <a:pt x="375" y="97"/>
                      </a:lnTo>
                      <a:lnTo>
                        <a:pt x="376" y="90"/>
                      </a:lnTo>
                      <a:lnTo>
                        <a:pt x="375" y="82"/>
                      </a:lnTo>
                      <a:lnTo>
                        <a:pt x="373" y="71"/>
                      </a:lnTo>
                      <a:lnTo>
                        <a:pt x="373" y="71"/>
                      </a:lnTo>
                      <a:lnTo>
                        <a:pt x="368" y="62"/>
                      </a:lnTo>
                      <a:lnTo>
                        <a:pt x="366" y="54"/>
                      </a:lnTo>
                      <a:lnTo>
                        <a:pt x="368" y="47"/>
                      </a:lnTo>
                      <a:lnTo>
                        <a:pt x="369" y="40"/>
                      </a:lnTo>
                      <a:lnTo>
                        <a:pt x="375" y="35"/>
                      </a:lnTo>
                      <a:lnTo>
                        <a:pt x="383" y="28"/>
                      </a:lnTo>
                      <a:lnTo>
                        <a:pt x="409" y="15"/>
                      </a:lnTo>
                      <a:lnTo>
                        <a:pt x="409" y="15"/>
                      </a:lnTo>
                      <a:lnTo>
                        <a:pt x="423" y="9"/>
                      </a:lnTo>
                      <a:lnTo>
                        <a:pt x="437" y="7"/>
                      </a:lnTo>
                      <a:lnTo>
                        <a:pt x="446" y="7"/>
                      </a:lnTo>
                      <a:lnTo>
                        <a:pt x="455" y="9"/>
                      </a:lnTo>
                      <a:lnTo>
                        <a:pt x="463" y="10"/>
                      </a:lnTo>
                      <a:lnTo>
                        <a:pt x="469" y="9"/>
                      </a:lnTo>
                      <a:lnTo>
                        <a:pt x="474" y="7"/>
                      </a:lnTo>
                      <a:lnTo>
                        <a:pt x="479" y="0"/>
                      </a:lnTo>
                      <a:lnTo>
                        <a:pt x="47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2" name="Freeform 1741">
                  <a:extLst>
                    <a:ext uri="{FF2B5EF4-FFF2-40B4-BE49-F238E27FC236}">
                      <a16:creationId xmlns:a16="http://schemas.microsoft.com/office/drawing/2014/main" id="{F2AE6DA2-E3B2-63A8-C275-EAE725D45F45}"/>
                    </a:ext>
                  </a:extLst>
                </p:cNvPr>
                <p:cNvSpPr>
                  <a:spLocks/>
                </p:cNvSpPr>
                <p:nvPr/>
              </p:nvSpPr>
              <p:spPr bwMode="auto">
                <a:xfrm>
                  <a:off x="5961953" y="3109221"/>
                  <a:ext cx="539174" cy="542697"/>
                </a:xfrm>
                <a:custGeom>
                  <a:avLst/>
                  <a:gdLst/>
                  <a:ahLst/>
                  <a:cxnLst>
                    <a:cxn ang="0">
                      <a:pos x="207" y="110"/>
                    </a:cxn>
                    <a:cxn ang="0">
                      <a:pos x="259" y="148"/>
                    </a:cxn>
                    <a:cxn ang="0">
                      <a:pos x="345" y="136"/>
                    </a:cxn>
                    <a:cxn ang="0">
                      <a:pos x="352" y="138"/>
                    </a:cxn>
                    <a:cxn ang="0">
                      <a:pos x="378" y="97"/>
                    </a:cxn>
                    <a:cxn ang="0">
                      <a:pos x="432" y="78"/>
                    </a:cxn>
                    <a:cxn ang="0">
                      <a:pos x="460" y="73"/>
                    </a:cxn>
                    <a:cxn ang="0">
                      <a:pos x="493" y="92"/>
                    </a:cxn>
                    <a:cxn ang="0">
                      <a:pos x="524" y="101"/>
                    </a:cxn>
                    <a:cxn ang="0">
                      <a:pos x="550" y="125"/>
                    </a:cxn>
                    <a:cxn ang="0">
                      <a:pos x="599" y="148"/>
                    </a:cxn>
                    <a:cxn ang="0">
                      <a:pos x="601" y="176"/>
                    </a:cxn>
                    <a:cxn ang="0">
                      <a:pos x="601" y="218"/>
                    </a:cxn>
                    <a:cxn ang="0">
                      <a:pos x="587" y="327"/>
                    </a:cxn>
                    <a:cxn ang="0">
                      <a:pos x="613" y="392"/>
                    </a:cxn>
                    <a:cxn ang="0">
                      <a:pos x="615" y="430"/>
                    </a:cxn>
                    <a:cxn ang="0">
                      <a:pos x="615" y="505"/>
                    </a:cxn>
                    <a:cxn ang="0">
                      <a:pos x="648" y="531"/>
                    </a:cxn>
                    <a:cxn ang="0">
                      <a:pos x="660" y="566"/>
                    </a:cxn>
                    <a:cxn ang="0">
                      <a:pos x="674" y="580"/>
                    </a:cxn>
                    <a:cxn ang="0">
                      <a:pos x="646" y="609"/>
                    </a:cxn>
                    <a:cxn ang="0">
                      <a:pos x="623" y="630"/>
                    </a:cxn>
                    <a:cxn ang="0">
                      <a:pos x="613" y="674"/>
                    </a:cxn>
                    <a:cxn ang="0">
                      <a:pos x="582" y="665"/>
                    </a:cxn>
                    <a:cxn ang="0">
                      <a:pos x="545" y="660"/>
                    </a:cxn>
                    <a:cxn ang="0">
                      <a:pos x="510" y="653"/>
                    </a:cxn>
                    <a:cxn ang="0">
                      <a:pos x="477" y="648"/>
                    </a:cxn>
                    <a:cxn ang="0">
                      <a:pos x="448" y="587"/>
                    </a:cxn>
                    <a:cxn ang="0">
                      <a:pos x="413" y="590"/>
                    </a:cxn>
                    <a:cxn ang="0">
                      <a:pos x="390" y="602"/>
                    </a:cxn>
                    <a:cxn ang="0">
                      <a:pos x="348" y="602"/>
                    </a:cxn>
                    <a:cxn ang="0">
                      <a:pos x="300" y="573"/>
                    </a:cxn>
                    <a:cxn ang="0">
                      <a:pos x="256" y="541"/>
                    </a:cxn>
                    <a:cxn ang="0">
                      <a:pos x="237" y="498"/>
                    </a:cxn>
                    <a:cxn ang="0">
                      <a:pos x="211" y="449"/>
                    </a:cxn>
                    <a:cxn ang="0">
                      <a:pos x="174" y="442"/>
                    </a:cxn>
                    <a:cxn ang="0">
                      <a:pos x="155" y="451"/>
                    </a:cxn>
                    <a:cxn ang="0">
                      <a:pos x="132" y="409"/>
                    </a:cxn>
                    <a:cxn ang="0">
                      <a:pos x="127" y="357"/>
                    </a:cxn>
                    <a:cxn ang="0">
                      <a:pos x="73" y="299"/>
                    </a:cxn>
                    <a:cxn ang="0">
                      <a:pos x="54" y="242"/>
                    </a:cxn>
                    <a:cxn ang="0">
                      <a:pos x="70" y="197"/>
                    </a:cxn>
                    <a:cxn ang="0">
                      <a:pos x="63" y="183"/>
                    </a:cxn>
                    <a:cxn ang="0">
                      <a:pos x="26" y="124"/>
                    </a:cxn>
                    <a:cxn ang="0">
                      <a:pos x="5" y="89"/>
                    </a:cxn>
                    <a:cxn ang="0">
                      <a:pos x="10" y="66"/>
                    </a:cxn>
                    <a:cxn ang="0">
                      <a:pos x="4" y="37"/>
                    </a:cxn>
                    <a:cxn ang="0">
                      <a:pos x="0" y="17"/>
                    </a:cxn>
                    <a:cxn ang="0">
                      <a:pos x="17" y="0"/>
                    </a:cxn>
                    <a:cxn ang="0">
                      <a:pos x="51" y="37"/>
                    </a:cxn>
                    <a:cxn ang="0">
                      <a:pos x="84" y="42"/>
                    </a:cxn>
                    <a:cxn ang="0">
                      <a:pos x="117" y="16"/>
                    </a:cxn>
                    <a:cxn ang="0">
                      <a:pos x="150" y="21"/>
                    </a:cxn>
                    <a:cxn ang="0">
                      <a:pos x="150" y="35"/>
                    </a:cxn>
                    <a:cxn ang="0">
                      <a:pos x="145" y="47"/>
                    </a:cxn>
                    <a:cxn ang="0">
                      <a:pos x="153" y="54"/>
                    </a:cxn>
                  </a:cxnLst>
                  <a:rect l="0" t="0" r="r" b="b"/>
                  <a:pathLst>
                    <a:path w="676" h="676">
                      <a:moveTo>
                        <a:pt x="169" y="64"/>
                      </a:moveTo>
                      <a:lnTo>
                        <a:pt x="169" y="64"/>
                      </a:lnTo>
                      <a:lnTo>
                        <a:pt x="172" y="85"/>
                      </a:lnTo>
                      <a:lnTo>
                        <a:pt x="174" y="94"/>
                      </a:lnTo>
                      <a:lnTo>
                        <a:pt x="176" y="99"/>
                      </a:lnTo>
                      <a:lnTo>
                        <a:pt x="179" y="103"/>
                      </a:lnTo>
                      <a:lnTo>
                        <a:pt x="183" y="106"/>
                      </a:lnTo>
                      <a:lnTo>
                        <a:pt x="192" y="110"/>
                      </a:lnTo>
                      <a:lnTo>
                        <a:pt x="207" y="110"/>
                      </a:lnTo>
                      <a:lnTo>
                        <a:pt x="212" y="111"/>
                      </a:lnTo>
                      <a:lnTo>
                        <a:pt x="216" y="115"/>
                      </a:lnTo>
                      <a:lnTo>
                        <a:pt x="218" y="118"/>
                      </a:lnTo>
                      <a:lnTo>
                        <a:pt x="218" y="118"/>
                      </a:lnTo>
                      <a:lnTo>
                        <a:pt x="223" y="127"/>
                      </a:lnTo>
                      <a:lnTo>
                        <a:pt x="232" y="134"/>
                      </a:lnTo>
                      <a:lnTo>
                        <a:pt x="240" y="141"/>
                      </a:lnTo>
                      <a:lnTo>
                        <a:pt x="251" y="144"/>
                      </a:lnTo>
                      <a:lnTo>
                        <a:pt x="259" y="148"/>
                      </a:lnTo>
                      <a:lnTo>
                        <a:pt x="270" y="151"/>
                      </a:lnTo>
                      <a:lnTo>
                        <a:pt x="277" y="151"/>
                      </a:lnTo>
                      <a:lnTo>
                        <a:pt x="282" y="151"/>
                      </a:lnTo>
                      <a:lnTo>
                        <a:pt x="282" y="151"/>
                      </a:lnTo>
                      <a:lnTo>
                        <a:pt x="315" y="141"/>
                      </a:lnTo>
                      <a:lnTo>
                        <a:pt x="334" y="138"/>
                      </a:lnTo>
                      <a:lnTo>
                        <a:pt x="345" y="136"/>
                      </a:lnTo>
                      <a:lnTo>
                        <a:pt x="345" y="136"/>
                      </a:lnTo>
                      <a:lnTo>
                        <a:pt x="345" y="136"/>
                      </a:lnTo>
                      <a:lnTo>
                        <a:pt x="343" y="138"/>
                      </a:lnTo>
                      <a:lnTo>
                        <a:pt x="340" y="139"/>
                      </a:lnTo>
                      <a:lnTo>
                        <a:pt x="338" y="141"/>
                      </a:lnTo>
                      <a:lnTo>
                        <a:pt x="338" y="141"/>
                      </a:lnTo>
                      <a:lnTo>
                        <a:pt x="347" y="143"/>
                      </a:lnTo>
                      <a:lnTo>
                        <a:pt x="347" y="143"/>
                      </a:lnTo>
                      <a:lnTo>
                        <a:pt x="350" y="143"/>
                      </a:lnTo>
                      <a:lnTo>
                        <a:pt x="352" y="139"/>
                      </a:lnTo>
                      <a:lnTo>
                        <a:pt x="352" y="138"/>
                      </a:lnTo>
                      <a:lnTo>
                        <a:pt x="352" y="132"/>
                      </a:lnTo>
                      <a:lnTo>
                        <a:pt x="347" y="115"/>
                      </a:lnTo>
                      <a:lnTo>
                        <a:pt x="347" y="115"/>
                      </a:lnTo>
                      <a:lnTo>
                        <a:pt x="362" y="115"/>
                      </a:lnTo>
                      <a:lnTo>
                        <a:pt x="371" y="111"/>
                      </a:lnTo>
                      <a:lnTo>
                        <a:pt x="374" y="110"/>
                      </a:lnTo>
                      <a:lnTo>
                        <a:pt x="376" y="106"/>
                      </a:lnTo>
                      <a:lnTo>
                        <a:pt x="376" y="103"/>
                      </a:lnTo>
                      <a:lnTo>
                        <a:pt x="378" y="97"/>
                      </a:lnTo>
                      <a:lnTo>
                        <a:pt x="383" y="92"/>
                      </a:lnTo>
                      <a:lnTo>
                        <a:pt x="392" y="85"/>
                      </a:lnTo>
                      <a:lnTo>
                        <a:pt x="392" y="85"/>
                      </a:lnTo>
                      <a:lnTo>
                        <a:pt x="399" y="82"/>
                      </a:lnTo>
                      <a:lnTo>
                        <a:pt x="407" y="82"/>
                      </a:lnTo>
                      <a:lnTo>
                        <a:pt x="420" y="82"/>
                      </a:lnTo>
                      <a:lnTo>
                        <a:pt x="427" y="84"/>
                      </a:lnTo>
                      <a:lnTo>
                        <a:pt x="430" y="82"/>
                      </a:lnTo>
                      <a:lnTo>
                        <a:pt x="432" y="78"/>
                      </a:lnTo>
                      <a:lnTo>
                        <a:pt x="432" y="78"/>
                      </a:lnTo>
                      <a:lnTo>
                        <a:pt x="435" y="73"/>
                      </a:lnTo>
                      <a:lnTo>
                        <a:pt x="441" y="71"/>
                      </a:lnTo>
                      <a:lnTo>
                        <a:pt x="446" y="71"/>
                      </a:lnTo>
                      <a:lnTo>
                        <a:pt x="451" y="75"/>
                      </a:lnTo>
                      <a:lnTo>
                        <a:pt x="451" y="75"/>
                      </a:lnTo>
                      <a:lnTo>
                        <a:pt x="454" y="75"/>
                      </a:lnTo>
                      <a:lnTo>
                        <a:pt x="456" y="75"/>
                      </a:lnTo>
                      <a:lnTo>
                        <a:pt x="460" y="73"/>
                      </a:lnTo>
                      <a:lnTo>
                        <a:pt x="460" y="71"/>
                      </a:lnTo>
                      <a:lnTo>
                        <a:pt x="461" y="71"/>
                      </a:lnTo>
                      <a:lnTo>
                        <a:pt x="463" y="73"/>
                      </a:lnTo>
                      <a:lnTo>
                        <a:pt x="465" y="77"/>
                      </a:lnTo>
                      <a:lnTo>
                        <a:pt x="465" y="77"/>
                      </a:lnTo>
                      <a:lnTo>
                        <a:pt x="468" y="82"/>
                      </a:lnTo>
                      <a:lnTo>
                        <a:pt x="472" y="85"/>
                      </a:lnTo>
                      <a:lnTo>
                        <a:pt x="482" y="89"/>
                      </a:lnTo>
                      <a:lnTo>
                        <a:pt x="493" y="92"/>
                      </a:lnTo>
                      <a:lnTo>
                        <a:pt x="496" y="94"/>
                      </a:lnTo>
                      <a:lnTo>
                        <a:pt x="498" y="97"/>
                      </a:lnTo>
                      <a:lnTo>
                        <a:pt x="498" y="97"/>
                      </a:lnTo>
                      <a:lnTo>
                        <a:pt x="500" y="103"/>
                      </a:lnTo>
                      <a:lnTo>
                        <a:pt x="503" y="101"/>
                      </a:lnTo>
                      <a:lnTo>
                        <a:pt x="512" y="99"/>
                      </a:lnTo>
                      <a:lnTo>
                        <a:pt x="517" y="99"/>
                      </a:lnTo>
                      <a:lnTo>
                        <a:pt x="524" y="101"/>
                      </a:lnTo>
                      <a:lnTo>
                        <a:pt x="524" y="101"/>
                      </a:lnTo>
                      <a:lnTo>
                        <a:pt x="531" y="104"/>
                      </a:lnTo>
                      <a:lnTo>
                        <a:pt x="536" y="106"/>
                      </a:lnTo>
                      <a:lnTo>
                        <a:pt x="538" y="110"/>
                      </a:lnTo>
                      <a:lnTo>
                        <a:pt x="538" y="113"/>
                      </a:lnTo>
                      <a:lnTo>
                        <a:pt x="538" y="117"/>
                      </a:lnTo>
                      <a:lnTo>
                        <a:pt x="540" y="118"/>
                      </a:lnTo>
                      <a:lnTo>
                        <a:pt x="543" y="122"/>
                      </a:lnTo>
                      <a:lnTo>
                        <a:pt x="550" y="125"/>
                      </a:lnTo>
                      <a:lnTo>
                        <a:pt x="550" y="125"/>
                      </a:lnTo>
                      <a:lnTo>
                        <a:pt x="557" y="129"/>
                      </a:lnTo>
                      <a:lnTo>
                        <a:pt x="562" y="132"/>
                      </a:lnTo>
                      <a:lnTo>
                        <a:pt x="568" y="139"/>
                      </a:lnTo>
                      <a:lnTo>
                        <a:pt x="571" y="146"/>
                      </a:lnTo>
                      <a:lnTo>
                        <a:pt x="573" y="148"/>
                      </a:lnTo>
                      <a:lnTo>
                        <a:pt x="578" y="148"/>
                      </a:lnTo>
                      <a:lnTo>
                        <a:pt x="578" y="148"/>
                      </a:lnTo>
                      <a:lnTo>
                        <a:pt x="594" y="148"/>
                      </a:lnTo>
                      <a:lnTo>
                        <a:pt x="599" y="148"/>
                      </a:lnTo>
                      <a:lnTo>
                        <a:pt x="602" y="151"/>
                      </a:lnTo>
                      <a:lnTo>
                        <a:pt x="602" y="151"/>
                      </a:lnTo>
                      <a:lnTo>
                        <a:pt x="602" y="155"/>
                      </a:lnTo>
                      <a:lnTo>
                        <a:pt x="601" y="158"/>
                      </a:lnTo>
                      <a:lnTo>
                        <a:pt x="601" y="160"/>
                      </a:lnTo>
                      <a:lnTo>
                        <a:pt x="601" y="165"/>
                      </a:lnTo>
                      <a:lnTo>
                        <a:pt x="601" y="165"/>
                      </a:lnTo>
                      <a:lnTo>
                        <a:pt x="602" y="171"/>
                      </a:lnTo>
                      <a:lnTo>
                        <a:pt x="601" y="176"/>
                      </a:lnTo>
                      <a:lnTo>
                        <a:pt x="599" y="179"/>
                      </a:lnTo>
                      <a:lnTo>
                        <a:pt x="602" y="181"/>
                      </a:lnTo>
                      <a:lnTo>
                        <a:pt x="602" y="181"/>
                      </a:lnTo>
                      <a:lnTo>
                        <a:pt x="604" y="185"/>
                      </a:lnTo>
                      <a:lnTo>
                        <a:pt x="604" y="188"/>
                      </a:lnTo>
                      <a:lnTo>
                        <a:pt x="602" y="193"/>
                      </a:lnTo>
                      <a:lnTo>
                        <a:pt x="606" y="197"/>
                      </a:lnTo>
                      <a:lnTo>
                        <a:pt x="606" y="197"/>
                      </a:lnTo>
                      <a:lnTo>
                        <a:pt x="601" y="218"/>
                      </a:lnTo>
                      <a:lnTo>
                        <a:pt x="596" y="232"/>
                      </a:lnTo>
                      <a:lnTo>
                        <a:pt x="590" y="240"/>
                      </a:lnTo>
                      <a:lnTo>
                        <a:pt x="585" y="247"/>
                      </a:lnTo>
                      <a:lnTo>
                        <a:pt x="582" y="254"/>
                      </a:lnTo>
                      <a:lnTo>
                        <a:pt x="578" y="259"/>
                      </a:lnTo>
                      <a:lnTo>
                        <a:pt x="576" y="266"/>
                      </a:lnTo>
                      <a:lnTo>
                        <a:pt x="578" y="277"/>
                      </a:lnTo>
                      <a:lnTo>
                        <a:pt x="578" y="277"/>
                      </a:lnTo>
                      <a:lnTo>
                        <a:pt x="587" y="327"/>
                      </a:lnTo>
                      <a:lnTo>
                        <a:pt x="589" y="352"/>
                      </a:lnTo>
                      <a:lnTo>
                        <a:pt x="589" y="376"/>
                      </a:lnTo>
                      <a:lnTo>
                        <a:pt x="589" y="376"/>
                      </a:lnTo>
                      <a:lnTo>
                        <a:pt x="589" y="385"/>
                      </a:lnTo>
                      <a:lnTo>
                        <a:pt x="590" y="388"/>
                      </a:lnTo>
                      <a:lnTo>
                        <a:pt x="594" y="390"/>
                      </a:lnTo>
                      <a:lnTo>
                        <a:pt x="599" y="392"/>
                      </a:lnTo>
                      <a:lnTo>
                        <a:pt x="606" y="392"/>
                      </a:lnTo>
                      <a:lnTo>
                        <a:pt x="613" y="392"/>
                      </a:lnTo>
                      <a:lnTo>
                        <a:pt x="618" y="392"/>
                      </a:lnTo>
                      <a:lnTo>
                        <a:pt x="622" y="393"/>
                      </a:lnTo>
                      <a:lnTo>
                        <a:pt x="623" y="395"/>
                      </a:lnTo>
                      <a:lnTo>
                        <a:pt x="625" y="399"/>
                      </a:lnTo>
                      <a:lnTo>
                        <a:pt x="625" y="404"/>
                      </a:lnTo>
                      <a:lnTo>
                        <a:pt x="625" y="404"/>
                      </a:lnTo>
                      <a:lnTo>
                        <a:pt x="625" y="414"/>
                      </a:lnTo>
                      <a:lnTo>
                        <a:pt x="620" y="423"/>
                      </a:lnTo>
                      <a:lnTo>
                        <a:pt x="615" y="430"/>
                      </a:lnTo>
                      <a:lnTo>
                        <a:pt x="608" y="437"/>
                      </a:lnTo>
                      <a:lnTo>
                        <a:pt x="596" y="449"/>
                      </a:lnTo>
                      <a:lnTo>
                        <a:pt x="592" y="454"/>
                      </a:lnTo>
                      <a:lnTo>
                        <a:pt x="590" y="461"/>
                      </a:lnTo>
                      <a:lnTo>
                        <a:pt x="590" y="461"/>
                      </a:lnTo>
                      <a:lnTo>
                        <a:pt x="597" y="470"/>
                      </a:lnTo>
                      <a:lnTo>
                        <a:pt x="604" y="480"/>
                      </a:lnTo>
                      <a:lnTo>
                        <a:pt x="609" y="491"/>
                      </a:lnTo>
                      <a:lnTo>
                        <a:pt x="615" y="505"/>
                      </a:lnTo>
                      <a:lnTo>
                        <a:pt x="615" y="505"/>
                      </a:lnTo>
                      <a:lnTo>
                        <a:pt x="618" y="512"/>
                      </a:lnTo>
                      <a:lnTo>
                        <a:pt x="623" y="517"/>
                      </a:lnTo>
                      <a:lnTo>
                        <a:pt x="627" y="521"/>
                      </a:lnTo>
                      <a:lnTo>
                        <a:pt x="632" y="522"/>
                      </a:lnTo>
                      <a:lnTo>
                        <a:pt x="641" y="524"/>
                      </a:lnTo>
                      <a:lnTo>
                        <a:pt x="644" y="528"/>
                      </a:lnTo>
                      <a:lnTo>
                        <a:pt x="648" y="531"/>
                      </a:lnTo>
                      <a:lnTo>
                        <a:pt x="648" y="531"/>
                      </a:lnTo>
                      <a:lnTo>
                        <a:pt x="650" y="533"/>
                      </a:lnTo>
                      <a:lnTo>
                        <a:pt x="651" y="534"/>
                      </a:lnTo>
                      <a:lnTo>
                        <a:pt x="655" y="533"/>
                      </a:lnTo>
                      <a:lnTo>
                        <a:pt x="656" y="533"/>
                      </a:lnTo>
                      <a:lnTo>
                        <a:pt x="656" y="538"/>
                      </a:lnTo>
                      <a:lnTo>
                        <a:pt x="656" y="538"/>
                      </a:lnTo>
                      <a:lnTo>
                        <a:pt x="658" y="547"/>
                      </a:lnTo>
                      <a:lnTo>
                        <a:pt x="660" y="555"/>
                      </a:lnTo>
                      <a:lnTo>
                        <a:pt x="660" y="566"/>
                      </a:lnTo>
                      <a:lnTo>
                        <a:pt x="658" y="573"/>
                      </a:lnTo>
                      <a:lnTo>
                        <a:pt x="658" y="573"/>
                      </a:lnTo>
                      <a:lnTo>
                        <a:pt x="656" y="576"/>
                      </a:lnTo>
                      <a:lnTo>
                        <a:pt x="658" y="578"/>
                      </a:lnTo>
                      <a:lnTo>
                        <a:pt x="663" y="580"/>
                      </a:lnTo>
                      <a:lnTo>
                        <a:pt x="669" y="578"/>
                      </a:lnTo>
                      <a:lnTo>
                        <a:pt x="672" y="580"/>
                      </a:lnTo>
                      <a:lnTo>
                        <a:pt x="674" y="580"/>
                      </a:lnTo>
                      <a:lnTo>
                        <a:pt x="674" y="580"/>
                      </a:lnTo>
                      <a:lnTo>
                        <a:pt x="676" y="585"/>
                      </a:lnTo>
                      <a:lnTo>
                        <a:pt x="674" y="588"/>
                      </a:lnTo>
                      <a:lnTo>
                        <a:pt x="672" y="595"/>
                      </a:lnTo>
                      <a:lnTo>
                        <a:pt x="672" y="601"/>
                      </a:lnTo>
                      <a:lnTo>
                        <a:pt x="672" y="601"/>
                      </a:lnTo>
                      <a:lnTo>
                        <a:pt x="670" y="604"/>
                      </a:lnTo>
                      <a:lnTo>
                        <a:pt x="667" y="606"/>
                      </a:lnTo>
                      <a:lnTo>
                        <a:pt x="656" y="608"/>
                      </a:lnTo>
                      <a:lnTo>
                        <a:pt x="646" y="609"/>
                      </a:lnTo>
                      <a:lnTo>
                        <a:pt x="643" y="611"/>
                      </a:lnTo>
                      <a:lnTo>
                        <a:pt x="641" y="615"/>
                      </a:lnTo>
                      <a:lnTo>
                        <a:pt x="641" y="615"/>
                      </a:lnTo>
                      <a:lnTo>
                        <a:pt x="641" y="616"/>
                      </a:lnTo>
                      <a:lnTo>
                        <a:pt x="639" y="618"/>
                      </a:lnTo>
                      <a:lnTo>
                        <a:pt x="634" y="620"/>
                      </a:lnTo>
                      <a:lnTo>
                        <a:pt x="627" y="623"/>
                      </a:lnTo>
                      <a:lnTo>
                        <a:pt x="625" y="625"/>
                      </a:lnTo>
                      <a:lnTo>
                        <a:pt x="623" y="630"/>
                      </a:lnTo>
                      <a:lnTo>
                        <a:pt x="623" y="630"/>
                      </a:lnTo>
                      <a:lnTo>
                        <a:pt x="620" y="641"/>
                      </a:lnTo>
                      <a:lnTo>
                        <a:pt x="620" y="651"/>
                      </a:lnTo>
                      <a:lnTo>
                        <a:pt x="618" y="660"/>
                      </a:lnTo>
                      <a:lnTo>
                        <a:pt x="616" y="669"/>
                      </a:lnTo>
                      <a:lnTo>
                        <a:pt x="616" y="669"/>
                      </a:lnTo>
                      <a:lnTo>
                        <a:pt x="615" y="669"/>
                      </a:lnTo>
                      <a:lnTo>
                        <a:pt x="613" y="670"/>
                      </a:lnTo>
                      <a:lnTo>
                        <a:pt x="613" y="674"/>
                      </a:lnTo>
                      <a:lnTo>
                        <a:pt x="611" y="676"/>
                      </a:lnTo>
                      <a:lnTo>
                        <a:pt x="609" y="676"/>
                      </a:lnTo>
                      <a:lnTo>
                        <a:pt x="606" y="674"/>
                      </a:lnTo>
                      <a:lnTo>
                        <a:pt x="606" y="674"/>
                      </a:lnTo>
                      <a:lnTo>
                        <a:pt x="597" y="670"/>
                      </a:lnTo>
                      <a:lnTo>
                        <a:pt x="590" y="670"/>
                      </a:lnTo>
                      <a:lnTo>
                        <a:pt x="585" y="669"/>
                      </a:lnTo>
                      <a:lnTo>
                        <a:pt x="582" y="665"/>
                      </a:lnTo>
                      <a:lnTo>
                        <a:pt x="582" y="665"/>
                      </a:lnTo>
                      <a:lnTo>
                        <a:pt x="578" y="660"/>
                      </a:lnTo>
                      <a:lnTo>
                        <a:pt x="576" y="660"/>
                      </a:lnTo>
                      <a:lnTo>
                        <a:pt x="575" y="662"/>
                      </a:lnTo>
                      <a:lnTo>
                        <a:pt x="575" y="665"/>
                      </a:lnTo>
                      <a:lnTo>
                        <a:pt x="575" y="665"/>
                      </a:lnTo>
                      <a:lnTo>
                        <a:pt x="575" y="667"/>
                      </a:lnTo>
                      <a:lnTo>
                        <a:pt x="571" y="667"/>
                      </a:lnTo>
                      <a:lnTo>
                        <a:pt x="559" y="663"/>
                      </a:lnTo>
                      <a:lnTo>
                        <a:pt x="545" y="660"/>
                      </a:lnTo>
                      <a:lnTo>
                        <a:pt x="540" y="660"/>
                      </a:lnTo>
                      <a:lnTo>
                        <a:pt x="535" y="662"/>
                      </a:lnTo>
                      <a:lnTo>
                        <a:pt x="535" y="662"/>
                      </a:lnTo>
                      <a:lnTo>
                        <a:pt x="531" y="662"/>
                      </a:lnTo>
                      <a:lnTo>
                        <a:pt x="529" y="662"/>
                      </a:lnTo>
                      <a:lnTo>
                        <a:pt x="524" y="660"/>
                      </a:lnTo>
                      <a:lnTo>
                        <a:pt x="519" y="656"/>
                      </a:lnTo>
                      <a:lnTo>
                        <a:pt x="515" y="655"/>
                      </a:lnTo>
                      <a:lnTo>
                        <a:pt x="510" y="653"/>
                      </a:lnTo>
                      <a:lnTo>
                        <a:pt x="510" y="653"/>
                      </a:lnTo>
                      <a:lnTo>
                        <a:pt x="501" y="653"/>
                      </a:lnTo>
                      <a:lnTo>
                        <a:pt x="498" y="655"/>
                      </a:lnTo>
                      <a:lnTo>
                        <a:pt x="495" y="655"/>
                      </a:lnTo>
                      <a:lnTo>
                        <a:pt x="491" y="653"/>
                      </a:lnTo>
                      <a:lnTo>
                        <a:pt x="491" y="653"/>
                      </a:lnTo>
                      <a:lnTo>
                        <a:pt x="489" y="651"/>
                      </a:lnTo>
                      <a:lnTo>
                        <a:pt x="484" y="649"/>
                      </a:lnTo>
                      <a:lnTo>
                        <a:pt x="477" y="648"/>
                      </a:lnTo>
                      <a:lnTo>
                        <a:pt x="468" y="646"/>
                      </a:lnTo>
                      <a:lnTo>
                        <a:pt x="465" y="644"/>
                      </a:lnTo>
                      <a:lnTo>
                        <a:pt x="463" y="641"/>
                      </a:lnTo>
                      <a:lnTo>
                        <a:pt x="463" y="641"/>
                      </a:lnTo>
                      <a:lnTo>
                        <a:pt x="461" y="627"/>
                      </a:lnTo>
                      <a:lnTo>
                        <a:pt x="458" y="609"/>
                      </a:lnTo>
                      <a:lnTo>
                        <a:pt x="456" y="601"/>
                      </a:lnTo>
                      <a:lnTo>
                        <a:pt x="453" y="592"/>
                      </a:lnTo>
                      <a:lnTo>
                        <a:pt x="448" y="587"/>
                      </a:lnTo>
                      <a:lnTo>
                        <a:pt x="441" y="581"/>
                      </a:lnTo>
                      <a:lnTo>
                        <a:pt x="441" y="581"/>
                      </a:lnTo>
                      <a:lnTo>
                        <a:pt x="435" y="581"/>
                      </a:lnTo>
                      <a:lnTo>
                        <a:pt x="430" y="581"/>
                      </a:lnTo>
                      <a:lnTo>
                        <a:pt x="427" y="581"/>
                      </a:lnTo>
                      <a:lnTo>
                        <a:pt x="423" y="583"/>
                      </a:lnTo>
                      <a:lnTo>
                        <a:pt x="420" y="588"/>
                      </a:lnTo>
                      <a:lnTo>
                        <a:pt x="416" y="590"/>
                      </a:lnTo>
                      <a:lnTo>
                        <a:pt x="413" y="590"/>
                      </a:lnTo>
                      <a:lnTo>
                        <a:pt x="413" y="590"/>
                      </a:lnTo>
                      <a:lnTo>
                        <a:pt x="409" y="592"/>
                      </a:lnTo>
                      <a:lnTo>
                        <a:pt x="407" y="592"/>
                      </a:lnTo>
                      <a:lnTo>
                        <a:pt x="406" y="595"/>
                      </a:lnTo>
                      <a:lnTo>
                        <a:pt x="404" y="599"/>
                      </a:lnTo>
                      <a:lnTo>
                        <a:pt x="399" y="601"/>
                      </a:lnTo>
                      <a:lnTo>
                        <a:pt x="399" y="601"/>
                      </a:lnTo>
                      <a:lnTo>
                        <a:pt x="394" y="601"/>
                      </a:lnTo>
                      <a:lnTo>
                        <a:pt x="390" y="602"/>
                      </a:lnTo>
                      <a:lnTo>
                        <a:pt x="383" y="609"/>
                      </a:lnTo>
                      <a:lnTo>
                        <a:pt x="378" y="611"/>
                      </a:lnTo>
                      <a:lnTo>
                        <a:pt x="374" y="613"/>
                      </a:lnTo>
                      <a:lnTo>
                        <a:pt x="371" y="611"/>
                      </a:lnTo>
                      <a:lnTo>
                        <a:pt x="366" y="608"/>
                      </a:lnTo>
                      <a:lnTo>
                        <a:pt x="366" y="608"/>
                      </a:lnTo>
                      <a:lnTo>
                        <a:pt x="362" y="604"/>
                      </a:lnTo>
                      <a:lnTo>
                        <a:pt x="357" y="602"/>
                      </a:lnTo>
                      <a:lnTo>
                        <a:pt x="348" y="602"/>
                      </a:lnTo>
                      <a:lnTo>
                        <a:pt x="343" y="602"/>
                      </a:lnTo>
                      <a:lnTo>
                        <a:pt x="338" y="601"/>
                      </a:lnTo>
                      <a:lnTo>
                        <a:pt x="331" y="597"/>
                      </a:lnTo>
                      <a:lnTo>
                        <a:pt x="324" y="590"/>
                      </a:lnTo>
                      <a:lnTo>
                        <a:pt x="324" y="590"/>
                      </a:lnTo>
                      <a:lnTo>
                        <a:pt x="319" y="587"/>
                      </a:lnTo>
                      <a:lnTo>
                        <a:pt x="310" y="581"/>
                      </a:lnTo>
                      <a:lnTo>
                        <a:pt x="303" y="576"/>
                      </a:lnTo>
                      <a:lnTo>
                        <a:pt x="300" y="573"/>
                      </a:lnTo>
                      <a:lnTo>
                        <a:pt x="300" y="571"/>
                      </a:lnTo>
                      <a:lnTo>
                        <a:pt x="300" y="571"/>
                      </a:lnTo>
                      <a:lnTo>
                        <a:pt x="300" y="568"/>
                      </a:lnTo>
                      <a:lnTo>
                        <a:pt x="296" y="564"/>
                      </a:lnTo>
                      <a:lnTo>
                        <a:pt x="284" y="559"/>
                      </a:lnTo>
                      <a:lnTo>
                        <a:pt x="268" y="552"/>
                      </a:lnTo>
                      <a:lnTo>
                        <a:pt x="261" y="547"/>
                      </a:lnTo>
                      <a:lnTo>
                        <a:pt x="256" y="541"/>
                      </a:lnTo>
                      <a:lnTo>
                        <a:pt x="256" y="541"/>
                      </a:lnTo>
                      <a:lnTo>
                        <a:pt x="251" y="534"/>
                      </a:lnTo>
                      <a:lnTo>
                        <a:pt x="249" y="531"/>
                      </a:lnTo>
                      <a:lnTo>
                        <a:pt x="247" y="524"/>
                      </a:lnTo>
                      <a:lnTo>
                        <a:pt x="247" y="517"/>
                      </a:lnTo>
                      <a:lnTo>
                        <a:pt x="246" y="514"/>
                      </a:lnTo>
                      <a:lnTo>
                        <a:pt x="242" y="508"/>
                      </a:lnTo>
                      <a:lnTo>
                        <a:pt x="242" y="508"/>
                      </a:lnTo>
                      <a:lnTo>
                        <a:pt x="239" y="503"/>
                      </a:lnTo>
                      <a:lnTo>
                        <a:pt x="237" y="498"/>
                      </a:lnTo>
                      <a:lnTo>
                        <a:pt x="233" y="489"/>
                      </a:lnTo>
                      <a:lnTo>
                        <a:pt x="230" y="479"/>
                      </a:lnTo>
                      <a:lnTo>
                        <a:pt x="226" y="475"/>
                      </a:lnTo>
                      <a:lnTo>
                        <a:pt x="223" y="470"/>
                      </a:lnTo>
                      <a:lnTo>
                        <a:pt x="223" y="470"/>
                      </a:lnTo>
                      <a:lnTo>
                        <a:pt x="218" y="465"/>
                      </a:lnTo>
                      <a:lnTo>
                        <a:pt x="216" y="460"/>
                      </a:lnTo>
                      <a:lnTo>
                        <a:pt x="212" y="451"/>
                      </a:lnTo>
                      <a:lnTo>
                        <a:pt x="211" y="449"/>
                      </a:lnTo>
                      <a:lnTo>
                        <a:pt x="209" y="447"/>
                      </a:lnTo>
                      <a:lnTo>
                        <a:pt x="207" y="447"/>
                      </a:lnTo>
                      <a:lnTo>
                        <a:pt x="202" y="451"/>
                      </a:lnTo>
                      <a:lnTo>
                        <a:pt x="202" y="451"/>
                      </a:lnTo>
                      <a:lnTo>
                        <a:pt x="197" y="453"/>
                      </a:lnTo>
                      <a:lnTo>
                        <a:pt x="192" y="453"/>
                      </a:lnTo>
                      <a:lnTo>
                        <a:pt x="186" y="449"/>
                      </a:lnTo>
                      <a:lnTo>
                        <a:pt x="181" y="446"/>
                      </a:lnTo>
                      <a:lnTo>
                        <a:pt x="174" y="442"/>
                      </a:lnTo>
                      <a:lnTo>
                        <a:pt x="172" y="442"/>
                      </a:lnTo>
                      <a:lnTo>
                        <a:pt x="171" y="446"/>
                      </a:lnTo>
                      <a:lnTo>
                        <a:pt x="171" y="446"/>
                      </a:lnTo>
                      <a:lnTo>
                        <a:pt x="169" y="451"/>
                      </a:lnTo>
                      <a:lnTo>
                        <a:pt x="167" y="454"/>
                      </a:lnTo>
                      <a:lnTo>
                        <a:pt x="164" y="454"/>
                      </a:lnTo>
                      <a:lnTo>
                        <a:pt x="157" y="458"/>
                      </a:lnTo>
                      <a:lnTo>
                        <a:pt x="157" y="458"/>
                      </a:lnTo>
                      <a:lnTo>
                        <a:pt x="155" y="451"/>
                      </a:lnTo>
                      <a:lnTo>
                        <a:pt x="153" y="446"/>
                      </a:lnTo>
                      <a:lnTo>
                        <a:pt x="150" y="442"/>
                      </a:lnTo>
                      <a:lnTo>
                        <a:pt x="145" y="439"/>
                      </a:lnTo>
                      <a:lnTo>
                        <a:pt x="145" y="439"/>
                      </a:lnTo>
                      <a:lnTo>
                        <a:pt x="143" y="435"/>
                      </a:lnTo>
                      <a:lnTo>
                        <a:pt x="141" y="433"/>
                      </a:lnTo>
                      <a:lnTo>
                        <a:pt x="139" y="427"/>
                      </a:lnTo>
                      <a:lnTo>
                        <a:pt x="136" y="418"/>
                      </a:lnTo>
                      <a:lnTo>
                        <a:pt x="132" y="409"/>
                      </a:lnTo>
                      <a:lnTo>
                        <a:pt x="132" y="409"/>
                      </a:lnTo>
                      <a:lnTo>
                        <a:pt x="129" y="406"/>
                      </a:lnTo>
                      <a:lnTo>
                        <a:pt x="129" y="400"/>
                      </a:lnTo>
                      <a:lnTo>
                        <a:pt x="131" y="388"/>
                      </a:lnTo>
                      <a:lnTo>
                        <a:pt x="131" y="381"/>
                      </a:lnTo>
                      <a:lnTo>
                        <a:pt x="132" y="373"/>
                      </a:lnTo>
                      <a:lnTo>
                        <a:pt x="131" y="366"/>
                      </a:lnTo>
                      <a:lnTo>
                        <a:pt x="127" y="357"/>
                      </a:lnTo>
                      <a:lnTo>
                        <a:pt x="127" y="357"/>
                      </a:lnTo>
                      <a:lnTo>
                        <a:pt x="122" y="350"/>
                      </a:lnTo>
                      <a:lnTo>
                        <a:pt x="113" y="343"/>
                      </a:lnTo>
                      <a:lnTo>
                        <a:pt x="98" y="333"/>
                      </a:lnTo>
                      <a:lnTo>
                        <a:pt x="91" y="327"/>
                      </a:lnTo>
                      <a:lnTo>
                        <a:pt x="84" y="320"/>
                      </a:lnTo>
                      <a:lnTo>
                        <a:pt x="78" y="315"/>
                      </a:lnTo>
                      <a:lnTo>
                        <a:pt x="75" y="306"/>
                      </a:lnTo>
                      <a:lnTo>
                        <a:pt x="75" y="306"/>
                      </a:lnTo>
                      <a:lnTo>
                        <a:pt x="73" y="299"/>
                      </a:lnTo>
                      <a:lnTo>
                        <a:pt x="70" y="294"/>
                      </a:lnTo>
                      <a:lnTo>
                        <a:pt x="59" y="285"/>
                      </a:lnTo>
                      <a:lnTo>
                        <a:pt x="56" y="282"/>
                      </a:lnTo>
                      <a:lnTo>
                        <a:pt x="52" y="277"/>
                      </a:lnTo>
                      <a:lnTo>
                        <a:pt x="49" y="270"/>
                      </a:lnTo>
                      <a:lnTo>
                        <a:pt x="49" y="259"/>
                      </a:lnTo>
                      <a:lnTo>
                        <a:pt x="49" y="259"/>
                      </a:lnTo>
                      <a:lnTo>
                        <a:pt x="51" y="251"/>
                      </a:lnTo>
                      <a:lnTo>
                        <a:pt x="54" y="242"/>
                      </a:lnTo>
                      <a:lnTo>
                        <a:pt x="59" y="237"/>
                      </a:lnTo>
                      <a:lnTo>
                        <a:pt x="64" y="232"/>
                      </a:lnTo>
                      <a:lnTo>
                        <a:pt x="70" y="226"/>
                      </a:lnTo>
                      <a:lnTo>
                        <a:pt x="73" y="221"/>
                      </a:lnTo>
                      <a:lnTo>
                        <a:pt x="73" y="214"/>
                      </a:lnTo>
                      <a:lnTo>
                        <a:pt x="71" y="207"/>
                      </a:lnTo>
                      <a:lnTo>
                        <a:pt x="71" y="207"/>
                      </a:lnTo>
                      <a:lnTo>
                        <a:pt x="70" y="202"/>
                      </a:lnTo>
                      <a:lnTo>
                        <a:pt x="70" y="197"/>
                      </a:lnTo>
                      <a:lnTo>
                        <a:pt x="71" y="195"/>
                      </a:lnTo>
                      <a:lnTo>
                        <a:pt x="75" y="193"/>
                      </a:lnTo>
                      <a:lnTo>
                        <a:pt x="80" y="191"/>
                      </a:lnTo>
                      <a:lnTo>
                        <a:pt x="82" y="190"/>
                      </a:lnTo>
                      <a:lnTo>
                        <a:pt x="80" y="188"/>
                      </a:lnTo>
                      <a:lnTo>
                        <a:pt x="80" y="188"/>
                      </a:lnTo>
                      <a:lnTo>
                        <a:pt x="78" y="185"/>
                      </a:lnTo>
                      <a:lnTo>
                        <a:pt x="75" y="185"/>
                      </a:lnTo>
                      <a:lnTo>
                        <a:pt x="63" y="183"/>
                      </a:lnTo>
                      <a:lnTo>
                        <a:pt x="56" y="183"/>
                      </a:lnTo>
                      <a:lnTo>
                        <a:pt x="51" y="181"/>
                      </a:lnTo>
                      <a:lnTo>
                        <a:pt x="47" y="178"/>
                      </a:lnTo>
                      <a:lnTo>
                        <a:pt x="45" y="172"/>
                      </a:lnTo>
                      <a:lnTo>
                        <a:pt x="45" y="172"/>
                      </a:lnTo>
                      <a:lnTo>
                        <a:pt x="42" y="164"/>
                      </a:lnTo>
                      <a:lnTo>
                        <a:pt x="38" y="153"/>
                      </a:lnTo>
                      <a:lnTo>
                        <a:pt x="31" y="141"/>
                      </a:lnTo>
                      <a:lnTo>
                        <a:pt x="26" y="124"/>
                      </a:lnTo>
                      <a:lnTo>
                        <a:pt x="26" y="124"/>
                      </a:lnTo>
                      <a:lnTo>
                        <a:pt x="24" y="117"/>
                      </a:lnTo>
                      <a:lnTo>
                        <a:pt x="21" y="111"/>
                      </a:lnTo>
                      <a:lnTo>
                        <a:pt x="19" y="108"/>
                      </a:lnTo>
                      <a:lnTo>
                        <a:pt x="21" y="97"/>
                      </a:lnTo>
                      <a:lnTo>
                        <a:pt x="21" y="97"/>
                      </a:lnTo>
                      <a:lnTo>
                        <a:pt x="17" y="96"/>
                      </a:lnTo>
                      <a:lnTo>
                        <a:pt x="14" y="92"/>
                      </a:lnTo>
                      <a:lnTo>
                        <a:pt x="5" y="89"/>
                      </a:lnTo>
                      <a:lnTo>
                        <a:pt x="5" y="89"/>
                      </a:lnTo>
                      <a:lnTo>
                        <a:pt x="7" y="84"/>
                      </a:lnTo>
                      <a:lnTo>
                        <a:pt x="10" y="80"/>
                      </a:lnTo>
                      <a:lnTo>
                        <a:pt x="14" y="75"/>
                      </a:lnTo>
                      <a:lnTo>
                        <a:pt x="16" y="70"/>
                      </a:lnTo>
                      <a:lnTo>
                        <a:pt x="16" y="70"/>
                      </a:lnTo>
                      <a:lnTo>
                        <a:pt x="14" y="66"/>
                      </a:lnTo>
                      <a:lnTo>
                        <a:pt x="12" y="66"/>
                      </a:lnTo>
                      <a:lnTo>
                        <a:pt x="10" y="66"/>
                      </a:lnTo>
                      <a:lnTo>
                        <a:pt x="9" y="64"/>
                      </a:lnTo>
                      <a:lnTo>
                        <a:pt x="9" y="64"/>
                      </a:lnTo>
                      <a:lnTo>
                        <a:pt x="9" y="54"/>
                      </a:lnTo>
                      <a:lnTo>
                        <a:pt x="9" y="45"/>
                      </a:lnTo>
                      <a:lnTo>
                        <a:pt x="9" y="45"/>
                      </a:lnTo>
                      <a:lnTo>
                        <a:pt x="9" y="43"/>
                      </a:lnTo>
                      <a:lnTo>
                        <a:pt x="7" y="42"/>
                      </a:lnTo>
                      <a:lnTo>
                        <a:pt x="5" y="40"/>
                      </a:lnTo>
                      <a:lnTo>
                        <a:pt x="4" y="37"/>
                      </a:lnTo>
                      <a:lnTo>
                        <a:pt x="4" y="37"/>
                      </a:lnTo>
                      <a:lnTo>
                        <a:pt x="5" y="31"/>
                      </a:lnTo>
                      <a:lnTo>
                        <a:pt x="5" y="31"/>
                      </a:lnTo>
                      <a:lnTo>
                        <a:pt x="5" y="28"/>
                      </a:lnTo>
                      <a:lnTo>
                        <a:pt x="4" y="24"/>
                      </a:lnTo>
                      <a:lnTo>
                        <a:pt x="0" y="23"/>
                      </a:lnTo>
                      <a:lnTo>
                        <a:pt x="0" y="19"/>
                      </a:lnTo>
                      <a:lnTo>
                        <a:pt x="0" y="19"/>
                      </a:lnTo>
                      <a:lnTo>
                        <a:pt x="0" y="17"/>
                      </a:lnTo>
                      <a:lnTo>
                        <a:pt x="2" y="17"/>
                      </a:lnTo>
                      <a:lnTo>
                        <a:pt x="5" y="17"/>
                      </a:lnTo>
                      <a:lnTo>
                        <a:pt x="10" y="17"/>
                      </a:lnTo>
                      <a:lnTo>
                        <a:pt x="14" y="16"/>
                      </a:lnTo>
                      <a:lnTo>
                        <a:pt x="14" y="16"/>
                      </a:lnTo>
                      <a:lnTo>
                        <a:pt x="14" y="10"/>
                      </a:lnTo>
                      <a:lnTo>
                        <a:pt x="16" y="3"/>
                      </a:lnTo>
                      <a:lnTo>
                        <a:pt x="16" y="2"/>
                      </a:lnTo>
                      <a:lnTo>
                        <a:pt x="17" y="0"/>
                      </a:lnTo>
                      <a:lnTo>
                        <a:pt x="19" y="0"/>
                      </a:lnTo>
                      <a:lnTo>
                        <a:pt x="23" y="3"/>
                      </a:lnTo>
                      <a:lnTo>
                        <a:pt x="23" y="3"/>
                      </a:lnTo>
                      <a:lnTo>
                        <a:pt x="24" y="3"/>
                      </a:lnTo>
                      <a:lnTo>
                        <a:pt x="26" y="3"/>
                      </a:lnTo>
                      <a:lnTo>
                        <a:pt x="26" y="3"/>
                      </a:lnTo>
                      <a:lnTo>
                        <a:pt x="33" y="16"/>
                      </a:lnTo>
                      <a:lnTo>
                        <a:pt x="40" y="26"/>
                      </a:lnTo>
                      <a:lnTo>
                        <a:pt x="51" y="37"/>
                      </a:lnTo>
                      <a:lnTo>
                        <a:pt x="56" y="40"/>
                      </a:lnTo>
                      <a:lnTo>
                        <a:pt x="64" y="42"/>
                      </a:lnTo>
                      <a:lnTo>
                        <a:pt x="64" y="42"/>
                      </a:lnTo>
                      <a:lnTo>
                        <a:pt x="71" y="43"/>
                      </a:lnTo>
                      <a:lnTo>
                        <a:pt x="75" y="43"/>
                      </a:lnTo>
                      <a:lnTo>
                        <a:pt x="75" y="43"/>
                      </a:lnTo>
                      <a:lnTo>
                        <a:pt x="80" y="42"/>
                      </a:lnTo>
                      <a:lnTo>
                        <a:pt x="80" y="42"/>
                      </a:lnTo>
                      <a:lnTo>
                        <a:pt x="84" y="42"/>
                      </a:lnTo>
                      <a:lnTo>
                        <a:pt x="87" y="43"/>
                      </a:lnTo>
                      <a:lnTo>
                        <a:pt x="87" y="43"/>
                      </a:lnTo>
                      <a:lnTo>
                        <a:pt x="89" y="42"/>
                      </a:lnTo>
                      <a:lnTo>
                        <a:pt x="89" y="42"/>
                      </a:lnTo>
                      <a:lnTo>
                        <a:pt x="92" y="35"/>
                      </a:lnTo>
                      <a:lnTo>
                        <a:pt x="98" y="30"/>
                      </a:lnTo>
                      <a:lnTo>
                        <a:pt x="105" y="28"/>
                      </a:lnTo>
                      <a:lnTo>
                        <a:pt x="105" y="28"/>
                      </a:lnTo>
                      <a:lnTo>
                        <a:pt x="117" y="16"/>
                      </a:lnTo>
                      <a:lnTo>
                        <a:pt x="117" y="16"/>
                      </a:lnTo>
                      <a:lnTo>
                        <a:pt x="127" y="7"/>
                      </a:lnTo>
                      <a:lnTo>
                        <a:pt x="132" y="3"/>
                      </a:lnTo>
                      <a:lnTo>
                        <a:pt x="138" y="3"/>
                      </a:lnTo>
                      <a:lnTo>
                        <a:pt x="138" y="3"/>
                      </a:lnTo>
                      <a:lnTo>
                        <a:pt x="146" y="10"/>
                      </a:lnTo>
                      <a:lnTo>
                        <a:pt x="152" y="19"/>
                      </a:lnTo>
                      <a:lnTo>
                        <a:pt x="152" y="19"/>
                      </a:lnTo>
                      <a:lnTo>
                        <a:pt x="150" y="21"/>
                      </a:lnTo>
                      <a:lnTo>
                        <a:pt x="146" y="21"/>
                      </a:lnTo>
                      <a:lnTo>
                        <a:pt x="145" y="23"/>
                      </a:lnTo>
                      <a:lnTo>
                        <a:pt x="143" y="24"/>
                      </a:lnTo>
                      <a:lnTo>
                        <a:pt x="143" y="24"/>
                      </a:lnTo>
                      <a:lnTo>
                        <a:pt x="145" y="28"/>
                      </a:lnTo>
                      <a:lnTo>
                        <a:pt x="146" y="30"/>
                      </a:lnTo>
                      <a:lnTo>
                        <a:pt x="150" y="31"/>
                      </a:lnTo>
                      <a:lnTo>
                        <a:pt x="150" y="35"/>
                      </a:lnTo>
                      <a:lnTo>
                        <a:pt x="150" y="35"/>
                      </a:lnTo>
                      <a:lnTo>
                        <a:pt x="148" y="38"/>
                      </a:lnTo>
                      <a:lnTo>
                        <a:pt x="145" y="38"/>
                      </a:lnTo>
                      <a:lnTo>
                        <a:pt x="141" y="40"/>
                      </a:lnTo>
                      <a:lnTo>
                        <a:pt x="139" y="42"/>
                      </a:lnTo>
                      <a:lnTo>
                        <a:pt x="139" y="42"/>
                      </a:lnTo>
                      <a:lnTo>
                        <a:pt x="139" y="43"/>
                      </a:lnTo>
                      <a:lnTo>
                        <a:pt x="141" y="45"/>
                      </a:lnTo>
                      <a:lnTo>
                        <a:pt x="141" y="45"/>
                      </a:lnTo>
                      <a:lnTo>
                        <a:pt x="145" y="47"/>
                      </a:lnTo>
                      <a:lnTo>
                        <a:pt x="148" y="50"/>
                      </a:lnTo>
                      <a:lnTo>
                        <a:pt x="148" y="50"/>
                      </a:lnTo>
                      <a:lnTo>
                        <a:pt x="148" y="54"/>
                      </a:lnTo>
                      <a:lnTo>
                        <a:pt x="150" y="56"/>
                      </a:lnTo>
                      <a:lnTo>
                        <a:pt x="150" y="56"/>
                      </a:lnTo>
                      <a:lnTo>
                        <a:pt x="150" y="56"/>
                      </a:lnTo>
                      <a:lnTo>
                        <a:pt x="152" y="56"/>
                      </a:lnTo>
                      <a:lnTo>
                        <a:pt x="153" y="54"/>
                      </a:lnTo>
                      <a:lnTo>
                        <a:pt x="153" y="54"/>
                      </a:lnTo>
                      <a:lnTo>
                        <a:pt x="157" y="56"/>
                      </a:lnTo>
                      <a:lnTo>
                        <a:pt x="157" y="57"/>
                      </a:lnTo>
                      <a:lnTo>
                        <a:pt x="158" y="63"/>
                      </a:lnTo>
                      <a:lnTo>
                        <a:pt x="158" y="64"/>
                      </a:lnTo>
                      <a:lnTo>
                        <a:pt x="160" y="66"/>
                      </a:lnTo>
                      <a:lnTo>
                        <a:pt x="164" y="66"/>
                      </a:lnTo>
                      <a:lnTo>
                        <a:pt x="169" y="64"/>
                      </a:lnTo>
                      <a:lnTo>
                        <a:pt x="169" y="6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3" name="Freeform 1742">
                  <a:extLst>
                    <a:ext uri="{FF2B5EF4-FFF2-40B4-BE49-F238E27FC236}">
                      <a16:creationId xmlns:a16="http://schemas.microsoft.com/office/drawing/2014/main" id="{0C0C5E87-0A6E-71A1-8166-3DEA6AE47F11}"/>
                    </a:ext>
                  </a:extLst>
                </p:cNvPr>
                <p:cNvSpPr>
                  <a:spLocks/>
                </p:cNvSpPr>
                <p:nvPr/>
              </p:nvSpPr>
              <p:spPr bwMode="auto">
                <a:xfrm>
                  <a:off x="8266650" y="3294230"/>
                  <a:ext cx="5287" cy="5285"/>
                </a:xfrm>
                <a:custGeom>
                  <a:avLst/>
                  <a:gdLst/>
                  <a:ahLst/>
                  <a:cxnLst>
                    <a:cxn ang="0">
                      <a:pos x="5" y="8"/>
                    </a:cxn>
                    <a:cxn ang="0">
                      <a:pos x="5" y="8"/>
                    </a:cxn>
                    <a:cxn ang="0">
                      <a:pos x="2" y="3"/>
                    </a:cxn>
                    <a:cxn ang="0">
                      <a:pos x="0" y="2"/>
                    </a:cxn>
                    <a:cxn ang="0">
                      <a:pos x="2" y="0"/>
                    </a:cxn>
                    <a:cxn ang="0">
                      <a:pos x="2" y="0"/>
                    </a:cxn>
                    <a:cxn ang="0">
                      <a:pos x="3" y="0"/>
                    </a:cxn>
                    <a:cxn ang="0">
                      <a:pos x="5" y="2"/>
                    </a:cxn>
                    <a:cxn ang="0">
                      <a:pos x="7" y="7"/>
                    </a:cxn>
                    <a:cxn ang="0">
                      <a:pos x="7" y="7"/>
                    </a:cxn>
                    <a:cxn ang="0">
                      <a:pos x="7" y="8"/>
                    </a:cxn>
                    <a:cxn ang="0">
                      <a:pos x="5" y="8"/>
                    </a:cxn>
                    <a:cxn ang="0">
                      <a:pos x="5" y="8"/>
                    </a:cxn>
                  </a:cxnLst>
                  <a:rect l="0" t="0" r="r" b="b"/>
                  <a:pathLst>
                    <a:path w="7" h="8">
                      <a:moveTo>
                        <a:pt x="5" y="8"/>
                      </a:moveTo>
                      <a:lnTo>
                        <a:pt x="5" y="8"/>
                      </a:lnTo>
                      <a:lnTo>
                        <a:pt x="2" y="3"/>
                      </a:lnTo>
                      <a:lnTo>
                        <a:pt x="0" y="2"/>
                      </a:lnTo>
                      <a:lnTo>
                        <a:pt x="2" y="0"/>
                      </a:lnTo>
                      <a:lnTo>
                        <a:pt x="2" y="0"/>
                      </a:lnTo>
                      <a:lnTo>
                        <a:pt x="3" y="0"/>
                      </a:lnTo>
                      <a:lnTo>
                        <a:pt x="5" y="2"/>
                      </a:lnTo>
                      <a:lnTo>
                        <a:pt x="7" y="7"/>
                      </a:lnTo>
                      <a:lnTo>
                        <a:pt x="7" y="7"/>
                      </a:lnTo>
                      <a:lnTo>
                        <a:pt x="7" y="8"/>
                      </a:lnTo>
                      <a:lnTo>
                        <a:pt x="5" y="8"/>
                      </a:lnTo>
                      <a:lnTo>
                        <a:pt x="5"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4" name="Freeform 1743">
                  <a:extLst>
                    <a:ext uri="{FF2B5EF4-FFF2-40B4-BE49-F238E27FC236}">
                      <a16:creationId xmlns:a16="http://schemas.microsoft.com/office/drawing/2014/main" id="{260E3B6D-9A46-4C28-05EB-A2B53AA1481E}"/>
                    </a:ext>
                  </a:extLst>
                </p:cNvPr>
                <p:cNvSpPr>
                  <a:spLocks/>
                </p:cNvSpPr>
                <p:nvPr/>
              </p:nvSpPr>
              <p:spPr bwMode="auto">
                <a:xfrm>
                  <a:off x="7461417" y="3814021"/>
                  <a:ext cx="232584" cy="510981"/>
                </a:xfrm>
                <a:custGeom>
                  <a:avLst/>
                  <a:gdLst/>
                  <a:ahLst/>
                  <a:cxnLst>
                    <a:cxn ang="0">
                      <a:pos x="179" y="360"/>
                    </a:cxn>
                    <a:cxn ang="0">
                      <a:pos x="151" y="334"/>
                    </a:cxn>
                    <a:cxn ang="0">
                      <a:pos x="130" y="336"/>
                    </a:cxn>
                    <a:cxn ang="0">
                      <a:pos x="123" y="301"/>
                    </a:cxn>
                    <a:cxn ang="0">
                      <a:pos x="90" y="306"/>
                    </a:cxn>
                    <a:cxn ang="0">
                      <a:pos x="87" y="369"/>
                    </a:cxn>
                    <a:cxn ang="0">
                      <a:pos x="69" y="418"/>
                    </a:cxn>
                    <a:cxn ang="0">
                      <a:pos x="71" y="484"/>
                    </a:cxn>
                    <a:cxn ang="0">
                      <a:pos x="94" y="514"/>
                    </a:cxn>
                    <a:cxn ang="0">
                      <a:pos x="110" y="559"/>
                    </a:cxn>
                    <a:cxn ang="0">
                      <a:pos x="139" y="580"/>
                    </a:cxn>
                    <a:cxn ang="0">
                      <a:pos x="158" y="628"/>
                    </a:cxn>
                    <a:cxn ang="0">
                      <a:pos x="134" y="634"/>
                    </a:cxn>
                    <a:cxn ang="0">
                      <a:pos x="132" y="609"/>
                    </a:cxn>
                    <a:cxn ang="0">
                      <a:pos x="120" y="604"/>
                    </a:cxn>
                    <a:cxn ang="0">
                      <a:pos x="101" y="588"/>
                    </a:cxn>
                    <a:cxn ang="0">
                      <a:pos x="83" y="587"/>
                    </a:cxn>
                    <a:cxn ang="0">
                      <a:pos x="69" y="566"/>
                    </a:cxn>
                    <a:cxn ang="0">
                      <a:pos x="40" y="519"/>
                    </a:cxn>
                    <a:cxn ang="0">
                      <a:pos x="29" y="515"/>
                    </a:cxn>
                    <a:cxn ang="0">
                      <a:pos x="36" y="474"/>
                    </a:cxn>
                    <a:cxn ang="0">
                      <a:pos x="47" y="437"/>
                    </a:cxn>
                    <a:cxn ang="0">
                      <a:pos x="69" y="392"/>
                    </a:cxn>
                    <a:cxn ang="0">
                      <a:pos x="78" y="364"/>
                    </a:cxn>
                    <a:cxn ang="0">
                      <a:pos x="68" y="331"/>
                    </a:cxn>
                    <a:cxn ang="0">
                      <a:pos x="57" y="279"/>
                    </a:cxn>
                    <a:cxn ang="0">
                      <a:pos x="29" y="226"/>
                    </a:cxn>
                    <a:cxn ang="0">
                      <a:pos x="40" y="221"/>
                    </a:cxn>
                    <a:cxn ang="0">
                      <a:pos x="50" y="186"/>
                    </a:cxn>
                    <a:cxn ang="0">
                      <a:pos x="45" y="181"/>
                    </a:cxn>
                    <a:cxn ang="0">
                      <a:pos x="35" y="146"/>
                    </a:cxn>
                    <a:cxn ang="0">
                      <a:pos x="9" y="94"/>
                    </a:cxn>
                    <a:cxn ang="0">
                      <a:pos x="0" y="84"/>
                    </a:cxn>
                    <a:cxn ang="0">
                      <a:pos x="10" y="68"/>
                    </a:cxn>
                    <a:cxn ang="0">
                      <a:pos x="14" y="45"/>
                    </a:cxn>
                    <a:cxn ang="0">
                      <a:pos x="33" y="33"/>
                    </a:cxn>
                    <a:cxn ang="0">
                      <a:pos x="61" y="14"/>
                    </a:cxn>
                    <a:cxn ang="0">
                      <a:pos x="75" y="10"/>
                    </a:cxn>
                    <a:cxn ang="0">
                      <a:pos x="90" y="0"/>
                    </a:cxn>
                    <a:cxn ang="0">
                      <a:pos x="108" y="7"/>
                    </a:cxn>
                    <a:cxn ang="0">
                      <a:pos x="111" y="40"/>
                    </a:cxn>
                    <a:cxn ang="0">
                      <a:pos x="136" y="42"/>
                    </a:cxn>
                    <a:cxn ang="0">
                      <a:pos x="130" y="85"/>
                    </a:cxn>
                    <a:cxn ang="0">
                      <a:pos x="125" y="124"/>
                    </a:cxn>
                    <a:cxn ang="0">
                      <a:pos x="158" y="103"/>
                    </a:cxn>
                    <a:cxn ang="0">
                      <a:pos x="179" y="106"/>
                    </a:cxn>
                    <a:cxn ang="0">
                      <a:pos x="204" y="94"/>
                    </a:cxn>
                    <a:cxn ang="0">
                      <a:pos x="230" y="92"/>
                    </a:cxn>
                    <a:cxn ang="0">
                      <a:pos x="258" y="129"/>
                    </a:cxn>
                    <a:cxn ang="0">
                      <a:pos x="268" y="185"/>
                    </a:cxn>
                    <a:cxn ang="0">
                      <a:pos x="287" y="211"/>
                    </a:cxn>
                    <a:cxn ang="0">
                      <a:pos x="275" y="266"/>
                    </a:cxn>
                    <a:cxn ang="0">
                      <a:pos x="254" y="259"/>
                    </a:cxn>
                    <a:cxn ang="0">
                      <a:pos x="191" y="277"/>
                    </a:cxn>
                    <a:cxn ang="0">
                      <a:pos x="176" y="298"/>
                    </a:cxn>
                    <a:cxn ang="0">
                      <a:pos x="181" y="336"/>
                    </a:cxn>
                    <a:cxn ang="0">
                      <a:pos x="195" y="378"/>
                    </a:cxn>
                  </a:cxnLst>
                  <a:rect l="0" t="0" r="r" b="b"/>
                  <a:pathLst>
                    <a:path w="289" h="635">
                      <a:moveTo>
                        <a:pt x="195" y="378"/>
                      </a:moveTo>
                      <a:lnTo>
                        <a:pt x="195" y="378"/>
                      </a:lnTo>
                      <a:lnTo>
                        <a:pt x="191" y="376"/>
                      </a:lnTo>
                      <a:lnTo>
                        <a:pt x="190" y="374"/>
                      </a:lnTo>
                      <a:lnTo>
                        <a:pt x="188" y="369"/>
                      </a:lnTo>
                      <a:lnTo>
                        <a:pt x="184" y="364"/>
                      </a:lnTo>
                      <a:lnTo>
                        <a:pt x="183" y="360"/>
                      </a:lnTo>
                      <a:lnTo>
                        <a:pt x="179" y="360"/>
                      </a:lnTo>
                      <a:lnTo>
                        <a:pt x="179" y="360"/>
                      </a:lnTo>
                      <a:lnTo>
                        <a:pt x="176" y="359"/>
                      </a:lnTo>
                      <a:lnTo>
                        <a:pt x="174" y="355"/>
                      </a:lnTo>
                      <a:lnTo>
                        <a:pt x="167" y="350"/>
                      </a:lnTo>
                      <a:lnTo>
                        <a:pt x="162" y="343"/>
                      </a:lnTo>
                      <a:lnTo>
                        <a:pt x="155" y="336"/>
                      </a:lnTo>
                      <a:lnTo>
                        <a:pt x="155" y="336"/>
                      </a:lnTo>
                      <a:lnTo>
                        <a:pt x="151" y="334"/>
                      </a:lnTo>
                      <a:lnTo>
                        <a:pt x="150" y="334"/>
                      </a:lnTo>
                      <a:lnTo>
                        <a:pt x="146" y="336"/>
                      </a:lnTo>
                      <a:lnTo>
                        <a:pt x="141" y="338"/>
                      </a:lnTo>
                      <a:lnTo>
                        <a:pt x="139" y="338"/>
                      </a:lnTo>
                      <a:lnTo>
                        <a:pt x="136" y="338"/>
                      </a:lnTo>
                      <a:lnTo>
                        <a:pt x="136" y="338"/>
                      </a:lnTo>
                      <a:lnTo>
                        <a:pt x="132" y="336"/>
                      </a:lnTo>
                      <a:lnTo>
                        <a:pt x="130" y="336"/>
                      </a:lnTo>
                      <a:lnTo>
                        <a:pt x="123" y="338"/>
                      </a:lnTo>
                      <a:lnTo>
                        <a:pt x="122" y="338"/>
                      </a:lnTo>
                      <a:lnTo>
                        <a:pt x="120" y="336"/>
                      </a:lnTo>
                      <a:lnTo>
                        <a:pt x="120" y="327"/>
                      </a:lnTo>
                      <a:lnTo>
                        <a:pt x="120" y="327"/>
                      </a:lnTo>
                      <a:lnTo>
                        <a:pt x="123" y="313"/>
                      </a:lnTo>
                      <a:lnTo>
                        <a:pt x="123" y="305"/>
                      </a:lnTo>
                      <a:lnTo>
                        <a:pt x="123" y="301"/>
                      </a:lnTo>
                      <a:lnTo>
                        <a:pt x="122" y="299"/>
                      </a:lnTo>
                      <a:lnTo>
                        <a:pt x="116" y="299"/>
                      </a:lnTo>
                      <a:lnTo>
                        <a:pt x="111" y="298"/>
                      </a:lnTo>
                      <a:lnTo>
                        <a:pt x="111" y="298"/>
                      </a:lnTo>
                      <a:lnTo>
                        <a:pt x="99" y="299"/>
                      </a:lnTo>
                      <a:lnTo>
                        <a:pt x="94" y="301"/>
                      </a:lnTo>
                      <a:lnTo>
                        <a:pt x="92" y="303"/>
                      </a:lnTo>
                      <a:lnTo>
                        <a:pt x="90" y="306"/>
                      </a:lnTo>
                      <a:lnTo>
                        <a:pt x="90" y="308"/>
                      </a:lnTo>
                      <a:lnTo>
                        <a:pt x="92" y="312"/>
                      </a:lnTo>
                      <a:lnTo>
                        <a:pt x="94" y="315"/>
                      </a:lnTo>
                      <a:lnTo>
                        <a:pt x="94" y="315"/>
                      </a:lnTo>
                      <a:lnTo>
                        <a:pt x="96" y="319"/>
                      </a:lnTo>
                      <a:lnTo>
                        <a:pt x="94" y="326"/>
                      </a:lnTo>
                      <a:lnTo>
                        <a:pt x="90" y="346"/>
                      </a:lnTo>
                      <a:lnTo>
                        <a:pt x="87" y="369"/>
                      </a:lnTo>
                      <a:lnTo>
                        <a:pt x="82" y="383"/>
                      </a:lnTo>
                      <a:lnTo>
                        <a:pt x="82" y="383"/>
                      </a:lnTo>
                      <a:lnTo>
                        <a:pt x="78" y="392"/>
                      </a:lnTo>
                      <a:lnTo>
                        <a:pt x="76" y="400"/>
                      </a:lnTo>
                      <a:lnTo>
                        <a:pt x="75" y="411"/>
                      </a:lnTo>
                      <a:lnTo>
                        <a:pt x="71" y="414"/>
                      </a:lnTo>
                      <a:lnTo>
                        <a:pt x="69" y="418"/>
                      </a:lnTo>
                      <a:lnTo>
                        <a:pt x="69" y="418"/>
                      </a:lnTo>
                      <a:lnTo>
                        <a:pt x="66" y="423"/>
                      </a:lnTo>
                      <a:lnTo>
                        <a:pt x="66" y="432"/>
                      </a:lnTo>
                      <a:lnTo>
                        <a:pt x="64" y="449"/>
                      </a:lnTo>
                      <a:lnTo>
                        <a:pt x="66" y="475"/>
                      </a:lnTo>
                      <a:lnTo>
                        <a:pt x="66" y="475"/>
                      </a:lnTo>
                      <a:lnTo>
                        <a:pt x="66" y="480"/>
                      </a:lnTo>
                      <a:lnTo>
                        <a:pt x="68" y="484"/>
                      </a:lnTo>
                      <a:lnTo>
                        <a:pt x="71" y="484"/>
                      </a:lnTo>
                      <a:lnTo>
                        <a:pt x="75" y="482"/>
                      </a:lnTo>
                      <a:lnTo>
                        <a:pt x="83" y="479"/>
                      </a:lnTo>
                      <a:lnTo>
                        <a:pt x="85" y="479"/>
                      </a:lnTo>
                      <a:lnTo>
                        <a:pt x="87" y="482"/>
                      </a:lnTo>
                      <a:lnTo>
                        <a:pt x="87" y="482"/>
                      </a:lnTo>
                      <a:lnTo>
                        <a:pt x="89" y="494"/>
                      </a:lnTo>
                      <a:lnTo>
                        <a:pt x="90" y="505"/>
                      </a:lnTo>
                      <a:lnTo>
                        <a:pt x="94" y="514"/>
                      </a:lnTo>
                      <a:lnTo>
                        <a:pt x="97" y="515"/>
                      </a:lnTo>
                      <a:lnTo>
                        <a:pt x="99" y="515"/>
                      </a:lnTo>
                      <a:lnTo>
                        <a:pt x="99" y="515"/>
                      </a:lnTo>
                      <a:lnTo>
                        <a:pt x="101" y="515"/>
                      </a:lnTo>
                      <a:lnTo>
                        <a:pt x="101" y="515"/>
                      </a:lnTo>
                      <a:lnTo>
                        <a:pt x="103" y="521"/>
                      </a:lnTo>
                      <a:lnTo>
                        <a:pt x="106" y="538"/>
                      </a:lnTo>
                      <a:lnTo>
                        <a:pt x="110" y="559"/>
                      </a:lnTo>
                      <a:lnTo>
                        <a:pt x="111" y="568"/>
                      </a:lnTo>
                      <a:lnTo>
                        <a:pt x="116" y="573"/>
                      </a:lnTo>
                      <a:lnTo>
                        <a:pt x="116" y="573"/>
                      </a:lnTo>
                      <a:lnTo>
                        <a:pt x="123" y="580"/>
                      </a:lnTo>
                      <a:lnTo>
                        <a:pt x="129" y="583"/>
                      </a:lnTo>
                      <a:lnTo>
                        <a:pt x="132" y="583"/>
                      </a:lnTo>
                      <a:lnTo>
                        <a:pt x="136" y="581"/>
                      </a:lnTo>
                      <a:lnTo>
                        <a:pt x="139" y="580"/>
                      </a:lnTo>
                      <a:lnTo>
                        <a:pt x="143" y="581"/>
                      </a:lnTo>
                      <a:lnTo>
                        <a:pt x="146" y="585"/>
                      </a:lnTo>
                      <a:lnTo>
                        <a:pt x="146" y="585"/>
                      </a:lnTo>
                      <a:lnTo>
                        <a:pt x="157" y="601"/>
                      </a:lnTo>
                      <a:lnTo>
                        <a:pt x="165" y="609"/>
                      </a:lnTo>
                      <a:lnTo>
                        <a:pt x="165" y="609"/>
                      </a:lnTo>
                      <a:lnTo>
                        <a:pt x="162" y="623"/>
                      </a:lnTo>
                      <a:lnTo>
                        <a:pt x="158" y="628"/>
                      </a:lnTo>
                      <a:lnTo>
                        <a:pt x="157" y="630"/>
                      </a:lnTo>
                      <a:lnTo>
                        <a:pt x="155" y="630"/>
                      </a:lnTo>
                      <a:lnTo>
                        <a:pt x="150" y="625"/>
                      </a:lnTo>
                      <a:lnTo>
                        <a:pt x="150" y="625"/>
                      </a:lnTo>
                      <a:lnTo>
                        <a:pt x="146" y="623"/>
                      </a:lnTo>
                      <a:lnTo>
                        <a:pt x="144" y="623"/>
                      </a:lnTo>
                      <a:lnTo>
                        <a:pt x="139" y="628"/>
                      </a:lnTo>
                      <a:lnTo>
                        <a:pt x="134" y="634"/>
                      </a:lnTo>
                      <a:lnTo>
                        <a:pt x="132" y="635"/>
                      </a:lnTo>
                      <a:lnTo>
                        <a:pt x="129" y="634"/>
                      </a:lnTo>
                      <a:lnTo>
                        <a:pt x="129" y="634"/>
                      </a:lnTo>
                      <a:lnTo>
                        <a:pt x="127" y="632"/>
                      </a:lnTo>
                      <a:lnTo>
                        <a:pt x="127" y="628"/>
                      </a:lnTo>
                      <a:lnTo>
                        <a:pt x="129" y="623"/>
                      </a:lnTo>
                      <a:lnTo>
                        <a:pt x="130" y="616"/>
                      </a:lnTo>
                      <a:lnTo>
                        <a:pt x="132" y="609"/>
                      </a:lnTo>
                      <a:lnTo>
                        <a:pt x="132" y="609"/>
                      </a:lnTo>
                      <a:lnTo>
                        <a:pt x="130" y="608"/>
                      </a:lnTo>
                      <a:lnTo>
                        <a:pt x="130" y="608"/>
                      </a:lnTo>
                      <a:lnTo>
                        <a:pt x="127" y="608"/>
                      </a:lnTo>
                      <a:lnTo>
                        <a:pt x="123" y="608"/>
                      </a:lnTo>
                      <a:lnTo>
                        <a:pt x="122" y="608"/>
                      </a:lnTo>
                      <a:lnTo>
                        <a:pt x="120" y="604"/>
                      </a:lnTo>
                      <a:lnTo>
                        <a:pt x="120" y="604"/>
                      </a:lnTo>
                      <a:lnTo>
                        <a:pt x="120" y="601"/>
                      </a:lnTo>
                      <a:lnTo>
                        <a:pt x="118" y="599"/>
                      </a:lnTo>
                      <a:lnTo>
                        <a:pt x="113" y="597"/>
                      </a:lnTo>
                      <a:lnTo>
                        <a:pt x="108" y="597"/>
                      </a:lnTo>
                      <a:lnTo>
                        <a:pt x="106" y="595"/>
                      </a:lnTo>
                      <a:lnTo>
                        <a:pt x="104" y="594"/>
                      </a:lnTo>
                      <a:lnTo>
                        <a:pt x="104" y="594"/>
                      </a:lnTo>
                      <a:lnTo>
                        <a:pt x="101" y="588"/>
                      </a:lnTo>
                      <a:lnTo>
                        <a:pt x="101" y="588"/>
                      </a:lnTo>
                      <a:lnTo>
                        <a:pt x="99" y="590"/>
                      </a:lnTo>
                      <a:lnTo>
                        <a:pt x="97" y="594"/>
                      </a:lnTo>
                      <a:lnTo>
                        <a:pt x="96" y="602"/>
                      </a:lnTo>
                      <a:lnTo>
                        <a:pt x="96" y="602"/>
                      </a:lnTo>
                      <a:lnTo>
                        <a:pt x="90" y="594"/>
                      </a:lnTo>
                      <a:lnTo>
                        <a:pt x="83" y="587"/>
                      </a:lnTo>
                      <a:lnTo>
                        <a:pt x="83" y="587"/>
                      </a:lnTo>
                      <a:lnTo>
                        <a:pt x="80" y="581"/>
                      </a:lnTo>
                      <a:lnTo>
                        <a:pt x="78" y="578"/>
                      </a:lnTo>
                      <a:lnTo>
                        <a:pt x="78" y="573"/>
                      </a:lnTo>
                      <a:lnTo>
                        <a:pt x="78" y="569"/>
                      </a:lnTo>
                      <a:lnTo>
                        <a:pt x="78" y="569"/>
                      </a:lnTo>
                      <a:lnTo>
                        <a:pt x="76" y="566"/>
                      </a:lnTo>
                      <a:lnTo>
                        <a:pt x="73" y="566"/>
                      </a:lnTo>
                      <a:lnTo>
                        <a:pt x="69" y="566"/>
                      </a:lnTo>
                      <a:lnTo>
                        <a:pt x="66" y="562"/>
                      </a:lnTo>
                      <a:lnTo>
                        <a:pt x="66" y="562"/>
                      </a:lnTo>
                      <a:lnTo>
                        <a:pt x="59" y="548"/>
                      </a:lnTo>
                      <a:lnTo>
                        <a:pt x="52" y="536"/>
                      </a:lnTo>
                      <a:lnTo>
                        <a:pt x="47" y="526"/>
                      </a:lnTo>
                      <a:lnTo>
                        <a:pt x="42" y="519"/>
                      </a:lnTo>
                      <a:lnTo>
                        <a:pt x="42" y="519"/>
                      </a:lnTo>
                      <a:lnTo>
                        <a:pt x="40" y="519"/>
                      </a:lnTo>
                      <a:lnTo>
                        <a:pt x="40" y="521"/>
                      </a:lnTo>
                      <a:lnTo>
                        <a:pt x="38" y="526"/>
                      </a:lnTo>
                      <a:lnTo>
                        <a:pt x="35" y="529"/>
                      </a:lnTo>
                      <a:lnTo>
                        <a:pt x="33" y="529"/>
                      </a:lnTo>
                      <a:lnTo>
                        <a:pt x="31" y="526"/>
                      </a:lnTo>
                      <a:lnTo>
                        <a:pt x="31" y="526"/>
                      </a:lnTo>
                      <a:lnTo>
                        <a:pt x="29" y="522"/>
                      </a:lnTo>
                      <a:lnTo>
                        <a:pt x="29" y="515"/>
                      </a:lnTo>
                      <a:lnTo>
                        <a:pt x="29" y="507"/>
                      </a:lnTo>
                      <a:lnTo>
                        <a:pt x="33" y="498"/>
                      </a:lnTo>
                      <a:lnTo>
                        <a:pt x="33" y="498"/>
                      </a:lnTo>
                      <a:lnTo>
                        <a:pt x="33" y="493"/>
                      </a:lnTo>
                      <a:lnTo>
                        <a:pt x="33" y="489"/>
                      </a:lnTo>
                      <a:lnTo>
                        <a:pt x="33" y="484"/>
                      </a:lnTo>
                      <a:lnTo>
                        <a:pt x="36" y="474"/>
                      </a:lnTo>
                      <a:lnTo>
                        <a:pt x="36" y="474"/>
                      </a:lnTo>
                      <a:lnTo>
                        <a:pt x="38" y="470"/>
                      </a:lnTo>
                      <a:lnTo>
                        <a:pt x="38" y="468"/>
                      </a:lnTo>
                      <a:lnTo>
                        <a:pt x="38" y="465"/>
                      </a:lnTo>
                      <a:lnTo>
                        <a:pt x="40" y="458"/>
                      </a:lnTo>
                      <a:lnTo>
                        <a:pt x="40" y="458"/>
                      </a:lnTo>
                      <a:lnTo>
                        <a:pt x="47" y="444"/>
                      </a:lnTo>
                      <a:lnTo>
                        <a:pt x="47" y="440"/>
                      </a:lnTo>
                      <a:lnTo>
                        <a:pt x="47" y="437"/>
                      </a:lnTo>
                      <a:lnTo>
                        <a:pt x="47" y="437"/>
                      </a:lnTo>
                      <a:lnTo>
                        <a:pt x="49" y="430"/>
                      </a:lnTo>
                      <a:lnTo>
                        <a:pt x="50" y="423"/>
                      </a:lnTo>
                      <a:lnTo>
                        <a:pt x="50" y="418"/>
                      </a:lnTo>
                      <a:lnTo>
                        <a:pt x="57" y="409"/>
                      </a:lnTo>
                      <a:lnTo>
                        <a:pt x="57" y="409"/>
                      </a:lnTo>
                      <a:lnTo>
                        <a:pt x="66" y="399"/>
                      </a:lnTo>
                      <a:lnTo>
                        <a:pt x="69" y="392"/>
                      </a:lnTo>
                      <a:lnTo>
                        <a:pt x="71" y="386"/>
                      </a:lnTo>
                      <a:lnTo>
                        <a:pt x="76" y="380"/>
                      </a:lnTo>
                      <a:lnTo>
                        <a:pt x="76" y="380"/>
                      </a:lnTo>
                      <a:lnTo>
                        <a:pt x="80" y="374"/>
                      </a:lnTo>
                      <a:lnTo>
                        <a:pt x="80" y="373"/>
                      </a:lnTo>
                      <a:lnTo>
                        <a:pt x="78" y="369"/>
                      </a:lnTo>
                      <a:lnTo>
                        <a:pt x="78" y="364"/>
                      </a:lnTo>
                      <a:lnTo>
                        <a:pt x="78" y="364"/>
                      </a:lnTo>
                      <a:lnTo>
                        <a:pt x="76" y="360"/>
                      </a:lnTo>
                      <a:lnTo>
                        <a:pt x="76" y="359"/>
                      </a:lnTo>
                      <a:lnTo>
                        <a:pt x="73" y="359"/>
                      </a:lnTo>
                      <a:lnTo>
                        <a:pt x="73" y="355"/>
                      </a:lnTo>
                      <a:lnTo>
                        <a:pt x="73" y="355"/>
                      </a:lnTo>
                      <a:lnTo>
                        <a:pt x="71" y="350"/>
                      </a:lnTo>
                      <a:lnTo>
                        <a:pt x="71" y="343"/>
                      </a:lnTo>
                      <a:lnTo>
                        <a:pt x="68" y="331"/>
                      </a:lnTo>
                      <a:lnTo>
                        <a:pt x="59" y="317"/>
                      </a:lnTo>
                      <a:lnTo>
                        <a:pt x="59" y="317"/>
                      </a:lnTo>
                      <a:lnTo>
                        <a:pt x="63" y="310"/>
                      </a:lnTo>
                      <a:lnTo>
                        <a:pt x="64" y="303"/>
                      </a:lnTo>
                      <a:lnTo>
                        <a:pt x="64" y="298"/>
                      </a:lnTo>
                      <a:lnTo>
                        <a:pt x="63" y="291"/>
                      </a:lnTo>
                      <a:lnTo>
                        <a:pt x="61" y="285"/>
                      </a:lnTo>
                      <a:lnTo>
                        <a:pt x="57" y="279"/>
                      </a:lnTo>
                      <a:lnTo>
                        <a:pt x="45" y="265"/>
                      </a:lnTo>
                      <a:lnTo>
                        <a:pt x="45" y="265"/>
                      </a:lnTo>
                      <a:lnTo>
                        <a:pt x="38" y="258"/>
                      </a:lnTo>
                      <a:lnTo>
                        <a:pt x="35" y="251"/>
                      </a:lnTo>
                      <a:lnTo>
                        <a:pt x="31" y="242"/>
                      </a:lnTo>
                      <a:lnTo>
                        <a:pt x="29" y="237"/>
                      </a:lnTo>
                      <a:lnTo>
                        <a:pt x="29" y="230"/>
                      </a:lnTo>
                      <a:lnTo>
                        <a:pt x="29" y="226"/>
                      </a:lnTo>
                      <a:lnTo>
                        <a:pt x="31" y="225"/>
                      </a:lnTo>
                      <a:lnTo>
                        <a:pt x="33" y="225"/>
                      </a:lnTo>
                      <a:lnTo>
                        <a:pt x="33" y="225"/>
                      </a:lnTo>
                      <a:lnTo>
                        <a:pt x="36" y="225"/>
                      </a:lnTo>
                      <a:lnTo>
                        <a:pt x="36" y="223"/>
                      </a:lnTo>
                      <a:lnTo>
                        <a:pt x="36" y="221"/>
                      </a:lnTo>
                      <a:lnTo>
                        <a:pt x="40" y="221"/>
                      </a:lnTo>
                      <a:lnTo>
                        <a:pt x="40" y="221"/>
                      </a:lnTo>
                      <a:lnTo>
                        <a:pt x="42" y="219"/>
                      </a:lnTo>
                      <a:lnTo>
                        <a:pt x="43" y="218"/>
                      </a:lnTo>
                      <a:lnTo>
                        <a:pt x="42" y="207"/>
                      </a:lnTo>
                      <a:lnTo>
                        <a:pt x="42" y="195"/>
                      </a:lnTo>
                      <a:lnTo>
                        <a:pt x="43" y="191"/>
                      </a:lnTo>
                      <a:lnTo>
                        <a:pt x="47" y="188"/>
                      </a:lnTo>
                      <a:lnTo>
                        <a:pt x="47" y="188"/>
                      </a:lnTo>
                      <a:lnTo>
                        <a:pt x="50" y="186"/>
                      </a:lnTo>
                      <a:lnTo>
                        <a:pt x="52" y="183"/>
                      </a:lnTo>
                      <a:lnTo>
                        <a:pt x="54" y="176"/>
                      </a:lnTo>
                      <a:lnTo>
                        <a:pt x="52" y="174"/>
                      </a:lnTo>
                      <a:lnTo>
                        <a:pt x="52" y="174"/>
                      </a:lnTo>
                      <a:lnTo>
                        <a:pt x="49" y="174"/>
                      </a:lnTo>
                      <a:lnTo>
                        <a:pt x="47" y="179"/>
                      </a:lnTo>
                      <a:lnTo>
                        <a:pt x="47" y="179"/>
                      </a:lnTo>
                      <a:lnTo>
                        <a:pt x="45" y="181"/>
                      </a:lnTo>
                      <a:lnTo>
                        <a:pt x="45" y="181"/>
                      </a:lnTo>
                      <a:lnTo>
                        <a:pt x="42" y="176"/>
                      </a:lnTo>
                      <a:lnTo>
                        <a:pt x="40" y="167"/>
                      </a:lnTo>
                      <a:lnTo>
                        <a:pt x="38" y="157"/>
                      </a:lnTo>
                      <a:lnTo>
                        <a:pt x="38" y="157"/>
                      </a:lnTo>
                      <a:lnTo>
                        <a:pt x="38" y="151"/>
                      </a:lnTo>
                      <a:lnTo>
                        <a:pt x="38" y="148"/>
                      </a:lnTo>
                      <a:lnTo>
                        <a:pt x="35" y="146"/>
                      </a:lnTo>
                      <a:lnTo>
                        <a:pt x="29" y="141"/>
                      </a:lnTo>
                      <a:lnTo>
                        <a:pt x="29" y="141"/>
                      </a:lnTo>
                      <a:lnTo>
                        <a:pt x="22" y="132"/>
                      </a:lnTo>
                      <a:lnTo>
                        <a:pt x="17" y="124"/>
                      </a:lnTo>
                      <a:lnTo>
                        <a:pt x="12" y="113"/>
                      </a:lnTo>
                      <a:lnTo>
                        <a:pt x="10" y="101"/>
                      </a:lnTo>
                      <a:lnTo>
                        <a:pt x="10" y="101"/>
                      </a:lnTo>
                      <a:lnTo>
                        <a:pt x="9" y="94"/>
                      </a:lnTo>
                      <a:lnTo>
                        <a:pt x="9" y="94"/>
                      </a:lnTo>
                      <a:lnTo>
                        <a:pt x="7" y="94"/>
                      </a:lnTo>
                      <a:lnTo>
                        <a:pt x="5" y="94"/>
                      </a:lnTo>
                      <a:lnTo>
                        <a:pt x="3" y="94"/>
                      </a:lnTo>
                      <a:lnTo>
                        <a:pt x="2" y="92"/>
                      </a:lnTo>
                      <a:lnTo>
                        <a:pt x="0" y="87"/>
                      </a:lnTo>
                      <a:lnTo>
                        <a:pt x="0" y="87"/>
                      </a:lnTo>
                      <a:lnTo>
                        <a:pt x="0" y="84"/>
                      </a:lnTo>
                      <a:lnTo>
                        <a:pt x="2" y="82"/>
                      </a:lnTo>
                      <a:lnTo>
                        <a:pt x="7" y="82"/>
                      </a:lnTo>
                      <a:lnTo>
                        <a:pt x="10" y="82"/>
                      </a:lnTo>
                      <a:lnTo>
                        <a:pt x="12" y="82"/>
                      </a:lnTo>
                      <a:lnTo>
                        <a:pt x="14" y="78"/>
                      </a:lnTo>
                      <a:lnTo>
                        <a:pt x="12" y="73"/>
                      </a:lnTo>
                      <a:lnTo>
                        <a:pt x="12" y="73"/>
                      </a:lnTo>
                      <a:lnTo>
                        <a:pt x="10" y="68"/>
                      </a:lnTo>
                      <a:lnTo>
                        <a:pt x="10" y="64"/>
                      </a:lnTo>
                      <a:lnTo>
                        <a:pt x="12" y="63"/>
                      </a:lnTo>
                      <a:lnTo>
                        <a:pt x="14" y="61"/>
                      </a:lnTo>
                      <a:lnTo>
                        <a:pt x="17" y="57"/>
                      </a:lnTo>
                      <a:lnTo>
                        <a:pt x="17" y="56"/>
                      </a:lnTo>
                      <a:lnTo>
                        <a:pt x="16" y="52"/>
                      </a:lnTo>
                      <a:lnTo>
                        <a:pt x="16" y="52"/>
                      </a:lnTo>
                      <a:lnTo>
                        <a:pt x="14" y="45"/>
                      </a:lnTo>
                      <a:lnTo>
                        <a:pt x="16" y="42"/>
                      </a:lnTo>
                      <a:lnTo>
                        <a:pt x="19" y="38"/>
                      </a:lnTo>
                      <a:lnTo>
                        <a:pt x="22" y="31"/>
                      </a:lnTo>
                      <a:lnTo>
                        <a:pt x="22" y="31"/>
                      </a:lnTo>
                      <a:lnTo>
                        <a:pt x="24" y="28"/>
                      </a:lnTo>
                      <a:lnTo>
                        <a:pt x="28" y="30"/>
                      </a:lnTo>
                      <a:lnTo>
                        <a:pt x="31" y="33"/>
                      </a:lnTo>
                      <a:lnTo>
                        <a:pt x="33" y="33"/>
                      </a:lnTo>
                      <a:lnTo>
                        <a:pt x="36" y="33"/>
                      </a:lnTo>
                      <a:lnTo>
                        <a:pt x="36" y="33"/>
                      </a:lnTo>
                      <a:lnTo>
                        <a:pt x="47" y="30"/>
                      </a:lnTo>
                      <a:lnTo>
                        <a:pt x="52" y="28"/>
                      </a:lnTo>
                      <a:lnTo>
                        <a:pt x="56" y="28"/>
                      </a:lnTo>
                      <a:lnTo>
                        <a:pt x="57" y="23"/>
                      </a:lnTo>
                      <a:lnTo>
                        <a:pt x="57" y="23"/>
                      </a:lnTo>
                      <a:lnTo>
                        <a:pt x="61" y="14"/>
                      </a:lnTo>
                      <a:lnTo>
                        <a:pt x="63" y="12"/>
                      </a:lnTo>
                      <a:lnTo>
                        <a:pt x="64" y="14"/>
                      </a:lnTo>
                      <a:lnTo>
                        <a:pt x="68" y="16"/>
                      </a:lnTo>
                      <a:lnTo>
                        <a:pt x="69" y="16"/>
                      </a:lnTo>
                      <a:lnTo>
                        <a:pt x="71" y="14"/>
                      </a:lnTo>
                      <a:lnTo>
                        <a:pt x="71" y="14"/>
                      </a:lnTo>
                      <a:lnTo>
                        <a:pt x="73" y="14"/>
                      </a:lnTo>
                      <a:lnTo>
                        <a:pt x="75" y="10"/>
                      </a:lnTo>
                      <a:lnTo>
                        <a:pt x="73" y="7"/>
                      </a:lnTo>
                      <a:lnTo>
                        <a:pt x="73" y="3"/>
                      </a:lnTo>
                      <a:lnTo>
                        <a:pt x="75" y="3"/>
                      </a:lnTo>
                      <a:lnTo>
                        <a:pt x="78" y="3"/>
                      </a:lnTo>
                      <a:lnTo>
                        <a:pt x="78" y="3"/>
                      </a:lnTo>
                      <a:lnTo>
                        <a:pt x="85" y="3"/>
                      </a:lnTo>
                      <a:lnTo>
                        <a:pt x="87" y="2"/>
                      </a:lnTo>
                      <a:lnTo>
                        <a:pt x="90" y="0"/>
                      </a:lnTo>
                      <a:lnTo>
                        <a:pt x="96" y="2"/>
                      </a:lnTo>
                      <a:lnTo>
                        <a:pt x="96" y="2"/>
                      </a:lnTo>
                      <a:lnTo>
                        <a:pt x="96" y="7"/>
                      </a:lnTo>
                      <a:lnTo>
                        <a:pt x="99" y="5"/>
                      </a:lnTo>
                      <a:lnTo>
                        <a:pt x="103" y="3"/>
                      </a:lnTo>
                      <a:lnTo>
                        <a:pt x="104" y="3"/>
                      </a:lnTo>
                      <a:lnTo>
                        <a:pt x="108" y="7"/>
                      </a:lnTo>
                      <a:lnTo>
                        <a:pt x="108" y="7"/>
                      </a:lnTo>
                      <a:lnTo>
                        <a:pt x="111" y="10"/>
                      </a:lnTo>
                      <a:lnTo>
                        <a:pt x="111" y="16"/>
                      </a:lnTo>
                      <a:lnTo>
                        <a:pt x="108" y="28"/>
                      </a:lnTo>
                      <a:lnTo>
                        <a:pt x="106" y="31"/>
                      </a:lnTo>
                      <a:lnTo>
                        <a:pt x="106" y="37"/>
                      </a:lnTo>
                      <a:lnTo>
                        <a:pt x="108" y="38"/>
                      </a:lnTo>
                      <a:lnTo>
                        <a:pt x="111" y="40"/>
                      </a:lnTo>
                      <a:lnTo>
                        <a:pt x="111" y="40"/>
                      </a:lnTo>
                      <a:lnTo>
                        <a:pt x="120" y="40"/>
                      </a:lnTo>
                      <a:lnTo>
                        <a:pt x="122" y="37"/>
                      </a:lnTo>
                      <a:lnTo>
                        <a:pt x="125" y="35"/>
                      </a:lnTo>
                      <a:lnTo>
                        <a:pt x="130" y="35"/>
                      </a:lnTo>
                      <a:lnTo>
                        <a:pt x="130" y="35"/>
                      </a:lnTo>
                      <a:lnTo>
                        <a:pt x="134" y="37"/>
                      </a:lnTo>
                      <a:lnTo>
                        <a:pt x="136" y="38"/>
                      </a:lnTo>
                      <a:lnTo>
                        <a:pt x="136" y="42"/>
                      </a:lnTo>
                      <a:lnTo>
                        <a:pt x="134" y="49"/>
                      </a:lnTo>
                      <a:lnTo>
                        <a:pt x="136" y="52"/>
                      </a:lnTo>
                      <a:lnTo>
                        <a:pt x="137" y="56"/>
                      </a:lnTo>
                      <a:lnTo>
                        <a:pt x="137" y="56"/>
                      </a:lnTo>
                      <a:lnTo>
                        <a:pt x="139" y="61"/>
                      </a:lnTo>
                      <a:lnTo>
                        <a:pt x="139" y="64"/>
                      </a:lnTo>
                      <a:lnTo>
                        <a:pt x="134" y="77"/>
                      </a:lnTo>
                      <a:lnTo>
                        <a:pt x="130" y="85"/>
                      </a:lnTo>
                      <a:lnTo>
                        <a:pt x="129" y="89"/>
                      </a:lnTo>
                      <a:lnTo>
                        <a:pt x="130" y="90"/>
                      </a:lnTo>
                      <a:lnTo>
                        <a:pt x="130" y="90"/>
                      </a:lnTo>
                      <a:lnTo>
                        <a:pt x="134" y="94"/>
                      </a:lnTo>
                      <a:lnTo>
                        <a:pt x="134" y="99"/>
                      </a:lnTo>
                      <a:lnTo>
                        <a:pt x="130" y="110"/>
                      </a:lnTo>
                      <a:lnTo>
                        <a:pt x="125" y="120"/>
                      </a:lnTo>
                      <a:lnTo>
                        <a:pt x="125" y="124"/>
                      </a:lnTo>
                      <a:lnTo>
                        <a:pt x="125" y="125"/>
                      </a:lnTo>
                      <a:lnTo>
                        <a:pt x="125" y="125"/>
                      </a:lnTo>
                      <a:lnTo>
                        <a:pt x="130" y="127"/>
                      </a:lnTo>
                      <a:lnTo>
                        <a:pt x="134" y="127"/>
                      </a:lnTo>
                      <a:lnTo>
                        <a:pt x="141" y="122"/>
                      </a:lnTo>
                      <a:lnTo>
                        <a:pt x="151" y="108"/>
                      </a:lnTo>
                      <a:lnTo>
                        <a:pt x="151" y="108"/>
                      </a:lnTo>
                      <a:lnTo>
                        <a:pt x="158" y="103"/>
                      </a:lnTo>
                      <a:lnTo>
                        <a:pt x="162" y="99"/>
                      </a:lnTo>
                      <a:lnTo>
                        <a:pt x="165" y="97"/>
                      </a:lnTo>
                      <a:lnTo>
                        <a:pt x="169" y="99"/>
                      </a:lnTo>
                      <a:lnTo>
                        <a:pt x="172" y="103"/>
                      </a:lnTo>
                      <a:lnTo>
                        <a:pt x="174" y="106"/>
                      </a:lnTo>
                      <a:lnTo>
                        <a:pt x="177" y="106"/>
                      </a:lnTo>
                      <a:lnTo>
                        <a:pt x="177" y="106"/>
                      </a:lnTo>
                      <a:lnTo>
                        <a:pt x="179" y="106"/>
                      </a:lnTo>
                      <a:lnTo>
                        <a:pt x="181" y="108"/>
                      </a:lnTo>
                      <a:lnTo>
                        <a:pt x="183" y="111"/>
                      </a:lnTo>
                      <a:lnTo>
                        <a:pt x="183" y="113"/>
                      </a:lnTo>
                      <a:lnTo>
                        <a:pt x="188" y="111"/>
                      </a:lnTo>
                      <a:lnTo>
                        <a:pt x="188" y="111"/>
                      </a:lnTo>
                      <a:lnTo>
                        <a:pt x="193" y="108"/>
                      </a:lnTo>
                      <a:lnTo>
                        <a:pt x="198" y="103"/>
                      </a:lnTo>
                      <a:lnTo>
                        <a:pt x="204" y="94"/>
                      </a:lnTo>
                      <a:lnTo>
                        <a:pt x="205" y="90"/>
                      </a:lnTo>
                      <a:lnTo>
                        <a:pt x="209" y="89"/>
                      </a:lnTo>
                      <a:lnTo>
                        <a:pt x="212" y="89"/>
                      </a:lnTo>
                      <a:lnTo>
                        <a:pt x="216" y="89"/>
                      </a:lnTo>
                      <a:lnTo>
                        <a:pt x="216" y="89"/>
                      </a:lnTo>
                      <a:lnTo>
                        <a:pt x="221" y="92"/>
                      </a:lnTo>
                      <a:lnTo>
                        <a:pt x="224" y="92"/>
                      </a:lnTo>
                      <a:lnTo>
                        <a:pt x="230" y="92"/>
                      </a:lnTo>
                      <a:lnTo>
                        <a:pt x="233" y="92"/>
                      </a:lnTo>
                      <a:lnTo>
                        <a:pt x="235" y="94"/>
                      </a:lnTo>
                      <a:lnTo>
                        <a:pt x="238" y="103"/>
                      </a:lnTo>
                      <a:lnTo>
                        <a:pt x="238" y="103"/>
                      </a:lnTo>
                      <a:lnTo>
                        <a:pt x="242" y="111"/>
                      </a:lnTo>
                      <a:lnTo>
                        <a:pt x="247" y="117"/>
                      </a:lnTo>
                      <a:lnTo>
                        <a:pt x="254" y="124"/>
                      </a:lnTo>
                      <a:lnTo>
                        <a:pt x="258" y="129"/>
                      </a:lnTo>
                      <a:lnTo>
                        <a:pt x="259" y="134"/>
                      </a:lnTo>
                      <a:lnTo>
                        <a:pt x="261" y="141"/>
                      </a:lnTo>
                      <a:lnTo>
                        <a:pt x="259" y="153"/>
                      </a:lnTo>
                      <a:lnTo>
                        <a:pt x="259" y="153"/>
                      </a:lnTo>
                      <a:lnTo>
                        <a:pt x="258" y="164"/>
                      </a:lnTo>
                      <a:lnTo>
                        <a:pt x="259" y="172"/>
                      </a:lnTo>
                      <a:lnTo>
                        <a:pt x="264" y="179"/>
                      </a:lnTo>
                      <a:lnTo>
                        <a:pt x="268" y="185"/>
                      </a:lnTo>
                      <a:lnTo>
                        <a:pt x="277" y="190"/>
                      </a:lnTo>
                      <a:lnTo>
                        <a:pt x="280" y="193"/>
                      </a:lnTo>
                      <a:lnTo>
                        <a:pt x="280" y="195"/>
                      </a:lnTo>
                      <a:lnTo>
                        <a:pt x="280" y="195"/>
                      </a:lnTo>
                      <a:lnTo>
                        <a:pt x="280" y="197"/>
                      </a:lnTo>
                      <a:lnTo>
                        <a:pt x="282" y="200"/>
                      </a:lnTo>
                      <a:lnTo>
                        <a:pt x="285" y="205"/>
                      </a:lnTo>
                      <a:lnTo>
                        <a:pt x="287" y="211"/>
                      </a:lnTo>
                      <a:lnTo>
                        <a:pt x="289" y="218"/>
                      </a:lnTo>
                      <a:lnTo>
                        <a:pt x="289" y="228"/>
                      </a:lnTo>
                      <a:lnTo>
                        <a:pt x="285" y="242"/>
                      </a:lnTo>
                      <a:lnTo>
                        <a:pt x="285" y="242"/>
                      </a:lnTo>
                      <a:lnTo>
                        <a:pt x="285" y="247"/>
                      </a:lnTo>
                      <a:lnTo>
                        <a:pt x="285" y="252"/>
                      </a:lnTo>
                      <a:lnTo>
                        <a:pt x="284" y="258"/>
                      </a:lnTo>
                      <a:lnTo>
                        <a:pt x="275" y="266"/>
                      </a:lnTo>
                      <a:lnTo>
                        <a:pt x="275" y="266"/>
                      </a:lnTo>
                      <a:lnTo>
                        <a:pt x="271" y="268"/>
                      </a:lnTo>
                      <a:lnTo>
                        <a:pt x="270" y="268"/>
                      </a:lnTo>
                      <a:lnTo>
                        <a:pt x="268" y="265"/>
                      </a:lnTo>
                      <a:lnTo>
                        <a:pt x="266" y="263"/>
                      </a:lnTo>
                      <a:lnTo>
                        <a:pt x="264" y="261"/>
                      </a:lnTo>
                      <a:lnTo>
                        <a:pt x="259" y="259"/>
                      </a:lnTo>
                      <a:lnTo>
                        <a:pt x="254" y="259"/>
                      </a:lnTo>
                      <a:lnTo>
                        <a:pt x="254" y="259"/>
                      </a:lnTo>
                      <a:lnTo>
                        <a:pt x="237" y="261"/>
                      </a:lnTo>
                      <a:lnTo>
                        <a:pt x="217" y="261"/>
                      </a:lnTo>
                      <a:lnTo>
                        <a:pt x="209" y="263"/>
                      </a:lnTo>
                      <a:lnTo>
                        <a:pt x="202" y="265"/>
                      </a:lnTo>
                      <a:lnTo>
                        <a:pt x="195" y="270"/>
                      </a:lnTo>
                      <a:lnTo>
                        <a:pt x="191" y="277"/>
                      </a:lnTo>
                      <a:lnTo>
                        <a:pt x="191" y="277"/>
                      </a:lnTo>
                      <a:lnTo>
                        <a:pt x="186" y="287"/>
                      </a:lnTo>
                      <a:lnTo>
                        <a:pt x="183" y="292"/>
                      </a:lnTo>
                      <a:lnTo>
                        <a:pt x="181" y="292"/>
                      </a:lnTo>
                      <a:lnTo>
                        <a:pt x="181" y="294"/>
                      </a:lnTo>
                      <a:lnTo>
                        <a:pt x="181" y="294"/>
                      </a:lnTo>
                      <a:lnTo>
                        <a:pt x="181" y="296"/>
                      </a:lnTo>
                      <a:lnTo>
                        <a:pt x="179" y="298"/>
                      </a:lnTo>
                      <a:lnTo>
                        <a:pt x="176" y="298"/>
                      </a:lnTo>
                      <a:lnTo>
                        <a:pt x="174" y="298"/>
                      </a:lnTo>
                      <a:lnTo>
                        <a:pt x="172" y="299"/>
                      </a:lnTo>
                      <a:lnTo>
                        <a:pt x="172" y="303"/>
                      </a:lnTo>
                      <a:lnTo>
                        <a:pt x="176" y="310"/>
                      </a:lnTo>
                      <a:lnTo>
                        <a:pt x="176" y="310"/>
                      </a:lnTo>
                      <a:lnTo>
                        <a:pt x="179" y="322"/>
                      </a:lnTo>
                      <a:lnTo>
                        <a:pt x="179" y="331"/>
                      </a:lnTo>
                      <a:lnTo>
                        <a:pt x="181" y="336"/>
                      </a:lnTo>
                      <a:lnTo>
                        <a:pt x="186" y="341"/>
                      </a:lnTo>
                      <a:lnTo>
                        <a:pt x="186" y="341"/>
                      </a:lnTo>
                      <a:lnTo>
                        <a:pt x="188" y="345"/>
                      </a:lnTo>
                      <a:lnTo>
                        <a:pt x="190" y="348"/>
                      </a:lnTo>
                      <a:lnTo>
                        <a:pt x="190" y="353"/>
                      </a:lnTo>
                      <a:lnTo>
                        <a:pt x="190" y="364"/>
                      </a:lnTo>
                      <a:lnTo>
                        <a:pt x="191" y="369"/>
                      </a:lnTo>
                      <a:lnTo>
                        <a:pt x="195" y="378"/>
                      </a:lnTo>
                      <a:lnTo>
                        <a:pt x="195" y="37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5" name="Freeform 1744">
                  <a:extLst>
                    <a:ext uri="{FF2B5EF4-FFF2-40B4-BE49-F238E27FC236}">
                      <a16:creationId xmlns:a16="http://schemas.microsoft.com/office/drawing/2014/main" id="{1A862F09-1F62-0AB9-B9AC-D4010E5F80C3}"/>
                    </a:ext>
                  </a:extLst>
                </p:cNvPr>
                <p:cNvSpPr>
                  <a:spLocks/>
                </p:cNvSpPr>
                <p:nvPr/>
              </p:nvSpPr>
              <p:spPr bwMode="auto">
                <a:xfrm>
                  <a:off x="7597088" y="3711824"/>
                  <a:ext cx="204392" cy="514505"/>
                </a:xfrm>
                <a:custGeom>
                  <a:avLst/>
                  <a:gdLst/>
                  <a:ahLst/>
                  <a:cxnLst>
                    <a:cxn ang="0">
                      <a:pos x="186" y="77"/>
                    </a:cxn>
                    <a:cxn ang="0">
                      <a:pos x="172" y="66"/>
                    </a:cxn>
                    <a:cxn ang="0">
                      <a:pos x="158" y="49"/>
                    </a:cxn>
                    <a:cxn ang="0">
                      <a:pos x="162" y="23"/>
                    </a:cxn>
                    <a:cxn ang="0">
                      <a:pos x="136" y="19"/>
                    </a:cxn>
                    <a:cxn ang="0">
                      <a:pos x="110" y="0"/>
                    </a:cxn>
                    <a:cxn ang="0">
                      <a:pos x="94" y="19"/>
                    </a:cxn>
                    <a:cxn ang="0">
                      <a:pos x="73" y="24"/>
                    </a:cxn>
                    <a:cxn ang="0">
                      <a:pos x="63" y="37"/>
                    </a:cxn>
                    <a:cxn ang="0">
                      <a:pos x="49" y="31"/>
                    </a:cxn>
                    <a:cxn ang="0">
                      <a:pos x="33" y="40"/>
                    </a:cxn>
                    <a:cxn ang="0">
                      <a:pos x="19" y="30"/>
                    </a:cxn>
                    <a:cxn ang="0">
                      <a:pos x="0" y="44"/>
                    </a:cxn>
                    <a:cxn ang="0">
                      <a:pos x="24" y="68"/>
                    </a:cxn>
                    <a:cxn ang="0">
                      <a:pos x="30" y="78"/>
                    </a:cxn>
                    <a:cxn ang="0">
                      <a:pos x="26" y="92"/>
                    </a:cxn>
                    <a:cxn ang="0">
                      <a:pos x="40" y="112"/>
                    </a:cxn>
                    <a:cxn ang="0">
                      <a:pos x="57" y="115"/>
                    </a:cxn>
                    <a:cxn ang="0">
                      <a:pos x="80" y="112"/>
                    </a:cxn>
                    <a:cxn ang="0">
                      <a:pos x="80" y="129"/>
                    </a:cxn>
                    <a:cxn ang="0">
                      <a:pos x="92" y="139"/>
                    </a:cxn>
                    <a:cxn ang="0">
                      <a:pos x="94" y="152"/>
                    </a:cxn>
                    <a:cxn ang="0">
                      <a:pos x="68" y="160"/>
                    </a:cxn>
                    <a:cxn ang="0">
                      <a:pos x="63" y="176"/>
                    </a:cxn>
                    <a:cxn ang="0">
                      <a:pos x="103" y="202"/>
                    </a:cxn>
                    <a:cxn ang="0">
                      <a:pos x="106" y="219"/>
                    </a:cxn>
                    <a:cxn ang="0">
                      <a:pos x="131" y="254"/>
                    </a:cxn>
                    <a:cxn ang="0">
                      <a:pos x="158" y="300"/>
                    </a:cxn>
                    <a:cxn ang="0">
                      <a:pos x="179" y="317"/>
                    </a:cxn>
                    <a:cxn ang="0">
                      <a:pos x="183" y="326"/>
                    </a:cxn>
                    <a:cxn ang="0">
                      <a:pos x="188" y="345"/>
                    </a:cxn>
                    <a:cxn ang="0">
                      <a:pos x="188" y="380"/>
                    </a:cxn>
                    <a:cxn ang="0">
                      <a:pos x="185" y="408"/>
                    </a:cxn>
                    <a:cxn ang="0">
                      <a:pos x="192" y="432"/>
                    </a:cxn>
                    <a:cxn ang="0">
                      <a:pos x="192" y="475"/>
                    </a:cxn>
                    <a:cxn ang="0">
                      <a:pos x="176" y="482"/>
                    </a:cxn>
                    <a:cxn ang="0">
                      <a:pos x="151" y="496"/>
                    </a:cxn>
                    <a:cxn ang="0">
                      <a:pos x="145" y="505"/>
                    </a:cxn>
                    <a:cxn ang="0">
                      <a:pos x="131" y="515"/>
                    </a:cxn>
                    <a:cxn ang="0">
                      <a:pos x="145" y="540"/>
                    </a:cxn>
                    <a:cxn ang="0">
                      <a:pos x="129" y="540"/>
                    </a:cxn>
                    <a:cxn ang="0">
                      <a:pos x="108" y="540"/>
                    </a:cxn>
                    <a:cxn ang="0">
                      <a:pos x="99" y="556"/>
                    </a:cxn>
                    <a:cxn ang="0">
                      <a:pos x="85" y="571"/>
                    </a:cxn>
                    <a:cxn ang="0">
                      <a:pos x="101" y="576"/>
                    </a:cxn>
                    <a:cxn ang="0">
                      <a:pos x="91" y="629"/>
                    </a:cxn>
                    <a:cxn ang="0">
                      <a:pos x="124" y="616"/>
                    </a:cxn>
                    <a:cxn ang="0">
                      <a:pos x="145" y="599"/>
                    </a:cxn>
                    <a:cxn ang="0">
                      <a:pos x="165" y="554"/>
                    </a:cxn>
                    <a:cxn ang="0">
                      <a:pos x="181" y="562"/>
                    </a:cxn>
                    <a:cxn ang="0">
                      <a:pos x="230" y="531"/>
                    </a:cxn>
                    <a:cxn ang="0">
                      <a:pos x="249" y="479"/>
                    </a:cxn>
                    <a:cxn ang="0">
                      <a:pos x="256" y="458"/>
                    </a:cxn>
                    <a:cxn ang="0">
                      <a:pos x="251" y="406"/>
                    </a:cxn>
                    <a:cxn ang="0">
                      <a:pos x="218" y="322"/>
                    </a:cxn>
                    <a:cxn ang="0">
                      <a:pos x="172" y="275"/>
                    </a:cxn>
                    <a:cxn ang="0">
                      <a:pos x="148" y="230"/>
                    </a:cxn>
                    <a:cxn ang="0">
                      <a:pos x="124" y="190"/>
                    </a:cxn>
                    <a:cxn ang="0">
                      <a:pos x="148" y="141"/>
                    </a:cxn>
                    <a:cxn ang="0">
                      <a:pos x="165" y="106"/>
                    </a:cxn>
                    <a:cxn ang="0">
                      <a:pos x="183" y="98"/>
                    </a:cxn>
                    <a:cxn ang="0">
                      <a:pos x="207" y="80"/>
                    </a:cxn>
                  </a:cxnLst>
                  <a:rect l="0" t="0" r="r" b="b"/>
                  <a:pathLst>
                    <a:path w="256" h="643">
                      <a:moveTo>
                        <a:pt x="207" y="80"/>
                      </a:moveTo>
                      <a:lnTo>
                        <a:pt x="207" y="80"/>
                      </a:lnTo>
                      <a:lnTo>
                        <a:pt x="202" y="78"/>
                      </a:lnTo>
                      <a:lnTo>
                        <a:pt x="198" y="77"/>
                      </a:lnTo>
                      <a:lnTo>
                        <a:pt x="193" y="77"/>
                      </a:lnTo>
                      <a:lnTo>
                        <a:pt x="188" y="78"/>
                      </a:lnTo>
                      <a:lnTo>
                        <a:pt x="186" y="77"/>
                      </a:lnTo>
                      <a:lnTo>
                        <a:pt x="185" y="75"/>
                      </a:lnTo>
                      <a:lnTo>
                        <a:pt x="185" y="75"/>
                      </a:lnTo>
                      <a:lnTo>
                        <a:pt x="181" y="73"/>
                      </a:lnTo>
                      <a:lnTo>
                        <a:pt x="178" y="73"/>
                      </a:lnTo>
                      <a:lnTo>
                        <a:pt x="174" y="71"/>
                      </a:lnTo>
                      <a:lnTo>
                        <a:pt x="172" y="66"/>
                      </a:lnTo>
                      <a:lnTo>
                        <a:pt x="172" y="66"/>
                      </a:lnTo>
                      <a:lnTo>
                        <a:pt x="169" y="63"/>
                      </a:lnTo>
                      <a:lnTo>
                        <a:pt x="164" y="61"/>
                      </a:lnTo>
                      <a:lnTo>
                        <a:pt x="160" y="59"/>
                      </a:lnTo>
                      <a:lnTo>
                        <a:pt x="160" y="58"/>
                      </a:lnTo>
                      <a:lnTo>
                        <a:pt x="158" y="54"/>
                      </a:lnTo>
                      <a:lnTo>
                        <a:pt x="158" y="54"/>
                      </a:lnTo>
                      <a:lnTo>
                        <a:pt x="158" y="49"/>
                      </a:lnTo>
                      <a:lnTo>
                        <a:pt x="155" y="45"/>
                      </a:lnTo>
                      <a:lnTo>
                        <a:pt x="155" y="40"/>
                      </a:lnTo>
                      <a:lnTo>
                        <a:pt x="160" y="33"/>
                      </a:lnTo>
                      <a:lnTo>
                        <a:pt x="160" y="33"/>
                      </a:lnTo>
                      <a:lnTo>
                        <a:pt x="164" y="26"/>
                      </a:lnTo>
                      <a:lnTo>
                        <a:pt x="164" y="24"/>
                      </a:lnTo>
                      <a:lnTo>
                        <a:pt x="162" y="23"/>
                      </a:lnTo>
                      <a:lnTo>
                        <a:pt x="158" y="21"/>
                      </a:lnTo>
                      <a:lnTo>
                        <a:pt x="151" y="23"/>
                      </a:lnTo>
                      <a:lnTo>
                        <a:pt x="151" y="23"/>
                      </a:lnTo>
                      <a:lnTo>
                        <a:pt x="146" y="23"/>
                      </a:lnTo>
                      <a:lnTo>
                        <a:pt x="145" y="19"/>
                      </a:lnTo>
                      <a:lnTo>
                        <a:pt x="141" y="18"/>
                      </a:lnTo>
                      <a:lnTo>
                        <a:pt x="136" y="19"/>
                      </a:lnTo>
                      <a:lnTo>
                        <a:pt x="136" y="19"/>
                      </a:lnTo>
                      <a:lnTo>
                        <a:pt x="131" y="19"/>
                      </a:lnTo>
                      <a:lnTo>
                        <a:pt x="125" y="18"/>
                      </a:lnTo>
                      <a:lnTo>
                        <a:pt x="118" y="9"/>
                      </a:lnTo>
                      <a:lnTo>
                        <a:pt x="113" y="2"/>
                      </a:lnTo>
                      <a:lnTo>
                        <a:pt x="111" y="0"/>
                      </a:lnTo>
                      <a:lnTo>
                        <a:pt x="110" y="0"/>
                      </a:lnTo>
                      <a:lnTo>
                        <a:pt x="110" y="0"/>
                      </a:lnTo>
                      <a:lnTo>
                        <a:pt x="101" y="7"/>
                      </a:lnTo>
                      <a:lnTo>
                        <a:pt x="96" y="11"/>
                      </a:lnTo>
                      <a:lnTo>
                        <a:pt x="92" y="12"/>
                      </a:lnTo>
                      <a:lnTo>
                        <a:pt x="94" y="16"/>
                      </a:lnTo>
                      <a:lnTo>
                        <a:pt x="94" y="16"/>
                      </a:lnTo>
                      <a:lnTo>
                        <a:pt x="94" y="19"/>
                      </a:lnTo>
                      <a:lnTo>
                        <a:pt x="92" y="21"/>
                      </a:lnTo>
                      <a:lnTo>
                        <a:pt x="87" y="26"/>
                      </a:lnTo>
                      <a:lnTo>
                        <a:pt x="80" y="30"/>
                      </a:lnTo>
                      <a:lnTo>
                        <a:pt x="78" y="30"/>
                      </a:lnTo>
                      <a:lnTo>
                        <a:pt x="75" y="28"/>
                      </a:lnTo>
                      <a:lnTo>
                        <a:pt x="75" y="28"/>
                      </a:lnTo>
                      <a:lnTo>
                        <a:pt x="73" y="24"/>
                      </a:lnTo>
                      <a:lnTo>
                        <a:pt x="70" y="23"/>
                      </a:lnTo>
                      <a:lnTo>
                        <a:pt x="68" y="24"/>
                      </a:lnTo>
                      <a:lnTo>
                        <a:pt x="66" y="31"/>
                      </a:lnTo>
                      <a:lnTo>
                        <a:pt x="66" y="31"/>
                      </a:lnTo>
                      <a:lnTo>
                        <a:pt x="64" y="38"/>
                      </a:lnTo>
                      <a:lnTo>
                        <a:pt x="63" y="38"/>
                      </a:lnTo>
                      <a:lnTo>
                        <a:pt x="63" y="37"/>
                      </a:lnTo>
                      <a:lnTo>
                        <a:pt x="59" y="33"/>
                      </a:lnTo>
                      <a:lnTo>
                        <a:pt x="54" y="28"/>
                      </a:lnTo>
                      <a:lnTo>
                        <a:pt x="54" y="28"/>
                      </a:lnTo>
                      <a:lnTo>
                        <a:pt x="54" y="28"/>
                      </a:lnTo>
                      <a:lnTo>
                        <a:pt x="52" y="28"/>
                      </a:lnTo>
                      <a:lnTo>
                        <a:pt x="50" y="31"/>
                      </a:lnTo>
                      <a:lnTo>
                        <a:pt x="49" y="31"/>
                      </a:lnTo>
                      <a:lnTo>
                        <a:pt x="45" y="28"/>
                      </a:lnTo>
                      <a:lnTo>
                        <a:pt x="45" y="28"/>
                      </a:lnTo>
                      <a:lnTo>
                        <a:pt x="44" y="26"/>
                      </a:lnTo>
                      <a:lnTo>
                        <a:pt x="42" y="26"/>
                      </a:lnTo>
                      <a:lnTo>
                        <a:pt x="38" y="31"/>
                      </a:lnTo>
                      <a:lnTo>
                        <a:pt x="35" y="38"/>
                      </a:lnTo>
                      <a:lnTo>
                        <a:pt x="33" y="40"/>
                      </a:lnTo>
                      <a:lnTo>
                        <a:pt x="30" y="42"/>
                      </a:lnTo>
                      <a:lnTo>
                        <a:pt x="30" y="42"/>
                      </a:lnTo>
                      <a:lnTo>
                        <a:pt x="28" y="40"/>
                      </a:lnTo>
                      <a:lnTo>
                        <a:pt x="26" y="37"/>
                      </a:lnTo>
                      <a:lnTo>
                        <a:pt x="24" y="33"/>
                      </a:lnTo>
                      <a:lnTo>
                        <a:pt x="19" y="30"/>
                      </a:lnTo>
                      <a:lnTo>
                        <a:pt x="19" y="30"/>
                      </a:lnTo>
                      <a:lnTo>
                        <a:pt x="16" y="28"/>
                      </a:lnTo>
                      <a:lnTo>
                        <a:pt x="12" y="30"/>
                      </a:lnTo>
                      <a:lnTo>
                        <a:pt x="9" y="33"/>
                      </a:lnTo>
                      <a:lnTo>
                        <a:pt x="5" y="40"/>
                      </a:lnTo>
                      <a:lnTo>
                        <a:pt x="3" y="42"/>
                      </a:lnTo>
                      <a:lnTo>
                        <a:pt x="0" y="44"/>
                      </a:lnTo>
                      <a:lnTo>
                        <a:pt x="0" y="44"/>
                      </a:lnTo>
                      <a:lnTo>
                        <a:pt x="7" y="52"/>
                      </a:lnTo>
                      <a:lnTo>
                        <a:pt x="12" y="59"/>
                      </a:lnTo>
                      <a:lnTo>
                        <a:pt x="17" y="70"/>
                      </a:lnTo>
                      <a:lnTo>
                        <a:pt x="19" y="75"/>
                      </a:lnTo>
                      <a:lnTo>
                        <a:pt x="21" y="71"/>
                      </a:lnTo>
                      <a:lnTo>
                        <a:pt x="21" y="71"/>
                      </a:lnTo>
                      <a:lnTo>
                        <a:pt x="24" y="68"/>
                      </a:lnTo>
                      <a:lnTo>
                        <a:pt x="24" y="70"/>
                      </a:lnTo>
                      <a:lnTo>
                        <a:pt x="26" y="71"/>
                      </a:lnTo>
                      <a:lnTo>
                        <a:pt x="30" y="73"/>
                      </a:lnTo>
                      <a:lnTo>
                        <a:pt x="30" y="73"/>
                      </a:lnTo>
                      <a:lnTo>
                        <a:pt x="30" y="73"/>
                      </a:lnTo>
                      <a:lnTo>
                        <a:pt x="31" y="75"/>
                      </a:lnTo>
                      <a:lnTo>
                        <a:pt x="30" y="78"/>
                      </a:lnTo>
                      <a:lnTo>
                        <a:pt x="28" y="82"/>
                      </a:lnTo>
                      <a:lnTo>
                        <a:pt x="26" y="84"/>
                      </a:lnTo>
                      <a:lnTo>
                        <a:pt x="28" y="85"/>
                      </a:lnTo>
                      <a:lnTo>
                        <a:pt x="28" y="85"/>
                      </a:lnTo>
                      <a:lnTo>
                        <a:pt x="28" y="87"/>
                      </a:lnTo>
                      <a:lnTo>
                        <a:pt x="28" y="89"/>
                      </a:lnTo>
                      <a:lnTo>
                        <a:pt x="26" y="92"/>
                      </a:lnTo>
                      <a:lnTo>
                        <a:pt x="26" y="96"/>
                      </a:lnTo>
                      <a:lnTo>
                        <a:pt x="26" y="96"/>
                      </a:lnTo>
                      <a:lnTo>
                        <a:pt x="30" y="101"/>
                      </a:lnTo>
                      <a:lnTo>
                        <a:pt x="31" y="106"/>
                      </a:lnTo>
                      <a:lnTo>
                        <a:pt x="35" y="110"/>
                      </a:lnTo>
                      <a:lnTo>
                        <a:pt x="37" y="112"/>
                      </a:lnTo>
                      <a:lnTo>
                        <a:pt x="40" y="112"/>
                      </a:lnTo>
                      <a:lnTo>
                        <a:pt x="40" y="112"/>
                      </a:lnTo>
                      <a:lnTo>
                        <a:pt x="44" y="112"/>
                      </a:lnTo>
                      <a:lnTo>
                        <a:pt x="45" y="112"/>
                      </a:lnTo>
                      <a:lnTo>
                        <a:pt x="50" y="117"/>
                      </a:lnTo>
                      <a:lnTo>
                        <a:pt x="52" y="117"/>
                      </a:lnTo>
                      <a:lnTo>
                        <a:pt x="56" y="117"/>
                      </a:lnTo>
                      <a:lnTo>
                        <a:pt x="57" y="115"/>
                      </a:lnTo>
                      <a:lnTo>
                        <a:pt x="59" y="110"/>
                      </a:lnTo>
                      <a:lnTo>
                        <a:pt x="59" y="110"/>
                      </a:lnTo>
                      <a:lnTo>
                        <a:pt x="63" y="105"/>
                      </a:lnTo>
                      <a:lnTo>
                        <a:pt x="64" y="105"/>
                      </a:lnTo>
                      <a:lnTo>
                        <a:pt x="66" y="105"/>
                      </a:lnTo>
                      <a:lnTo>
                        <a:pt x="71" y="108"/>
                      </a:lnTo>
                      <a:lnTo>
                        <a:pt x="80" y="112"/>
                      </a:lnTo>
                      <a:lnTo>
                        <a:pt x="80" y="112"/>
                      </a:lnTo>
                      <a:lnTo>
                        <a:pt x="85" y="117"/>
                      </a:lnTo>
                      <a:lnTo>
                        <a:pt x="89" y="119"/>
                      </a:lnTo>
                      <a:lnTo>
                        <a:pt x="87" y="122"/>
                      </a:lnTo>
                      <a:lnTo>
                        <a:pt x="82" y="127"/>
                      </a:lnTo>
                      <a:lnTo>
                        <a:pt x="82" y="127"/>
                      </a:lnTo>
                      <a:lnTo>
                        <a:pt x="80" y="129"/>
                      </a:lnTo>
                      <a:lnTo>
                        <a:pt x="82" y="131"/>
                      </a:lnTo>
                      <a:lnTo>
                        <a:pt x="87" y="131"/>
                      </a:lnTo>
                      <a:lnTo>
                        <a:pt x="89" y="132"/>
                      </a:lnTo>
                      <a:lnTo>
                        <a:pt x="89" y="136"/>
                      </a:lnTo>
                      <a:lnTo>
                        <a:pt x="89" y="136"/>
                      </a:lnTo>
                      <a:lnTo>
                        <a:pt x="91" y="139"/>
                      </a:lnTo>
                      <a:lnTo>
                        <a:pt x="92" y="139"/>
                      </a:lnTo>
                      <a:lnTo>
                        <a:pt x="96" y="139"/>
                      </a:lnTo>
                      <a:lnTo>
                        <a:pt x="99" y="141"/>
                      </a:lnTo>
                      <a:lnTo>
                        <a:pt x="99" y="141"/>
                      </a:lnTo>
                      <a:lnTo>
                        <a:pt x="101" y="145"/>
                      </a:lnTo>
                      <a:lnTo>
                        <a:pt x="99" y="146"/>
                      </a:lnTo>
                      <a:lnTo>
                        <a:pt x="97" y="148"/>
                      </a:lnTo>
                      <a:lnTo>
                        <a:pt x="94" y="152"/>
                      </a:lnTo>
                      <a:lnTo>
                        <a:pt x="92" y="155"/>
                      </a:lnTo>
                      <a:lnTo>
                        <a:pt x="91" y="159"/>
                      </a:lnTo>
                      <a:lnTo>
                        <a:pt x="91" y="159"/>
                      </a:lnTo>
                      <a:lnTo>
                        <a:pt x="89" y="162"/>
                      </a:lnTo>
                      <a:lnTo>
                        <a:pt x="85" y="164"/>
                      </a:lnTo>
                      <a:lnTo>
                        <a:pt x="77" y="162"/>
                      </a:lnTo>
                      <a:lnTo>
                        <a:pt x="68" y="160"/>
                      </a:lnTo>
                      <a:lnTo>
                        <a:pt x="66" y="162"/>
                      </a:lnTo>
                      <a:lnTo>
                        <a:pt x="68" y="167"/>
                      </a:lnTo>
                      <a:lnTo>
                        <a:pt x="68" y="167"/>
                      </a:lnTo>
                      <a:lnTo>
                        <a:pt x="68" y="169"/>
                      </a:lnTo>
                      <a:lnTo>
                        <a:pt x="66" y="171"/>
                      </a:lnTo>
                      <a:lnTo>
                        <a:pt x="64" y="174"/>
                      </a:lnTo>
                      <a:lnTo>
                        <a:pt x="63" y="176"/>
                      </a:lnTo>
                      <a:lnTo>
                        <a:pt x="64" y="179"/>
                      </a:lnTo>
                      <a:lnTo>
                        <a:pt x="68" y="183"/>
                      </a:lnTo>
                      <a:lnTo>
                        <a:pt x="75" y="190"/>
                      </a:lnTo>
                      <a:lnTo>
                        <a:pt x="75" y="190"/>
                      </a:lnTo>
                      <a:lnTo>
                        <a:pt x="85" y="197"/>
                      </a:lnTo>
                      <a:lnTo>
                        <a:pt x="96" y="200"/>
                      </a:lnTo>
                      <a:lnTo>
                        <a:pt x="103" y="202"/>
                      </a:lnTo>
                      <a:lnTo>
                        <a:pt x="106" y="206"/>
                      </a:lnTo>
                      <a:lnTo>
                        <a:pt x="106" y="206"/>
                      </a:lnTo>
                      <a:lnTo>
                        <a:pt x="106" y="209"/>
                      </a:lnTo>
                      <a:lnTo>
                        <a:pt x="106" y="211"/>
                      </a:lnTo>
                      <a:lnTo>
                        <a:pt x="104" y="214"/>
                      </a:lnTo>
                      <a:lnTo>
                        <a:pt x="106" y="219"/>
                      </a:lnTo>
                      <a:lnTo>
                        <a:pt x="106" y="219"/>
                      </a:lnTo>
                      <a:lnTo>
                        <a:pt x="110" y="223"/>
                      </a:lnTo>
                      <a:lnTo>
                        <a:pt x="113" y="225"/>
                      </a:lnTo>
                      <a:lnTo>
                        <a:pt x="117" y="226"/>
                      </a:lnTo>
                      <a:lnTo>
                        <a:pt x="120" y="233"/>
                      </a:lnTo>
                      <a:lnTo>
                        <a:pt x="120" y="233"/>
                      </a:lnTo>
                      <a:lnTo>
                        <a:pt x="124" y="244"/>
                      </a:lnTo>
                      <a:lnTo>
                        <a:pt x="131" y="254"/>
                      </a:lnTo>
                      <a:lnTo>
                        <a:pt x="138" y="263"/>
                      </a:lnTo>
                      <a:lnTo>
                        <a:pt x="145" y="266"/>
                      </a:lnTo>
                      <a:lnTo>
                        <a:pt x="145" y="266"/>
                      </a:lnTo>
                      <a:lnTo>
                        <a:pt x="148" y="268"/>
                      </a:lnTo>
                      <a:lnTo>
                        <a:pt x="151" y="273"/>
                      </a:lnTo>
                      <a:lnTo>
                        <a:pt x="155" y="287"/>
                      </a:lnTo>
                      <a:lnTo>
                        <a:pt x="158" y="300"/>
                      </a:lnTo>
                      <a:lnTo>
                        <a:pt x="160" y="301"/>
                      </a:lnTo>
                      <a:lnTo>
                        <a:pt x="164" y="301"/>
                      </a:lnTo>
                      <a:lnTo>
                        <a:pt x="164" y="301"/>
                      </a:lnTo>
                      <a:lnTo>
                        <a:pt x="165" y="301"/>
                      </a:lnTo>
                      <a:lnTo>
                        <a:pt x="169" y="303"/>
                      </a:lnTo>
                      <a:lnTo>
                        <a:pt x="174" y="310"/>
                      </a:lnTo>
                      <a:lnTo>
                        <a:pt x="179" y="317"/>
                      </a:lnTo>
                      <a:lnTo>
                        <a:pt x="181" y="319"/>
                      </a:lnTo>
                      <a:lnTo>
                        <a:pt x="183" y="319"/>
                      </a:lnTo>
                      <a:lnTo>
                        <a:pt x="183" y="319"/>
                      </a:lnTo>
                      <a:lnTo>
                        <a:pt x="186" y="319"/>
                      </a:lnTo>
                      <a:lnTo>
                        <a:pt x="188" y="320"/>
                      </a:lnTo>
                      <a:lnTo>
                        <a:pt x="186" y="322"/>
                      </a:lnTo>
                      <a:lnTo>
                        <a:pt x="183" y="326"/>
                      </a:lnTo>
                      <a:lnTo>
                        <a:pt x="183" y="326"/>
                      </a:lnTo>
                      <a:lnTo>
                        <a:pt x="178" y="327"/>
                      </a:lnTo>
                      <a:lnTo>
                        <a:pt x="178" y="329"/>
                      </a:lnTo>
                      <a:lnTo>
                        <a:pt x="178" y="331"/>
                      </a:lnTo>
                      <a:lnTo>
                        <a:pt x="181" y="336"/>
                      </a:lnTo>
                      <a:lnTo>
                        <a:pt x="188" y="345"/>
                      </a:lnTo>
                      <a:lnTo>
                        <a:pt x="188" y="345"/>
                      </a:lnTo>
                      <a:lnTo>
                        <a:pt x="193" y="348"/>
                      </a:lnTo>
                      <a:lnTo>
                        <a:pt x="193" y="352"/>
                      </a:lnTo>
                      <a:lnTo>
                        <a:pt x="193" y="357"/>
                      </a:lnTo>
                      <a:lnTo>
                        <a:pt x="193" y="361"/>
                      </a:lnTo>
                      <a:lnTo>
                        <a:pt x="190" y="369"/>
                      </a:lnTo>
                      <a:lnTo>
                        <a:pt x="188" y="374"/>
                      </a:lnTo>
                      <a:lnTo>
                        <a:pt x="188" y="380"/>
                      </a:lnTo>
                      <a:lnTo>
                        <a:pt x="188" y="380"/>
                      </a:lnTo>
                      <a:lnTo>
                        <a:pt x="188" y="387"/>
                      </a:lnTo>
                      <a:lnTo>
                        <a:pt x="185" y="395"/>
                      </a:lnTo>
                      <a:lnTo>
                        <a:pt x="183" y="402"/>
                      </a:lnTo>
                      <a:lnTo>
                        <a:pt x="183" y="406"/>
                      </a:lnTo>
                      <a:lnTo>
                        <a:pt x="185" y="408"/>
                      </a:lnTo>
                      <a:lnTo>
                        <a:pt x="185" y="408"/>
                      </a:lnTo>
                      <a:lnTo>
                        <a:pt x="186" y="409"/>
                      </a:lnTo>
                      <a:lnTo>
                        <a:pt x="186" y="413"/>
                      </a:lnTo>
                      <a:lnTo>
                        <a:pt x="188" y="416"/>
                      </a:lnTo>
                      <a:lnTo>
                        <a:pt x="190" y="423"/>
                      </a:lnTo>
                      <a:lnTo>
                        <a:pt x="190" y="423"/>
                      </a:lnTo>
                      <a:lnTo>
                        <a:pt x="192" y="428"/>
                      </a:lnTo>
                      <a:lnTo>
                        <a:pt x="192" y="432"/>
                      </a:lnTo>
                      <a:lnTo>
                        <a:pt x="190" y="441"/>
                      </a:lnTo>
                      <a:lnTo>
                        <a:pt x="188" y="449"/>
                      </a:lnTo>
                      <a:lnTo>
                        <a:pt x="188" y="453"/>
                      </a:lnTo>
                      <a:lnTo>
                        <a:pt x="188" y="458"/>
                      </a:lnTo>
                      <a:lnTo>
                        <a:pt x="188" y="458"/>
                      </a:lnTo>
                      <a:lnTo>
                        <a:pt x="192" y="468"/>
                      </a:lnTo>
                      <a:lnTo>
                        <a:pt x="192" y="475"/>
                      </a:lnTo>
                      <a:lnTo>
                        <a:pt x="190" y="479"/>
                      </a:lnTo>
                      <a:lnTo>
                        <a:pt x="188" y="481"/>
                      </a:lnTo>
                      <a:lnTo>
                        <a:pt x="186" y="482"/>
                      </a:lnTo>
                      <a:lnTo>
                        <a:pt x="183" y="482"/>
                      </a:lnTo>
                      <a:lnTo>
                        <a:pt x="183" y="482"/>
                      </a:lnTo>
                      <a:lnTo>
                        <a:pt x="179" y="482"/>
                      </a:lnTo>
                      <a:lnTo>
                        <a:pt x="176" y="482"/>
                      </a:lnTo>
                      <a:lnTo>
                        <a:pt x="172" y="488"/>
                      </a:lnTo>
                      <a:lnTo>
                        <a:pt x="167" y="493"/>
                      </a:lnTo>
                      <a:lnTo>
                        <a:pt x="164" y="495"/>
                      </a:lnTo>
                      <a:lnTo>
                        <a:pt x="158" y="495"/>
                      </a:lnTo>
                      <a:lnTo>
                        <a:pt x="158" y="495"/>
                      </a:lnTo>
                      <a:lnTo>
                        <a:pt x="153" y="495"/>
                      </a:lnTo>
                      <a:lnTo>
                        <a:pt x="151" y="496"/>
                      </a:lnTo>
                      <a:lnTo>
                        <a:pt x="151" y="500"/>
                      </a:lnTo>
                      <a:lnTo>
                        <a:pt x="151" y="503"/>
                      </a:lnTo>
                      <a:lnTo>
                        <a:pt x="151" y="507"/>
                      </a:lnTo>
                      <a:lnTo>
                        <a:pt x="151" y="509"/>
                      </a:lnTo>
                      <a:lnTo>
                        <a:pt x="150" y="509"/>
                      </a:lnTo>
                      <a:lnTo>
                        <a:pt x="145" y="505"/>
                      </a:lnTo>
                      <a:lnTo>
                        <a:pt x="145" y="505"/>
                      </a:lnTo>
                      <a:lnTo>
                        <a:pt x="141" y="503"/>
                      </a:lnTo>
                      <a:lnTo>
                        <a:pt x="138" y="503"/>
                      </a:lnTo>
                      <a:lnTo>
                        <a:pt x="134" y="503"/>
                      </a:lnTo>
                      <a:lnTo>
                        <a:pt x="132" y="505"/>
                      </a:lnTo>
                      <a:lnTo>
                        <a:pt x="131" y="510"/>
                      </a:lnTo>
                      <a:lnTo>
                        <a:pt x="131" y="515"/>
                      </a:lnTo>
                      <a:lnTo>
                        <a:pt x="131" y="515"/>
                      </a:lnTo>
                      <a:lnTo>
                        <a:pt x="132" y="519"/>
                      </a:lnTo>
                      <a:lnTo>
                        <a:pt x="132" y="522"/>
                      </a:lnTo>
                      <a:lnTo>
                        <a:pt x="132" y="526"/>
                      </a:lnTo>
                      <a:lnTo>
                        <a:pt x="136" y="531"/>
                      </a:lnTo>
                      <a:lnTo>
                        <a:pt x="136" y="531"/>
                      </a:lnTo>
                      <a:lnTo>
                        <a:pt x="141" y="536"/>
                      </a:lnTo>
                      <a:lnTo>
                        <a:pt x="145" y="540"/>
                      </a:lnTo>
                      <a:lnTo>
                        <a:pt x="143" y="543"/>
                      </a:lnTo>
                      <a:lnTo>
                        <a:pt x="141" y="545"/>
                      </a:lnTo>
                      <a:lnTo>
                        <a:pt x="138" y="545"/>
                      </a:lnTo>
                      <a:lnTo>
                        <a:pt x="134" y="545"/>
                      </a:lnTo>
                      <a:lnTo>
                        <a:pt x="131" y="542"/>
                      </a:lnTo>
                      <a:lnTo>
                        <a:pt x="129" y="540"/>
                      </a:lnTo>
                      <a:lnTo>
                        <a:pt x="129" y="540"/>
                      </a:lnTo>
                      <a:lnTo>
                        <a:pt x="127" y="536"/>
                      </a:lnTo>
                      <a:lnTo>
                        <a:pt x="124" y="536"/>
                      </a:lnTo>
                      <a:lnTo>
                        <a:pt x="118" y="538"/>
                      </a:lnTo>
                      <a:lnTo>
                        <a:pt x="113" y="542"/>
                      </a:lnTo>
                      <a:lnTo>
                        <a:pt x="111" y="542"/>
                      </a:lnTo>
                      <a:lnTo>
                        <a:pt x="108" y="540"/>
                      </a:lnTo>
                      <a:lnTo>
                        <a:pt x="108" y="540"/>
                      </a:lnTo>
                      <a:lnTo>
                        <a:pt x="104" y="538"/>
                      </a:lnTo>
                      <a:lnTo>
                        <a:pt x="103" y="540"/>
                      </a:lnTo>
                      <a:lnTo>
                        <a:pt x="103" y="547"/>
                      </a:lnTo>
                      <a:lnTo>
                        <a:pt x="103" y="547"/>
                      </a:lnTo>
                      <a:lnTo>
                        <a:pt x="103" y="550"/>
                      </a:lnTo>
                      <a:lnTo>
                        <a:pt x="101" y="554"/>
                      </a:lnTo>
                      <a:lnTo>
                        <a:pt x="99" y="556"/>
                      </a:lnTo>
                      <a:lnTo>
                        <a:pt x="96" y="556"/>
                      </a:lnTo>
                      <a:lnTo>
                        <a:pt x="87" y="557"/>
                      </a:lnTo>
                      <a:lnTo>
                        <a:pt x="84" y="559"/>
                      </a:lnTo>
                      <a:lnTo>
                        <a:pt x="80" y="562"/>
                      </a:lnTo>
                      <a:lnTo>
                        <a:pt x="80" y="562"/>
                      </a:lnTo>
                      <a:lnTo>
                        <a:pt x="84" y="569"/>
                      </a:lnTo>
                      <a:lnTo>
                        <a:pt x="85" y="571"/>
                      </a:lnTo>
                      <a:lnTo>
                        <a:pt x="87" y="573"/>
                      </a:lnTo>
                      <a:lnTo>
                        <a:pt x="91" y="573"/>
                      </a:lnTo>
                      <a:lnTo>
                        <a:pt x="94" y="571"/>
                      </a:lnTo>
                      <a:lnTo>
                        <a:pt x="96" y="571"/>
                      </a:lnTo>
                      <a:lnTo>
                        <a:pt x="99" y="573"/>
                      </a:lnTo>
                      <a:lnTo>
                        <a:pt x="99" y="573"/>
                      </a:lnTo>
                      <a:lnTo>
                        <a:pt x="101" y="576"/>
                      </a:lnTo>
                      <a:lnTo>
                        <a:pt x="101" y="580"/>
                      </a:lnTo>
                      <a:lnTo>
                        <a:pt x="97" y="585"/>
                      </a:lnTo>
                      <a:lnTo>
                        <a:pt x="94" y="596"/>
                      </a:lnTo>
                      <a:lnTo>
                        <a:pt x="92" y="603"/>
                      </a:lnTo>
                      <a:lnTo>
                        <a:pt x="92" y="611"/>
                      </a:lnTo>
                      <a:lnTo>
                        <a:pt x="92" y="611"/>
                      </a:lnTo>
                      <a:lnTo>
                        <a:pt x="91" y="629"/>
                      </a:lnTo>
                      <a:lnTo>
                        <a:pt x="92" y="641"/>
                      </a:lnTo>
                      <a:lnTo>
                        <a:pt x="94" y="643"/>
                      </a:lnTo>
                      <a:lnTo>
                        <a:pt x="96" y="643"/>
                      </a:lnTo>
                      <a:lnTo>
                        <a:pt x="99" y="641"/>
                      </a:lnTo>
                      <a:lnTo>
                        <a:pt x="104" y="636"/>
                      </a:lnTo>
                      <a:lnTo>
                        <a:pt x="104" y="636"/>
                      </a:lnTo>
                      <a:lnTo>
                        <a:pt x="124" y="616"/>
                      </a:lnTo>
                      <a:lnTo>
                        <a:pt x="132" y="611"/>
                      </a:lnTo>
                      <a:lnTo>
                        <a:pt x="139" y="608"/>
                      </a:lnTo>
                      <a:lnTo>
                        <a:pt x="139" y="608"/>
                      </a:lnTo>
                      <a:lnTo>
                        <a:pt x="143" y="606"/>
                      </a:lnTo>
                      <a:lnTo>
                        <a:pt x="145" y="604"/>
                      </a:lnTo>
                      <a:lnTo>
                        <a:pt x="145" y="601"/>
                      </a:lnTo>
                      <a:lnTo>
                        <a:pt x="145" y="599"/>
                      </a:lnTo>
                      <a:lnTo>
                        <a:pt x="150" y="597"/>
                      </a:lnTo>
                      <a:lnTo>
                        <a:pt x="150" y="597"/>
                      </a:lnTo>
                      <a:lnTo>
                        <a:pt x="153" y="596"/>
                      </a:lnTo>
                      <a:lnTo>
                        <a:pt x="157" y="590"/>
                      </a:lnTo>
                      <a:lnTo>
                        <a:pt x="160" y="573"/>
                      </a:lnTo>
                      <a:lnTo>
                        <a:pt x="164" y="559"/>
                      </a:lnTo>
                      <a:lnTo>
                        <a:pt x="165" y="554"/>
                      </a:lnTo>
                      <a:lnTo>
                        <a:pt x="165" y="554"/>
                      </a:lnTo>
                      <a:lnTo>
                        <a:pt x="167" y="554"/>
                      </a:lnTo>
                      <a:lnTo>
                        <a:pt x="167" y="554"/>
                      </a:lnTo>
                      <a:lnTo>
                        <a:pt x="172" y="559"/>
                      </a:lnTo>
                      <a:lnTo>
                        <a:pt x="174" y="561"/>
                      </a:lnTo>
                      <a:lnTo>
                        <a:pt x="178" y="562"/>
                      </a:lnTo>
                      <a:lnTo>
                        <a:pt x="181" y="562"/>
                      </a:lnTo>
                      <a:lnTo>
                        <a:pt x="186" y="561"/>
                      </a:lnTo>
                      <a:lnTo>
                        <a:pt x="192" y="557"/>
                      </a:lnTo>
                      <a:lnTo>
                        <a:pt x="200" y="550"/>
                      </a:lnTo>
                      <a:lnTo>
                        <a:pt x="200" y="550"/>
                      </a:lnTo>
                      <a:lnTo>
                        <a:pt x="209" y="543"/>
                      </a:lnTo>
                      <a:lnTo>
                        <a:pt x="216" y="538"/>
                      </a:lnTo>
                      <a:lnTo>
                        <a:pt x="230" y="531"/>
                      </a:lnTo>
                      <a:lnTo>
                        <a:pt x="235" y="528"/>
                      </a:lnTo>
                      <a:lnTo>
                        <a:pt x="239" y="522"/>
                      </a:lnTo>
                      <a:lnTo>
                        <a:pt x="242" y="517"/>
                      </a:lnTo>
                      <a:lnTo>
                        <a:pt x="245" y="510"/>
                      </a:lnTo>
                      <a:lnTo>
                        <a:pt x="245" y="510"/>
                      </a:lnTo>
                      <a:lnTo>
                        <a:pt x="249" y="493"/>
                      </a:lnTo>
                      <a:lnTo>
                        <a:pt x="249" y="479"/>
                      </a:lnTo>
                      <a:lnTo>
                        <a:pt x="251" y="470"/>
                      </a:lnTo>
                      <a:lnTo>
                        <a:pt x="251" y="468"/>
                      </a:lnTo>
                      <a:lnTo>
                        <a:pt x="252" y="467"/>
                      </a:lnTo>
                      <a:lnTo>
                        <a:pt x="252" y="467"/>
                      </a:lnTo>
                      <a:lnTo>
                        <a:pt x="256" y="465"/>
                      </a:lnTo>
                      <a:lnTo>
                        <a:pt x="256" y="463"/>
                      </a:lnTo>
                      <a:lnTo>
                        <a:pt x="256" y="458"/>
                      </a:lnTo>
                      <a:lnTo>
                        <a:pt x="254" y="453"/>
                      </a:lnTo>
                      <a:lnTo>
                        <a:pt x="251" y="446"/>
                      </a:lnTo>
                      <a:lnTo>
                        <a:pt x="251" y="446"/>
                      </a:lnTo>
                      <a:lnTo>
                        <a:pt x="249" y="442"/>
                      </a:lnTo>
                      <a:lnTo>
                        <a:pt x="249" y="437"/>
                      </a:lnTo>
                      <a:lnTo>
                        <a:pt x="251" y="425"/>
                      </a:lnTo>
                      <a:lnTo>
                        <a:pt x="251" y="406"/>
                      </a:lnTo>
                      <a:lnTo>
                        <a:pt x="249" y="394"/>
                      </a:lnTo>
                      <a:lnTo>
                        <a:pt x="245" y="380"/>
                      </a:lnTo>
                      <a:lnTo>
                        <a:pt x="245" y="380"/>
                      </a:lnTo>
                      <a:lnTo>
                        <a:pt x="235" y="355"/>
                      </a:lnTo>
                      <a:lnTo>
                        <a:pt x="228" y="341"/>
                      </a:lnTo>
                      <a:lnTo>
                        <a:pt x="221" y="333"/>
                      </a:lnTo>
                      <a:lnTo>
                        <a:pt x="218" y="322"/>
                      </a:lnTo>
                      <a:lnTo>
                        <a:pt x="218" y="322"/>
                      </a:lnTo>
                      <a:lnTo>
                        <a:pt x="212" y="314"/>
                      </a:lnTo>
                      <a:lnTo>
                        <a:pt x="207" y="308"/>
                      </a:lnTo>
                      <a:lnTo>
                        <a:pt x="198" y="303"/>
                      </a:lnTo>
                      <a:lnTo>
                        <a:pt x="186" y="291"/>
                      </a:lnTo>
                      <a:lnTo>
                        <a:pt x="186" y="291"/>
                      </a:lnTo>
                      <a:lnTo>
                        <a:pt x="172" y="275"/>
                      </a:lnTo>
                      <a:lnTo>
                        <a:pt x="162" y="261"/>
                      </a:lnTo>
                      <a:lnTo>
                        <a:pt x="155" y="249"/>
                      </a:lnTo>
                      <a:lnTo>
                        <a:pt x="151" y="244"/>
                      </a:lnTo>
                      <a:lnTo>
                        <a:pt x="151" y="237"/>
                      </a:lnTo>
                      <a:lnTo>
                        <a:pt x="151" y="237"/>
                      </a:lnTo>
                      <a:lnTo>
                        <a:pt x="150" y="233"/>
                      </a:lnTo>
                      <a:lnTo>
                        <a:pt x="148" y="230"/>
                      </a:lnTo>
                      <a:lnTo>
                        <a:pt x="143" y="226"/>
                      </a:lnTo>
                      <a:lnTo>
                        <a:pt x="136" y="219"/>
                      </a:lnTo>
                      <a:lnTo>
                        <a:pt x="132" y="216"/>
                      </a:lnTo>
                      <a:lnTo>
                        <a:pt x="127" y="207"/>
                      </a:lnTo>
                      <a:lnTo>
                        <a:pt x="127" y="207"/>
                      </a:lnTo>
                      <a:lnTo>
                        <a:pt x="125" y="199"/>
                      </a:lnTo>
                      <a:lnTo>
                        <a:pt x="124" y="190"/>
                      </a:lnTo>
                      <a:lnTo>
                        <a:pt x="125" y="181"/>
                      </a:lnTo>
                      <a:lnTo>
                        <a:pt x="127" y="171"/>
                      </a:lnTo>
                      <a:lnTo>
                        <a:pt x="131" y="162"/>
                      </a:lnTo>
                      <a:lnTo>
                        <a:pt x="136" y="155"/>
                      </a:lnTo>
                      <a:lnTo>
                        <a:pt x="141" y="146"/>
                      </a:lnTo>
                      <a:lnTo>
                        <a:pt x="148" y="141"/>
                      </a:lnTo>
                      <a:lnTo>
                        <a:pt x="148" y="141"/>
                      </a:lnTo>
                      <a:lnTo>
                        <a:pt x="153" y="136"/>
                      </a:lnTo>
                      <a:lnTo>
                        <a:pt x="157" y="131"/>
                      </a:lnTo>
                      <a:lnTo>
                        <a:pt x="160" y="120"/>
                      </a:lnTo>
                      <a:lnTo>
                        <a:pt x="162" y="113"/>
                      </a:lnTo>
                      <a:lnTo>
                        <a:pt x="164" y="110"/>
                      </a:lnTo>
                      <a:lnTo>
                        <a:pt x="165" y="106"/>
                      </a:lnTo>
                      <a:lnTo>
                        <a:pt x="165" y="106"/>
                      </a:lnTo>
                      <a:lnTo>
                        <a:pt x="171" y="105"/>
                      </a:lnTo>
                      <a:lnTo>
                        <a:pt x="174" y="105"/>
                      </a:lnTo>
                      <a:lnTo>
                        <a:pt x="176" y="106"/>
                      </a:lnTo>
                      <a:lnTo>
                        <a:pt x="179" y="105"/>
                      </a:lnTo>
                      <a:lnTo>
                        <a:pt x="179" y="105"/>
                      </a:lnTo>
                      <a:lnTo>
                        <a:pt x="181" y="101"/>
                      </a:lnTo>
                      <a:lnTo>
                        <a:pt x="183" y="98"/>
                      </a:lnTo>
                      <a:lnTo>
                        <a:pt x="185" y="94"/>
                      </a:lnTo>
                      <a:lnTo>
                        <a:pt x="190" y="89"/>
                      </a:lnTo>
                      <a:lnTo>
                        <a:pt x="190" y="89"/>
                      </a:lnTo>
                      <a:lnTo>
                        <a:pt x="197" y="85"/>
                      </a:lnTo>
                      <a:lnTo>
                        <a:pt x="202" y="84"/>
                      </a:lnTo>
                      <a:lnTo>
                        <a:pt x="205" y="82"/>
                      </a:lnTo>
                      <a:lnTo>
                        <a:pt x="207" y="80"/>
                      </a:lnTo>
                      <a:lnTo>
                        <a:pt x="207" y="8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6" name="Freeform 1745">
                  <a:extLst>
                    <a:ext uri="{FF2B5EF4-FFF2-40B4-BE49-F238E27FC236}">
                      <a16:creationId xmlns:a16="http://schemas.microsoft.com/office/drawing/2014/main" id="{39131E5B-3CF6-A858-F8C6-A0250B3A9D8F}"/>
                    </a:ext>
                  </a:extLst>
                </p:cNvPr>
                <p:cNvSpPr>
                  <a:spLocks/>
                </p:cNvSpPr>
                <p:nvPr/>
              </p:nvSpPr>
              <p:spPr bwMode="auto">
                <a:xfrm>
                  <a:off x="5695890" y="3394664"/>
                  <a:ext cx="592034" cy="588509"/>
                </a:xfrm>
                <a:custGeom>
                  <a:avLst/>
                  <a:gdLst/>
                  <a:ahLst/>
                  <a:cxnLst>
                    <a:cxn ang="0">
                      <a:pos x="526" y="609"/>
                    </a:cxn>
                    <a:cxn ang="0">
                      <a:pos x="484" y="634"/>
                    </a:cxn>
                    <a:cxn ang="0">
                      <a:pos x="411" y="696"/>
                    </a:cxn>
                    <a:cxn ang="0">
                      <a:pos x="375" y="668"/>
                    </a:cxn>
                    <a:cxn ang="0">
                      <a:pos x="328" y="660"/>
                    </a:cxn>
                    <a:cxn ang="0">
                      <a:pos x="326" y="658"/>
                    </a:cxn>
                    <a:cxn ang="0">
                      <a:pos x="314" y="651"/>
                    </a:cxn>
                    <a:cxn ang="0">
                      <a:pos x="301" y="658"/>
                    </a:cxn>
                    <a:cxn ang="0">
                      <a:pos x="300" y="668"/>
                    </a:cxn>
                    <a:cxn ang="0">
                      <a:pos x="303" y="682"/>
                    </a:cxn>
                    <a:cxn ang="0">
                      <a:pos x="281" y="677"/>
                    </a:cxn>
                    <a:cxn ang="0">
                      <a:pos x="270" y="665"/>
                    </a:cxn>
                    <a:cxn ang="0">
                      <a:pos x="244" y="628"/>
                    </a:cxn>
                    <a:cxn ang="0">
                      <a:pos x="235" y="606"/>
                    </a:cxn>
                    <a:cxn ang="0">
                      <a:pos x="230" y="581"/>
                    </a:cxn>
                    <a:cxn ang="0">
                      <a:pos x="209" y="548"/>
                    </a:cxn>
                    <a:cxn ang="0">
                      <a:pos x="181" y="529"/>
                    </a:cxn>
                    <a:cxn ang="0">
                      <a:pos x="155" y="489"/>
                    </a:cxn>
                    <a:cxn ang="0">
                      <a:pos x="159" y="477"/>
                    </a:cxn>
                    <a:cxn ang="0">
                      <a:pos x="153" y="456"/>
                    </a:cxn>
                    <a:cxn ang="0">
                      <a:pos x="155" y="432"/>
                    </a:cxn>
                    <a:cxn ang="0">
                      <a:pos x="127" y="369"/>
                    </a:cxn>
                    <a:cxn ang="0">
                      <a:pos x="105" y="355"/>
                    </a:cxn>
                    <a:cxn ang="0">
                      <a:pos x="92" y="327"/>
                    </a:cxn>
                    <a:cxn ang="0">
                      <a:pos x="86" y="299"/>
                    </a:cxn>
                    <a:cxn ang="0">
                      <a:pos x="72" y="278"/>
                    </a:cxn>
                    <a:cxn ang="0">
                      <a:pos x="40" y="223"/>
                    </a:cxn>
                    <a:cxn ang="0">
                      <a:pos x="14" y="184"/>
                    </a:cxn>
                    <a:cxn ang="0">
                      <a:pos x="0" y="184"/>
                    </a:cxn>
                    <a:cxn ang="0">
                      <a:pos x="7" y="150"/>
                    </a:cxn>
                    <a:cxn ang="0">
                      <a:pos x="51" y="136"/>
                    </a:cxn>
                    <a:cxn ang="0">
                      <a:pos x="70" y="111"/>
                    </a:cxn>
                    <a:cxn ang="0">
                      <a:pos x="96" y="101"/>
                    </a:cxn>
                    <a:cxn ang="0">
                      <a:pos x="106" y="87"/>
                    </a:cxn>
                    <a:cxn ang="0">
                      <a:pos x="119" y="75"/>
                    </a:cxn>
                    <a:cxn ang="0">
                      <a:pos x="89" y="38"/>
                    </a:cxn>
                    <a:cxn ang="0">
                      <a:pos x="103" y="24"/>
                    </a:cxn>
                    <a:cxn ang="0">
                      <a:pos x="162" y="0"/>
                    </a:cxn>
                    <a:cxn ang="0">
                      <a:pos x="204" y="9"/>
                    </a:cxn>
                    <a:cxn ang="0">
                      <a:pos x="239" y="36"/>
                    </a:cxn>
                    <a:cxn ang="0">
                      <a:pos x="281" y="63"/>
                    </a:cxn>
                    <a:cxn ang="0">
                      <a:pos x="355" y="134"/>
                    </a:cxn>
                    <a:cxn ang="0">
                      <a:pos x="420" y="139"/>
                    </a:cxn>
                    <a:cxn ang="0">
                      <a:pos x="451" y="143"/>
                    </a:cxn>
                    <a:cxn ang="0">
                      <a:pos x="458" y="164"/>
                    </a:cxn>
                    <a:cxn ang="0">
                      <a:pos x="498" y="193"/>
                    </a:cxn>
                    <a:cxn ang="0">
                      <a:pos x="509" y="205"/>
                    </a:cxn>
                    <a:cxn ang="0">
                      <a:pos x="517" y="218"/>
                    </a:cxn>
                    <a:cxn ang="0">
                      <a:pos x="545" y="247"/>
                    </a:cxn>
                    <a:cxn ang="0">
                      <a:pos x="540" y="249"/>
                    </a:cxn>
                    <a:cxn ang="0">
                      <a:pos x="545" y="265"/>
                    </a:cxn>
                    <a:cxn ang="0">
                      <a:pos x="545" y="285"/>
                    </a:cxn>
                    <a:cxn ang="0">
                      <a:pos x="554" y="301"/>
                    </a:cxn>
                    <a:cxn ang="0">
                      <a:pos x="566" y="334"/>
                    </a:cxn>
                    <a:cxn ang="0">
                      <a:pos x="580" y="355"/>
                    </a:cxn>
                    <a:cxn ang="0">
                      <a:pos x="603" y="376"/>
                    </a:cxn>
                    <a:cxn ang="0">
                      <a:pos x="608" y="407"/>
                    </a:cxn>
                    <a:cxn ang="0">
                      <a:pos x="643" y="418"/>
                    </a:cxn>
                    <a:cxn ang="0">
                      <a:pos x="719" y="430"/>
                    </a:cxn>
                    <a:cxn ang="0">
                      <a:pos x="738" y="456"/>
                    </a:cxn>
                    <a:cxn ang="0">
                      <a:pos x="732" y="482"/>
                    </a:cxn>
                    <a:cxn ang="0">
                      <a:pos x="707" y="548"/>
                    </a:cxn>
                    <a:cxn ang="0">
                      <a:pos x="610" y="585"/>
                    </a:cxn>
                  </a:cxnLst>
                  <a:rect l="0" t="0" r="r" b="b"/>
                  <a:pathLst>
                    <a:path w="738" h="733">
                      <a:moveTo>
                        <a:pt x="610" y="585"/>
                      </a:moveTo>
                      <a:lnTo>
                        <a:pt x="610" y="585"/>
                      </a:lnTo>
                      <a:lnTo>
                        <a:pt x="557" y="602"/>
                      </a:lnTo>
                      <a:lnTo>
                        <a:pt x="557" y="602"/>
                      </a:lnTo>
                      <a:lnTo>
                        <a:pt x="526" y="609"/>
                      </a:lnTo>
                      <a:lnTo>
                        <a:pt x="510" y="613"/>
                      </a:lnTo>
                      <a:lnTo>
                        <a:pt x="496" y="618"/>
                      </a:lnTo>
                      <a:lnTo>
                        <a:pt x="496" y="618"/>
                      </a:lnTo>
                      <a:lnTo>
                        <a:pt x="491" y="623"/>
                      </a:lnTo>
                      <a:lnTo>
                        <a:pt x="484" y="634"/>
                      </a:lnTo>
                      <a:lnTo>
                        <a:pt x="472" y="651"/>
                      </a:lnTo>
                      <a:lnTo>
                        <a:pt x="472" y="651"/>
                      </a:lnTo>
                      <a:lnTo>
                        <a:pt x="411" y="733"/>
                      </a:lnTo>
                      <a:lnTo>
                        <a:pt x="411" y="733"/>
                      </a:lnTo>
                      <a:lnTo>
                        <a:pt x="411" y="696"/>
                      </a:lnTo>
                      <a:lnTo>
                        <a:pt x="411" y="696"/>
                      </a:lnTo>
                      <a:lnTo>
                        <a:pt x="411" y="688"/>
                      </a:lnTo>
                      <a:lnTo>
                        <a:pt x="411" y="688"/>
                      </a:lnTo>
                      <a:lnTo>
                        <a:pt x="399" y="681"/>
                      </a:lnTo>
                      <a:lnTo>
                        <a:pt x="375" y="668"/>
                      </a:lnTo>
                      <a:lnTo>
                        <a:pt x="348" y="658"/>
                      </a:lnTo>
                      <a:lnTo>
                        <a:pt x="340" y="656"/>
                      </a:lnTo>
                      <a:lnTo>
                        <a:pt x="335" y="655"/>
                      </a:lnTo>
                      <a:lnTo>
                        <a:pt x="335" y="655"/>
                      </a:lnTo>
                      <a:lnTo>
                        <a:pt x="328" y="660"/>
                      </a:lnTo>
                      <a:lnTo>
                        <a:pt x="328" y="660"/>
                      </a:lnTo>
                      <a:lnTo>
                        <a:pt x="326" y="660"/>
                      </a:lnTo>
                      <a:lnTo>
                        <a:pt x="326" y="660"/>
                      </a:lnTo>
                      <a:lnTo>
                        <a:pt x="326" y="658"/>
                      </a:lnTo>
                      <a:lnTo>
                        <a:pt x="326" y="658"/>
                      </a:lnTo>
                      <a:lnTo>
                        <a:pt x="322" y="658"/>
                      </a:lnTo>
                      <a:lnTo>
                        <a:pt x="322" y="658"/>
                      </a:lnTo>
                      <a:lnTo>
                        <a:pt x="319" y="656"/>
                      </a:lnTo>
                      <a:lnTo>
                        <a:pt x="317" y="653"/>
                      </a:lnTo>
                      <a:lnTo>
                        <a:pt x="314" y="651"/>
                      </a:lnTo>
                      <a:lnTo>
                        <a:pt x="310" y="651"/>
                      </a:lnTo>
                      <a:lnTo>
                        <a:pt x="310" y="651"/>
                      </a:lnTo>
                      <a:lnTo>
                        <a:pt x="307" y="651"/>
                      </a:lnTo>
                      <a:lnTo>
                        <a:pt x="303" y="655"/>
                      </a:lnTo>
                      <a:lnTo>
                        <a:pt x="301" y="658"/>
                      </a:lnTo>
                      <a:lnTo>
                        <a:pt x="303" y="660"/>
                      </a:lnTo>
                      <a:lnTo>
                        <a:pt x="303" y="660"/>
                      </a:lnTo>
                      <a:lnTo>
                        <a:pt x="303" y="661"/>
                      </a:lnTo>
                      <a:lnTo>
                        <a:pt x="303" y="661"/>
                      </a:lnTo>
                      <a:lnTo>
                        <a:pt x="300" y="668"/>
                      </a:lnTo>
                      <a:lnTo>
                        <a:pt x="300" y="675"/>
                      </a:lnTo>
                      <a:lnTo>
                        <a:pt x="300" y="675"/>
                      </a:lnTo>
                      <a:lnTo>
                        <a:pt x="301" y="681"/>
                      </a:lnTo>
                      <a:lnTo>
                        <a:pt x="303" y="682"/>
                      </a:lnTo>
                      <a:lnTo>
                        <a:pt x="303" y="682"/>
                      </a:lnTo>
                      <a:lnTo>
                        <a:pt x="296" y="691"/>
                      </a:lnTo>
                      <a:lnTo>
                        <a:pt x="288" y="700"/>
                      </a:lnTo>
                      <a:lnTo>
                        <a:pt x="288" y="700"/>
                      </a:lnTo>
                      <a:lnTo>
                        <a:pt x="284" y="686"/>
                      </a:lnTo>
                      <a:lnTo>
                        <a:pt x="281" y="677"/>
                      </a:lnTo>
                      <a:lnTo>
                        <a:pt x="279" y="672"/>
                      </a:lnTo>
                      <a:lnTo>
                        <a:pt x="277" y="672"/>
                      </a:lnTo>
                      <a:lnTo>
                        <a:pt x="274" y="672"/>
                      </a:lnTo>
                      <a:lnTo>
                        <a:pt x="272" y="670"/>
                      </a:lnTo>
                      <a:lnTo>
                        <a:pt x="270" y="665"/>
                      </a:lnTo>
                      <a:lnTo>
                        <a:pt x="270" y="665"/>
                      </a:lnTo>
                      <a:lnTo>
                        <a:pt x="267" y="658"/>
                      </a:lnTo>
                      <a:lnTo>
                        <a:pt x="263" y="651"/>
                      </a:lnTo>
                      <a:lnTo>
                        <a:pt x="253" y="639"/>
                      </a:lnTo>
                      <a:lnTo>
                        <a:pt x="244" y="628"/>
                      </a:lnTo>
                      <a:lnTo>
                        <a:pt x="242" y="623"/>
                      </a:lnTo>
                      <a:lnTo>
                        <a:pt x="240" y="618"/>
                      </a:lnTo>
                      <a:lnTo>
                        <a:pt x="240" y="618"/>
                      </a:lnTo>
                      <a:lnTo>
                        <a:pt x="239" y="609"/>
                      </a:lnTo>
                      <a:lnTo>
                        <a:pt x="235" y="606"/>
                      </a:lnTo>
                      <a:lnTo>
                        <a:pt x="234" y="601"/>
                      </a:lnTo>
                      <a:lnTo>
                        <a:pt x="232" y="592"/>
                      </a:lnTo>
                      <a:lnTo>
                        <a:pt x="232" y="592"/>
                      </a:lnTo>
                      <a:lnTo>
                        <a:pt x="232" y="585"/>
                      </a:lnTo>
                      <a:lnTo>
                        <a:pt x="230" y="581"/>
                      </a:lnTo>
                      <a:lnTo>
                        <a:pt x="227" y="578"/>
                      </a:lnTo>
                      <a:lnTo>
                        <a:pt x="221" y="571"/>
                      </a:lnTo>
                      <a:lnTo>
                        <a:pt x="221" y="571"/>
                      </a:lnTo>
                      <a:lnTo>
                        <a:pt x="216" y="559"/>
                      </a:lnTo>
                      <a:lnTo>
                        <a:pt x="209" y="548"/>
                      </a:lnTo>
                      <a:lnTo>
                        <a:pt x="200" y="538"/>
                      </a:lnTo>
                      <a:lnTo>
                        <a:pt x="195" y="534"/>
                      </a:lnTo>
                      <a:lnTo>
                        <a:pt x="190" y="533"/>
                      </a:lnTo>
                      <a:lnTo>
                        <a:pt x="190" y="533"/>
                      </a:lnTo>
                      <a:lnTo>
                        <a:pt x="181" y="529"/>
                      </a:lnTo>
                      <a:lnTo>
                        <a:pt x="176" y="524"/>
                      </a:lnTo>
                      <a:lnTo>
                        <a:pt x="171" y="514"/>
                      </a:lnTo>
                      <a:lnTo>
                        <a:pt x="162" y="501"/>
                      </a:lnTo>
                      <a:lnTo>
                        <a:pt x="162" y="501"/>
                      </a:lnTo>
                      <a:lnTo>
                        <a:pt x="155" y="489"/>
                      </a:lnTo>
                      <a:lnTo>
                        <a:pt x="155" y="487"/>
                      </a:lnTo>
                      <a:lnTo>
                        <a:pt x="157" y="486"/>
                      </a:lnTo>
                      <a:lnTo>
                        <a:pt x="159" y="484"/>
                      </a:lnTo>
                      <a:lnTo>
                        <a:pt x="159" y="480"/>
                      </a:lnTo>
                      <a:lnTo>
                        <a:pt x="159" y="477"/>
                      </a:lnTo>
                      <a:lnTo>
                        <a:pt x="155" y="472"/>
                      </a:lnTo>
                      <a:lnTo>
                        <a:pt x="155" y="472"/>
                      </a:lnTo>
                      <a:lnTo>
                        <a:pt x="153" y="465"/>
                      </a:lnTo>
                      <a:lnTo>
                        <a:pt x="153" y="460"/>
                      </a:lnTo>
                      <a:lnTo>
                        <a:pt x="153" y="456"/>
                      </a:lnTo>
                      <a:lnTo>
                        <a:pt x="155" y="453"/>
                      </a:lnTo>
                      <a:lnTo>
                        <a:pt x="157" y="449"/>
                      </a:lnTo>
                      <a:lnTo>
                        <a:pt x="159" y="446"/>
                      </a:lnTo>
                      <a:lnTo>
                        <a:pt x="157" y="440"/>
                      </a:lnTo>
                      <a:lnTo>
                        <a:pt x="155" y="432"/>
                      </a:lnTo>
                      <a:lnTo>
                        <a:pt x="155" y="432"/>
                      </a:lnTo>
                      <a:lnTo>
                        <a:pt x="148" y="411"/>
                      </a:lnTo>
                      <a:lnTo>
                        <a:pt x="139" y="388"/>
                      </a:lnTo>
                      <a:lnTo>
                        <a:pt x="134" y="378"/>
                      </a:lnTo>
                      <a:lnTo>
                        <a:pt x="127" y="369"/>
                      </a:lnTo>
                      <a:lnTo>
                        <a:pt x="122" y="364"/>
                      </a:lnTo>
                      <a:lnTo>
                        <a:pt x="117" y="360"/>
                      </a:lnTo>
                      <a:lnTo>
                        <a:pt x="117" y="360"/>
                      </a:lnTo>
                      <a:lnTo>
                        <a:pt x="110" y="359"/>
                      </a:lnTo>
                      <a:lnTo>
                        <a:pt x="105" y="355"/>
                      </a:lnTo>
                      <a:lnTo>
                        <a:pt x="96" y="346"/>
                      </a:lnTo>
                      <a:lnTo>
                        <a:pt x="94" y="341"/>
                      </a:lnTo>
                      <a:lnTo>
                        <a:pt x="92" y="336"/>
                      </a:lnTo>
                      <a:lnTo>
                        <a:pt x="91" y="332"/>
                      </a:lnTo>
                      <a:lnTo>
                        <a:pt x="92" y="327"/>
                      </a:lnTo>
                      <a:lnTo>
                        <a:pt x="92" y="327"/>
                      </a:lnTo>
                      <a:lnTo>
                        <a:pt x="94" y="324"/>
                      </a:lnTo>
                      <a:lnTo>
                        <a:pt x="94" y="320"/>
                      </a:lnTo>
                      <a:lnTo>
                        <a:pt x="92" y="310"/>
                      </a:lnTo>
                      <a:lnTo>
                        <a:pt x="86" y="299"/>
                      </a:lnTo>
                      <a:lnTo>
                        <a:pt x="79" y="292"/>
                      </a:lnTo>
                      <a:lnTo>
                        <a:pt x="79" y="292"/>
                      </a:lnTo>
                      <a:lnTo>
                        <a:pt x="73" y="287"/>
                      </a:lnTo>
                      <a:lnTo>
                        <a:pt x="73" y="282"/>
                      </a:lnTo>
                      <a:lnTo>
                        <a:pt x="72" y="278"/>
                      </a:lnTo>
                      <a:lnTo>
                        <a:pt x="68" y="273"/>
                      </a:lnTo>
                      <a:lnTo>
                        <a:pt x="68" y="273"/>
                      </a:lnTo>
                      <a:lnTo>
                        <a:pt x="61" y="265"/>
                      </a:lnTo>
                      <a:lnTo>
                        <a:pt x="54" y="252"/>
                      </a:lnTo>
                      <a:lnTo>
                        <a:pt x="40" y="223"/>
                      </a:lnTo>
                      <a:lnTo>
                        <a:pt x="26" y="197"/>
                      </a:lnTo>
                      <a:lnTo>
                        <a:pt x="21" y="188"/>
                      </a:lnTo>
                      <a:lnTo>
                        <a:pt x="18" y="186"/>
                      </a:lnTo>
                      <a:lnTo>
                        <a:pt x="14" y="184"/>
                      </a:lnTo>
                      <a:lnTo>
                        <a:pt x="14" y="184"/>
                      </a:lnTo>
                      <a:lnTo>
                        <a:pt x="9" y="184"/>
                      </a:lnTo>
                      <a:lnTo>
                        <a:pt x="5" y="184"/>
                      </a:lnTo>
                      <a:lnTo>
                        <a:pt x="0" y="188"/>
                      </a:lnTo>
                      <a:lnTo>
                        <a:pt x="0" y="186"/>
                      </a:lnTo>
                      <a:lnTo>
                        <a:pt x="0" y="184"/>
                      </a:lnTo>
                      <a:lnTo>
                        <a:pt x="5" y="172"/>
                      </a:lnTo>
                      <a:lnTo>
                        <a:pt x="5" y="172"/>
                      </a:lnTo>
                      <a:lnTo>
                        <a:pt x="7" y="164"/>
                      </a:lnTo>
                      <a:lnTo>
                        <a:pt x="7" y="158"/>
                      </a:lnTo>
                      <a:lnTo>
                        <a:pt x="7" y="150"/>
                      </a:lnTo>
                      <a:lnTo>
                        <a:pt x="12" y="127"/>
                      </a:lnTo>
                      <a:lnTo>
                        <a:pt x="12" y="127"/>
                      </a:lnTo>
                      <a:lnTo>
                        <a:pt x="32" y="132"/>
                      </a:lnTo>
                      <a:lnTo>
                        <a:pt x="44" y="134"/>
                      </a:lnTo>
                      <a:lnTo>
                        <a:pt x="51" y="136"/>
                      </a:lnTo>
                      <a:lnTo>
                        <a:pt x="51" y="136"/>
                      </a:lnTo>
                      <a:lnTo>
                        <a:pt x="56" y="134"/>
                      </a:lnTo>
                      <a:lnTo>
                        <a:pt x="59" y="130"/>
                      </a:lnTo>
                      <a:lnTo>
                        <a:pt x="65" y="122"/>
                      </a:lnTo>
                      <a:lnTo>
                        <a:pt x="70" y="111"/>
                      </a:lnTo>
                      <a:lnTo>
                        <a:pt x="75" y="104"/>
                      </a:lnTo>
                      <a:lnTo>
                        <a:pt x="75" y="104"/>
                      </a:lnTo>
                      <a:lnTo>
                        <a:pt x="80" y="101"/>
                      </a:lnTo>
                      <a:lnTo>
                        <a:pt x="89" y="101"/>
                      </a:lnTo>
                      <a:lnTo>
                        <a:pt x="96" y="101"/>
                      </a:lnTo>
                      <a:lnTo>
                        <a:pt x="101" y="97"/>
                      </a:lnTo>
                      <a:lnTo>
                        <a:pt x="101" y="97"/>
                      </a:lnTo>
                      <a:lnTo>
                        <a:pt x="103" y="94"/>
                      </a:lnTo>
                      <a:lnTo>
                        <a:pt x="105" y="90"/>
                      </a:lnTo>
                      <a:lnTo>
                        <a:pt x="106" y="87"/>
                      </a:lnTo>
                      <a:lnTo>
                        <a:pt x="106" y="83"/>
                      </a:lnTo>
                      <a:lnTo>
                        <a:pt x="106" y="83"/>
                      </a:lnTo>
                      <a:lnTo>
                        <a:pt x="113" y="80"/>
                      </a:lnTo>
                      <a:lnTo>
                        <a:pt x="117" y="76"/>
                      </a:lnTo>
                      <a:lnTo>
                        <a:pt x="119" y="75"/>
                      </a:lnTo>
                      <a:lnTo>
                        <a:pt x="119" y="75"/>
                      </a:lnTo>
                      <a:lnTo>
                        <a:pt x="117" y="71"/>
                      </a:lnTo>
                      <a:lnTo>
                        <a:pt x="113" y="66"/>
                      </a:lnTo>
                      <a:lnTo>
                        <a:pt x="101" y="52"/>
                      </a:lnTo>
                      <a:lnTo>
                        <a:pt x="89" y="38"/>
                      </a:lnTo>
                      <a:lnTo>
                        <a:pt x="84" y="29"/>
                      </a:lnTo>
                      <a:lnTo>
                        <a:pt x="84" y="29"/>
                      </a:lnTo>
                      <a:lnTo>
                        <a:pt x="87" y="28"/>
                      </a:lnTo>
                      <a:lnTo>
                        <a:pt x="92" y="26"/>
                      </a:lnTo>
                      <a:lnTo>
                        <a:pt x="103" y="24"/>
                      </a:lnTo>
                      <a:lnTo>
                        <a:pt x="103" y="24"/>
                      </a:lnTo>
                      <a:lnTo>
                        <a:pt x="133" y="16"/>
                      </a:lnTo>
                      <a:lnTo>
                        <a:pt x="150" y="9"/>
                      </a:lnTo>
                      <a:lnTo>
                        <a:pt x="157" y="5"/>
                      </a:lnTo>
                      <a:lnTo>
                        <a:pt x="162" y="0"/>
                      </a:lnTo>
                      <a:lnTo>
                        <a:pt x="162" y="0"/>
                      </a:lnTo>
                      <a:lnTo>
                        <a:pt x="183" y="3"/>
                      </a:lnTo>
                      <a:lnTo>
                        <a:pt x="193" y="5"/>
                      </a:lnTo>
                      <a:lnTo>
                        <a:pt x="204" y="9"/>
                      </a:lnTo>
                      <a:lnTo>
                        <a:pt x="204" y="9"/>
                      </a:lnTo>
                      <a:lnTo>
                        <a:pt x="213" y="16"/>
                      </a:lnTo>
                      <a:lnTo>
                        <a:pt x="221" y="23"/>
                      </a:lnTo>
                      <a:lnTo>
                        <a:pt x="230" y="29"/>
                      </a:lnTo>
                      <a:lnTo>
                        <a:pt x="239" y="36"/>
                      </a:lnTo>
                      <a:lnTo>
                        <a:pt x="239" y="36"/>
                      </a:lnTo>
                      <a:lnTo>
                        <a:pt x="251" y="42"/>
                      </a:lnTo>
                      <a:lnTo>
                        <a:pt x="261" y="47"/>
                      </a:lnTo>
                      <a:lnTo>
                        <a:pt x="261" y="47"/>
                      </a:lnTo>
                      <a:lnTo>
                        <a:pt x="272" y="54"/>
                      </a:lnTo>
                      <a:lnTo>
                        <a:pt x="281" y="63"/>
                      </a:lnTo>
                      <a:lnTo>
                        <a:pt x="296" y="80"/>
                      </a:lnTo>
                      <a:lnTo>
                        <a:pt x="296" y="80"/>
                      </a:lnTo>
                      <a:lnTo>
                        <a:pt x="326" y="110"/>
                      </a:lnTo>
                      <a:lnTo>
                        <a:pt x="343" y="125"/>
                      </a:lnTo>
                      <a:lnTo>
                        <a:pt x="355" y="134"/>
                      </a:lnTo>
                      <a:lnTo>
                        <a:pt x="355" y="134"/>
                      </a:lnTo>
                      <a:lnTo>
                        <a:pt x="366" y="136"/>
                      </a:lnTo>
                      <a:lnTo>
                        <a:pt x="388" y="139"/>
                      </a:lnTo>
                      <a:lnTo>
                        <a:pt x="408" y="139"/>
                      </a:lnTo>
                      <a:lnTo>
                        <a:pt x="420" y="139"/>
                      </a:lnTo>
                      <a:lnTo>
                        <a:pt x="420" y="139"/>
                      </a:lnTo>
                      <a:lnTo>
                        <a:pt x="436" y="141"/>
                      </a:lnTo>
                      <a:lnTo>
                        <a:pt x="446" y="143"/>
                      </a:lnTo>
                      <a:lnTo>
                        <a:pt x="451" y="143"/>
                      </a:lnTo>
                      <a:lnTo>
                        <a:pt x="451" y="143"/>
                      </a:lnTo>
                      <a:lnTo>
                        <a:pt x="453" y="148"/>
                      </a:lnTo>
                      <a:lnTo>
                        <a:pt x="455" y="153"/>
                      </a:lnTo>
                      <a:lnTo>
                        <a:pt x="456" y="158"/>
                      </a:lnTo>
                      <a:lnTo>
                        <a:pt x="458" y="164"/>
                      </a:lnTo>
                      <a:lnTo>
                        <a:pt x="458" y="164"/>
                      </a:lnTo>
                      <a:lnTo>
                        <a:pt x="486" y="164"/>
                      </a:lnTo>
                      <a:lnTo>
                        <a:pt x="486" y="164"/>
                      </a:lnTo>
                      <a:lnTo>
                        <a:pt x="491" y="179"/>
                      </a:lnTo>
                      <a:lnTo>
                        <a:pt x="495" y="188"/>
                      </a:lnTo>
                      <a:lnTo>
                        <a:pt x="498" y="193"/>
                      </a:lnTo>
                      <a:lnTo>
                        <a:pt x="500" y="200"/>
                      </a:lnTo>
                      <a:lnTo>
                        <a:pt x="500" y="200"/>
                      </a:lnTo>
                      <a:lnTo>
                        <a:pt x="502" y="202"/>
                      </a:lnTo>
                      <a:lnTo>
                        <a:pt x="503" y="204"/>
                      </a:lnTo>
                      <a:lnTo>
                        <a:pt x="509" y="205"/>
                      </a:lnTo>
                      <a:lnTo>
                        <a:pt x="514" y="207"/>
                      </a:lnTo>
                      <a:lnTo>
                        <a:pt x="516" y="209"/>
                      </a:lnTo>
                      <a:lnTo>
                        <a:pt x="516" y="212"/>
                      </a:lnTo>
                      <a:lnTo>
                        <a:pt x="516" y="212"/>
                      </a:lnTo>
                      <a:lnTo>
                        <a:pt x="517" y="218"/>
                      </a:lnTo>
                      <a:lnTo>
                        <a:pt x="519" y="223"/>
                      </a:lnTo>
                      <a:lnTo>
                        <a:pt x="530" y="231"/>
                      </a:lnTo>
                      <a:lnTo>
                        <a:pt x="540" y="240"/>
                      </a:lnTo>
                      <a:lnTo>
                        <a:pt x="543" y="244"/>
                      </a:lnTo>
                      <a:lnTo>
                        <a:pt x="545" y="247"/>
                      </a:lnTo>
                      <a:lnTo>
                        <a:pt x="545" y="247"/>
                      </a:lnTo>
                      <a:lnTo>
                        <a:pt x="545" y="249"/>
                      </a:lnTo>
                      <a:lnTo>
                        <a:pt x="545" y="249"/>
                      </a:lnTo>
                      <a:lnTo>
                        <a:pt x="542" y="249"/>
                      </a:lnTo>
                      <a:lnTo>
                        <a:pt x="540" y="249"/>
                      </a:lnTo>
                      <a:lnTo>
                        <a:pt x="540" y="249"/>
                      </a:lnTo>
                      <a:lnTo>
                        <a:pt x="542" y="256"/>
                      </a:lnTo>
                      <a:lnTo>
                        <a:pt x="542" y="256"/>
                      </a:lnTo>
                      <a:lnTo>
                        <a:pt x="543" y="261"/>
                      </a:lnTo>
                      <a:lnTo>
                        <a:pt x="545" y="265"/>
                      </a:lnTo>
                      <a:lnTo>
                        <a:pt x="545" y="271"/>
                      </a:lnTo>
                      <a:lnTo>
                        <a:pt x="543" y="278"/>
                      </a:lnTo>
                      <a:lnTo>
                        <a:pt x="545" y="282"/>
                      </a:lnTo>
                      <a:lnTo>
                        <a:pt x="545" y="285"/>
                      </a:lnTo>
                      <a:lnTo>
                        <a:pt x="545" y="285"/>
                      </a:lnTo>
                      <a:lnTo>
                        <a:pt x="549" y="292"/>
                      </a:lnTo>
                      <a:lnTo>
                        <a:pt x="549" y="294"/>
                      </a:lnTo>
                      <a:lnTo>
                        <a:pt x="549" y="298"/>
                      </a:lnTo>
                      <a:lnTo>
                        <a:pt x="554" y="301"/>
                      </a:lnTo>
                      <a:lnTo>
                        <a:pt x="554" y="301"/>
                      </a:lnTo>
                      <a:lnTo>
                        <a:pt x="557" y="308"/>
                      </a:lnTo>
                      <a:lnTo>
                        <a:pt x="561" y="315"/>
                      </a:lnTo>
                      <a:lnTo>
                        <a:pt x="563" y="324"/>
                      </a:lnTo>
                      <a:lnTo>
                        <a:pt x="566" y="334"/>
                      </a:lnTo>
                      <a:lnTo>
                        <a:pt x="566" y="334"/>
                      </a:lnTo>
                      <a:lnTo>
                        <a:pt x="573" y="339"/>
                      </a:lnTo>
                      <a:lnTo>
                        <a:pt x="580" y="343"/>
                      </a:lnTo>
                      <a:lnTo>
                        <a:pt x="580" y="343"/>
                      </a:lnTo>
                      <a:lnTo>
                        <a:pt x="580" y="350"/>
                      </a:lnTo>
                      <a:lnTo>
                        <a:pt x="580" y="355"/>
                      </a:lnTo>
                      <a:lnTo>
                        <a:pt x="585" y="360"/>
                      </a:lnTo>
                      <a:lnTo>
                        <a:pt x="592" y="366"/>
                      </a:lnTo>
                      <a:lnTo>
                        <a:pt x="592" y="366"/>
                      </a:lnTo>
                      <a:lnTo>
                        <a:pt x="599" y="371"/>
                      </a:lnTo>
                      <a:lnTo>
                        <a:pt x="603" y="376"/>
                      </a:lnTo>
                      <a:lnTo>
                        <a:pt x="604" y="383"/>
                      </a:lnTo>
                      <a:lnTo>
                        <a:pt x="606" y="393"/>
                      </a:lnTo>
                      <a:lnTo>
                        <a:pt x="606" y="393"/>
                      </a:lnTo>
                      <a:lnTo>
                        <a:pt x="606" y="404"/>
                      </a:lnTo>
                      <a:lnTo>
                        <a:pt x="608" y="407"/>
                      </a:lnTo>
                      <a:lnTo>
                        <a:pt x="610" y="411"/>
                      </a:lnTo>
                      <a:lnTo>
                        <a:pt x="613" y="413"/>
                      </a:lnTo>
                      <a:lnTo>
                        <a:pt x="620" y="414"/>
                      </a:lnTo>
                      <a:lnTo>
                        <a:pt x="643" y="418"/>
                      </a:lnTo>
                      <a:lnTo>
                        <a:pt x="643" y="418"/>
                      </a:lnTo>
                      <a:lnTo>
                        <a:pt x="671" y="425"/>
                      </a:lnTo>
                      <a:lnTo>
                        <a:pt x="697" y="430"/>
                      </a:lnTo>
                      <a:lnTo>
                        <a:pt x="705" y="432"/>
                      </a:lnTo>
                      <a:lnTo>
                        <a:pt x="714" y="432"/>
                      </a:lnTo>
                      <a:lnTo>
                        <a:pt x="719" y="430"/>
                      </a:lnTo>
                      <a:lnTo>
                        <a:pt x="723" y="425"/>
                      </a:lnTo>
                      <a:lnTo>
                        <a:pt x="723" y="425"/>
                      </a:lnTo>
                      <a:lnTo>
                        <a:pt x="732" y="440"/>
                      </a:lnTo>
                      <a:lnTo>
                        <a:pt x="737" y="447"/>
                      </a:lnTo>
                      <a:lnTo>
                        <a:pt x="738" y="456"/>
                      </a:lnTo>
                      <a:lnTo>
                        <a:pt x="738" y="456"/>
                      </a:lnTo>
                      <a:lnTo>
                        <a:pt x="738" y="461"/>
                      </a:lnTo>
                      <a:lnTo>
                        <a:pt x="737" y="468"/>
                      </a:lnTo>
                      <a:lnTo>
                        <a:pt x="732" y="482"/>
                      </a:lnTo>
                      <a:lnTo>
                        <a:pt x="732" y="482"/>
                      </a:lnTo>
                      <a:lnTo>
                        <a:pt x="725" y="515"/>
                      </a:lnTo>
                      <a:lnTo>
                        <a:pt x="719" y="533"/>
                      </a:lnTo>
                      <a:lnTo>
                        <a:pt x="716" y="543"/>
                      </a:lnTo>
                      <a:lnTo>
                        <a:pt x="716" y="543"/>
                      </a:lnTo>
                      <a:lnTo>
                        <a:pt x="707" y="548"/>
                      </a:lnTo>
                      <a:lnTo>
                        <a:pt x="691" y="554"/>
                      </a:lnTo>
                      <a:lnTo>
                        <a:pt x="665" y="564"/>
                      </a:lnTo>
                      <a:lnTo>
                        <a:pt x="665" y="564"/>
                      </a:lnTo>
                      <a:lnTo>
                        <a:pt x="610" y="585"/>
                      </a:lnTo>
                      <a:lnTo>
                        <a:pt x="610" y="5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7" name="Freeform 1746">
                  <a:extLst>
                    <a:ext uri="{FF2B5EF4-FFF2-40B4-BE49-F238E27FC236}">
                      <a16:creationId xmlns:a16="http://schemas.microsoft.com/office/drawing/2014/main" id="{45EFECAA-537B-916F-19F5-07163DA5C52C}"/>
                    </a:ext>
                  </a:extLst>
                </p:cNvPr>
                <p:cNvSpPr>
                  <a:spLocks/>
                </p:cNvSpPr>
                <p:nvPr/>
              </p:nvSpPr>
              <p:spPr bwMode="auto">
                <a:xfrm>
                  <a:off x="5812182" y="3200844"/>
                  <a:ext cx="274872" cy="306589"/>
                </a:xfrm>
                <a:custGeom>
                  <a:avLst/>
                  <a:gdLst/>
                  <a:ahLst/>
                  <a:cxnLst>
                    <a:cxn ang="0">
                      <a:pos x="223" y="40"/>
                    </a:cxn>
                    <a:cxn ang="0">
                      <a:pos x="232" y="65"/>
                    </a:cxn>
                    <a:cxn ang="0">
                      <a:pos x="260" y="72"/>
                    </a:cxn>
                    <a:cxn ang="0">
                      <a:pos x="267" y="77"/>
                    </a:cxn>
                    <a:cxn ang="0">
                      <a:pos x="255" y="84"/>
                    </a:cxn>
                    <a:cxn ang="0">
                      <a:pos x="258" y="101"/>
                    </a:cxn>
                    <a:cxn ang="0">
                      <a:pos x="244" y="124"/>
                    </a:cxn>
                    <a:cxn ang="0">
                      <a:pos x="234" y="146"/>
                    </a:cxn>
                    <a:cxn ang="0">
                      <a:pos x="244" y="172"/>
                    </a:cxn>
                    <a:cxn ang="0">
                      <a:pos x="260" y="193"/>
                    </a:cxn>
                    <a:cxn ang="0">
                      <a:pos x="283" y="220"/>
                    </a:cxn>
                    <a:cxn ang="0">
                      <a:pos x="312" y="244"/>
                    </a:cxn>
                    <a:cxn ang="0">
                      <a:pos x="316" y="275"/>
                    </a:cxn>
                    <a:cxn ang="0">
                      <a:pos x="317" y="296"/>
                    </a:cxn>
                    <a:cxn ang="0">
                      <a:pos x="328" y="322"/>
                    </a:cxn>
                    <a:cxn ang="0">
                      <a:pos x="338" y="333"/>
                    </a:cxn>
                    <a:cxn ang="0">
                      <a:pos x="340" y="345"/>
                    </a:cxn>
                    <a:cxn ang="0">
                      <a:pos x="321" y="340"/>
                    </a:cxn>
                    <a:cxn ang="0">
                      <a:pos x="302" y="338"/>
                    </a:cxn>
                    <a:cxn ang="0">
                      <a:pos x="291" y="345"/>
                    </a:cxn>
                    <a:cxn ang="0">
                      <a:pos x="277" y="380"/>
                    </a:cxn>
                    <a:cxn ang="0">
                      <a:pos x="242" y="383"/>
                    </a:cxn>
                    <a:cxn ang="0">
                      <a:pos x="197" y="369"/>
                    </a:cxn>
                    <a:cxn ang="0">
                      <a:pos x="135" y="307"/>
                    </a:cxn>
                    <a:cxn ang="0">
                      <a:pos x="105" y="286"/>
                    </a:cxn>
                    <a:cxn ang="0">
                      <a:pos x="75" y="267"/>
                    </a:cxn>
                    <a:cxn ang="0">
                      <a:pos x="47" y="249"/>
                    </a:cxn>
                    <a:cxn ang="0">
                      <a:pos x="18" y="240"/>
                    </a:cxn>
                    <a:cxn ang="0">
                      <a:pos x="9" y="237"/>
                    </a:cxn>
                    <a:cxn ang="0">
                      <a:pos x="9" y="228"/>
                    </a:cxn>
                    <a:cxn ang="0">
                      <a:pos x="11" y="225"/>
                    </a:cxn>
                    <a:cxn ang="0">
                      <a:pos x="46" y="159"/>
                    </a:cxn>
                    <a:cxn ang="0">
                      <a:pos x="79" y="139"/>
                    </a:cxn>
                    <a:cxn ang="0">
                      <a:pos x="86" y="122"/>
                    </a:cxn>
                    <a:cxn ang="0">
                      <a:pos x="86" y="117"/>
                    </a:cxn>
                    <a:cxn ang="0">
                      <a:pos x="89" y="89"/>
                    </a:cxn>
                    <a:cxn ang="0">
                      <a:pos x="88" y="61"/>
                    </a:cxn>
                    <a:cxn ang="0">
                      <a:pos x="91" y="44"/>
                    </a:cxn>
                    <a:cxn ang="0">
                      <a:pos x="107" y="37"/>
                    </a:cxn>
                    <a:cxn ang="0">
                      <a:pos x="126" y="14"/>
                    </a:cxn>
                    <a:cxn ang="0">
                      <a:pos x="140" y="2"/>
                    </a:cxn>
                    <a:cxn ang="0">
                      <a:pos x="143" y="2"/>
                    </a:cxn>
                    <a:cxn ang="0">
                      <a:pos x="150" y="2"/>
                    </a:cxn>
                    <a:cxn ang="0">
                      <a:pos x="162" y="4"/>
                    </a:cxn>
                    <a:cxn ang="0">
                      <a:pos x="180" y="7"/>
                    </a:cxn>
                    <a:cxn ang="0">
                      <a:pos x="190" y="5"/>
                    </a:cxn>
                    <a:cxn ang="0">
                      <a:pos x="192" y="18"/>
                    </a:cxn>
                    <a:cxn ang="0">
                      <a:pos x="204" y="12"/>
                    </a:cxn>
                  </a:cxnLst>
                  <a:rect l="0" t="0" r="r" b="b"/>
                  <a:pathLst>
                    <a:path w="342" h="383">
                      <a:moveTo>
                        <a:pt x="211" y="11"/>
                      </a:moveTo>
                      <a:lnTo>
                        <a:pt x="211" y="11"/>
                      </a:lnTo>
                      <a:lnTo>
                        <a:pt x="216" y="28"/>
                      </a:lnTo>
                      <a:lnTo>
                        <a:pt x="223" y="40"/>
                      </a:lnTo>
                      <a:lnTo>
                        <a:pt x="227" y="51"/>
                      </a:lnTo>
                      <a:lnTo>
                        <a:pt x="230" y="59"/>
                      </a:lnTo>
                      <a:lnTo>
                        <a:pt x="230" y="59"/>
                      </a:lnTo>
                      <a:lnTo>
                        <a:pt x="232" y="65"/>
                      </a:lnTo>
                      <a:lnTo>
                        <a:pt x="236" y="68"/>
                      </a:lnTo>
                      <a:lnTo>
                        <a:pt x="241" y="70"/>
                      </a:lnTo>
                      <a:lnTo>
                        <a:pt x="248" y="70"/>
                      </a:lnTo>
                      <a:lnTo>
                        <a:pt x="260" y="72"/>
                      </a:lnTo>
                      <a:lnTo>
                        <a:pt x="263" y="72"/>
                      </a:lnTo>
                      <a:lnTo>
                        <a:pt x="265" y="75"/>
                      </a:lnTo>
                      <a:lnTo>
                        <a:pt x="265" y="75"/>
                      </a:lnTo>
                      <a:lnTo>
                        <a:pt x="267" y="77"/>
                      </a:lnTo>
                      <a:lnTo>
                        <a:pt x="265" y="78"/>
                      </a:lnTo>
                      <a:lnTo>
                        <a:pt x="260" y="80"/>
                      </a:lnTo>
                      <a:lnTo>
                        <a:pt x="256" y="82"/>
                      </a:lnTo>
                      <a:lnTo>
                        <a:pt x="255" y="84"/>
                      </a:lnTo>
                      <a:lnTo>
                        <a:pt x="255" y="89"/>
                      </a:lnTo>
                      <a:lnTo>
                        <a:pt x="256" y="94"/>
                      </a:lnTo>
                      <a:lnTo>
                        <a:pt x="256" y="94"/>
                      </a:lnTo>
                      <a:lnTo>
                        <a:pt x="258" y="101"/>
                      </a:lnTo>
                      <a:lnTo>
                        <a:pt x="258" y="108"/>
                      </a:lnTo>
                      <a:lnTo>
                        <a:pt x="255" y="113"/>
                      </a:lnTo>
                      <a:lnTo>
                        <a:pt x="249" y="119"/>
                      </a:lnTo>
                      <a:lnTo>
                        <a:pt x="244" y="124"/>
                      </a:lnTo>
                      <a:lnTo>
                        <a:pt x="239" y="129"/>
                      </a:lnTo>
                      <a:lnTo>
                        <a:pt x="236" y="138"/>
                      </a:lnTo>
                      <a:lnTo>
                        <a:pt x="234" y="146"/>
                      </a:lnTo>
                      <a:lnTo>
                        <a:pt x="234" y="146"/>
                      </a:lnTo>
                      <a:lnTo>
                        <a:pt x="234" y="157"/>
                      </a:lnTo>
                      <a:lnTo>
                        <a:pt x="237" y="164"/>
                      </a:lnTo>
                      <a:lnTo>
                        <a:pt x="241" y="169"/>
                      </a:lnTo>
                      <a:lnTo>
                        <a:pt x="244" y="172"/>
                      </a:lnTo>
                      <a:lnTo>
                        <a:pt x="255" y="181"/>
                      </a:lnTo>
                      <a:lnTo>
                        <a:pt x="258" y="186"/>
                      </a:lnTo>
                      <a:lnTo>
                        <a:pt x="260" y="193"/>
                      </a:lnTo>
                      <a:lnTo>
                        <a:pt x="260" y="193"/>
                      </a:lnTo>
                      <a:lnTo>
                        <a:pt x="263" y="202"/>
                      </a:lnTo>
                      <a:lnTo>
                        <a:pt x="269" y="207"/>
                      </a:lnTo>
                      <a:lnTo>
                        <a:pt x="276" y="214"/>
                      </a:lnTo>
                      <a:lnTo>
                        <a:pt x="283" y="220"/>
                      </a:lnTo>
                      <a:lnTo>
                        <a:pt x="298" y="230"/>
                      </a:lnTo>
                      <a:lnTo>
                        <a:pt x="307" y="237"/>
                      </a:lnTo>
                      <a:lnTo>
                        <a:pt x="312" y="244"/>
                      </a:lnTo>
                      <a:lnTo>
                        <a:pt x="312" y="244"/>
                      </a:lnTo>
                      <a:lnTo>
                        <a:pt x="316" y="253"/>
                      </a:lnTo>
                      <a:lnTo>
                        <a:pt x="317" y="260"/>
                      </a:lnTo>
                      <a:lnTo>
                        <a:pt x="316" y="268"/>
                      </a:lnTo>
                      <a:lnTo>
                        <a:pt x="316" y="275"/>
                      </a:lnTo>
                      <a:lnTo>
                        <a:pt x="314" y="287"/>
                      </a:lnTo>
                      <a:lnTo>
                        <a:pt x="314" y="293"/>
                      </a:lnTo>
                      <a:lnTo>
                        <a:pt x="317" y="296"/>
                      </a:lnTo>
                      <a:lnTo>
                        <a:pt x="317" y="296"/>
                      </a:lnTo>
                      <a:lnTo>
                        <a:pt x="321" y="305"/>
                      </a:lnTo>
                      <a:lnTo>
                        <a:pt x="324" y="314"/>
                      </a:lnTo>
                      <a:lnTo>
                        <a:pt x="326" y="320"/>
                      </a:lnTo>
                      <a:lnTo>
                        <a:pt x="328" y="322"/>
                      </a:lnTo>
                      <a:lnTo>
                        <a:pt x="330" y="326"/>
                      </a:lnTo>
                      <a:lnTo>
                        <a:pt x="330" y="326"/>
                      </a:lnTo>
                      <a:lnTo>
                        <a:pt x="335" y="329"/>
                      </a:lnTo>
                      <a:lnTo>
                        <a:pt x="338" y="333"/>
                      </a:lnTo>
                      <a:lnTo>
                        <a:pt x="340" y="338"/>
                      </a:lnTo>
                      <a:lnTo>
                        <a:pt x="342" y="345"/>
                      </a:lnTo>
                      <a:lnTo>
                        <a:pt x="342" y="345"/>
                      </a:lnTo>
                      <a:lnTo>
                        <a:pt x="340" y="345"/>
                      </a:lnTo>
                      <a:lnTo>
                        <a:pt x="337" y="345"/>
                      </a:lnTo>
                      <a:lnTo>
                        <a:pt x="330" y="341"/>
                      </a:lnTo>
                      <a:lnTo>
                        <a:pt x="323" y="340"/>
                      </a:lnTo>
                      <a:lnTo>
                        <a:pt x="321" y="340"/>
                      </a:lnTo>
                      <a:lnTo>
                        <a:pt x="321" y="343"/>
                      </a:lnTo>
                      <a:lnTo>
                        <a:pt x="321" y="343"/>
                      </a:lnTo>
                      <a:lnTo>
                        <a:pt x="309" y="338"/>
                      </a:lnTo>
                      <a:lnTo>
                        <a:pt x="302" y="338"/>
                      </a:lnTo>
                      <a:lnTo>
                        <a:pt x="298" y="340"/>
                      </a:lnTo>
                      <a:lnTo>
                        <a:pt x="295" y="341"/>
                      </a:lnTo>
                      <a:lnTo>
                        <a:pt x="295" y="341"/>
                      </a:lnTo>
                      <a:lnTo>
                        <a:pt x="291" y="345"/>
                      </a:lnTo>
                      <a:lnTo>
                        <a:pt x="290" y="350"/>
                      </a:lnTo>
                      <a:lnTo>
                        <a:pt x="284" y="362"/>
                      </a:lnTo>
                      <a:lnTo>
                        <a:pt x="279" y="374"/>
                      </a:lnTo>
                      <a:lnTo>
                        <a:pt x="277" y="380"/>
                      </a:lnTo>
                      <a:lnTo>
                        <a:pt x="274" y="383"/>
                      </a:lnTo>
                      <a:lnTo>
                        <a:pt x="274" y="383"/>
                      </a:lnTo>
                      <a:lnTo>
                        <a:pt x="262" y="383"/>
                      </a:lnTo>
                      <a:lnTo>
                        <a:pt x="242" y="383"/>
                      </a:lnTo>
                      <a:lnTo>
                        <a:pt x="220" y="380"/>
                      </a:lnTo>
                      <a:lnTo>
                        <a:pt x="209" y="378"/>
                      </a:lnTo>
                      <a:lnTo>
                        <a:pt x="209" y="378"/>
                      </a:lnTo>
                      <a:lnTo>
                        <a:pt x="197" y="369"/>
                      </a:lnTo>
                      <a:lnTo>
                        <a:pt x="180" y="354"/>
                      </a:lnTo>
                      <a:lnTo>
                        <a:pt x="150" y="324"/>
                      </a:lnTo>
                      <a:lnTo>
                        <a:pt x="150" y="324"/>
                      </a:lnTo>
                      <a:lnTo>
                        <a:pt x="135" y="307"/>
                      </a:lnTo>
                      <a:lnTo>
                        <a:pt x="126" y="298"/>
                      </a:lnTo>
                      <a:lnTo>
                        <a:pt x="115" y="291"/>
                      </a:lnTo>
                      <a:lnTo>
                        <a:pt x="115" y="291"/>
                      </a:lnTo>
                      <a:lnTo>
                        <a:pt x="105" y="286"/>
                      </a:lnTo>
                      <a:lnTo>
                        <a:pt x="93" y="280"/>
                      </a:lnTo>
                      <a:lnTo>
                        <a:pt x="93" y="280"/>
                      </a:lnTo>
                      <a:lnTo>
                        <a:pt x="84" y="273"/>
                      </a:lnTo>
                      <a:lnTo>
                        <a:pt x="75" y="267"/>
                      </a:lnTo>
                      <a:lnTo>
                        <a:pt x="67" y="260"/>
                      </a:lnTo>
                      <a:lnTo>
                        <a:pt x="58" y="253"/>
                      </a:lnTo>
                      <a:lnTo>
                        <a:pt x="58" y="253"/>
                      </a:lnTo>
                      <a:lnTo>
                        <a:pt x="47" y="249"/>
                      </a:lnTo>
                      <a:lnTo>
                        <a:pt x="37" y="247"/>
                      </a:lnTo>
                      <a:lnTo>
                        <a:pt x="16" y="244"/>
                      </a:lnTo>
                      <a:lnTo>
                        <a:pt x="16" y="244"/>
                      </a:lnTo>
                      <a:lnTo>
                        <a:pt x="18" y="240"/>
                      </a:lnTo>
                      <a:lnTo>
                        <a:pt x="18" y="240"/>
                      </a:lnTo>
                      <a:lnTo>
                        <a:pt x="18" y="237"/>
                      </a:lnTo>
                      <a:lnTo>
                        <a:pt x="16" y="235"/>
                      </a:lnTo>
                      <a:lnTo>
                        <a:pt x="9" y="237"/>
                      </a:lnTo>
                      <a:lnTo>
                        <a:pt x="9" y="237"/>
                      </a:lnTo>
                      <a:lnTo>
                        <a:pt x="7" y="228"/>
                      </a:lnTo>
                      <a:lnTo>
                        <a:pt x="7" y="228"/>
                      </a:lnTo>
                      <a:lnTo>
                        <a:pt x="9" y="228"/>
                      </a:lnTo>
                      <a:lnTo>
                        <a:pt x="11" y="228"/>
                      </a:lnTo>
                      <a:lnTo>
                        <a:pt x="11" y="228"/>
                      </a:lnTo>
                      <a:lnTo>
                        <a:pt x="11" y="226"/>
                      </a:lnTo>
                      <a:lnTo>
                        <a:pt x="11" y="225"/>
                      </a:lnTo>
                      <a:lnTo>
                        <a:pt x="11" y="225"/>
                      </a:lnTo>
                      <a:lnTo>
                        <a:pt x="0" y="188"/>
                      </a:lnTo>
                      <a:lnTo>
                        <a:pt x="0" y="188"/>
                      </a:lnTo>
                      <a:lnTo>
                        <a:pt x="46" y="159"/>
                      </a:lnTo>
                      <a:lnTo>
                        <a:pt x="46" y="159"/>
                      </a:lnTo>
                      <a:lnTo>
                        <a:pt x="63" y="150"/>
                      </a:lnTo>
                      <a:lnTo>
                        <a:pt x="72" y="145"/>
                      </a:lnTo>
                      <a:lnTo>
                        <a:pt x="79" y="139"/>
                      </a:lnTo>
                      <a:lnTo>
                        <a:pt x="79" y="139"/>
                      </a:lnTo>
                      <a:lnTo>
                        <a:pt x="82" y="131"/>
                      </a:lnTo>
                      <a:lnTo>
                        <a:pt x="86" y="122"/>
                      </a:lnTo>
                      <a:lnTo>
                        <a:pt x="86" y="122"/>
                      </a:lnTo>
                      <a:lnTo>
                        <a:pt x="86" y="120"/>
                      </a:lnTo>
                      <a:lnTo>
                        <a:pt x="86" y="120"/>
                      </a:lnTo>
                      <a:lnTo>
                        <a:pt x="86" y="117"/>
                      </a:lnTo>
                      <a:lnTo>
                        <a:pt x="86" y="117"/>
                      </a:lnTo>
                      <a:lnTo>
                        <a:pt x="86" y="103"/>
                      </a:lnTo>
                      <a:lnTo>
                        <a:pt x="86" y="103"/>
                      </a:lnTo>
                      <a:lnTo>
                        <a:pt x="88" y="96"/>
                      </a:lnTo>
                      <a:lnTo>
                        <a:pt x="89" y="89"/>
                      </a:lnTo>
                      <a:lnTo>
                        <a:pt x="91" y="80"/>
                      </a:lnTo>
                      <a:lnTo>
                        <a:pt x="91" y="73"/>
                      </a:lnTo>
                      <a:lnTo>
                        <a:pt x="91" y="73"/>
                      </a:lnTo>
                      <a:lnTo>
                        <a:pt x="88" y="61"/>
                      </a:lnTo>
                      <a:lnTo>
                        <a:pt x="88" y="56"/>
                      </a:lnTo>
                      <a:lnTo>
                        <a:pt x="88" y="49"/>
                      </a:lnTo>
                      <a:lnTo>
                        <a:pt x="88" y="49"/>
                      </a:lnTo>
                      <a:lnTo>
                        <a:pt x="91" y="44"/>
                      </a:lnTo>
                      <a:lnTo>
                        <a:pt x="96" y="40"/>
                      </a:lnTo>
                      <a:lnTo>
                        <a:pt x="101" y="40"/>
                      </a:lnTo>
                      <a:lnTo>
                        <a:pt x="107" y="37"/>
                      </a:lnTo>
                      <a:lnTo>
                        <a:pt x="107" y="37"/>
                      </a:lnTo>
                      <a:lnTo>
                        <a:pt x="112" y="33"/>
                      </a:lnTo>
                      <a:lnTo>
                        <a:pt x="117" y="28"/>
                      </a:lnTo>
                      <a:lnTo>
                        <a:pt x="122" y="21"/>
                      </a:lnTo>
                      <a:lnTo>
                        <a:pt x="126" y="14"/>
                      </a:lnTo>
                      <a:lnTo>
                        <a:pt x="126" y="14"/>
                      </a:lnTo>
                      <a:lnTo>
                        <a:pt x="133" y="9"/>
                      </a:lnTo>
                      <a:lnTo>
                        <a:pt x="140" y="2"/>
                      </a:lnTo>
                      <a:lnTo>
                        <a:pt x="140" y="2"/>
                      </a:lnTo>
                      <a:lnTo>
                        <a:pt x="142" y="0"/>
                      </a:lnTo>
                      <a:lnTo>
                        <a:pt x="142" y="0"/>
                      </a:lnTo>
                      <a:lnTo>
                        <a:pt x="143" y="2"/>
                      </a:lnTo>
                      <a:lnTo>
                        <a:pt x="143" y="2"/>
                      </a:lnTo>
                      <a:lnTo>
                        <a:pt x="147" y="4"/>
                      </a:lnTo>
                      <a:lnTo>
                        <a:pt x="147" y="4"/>
                      </a:lnTo>
                      <a:lnTo>
                        <a:pt x="150" y="2"/>
                      </a:lnTo>
                      <a:lnTo>
                        <a:pt x="150" y="2"/>
                      </a:lnTo>
                      <a:lnTo>
                        <a:pt x="154" y="0"/>
                      </a:lnTo>
                      <a:lnTo>
                        <a:pt x="154" y="0"/>
                      </a:lnTo>
                      <a:lnTo>
                        <a:pt x="157" y="2"/>
                      </a:lnTo>
                      <a:lnTo>
                        <a:pt x="162" y="4"/>
                      </a:lnTo>
                      <a:lnTo>
                        <a:pt x="169" y="7"/>
                      </a:lnTo>
                      <a:lnTo>
                        <a:pt x="169" y="7"/>
                      </a:lnTo>
                      <a:lnTo>
                        <a:pt x="176" y="9"/>
                      </a:lnTo>
                      <a:lnTo>
                        <a:pt x="180" y="7"/>
                      </a:lnTo>
                      <a:lnTo>
                        <a:pt x="183" y="4"/>
                      </a:lnTo>
                      <a:lnTo>
                        <a:pt x="187" y="4"/>
                      </a:lnTo>
                      <a:lnTo>
                        <a:pt x="187" y="4"/>
                      </a:lnTo>
                      <a:lnTo>
                        <a:pt x="190" y="5"/>
                      </a:lnTo>
                      <a:lnTo>
                        <a:pt x="192" y="5"/>
                      </a:lnTo>
                      <a:lnTo>
                        <a:pt x="192" y="11"/>
                      </a:lnTo>
                      <a:lnTo>
                        <a:pt x="190" y="16"/>
                      </a:lnTo>
                      <a:lnTo>
                        <a:pt x="192" y="18"/>
                      </a:lnTo>
                      <a:lnTo>
                        <a:pt x="192" y="19"/>
                      </a:lnTo>
                      <a:lnTo>
                        <a:pt x="192" y="19"/>
                      </a:lnTo>
                      <a:lnTo>
                        <a:pt x="204" y="12"/>
                      </a:lnTo>
                      <a:lnTo>
                        <a:pt x="204" y="12"/>
                      </a:lnTo>
                      <a:lnTo>
                        <a:pt x="208" y="11"/>
                      </a:lnTo>
                      <a:lnTo>
                        <a:pt x="211" y="11"/>
                      </a:lnTo>
                      <a:lnTo>
                        <a:pt x="211"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8" name="Freeform 1747">
                  <a:extLst>
                    <a:ext uri="{FF2B5EF4-FFF2-40B4-BE49-F238E27FC236}">
                      <a16:creationId xmlns:a16="http://schemas.microsoft.com/office/drawing/2014/main" id="{AD52A4D2-675F-9F98-F1CB-3F4B7780594A}"/>
                    </a:ext>
                  </a:extLst>
                </p:cNvPr>
                <p:cNvSpPr>
                  <a:spLocks/>
                </p:cNvSpPr>
                <p:nvPr/>
              </p:nvSpPr>
              <p:spPr bwMode="auto">
                <a:xfrm>
                  <a:off x="6182202" y="3653677"/>
                  <a:ext cx="222014" cy="292492"/>
                </a:xfrm>
                <a:custGeom>
                  <a:avLst/>
                  <a:gdLst/>
                  <a:ahLst/>
                  <a:cxnLst>
                    <a:cxn ang="0">
                      <a:pos x="2" y="273"/>
                    </a:cxn>
                    <a:cxn ang="0">
                      <a:pos x="0" y="284"/>
                    </a:cxn>
                    <a:cxn ang="0">
                      <a:pos x="26" y="329"/>
                    </a:cxn>
                    <a:cxn ang="0">
                      <a:pos x="28" y="338"/>
                    </a:cxn>
                    <a:cxn ang="0">
                      <a:pos x="30" y="348"/>
                    </a:cxn>
                    <a:cxn ang="0">
                      <a:pos x="42" y="366"/>
                    </a:cxn>
                    <a:cxn ang="0">
                      <a:pos x="51" y="362"/>
                    </a:cxn>
                    <a:cxn ang="0">
                      <a:pos x="61" y="362"/>
                    </a:cxn>
                    <a:cxn ang="0">
                      <a:pos x="75" y="353"/>
                    </a:cxn>
                    <a:cxn ang="0">
                      <a:pos x="96" y="353"/>
                    </a:cxn>
                    <a:cxn ang="0">
                      <a:pos x="105" y="353"/>
                    </a:cxn>
                    <a:cxn ang="0">
                      <a:pos x="115" y="341"/>
                    </a:cxn>
                    <a:cxn ang="0">
                      <a:pos x="126" y="319"/>
                    </a:cxn>
                    <a:cxn ang="0">
                      <a:pos x="141" y="310"/>
                    </a:cxn>
                    <a:cxn ang="0">
                      <a:pos x="160" y="306"/>
                    </a:cxn>
                    <a:cxn ang="0">
                      <a:pos x="169" y="286"/>
                    </a:cxn>
                    <a:cxn ang="0">
                      <a:pos x="193" y="270"/>
                    </a:cxn>
                    <a:cxn ang="0">
                      <a:pos x="207" y="263"/>
                    </a:cxn>
                    <a:cxn ang="0">
                      <a:pos x="207" y="247"/>
                    </a:cxn>
                    <a:cxn ang="0">
                      <a:pos x="209" y="212"/>
                    </a:cxn>
                    <a:cxn ang="0">
                      <a:pos x="218" y="197"/>
                    </a:cxn>
                    <a:cxn ang="0">
                      <a:pos x="226" y="204"/>
                    </a:cxn>
                    <a:cxn ang="0">
                      <a:pos x="237" y="192"/>
                    </a:cxn>
                    <a:cxn ang="0">
                      <a:pos x="246" y="174"/>
                    </a:cxn>
                    <a:cxn ang="0">
                      <a:pos x="267" y="150"/>
                    </a:cxn>
                    <a:cxn ang="0">
                      <a:pos x="277" y="125"/>
                    </a:cxn>
                    <a:cxn ang="0">
                      <a:pos x="277" y="111"/>
                    </a:cxn>
                    <a:cxn ang="0">
                      <a:pos x="265" y="104"/>
                    </a:cxn>
                    <a:cxn ang="0">
                      <a:pos x="247" y="75"/>
                    </a:cxn>
                    <a:cxn ang="0">
                      <a:pos x="235" y="63"/>
                    </a:cxn>
                    <a:cxn ang="0">
                      <a:pos x="228" y="64"/>
                    </a:cxn>
                    <a:cxn ang="0">
                      <a:pos x="216" y="57"/>
                    </a:cxn>
                    <a:cxn ang="0">
                      <a:pos x="204" y="54"/>
                    </a:cxn>
                    <a:cxn ang="0">
                      <a:pos x="179" y="42"/>
                    </a:cxn>
                    <a:cxn ang="0">
                      <a:pos x="164" y="19"/>
                    </a:cxn>
                    <a:cxn ang="0">
                      <a:pos x="157" y="3"/>
                    </a:cxn>
                    <a:cxn ang="0">
                      <a:pos x="150" y="12"/>
                    </a:cxn>
                    <a:cxn ang="0">
                      <a:pos x="146" y="7"/>
                    </a:cxn>
                    <a:cxn ang="0">
                      <a:pos x="141" y="0"/>
                    </a:cxn>
                    <a:cxn ang="0">
                      <a:pos x="138" y="12"/>
                    </a:cxn>
                    <a:cxn ang="0">
                      <a:pos x="138" y="30"/>
                    </a:cxn>
                    <a:cxn ang="0">
                      <a:pos x="139" y="35"/>
                    </a:cxn>
                    <a:cxn ang="0">
                      <a:pos x="148" y="38"/>
                    </a:cxn>
                    <a:cxn ang="0">
                      <a:pos x="141" y="44"/>
                    </a:cxn>
                    <a:cxn ang="0">
                      <a:pos x="126" y="45"/>
                    </a:cxn>
                    <a:cxn ang="0">
                      <a:pos x="129" y="50"/>
                    </a:cxn>
                    <a:cxn ang="0">
                      <a:pos x="124" y="68"/>
                    </a:cxn>
                    <a:cxn ang="0">
                      <a:pos x="117" y="103"/>
                    </a:cxn>
                    <a:cxn ang="0">
                      <a:pos x="131" y="125"/>
                    </a:cxn>
                    <a:cxn ang="0">
                      <a:pos x="132" y="139"/>
                    </a:cxn>
                    <a:cxn ang="0">
                      <a:pos x="126" y="160"/>
                    </a:cxn>
                    <a:cxn ang="0">
                      <a:pos x="110" y="221"/>
                    </a:cxn>
                    <a:cxn ang="0">
                      <a:pos x="85" y="232"/>
                    </a:cxn>
                    <a:cxn ang="0">
                      <a:pos x="4" y="263"/>
                    </a:cxn>
                  </a:cxnLst>
                  <a:rect l="0" t="0" r="r" b="b"/>
                  <a:pathLst>
                    <a:path w="279" h="366">
                      <a:moveTo>
                        <a:pt x="4" y="263"/>
                      </a:moveTo>
                      <a:lnTo>
                        <a:pt x="4" y="263"/>
                      </a:lnTo>
                      <a:lnTo>
                        <a:pt x="2" y="273"/>
                      </a:lnTo>
                      <a:lnTo>
                        <a:pt x="0" y="279"/>
                      </a:lnTo>
                      <a:lnTo>
                        <a:pt x="0" y="284"/>
                      </a:lnTo>
                      <a:lnTo>
                        <a:pt x="0" y="284"/>
                      </a:lnTo>
                      <a:lnTo>
                        <a:pt x="5" y="294"/>
                      </a:lnTo>
                      <a:lnTo>
                        <a:pt x="12" y="306"/>
                      </a:lnTo>
                      <a:lnTo>
                        <a:pt x="26" y="329"/>
                      </a:lnTo>
                      <a:lnTo>
                        <a:pt x="26" y="329"/>
                      </a:lnTo>
                      <a:lnTo>
                        <a:pt x="28" y="334"/>
                      </a:lnTo>
                      <a:lnTo>
                        <a:pt x="28" y="338"/>
                      </a:lnTo>
                      <a:lnTo>
                        <a:pt x="28" y="343"/>
                      </a:lnTo>
                      <a:lnTo>
                        <a:pt x="30" y="348"/>
                      </a:lnTo>
                      <a:lnTo>
                        <a:pt x="30" y="348"/>
                      </a:lnTo>
                      <a:lnTo>
                        <a:pt x="31" y="352"/>
                      </a:lnTo>
                      <a:lnTo>
                        <a:pt x="35" y="357"/>
                      </a:lnTo>
                      <a:lnTo>
                        <a:pt x="42" y="366"/>
                      </a:lnTo>
                      <a:lnTo>
                        <a:pt x="42" y="366"/>
                      </a:lnTo>
                      <a:lnTo>
                        <a:pt x="47" y="364"/>
                      </a:lnTo>
                      <a:lnTo>
                        <a:pt x="51" y="362"/>
                      </a:lnTo>
                      <a:lnTo>
                        <a:pt x="58" y="362"/>
                      </a:lnTo>
                      <a:lnTo>
                        <a:pt x="58" y="362"/>
                      </a:lnTo>
                      <a:lnTo>
                        <a:pt x="61" y="362"/>
                      </a:lnTo>
                      <a:lnTo>
                        <a:pt x="65" y="360"/>
                      </a:lnTo>
                      <a:lnTo>
                        <a:pt x="72" y="357"/>
                      </a:lnTo>
                      <a:lnTo>
                        <a:pt x="75" y="353"/>
                      </a:lnTo>
                      <a:lnTo>
                        <a:pt x="80" y="352"/>
                      </a:lnTo>
                      <a:lnTo>
                        <a:pt x="87" y="352"/>
                      </a:lnTo>
                      <a:lnTo>
                        <a:pt x="96" y="353"/>
                      </a:lnTo>
                      <a:lnTo>
                        <a:pt x="96" y="353"/>
                      </a:lnTo>
                      <a:lnTo>
                        <a:pt x="101" y="353"/>
                      </a:lnTo>
                      <a:lnTo>
                        <a:pt x="105" y="353"/>
                      </a:lnTo>
                      <a:lnTo>
                        <a:pt x="108" y="352"/>
                      </a:lnTo>
                      <a:lnTo>
                        <a:pt x="112" y="348"/>
                      </a:lnTo>
                      <a:lnTo>
                        <a:pt x="115" y="341"/>
                      </a:lnTo>
                      <a:lnTo>
                        <a:pt x="119" y="334"/>
                      </a:lnTo>
                      <a:lnTo>
                        <a:pt x="122" y="326"/>
                      </a:lnTo>
                      <a:lnTo>
                        <a:pt x="126" y="319"/>
                      </a:lnTo>
                      <a:lnTo>
                        <a:pt x="132" y="313"/>
                      </a:lnTo>
                      <a:lnTo>
                        <a:pt x="136" y="312"/>
                      </a:lnTo>
                      <a:lnTo>
                        <a:pt x="141" y="310"/>
                      </a:lnTo>
                      <a:lnTo>
                        <a:pt x="141" y="310"/>
                      </a:lnTo>
                      <a:lnTo>
                        <a:pt x="153" y="310"/>
                      </a:lnTo>
                      <a:lnTo>
                        <a:pt x="160" y="306"/>
                      </a:lnTo>
                      <a:lnTo>
                        <a:pt x="164" y="299"/>
                      </a:lnTo>
                      <a:lnTo>
                        <a:pt x="167" y="292"/>
                      </a:lnTo>
                      <a:lnTo>
                        <a:pt x="169" y="286"/>
                      </a:lnTo>
                      <a:lnTo>
                        <a:pt x="173" y="279"/>
                      </a:lnTo>
                      <a:lnTo>
                        <a:pt x="181" y="273"/>
                      </a:lnTo>
                      <a:lnTo>
                        <a:pt x="193" y="270"/>
                      </a:lnTo>
                      <a:lnTo>
                        <a:pt x="193" y="270"/>
                      </a:lnTo>
                      <a:lnTo>
                        <a:pt x="202" y="266"/>
                      </a:lnTo>
                      <a:lnTo>
                        <a:pt x="207" y="263"/>
                      </a:lnTo>
                      <a:lnTo>
                        <a:pt x="209" y="259"/>
                      </a:lnTo>
                      <a:lnTo>
                        <a:pt x="209" y="254"/>
                      </a:lnTo>
                      <a:lnTo>
                        <a:pt x="207" y="247"/>
                      </a:lnTo>
                      <a:lnTo>
                        <a:pt x="206" y="239"/>
                      </a:lnTo>
                      <a:lnTo>
                        <a:pt x="206" y="228"/>
                      </a:lnTo>
                      <a:lnTo>
                        <a:pt x="209" y="212"/>
                      </a:lnTo>
                      <a:lnTo>
                        <a:pt x="209" y="212"/>
                      </a:lnTo>
                      <a:lnTo>
                        <a:pt x="214" y="202"/>
                      </a:lnTo>
                      <a:lnTo>
                        <a:pt x="218" y="197"/>
                      </a:lnTo>
                      <a:lnTo>
                        <a:pt x="221" y="197"/>
                      </a:lnTo>
                      <a:lnTo>
                        <a:pt x="223" y="200"/>
                      </a:lnTo>
                      <a:lnTo>
                        <a:pt x="226" y="204"/>
                      </a:lnTo>
                      <a:lnTo>
                        <a:pt x="228" y="205"/>
                      </a:lnTo>
                      <a:lnTo>
                        <a:pt x="232" y="202"/>
                      </a:lnTo>
                      <a:lnTo>
                        <a:pt x="237" y="192"/>
                      </a:lnTo>
                      <a:lnTo>
                        <a:pt x="237" y="192"/>
                      </a:lnTo>
                      <a:lnTo>
                        <a:pt x="242" y="181"/>
                      </a:lnTo>
                      <a:lnTo>
                        <a:pt x="246" y="174"/>
                      </a:lnTo>
                      <a:lnTo>
                        <a:pt x="254" y="165"/>
                      </a:lnTo>
                      <a:lnTo>
                        <a:pt x="263" y="157"/>
                      </a:lnTo>
                      <a:lnTo>
                        <a:pt x="267" y="150"/>
                      </a:lnTo>
                      <a:lnTo>
                        <a:pt x="272" y="139"/>
                      </a:lnTo>
                      <a:lnTo>
                        <a:pt x="272" y="139"/>
                      </a:lnTo>
                      <a:lnTo>
                        <a:pt x="277" y="125"/>
                      </a:lnTo>
                      <a:lnTo>
                        <a:pt x="279" y="117"/>
                      </a:lnTo>
                      <a:lnTo>
                        <a:pt x="279" y="115"/>
                      </a:lnTo>
                      <a:lnTo>
                        <a:pt x="277" y="111"/>
                      </a:lnTo>
                      <a:lnTo>
                        <a:pt x="270" y="108"/>
                      </a:lnTo>
                      <a:lnTo>
                        <a:pt x="270" y="108"/>
                      </a:lnTo>
                      <a:lnTo>
                        <a:pt x="265" y="104"/>
                      </a:lnTo>
                      <a:lnTo>
                        <a:pt x="261" y="99"/>
                      </a:lnTo>
                      <a:lnTo>
                        <a:pt x="253" y="82"/>
                      </a:lnTo>
                      <a:lnTo>
                        <a:pt x="247" y="75"/>
                      </a:lnTo>
                      <a:lnTo>
                        <a:pt x="242" y="68"/>
                      </a:lnTo>
                      <a:lnTo>
                        <a:pt x="237" y="64"/>
                      </a:lnTo>
                      <a:lnTo>
                        <a:pt x="235" y="63"/>
                      </a:lnTo>
                      <a:lnTo>
                        <a:pt x="232" y="63"/>
                      </a:lnTo>
                      <a:lnTo>
                        <a:pt x="232" y="63"/>
                      </a:lnTo>
                      <a:lnTo>
                        <a:pt x="228" y="64"/>
                      </a:lnTo>
                      <a:lnTo>
                        <a:pt x="226" y="64"/>
                      </a:lnTo>
                      <a:lnTo>
                        <a:pt x="221" y="61"/>
                      </a:lnTo>
                      <a:lnTo>
                        <a:pt x="216" y="57"/>
                      </a:lnTo>
                      <a:lnTo>
                        <a:pt x="211" y="56"/>
                      </a:lnTo>
                      <a:lnTo>
                        <a:pt x="204" y="54"/>
                      </a:lnTo>
                      <a:lnTo>
                        <a:pt x="204" y="54"/>
                      </a:lnTo>
                      <a:lnTo>
                        <a:pt x="195" y="52"/>
                      </a:lnTo>
                      <a:lnTo>
                        <a:pt x="186" y="47"/>
                      </a:lnTo>
                      <a:lnTo>
                        <a:pt x="179" y="42"/>
                      </a:lnTo>
                      <a:lnTo>
                        <a:pt x="173" y="35"/>
                      </a:lnTo>
                      <a:lnTo>
                        <a:pt x="167" y="28"/>
                      </a:lnTo>
                      <a:lnTo>
                        <a:pt x="164" y="19"/>
                      </a:lnTo>
                      <a:lnTo>
                        <a:pt x="160" y="10"/>
                      </a:lnTo>
                      <a:lnTo>
                        <a:pt x="157" y="3"/>
                      </a:lnTo>
                      <a:lnTo>
                        <a:pt x="157" y="3"/>
                      </a:lnTo>
                      <a:lnTo>
                        <a:pt x="155" y="5"/>
                      </a:lnTo>
                      <a:lnTo>
                        <a:pt x="152" y="9"/>
                      </a:lnTo>
                      <a:lnTo>
                        <a:pt x="150" y="12"/>
                      </a:lnTo>
                      <a:lnTo>
                        <a:pt x="150" y="14"/>
                      </a:lnTo>
                      <a:lnTo>
                        <a:pt x="148" y="14"/>
                      </a:lnTo>
                      <a:lnTo>
                        <a:pt x="146" y="7"/>
                      </a:lnTo>
                      <a:lnTo>
                        <a:pt x="146" y="7"/>
                      </a:lnTo>
                      <a:lnTo>
                        <a:pt x="145" y="2"/>
                      </a:lnTo>
                      <a:lnTo>
                        <a:pt x="141" y="0"/>
                      </a:lnTo>
                      <a:lnTo>
                        <a:pt x="141" y="2"/>
                      </a:lnTo>
                      <a:lnTo>
                        <a:pt x="139" y="3"/>
                      </a:lnTo>
                      <a:lnTo>
                        <a:pt x="138" y="12"/>
                      </a:lnTo>
                      <a:lnTo>
                        <a:pt x="138" y="23"/>
                      </a:lnTo>
                      <a:lnTo>
                        <a:pt x="138" y="23"/>
                      </a:lnTo>
                      <a:lnTo>
                        <a:pt x="138" y="30"/>
                      </a:lnTo>
                      <a:lnTo>
                        <a:pt x="136" y="33"/>
                      </a:lnTo>
                      <a:lnTo>
                        <a:pt x="136" y="35"/>
                      </a:lnTo>
                      <a:lnTo>
                        <a:pt x="139" y="35"/>
                      </a:lnTo>
                      <a:lnTo>
                        <a:pt x="139" y="35"/>
                      </a:lnTo>
                      <a:lnTo>
                        <a:pt x="145" y="37"/>
                      </a:lnTo>
                      <a:lnTo>
                        <a:pt x="148" y="38"/>
                      </a:lnTo>
                      <a:lnTo>
                        <a:pt x="148" y="40"/>
                      </a:lnTo>
                      <a:lnTo>
                        <a:pt x="146" y="42"/>
                      </a:lnTo>
                      <a:lnTo>
                        <a:pt x="141" y="44"/>
                      </a:lnTo>
                      <a:lnTo>
                        <a:pt x="141" y="44"/>
                      </a:lnTo>
                      <a:lnTo>
                        <a:pt x="129" y="45"/>
                      </a:lnTo>
                      <a:lnTo>
                        <a:pt x="126" y="45"/>
                      </a:lnTo>
                      <a:lnTo>
                        <a:pt x="127" y="49"/>
                      </a:lnTo>
                      <a:lnTo>
                        <a:pt x="127" y="49"/>
                      </a:lnTo>
                      <a:lnTo>
                        <a:pt x="129" y="50"/>
                      </a:lnTo>
                      <a:lnTo>
                        <a:pt x="129" y="52"/>
                      </a:lnTo>
                      <a:lnTo>
                        <a:pt x="124" y="68"/>
                      </a:lnTo>
                      <a:lnTo>
                        <a:pt x="124" y="68"/>
                      </a:lnTo>
                      <a:lnTo>
                        <a:pt x="119" y="82"/>
                      </a:lnTo>
                      <a:lnTo>
                        <a:pt x="117" y="91"/>
                      </a:lnTo>
                      <a:lnTo>
                        <a:pt x="117" y="103"/>
                      </a:lnTo>
                      <a:lnTo>
                        <a:pt x="117" y="103"/>
                      </a:lnTo>
                      <a:lnTo>
                        <a:pt x="126" y="118"/>
                      </a:lnTo>
                      <a:lnTo>
                        <a:pt x="131" y="125"/>
                      </a:lnTo>
                      <a:lnTo>
                        <a:pt x="132" y="134"/>
                      </a:lnTo>
                      <a:lnTo>
                        <a:pt x="132" y="134"/>
                      </a:lnTo>
                      <a:lnTo>
                        <a:pt x="132" y="139"/>
                      </a:lnTo>
                      <a:lnTo>
                        <a:pt x="131" y="146"/>
                      </a:lnTo>
                      <a:lnTo>
                        <a:pt x="126" y="160"/>
                      </a:lnTo>
                      <a:lnTo>
                        <a:pt x="126" y="160"/>
                      </a:lnTo>
                      <a:lnTo>
                        <a:pt x="119" y="193"/>
                      </a:lnTo>
                      <a:lnTo>
                        <a:pt x="113" y="211"/>
                      </a:lnTo>
                      <a:lnTo>
                        <a:pt x="110" y="221"/>
                      </a:lnTo>
                      <a:lnTo>
                        <a:pt x="110" y="221"/>
                      </a:lnTo>
                      <a:lnTo>
                        <a:pt x="101" y="226"/>
                      </a:lnTo>
                      <a:lnTo>
                        <a:pt x="85" y="232"/>
                      </a:lnTo>
                      <a:lnTo>
                        <a:pt x="59" y="242"/>
                      </a:lnTo>
                      <a:lnTo>
                        <a:pt x="59" y="242"/>
                      </a:lnTo>
                      <a:lnTo>
                        <a:pt x="4" y="263"/>
                      </a:lnTo>
                      <a:lnTo>
                        <a:pt x="4" y="26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9" name="Freeform 1748">
                  <a:extLst>
                    <a:ext uri="{FF2B5EF4-FFF2-40B4-BE49-F238E27FC236}">
                      <a16:creationId xmlns:a16="http://schemas.microsoft.com/office/drawing/2014/main" id="{3C64E47B-A755-765C-A101-770F60B72135}"/>
                    </a:ext>
                  </a:extLst>
                </p:cNvPr>
                <p:cNvSpPr>
                  <a:spLocks/>
                </p:cNvSpPr>
                <p:nvPr/>
              </p:nvSpPr>
              <p:spPr bwMode="auto">
                <a:xfrm>
                  <a:off x="4989325" y="3359422"/>
                  <a:ext cx="442263" cy="488075"/>
                </a:xfrm>
                <a:custGeom>
                  <a:avLst/>
                  <a:gdLst/>
                  <a:ahLst/>
                  <a:cxnLst>
                    <a:cxn ang="0">
                      <a:pos x="545" y="175"/>
                    </a:cxn>
                    <a:cxn ang="0">
                      <a:pos x="538" y="153"/>
                    </a:cxn>
                    <a:cxn ang="0">
                      <a:pos x="540" y="127"/>
                    </a:cxn>
                    <a:cxn ang="0">
                      <a:pos x="543" y="99"/>
                    </a:cxn>
                    <a:cxn ang="0">
                      <a:pos x="552" y="74"/>
                    </a:cxn>
                    <a:cxn ang="0">
                      <a:pos x="549" y="66"/>
                    </a:cxn>
                    <a:cxn ang="0">
                      <a:pos x="536" y="52"/>
                    </a:cxn>
                    <a:cxn ang="0">
                      <a:pos x="510" y="50"/>
                    </a:cxn>
                    <a:cxn ang="0">
                      <a:pos x="489" y="45"/>
                    </a:cxn>
                    <a:cxn ang="0">
                      <a:pos x="475" y="27"/>
                    </a:cxn>
                    <a:cxn ang="0">
                      <a:pos x="444" y="10"/>
                    </a:cxn>
                    <a:cxn ang="0">
                      <a:pos x="420" y="15"/>
                    </a:cxn>
                    <a:cxn ang="0">
                      <a:pos x="399" y="21"/>
                    </a:cxn>
                    <a:cxn ang="0">
                      <a:pos x="375" y="43"/>
                    </a:cxn>
                    <a:cxn ang="0">
                      <a:pos x="369" y="76"/>
                    </a:cxn>
                    <a:cxn ang="0">
                      <a:pos x="366" y="111"/>
                    </a:cxn>
                    <a:cxn ang="0">
                      <a:pos x="347" y="128"/>
                    </a:cxn>
                    <a:cxn ang="0">
                      <a:pos x="324" y="125"/>
                    </a:cxn>
                    <a:cxn ang="0">
                      <a:pos x="307" y="108"/>
                    </a:cxn>
                    <a:cxn ang="0">
                      <a:pos x="253" y="88"/>
                    </a:cxn>
                    <a:cxn ang="0">
                      <a:pos x="220" y="80"/>
                    </a:cxn>
                    <a:cxn ang="0">
                      <a:pos x="211" y="54"/>
                    </a:cxn>
                    <a:cxn ang="0">
                      <a:pos x="193" y="31"/>
                    </a:cxn>
                    <a:cxn ang="0">
                      <a:pos x="173" y="26"/>
                    </a:cxn>
                    <a:cxn ang="0">
                      <a:pos x="127" y="12"/>
                    </a:cxn>
                    <a:cxn ang="0">
                      <a:pos x="108" y="14"/>
                    </a:cxn>
                    <a:cxn ang="0">
                      <a:pos x="75" y="0"/>
                    </a:cxn>
                    <a:cxn ang="0">
                      <a:pos x="72" y="26"/>
                    </a:cxn>
                    <a:cxn ang="0">
                      <a:pos x="68" y="34"/>
                    </a:cxn>
                    <a:cxn ang="0">
                      <a:pos x="28" y="64"/>
                    </a:cxn>
                    <a:cxn ang="0">
                      <a:pos x="26" y="94"/>
                    </a:cxn>
                    <a:cxn ang="0">
                      <a:pos x="18" y="121"/>
                    </a:cxn>
                    <a:cxn ang="0">
                      <a:pos x="9" y="153"/>
                    </a:cxn>
                    <a:cxn ang="0">
                      <a:pos x="14" y="221"/>
                    </a:cxn>
                    <a:cxn ang="0">
                      <a:pos x="16" y="245"/>
                    </a:cxn>
                    <a:cxn ang="0">
                      <a:pos x="14" y="282"/>
                    </a:cxn>
                    <a:cxn ang="0">
                      <a:pos x="11" y="303"/>
                    </a:cxn>
                    <a:cxn ang="0">
                      <a:pos x="2" y="322"/>
                    </a:cxn>
                    <a:cxn ang="0">
                      <a:pos x="19" y="351"/>
                    </a:cxn>
                    <a:cxn ang="0">
                      <a:pos x="23" y="376"/>
                    </a:cxn>
                    <a:cxn ang="0">
                      <a:pos x="33" y="390"/>
                    </a:cxn>
                    <a:cxn ang="0">
                      <a:pos x="52" y="390"/>
                    </a:cxn>
                    <a:cxn ang="0">
                      <a:pos x="77" y="404"/>
                    </a:cxn>
                    <a:cxn ang="0">
                      <a:pos x="89" y="433"/>
                    </a:cxn>
                    <a:cxn ang="0">
                      <a:pos x="132" y="445"/>
                    </a:cxn>
                    <a:cxn ang="0">
                      <a:pos x="159" y="461"/>
                    </a:cxn>
                    <a:cxn ang="0">
                      <a:pos x="178" y="468"/>
                    </a:cxn>
                    <a:cxn ang="0">
                      <a:pos x="227" y="435"/>
                    </a:cxn>
                    <a:cxn ang="0">
                      <a:pos x="317" y="485"/>
                    </a:cxn>
                  </a:cxnLst>
                  <a:rect l="0" t="0" r="r" b="b"/>
                  <a:pathLst>
                    <a:path w="552" h="609">
                      <a:moveTo>
                        <a:pt x="509" y="609"/>
                      </a:moveTo>
                      <a:lnTo>
                        <a:pt x="509" y="586"/>
                      </a:lnTo>
                      <a:lnTo>
                        <a:pt x="545" y="586"/>
                      </a:lnTo>
                      <a:lnTo>
                        <a:pt x="545" y="175"/>
                      </a:lnTo>
                      <a:lnTo>
                        <a:pt x="545" y="175"/>
                      </a:lnTo>
                      <a:lnTo>
                        <a:pt x="545" y="168"/>
                      </a:lnTo>
                      <a:lnTo>
                        <a:pt x="543" y="163"/>
                      </a:lnTo>
                      <a:lnTo>
                        <a:pt x="538" y="153"/>
                      </a:lnTo>
                      <a:lnTo>
                        <a:pt x="536" y="148"/>
                      </a:lnTo>
                      <a:lnTo>
                        <a:pt x="536" y="141"/>
                      </a:lnTo>
                      <a:lnTo>
                        <a:pt x="536" y="134"/>
                      </a:lnTo>
                      <a:lnTo>
                        <a:pt x="540" y="127"/>
                      </a:lnTo>
                      <a:lnTo>
                        <a:pt x="540" y="127"/>
                      </a:lnTo>
                      <a:lnTo>
                        <a:pt x="543" y="120"/>
                      </a:lnTo>
                      <a:lnTo>
                        <a:pt x="545" y="113"/>
                      </a:lnTo>
                      <a:lnTo>
                        <a:pt x="543" y="99"/>
                      </a:lnTo>
                      <a:lnTo>
                        <a:pt x="543" y="94"/>
                      </a:lnTo>
                      <a:lnTo>
                        <a:pt x="543" y="87"/>
                      </a:lnTo>
                      <a:lnTo>
                        <a:pt x="547" y="81"/>
                      </a:lnTo>
                      <a:lnTo>
                        <a:pt x="552" y="74"/>
                      </a:lnTo>
                      <a:lnTo>
                        <a:pt x="552" y="74"/>
                      </a:lnTo>
                      <a:lnTo>
                        <a:pt x="550" y="73"/>
                      </a:lnTo>
                      <a:lnTo>
                        <a:pt x="550" y="73"/>
                      </a:lnTo>
                      <a:lnTo>
                        <a:pt x="549" y="66"/>
                      </a:lnTo>
                      <a:lnTo>
                        <a:pt x="547" y="59"/>
                      </a:lnTo>
                      <a:lnTo>
                        <a:pt x="545" y="55"/>
                      </a:lnTo>
                      <a:lnTo>
                        <a:pt x="542" y="54"/>
                      </a:lnTo>
                      <a:lnTo>
                        <a:pt x="536" y="52"/>
                      </a:lnTo>
                      <a:lnTo>
                        <a:pt x="528" y="52"/>
                      </a:lnTo>
                      <a:lnTo>
                        <a:pt x="528" y="52"/>
                      </a:lnTo>
                      <a:lnTo>
                        <a:pt x="516" y="52"/>
                      </a:lnTo>
                      <a:lnTo>
                        <a:pt x="510" y="50"/>
                      </a:lnTo>
                      <a:lnTo>
                        <a:pt x="507" y="48"/>
                      </a:lnTo>
                      <a:lnTo>
                        <a:pt x="495" y="47"/>
                      </a:lnTo>
                      <a:lnTo>
                        <a:pt x="495" y="47"/>
                      </a:lnTo>
                      <a:lnTo>
                        <a:pt x="489" y="45"/>
                      </a:lnTo>
                      <a:lnTo>
                        <a:pt x="486" y="43"/>
                      </a:lnTo>
                      <a:lnTo>
                        <a:pt x="482" y="36"/>
                      </a:lnTo>
                      <a:lnTo>
                        <a:pt x="481" y="31"/>
                      </a:lnTo>
                      <a:lnTo>
                        <a:pt x="475" y="27"/>
                      </a:lnTo>
                      <a:lnTo>
                        <a:pt x="469" y="21"/>
                      </a:lnTo>
                      <a:lnTo>
                        <a:pt x="458" y="15"/>
                      </a:lnTo>
                      <a:lnTo>
                        <a:pt x="458" y="15"/>
                      </a:lnTo>
                      <a:lnTo>
                        <a:pt x="444" y="10"/>
                      </a:lnTo>
                      <a:lnTo>
                        <a:pt x="434" y="8"/>
                      </a:lnTo>
                      <a:lnTo>
                        <a:pt x="427" y="12"/>
                      </a:lnTo>
                      <a:lnTo>
                        <a:pt x="420" y="15"/>
                      </a:lnTo>
                      <a:lnTo>
                        <a:pt x="420" y="15"/>
                      </a:lnTo>
                      <a:lnTo>
                        <a:pt x="416" y="17"/>
                      </a:lnTo>
                      <a:lnTo>
                        <a:pt x="413" y="17"/>
                      </a:lnTo>
                      <a:lnTo>
                        <a:pt x="406" y="19"/>
                      </a:lnTo>
                      <a:lnTo>
                        <a:pt x="399" y="21"/>
                      </a:lnTo>
                      <a:lnTo>
                        <a:pt x="394" y="24"/>
                      </a:lnTo>
                      <a:lnTo>
                        <a:pt x="385" y="31"/>
                      </a:lnTo>
                      <a:lnTo>
                        <a:pt x="375" y="43"/>
                      </a:lnTo>
                      <a:lnTo>
                        <a:pt x="375" y="43"/>
                      </a:lnTo>
                      <a:lnTo>
                        <a:pt x="369" y="50"/>
                      </a:lnTo>
                      <a:lnTo>
                        <a:pt x="368" y="59"/>
                      </a:lnTo>
                      <a:lnTo>
                        <a:pt x="369" y="68"/>
                      </a:lnTo>
                      <a:lnTo>
                        <a:pt x="369" y="76"/>
                      </a:lnTo>
                      <a:lnTo>
                        <a:pt x="371" y="85"/>
                      </a:lnTo>
                      <a:lnTo>
                        <a:pt x="373" y="94"/>
                      </a:lnTo>
                      <a:lnTo>
                        <a:pt x="371" y="102"/>
                      </a:lnTo>
                      <a:lnTo>
                        <a:pt x="366" y="111"/>
                      </a:lnTo>
                      <a:lnTo>
                        <a:pt x="366" y="111"/>
                      </a:lnTo>
                      <a:lnTo>
                        <a:pt x="361" y="120"/>
                      </a:lnTo>
                      <a:lnTo>
                        <a:pt x="354" y="125"/>
                      </a:lnTo>
                      <a:lnTo>
                        <a:pt x="347" y="128"/>
                      </a:lnTo>
                      <a:lnTo>
                        <a:pt x="341" y="130"/>
                      </a:lnTo>
                      <a:lnTo>
                        <a:pt x="334" y="130"/>
                      </a:lnTo>
                      <a:lnTo>
                        <a:pt x="329" y="128"/>
                      </a:lnTo>
                      <a:lnTo>
                        <a:pt x="324" y="125"/>
                      </a:lnTo>
                      <a:lnTo>
                        <a:pt x="319" y="120"/>
                      </a:lnTo>
                      <a:lnTo>
                        <a:pt x="319" y="120"/>
                      </a:lnTo>
                      <a:lnTo>
                        <a:pt x="314" y="113"/>
                      </a:lnTo>
                      <a:lnTo>
                        <a:pt x="307" y="108"/>
                      </a:lnTo>
                      <a:lnTo>
                        <a:pt x="291" y="99"/>
                      </a:lnTo>
                      <a:lnTo>
                        <a:pt x="272" y="92"/>
                      </a:lnTo>
                      <a:lnTo>
                        <a:pt x="253" y="88"/>
                      </a:lnTo>
                      <a:lnTo>
                        <a:pt x="253" y="88"/>
                      </a:lnTo>
                      <a:lnTo>
                        <a:pt x="237" y="87"/>
                      </a:lnTo>
                      <a:lnTo>
                        <a:pt x="230" y="85"/>
                      </a:lnTo>
                      <a:lnTo>
                        <a:pt x="225" y="83"/>
                      </a:lnTo>
                      <a:lnTo>
                        <a:pt x="220" y="80"/>
                      </a:lnTo>
                      <a:lnTo>
                        <a:pt x="216" y="73"/>
                      </a:lnTo>
                      <a:lnTo>
                        <a:pt x="213" y="66"/>
                      </a:lnTo>
                      <a:lnTo>
                        <a:pt x="211" y="54"/>
                      </a:lnTo>
                      <a:lnTo>
                        <a:pt x="211" y="54"/>
                      </a:lnTo>
                      <a:lnTo>
                        <a:pt x="207" y="43"/>
                      </a:lnTo>
                      <a:lnTo>
                        <a:pt x="204" y="36"/>
                      </a:lnTo>
                      <a:lnTo>
                        <a:pt x="199" y="33"/>
                      </a:lnTo>
                      <a:lnTo>
                        <a:pt x="193" y="31"/>
                      </a:lnTo>
                      <a:lnTo>
                        <a:pt x="181" y="29"/>
                      </a:lnTo>
                      <a:lnTo>
                        <a:pt x="176" y="27"/>
                      </a:lnTo>
                      <a:lnTo>
                        <a:pt x="173" y="26"/>
                      </a:lnTo>
                      <a:lnTo>
                        <a:pt x="173" y="26"/>
                      </a:lnTo>
                      <a:lnTo>
                        <a:pt x="162" y="19"/>
                      </a:lnTo>
                      <a:lnTo>
                        <a:pt x="148" y="15"/>
                      </a:lnTo>
                      <a:lnTo>
                        <a:pt x="132" y="12"/>
                      </a:lnTo>
                      <a:lnTo>
                        <a:pt x="127" y="12"/>
                      </a:lnTo>
                      <a:lnTo>
                        <a:pt x="120" y="14"/>
                      </a:lnTo>
                      <a:lnTo>
                        <a:pt x="120" y="14"/>
                      </a:lnTo>
                      <a:lnTo>
                        <a:pt x="115" y="15"/>
                      </a:lnTo>
                      <a:lnTo>
                        <a:pt x="108" y="14"/>
                      </a:lnTo>
                      <a:lnTo>
                        <a:pt x="96" y="10"/>
                      </a:lnTo>
                      <a:lnTo>
                        <a:pt x="84" y="5"/>
                      </a:lnTo>
                      <a:lnTo>
                        <a:pt x="75" y="0"/>
                      </a:lnTo>
                      <a:lnTo>
                        <a:pt x="75" y="0"/>
                      </a:lnTo>
                      <a:lnTo>
                        <a:pt x="72" y="8"/>
                      </a:lnTo>
                      <a:lnTo>
                        <a:pt x="70" y="15"/>
                      </a:lnTo>
                      <a:lnTo>
                        <a:pt x="72" y="21"/>
                      </a:lnTo>
                      <a:lnTo>
                        <a:pt x="72" y="26"/>
                      </a:lnTo>
                      <a:lnTo>
                        <a:pt x="73" y="31"/>
                      </a:lnTo>
                      <a:lnTo>
                        <a:pt x="72" y="33"/>
                      </a:lnTo>
                      <a:lnTo>
                        <a:pt x="68" y="34"/>
                      </a:lnTo>
                      <a:lnTo>
                        <a:pt x="68" y="34"/>
                      </a:lnTo>
                      <a:lnTo>
                        <a:pt x="59" y="40"/>
                      </a:lnTo>
                      <a:lnTo>
                        <a:pt x="49" y="47"/>
                      </a:lnTo>
                      <a:lnTo>
                        <a:pt x="28" y="64"/>
                      </a:lnTo>
                      <a:lnTo>
                        <a:pt x="28" y="64"/>
                      </a:lnTo>
                      <a:lnTo>
                        <a:pt x="25" y="68"/>
                      </a:lnTo>
                      <a:lnTo>
                        <a:pt x="23" y="71"/>
                      </a:lnTo>
                      <a:lnTo>
                        <a:pt x="23" y="78"/>
                      </a:lnTo>
                      <a:lnTo>
                        <a:pt x="26" y="94"/>
                      </a:lnTo>
                      <a:lnTo>
                        <a:pt x="28" y="102"/>
                      </a:lnTo>
                      <a:lnTo>
                        <a:pt x="25" y="113"/>
                      </a:lnTo>
                      <a:lnTo>
                        <a:pt x="23" y="116"/>
                      </a:lnTo>
                      <a:lnTo>
                        <a:pt x="18" y="121"/>
                      </a:lnTo>
                      <a:lnTo>
                        <a:pt x="12" y="127"/>
                      </a:lnTo>
                      <a:lnTo>
                        <a:pt x="4" y="132"/>
                      </a:lnTo>
                      <a:lnTo>
                        <a:pt x="4" y="132"/>
                      </a:lnTo>
                      <a:lnTo>
                        <a:pt x="9" y="153"/>
                      </a:lnTo>
                      <a:lnTo>
                        <a:pt x="12" y="170"/>
                      </a:lnTo>
                      <a:lnTo>
                        <a:pt x="14" y="195"/>
                      </a:lnTo>
                      <a:lnTo>
                        <a:pt x="12" y="214"/>
                      </a:lnTo>
                      <a:lnTo>
                        <a:pt x="14" y="221"/>
                      </a:lnTo>
                      <a:lnTo>
                        <a:pt x="16" y="229"/>
                      </a:lnTo>
                      <a:lnTo>
                        <a:pt x="16" y="229"/>
                      </a:lnTo>
                      <a:lnTo>
                        <a:pt x="16" y="238"/>
                      </a:lnTo>
                      <a:lnTo>
                        <a:pt x="16" y="245"/>
                      </a:lnTo>
                      <a:lnTo>
                        <a:pt x="14" y="256"/>
                      </a:lnTo>
                      <a:lnTo>
                        <a:pt x="12" y="266"/>
                      </a:lnTo>
                      <a:lnTo>
                        <a:pt x="12" y="273"/>
                      </a:lnTo>
                      <a:lnTo>
                        <a:pt x="14" y="282"/>
                      </a:lnTo>
                      <a:lnTo>
                        <a:pt x="14" y="282"/>
                      </a:lnTo>
                      <a:lnTo>
                        <a:pt x="18" y="290"/>
                      </a:lnTo>
                      <a:lnTo>
                        <a:pt x="16" y="297"/>
                      </a:lnTo>
                      <a:lnTo>
                        <a:pt x="11" y="303"/>
                      </a:lnTo>
                      <a:lnTo>
                        <a:pt x="7" y="306"/>
                      </a:lnTo>
                      <a:lnTo>
                        <a:pt x="2" y="310"/>
                      </a:lnTo>
                      <a:lnTo>
                        <a:pt x="0" y="315"/>
                      </a:lnTo>
                      <a:lnTo>
                        <a:pt x="2" y="322"/>
                      </a:lnTo>
                      <a:lnTo>
                        <a:pt x="7" y="330"/>
                      </a:lnTo>
                      <a:lnTo>
                        <a:pt x="7" y="330"/>
                      </a:lnTo>
                      <a:lnTo>
                        <a:pt x="14" y="343"/>
                      </a:lnTo>
                      <a:lnTo>
                        <a:pt x="19" y="351"/>
                      </a:lnTo>
                      <a:lnTo>
                        <a:pt x="21" y="358"/>
                      </a:lnTo>
                      <a:lnTo>
                        <a:pt x="21" y="364"/>
                      </a:lnTo>
                      <a:lnTo>
                        <a:pt x="21" y="370"/>
                      </a:lnTo>
                      <a:lnTo>
                        <a:pt x="23" y="376"/>
                      </a:lnTo>
                      <a:lnTo>
                        <a:pt x="25" y="383"/>
                      </a:lnTo>
                      <a:lnTo>
                        <a:pt x="25" y="383"/>
                      </a:lnTo>
                      <a:lnTo>
                        <a:pt x="30" y="388"/>
                      </a:lnTo>
                      <a:lnTo>
                        <a:pt x="33" y="390"/>
                      </a:lnTo>
                      <a:lnTo>
                        <a:pt x="37" y="391"/>
                      </a:lnTo>
                      <a:lnTo>
                        <a:pt x="38" y="390"/>
                      </a:lnTo>
                      <a:lnTo>
                        <a:pt x="47" y="388"/>
                      </a:lnTo>
                      <a:lnTo>
                        <a:pt x="52" y="390"/>
                      </a:lnTo>
                      <a:lnTo>
                        <a:pt x="61" y="393"/>
                      </a:lnTo>
                      <a:lnTo>
                        <a:pt x="61" y="393"/>
                      </a:lnTo>
                      <a:lnTo>
                        <a:pt x="73" y="400"/>
                      </a:lnTo>
                      <a:lnTo>
                        <a:pt x="77" y="404"/>
                      </a:lnTo>
                      <a:lnTo>
                        <a:pt x="79" y="407"/>
                      </a:lnTo>
                      <a:lnTo>
                        <a:pt x="82" y="417"/>
                      </a:lnTo>
                      <a:lnTo>
                        <a:pt x="89" y="433"/>
                      </a:lnTo>
                      <a:lnTo>
                        <a:pt x="89" y="433"/>
                      </a:lnTo>
                      <a:lnTo>
                        <a:pt x="96" y="437"/>
                      </a:lnTo>
                      <a:lnTo>
                        <a:pt x="105" y="438"/>
                      </a:lnTo>
                      <a:lnTo>
                        <a:pt x="124" y="444"/>
                      </a:lnTo>
                      <a:lnTo>
                        <a:pt x="132" y="445"/>
                      </a:lnTo>
                      <a:lnTo>
                        <a:pt x="143" y="449"/>
                      </a:lnTo>
                      <a:lnTo>
                        <a:pt x="152" y="454"/>
                      </a:lnTo>
                      <a:lnTo>
                        <a:pt x="159" y="461"/>
                      </a:lnTo>
                      <a:lnTo>
                        <a:pt x="159" y="461"/>
                      </a:lnTo>
                      <a:lnTo>
                        <a:pt x="166" y="470"/>
                      </a:lnTo>
                      <a:lnTo>
                        <a:pt x="167" y="471"/>
                      </a:lnTo>
                      <a:lnTo>
                        <a:pt x="171" y="471"/>
                      </a:lnTo>
                      <a:lnTo>
                        <a:pt x="178" y="468"/>
                      </a:lnTo>
                      <a:lnTo>
                        <a:pt x="193" y="458"/>
                      </a:lnTo>
                      <a:lnTo>
                        <a:pt x="193" y="458"/>
                      </a:lnTo>
                      <a:lnTo>
                        <a:pt x="216" y="440"/>
                      </a:lnTo>
                      <a:lnTo>
                        <a:pt x="227" y="435"/>
                      </a:lnTo>
                      <a:lnTo>
                        <a:pt x="232" y="435"/>
                      </a:lnTo>
                      <a:lnTo>
                        <a:pt x="233" y="435"/>
                      </a:lnTo>
                      <a:lnTo>
                        <a:pt x="233" y="435"/>
                      </a:lnTo>
                      <a:lnTo>
                        <a:pt x="317" y="485"/>
                      </a:lnTo>
                      <a:lnTo>
                        <a:pt x="408" y="543"/>
                      </a:lnTo>
                      <a:lnTo>
                        <a:pt x="509" y="609"/>
                      </a:lnTo>
                      <a:lnTo>
                        <a:pt x="509" y="60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0" name="Freeform 1749">
                  <a:extLst>
                    <a:ext uri="{FF2B5EF4-FFF2-40B4-BE49-F238E27FC236}">
                      <a16:creationId xmlns:a16="http://schemas.microsoft.com/office/drawing/2014/main" id="{5C00F0AA-BBB9-6328-04E4-3A548C970C30}"/>
                    </a:ext>
                  </a:extLst>
                </p:cNvPr>
                <p:cNvSpPr>
                  <a:spLocks/>
                </p:cNvSpPr>
                <p:nvPr/>
              </p:nvSpPr>
              <p:spPr bwMode="auto">
                <a:xfrm>
                  <a:off x="5336440" y="3724159"/>
                  <a:ext cx="472216" cy="673085"/>
                </a:xfrm>
                <a:custGeom>
                  <a:avLst/>
                  <a:gdLst/>
                  <a:ahLst/>
                  <a:cxnLst>
                    <a:cxn ang="0">
                      <a:pos x="233" y="804"/>
                    </a:cxn>
                    <a:cxn ang="0">
                      <a:pos x="256" y="801"/>
                    </a:cxn>
                    <a:cxn ang="0">
                      <a:pos x="275" y="790"/>
                    </a:cxn>
                    <a:cxn ang="0">
                      <a:pos x="303" y="824"/>
                    </a:cxn>
                    <a:cxn ang="0">
                      <a:pos x="329" y="827"/>
                    </a:cxn>
                    <a:cxn ang="0">
                      <a:pos x="351" y="827"/>
                    </a:cxn>
                    <a:cxn ang="0">
                      <a:pos x="383" y="825"/>
                    </a:cxn>
                    <a:cxn ang="0">
                      <a:pos x="404" y="831"/>
                    </a:cxn>
                    <a:cxn ang="0">
                      <a:pos x="442" y="789"/>
                    </a:cxn>
                    <a:cxn ang="0">
                      <a:pos x="477" y="784"/>
                    </a:cxn>
                    <a:cxn ang="0">
                      <a:pos x="492" y="794"/>
                    </a:cxn>
                    <a:cxn ang="0">
                      <a:pos x="487" y="761"/>
                    </a:cxn>
                    <a:cxn ang="0">
                      <a:pos x="456" y="723"/>
                    </a:cxn>
                    <a:cxn ang="0">
                      <a:pos x="433" y="686"/>
                    </a:cxn>
                    <a:cxn ang="0">
                      <a:pos x="395" y="656"/>
                    </a:cxn>
                    <a:cxn ang="0">
                      <a:pos x="398" y="634"/>
                    </a:cxn>
                    <a:cxn ang="0">
                      <a:pos x="426" y="632"/>
                    </a:cxn>
                    <a:cxn ang="0">
                      <a:pos x="435" y="569"/>
                    </a:cxn>
                    <a:cxn ang="0">
                      <a:pos x="440" y="533"/>
                    </a:cxn>
                    <a:cxn ang="0">
                      <a:pos x="456" y="533"/>
                    </a:cxn>
                    <a:cxn ang="0">
                      <a:pos x="472" y="481"/>
                    </a:cxn>
                    <a:cxn ang="0">
                      <a:pos x="494" y="447"/>
                    </a:cxn>
                    <a:cxn ang="0">
                      <a:pos x="517" y="380"/>
                    </a:cxn>
                    <a:cxn ang="0">
                      <a:pos x="515" y="341"/>
                    </a:cxn>
                    <a:cxn ang="0">
                      <a:pos x="531" y="265"/>
                    </a:cxn>
                    <a:cxn ang="0">
                      <a:pos x="552" y="251"/>
                    </a:cxn>
                    <a:cxn ang="0">
                      <a:pos x="581" y="230"/>
                    </a:cxn>
                    <a:cxn ang="0">
                      <a:pos x="573" y="209"/>
                    </a:cxn>
                    <a:cxn ang="0">
                      <a:pos x="553" y="190"/>
                    </a:cxn>
                    <a:cxn ang="0">
                      <a:pos x="538" y="120"/>
                    </a:cxn>
                    <a:cxn ang="0">
                      <a:pos x="539" y="89"/>
                    </a:cxn>
                    <a:cxn ang="0">
                      <a:pos x="529" y="49"/>
                    </a:cxn>
                    <a:cxn ang="0">
                      <a:pos x="513" y="31"/>
                    </a:cxn>
                    <a:cxn ang="0">
                      <a:pos x="492" y="14"/>
                    </a:cxn>
                    <a:cxn ang="0">
                      <a:pos x="466" y="10"/>
                    </a:cxn>
                    <a:cxn ang="0">
                      <a:pos x="445" y="35"/>
                    </a:cxn>
                    <a:cxn ang="0">
                      <a:pos x="418" y="59"/>
                    </a:cxn>
                    <a:cxn ang="0">
                      <a:pos x="331" y="47"/>
                    </a:cxn>
                    <a:cxn ang="0">
                      <a:pos x="78" y="319"/>
                    </a:cxn>
                    <a:cxn ang="0">
                      <a:pos x="41" y="324"/>
                    </a:cxn>
                    <a:cxn ang="0">
                      <a:pos x="31" y="353"/>
                    </a:cxn>
                    <a:cxn ang="0">
                      <a:pos x="22" y="367"/>
                    </a:cxn>
                    <a:cxn ang="0">
                      <a:pos x="21" y="392"/>
                    </a:cxn>
                    <a:cxn ang="0">
                      <a:pos x="15" y="418"/>
                    </a:cxn>
                    <a:cxn ang="0">
                      <a:pos x="1" y="449"/>
                    </a:cxn>
                    <a:cxn ang="0">
                      <a:pos x="22" y="453"/>
                    </a:cxn>
                    <a:cxn ang="0">
                      <a:pos x="26" y="489"/>
                    </a:cxn>
                    <a:cxn ang="0">
                      <a:pos x="38" y="524"/>
                    </a:cxn>
                    <a:cxn ang="0">
                      <a:pos x="64" y="594"/>
                    </a:cxn>
                    <a:cxn ang="0">
                      <a:pos x="85" y="623"/>
                    </a:cxn>
                    <a:cxn ang="0">
                      <a:pos x="104" y="642"/>
                    </a:cxn>
                    <a:cxn ang="0">
                      <a:pos x="118" y="669"/>
                    </a:cxn>
                    <a:cxn ang="0">
                      <a:pos x="160" y="705"/>
                    </a:cxn>
                    <a:cxn ang="0">
                      <a:pos x="181" y="738"/>
                    </a:cxn>
                  </a:cxnLst>
                  <a:rect l="0" t="0" r="r" b="b"/>
                  <a:pathLst>
                    <a:path w="588" h="841">
                      <a:moveTo>
                        <a:pt x="200" y="778"/>
                      </a:moveTo>
                      <a:lnTo>
                        <a:pt x="200" y="778"/>
                      </a:lnTo>
                      <a:lnTo>
                        <a:pt x="210" y="790"/>
                      </a:lnTo>
                      <a:lnTo>
                        <a:pt x="221" y="801"/>
                      </a:lnTo>
                      <a:lnTo>
                        <a:pt x="224" y="804"/>
                      </a:lnTo>
                      <a:lnTo>
                        <a:pt x="230" y="804"/>
                      </a:lnTo>
                      <a:lnTo>
                        <a:pt x="233" y="804"/>
                      </a:lnTo>
                      <a:lnTo>
                        <a:pt x="238" y="801"/>
                      </a:lnTo>
                      <a:lnTo>
                        <a:pt x="238" y="801"/>
                      </a:lnTo>
                      <a:lnTo>
                        <a:pt x="243" y="797"/>
                      </a:lnTo>
                      <a:lnTo>
                        <a:pt x="247" y="796"/>
                      </a:lnTo>
                      <a:lnTo>
                        <a:pt x="250" y="797"/>
                      </a:lnTo>
                      <a:lnTo>
                        <a:pt x="252" y="799"/>
                      </a:lnTo>
                      <a:lnTo>
                        <a:pt x="256" y="801"/>
                      </a:lnTo>
                      <a:lnTo>
                        <a:pt x="259" y="803"/>
                      </a:lnTo>
                      <a:lnTo>
                        <a:pt x="261" y="801"/>
                      </a:lnTo>
                      <a:lnTo>
                        <a:pt x="264" y="797"/>
                      </a:lnTo>
                      <a:lnTo>
                        <a:pt x="264" y="797"/>
                      </a:lnTo>
                      <a:lnTo>
                        <a:pt x="268" y="792"/>
                      </a:lnTo>
                      <a:lnTo>
                        <a:pt x="271" y="790"/>
                      </a:lnTo>
                      <a:lnTo>
                        <a:pt x="275" y="790"/>
                      </a:lnTo>
                      <a:lnTo>
                        <a:pt x="277" y="790"/>
                      </a:lnTo>
                      <a:lnTo>
                        <a:pt x="284" y="799"/>
                      </a:lnTo>
                      <a:lnTo>
                        <a:pt x="290" y="811"/>
                      </a:lnTo>
                      <a:lnTo>
                        <a:pt x="290" y="811"/>
                      </a:lnTo>
                      <a:lnTo>
                        <a:pt x="294" y="817"/>
                      </a:lnTo>
                      <a:lnTo>
                        <a:pt x="297" y="820"/>
                      </a:lnTo>
                      <a:lnTo>
                        <a:pt x="303" y="824"/>
                      </a:lnTo>
                      <a:lnTo>
                        <a:pt x="310" y="829"/>
                      </a:lnTo>
                      <a:lnTo>
                        <a:pt x="313" y="834"/>
                      </a:lnTo>
                      <a:lnTo>
                        <a:pt x="317" y="841"/>
                      </a:lnTo>
                      <a:lnTo>
                        <a:pt x="317" y="841"/>
                      </a:lnTo>
                      <a:lnTo>
                        <a:pt x="322" y="831"/>
                      </a:lnTo>
                      <a:lnTo>
                        <a:pt x="325" y="827"/>
                      </a:lnTo>
                      <a:lnTo>
                        <a:pt x="329" y="827"/>
                      </a:lnTo>
                      <a:lnTo>
                        <a:pt x="332" y="829"/>
                      </a:lnTo>
                      <a:lnTo>
                        <a:pt x="339" y="834"/>
                      </a:lnTo>
                      <a:lnTo>
                        <a:pt x="343" y="834"/>
                      </a:lnTo>
                      <a:lnTo>
                        <a:pt x="346" y="831"/>
                      </a:lnTo>
                      <a:lnTo>
                        <a:pt x="346" y="831"/>
                      </a:lnTo>
                      <a:lnTo>
                        <a:pt x="348" y="827"/>
                      </a:lnTo>
                      <a:lnTo>
                        <a:pt x="351" y="827"/>
                      </a:lnTo>
                      <a:lnTo>
                        <a:pt x="358" y="838"/>
                      </a:lnTo>
                      <a:lnTo>
                        <a:pt x="358" y="838"/>
                      </a:lnTo>
                      <a:lnTo>
                        <a:pt x="362" y="839"/>
                      </a:lnTo>
                      <a:lnTo>
                        <a:pt x="365" y="839"/>
                      </a:lnTo>
                      <a:lnTo>
                        <a:pt x="372" y="832"/>
                      </a:lnTo>
                      <a:lnTo>
                        <a:pt x="378" y="829"/>
                      </a:lnTo>
                      <a:lnTo>
                        <a:pt x="383" y="825"/>
                      </a:lnTo>
                      <a:lnTo>
                        <a:pt x="388" y="824"/>
                      </a:lnTo>
                      <a:lnTo>
                        <a:pt x="395" y="825"/>
                      </a:lnTo>
                      <a:lnTo>
                        <a:pt x="395" y="825"/>
                      </a:lnTo>
                      <a:lnTo>
                        <a:pt x="398" y="827"/>
                      </a:lnTo>
                      <a:lnTo>
                        <a:pt x="398" y="829"/>
                      </a:lnTo>
                      <a:lnTo>
                        <a:pt x="398" y="831"/>
                      </a:lnTo>
                      <a:lnTo>
                        <a:pt x="404" y="831"/>
                      </a:lnTo>
                      <a:lnTo>
                        <a:pt x="404" y="831"/>
                      </a:lnTo>
                      <a:lnTo>
                        <a:pt x="411" y="829"/>
                      </a:lnTo>
                      <a:lnTo>
                        <a:pt x="416" y="825"/>
                      </a:lnTo>
                      <a:lnTo>
                        <a:pt x="426" y="810"/>
                      </a:lnTo>
                      <a:lnTo>
                        <a:pt x="426" y="810"/>
                      </a:lnTo>
                      <a:lnTo>
                        <a:pt x="437" y="796"/>
                      </a:lnTo>
                      <a:lnTo>
                        <a:pt x="442" y="789"/>
                      </a:lnTo>
                      <a:lnTo>
                        <a:pt x="449" y="785"/>
                      </a:lnTo>
                      <a:lnTo>
                        <a:pt x="449" y="785"/>
                      </a:lnTo>
                      <a:lnTo>
                        <a:pt x="461" y="780"/>
                      </a:lnTo>
                      <a:lnTo>
                        <a:pt x="470" y="778"/>
                      </a:lnTo>
                      <a:lnTo>
                        <a:pt x="477" y="780"/>
                      </a:lnTo>
                      <a:lnTo>
                        <a:pt x="479" y="782"/>
                      </a:lnTo>
                      <a:lnTo>
                        <a:pt x="477" y="784"/>
                      </a:lnTo>
                      <a:lnTo>
                        <a:pt x="477" y="784"/>
                      </a:lnTo>
                      <a:lnTo>
                        <a:pt x="477" y="787"/>
                      </a:lnTo>
                      <a:lnTo>
                        <a:pt x="477" y="789"/>
                      </a:lnTo>
                      <a:lnTo>
                        <a:pt x="479" y="790"/>
                      </a:lnTo>
                      <a:lnTo>
                        <a:pt x="480" y="792"/>
                      </a:lnTo>
                      <a:lnTo>
                        <a:pt x="486" y="794"/>
                      </a:lnTo>
                      <a:lnTo>
                        <a:pt x="492" y="794"/>
                      </a:lnTo>
                      <a:lnTo>
                        <a:pt x="492" y="794"/>
                      </a:lnTo>
                      <a:lnTo>
                        <a:pt x="491" y="785"/>
                      </a:lnTo>
                      <a:lnTo>
                        <a:pt x="489" y="778"/>
                      </a:lnTo>
                      <a:lnTo>
                        <a:pt x="491" y="770"/>
                      </a:lnTo>
                      <a:lnTo>
                        <a:pt x="491" y="766"/>
                      </a:lnTo>
                      <a:lnTo>
                        <a:pt x="491" y="763"/>
                      </a:lnTo>
                      <a:lnTo>
                        <a:pt x="487" y="761"/>
                      </a:lnTo>
                      <a:lnTo>
                        <a:pt x="484" y="759"/>
                      </a:lnTo>
                      <a:lnTo>
                        <a:pt x="484" y="759"/>
                      </a:lnTo>
                      <a:lnTo>
                        <a:pt x="473" y="756"/>
                      </a:lnTo>
                      <a:lnTo>
                        <a:pt x="470" y="754"/>
                      </a:lnTo>
                      <a:lnTo>
                        <a:pt x="466" y="750"/>
                      </a:lnTo>
                      <a:lnTo>
                        <a:pt x="461" y="740"/>
                      </a:lnTo>
                      <a:lnTo>
                        <a:pt x="456" y="723"/>
                      </a:lnTo>
                      <a:lnTo>
                        <a:pt x="456" y="723"/>
                      </a:lnTo>
                      <a:lnTo>
                        <a:pt x="454" y="712"/>
                      </a:lnTo>
                      <a:lnTo>
                        <a:pt x="451" y="705"/>
                      </a:lnTo>
                      <a:lnTo>
                        <a:pt x="447" y="700"/>
                      </a:lnTo>
                      <a:lnTo>
                        <a:pt x="445" y="698"/>
                      </a:lnTo>
                      <a:lnTo>
                        <a:pt x="437" y="691"/>
                      </a:lnTo>
                      <a:lnTo>
                        <a:pt x="433" y="686"/>
                      </a:lnTo>
                      <a:lnTo>
                        <a:pt x="428" y="679"/>
                      </a:lnTo>
                      <a:lnTo>
                        <a:pt x="428" y="679"/>
                      </a:lnTo>
                      <a:lnTo>
                        <a:pt x="423" y="670"/>
                      </a:lnTo>
                      <a:lnTo>
                        <a:pt x="416" y="665"/>
                      </a:lnTo>
                      <a:lnTo>
                        <a:pt x="409" y="662"/>
                      </a:lnTo>
                      <a:lnTo>
                        <a:pt x="400" y="658"/>
                      </a:lnTo>
                      <a:lnTo>
                        <a:pt x="395" y="656"/>
                      </a:lnTo>
                      <a:lnTo>
                        <a:pt x="391" y="655"/>
                      </a:lnTo>
                      <a:lnTo>
                        <a:pt x="391" y="653"/>
                      </a:lnTo>
                      <a:lnTo>
                        <a:pt x="395" y="648"/>
                      </a:lnTo>
                      <a:lnTo>
                        <a:pt x="395" y="648"/>
                      </a:lnTo>
                      <a:lnTo>
                        <a:pt x="398" y="644"/>
                      </a:lnTo>
                      <a:lnTo>
                        <a:pt x="398" y="641"/>
                      </a:lnTo>
                      <a:lnTo>
                        <a:pt x="398" y="634"/>
                      </a:lnTo>
                      <a:lnTo>
                        <a:pt x="400" y="630"/>
                      </a:lnTo>
                      <a:lnTo>
                        <a:pt x="404" y="629"/>
                      </a:lnTo>
                      <a:lnTo>
                        <a:pt x="409" y="629"/>
                      </a:lnTo>
                      <a:lnTo>
                        <a:pt x="419" y="632"/>
                      </a:lnTo>
                      <a:lnTo>
                        <a:pt x="419" y="632"/>
                      </a:lnTo>
                      <a:lnTo>
                        <a:pt x="423" y="632"/>
                      </a:lnTo>
                      <a:lnTo>
                        <a:pt x="426" y="632"/>
                      </a:lnTo>
                      <a:lnTo>
                        <a:pt x="428" y="630"/>
                      </a:lnTo>
                      <a:lnTo>
                        <a:pt x="430" y="629"/>
                      </a:lnTo>
                      <a:lnTo>
                        <a:pt x="432" y="622"/>
                      </a:lnTo>
                      <a:lnTo>
                        <a:pt x="432" y="611"/>
                      </a:lnTo>
                      <a:lnTo>
                        <a:pt x="432" y="590"/>
                      </a:lnTo>
                      <a:lnTo>
                        <a:pt x="433" y="578"/>
                      </a:lnTo>
                      <a:lnTo>
                        <a:pt x="435" y="569"/>
                      </a:lnTo>
                      <a:lnTo>
                        <a:pt x="435" y="569"/>
                      </a:lnTo>
                      <a:lnTo>
                        <a:pt x="438" y="562"/>
                      </a:lnTo>
                      <a:lnTo>
                        <a:pt x="440" y="555"/>
                      </a:lnTo>
                      <a:lnTo>
                        <a:pt x="438" y="548"/>
                      </a:lnTo>
                      <a:lnTo>
                        <a:pt x="437" y="542"/>
                      </a:lnTo>
                      <a:lnTo>
                        <a:pt x="438" y="538"/>
                      </a:lnTo>
                      <a:lnTo>
                        <a:pt x="440" y="533"/>
                      </a:lnTo>
                      <a:lnTo>
                        <a:pt x="440" y="533"/>
                      </a:lnTo>
                      <a:lnTo>
                        <a:pt x="444" y="528"/>
                      </a:lnTo>
                      <a:lnTo>
                        <a:pt x="447" y="526"/>
                      </a:lnTo>
                      <a:lnTo>
                        <a:pt x="449" y="526"/>
                      </a:lnTo>
                      <a:lnTo>
                        <a:pt x="451" y="529"/>
                      </a:lnTo>
                      <a:lnTo>
                        <a:pt x="454" y="533"/>
                      </a:lnTo>
                      <a:lnTo>
                        <a:pt x="456" y="533"/>
                      </a:lnTo>
                      <a:lnTo>
                        <a:pt x="458" y="531"/>
                      </a:lnTo>
                      <a:lnTo>
                        <a:pt x="458" y="531"/>
                      </a:lnTo>
                      <a:lnTo>
                        <a:pt x="461" y="522"/>
                      </a:lnTo>
                      <a:lnTo>
                        <a:pt x="461" y="507"/>
                      </a:lnTo>
                      <a:lnTo>
                        <a:pt x="465" y="493"/>
                      </a:lnTo>
                      <a:lnTo>
                        <a:pt x="466" y="486"/>
                      </a:lnTo>
                      <a:lnTo>
                        <a:pt x="472" y="481"/>
                      </a:lnTo>
                      <a:lnTo>
                        <a:pt x="472" y="481"/>
                      </a:lnTo>
                      <a:lnTo>
                        <a:pt x="475" y="475"/>
                      </a:lnTo>
                      <a:lnTo>
                        <a:pt x="477" y="470"/>
                      </a:lnTo>
                      <a:lnTo>
                        <a:pt x="480" y="460"/>
                      </a:lnTo>
                      <a:lnTo>
                        <a:pt x="484" y="454"/>
                      </a:lnTo>
                      <a:lnTo>
                        <a:pt x="487" y="451"/>
                      </a:lnTo>
                      <a:lnTo>
                        <a:pt x="494" y="447"/>
                      </a:lnTo>
                      <a:lnTo>
                        <a:pt x="503" y="447"/>
                      </a:lnTo>
                      <a:lnTo>
                        <a:pt x="503" y="447"/>
                      </a:lnTo>
                      <a:lnTo>
                        <a:pt x="503" y="439"/>
                      </a:lnTo>
                      <a:lnTo>
                        <a:pt x="503" y="432"/>
                      </a:lnTo>
                      <a:lnTo>
                        <a:pt x="506" y="420"/>
                      </a:lnTo>
                      <a:lnTo>
                        <a:pt x="512" y="404"/>
                      </a:lnTo>
                      <a:lnTo>
                        <a:pt x="517" y="380"/>
                      </a:lnTo>
                      <a:lnTo>
                        <a:pt x="517" y="380"/>
                      </a:lnTo>
                      <a:lnTo>
                        <a:pt x="517" y="369"/>
                      </a:lnTo>
                      <a:lnTo>
                        <a:pt x="513" y="359"/>
                      </a:lnTo>
                      <a:lnTo>
                        <a:pt x="513" y="350"/>
                      </a:lnTo>
                      <a:lnTo>
                        <a:pt x="513" y="345"/>
                      </a:lnTo>
                      <a:lnTo>
                        <a:pt x="515" y="341"/>
                      </a:lnTo>
                      <a:lnTo>
                        <a:pt x="515" y="341"/>
                      </a:lnTo>
                      <a:lnTo>
                        <a:pt x="520" y="329"/>
                      </a:lnTo>
                      <a:lnTo>
                        <a:pt x="526" y="315"/>
                      </a:lnTo>
                      <a:lnTo>
                        <a:pt x="529" y="296"/>
                      </a:lnTo>
                      <a:lnTo>
                        <a:pt x="531" y="286"/>
                      </a:lnTo>
                      <a:lnTo>
                        <a:pt x="531" y="272"/>
                      </a:lnTo>
                      <a:lnTo>
                        <a:pt x="531" y="272"/>
                      </a:lnTo>
                      <a:lnTo>
                        <a:pt x="531" y="265"/>
                      </a:lnTo>
                      <a:lnTo>
                        <a:pt x="531" y="261"/>
                      </a:lnTo>
                      <a:lnTo>
                        <a:pt x="533" y="259"/>
                      </a:lnTo>
                      <a:lnTo>
                        <a:pt x="536" y="261"/>
                      </a:lnTo>
                      <a:lnTo>
                        <a:pt x="539" y="263"/>
                      </a:lnTo>
                      <a:lnTo>
                        <a:pt x="543" y="263"/>
                      </a:lnTo>
                      <a:lnTo>
                        <a:pt x="546" y="259"/>
                      </a:lnTo>
                      <a:lnTo>
                        <a:pt x="552" y="251"/>
                      </a:lnTo>
                      <a:lnTo>
                        <a:pt x="552" y="251"/>
                      </a:lnTo>
                      <a:lnTo>
                        <a:pt x="553" y="247"/>
                      </a:lnTo>
                      <a:lnTo>
                        <a:pt x="557" y="244"/>
                      </a:lnTo>
                      <a:lnTo>
                        <a:pt x="566" y="244"/>
                      </a:lnTo>
                      <a:lnTo>
                        <a:pt x="571" y="242"/>
                      </a:lnTo>
                      <a:lnTo>
                        <a:pt x="576" y="239"/>
                      </a:lnTo>
                      <a:lnTo>
                        <a:pt x="581" y="230"/>
                      </a:lnTo>
                      <a:lnTo>
                        <a:pt x="588" y="219"/>
                      </a:lnTo>
                      <a:lnTo>
                        <a:pt x="588" y="219"/>
                      </a:lnTo>
                      <a:lnTo>
                        <a:pt x="581" y="209"/>
                      </a:lnTo>
                      <a:lnTo>
                        <a:pt x="578" y="207"/>
                      </a:lnTo>
                      <a:lnTo>
                        <a:pt x="574" y="209"/>
                      </a:lnTo>
                      <a:lnTo>
                        <a:pt x="574" y="209"/>
                      </a:lnTo>
                      <a:lnTo>
                        <a:pt x="573" y="209"/>
                      </a:lnTo>
                      <a:lnTo>
                        <a:pt x="571" y="207"/>
                      </a:lnTo>
                      <a:lnTo>
                        <a:pt x="567" y="200"/>
                      </a:lnTo>
                      <a:lnTo>
                        <a:pt x="562" y="193"/>
                      </a:lnTo>
                      <a:lnTo>
                        <a:pt x="559" y="192"/>
                      </a:lnTo>
                      <a:lnTo>
                        <a:pt x="555" y="190"/>
                      </a:lnTo>
                      <a:lnTo>
                        <a:pt x="555" y="190"/>
                      </a:lnTo>
                      <a:lnTo>
                        <a:pt x="553" y="190"/>
                      </a:lnTo>
                      <a:lnTo>
                        <a:pt x="552" y="188"/>
                      </a:lnTo>
                      <a:lnTo>
                        <a:pt x="548" y="181"/>
                      </a:lnTo>
                      <a:lnTo>
                        <a:pt x="545" y="171"/>
                      </a:lnTo>
                      <a:lnTo>
                        <a:pt x="541" y="158"/>
                      </a:lnTo>
                      <a:lnTo>
                        <a:pt x="538" y="134"/>
                      </a:lnTo>
                      <a:lnTo>
                        <a:pt x="538" y="125"/>
                      </a:lnTo>
                      <a:lnTo>
                        <a:pt x="538" y="120"/>
                      </a:lnTo>
                      <a:lnTo>
                        <a:pt x="538" y="120"/>
                      </a:lnTo>
                      <a:lnTo>
                        <a:pt x="539" y="113"/>
                      </a:lnTo>
                      <a:lnTo>
                        <a:pt x="539" y="108"/>
                      </a:lnTo>
                      <a:lnTo>
                        <a:pt x="538" y="98"/>
                      </a:lnTo>
                      <a:lnTo>
                        <a:pt x="534" y="91"/>
                      </a:lnTo>
                      <a:lnTo>
                        <a:pt x="536" y="89"/>
                      </a:lnTo>
                      <a:lnTo>
                        <a:pt x="539" y="89"/>
                      </a:lnTo>
                      <a:lnTo>
                        <a:pt x="539" y="89"/>
                      </a:lnTo>
                      <a:lnTo>
                        <a:pt x="543" y="91"/>
                      </a:lnTo>
                      <a:lnTo>
                        <a:pt x="545" y="89"/>
                      </a:lnTo>
                      <a:lnTo>
                        <a:pt x="541" y="82"/>
                      </a:lnTo>
                      <a:lnTo>
                        <a:pt x="534" y="70"/>
                      </a:lnTo>
                      <a:lnTo>
                        <a:pt x="531" y="59"/>
                      </a:lnTo>
                      <a:lnTo>
                        <a:pt x="529" y="49"/>
                      </a:lnTo>
                      <a:lnTo>
                        <a:pt x="529" y="49"/>
                      </a:lnTo>
                      <a:lnTo>
                        <a:pt x="527" y="42"/>
                      </a:lnTo>
                      <a:lnTo>
                        <a:pt x="526" y="37"/>
                      </a:lnTo>
                      <a:lnTo>
                        <a:pt x="522" y="35"/>
                      </a:lnTo>
                      <a:lnTo>
                        <a:pt x="517" y="33"/>
                      </a:lnTo>
                      <a:lnTo>
                        <a:pt x="517" y="33"/>
                      </a:lnTo>
                      <a:lnTo>
                        <a:pt x="513" y="31"/>
                      </a:lnTo>
                      <a:lnTo>
                        <a:pt x="510" y="30"/>
                      </a:lnTo>
                      <a:lnTo>
                        <a:pt x="508" y="23"/>
                      </a:lnTo>
                      <a:lnTo>
                        <a:pt x="505" y="17"/>
                      </a:lnTo>
                      <a:lnTo>
                        <a:pt x="501" y="16"/>
                      </a:lnTo>
                      <a:lnTo>
                        <a:pt x="496" y="14"/>
                      </a:lnTo>
                      <a:lnTo>
                        <a:pt x="496" y="14"/>
                      </a:lnTo>
                      <a:lnTo>
                        <a:pt x="492" y="14"/>
                      </a:lnTo>
                      <a:lnTo>
                        <a:pt x="489" y="10"/>
                      </a:lnTo>
                      <a:lnTo>
                        <a:pt x="484" y="0"/>
                      </a:lnTo>
                      <a:lnTo>
                        <a:pt x="484" y="0"/>
                      </a:lnTo>
                      <a:lnTo>
                        <a:pt x="479" y="5"/>
                      </a:lnTo>
                      <a:lnTo>
                        <a:pt x="475" y="9"/>
                      </a:lnTo>
                      <a:lnTo>
                        <a:pt x="468" y="10"/>
                      </a:lnTo>
                      <a:lnTo>
                        <a:pt x="466" y="10"/>
                      </a:lnTo>
                      <a:lnTo>
                        <a:pt x="463" y="12"/>
                      </a:lnTo>
                      <a:lnTo>
                        <a:pt x="459" y="16"/>
                      </a:lnTo>
                      <a:lnTo>
                        <a:pt x="458" y="21"/>
                      </a:lnTo>
                      <a:lnTo>
                        <a:pt x="458" y="21"/>
                      </a:lnTo>
                      <a:lnTo>
                        <a:pt x="454" y="28"/>
                      </a:lnTo>
                      <a:lnTo>
                        <a:pt x="451" y="31"/>
                      </a:lnTo>
                      <a:lnTo>
                        <a:pt x="445" y="35"/>
                      </a:lnTo>
                      <a:lnTo>
                        <a:pt x="438" y="38"/>
                      </a:lnTo>
                      <a:lnTo>
                        <a:pt x="435" y="42"/>
                      </a:lnTo>
                      <a:lnTo>
                        <a:pt x="432" y="45"/>
                      </a:lnTo>
                      <a:lnTo>
                        <a:pt x="432" y="45"/>
                      </a:lnTo>
                      <a:lnTo>
                        <a:pt x="426" y="54"/>
                      </a:lnTo>
                      <a:lnTo>
                        <a:pt x="421" y="57"/>
                      </a:lnTo>
                      <a:lnTo>
                        <a:pt x="418" y="59"/>
                      </a:lnTo>
                      <a:lnTo>
                        <a:pt x="414" y="59"/>
                      </a:lnTo>
                      <a:lnTo>
                        <a:pt x="409" y="57"/>
                      </a:lnTo>
                      <a:lnTo>
                        <a:pt x="404" y="54"/>
                      </a:lnTo>
                      <a:lnTo>
                        <a:pt x="398" y="47"/>
                      </a:lnTo>
                      <a:lnTo>
                        <a:pt x="338" y="47"/>
                      </a:lnTo>
                      <a:lnTo>
                        <a:pt x="338" y="38"/>
                      </a:lnTo>
                      <a:lnTo>
                        <a:pt x="331" y="47"/>
                      </a:lnTo>
                      <a:lnTo>
                        <a:pt x="111" y="47"/>
                      </a:lnTo>
                      <a:lnTo>
                        <a:pt x="111" y="132"/>
                      </a:lnTo>
                      <a:lnTo>
                        <a:pt x="75" y="132"/>
                      </a:lnTo>
                      <a:lnTo>
                        <a:pt x="75" y="308"/>
                      </a:lnTo>
                      <a:lnTo>
                        <a:pt x="75" y="308"/>
                      </a:lnTo>
                      <a:lnTo>
                        <a:pt x="78" y="317"/>
                      </a:lnTo>
                      <a:lnTo>
                        <a:pt x="78" y="319"/>
                      </a:lnTo>
                      <a:lnTo>
                        <a:pt x="76" y="319"/>
                      </a:lnTo>
                      <a:lnTo>
                        <a:pt x="68" y="320"/>
                      </a:lnTo>
                      <a:lnTo>
                        <a:pt x="68" y="320"/>
                      </a:lnTo>
                      <a:lnTo>
                        <a:pt x="57" y="319"/>
                      </a:lnTo>
                      <a:lnTo>
                        <a:pt x="47" y="320"/>
                      </a:lnTo>
                      <a:lnTo>
                        <a:pt x="43" y="320"/>
                      </a:lnTo>
                      <a:lnTo>
                        <a:pt x="41" y="324"/>
                      </a:lnTo>
                      <a:lnTo>
                        <a:pt x="40" y="327"/>
                      </a:lnTo>
                      <a:lnTo>
                        <a:pt x="40" y="334"/>
                      </a:lnTo>
                      <a:lnTo>
                        <a:pt x="40" y="334"/>
                      </a:lnTo>
                      <a:lnTo>
                        <a:pt x="40" y="341"/>
                      </a:lnTo>
                      <a:lnTo>
                        <a:pt x="38" y="345"/>
                      </a:lnTo>
                      <a:lnTo>
                        <a:pt x="35" y="350"/>
                      </a:lnTo>
                      <a:lnTo>
                        <a:pt x="31" y="353"/>
                      </a:lnTo>
                      <a:lnTo>
                        <a:pt x="31" y="355"/>
                      </a:lnTo>
                      <a:lnTo>
                        <a:pt x="31" y="360"/>
                      </a:lnTo>
                      <a:lnTo>
                        <a:pt x="31" y="360"/>
                      </a:lnTo>
                      <a:lnTo>
                        <a:pt x="29" y="366"/>
                      </a:lnTo>
                      <a:lnTo>
                        <a:pt x="28" y="367"/>
                      </a:lnTo>
                      <a:lnTo>
                        <a:pt x="24" y="367"/>
                      </a:lnTo>
                      <a:lnTo>
                        <a:pt x="22" y="367"/>
                      </a:lnTo>
                      <a:lnTo>
                        <a:pt x="21" y="369"/>
                      </a:lnTo>
                      <a:lnTo>
                        <a:pt x="21" y="373"/>
                      </a:lnTo>
                      <a:lnTo>
                        <a:pt x="22" y="380"/>
                      </a:lnTo>
                      <a:lnTo>
                        <a:pt x="22" y="380"/>
                      </a:lnTo>
                      <a:lnTo>
                        <a:pt x="24" y="385"/>
                      </a:lnTo>
                      <a:lnTo>
                        <a:pt x="22" y="390"/>
                      </a:lnTo>
                      <a:lnTo>
                        <a:pt x="21" y="392"/>
                      </a:lnTo>
                      <a:lnTo>
                        <a:pt x="17" y="394"/>
                      </a:lnTo>
                      <a:lnTo>
                        <a:pt x="14" y="397"/>
                      </a:lnTo>
                      <a:lnTo>
                        <a:pt x="10" y="399"/>
                      </a:lnTo>
                      <a:lnTo>
                        <a:pt x="10" y="404"/>
                      </a:lnTo>
                      <a:lnTo>
                        <a:pt x="14" y="411"/>
                      </a:lnTo>
                      <a:lnTo>
                        <a:pt x="14" y="411"/>
                      </a:lnTo>
                      <a:lnTo>
                        <a:pt x="15" y="418"/>
                      </a:lnTo>
                      <a:lnTo>
                        <a:pt x="15" y="425"/>
                      </a:lnTo>
                      <a:lnTo>
                        <a:pt x="12" y="428"/>
                      </a:lnTo>
                      <a:lnTo>
                        <a:pt x="8" y="432"/>
                      </a:lnTo>
                      <a:lnTo>
                        <a:pt x="5" y="435"/>
                      </a:lnTo>
                      <a:lnTo>
                        <a:pt x="1" y="439"/>
                      </a:lnTo>
                      <a:lnTo>
                        <a:pt x="0" y="444"/>
                      </a:lnTo>
                      <a:lnTo>
                        <a:pt x="1" y="449"/>
                      </a:lnTo>
                      <a:lnTo>
                        <a:pt x="1" y="449"/>
                      </a:lnTo>
                      <a:lnTo>
                        <a:pt x="5" y="451"/>
                      </a:lnTo>
                      <a:lnTo>
                        <a:pt x="7" y="451"/>
                      </a:lnTo>
                      <a:lnTo>
                        <a:pt x="14" y="449"/>
                      </a:lnTo>
                      <a:lnTo>
                        <a:pt x="17" y="449"/>
                      </a:lnTo>
                      <a:lnTo>
                        <a:pt x="21" y="449"/>
                      </a:lnTo>
                      <a:lnTo>
                        <a:pt x="22" y="453"/>
                      </a:lnTo>
                      <a:lnTo>
                        <a:pt x="22" y="458"/>
                      </a:lnTo>
                      <a:lnTo>
                        <a:pt x="22" y="458"/>
                      </a:lnTo>
                      <a:lnTo>
                        <a:pt x="24" y="470"/>
                      </a:lnTo>
                      <a:lnTo>
                        <a:pt x="26" y="475"/>
                      </a:lnTo>
                      <a:lnTo>
                        <a:pt x="28" y="481"/>
                      </a:lnTo>
                      <a:lnTo>
                        <a:pt x="26" y="489"/>
                      </a:lnTo>
                      <a:lnTo>
                        <a:pt x="26" y="489"/>
                      </a:lnTo>
                      <a:lnTo>
                        <a:pt x="26" y="495"/>
                      </a:lnTo>
                      <a:lnTo>
                        <a:pt x="28" y="500"/>
                      </a:lnTo>
                      <a:lnTo>
                        <a:pt x="35" y="503"/>
                      </a:lnTo>
                      <a:lnTo>
                        <a:pt x="36" y="507"/>
                      </a:lnTo>
                      <a:lnTo>
                        <a:pt x="40" y="510"/>
                      </a:lnTo>
                      <a:lnTo>
                        <a:pt x="40" y="515"/>
                      </a:lnTo>
                      <a:lnTo>
                        <a:pt x="38" y="524"/>
                      </a:lnTo>
                      <a:lnTo>
                        <a:pt x="38" y="524"/>
                      </a:lnTo>
                      <a:lnTo>
                        <a:pt x="50" y="542"/>
                      </a:lnTo>
                      <a:lnTo>
                        <a:pt x="59" y="557"/>
                      </a:lnTo>
                      <a:lnTo>
                        <a:pt x="62" y="566"/>
                      </a:lnTo>
                      <a:lnTo>
                        <a:pt x="64" y="575"/>
                      </a:lnTo>
                      <a:lnTo>
                        <a:pt x="66" y="583"/>
                      </a:lnTo>
                      <a:lnTo>
                        <a:pt x="64" y="594"/>
                      </a:lnTo>
                      <a:lnTo>
                        <a:pt x="64" y="594"/>
                      </a:lnTo>
                      <a:lnTo>
                        <a:pt x="62" y="608"/>
                      </a:lnTo>
                      <a:lnTo>
                        <a:pt x="62" y="616"/>
                      </a:lnTo>
                      <a:lnTo>
                        <a:pt x="68" y="620"/>
                      </a:lnTo>
                      <a:lnTo>
                        <a:pt x="73" y="622"/>
                      </a:lnTo>
                      <a:lnTo>
                        <a:pt x="83" y="622"/>
                      </a:lnTo>
                      <a:lnTo>
                        <a:pt x="85" y="623"/>
                      </a:lnTo>
                      <a:lnTo>
                        <a:pt x="83" y="629"/>
                      </a:lnTo>
                      <a:lnTo>
                        <a:pt x="83" y="629"/>
                      </a:lnTo>
                      <a:lnTo>
                        <a:pt x="83" y="634"/>
                      </a:lnTo>
                      <a:lnTo>
                        <a:pt x="83" y="636"/>
                      </a:lnTo>
                      <a:lnTo>
                        <a:pt x="87" y="637"/>
                      </a:lnTo>
                      <a:lnTo>
                        <a:pt x="92" y="639"/>
                      </a:lnTo>
                      <a:lnTo>
                        <a:pt x="104" y="642"/>
                      </a:lnTo>
                      <a:lnTo>
                        <a:pt x="109" y="644"/>
                      </a:lnTo>
                      <a:lnTo>
                        <a:pt x="115" y="649"/>
                      </a:lnTo>
                      <a:lnTo>
                        <a:pt x="115" y="649"/>
                      </a:lnTo>
                      <a:lnTo>
                        <a:pt x="120" y="656"/>
                      </a:lnTo>
                      <a:lnTo>
                        <a:pt x="120" y="660"/>
                      </a:lnTo>
                      <a:lnTo>
                        <a:pt x="120" y="665"/>
                      </a:lnTo>
                      <a:lnTo>
                        <a:pt x="118" y="669"/>
                      </a:lnTo>
                      <a:lnTo>
                        <a:pt x="120" y="670"/>
                      </a:lnTo>
                      <a:lnTo>
                        <a:pt x="123" y="676"/>
                      </a:lnTo>
                      <a:lnTo>
                        <a:pt x="132" y="681"/>
                      </a:lnTo>
                      <a:lnTo>
                        <a:pt x="132" y="681"/>
                      </a:lnTo>
                      <a:lnTo>
                        <a:pt x="148" y="693"/>
                      </a:lnTo>
                      <a:lnTo>
                        <a:pt x="156" y="700"/>
                      </a:lnTo>
                      <a:lnTo>
                        <a:pt x="160" y="705"/>
                      </a:lnTo>
                      <a:lnTo>
                        <a:pt x="160" y="714"/>
                      </a:lnTo>
                      <a:lnTo>
                        <a:pt x="160" y="714"/>
                      </a:lnTo>
                      <a:lnTo>
                        <a:pt x="160" y="721"/>
                      </a:lnTo>
                      <a:lnTo>
                        <a:pt x="163" y="728"/>
                      </a:lnTo>
                      <a:lnTo>
                        <a:pt x="170" y="733"/>
                      </a:lnTo>
                      <a:lnTo>
                        <a:pt x="181" y="738"/>
                      </a:lnTo>
                      <a:lnTo>
                        <a:pt x="181" y="738"/>
                      </a:lnTo>
                      <a:lnTo>
                        <a:pt x="184" y="742"/>
                      </a:lnTo>
                      <a:lnTo>
                        <a:pt x="188" y="743"/>
                      </a:lnTo>
                      <a:lnTo>
                        <a:pt x="191" y="754"/>
                      </a:lnTo>
                      <a:lnTo>
                        <a:pt x="195" y="764"/>
                      </a:lnTo>
                      <a:lnTo>
                        <a:pt x="200" y="778"/>
                      </a:lnTo>
                      <a:lnTo>
                        <a:pt x="200" y="77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1" name="Freeform 1750">
                  <a:extLst>
                    <a:ext uri="{FF2B5EF4-FFF2-40B4-BE49-F238E27FC236}">
                      <a16:creationId xmlns:a16="http://schemas.microsoft.com/office/drawing/2014/main" id="{C9ABA86C-A77D-0E83-676F-55FBDE42AA0A}"/>
                    </a:ext>
                  </a:extLst>
                </p:cNvPr>
                <p:cNvSpPr>
                  <a:spLocks/>
                </p:cNvSpPr>
                <p:nvPr/>
              </p:nvSpPr>
              <p:spPr bwMode="auto">
                <a:xfrm>
                  <a:off x="4478345" y="3211417"/>
                  <a:ext cx="581462" cy="655465"/>
                </a:xfrm>
                <a:custGeom>
                  <a:avLst/>
                  <a:gdLst/>
                  <a:ahLst/>
                  <a:cxnLst>
                    <a:cxn ang="0">
                      <a:pos x="339" y="719"/>
                    </a:cxn>
                    <a:cxn ang="0">
                      <a:pos x="346" y="738"/>
                    </a:cxn>
                    <a:cxn ang="0">
                      <a:pos x="360" y="749"/>
                    </a:cxn>
                    <a:cxn ang="0">
                      <a:pos x="377" y="763"/>
                    </a:cxn>
                    <a:cxn ang="0">
                      <a:pos x="391" y="771"/>
                    </a:cxn>
                    <a:cxn ang="0">
                      <a:pos x="414" y="777"/>
                    </a:cxn>
                    <a:cxn ang="0">
                      <a:pos x="416" y="801"/>
                    </a:cxn>
                    <a:cxn ang="0">
                      <a:pos x="412" y="813"/>
                    </a:cxn>
                    <a:cxn ang="0">
                      <a:pos x="452" y="808"/>
                    </a:cxn>
                    <a:cxn ang="0">
                      <a:pos x="503" y="799"/>
                    </a:cxn>
                    <a:cxn ang="0">
                      <a:pos x="546" y="754"/>
                    </a:cxn>
                    <a:cxn ang="0">
                      <a:pos x="724" y="618"/>
                    </a:cxn>
                    <a:cxn ang="0">
                      <a:pos x="708" y="585"/>
                    </a:cxn>
                    <a:cxn ang="0">
                      <a:pos x="673" y="575"/>
                    </a:cxn>
                    <a:cxn ang="0">
                      <a:pos x="660" y="568"/>
                    </a:cxn>
                    <a:cxn ang="0">
                      <a:pos x="654" y="536"/>
                    </a:cxn>
                    <a:cxn ang="0">
                      <a:pos x="635" y="500"/>
                    </a:cxn>
                    <a:cxn ang="0">
                      <a:pos x="653" y="475"/>
                    </a:cxn>
                    <a:cxn ang="0">
                      <a:pos x="649" y="441"/>
                    </a:cxn>
                    <a:cxn ang="0">
                      <a:pos x="649" y="406"/>
                    </a:cxn>
                    <a:cxn ang="0">
                      <a:pos x="639" y="317"/>
                    </a:cxn>
                    <a:cxn ang="0">
                      <a:pos x="616" y="228"/>
                    </a:cxn>
                    <a:cxn ang="0">
                      <a:pos x="593" y="202"/>
                    </a:cxn>
                    <a:cxn ang="0">
                      <a:pos x="567" y="152"/>
                    </a:cxn>
                    <a:cxn ang="0">
                      <a:pos x="581" y="127"/>
                    </a:cxn>
                    <a:cxn ang="0">
                      <a:pos x="593" y="105"/>
                    </a:cxn>
                    <a:cxn ang="0">
                      <a:pos x="593" y="70"/>
                    </a:cxn>
                    <a:cxn ang="0">
                      <a:pos x="595" y="35"/>
                    </a:cxn>
                    <a:cxn ang="0">
                      <a:pos x="590" y="26"/>
                    </a:cxn>
                    <a:cxn ang="0">
                      <a:pos x="606" y="9"/>
                    </a:cxn>
                    <a:cxn ang="0">
                      <a:pos x="579" y="12"/>
                    </a:cxn>
                    <a:cxn ang="0">
                      <a:pos x="562" y="0"/>
                    </a:cxn>
                    <a:cxn ang="0">
                      <a:pos x="546" y="9"/>
                    </a:cxn>
                    <a:cxn ang="0">
                      <a:pos x="525" y="4"/>
                    </a:cxn>
                    <a:cxn ang="0">
                      <a:pos x="499" y="16"/>
                    </a:cxn>
                    <a:cxn ang="0">
                      <a:pos x="482" y="17"/>
                    </a:cxn>
                    <a:cxn ang="0">
                      <a:pos x="447" y="9"/>
                    </a:cxn>
                    <a:cxn ang="0">
                      <a:pos x="414" y="14"/>
                    </a:cxn>
                    <a:cxn ang="0">
                      <a:pos x="397" y="23"/>
                    </a:cxn>
                    <a:cxn ang="0">
                      <a:pos x="329" y="35"/>
                    </a:cxn>
                    <a:cxn ang="0">
                      <a:pos x="304" y="56"/>
                    </a:cxn>
                    <a:cxn ang="0">
                      <a:pos x="290" y="59"/>
                    </a:cxn>
                    <a:cxn ang="0">
                      <a:pos x="278" y="66"/>
                    </a:cxn>
                    <a:cxn ang="0">
                      <a:pos x="263" y="71"/>
                    </a:cxn>
                    <a:cxn ang="0">
                      <a:pos x="236" y="94"/>
                    </a:cxn>
                    <a:cxn ang="0">
                      <a:pos x="235" y="103"/>
                    </a:cxn>
                    <a:cxn ang="0">
                      <a:pos x="247" y="171"/>
                    </a:cxn>
                    <a:cxn ang="0">
                      <a:pos x="261" y="207"/>
                    </a:cxn>
                    <a:cxn ang="0">
                      <a:pos x="266" y="214"/>
                    </a:cxn>
                    <a:cxn ang="0">
                      <a:pos x="257" y="230"/>
                    </a:cxn>
                    <a:cxn ang="0">
                      <a:pos x="205" y="235"/>
                    </a:cxn>
                    <a:cxn ang="0">
                      <a:pos x="174" y="251"/>
                    </a:cxn>
                    <a:cxn ang="0">
                      <a:pos x="167" y="263"/>
                    </a:cxn>
                    <a:cxn ang="0">
                      <a:pos x="174" y="287"/>
                    </a:cxn>
                    <a:cxn ang="0">
                      <a:pos x="127" y="312"/>
                    </a:cxn>
                    <a:cxn ang="0">
                      <a:pos x="78" y="341"/>
                    </a:cxn>
                    <a:cxn ang="0">
                      <a:pos x="0" y="387"/>
                    </a:cxn>
                  </a:cxnLst>
                  <a:rect l="0" t="0" r="r" b="b"/>
                  <a:pathLst>
                    <a:path w="724" h="817">
                      <a:moveTo>
                        <a:pt x="0" y="434"/>
                      </a:moveTo>
                      <a:lnTo>
                        <a:pt x="0" y="451"/>
                      </a:lnTo>
                      <a:lnTo>
                        <a:pt x="135" y="552"/>
                      </a:lnTo>
                      <a:lnTo>
                        <a:pt x="135" y="552"/>
                      </a:lnTo>
                      <a:lnTo>
                        <a:pt x="339" y="719"/>
                      </a:lnTo>
                      <a:lnTo>
                        <a:pt x="339" y="719"/>
                      </a:lnTo>
                      <a:lnTo>
                        <a:pt x="344" y="723"/>
                      </a:lnTo>
                      <a:lnTo>
                        <a:pt x="346" y="726"/>
                      </a:lnTo>
                      <a:lnTo>
                        <a:pt x="346" y="733"/>
                      </a:lnTo>
                      <a:lnTo>
                        <a:pt x="346" y="738"/>
                      </a:lnTo>
                      <a:lnTo>
                        <a:pt x="348" y="740"/>
                      </a:lnTo>
                      <a:lnTo>
                        <a:pt x="351" y="742"/>
                      </a:lnTo>
                      <a:lnTo>
                        <a:pt x="351" y="742"/>
                      </a:lnTo>
                      <a:lnTo>
                        <a:pt x="357" y="745"/>
                      </a:lnTo>
                      <a:lnTo>
                        <a:pt x="360" y="749"/>
                      </a:lnTo>
                      <a:lnTo>
                        <a:pt x="365" y="756"/>
                      </a:lnTo>
                      <a:lnTo>
                        <a:pt x="370" y="761"/>
                      </a:lnTo>
                      <a:lnTo>
                        <a:pt x="374" y="763"/>
                      </a:lnTo>
                      <a:lnTo>
                        <a:pt x="377" y="763"/>
                      </a:lnTo>
                      <a:lnTo>
                        <a:pt x="377" y="763"/>
                      </a:lnTo>
                      <a:lnTo>
                        <a:pt x="383" y="763"/>
                      </a:lnTo>
                      <a:lnTo>
                        <a:pt x="384" y="763"/>
                      </a:lnTo>
                      <a:lnTo>
                        <a:pt x="388" y="766"/>
                      </a:lnTo>
                      <a:lnTo>
                        <a:pt x="388" y="770"/>
                      </a:lnTo>
                      <a:lnTo>
                        <a:pt x="391" y="771"/>
                      </a:lnTo>
                      <a:lnTo>
                        <a:pt x="395" y="773"/>
                      </a:lnTo>
                      <a:lnTo>
                        <a:pt x="402" y="773"/>
                      </a:lnTo>
                      <a:lnTo>
                        <a:pt x="402" y="773"/>
                      </a:lnTo>
                      <a:lnTo>
                        <a:pt x="409" y="775"/>
                      </a:lnTo>
                      <a:lnTo>
                        <a:pt x="414" y="777"/>
                      </a:lnTo>
                      <a:lnTo>
                        <a:pt x="417" y="782"/>
                      </a:lnTo>
                      <a:lnTo>
                        <a:pt x="419" y="785"/>
                      </a:lnTo>
                      <a:lnTo>
                        <a:pt x="419" y="792"/>
                      </a:lnTo>
                      <a:lnTo>
                        <a:pt x="419" y="797"/>
                      </a:lnTo>
                      <a:lnTo>
                        <a:pt x="416" y="801"/>
                      </a:lnTo>
                      <a:lnTo>
                        <a:pt x="414" y="804"/>
                      </a:lnTo>
                      <a:lnTo>
                        <a:pt x="414" y="804"/>
                      </a:lnTo>
                      <a:lnTo>
                        <a:pt x="412" y="808"/>
                      </a:lnTo>
                      <a:lnTo>
                        <a:pt x="412" y="810"/>
                      </a:lnTo>
                      <a:lnTo>
                        <a:pt x="412" y="813"/>
                      </a:lnTo>
                      <a:lnTo>
                        <a:pt x="416" y="815"/>
                      </a:lnTo>
                      <a:lnTo>
                        <a:pt x="421" y="817"/>
                      </a:lnTo>
                      <a:lnTo>
                        <a:pt x="428" y="815"/>
                      </a:lnTo>
                      <a:lnTo>
                        <a:pt x="438" y="813"/>
                      </a:lnTo>
                      <a:lnTo>
                        <a:pt x="452" y="808"/>
                      </a:lnTo>
                      <a:lnTo>
                        <a:pt x="452" y="808"/>
                      </a:lnTo>
                      <a:lnTo>
                        <a:pt x="468" y="808"/>
                      </a:lnTo>
                      <a:lnTo>
                        <a:pt x="482" y="806"/>
                      </a:lnTo>
                      <a:lnTo>
                        <a:pt x="492" y="803"/>
                      </a:lnTo>
                      <a:lnTo>
                        <a:pt x="503" y="799"/>
                      </a:lnTo>
                      <a:lnTo>
                        <a:pt x="512" y="794"/>
                      </a:lnTo>
                      <a:lnTo>
                        <a:pt x="518" y="791"/>
                      </a:lnTo>
                      <a:lnTo>
                        <a:pt x="529" y="778"/>
                      </a:lnTo>
                      <a:lnTo>
                        <a:pt x="538" y="766"/>
                      </a:lnTo>
                      <a:lnTo>
                        <a:pt x="546" y="754"/>
                      </a:lnTo>
                      <a:lnTo>
                        <a:pt x="557" y="742"/>
                      </a:lnTo>
                      <a:lnTo>
                        <a:pt x="569" y="730"/>
                      </a:lnTo>
                      <a:lnTo>
                        <a:pt x="569" y="730"/>
                      </a:lnTo>
                      <a:lnTo>
                        <a:pt x="656" y="669"/>
                      </a:lnTo>
                      <a:lnTo>
                        <a:pt x="724" y="618"/>
                      </a:lnTo>
                      <a:lnTo>
                        <a:pt x="724" y="618"/>
                      </a:lnTo>
                      <a:lnTo>
                        <a:pt x="717" y="602"/>
                      </a:lnTo>
                      <a:lnTo>
                        <a:pt x="714" y="592"/>
                      </a:lnTo>
                      <a:lnTo>
                        <a:pt x="712" y="589"/>
                      </a:lnTo>
                      <a:lnTo>
                        <a:pt x="708" y="585"/>
                      </a:lnTo>
                      <a:lnTo>
                        <a:pt x="696" y="578"/>
                      </a:lnTo>
                      <a:lnTo>
                        <a:pt x="696" y="578"/>
                      </a:lnTo>
                      <a:lnTo>
                        <a:pt x="687" y="575"/>
                      </a:lnTo>
                      <a:lnTo>
                        <a:pt x="682" y="573"/>
                      </a:lnTo>
                      <a:lnTo>
                        <a:pt x="673" y="575"/>
                      </a:lnTo>
                      <a:lnTo>
                        <a:pt x="672" y="576"/>
                      </a:lnTo>
                      <a:lnTo>
                        <a:pt x="668" y="575"/>
                      </a:lnTo>
                      <a:lnTo>
                        <a:pt x="665" y="573"/>
                      </a:lnTo>
                      <a:lnTo>
                        <a:pt x="660" y="568"/>
                      </a:lnTo>
                      <a:lnTo>
                        <a:pt x="660" y="568"/>
                      </a:lnTo>
                      <a:lnTo>
                        <a:pt x="658" y="561"/>
                      </a:lnTo>
                      <a:lnTo>
                        <a:pt x="656" y="555"/>
                      </a:lnTo>
                      <a:lnTo>
                        <a:pt x="656" y="549"/>
                      </a:lnTo>
                      <a:lnTo>
                        <a:pt x="656" y="543"/>
                      </a:lnTo>
                      <a:lnTo>
                        <a:pt x="654" y="536"/>
                      </a:lnTo>
                      <a:lnTo>
                        <a:pt x="649" y="528"/>
                      </a:lnTo>
                      <a:lnTo>
                        <a:pt x="642" y="515"/>
                      </a:lnTo>
                      <a:lnTo>
                        <a:pt x="642" y="515"/>
                      </a:lnTo>
                      <a:lnTo>
                        <a:pt x="637" y="507"/>
                      </a:lnTo>
                      <a:lnTo>
                        <a:pt x="635" y="500"/>
                      </a:lnTo>
                      <a:lnTo>
                        <a:pt x="637" y="495"/>
                      </a:lnTo>
                      <a:lnTo>
                        <a:pt x="642" y="491"/>
                      </a:lnTo>
                      <a:lnTo>
                        <a:pt x="646" y="488"/>
                      </a:lnTo>
                      <a:lnTo>
                        <a:pt x="651" y="482"/>
                      </a:lnTo>
                      <a:lnTo>
                        <a:pt x="653" y="475"/>
                      </a:lnTo>
                      <a:lnTo>
                        <a:pt x="649" y="467"/>
                      </a:lnTo>
                      <a:lnTo>
                        <a:pt x="649" y="467"/>
                      </a:lnTo>
                      <a:lnTo>
                        <a:pt x="647" y="458"/>
                      </a:lnTo>
                      <a:lnTo>
                        <a:pt x="647" y="451"/>
                      </a:lnTo>
                      <a:lnTo>
                        <a:pt x="649" y="441"/>
                      </a:lnTo>
                      <a:lnTo>
                        <a:pt x="651" y="430"/>
                      </a:lnTo>
                      <a:lnTo>
                        <a:pt x="651" y="423"/>
                      </a:lnTo>
                      <a:lnTo>
                        <a:pt x="651" y="414"/>
                      </a:lnTo>
                      <a:lnTo>
                        <a:pt x="651" y="414"/>
                      </a:lnTo>
                      <a:lnTo>
                        <a:pt x="649" y="406"/>
                      </a:lnTo>
                      <a:lnTo>
                        <a:pt x="647" y="399"/>
                      </a:lnTo>
                      <a:lnTo>
                        <a:pt x="649" y="380"/>
                      </a:lnTo>
                      <a:lnTo>
                        <a:pt x="647" y="355"/>
                      </a:lnTo>
                      <a:lnTo>
                        <a:pt x="644" y="338"/>
                      </a:lnTo>
                      <a:lnTo>
                        <a:pt x="639" y="317"/>
                      </a:lnTo>
                      <a:lnTo>
                        <a:pt x="639" y="317"/>
                      </a:lnTo>
                      <a:lnTo>
                        <a:pt x="633" y="279"/>
                      </a:lnTo>
                      <a:lnTo>
                        <a:pt x="628" y="254"/>
                      </a:lnTo>
                      <a:lnTo>
                        <a:pt x="623" y="237"/>
                      </a:lnTo>
                      <a:lnTo>
                        <a:pt x="616" y="228"/>
                      </a:lnTo>
                      <a:lnTo>
                        <a:pt x="609" y="223"/>
                      </a:lnTo>
                      <a:lnTo>
                        <a:pt x="604" y="219"/>
                      </a:lnTo>
                      <a:lnTo>
                        <a:pt x="599" y="212"/>
                      </a:lnTo>
                      <a:lnTo>
                        <a:pt x="593" y="202"/>
                      </a:lnTo>
                      <a:lnTo>
                        <a:pt x="593" y="202"/>
                      </a:lnTo>
                      <a:lnTo>
                        <a:pt x="592" y="195"/>
                      </a:lnTo>
                      <a:lnTo>
                        <a:pt x="586" y="188"/>
                      </a:lnTo>
                      <a:lnTo>
                        <a:pt x="578" y="174"/>
                      </a:lnTo>
                      <a:lnTo>
                        <a:pt x="569" y="158"/>
                      </a:lnTo>
                      <a:lnTo>
                        <a:pt x="567" y="152"/>
                      </a:lnTo>
                      <a:lnTo>
                        <a:pt x="566" y="146"/>
                      </a:lnTo>
                      <a:lnTo>
                        <a:pt x="566" y="146"/>
                      </a:lnTo>
                      <a:lnTo>
                        <a:pt x="567" y="141"/>
                      </a:lnTo>
                      <a:lnTo>
                        <a:pt x="571" y="136"/>
                      </a:lnTo>
                      <a:lnTo>
                        <a:pt x="581" y="127"/>
                      </a:lnTo>
                      <a:lnTo>
                        <a:pt x="590" y="118"/>
                      </a:lnTo>
                      <a:lnTo>
                        <a:pt x="592" y="113"/>
                      </a:lnTo>
                      <a:lnTo>
                        <a:pt x="593" y="110"/>
                      </a:lnTo>
                      <a:lnTo>
                        <a:pt x="593" y="110"/>
                      </a:lnTo>
                      <a:lnTo>
                        <a:pt x="593" y="105"/>
                      </a:lnTo>
                      <a:lnTo>
                        <a:pt x="593" y="99"/>
                      </a:lnTo>
                      <a:lnTo>
                        <a:pt x="597" y="94"/>
                      </a:lnTo>
                      <a:lnTo>
                        <a:pt x="599" y="92"/>
                      </a:lnTo>
                      <a:lnTo>
                        <a:pt x="599" y="87"/>
                      </a:lnTo>
                      <a:lnTo>
                        <a:pt x="593" y="70"/>
                      </a:lnTo>
                      <a:lnTo>
                        <a:pt x="593" y="70"/>
                      </a:lnTo>
                      <a:lnTo>
                        <a:pt x="592" y="61"/>
                      </a:lnTo>
                      <a:lnTo>
                        <a:pt x="592" y="54"/>
                      </a:lnTo>
                      <a:lnTo>
                        <a:pt x="593" y="44"/>
                      </a:lnTo>
                      <a:lnTo>
                        <a:pt x="595" y="35"/>
                      </a:lnTo>
                      <a:lnTo>
                        <a:pt x="595" y="31"/>
                      </a:lnTo>
                      <a:lnTo>
                        <a:pt x="592" y="30"/>
                      </a:lnTo>
                      <a:lnTo>
                        <a:pt x="592" y="30"/>
                      </a:lnTo>
                      <a:lnTo>
                        <a:pt x="590" y="28"/>
                      </a:lnTo>
                      <a:lnTo>
                        <a:pt x="590" y="26"/>
                      </a:lnTo>
                      <a:lnTo>
                        <a:pt x="595" y="21"/>
                      </a:lnTo>
                      <a:lnTo>
                        <a:pt x="600" y="16"/>
                      </a:lnTo>
                      <a:lnTo>
                        <a:pt x="604" y="12"/>
                      </a:lnTo>
                      <a:lnTo>
                        <a:pt x="606" y="9"/>
                      </a:lnTo>
                      <a:lnTo>
                        <a:pt x="606" y="9"/>
                      </a:lnTo>
                      <a:lnTo>
                        <a:pt x="595" y="9"/>
                      </a:lnTo>
                      <a:lnTo>
                        <a:pt x="590" y="9"/>
                      </a:lnTo>
                      <a:lnTo>
                        <a:pt x="585" y="11"/>
                      </a:lnTo>
                      <a:lnTo>
                        <a:pt x="585" y="11"/>
                      </a:lnTo>
                      <a:lnTo>
                        <a:pt x="579" y="12"/>
                      </a:lnTo>
                      <a:lnTo>
                        <a:pt x="576" y="11"/>
                      </a:lnTo>
                      <a:lnTo>
                        <a:pt x="574" y="5"/>
                      </a:lnTo>
                      <a:lnTo>
                        <a:pt x="566" y="2"/>
                      </a:lnTo>
                      <a:lnTo>
                        <a:pt x="566" y="2"/>
                      </a:lnTo>
                      <a:lnTo>
                        <a:pt x="562" y="0"/>
                      </a:lnTo>
                      <a:lnTo>
                        <a:pt x="559" y="0"/>
                      </a:lnTo>
                      <a:lnTo>
                        <a:pt x="555" y="5"/>
                      </a:lnTo>
                      <a:lnTo>
                        <a:pt x="553" y="7"/>
                      </a:lnTo>
                      <a:lnTo>
                        <a:pt x="550" y="9"/>
                      </a:lnTo>
                      <a:lnTo>
                        <a:pt x="546" y="9"/>
                      </a:lnTo>
                      <a:lnTo>
                        <a:pt x="541" y="7"/>
                      </a:lnTo>
                      <a:lnTo>
                        <a:pt x="541" y="7"/>
                      </a:lnTo>
                      <a:lnTo>
                        <a:pt x="531" y="4"/>
                      </a:lnTo>
                      <a:lnTo>
                        <a:pt x="527" y="4"/>
                      </a:lnTo>
                      <a:lnTo>
                        <a:pt x="525" y="4"/>
                      </a:lnTo>
                      <a:lnTo>
                        <a:pt x="520" y="7"/>
                      </a:lnTo>
                      <a:lnTo>
                        <a:pt x="510" y="12"/>
                      </a:lnTo>
                      <a:lnTo>
                        <a:pt x="510" y="12"/>
                      </a:lnTo>
                      <a:lnTo>
                        <a:pt x="505" y="14"/>
                      </a:lnTo>
                      <a:lnTo>
                        <a:pt x="499" y="16"/>
                      </a:lnTo>
                      <a:lnTo>
                        <a:pt x="494" y="21"/>
                      </a:lnTo>
                      <a:lnTo>
                        <a:pt x="492" y="21"/>
                      </a:lnTo>
                      <a:lnTo>
                        <a:pt x="489" y="23"/>
                      </a:lnTo>
                      <a:lnTo>
                        <a:pt x="485" y="21"/>
                      </a:lnTo>
                      <a:lnTo>
                        <a:pt x="482" y="17"/>
                      </a:lnTo>
                      <a:lnTo>
                        <a:pt x="482" y="17"/>
                      </a:lnTo>
                      <a:lnTo>
                        <a:pt x="478" y="14"/>
                      </a:lnTo>
                      <a:lnTo>
                        <a:pt x="473" y="12"/>
                      </a:lnTo>
                      <a:lnTo>
                        <a:pt x="461" y="9"/>
                      </a:lnTo>
                      <a:lnTo>
                        <a:pt x="447" y="9"/>
                      </a:lnTo>
                      <a:lnTo>
                        <a:pt x="433" y="12"/>
                      </a:lnTo>
                      <a:lnTo>
                        <a:pt x="433" y="12"/>
                      </a:lnTo>
                      <a:lnTo>
                        <a:pt x="428" y="14"/>
                      </a:lnTo>
                      <a:lnTo>
                        <a:pt x="423" y="14"/>
                      </a:lnTo>
                      <a:lnTo>
                        <a:pt x="414" y="14"/>
                      </a:lnTo>
                      <a:lnTo>
                        <a:pt x="407" y="14"/>
                      </a:lnTo>
                      <a:lnTo>
                        <a:pt x="404" y="14"/>
                      </a:lnTo>
                      <a:lnTo>
                        <a:pt x="402" y="17"/>
                      </a:lnTo>
                      <a:lnTo>
                        <a:pt x="402" y="17"/>
                      </a:lnTo>
                      <a:lnTo>
                        <a:pt x="397" y="23"/>
                      </a:lnTo>
                      <a:lnTo>
                        <a:pt x="390" y="24"/>
                      </a:lnTo>
                      <a:lnTo>
                        <a:pt x="365" y="26"/>
                      </a:lnTo>
                      <a:lnTo>
                        <a:pt x="365" y="26"/>
                      </a:lnTo>
                      <a:lnTo>
                        <a:pt x="346" y="28"/>
                      </a:lnTo>
                      <a:lnTo>
                        <a:pt x="329" y="35"/>
                      </a:lnTo>
                      <a:lnTo>
                        <a:pt x="320" y="38"/>
                      </a:lnTo>
                      <a:lnTo>
                        <a:pt x="313" y="44"/>
                      </a:lnTo>
                      <a:lnTo>
                        <a:pt x="308" y="51"/>
                      </a:lnTo>
                      <a:lnTo>
                        <a:pt x="304" y="56"/>
                      </a:lnTo>
                      <a:lnTo>
                        <a:pt x="304" y="56"/>
                      </a:lnTo>
                      <a:lnTo>
                        <a:pt x="303" y="61"/>
                      </a:lnTo>
                      <a:lnTo>
                        <a:pt x="301" y="63"/>
                      </a:lnTo>
                      <a:lnTo>
                        <a:pt x="297" y="63"/>
                      </a:lnTo>
                      <a:lnTo>
                        <a:pt x="296" y="63"/>
                      </a:lnTo>
                      <a:lnTo>
                        <a:pt x="290" y="59"/>
                      </a:lnTo>
                      <a:lnTo>
                        <a:pt x="287" y="59"/>
                      </a:lnTo>
                      <a:lnTo>
                        <a:pt x="283" y="63"/>
                      </a:lnTo>
                      <a:lnTo>
                        <a:pt x="283" y="63"/>
                      </a:lnTo>
                      <a:lnTo>
                        <a:pt x="282" y="64"/>
                      </a:lnTo>
                      <a:lnTo>
                        <a:pt x="278" y="66"/>
                      </a:lnTo>
                      <a:lnTo>
                        <a:pt x="275" y="64"/>
                      </a:lnTo>
                      <a:lnTo>
                        <a:pt x="271" y="64"/>
                      </a:lnTo>
                      <a:lnTo>
                        <a:pt x="269" y="64"/>
                      </a:lnTo>
                      <a:lnTo>
                        <a:pt x="266" y="68"/>
                      </a:lnTo>
                      <a:lnTo>
                        <a:pt x="263" y="71"/>
                      </a:lnTo>
                      <a:lnTo>
                        <a:pt x="263" y="71"/>
                      </a:lnTo>
                      <a:lnTo>
                        <a:pt x="256" y="80"/>
                      </a:lnTo>
                      <a:lnTo>
                        <a:pt x="247" y="89"/>
                      </a:lnTo>
                      <a:lnTo>
                        <a:pt x="242" y="92"/>
                      </a:lnTo>
                      <a:lnTo>
                        <a:pt x="236" y="94"/>
                      </a:lnTo>
                      <a:lnTo>
                        <a:pt x="231" y="94"/>
                      </a:lnTo>
                      <a:lnTo>
                        <a:pt x="226" y="94"/>
                      </a:lnTo>
                      <a:lnTo>
                        <a:pt x="226" y="94"/>
                      </a:lnTo>
                      <a:lnTo>
                        <a:pt x="231" y="98"/>
                      </a:lnTo>
                      <a:lnTo>
                        <a:pt x="235" y="103"/>
                      </a:lnTo>
                      <a:lnTo>
                        <a:pt x="238" y="108"/>
                      </a:lnTo>
                      <a:lnTo>
                        <a:pt x="240" y="117"/>
                      </a:lnTo>
                      <a:lnTo>
                        <a:pt x="243" y="134"/>
                      </a:lnTo>
                      <a:lnTo>
                        <a:pt x="245" y="152"/>
                      </a:lnTo>
                      <a:lnTo>
                        <a:pt x="247" y="171"/>
                      </a:lnTo>
                      <a:lnTo>
                        <a:pt x="249" y="188"/>
                      </a:lnTo>
                      <a:lnTo>
                        <a:pt x="250" y="195"/>
                      </a:lnTo>
                      <a:lnTo>
                        <a:pt x="254" y="200"/>
                      </a:lnTo>
                      <a:lnTo>
                        <a:pt x="256" y="204"/>
                      </a:lnTo>
                      <a:lnTo>
                        <a:pt x="261" y="207"/>
                      </a:lnTo>
                      <a:lnTo>
                        <a:pt x="261" y="207"/>
                      </a:lnTo>
                      <a:lnTo>
                        <a:pt x="264" y="209"/>
                      </a:lnTo>
                      <a:lnTo>
                        <a:pt x="266" y="211"/>
                      </a:lnTo>
                      <a:lnTo>
                        <a:pt x="266" y="212"/>
                      </a:lnTo>
                      <a:lnTo>
                        <a:pt x="266" y="214"/>
                      </a:lnTo>
                      <a:lnTo>
                        <a:pt x="263" y="221"/>
                      </a:lnTo>
                      <a:lnTo>
                        <a:pt x="261" y="228"/>
                      </a:lnTo>
                      <a:lnTo>
                        <a:pt x="261" y="228"/>
                      </a:lnTo>
                      <a:lnTo>
                        <a:pt x="259" y="230"/>
                      </a:lnTo>
                      <a:lnTo>
                        <a:pt x="257" y="230"/>
                      </a:lnTo>
                      <a:lnTo>
                        <a:pt x="252" y="232"/>
                      </a:lnTo>
                      <a:lnTo>
                        <a:pt x="235" y="232"/>
                      </a:lnTo>
                      <a:lnTo>
                        <a:pt x="224" y="232"/>
                      </a:lnTo>
                      <a:lnTo>
                        <a:pt x="214" y="233"/>
                      </a:lnTo>
                      <a:lnTo>
                        <a:pt x="205" y="235"/>
                      </a:lnTo>
                      <a:lnTo>
                        <a:pt x="198" y="240"/>
                      </a:lnTo>
                      <a:lnTo>
                        <a:pt x="198" y="240"/>
                      </a:lnTo>
                      <a:lnTo>
                        <a:pt x="193" y="246"/>
                      </a:lnTo>
                      <a:lnTo>
                        <a:pt x="188" y="249"/>
                      </a:lnTo>
                      <a:lnTo>
                        <a:pt x="174" y="251"/>
                      </a:lnTo>
                      <a:lnTo>
                        <a:pt x="169" y="251"/>
                      </a:lnTo>
                      <a:lnTo>
                        <a:pt x="167" y="253"/>
                      </a:lnTo>
                      <a:lnTo>
                        <a:pt x="165" y="256"/>
                      </a:lnTo>
                      <a:lnTo>
                        <a:pt x="167" y="263"/>
                      </a:lnTo>
                      <a:lnTo>
                        <a:pt x="167" y="263"/>
                      </a:lnTo>
                      <a:lnTo>
                        <a:pt x="174" y="273"/>
                      </a:lnTo>
                      <a:lnTo>
                        <a:pt x="177" y="279"/>
                      </a:lnTo>
                      <a:lnTo>
                        <a:pt x="177" y="282"/>
                      </a:lnTo>
                      <a:lnTo>
                        <a:pt x="175" y="286"/>
                      </a:lnTo>
                      <a:lnTo>
                        <a:pt x="174" y="287"/>
                      </a:lnTo>
                      <a:lnTo>
                        <a:pt x="158" y="294"/>
                      </a:lnTo>
                      <a:lnTo>
                        <a:pt x="158" y="294"/>
                      </a:lnTo>
                      <a:lnTo>
                        <a:pt x="142" y="301"/>
                      </a:lnTo>
                      <a:lnTo>
                        <a:pt x="132" y="306"/>
                      </a:lnTo>
                      <a:lnTo>
                        <a:pt x="127" y="312"/>
                      </a:lnTo>
                      <a:lnTo>
                        <a:pt x="120" y="322"/>
                      </a:lnTo>
                      <a:lnTo>
                        <a:pt x="120" y="322"/>
                      </a:lnTo>
                      <a:lnTo>
                        <a:pt x="116" y="326"/>
                      </a:lnTo>
                      <a:lnTo>
                        <a:pt x="106" y="331"/>
                      </a:lnTo>
                      <a:lnTo>
                        <a:pt x="78" y="341"/>
                      </a:lnTo>
                      <a:lnTo>
                        <a:pt x="47" y="352"/>
                      </a:lnTo>
                      <a:lnTo>
                        <a:pt x="36" y="357"/>
                      </a:lnTo>
                      <a:lnTo>
                        <a:pt x="29" y="362"/>
                      </a:lnTo>
                      <a:lnTo>
                        <a:pt x="29" y="362"/>
                      </a:lnTo>
                      <a:lnTo>
                        <a:pt x="0" y="387"/>
                      </a:lnTo>
                      <a:lnTo>
                        <a:pt x="0" y="43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4715A"/>
                    </a:solidFill>
                    <a:effectLst/>
                    <a:uLnTx/>
                    <a:uFillTx/>
                    <a:latin typeface="Arial" pitchFamily="34" charset="0"/>
                    <a:ea typeface="ＭＳ Ｐゴシック" charset="-128"/>
                    <a:cs typeface="+mn-cs"/>
                  </a:endParaRPr>
                </a:p>
              </p:txBody>
            </p:sp>
            <p:sp>
              <p:nvSpPr>
                <p:cNvPr id="142" name="Freeform 1751">
                  <a:extLst>
                    <a:ext uri="{FF2B5EF4-FFF2-40B4-BE49-F238E27FC236}">
                      <a16:creationId xmlns:a16="http://schemas.microsoft.com/office/drawing/2014/main" id="{D577EAA5-5198-153A-C374-165F3F63844E}"/>
                    </a:ext>
                  </a:extLst>
                </p:cNvPr>
                <p:cNvSpPr>
                  <a:spLocks/>
                </p:cNvSpPr>
                <p:nvPr/>
              </p:nvSpPr>
              <p:spPr bwMode="auto">
                <a:xfrm>
                  <a:off x="5419254" y="3415808"/>
                  <a:ext cx="308350" cy="355924"/>
                </a:xfrm>
                <a:custGeom>
                  <a:avLst/>
                  <a:gdLst/>
                  <a:ahLst/>
                  <a:cxnLst>
                    <a:cxn ang="0">
                      <a:pos x="340" y="150"/>
                    </a:cxn>
                    <a:cxn ang="0">
                      <a:pos x="331" y="176"/>
                    </a:cxn>
                    <a:cxn ang="0">
                      <a:pos x="316" y="160"/>
                    </a:cxn>
                    <a:cxn ang="0">
                      <a:pos x="296" y="138"/>
                    </a:cxn>
                    <a:cxn ang="0">
                      <a:pos x="286" y="108"/>
                    </a:cxn>
                    <a:cxn ang="0">
                      <a:pos x="277" y="87"/>
                    </a:cxn>
                    <a:cxn ang="0">
                      <a:pos x="274" y="75"/>
                    </a:cxn>
                    <a:cxn ang="0">
                      <a:pos x="269" y="96"/>
                    </a:cxn>
                    <a:cxn ang="0">
                      <a:pos x="274" y="112"/>
                    </a:cxn>
                    <a:cxn ang="0">
                      <a:pos x="303" y="166"/>
                    </a:cxn>
                    <a:cxn ang="0">
                      <a:pos x="310" y="187"/>
                    </a:cxn>
                    <a:cxn ang="0">
                      <a:pos x="323" y="213"/>
                    </a:cxn>
                    <a:cxn ang="0">
                      <a:pos x="323" y="234"/>
                    </a:cxn>
                    <a:cxn ang="0">
                      <a:pos x="361" y="312"/>
                    </a:cxn>
                    <a:cxn ang="0">
                      <a:pos x="377" y="338"/>
                    </a:cxn>
                    <a:cxn ang="0">
                      <a:pos x="384" y="347"/>
                    </a:cxn>
                    <a:cxn ang="0">
                      <a:pos x="375" y="359"/>
                    </a:cxn>
                    <a:cxn ang="0">
                      <a:pos x="377" y="390"/>
                    </a:cxn>
                    <a:cxn ang="0">
                      <a:pos x="361" y="397"/>
                    </a:cxn>
                    <a:cxn ang="0">
                      <a:pos x="352" y="413"/>
                    </a:cxn>
                    <a:cxn ang="0">
                      <a:pos x="333" y="427"/>
                    </a:cxn>
                    <a:cxn ang="0">
                      <a:pos x="319" y="442"/>
                    </a:cxn>
                    <a:cxn ang="0">
                      <a:pos x="302" y="439"/>
                    </a:cxn>
                    <a:cxn ang="0">
                      <a:pos x="229" y="432"/>
                    </a:cxn>
                    <a:cxn ang="0">
                      <a:pos x="9" y="99"/>
                    </a:cxn>
                    <a:cxn ang="0">
                      <a:pos x="0" y="72"/>
                    </a:cxn>
                    <a:cxn ang="0">
                      <a:pos x="7" y="51"/>
                    </a:cxn>
                    <a:cxn ang="0">
                      <a:pos x="7" y="18"/>
                    </a:cxn>
                    <a:cxn ang="0">
                      <a:pos x="20" y="5"/>
                    </a:cxn>
                    <a:cxn ang="0">
                      <a:pos x="67" y="5"/>
                    </a:cxn>
                    <a:cxn ang="0">
                      <a:pos x="94" y="14"/>
                    </a:cxn>
                    <a:cxn ang="0">
                      <a:pos x="101" y="19"/>
                    </a:cxn>
                    <a:cxn ang="0">
                      <a:pos x="117" y="25"/>
                    </a:cxn>
                    <a:cxn ang="0">
                      <a:pos x="133" y="28"/>
                    </a:cxn>
                    <a:cxn ang="0">
                      <a:pos x="161" y="35"/>
                    </a:cxn>
                    <a:cxn ang="0">
                      <a:pos x="187" y="14"/>
                    </a:cxn>
                    <a:cxn ang="0">
                      <a:pos x="197" y="7"/>
                    </a:cxn>
                    <a:cxn ang="0">
                      <a:pos x="215" y="2"/>
                    </a:cxn>
                    <a:cxn ang="0">
                      <a:pos x="237" y="7"/>
                    </a:cxn>
                    <a:cxn ang="0">
                      <a:pos x="248" y="4"/>
                    </a:cxn>
                    <a:cxn ang="0">
                      <a:pos x="258" y="11"/>
                    </a:cxn>
                    <a:cxn ang="0">
                      <a:pos x="258" y="14"/>
                    </a:cxn>
                    <a:cxn ang="0">
                      <a:pos x="249" y="9"/>
                    </a:cxn>
                    <a:cxn ang="0">
                      <a:pos x="246" y="16"/>
                    </a:cxn>
                    <a:cxn ang="0">
                      <a:pos x="251" y="19"/>
                    </a:cxn>
                    <a:cxn ang="0">
                      <a:pos x="258" y="25"/>
                    </a:cxn>
                    <a:cxn ang="0">
                      <a:pos x="263" y="19"/>
                    </a:cxn>
                    <a:cxn ang="0">
                      <a:pos x="269" y="19"/>
                    </a:cxn>
                    <a:cxn ang="0">
                      <a:pos x="284" y="23"/>
                    </a:cxn>
                    <a:cxn ang="0">
                      <a:pos x="295" y="21"/>
                    </a:cxn>
                    <a:cxn ang="0">
                      <a:pos x="331" y="16"/>
                    </a:cxn>
                    <a:cxn ang="0">
                      <a:pos x="345" y="58"/>
                    </a:cxn>
                  </a:cxnLst>
                  <a:rect l="0" t="0" r="r" b="b"/>
                  <a:pathLst>
                    <a:path w="385" h="444">
                      <a:moveTo>
                        <a:pt x="356" y="98"/>
                      </a:moveTo>
                      <a:lnTo>
                        <a:pt x="356" y="98"/>
                      </a:lnTo>
                      <a:lnTo>
                        <a:pt x="345" y="131"/>
                      </a:lnTo>
                      <a:lnTo>
                        <a:pt x="340" y="150"/>
                      </a:lnTo>
                      <a:lnTo>
                        <a:pt x="338" y="162"/>
                      </a:lnTo>
                      <a:lnTo>
                        <a:pt x="335" y="173"/>
                      </a:lnTo>
                      <a:lnTo>
                        <a:pt x="335" y="173"/>
                      </a:lnTo>
                      <a:lnTo>
                        <a:pt x="331" y="176"/>
                      </a:lnTo>
                      <a:lnTo>
                        <a:pt x="330" y="176"/>
                      </a:lnTo>
                      <a:lnTo>
                        <a:pt x="326" y="176"/>
                      </a:lnTo>
                      <a:lnTo>
                        <a:pt x="324" y="173"/>
                      </a:lnTo>
                      <a:lnTo>
                        <a:pt x="316" y="160"/>
                      </a:lnTo>
                      <a:lnTo>
                        <a:pt x="303" y="147"/>
                      </a:lnTo>
                      <a:lnTo>
                        <a:pt x="303" y="147"/>
                      </a:lnTo>
                      <a:lnTo>
                        <a:pt x="300" y="141"/>
                      </a:lnTo>
                      <a:lnTo>
                        <a:pt x="296" y="138"/>
                      </a:lnTo>
                      <a:lnTo>
                        <a:pt x="295" y="127"/>
                      </a:lnTo>
                      <a:lnTo>
                        <a:pt x="293" y="119"/>
                      </a:lnTo>
                      <a:lnTo>
                        <a:pt x="289" y="113"/>
                      </a:lnTo>
                      <a:lnTo>
                        <a:pt x="286" y="108"/>
                      </a:lnTo>
                      <a:lnTo>
                        <a:pt x="286" y="108"/>
                      </a:lnTo>
                      <a:lnTo>
                        <a:pt x="281" y="101"/>
                      </a:lnTo>
                      <a:lnTo>
                        <a:pt x="279" y="96"/>
                      </a:lnTo>
                      <a:lnTo>
                        <a:pt x="277" y="87"/>
                      </a:lnTo>
                      <a:lnTo>
                        <a:pt x="276" y="80"/>
                      </a:lnTo>
                      <a:lnTo>
                        <a:pt x="276" y="79"/>
                      </a:lnTo>
                      <a:lnTo>
                        <a:pt x="274" y="75"/>
                      </a:lnTo>
                      <a:lnTo>
                        <a:pt x="274" y="75"/>
                      </a:lnTo>
                      <a:lnTo>
                        <a:pt x="269" y="84"/>
                      </a:lnTo>
                      <a:lnTo>
                        <a:pt x="267" y="89"/>
                      </a:lnTo>
                      <a:lnTo>
                        <a:pt x="267" y="94"/>
                      </a:lnTo>
                      <a:lnTo>
                        <a:pt x="269" y="96"/>
                      </a:lnTo>
                      <a:lnTo>
                        <a:pt x="272" y="101"/>
                      </a:lnTo>
                      <a:lnTo>
                        <a:pt x="274" y="106"/>
                      </a:lnTo>
                      <a:lnTo>
                        <a:pt x="274" y="112"/>
                      </a:lnTo>
                      <a:lnTo>
                        <a:pt x="274" y="112"/>
                      </a:lnTo>
                      <a:lnTo>
                        <a:pt x="276" y="120"/>
                      </a:lnTo>
                      <a:lnTo>
                        <a:pt x="279" y="129"/>
                      </a:lnTo>
                      <a:lnTo>
                        <a:pt x="291" y="147"/>
                      </a:lnTo>
                      <a:lnTo>
                        <a:pt x="303" y="166"/>
                      </a:lnTo>
                      <a:lnTo>
                        <a:pt x="309" y="173"/>
                      </a:lnTo>
                      <a:lnTo>
                        <a:pt x="309" y="181"/>
                      </a:lnTo>
                      <a:lnTo>
                        <a:pt x="309" y="181"/>
                      </a:lnTo>
                      <a:lnTo>
                        <a:pt x="310" y="187"/>
                      </a:lnTo>
                      <a:lnTo>
                        <a:pt x="312" y="192"/>
                      </a:lnTo>
                      <a:lnTo>
                        <a:pt x="317" y="200"/>
                      </a:lnTo>
                      <a:lnTo>
                        <a:pt x="321" y="209"/>
                      </a:lnTo>
                      <a:lnTo>
                        <a:pt x="323" y="213"/>
                      </a:lnTo>
                      <a:lnTo>
                        <a:pt x="321" y="218"/>
                      </a:lnTo>
                      <a:lnTo>
                        <a:pt x="321" y="218"/>
                      </a:lnTo>
                      <a:lnTo>
                        <a:pt x="321" y="225"/>
                      </a:lnTo>
                      <a:lnTo>
                        <a:pt x="323" y="234"/>
                      </a:lnTo>
                      <a:lnTo>
                        <a:pt x="333" y="253"/>
                      </a:lnTo>
                      <a:lnTo>
                        <a:pt x="345" y="279"/>
                      </a:lnTo>
                      <a:lnTo>
                        <a:pt x="354" y="295"/>
                      </a:lnTo>
                      <a:lnTo>
                        <a:pt x="361" y="312"/>
                      </a:lnTo>
                      <a:lnTo>
                        <a:pt x="361" y="312"/>
                      </a:lnTo>
                      <a:lnTo>
                        <a:pt x="366" y="322"/>
                      </a:lnTo>
                      <a:lnTo>
                        <a:pt x="371" y="331"/>
                      </a:lnTo>
                      <a:lnTo>
                        <a:pt x="377" y="338"/>
                      </a:lnTo>
                      <a:lnTo>
                        <a:pt x="380" y="342"/>
                      </a:lnTo>
                      <a:lnTo>
                        <a:pt x="385" y="347"/>
                      </a:lnTo>
                      <a:lnTo>
                        <a:pt x="384" y="347"/>
                      </a:lnTo>
                      <a:lnTo>
                        <a:pt x="384" y="347"/>
                      </a:lnTo>
                      <a:lnTo>
                        <a:pt x="380" y="347"/>
                      </a:lnTo>
                      <a:lnTo>
                        <a:pt x="377" y="348"/>
                      </a:lnTo>
                      <a:lnTo>
                        <a:pt x="375" y="354"/>
                      </a:lnTo>
                      <a:lnTo>
                        <a:pt x="375" y="359"/>
                      </a:lnTo>
                      <a:lnTo>
                        <a:pt x="377" y="371"/>
                      </a:lnTo>
                      <a:lnTo>
                        <a:pt x="382" y="385"/>
                      </a:lnTo>
                      <a:lnTo>
                        <a:pt x="382" y="385"/>
                      </a:lnTo>
                      <a:lnTo>
                        <a:pt x="377" y="390"/>
                      </a:lnTo>
                      <a:lnTo>
                        <a:pt x="373" y="394"/>
                      </a:lnTo>
                      <a:lnTo>
                        <a:pt x="366" y="395"/>
                      </a:lnTo>
                      <a:lnTo>
                        <a:pt x="364" y="395"/>
                      </a:lnTo>
                      <a:lnTo>
                        <a:pt x="361" y="397"/>
                      </a:lnTo>
                      <a:lnTo>
                        <a:pt x="357" y="401"/>
                      </a:lnTo>
                      <a:lnTo>
                        <a:pt x="356" y="406"/>
                      </a:lnTo>
                      <a:lnTo>
                        <a:pt x="356" y="406"/>
                      </a:lnTo>
                      <a:lnTo>
                        <a:pt x="352" y="413"/>
                      </a:lnTo>
                      <a:lnTo>
                        <a:pt x="349" y="416"/>
                      </a:lnTo>
                      <a:lnTo>
                        <a:pt x="343" y="420"/>
                      </a:lnTo>
                      <a:lnTo>
                        <a:pt x="336" y="423"/>
                      </a:lnTo>
                      <a:lnTo>
                        <a:pt x="333" y="427"/>
                      </a:lnTo>
                      <a:lnTo>
                        <a:pt x="330" y="430"/>
                      </a:lnTo>
                      <a:lnTo>
                        <a:pt x="330" y="430"/>
                      </a:lnTo>
                      <a:lnTo>
                        <a:pt x="324" y="439"/>
                      </a:lnTo>
                      <a:lnTo>
                        <a:pt x="319" y="442"/>
                      </a:lnTo>
                      <a:lnTo>
                        <a:pt x="316" y="444"/>
                      </a:lnTo>
                      <a:lnTo>
                        <a:pt x="312" y="444"/>
                      </a:lnTo>
                      <a:lnTo>
                        <a:pt x="307" y="442"/>
                      </a:lnTo>
                      <a:lnTo>
                        <a:pt x="302" y="439"/>
                      </a:lnTo>
                      <a:lnTo>
                        <a:pt x="296" y="432"/>
                      </a:lnTo>
                      <a:lnTo>
                        <a:pt x="236" y="432"/>
                      </a:lnTo>
                      <a:lnTo>
                        <a:pt x="236" y="423"/>
                      </a:lnTo>
                      <a:lnTo>
                        <a:pt x="229" y="432"/>
                      </a:lnTo>
                      <a:lnTo>
                        <a:pt x="9" y="432"/>
                      </a:lnTo>
                      <a:lnTo>
                        <a:pt x="9" y="106"/>
                      </a:lnTo>
                      <a:lnTo>
                        <a:pt x="9" y="106"/>
                      </a:lnTo>
                      <a:lnTo>
                        <a:pt x="9" y="99"/>
                      </a:lnTo>
                      <a:lnTo>
                        <a:pt x="7" y="94"/>
                      </a:lnTo>
                      <a:lnTo>
                        <a:pt x="2" y="84"/>
                      </a:lnTo>
                      <a:lnTo>
                        <a:pt x="0" y="79"/>
                      </a:lnTo>
                      <a:lnTo>
                        <a:pt x="0" y="72"/>
                      </a:lnTo>
                      <a:lnTo>
                        <a:pt x="0" y="65"/>
                      </a:lnTo>
                      <a:lnTo>
                        <a:pt x="4" y="58"/>
                      </a:lnTo>
                      <a:lnTo>
                        <a:pt x="4" y="58"/>
                      </a:lnTo>
                      <a:lnTo>
                        <a:pt x="7" y="51"/>
                      </a:lnTo>
                      <a:lnTo>
                        <a:pt x="9" y="44"/>
                      </a:lnTo>
                      <a:lnTo>
                        <a:pt x="7" y="30"/>
                      </a:lnTo>
                      <a:lnTo>
                        <a:pt x="7" y="25"/>
                      </a:lnTo>
                      <a:lnTo>
                        <a:pt x="7" y="18"/>
                      </a:lnTo>
                      <a:lnTo>
                        <a:pt x="11" y="12"/>
                      </a:lnTo>
                      <a:lnTo>
                        <a:pt x="16" y="5"/>
                      </a:lnTo>
                      <a:lnTo>
                        <a:pt x="16" y="5"/>
                      </a:lnTo>
                      <a:lnTo>
                        <a:pt x="20" y="5"/>
                      </a:lnTo>
                      <a:lnTo>
                        <a:pt x="28" y="4"/>
                      </a:lnTo>
                      <a:lnTo>
                        <a:pt x="42" y="2"/>
                      </a:lnTo>
                      <a:lnTo>
                        <a:pt x="53" y="4"/>
                      </a:lnTo>
                      <a:lnTo>
                        <a:pt x="67" y="5"/>
                      </a:lnTo>
                      <a:lnTo>
                        <a:pt x="67" y="5"/>
                      </a:lnTo>
                      <a:lnTo>
                        <a:pt x="81" y="9"/>
                      </a:lnTo>
                      <a:lnTo>
                        <a:pt x="89" y="12"/>
                      </a:lnTo>
                      <a:lnTo>
                        <a:pt x="94" y="14"/>
                      </a:lnTo>
                      <a:lnTo>
                        <a:pt x="96" y="18"/>
                      </a:lnTo>
                      <a:lnTo>
                        <a:pt x="98" y="19"/>
                      </a:lnTo>
                      <a:lnTo>
                        <a:pt x="101" y="19"/>
                      </a:lnTo>
                      <a:lnTo>
                        <a:pt x="101" y="19"/>
                      </a:lnTo>
                      <a:lnTo>
                        <a:pt x="105" y="19"/>
                      </a:lnTo>
                      <a:lnTo>
                        <a:pt x="108" y="19"/>
                      </a:lnTo>
                      <a:lnTo>
                        <a:pt x="114" y="23"/>
                      </a:lnTo>
                      <a:lnTo>
                        <a:pt x="117" y="25"/>
                      </a:lnTo>
                      <a:lnTo>
                        <a:pt x="124" y="26"/>
                      </a:lnTo>
                      <a:lnTo>
                        <a:pt x="124" y="26"/>
                      </a:lnTo>
                      <a:lnTo>
                        <a:pt x="129" y="26"/>
                      </a:lnTo>
                      <a:lnTo>
                        <a:pt x="133" y="28"/>
                      </a:lnTo>
                      <a:lnTo>
                        <a:pt x="143" y="33"/>
                      </a:lnTo>
                      <a:lnTo>
                        <a:pt x="150" y="37"/>
                      </a:lnTo>
                      <a:lnTo>
                        <a:pt x="155" y="37"/>
                      </a:lnTo>
                      <a:lnTo>
                        <a:pt x="161" y="35"/>
                      </a:lnTo>
                      <a:lnTo>
                        <a:pt x="168" y="32"/>
                      </a:lnTo>
                      <a:lnTo>
                        <a:pt x="168" y="32"/>
                      </a:lnTo>
                      <a:lnTo>
                        <a:pt x="180" y="19"/>
                      </a:lnTo>
                      <a:lnTo>
                        <a:pt x="187" y="14"/>
                      </a:lnTo>
                      <a:lnTo>
                        <a:pt x="190" y="14"/>
                      </a:lnTo>
                      <a:lnTo>
                        <a:pt x="192" y="12"/>
                      </a:lnTo>
                      <a:lnTo>
                        <a:pt x="192" y="12"/>
                      </a:lnTo>
                      <a:lnTo>
                        <a:pt x="197" y="7"/>
                      </a:lnTo>
                      <a:lnTo>
                        <a:pt x="201" y="7"/>
                      </a:lnTo>
                      <a:lnTo>
                        <a:pt x="206" y="5"/>
                      </a:lnTo>
                      <a:lnTo>
                        <a:pt x="215" y="2"/>
                      </a:lnTo>
                      <a:lnTo>
                        <a:pt x="215" y="2"/>
                      </a:lnTo>
                      <a:lnTo>
                        <a:pt x="220" y="0"/>
                      </a:lnTo>
                      <a:lnTo>
                        <a:pt x="223" y="0"/>
                      </a:lnTo>
                      <a:lnTo>
                        <a:pt x="230" y="4"/>
                      </a:lnTo>
                      <a:lnTo>
                        <a:pt x="237" y="7"/>
                      </a:lnTo>
                      <a:lnTo>
                        <a:pt x="241" y="7"/>
                      </a:lnTo>
                      <a:lnTo>
                        <a:pt x="242" y="7"/>
                      </a:lnTo>
                      <a:lnTo>
                        <a:pt x="242" y="7"/>
                      </a:lnTo>
                      <a:lnTo>
                        <a:pt x="248" y="4"/>
                      </a:lnTo>
                      <a:lnTo>
                        <a:pt x="249" y="4"/>
                      </a:lnTo>
                      <a:lnTo>
                        <a:pt x="253" y="5"/>
                      </a:lnTo>
                      <a:lnTo>
                        <a:pt x="253" y="5"/>
                      </a:lnTo>
                      <a:lnTo>
                        <a:pt x="258" y="11"/>
                      </a:lnTo>
                      <a:lnTo>
                        <a:pt x="260" y="14"/>
                      </a:lnTo>
                      <a:lnTo>
                        <a:pt x="260" y="16"/>
                      </a:lnTo>
                      <a:lnTo>
                        <a:pt x="260" y="16"/>
                      </a:lnTo>
                      <a:lnTo>
                        <a:pt x="258" y="14"/>
                      </a:lnTo>
                      <a:lnTo>
                        <a:pt x="255" y="11"/>
                      </a:lnTo>
                      <a:lnTo>
                        <a:pt x="251" y="9"/>
                      </a:lnTo>
                      <a:lnTo>
                        <a:pt x="251" y="9"/>
                      </a:lnTo>
                      <a:lnTo>
                        <a:pt x="249" y="9"/>
                      </a:lnTo>
                      <a:lnTo>
                        <a:pt x="249" y="9"/>
                      </a:lnTo>
                      <a:lnTo>
                        <a:pt x="249" y="12"/>
                      </a:lnTo>
                      <a:lnTo>
                        <a:pt x="248" y="14"/>
                      </a:lnTo>
                      <a:lnTo>
                        <a:pt x="246" y="16"/>
                      </a:lnTo>
                      <a:lnTo>
                        <a:pt x="246" y="18"/>
                      </a:lnTo>
                      <a:lnTo>
                        <a:pt x="246" y="18"/>
                      </a:lnTo>
                      <a:lnTo>
                        <a:pt x="248" y="19"/>
                      </a:lnTo>
                      <a:lnTo>
                        <a:pt x="251" y="19"/>
                      </a:lnTo>
                      <a:lnTo>
                        <a:pt x="255" y="19"/>
                      </a:lnTo>
                      <a:lnTo>
                        <a:pt x="256" y="21"/>
                      </a:lnTo>
                      <a:lnTo>
                        <a:pt x="256" y="21"/>
                      </a:lnTo>
                      <a:lnTo>
                        <a:pt x="258" y="25"/>
                      </a:lnTo>
                      <a:lnTo>
                        <a:pt x="262" y="25"/>
                      </a:lnTo>
                      <a:lnTo>
                        <a:pt x="263" y="23"/>
                      </a:lnTo>
                      <a:lnTo>
                        <a:pt x="263" y="19"/>
                      </a:lnTo>
                      <a:lnTo>
                        <a:pt x="263" y="19"/>
                      </a:lnTo>
                      <a:lnTo>
                        <a:pt x="263" y="16"/>
                      </a:lnTo>
                      <a:lnTo>
                        <a:pt x="265" y="18"/>
                      </a:lnTo>
                      <a:lnTo>
                        <a:pt x="269" y="19"/>
                      </a:lnTo>
                      <a:lnTo>
                        <a:pt x="269" y="19"/>
                      </a:lnTo>
                      <a:lnTo>
                        <a:pt x="272" y="23"/>
                      </a:lnTo>
                      <a:lnTo>
                        <a:pt x="277" y="25"/>
                      </a:lnTo>
                      <a:lnTo>
                        <a:pt x="281" y="25"/>
                      </a:lnTo>
                      <a:lnTo>
                        <a:pt x="284" y="23"/>
                      </a:lnTo>
                      <a:lnTo>
                        <a:pt x="289" y="19"/>
                      </a:lnTo>
                      <a:lnTo>
                        <a:pt x="291" y="19"/>
                      </a:lnTo>
                      <a:lnTo>
                        <a:pt x="295" y="21"/>
                      </a:lnTo>
                      <a:lnTo>
                        <a:pt x="295" y="21"/>
                      </a:lnTo>
                      <a:lnTo>
                        <a:pt x="298" y="25"/>
                      </a:lnTo>
                      <a:lnTo>
                        <a:pt x="302" y="25"/>
                      </a:lnTo>
                      <a:lnTo>
                        <a:pt x="331" y="16"/>
                      </a:lnTo>
                      <a:lnTo>
                        <a:pt x="331" y="16"/>
                      </a:lnTo>
                      <a:lnTo>
                        <a:pt x="331" y="18"/>
                      </a:lnTo>
                      <a:lnTo>
                        <a:pt x="333" y="19"/>
                      </a:lnTo>
                      <a:lnTo>
                        <a:pt x="333" y="19"/>
                      </a:lnTo>
                      <a:lnTo>
                        <a:pt x="345" y="58"/>
                      </a:lnTo>
                      <a:lnTo>
                        <a:pt x="356" y="98"/>
                      </a:lnTo>
                      <a:lnTo>
                        <a:pt x="356" y="9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3" name="Freeform 1752">
                  <a:extLst>
                    <a:ext uri="{FF2B5EF4-FFF2-40B4-BE49-F238E27FC236}">
                      <a16:creationId xmlns:a16="http://schemas.microsoft.com/office/drawing/2014/main" id="{D8DE19EF-0DA3-1859-3839-6EF0BE85C1C6}"/>
                    </a:ext>
                  </a:extLst>
                </p:cNvPr>
                <p:cNvSpPr>
                  <a:spLocks/>
                </p:cNvSpPr>
                <p:nvPr/>
              </p:nvSpPr>
              <p:spPr bwMode="auto">
                <a:xfrm>
                  <a:off x="5650079" y="4009604"/>
                  <a:ext cx="422880" cy="387640"/>
                </a:xfrm>
                <a:custGeom>
                  <a:avLst/>
                  <a:gdLst/>
                  <a:ahLst/>
                  <a:cxnLst>
                    <a:cxn ang="0">
                      <a:pos x="114" y="444"/>
                    </a:cxn>
                    <a:cxn ang="0">
                      <a:pos x="136" y="442"/>
                    </a:cxn>
                    <a:cxn ang="0">
                      <a:pos x="168" y="468"/>
                    </a:cxn>
                    <a:cxn ang="0">
                      <a:pos x="194" y="477"/>
                    </a:cxn>
                    <a:cxn ang="0">
                      <a:pos x="211" y="482"/>
                    </a:cxn>
                    <a:cxn ang="0">
                      <a:pos x="225" y="482"/>
                    </a:cxn>
                    <a:cxn ang="0">
                      <a:pos x="241" y="468"/>
                    </a:cxn>
                    <a:cxn ang="0">
                      <a:pos x="267" y="451"/>
                    </a:cxn>
                    <a:cxn ang="0">
                      <a:pos x="281" y="458"/>
                    </a:cxn>
                    <a:cxn ang="0">
                      <a:pos x="295" y="463"/>
                    </a:cxn>
                    <a:cxn ang="0">
                      <a:pos x="321" y="453"/>
                    </a:cxn>
                    <a:cxn ang="0">
                      <a:pos x="342" y="451"/>
                    </a:cxn>
                    <a:cxn ang="0">
                      <a:pos x="349" y="442"/>
                    </a:cxn>
                    <a:cxn ang="0">
                      <a:pos x="364" y="428"/>
                    </a:cxn>
                    <a:cxn ang="0">
                      <a:pos x="404" y="425"/>
                    </a:cxn>
                    <a:cxn ang="0">
                      <a:pos x="432" y="409"/>
                    </a:cxn>
                    <a:cxn ang="0">
                      <a:pos x="498" y="326"/>
                    </a:cxn>
                    <a:cxn ang="0">
                      <a:pos x="521" y="291"/>
                    </a:cxn>
                    <a:cxn ang="0">
                      <a:pos x="481" y="287"/>
                    </a:cxn>
                    <a:cxn ang="0">
                      <a:pos x="404" y="259"/>
                    </a:cxn>
                    <a:cxn ang="0">
                      <a:pos x="382" y="244"/>
                    </a:cxn>
                    <a:cxn ang="0">
                      <a:pos x="361" y="221"/>
                    </a:cxn>
                    <a:cxn ang="0">
                      <a:pos x="354" y="209"/>
                    </a:cxn>
                    <a:cxn ang="0">
                      <a:pos x="342" y="185"/>
                    </a:cxn>
                    <a:cxn ang="0">
                      <a:pos x="345" y="162"/>
                    </a:cxn>
                    <a:cxn ang="0">
                      <a:pos x="326" y="164"/>
                    </a:cxn>
                    <a:cxn ang="0">
                      <a:pos x="309" y="160"/>
                    </a:cxn>
                    <a:cxn ang="0">
                      <a:pos x="314" y="131"/>
                    </a:cxn>
                    <a:cxn ang="0">
                      <a:pos x="330" y="99"/>
                    </a:cxn>
                    <a:cxn ang="0">
                      <a:pos x="309" y="70"/>
                    </a:cxn>
                    <a:cxn ang="0">
                      <a:pos x="293" y="54"/>
                    </a:cxn>
                    <a:cxn ang="0">
                      <a:pos x="270" y="28"/>
                    </a:cxn>
                    <a:cxn ang="0">
                      <a:pos x="249" y="16"/>
                    </a:cxn>
                    <a:cxn ang="0">
                      <a:pos x="227" y="14"/>
                    </a:cxn>
                    <a:cxn ang="0">
                      <a:pos x="218" y="12"/>
                    </a:cxn>
                    <a:cxn ang="0">
                      <a:pos x="201" y="17"/>
                    </a:cxn>
                    <a:cxn ang="0">
                      <a:pos x="180" y="3"/>
                    </a:cxn>
                    <a:cxn ang="0">
                      <a:pos x="169" y="7"/>
                    </a:cxn>
                    <a:cxn ang="0">
                      <a:pos x="161" y="26"/>
                    </a:cxn>
                    <a:cxn ang="0">
                      <a:pos x="152" y="16"/>
                    </a:cxn>
                    <a:cxn ang="0">
                      <a:pos x="143" y="21"/>
                    </a:cxn>
                    <a:cxn ang="0">
                      <a:pos x="126" y="23"/>
                    </a:cxn>
                    <a:cxn ang="0">
                      <a:pos x="112" y="82"/>
                    </a:cxn>
                    <a:cxn ang="0">
                      <a:pos x="96" y="94"/>
                    </a:cxn>
                    <a:cxn ang="0">
                      <a:pos x="84" y="118"/>
                    </a:cxn>
                    <a:cxn ang="0">
                      <a:pos x="74" y="136"/>
                    </a:cxn>
                    <a:cxn ang="0">
                      <a:pos x="67" y="174"/>
                    </a:cxn>
                    <a:cxn ang="0">
                      <a:pos x="58" y="169"/>
                    </a:cxn>
                    <a:cxn ang="0">
                      <a:pos x="49" y="176"/>
                    </a:cxn>
                    <a:cxn ang="0">
                      <a:pos x="49" y="198"/>
                    </a:cxn>
                    <a:cxn ang="0">
                      <a:pos x="42" y="221"/>
                    </a:cxn>
                    <a:cxn ang="0">
                      <a:pos x="39" y="272"/>
                    </a:cxn>
                    <a:cxn ang="0">
                      <a:pos x="28" y="275"/>
                    </a:cxn>
                    <a:cxn ang="0">
                      <a:pos x="9" y="273"/>
                    </a:cxn>
                    <a:cxn ang="0">
                      <a:pos x="4" y="291"/>
                    </a:cxn>
                    <a:cxn ang="0">
                      <a:pos x="4" y="299"/>
                    </a:cxn>
                    <a:cxn ang="0">
                      <a:pos x="32" y="313"/>
                    </a:cxn>
                    <a:cxn ang="0">
                      <a:pos x="46" y="334"/>
                    </a:cxn>
                    <a:cxn ang="0">
                      <a:pos x="63" y="355"/>
                    </a:cxn>
                    <a:cxn ang="0">
                      <a:pos x="75" y="393"/>
                    </a:cxn>
                    <a:cxn ang="0">
                      <a:pos x="93" y="402"/>
                    </a:cxn>
                    <a:cxn ang="0">
                      <a:pos x="100" y="413"/>
                    </a:cxn>
                    <a:cxn ang="0">
                      <a:pos x="101" y="437"/>
                    </a:cxn>
                  </a:cxnLst>
                  <a:rect l="0" t="0" r="r" b="b"/>
                  <a:pathLst>
                    <a:path w="526" h="484">
                      <a:moveTo>
                        <a:pt x="101" y="437"/>
                      </a:moveTo>
                      <a:lnTo>
                        <a:pt x="101" y="437"/>
                      </a:lnTo>
                      <a:lnTo>
                        <a:pt x="108" y="442"/>
                      </a:lnTo>
                      <a:lnTo>
                        <a:pt x="114" y="444"/>
                      </a:lnTo>
                      <a:lnTo>
                        <a:pt x="119" y="442"/>
                      </a:lnTo>
                      <a:lnTo>
                        <a:pt x="124" y="442"/>
                      </a:lnTo>
                      <a:lnTo>
                        <a:pt x="129" y="440"/>
                      </a:lnTo>
                      <a:lnTo>
                        <a:pt x="136" y="442"/>
                      </a:lnTo>
                      <a:lnTo>
                        <a:pt x="147" y="449"/>
                      </a:lnTo>
                      <a:lnTo>
                        <a:pt x="157" y="458"/>
                      </a:lnTo>
                      <a:lnTo>
                        <a:pt x="157" y="458"/>
                      </a:lnTo>
                      <a:lnTo>
                        <a:pt x="168" y="468"/>
                      </a:lnTo>
                      <a:lnTo>
                        <a:pt x="175" y="474"/>
                      </a:lnTo>
                      <a:lnTo>
                        <a:pt x="182" y="477"/>
                      </a:lnTo>
                      <a:lnTo>
                        <a:pt x="185" y="479"/>
                      </a:lnTo>
                      <a:lnTo>
                        <a:pt x="194" y="477"/>
                      </a:lnTo>
                      <a:lnTo>
                        <a:pt x="199" y="477"/>
                      </a:lnTo>
                      <a:lnTo>
                        <a:pt x="202" y="479"/>
                      </a:lnTo>
                      <a:lnTo>
                        <a:pt x="202" y="479"/>
                      </a:lnTo>
                      <a:lnTo>
                        <a:pt x="211" y="482"/>
                      </a:lnTo>
                      <a:lnTo>
                        <a:pt x="216" y="482"/>
                      </a:lnTo>
                      <a:lnTo>
                        <a:pt x="220" y="482"/>
                      </a:lnTo>
                      <a:lnTo>
                        <a:pt x="225" y="482"/>
                      </a:lnTo>
                      <a:lnTo>
                        <a:pt x="225" y="482"/>
                      </a:lnTo>
                      <a:lnTo>
                        <a:pt x="229" y="484"/>
                      </a:lnTo>
                      <a:lnTo>
                        <a:pt x="230" y="484"/>
                      </a:lnTo>
                      <a:lnTo>
                        <a:pt x="234" y="479"/>
                      </a:lnTo>
                      <a:lnTo>
                        <a:pt x="241" y="468"/>
                      </a:lnTo>
                      <a:lnTo>
                        <a:pt x="246" y="463"/>
                      </a:lnTo>
                      <a:lnTo>
                        <a:pt x="255" y="456"/>
                      </a:lnTo>
                      <a:lnTo>
                        <a:pt x="255" y="456"/>
                      </a:lnTo>
                      <a:lnTo>
                        <a:pt x="267" y="451"/>
                      </a:lnTo>
                      <a:lnTo>
                        <a:pt x="270" y="449"/>
                      </a:lnTo>
                      <a:lnTo>
                        <a:pt x="274" y="449"/>
                      </a:lnTo>
                      <a:lnTo>
                        <a:pt x="277" y="453"/>
                      </a:lnTo>
                      <a:lnTo>
                        <a:pt x="281" y="458"/>
                      </a:lnTo>
                      <a:lnTo>
                        <a:pt x="281" y="458"/>
                      </a:lnTo>
                      <a:lnTo>
                        <a:pt x="284" y="461"/>
                      </a:lnTo>
                      <a:lnTo>
                        <a:pt x="288" y="463"/>
                      </a:lnTo>
                      <a:lnTo>
                        <a:pt x="295" y="463"/>
                      </a:lnTo>
                      <a:lnTo>
                        <a:pt x="314" y="463"/>
                      </a:lnTo>
                      <a:lnTo>
                        <a:pt x="314" y="463"/>
                      </a:lnTo>
                      <a:lnTo>
                        <a:pt x="317" y="456"/>
                      </a:lnTo>
                      <a:lnTo>
                        <a:pt x="321" y="453"/>
                      </a:lnTo>
                      <a:lnTo>
                        <a:pt x="326" y="451"/>
                      </a:lnTo>
                      <a:lnTo>
                        <a:pt x="333" y="451"/>
                      </a:lnTo>
                      <a:lnTo>
                        <a:pt x="333" y="451"/>
                      </a:lnTo>
                      <a:lnTo>
                        <a:pt x="342" y="451"/>
                      </a:lnTo>
                      <a:lnTo>
                        <a:pt x="347" y="449"/>
                      </a:lnTo>
                      <a:lnTo>
                        <a:pt x="349" y="447"/>
                      </a:lnTo>
                      <a:lnTo>
                        <a:pt x="347" y="446"/>
                      </a:lnTo>
                      <a:lnTo>
                        <a:pt x="349" y="442"/>
                      </a:lnTo>
                      <a:lnTo>
                        <a:pt x="350" y="439"/>
                      </a:lnTo>
                      <a:lnTo>
                        <a:pt x="356" y="433"/>
                      </a:lnTo>
                      <a:lnTo>
                        <a:pt x="364" y="428"/>
                      </a:lnTo>
                      <a:lnTo>
                        <a:pt x="364" y="428"/>
                      </a:lnTo>
                      <a:lnTo>
                        <a:pt x="378" y="425"/>
                      </a:lnTo>
                      <a:lnTo>
                        <a:pt x="389" y="423"/>
                      </a:lnTo>
                      <a:lnTo>
                        <a:pt x="397" y="423"/>
                      </a:lnTo>
                      <a:lnTo>
                        <a:pt x="404" y="425"/>
                      </a:lnTo>
                      <a:lnTo>
                        <a:pt x="410" y="425"/>
                      </a:lnTo>
                      <a:lnTo>
                        <a:pt x="417" y="423"/>
                      </a:lnTo>
                      <a:lnTo>
                        <a:pt x="424" y="420"/>
                      </a:lnTo>
                      <a:lnTo>
                        <a:pt x="432" y="409"/>
                      </a:lnTo>
                      <a:lnTo>
                        <a:pt x="432" y="409"/>
                      </a:lnTo>
                      <a:lnTo>
                        <a:pt x="464" y="367"/>
                      </a:lnTo>
                      <a:lnTo>
                        <a:pt x="498" y="326"/>
                      </a:lnTo>
                      <a:lnTo>
                        <a:pt x="498" y="326"/>
                      </a:lnTo>
                      <a:lnTo>
                        <a:pt x="525" y="294"/>
                      </a:lnTo>
                      <a:lnTo>
                        <a:pt x="526" y="292"/>
                      </a:lnTo>
                      <a:lnTo>
                        <a:pt x="526" y="291"/>
                      </a:lnTo>
                      <a:lnTo>
                        <a:pt x="521" y="291"/>
                      </a:lnTo>
                      <a:lnTo>
                        <a:pt x="521" y="291"/>
                      </a:lnTo>
                      <a:lnTo>
                        <a:pt x="512" y="292"/>
                      </a:lnTo>
                      <a:lnTo>
                        <a:pt x="500" y="291"/>
                      </a:lnTo>
                      <a:lnTo>
                        <a:pt x="481" y="287"/>
                      </a:lnTo>
                      <a:lnTo>
                        <a:pt x="451" y="275"/>
                      </a:lnTo>
                      <a:lnTo>
                        <a:pt x="451" y="275"/>
                      </a:lnTo>
                      <a:lnTo>
                        <a:pt x="424" y="265"/>
                      </a:lnTo>
                      <a:lnTo>
                        <a:pt x="404" y="259"/>
                      </a:lnTo>
                      <a:lnTo>
                        <a:pt x="392" y="254"/>
                      </a:lnTo>
                      <a:lnTo>
                        <a:pt x="387" y="249"/>
                      </a:lnTo>
                      <a:lnTo>
                        <a:pt x="382" y="244"/>
                      </a:lnTo>
                      <a:lnTo>
                        <a:pt x="382" y="244"/>
                      </a:lnTo>
                      <a:lnTo>
                        <a:pt x="375" y="235"/>
                      </a:lnTo>
                      <a:lnTo>
                        <a:pt x="368" y="232"/>
                      </a:lnTo>
                      <a:lnTo>
                        <a:pt x="364" y="228"/>
                      </a:lnTo>
                      <a:lnTo>
                        <a:pt x="361" y="221"/>
                      </a:lnTo>
                      <a:lnTo>
                        <a:pt x="361" y="221"/>
                      </a:lnTo>
                      <a:lnTo>
                        <a:pt x="359" y="214"/>
                      </a:lnTo>
                      <a:lnTo>
                        <a:pt x="357" y="211"/>
                      </a:lnTo>
                      <a:lnTo>
                        <a:pt x="354" y="209"/>
                      </a:lnTo>
                      <a:lnTo>
                        <a:pt x="349" y="200"/>
                      </a:lnTo>
                      <a:lnTo>
                        <a:pt x="349" y="200"/>
                      </a:lnTo>
                      <a:lnTo>
                        <a:pt x="345" y="191"/>
                      </a:lnTo>
                      <a:lnTo>
                        <a:pt x="342" y="185"/>
                      </a:lnTo>
                      <a:lnTo>
                        <a:pt x="344" y="176"/>
                      </a:lnTo>
                      <a:lnTo>
                        <a:pt x="349" y="165"/>
                      </a:lnTo>
                      <a:lnTo>
                        <a:pt x="349" y="165"/>
                      </a:lnTo>
                      <a:lnTo>
                        <a:pt x="345" y="162"/>
                      </a:lnTo>
                      <a:lnTo>
                        <a:pt x="342" y="160"/>
                      </a:lnTo>
                      <a:lnTo>
                        <a:pt x="337" y="160"/>
                      </a:lnTo>
                      <a:lnTo>
                        <a:pt x="331" y="162"/>
                      </a:lnTo>
                      <a:lnTo>
                        <a:pt x="326" y="164"/>
                      </a:lnTo>
                      <a:lnTo>
                        <a:pt x="321" y="165"/>
                      </a:lnTo>
                      <a:lnTo>
                        <a:pt x="314" y="164"/>
                      </a:lnTo>
                      <a:lnTo>
                        <a:pt x="309" y="160"/>
                      </a:lnTo>
                      <a:lnTo>
                        <a:pt x="309" y="160"/>
                      </a:lnTo>
                      <a:lnTo>
                        <a:pt x="309" y="148"/>
                      </a:lnTo>
                      <a:lnTo>
                        <a:pt x="309" y="139"/>
                      </a:lnTo>
                      <a:lnTo>
                        <a:pt x="310" y="134"/>
                      </a:lnTo>
                      <a:lnTo>
                        <a:pt x="314" y="131"/>
                      </a:lnTo>
                      <a:lnTo>
                        <a:pt x="321" y="122"/>
                      </a:lnTo>
                      <a:lnTo>
                        <a:pt x="324" y="113"/>
                      </a:lnTo>
                      <a:lnTo>
                        <a:pt x="330" y="99"/>
                      </a:lnTo>
                      <a:lnTo>
                        <a:pt x="330" y="99"/>
                      </a:lnTo>
                      <a:lnTo>
                        <a:pt x="323" y="94"/>
                      </a:lnTo>
                      <a:lnTo>
                        <a:pt x="319" y="89"/>
                      </a:lnTo>
                      <a:lnTo>
                        <a:pt x="314" y="80"/>
                      </a:lnTo>
                      <a:lnTo>
                        <a:pt x="309" y="70"/>
                      </a:lnTo>
                      <a:lnTo>
                        <a:pt x="305" y="66"/>
                      </a:lnTo>
                      <a:lnTo>
                        <a:pt x="302" y="63"/>
                      </a:lnTo>
                      <a:lnTo>
                        <a:pt x="302" y="63"/>
                      </a:lnTo>
                      <a:lnTo>
                        <a:pt x="293" y="54"/>
                      </a:lnTo>
                      <a:lnTo>
                        <a:pt x="284" y="42"/>
                      </a:lnTo>
                      <a:lnTo>
                        <a:pt x="277" y="33"/>
                      </a:lnTo>
                      <a:lnTo>
                        <a:pt x="274" y="30"/>
                      </a:lnTo>
                      <a:lnTo>
                        <a:pt x="270" y="28"/>
                      </a:lnTo>
                      <a:lnTo>
                        <a:pt x="270" y="28"/>
                      </a:lnTo>
                      <a:lnTo>
                        <a:pt x="263" y="24"/>
                      </a:lnTo>
                      <a:lnTo>
                        <a:pt x="256" y="21"/>
                      </a:lnTo>
                      <a:lnTo>
                        <a:pt x="249" y="16"/>
                      </a:lnTo>
                      <a:lnTo>
                        <a:pt x="237" y="14"/>
                      </a:lnTo>
                      <a:lnTo>
                        <a:pt x="237" y="14"/>
                      </a:lnTo>
                      <a:lnTo>
                        <a:pt x="232" y="12"/>
                      </a:lnTo>
                      <a:lnTo>
                        <a:pt x="227" y="14"/>
                      </a:lnTo>
                      <a:lnTo>
                        <a:pt x="223" y="16"/>
                      </a:lnTo>
                      <a:lnTo>
                        <a:pt x="222" y="17"/>
                      </a:lnTo>
                      <a:lnTo>
                        <a:pt x="218" y="12"/>
                      </a:lnTo>
                      <a:lnTo>
                        <a:pt x="218" y="12"/>
                      </a:lnTo>
                      <a:lnTo>
                        <a:pt x="215" y="10"/>
                      </a:lnTo>
                      <a:lnTo>
                        <a:pt x="211" y="10"/>
                      </a:lnTo>
                      <a:lnTo>
                        <a:pt x="206" y="16"/>
                      </a:lnTo>
                      <a:lnTo>
                        <a:pt x="201" y="17"/>
                      </a:lnTo>
                      <a:lnTo>
                        <a:pt x="195" y="17"/>
                      </a:lnTo>
                      <a:lnTo>
                        <a:pt x="189" y="12"/>
                      </a:lnTo>
                      <a:lnTo>
                        <a:pt x="180" y="3"/>
                      </a:lnTo>
                      <a:lnTo>
                        <a:pt x="180" y="3"/>
                      </a:lnTo>
                      <a:lnTo>
                        <a:pt x="178" y="0"/>
                      </a:lnTo>
                      <a:lnTo>
                        <a:pt x="176" y="0"/>
                      </a:lnTo>
                      <a:lnTo>
                        <a:pt x="173" y="2"/>
                      </a:lnTo>
                      <a:lnTo>
                        <a:pt x="169" y="7"/>
                      </a:lnTo>
                      <a:lnTo>
                        <a:pt x="168" y="14"/>
                      </a:lnTo>
                      <a:lnTo>
                        <a:pt x="166" y="21"/>
                      </a:lnTo>
                      <a:lnTo>
                        <a:pt x="162" y="26"/>
                      </a:lnTo>
                      <a:lnTo>
                        <a:pt x="161" y="26"/>
                      </a:lnTo>
                      <a:lnTo>
                        <a:pt x="159" y="26"/>
                      </a:lnTo>
                      <a:lnTo>
                        <a:pt x="155" y="23"/>
                      </a:lnTo>
                      <a:lnTo>
                        <a:pt x="155" y="23"/>
                      </a:lnTo>
                      <a:lnTo>
                        <a:pt x="152" y="16"/>
                      </a:lnTo>
                      <a:lnTo>
                        <a:pt x="150" y="14"/>
                      </a:lnTo>
                      <a:lnTo>
                        <a:pt x="148" y="16"/>
                      </a:lnTo>
                      <a:lnTo>
                        <a:pt x="147" y="17"/>
                      </a:lnTo>
                      <a:lnTo>
                        <a:pt x="143" y="21"/>
                      </a:lnTo>
                      <a:lnTo>
                        <a:pt x="140" y="23"/>
                      </a:lnTo>
                      <a:lnTo>
                        <a:pt x="135" y="24"/>
                      </a:lnTo>
                      <a:lnTo>
                        <a:pt x="126" y="23"/>
                      </a:lnTo>
                      <a:lnTo>
                        <a:pt x="126" y="23"/>
                      </a:lnTo>
                      <a:lnTo>
                        <a:pt x="121" y="47"/>
                      </a:lnTo>
                      <a:lnTo>
                        <a:pt x="115" y="63"/>
                      </a:lnTo>
                      <a:lnTo>
                        <a:pt x="112" y="75"/>
                      </a:lnTo>
                      <a:lnTo>
                        <a:pt x="112" y="82"/>
                      </a:lnTo>
                      <a:lnTo>
                        <a:pt x="112" y="90"/>
                      </a:lnTo>
                      <a:lnTo>
                        <a:pt x="112" y="90"/>
                      </a:lnTo>
                      <a:lnTo>
                        <a:pt x="103" y="90"/>
                      </a:lnTo>
                      <a:lnTo>
                        <a:pt x="96" y="94"/>
                      </a:lnTo>
                      <a:lnTo>
                        <a:pt x="93" y="97"/>
                      </a:lnTo>
                      <a:lnTo>
                        <a:pt x="89" y="103"/>
                      </a:lnTo>
                      <a:lnTo>
                        <a:pt x="86" y="113"/>
                      </a:lnTo>
                      <a:lnTo>
                        <a:pt x="84" y="118"/>
                      </a:lnTo>
                      <a:lnTo>
                        <a:pt x="81" y="124"/>
                      </a:lnTo>
                      <a:lnTo>
                        <a:pt x="81" y="124"/>
                      </a:lnTo>
                      <a:lnTo>
                        <a:pt x="75" y="129"/>
                      </a:lnTo>
                      <a:lnTo>
                        <a:pt x="74" y="136"/>
                      </a:lnTo>
                      <a:lnTo>
                        <a:pt x="70" y="150"/>
                      </a:lnTo>
                      <a:lnTo>
                        <a:pt x="70" y="165"/>
                      </a:lnTo>
                      <a:lnTo>
                        <a:pt x="67" y="174"/>
                      </a:lnTo>
                      <a:lnTo>
                        <a:pt x="67" y="174"/>
                      </a:lnTo>
                      <a:lnTo>
                        <a:pt x="65" y="176"/>
                      </a:lnTo>
                      <a:lnTo>
                        <a:pt x="63" y="176"/>
                      </a:lnTo>
                      <a:lnTo>
                        <a:pt x="60" y="172"/>
                      </a:lnTo>
                      <a:lnTo>
                        <a:pt x="58" y="169"/>
                      </a:lnTo>
                      <a:lnTo>
                        <a:pt x="56" y="169"/>
                      </a:lnTo>
                      <a:lnTo>
                        <a:pt x="53" y="171"/>
                      </a:lnTo>
                      <a:lnTo>
                        <a:pt x="49" y="176"/>
                      </a:lnTo>
                      <a:lnTo>
                        <a:pt x="49" y="176"/>
                      </a:lnTo>
                      <a:lnTo>
                        <a:pt x="47" y="181"/>
                      </a:lnTo>
                      <a:lnTo>
                        <a:pt x="46" y="185"/>
                      </a:lnTo>
                      <a:lnTo>
                        <a:pt x="47" y="191"/>
                      </a:lnTo>
                      <a:lnTo>
                        <a:pt x="49" y="198"/>
                      </a:lnTo>
                      <a:lnTo>
                        <a:pt x="47" y="205"/>
                      </a:lnTo>
                      <a:lnTo>
                        <a:pt x="44" y="212"/>
                      </a:lnTo>
                      <a:lnTo>
                        <a:pt x="44" y="212"/>
                      </a:lnTo>
                      <a:lnTo>
                        <a:pt x="42" y="221"/>
                      </a:lnTo>
                      <a:lnTo>
                        <a:pt x="41" y="233"/>
                      </a:lnTo>
                      <a:lnTo>
                        <a:pt x="41" y="254"/>
                      </a:lnTo>
                      <a:lnTo>
                        <a:pt x="41" y="265"/>
                      </a:lnTo>
                      <a:lnTo>
                        <a:pt x="39" y="272"/>
                      </a:lnTo>
                      <a:lnTo>
                        <a:pt x="37" y="273"/>
                      </a:lnTo>
                      <a:lnTo>
                        <a:pt x="35" y="275"/>
                      </a:lnTo>
                      <a:lnTo>
                        <a:pt x="32" y="275"/>
                      </a:lnTo>
                      <a:lnTo>
                        <a:pt x="28" y="275"/>
                      </a:lnTo>
                      <a:lnTo>
                        <a:pt x="28" y="275"/>
                      </a:lnTo>
                      <a:lnTo>
                        <a:pt x="18" y="272"/>
                      </a:lnTo>
                      <a:lnTo>
                        <a:pt x="13" y="272"/>
                      </a:lnTo>
                      <a:lnTo>
                        <a:pt x="9" y="273"/>
                      </a:lnTo>
                      <a:lnTo>
                        <a:pt x="7" y="277"/>
                      </a:lnTo>
                      <a:lnTo>
                        <a:pt x="7" y="284"/>
                      </a:lnTo>
                      <a:lnTo>
                        <a:pt x="7" y="287"/>
                      </a:lnTo>
                      <a:lnTo>
                        <a:pt x="4" y="291"/>
                      </a:lnTo>
                      <a:lnTo>
                        <a:pt x="4" y="291"/>
                      </a:lnTo>
                      <a:lnTo>
                        <a:pt x="0" y="296"/>
                      </a:lnTo>
                      <a:lnTo>
                        <a:pt x="0" y="298"/>
                      </a:lnTo>
                      <a:lnTo>
                        <a:pt x="4" y="299"/>
                      </a:lnTo>
                      <a:lnTo>
                        <a:pt x="9" y="301"/>
                      </a:lnTo>
                      <a:lnTo>
                        <a:pt x="18" y="305"/>
                      </a:lnTo>
                      <a:lnTo>
                        <a:pt x="25" y="308"/>
                      </a:lnTo>
                      <a:lnTo>
                        <a:pt x="32" y="313"/>
                      </a:lnTo>
                      <a:lnTo>
                        <a:pt x="37" y="322"/>
                      </a:lnTo>
                      <a:lnTo>
                        <a:pt x="37" y="322"/>
                      </a:lnTo>
                      <a:lnTo>
                        <a:pt x="42" y="329"/>
                      </a:lnTo>
                      <a:lnTo>
                        <a:pt x="46" y="334"/>
                      </a:lnTo>
                      <a:lnTo>
                        <a:pt x="54" y="341"/>
                      </a:lnTo>
                      <a:lnTo>
                        <a:pt x="56" y="343"/>
                      </a:lnTo>
                      <a:lnTo>
                        <a:pt x="60" y="348"/>
                      </a:lnTo>
                      <a:lnTo>
                        <a:pt x="63" y="355"/>
                      </a:lnTo>
                      <a:lnTo>
                        <a:pt x="65" y="366"/>
                      </a:lnTo>
                      <a:lnTo>
                        <a:pt x="65" y="366"/>
                      </a:lnTo>
                      <a:lnTo>
                        <a:pt x="70" y="383"/>
                      </a:lnTo>
                      <a:lnTo>
                        <a:pt x="75" y="393"/>
                      </a:lnTo>
                      <a:lnTo>
                        <a:pt x="79" y="397"/>
                      </a:lnTo>
                      <a:lnTo>
                        <a:pt x="82" y="399"/>
                      </a:lnTo>
                      <a:lnTo>
                        <a:pt x="93" y="402"/>
                      </a:lnTo>
                      <a:lnTo>
                        <a:pt x="93" y="402"/>
                      </a:lnTo>
                      <a:lnTo>
                        <a:pt x="96" y="404"/>
                      </a:lnTo>
                      <a:lnTo>
                        <a:pt x="100" y="406"/>
                      </a:lnTo>
                      <a:lnTo>
                        <a:pt x="100" y="409"/>
                      </a:lnTo>
                      <a:lnTo>
                        <a:pt x="100" y="413"/>
                      </a:lnTo>
                      <a:lnTo>
                        <a:pt x="98" y="421"/>
                      </a:lnTo>
                      <a:lnTo>
                        <a:pt x="100" y="428"/>
                      </a:lnTo>
                      <a:lnTo>
                        <a:pt x="101" y="437"/>
                      </a:lnTo>
                      <a:lnTo>
                        <a:pt x="101" y="43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4" name="Freeform 1753">
                  <a:extLst>
                    <a:ext uri="{FF2B5EF4-FFF2-40B4-BE49-F238E27FC236}">
                      <a16:creationId xmlns:a16="http://schemas.microsoft.com/office/drawing/2014/main" id="{4D54F0DD-F11F-1A39-7947-FCEF80E07A6A}"/>
                    </a:ext>
                  </a:extLst>
                </p:cNvPr>
                <p:cNvSpPr>
                  <a:spLocks/>
                </p:cNvSpPr>
                <p:nvPr/>
              </p:nvSpPr>
              <p:spPr bwMode="auto">
                <a:xfrm>
                  <a:off x="5678270" y="4347908"/>
                  <a:ext cx="223773" cy="325970"/>
                </a:xfrm>
                <a:custGeom>
                  <a:avLst/>
                  <a:gdLst/>
                  <a:ahLst/>
                  <a:cxnLst>
                    <a:cxn ang="0">
                      <a:pos x="10" y="42"/>
                    </a:cxn>
                    <a:cxn ang="0">
                      <a:pos x="17" y="65"/>
                    </a:cxn>
                    <a:cxn ang="0">
                      <a:pos x="26" y="91"/>
                    </a:cxn>
                    <a:cxn ang="0">
                      <a:pos x="34" y="108"/>
                    </a:cxn>
                    <a:cxn ang="0">
                      <a:pos x="36" y="140"/>
                    </a:cxn>
                    <a:cxn ang="0">
                      <a:pos x="19" y="171"/>
                    </a:cxn>
                    <a:cxn ang="0">
                      <a:pos x="5" y="188"/>
                    </a:cxn>
                    <a:cxn ang="0">
                      <a:pos x="0" y="228"/>
                    </a:cxn>
                    <a:cxn ang="0">
                      <a:pos x="80" y="305"/>
                    </a:cxn>
                    <a:cxn ang="0">
                      <a:pos x="130" y="338"/>
                    </a:cxn>
                    <a:cxn ang="0">
                      <a:pos x="132" y="347"/>
                    </a:cxn>
                    <a:cxn ang="0">
                      <a:pos x="132" y="359"/>
                    </a:cxn>
                    <a:cxn ang="0">
                      <a:pos x="165" y="390"/>
                    </a:cxn>
                    <a:cxn ang="0">
                      <a:pos x="188" y="408"/>
                    </a:cxn>
                    <a:cxn ang="0">
                      <a:pos x="207" y="364"/>
                    </a:cxn>
                    <a:cxn ang="0">
                      <a:pos x="210" y="355"/>
                    </a:cxn>
                    <a:cxn ang="0">
                      <a:pos x="219" y="350"/>
                    </a:cxn>
                    <a:cxn ang="0">
                      <a:pos x="219" y="336"/>
                    </a:cxn>
                    <a:cxn ang="0">
                      <a:pos x="226" y="317"/>
                    </a:cxn>
                    <a:cxn ang="0">
                      <a:pos x="245" y="308"/>
                    </a:cxn>
                    <a:cxn ang="0">
                      <a:pos x="243" y="296"/>
                    </a:cxn>
                    <a:cxn ang="0">
                      <a:pos x="256" y="293"/>
                    </a:cxn>
                    <a:cxn ang="0">
                      <a:pos x="269" y="279"/>
                    </a:cxn>
                    <a:cxn ang="0">
                      <a:pos x="256" y="260"/>
                    </a:cxn>
                    <a:cxn ang="0">
                      <a:pos x="247" y="246"/>
                    </a:cxn>
                    <a:cxn ang="0">
                      <a:pos x="247" y="91"/>
                    </a:cxn>
                    <a:cxn ang="0">
                      <a:pos x="280" y="42"/>
                    </a:cxn>
                    <a:cxn ang="0">
                      <a:pos x="254" y="42"/>
                    </a:cxn>
                    <a:cxn ang="0">
                      <a:pos x="247" y="37"/>
                    </a:cxn>
                    <a:cxn ang="0">
                      <a:pos x="236" y="28"/>
                    </a:cxn>
                    <a:cxn ang="0">
                      <a:pos x="221" y="35"/>
                    </a:cxn>
                    <a:cxn ang="0">
                      <a:pos x="200" y="58"/>
                    </a:cxn>
                    <a:cxn ang="0">
                      <a:pos x="191" y="61"/>
                    </a:cxn>
                    <a:cxn ang="0">
                      <a:pos x="182" y="61"/>
                    </a:cxn>
                    <a:cxn ang="0">
                      <a:pos x="168" y="58"/>
                    </a:cxn>
                    <a:cxn ang="0">
                      <a:pos x="151" y="58"/>
                    </a:cxn>
                    <a:cxn ang="0">
                      <a:pos x="134" y="47"/>
                    </a:cxn>
                    <a:cxn ang="0">
                      <a:pos x="113" y="28"/>
                    </a:cxn>
                    <a:cxn ang="0">
                      <a:pos x="90" y="21"/>
                    </a:cxn>
                    <a:cxn ang="0">
                      <a:pos x="74" y="21"/>
                    </a:cxn>
                    <a:cxn ang="0">
                      <a:pos x="61" y="16"/>
                    </a:cxn>
                    <a:cxn ang="0">
                      <a:pos x="52" y="11"/>
                    </a:cxn>
                    <a:cxn ang="0">
                      <a:pos x="52" y="6"/>
                    </a:cxn>
                    <a:cxn ang="0">
                      <a:pos x="45" y="0"/>
                    </a:cxn>
                    <a:cxn ang="0">
                      <a:pos x="24" y="7"/>
                    </a:cxn>
                    <a:cxn ang="0">
                      <a:pos x="1" y="32"/>
                    </a:cxn>
                  </a:cxnLst>
                  <a:rect l="0" t="0" r="r" b="b"/>
                  <a:pathLst>
                    <a:path w="280" h="408">
                      <a:moveTo>
                        <a:pt x="1" y="32"/>
                      </a:moveTo>
                      <a:lnTo>
                        <a:pt x="1" y="32"/>
                      </a:lnTo>
                      <a:lnTo>
                        <a:pt x="10" y="42"/>
                      </a:lnTo>
                      <a:lnTo>
                        <a:pt x="13" y="51"/>
                      </a:lnTo>
                      <a:lnTo>
                        <a:pt x="15" y="58"/>
                      </a:lnTo>
                      <a:lnTo>
                        <a:pt x="17" y="65"/>
                      </a:lnTo>
                      <a:lnTo>
                        <a:pt x="19" y="77"/>
                      </a:lnTo>
                      <a:lnTo>
                        <a:pt x="20" y="84"/>
                      </a:lnTo>
                      <a:lnTo>
                        <a:pt x="26" y="91"/>
                      </a:lnTo>
                      <a:lnTo>
                        <a:pt x="26" y="91"/>
                      </a:lnTo>
                      <a:lnTo>
                        <a:pt x="31" y="100"/>
                      </a:lnTo>
                      <a:lnTo>
                        <a:pt x="34" y="108"/>
                      </a:lnTo>
                      <a:lnTo>
                        <a:pt x="36" y="119"/>
                      </a:lnTo>
                      <a:lnTo>
                        <a:pt x="36" y="129"/>
                      </a:lnTo>
                      <a:lnTo>
                        <a:pt x="36" y="140"/>
                      </a:lnTo>
                      <a:lnTo>
                        <a:pt x="33" y="150"/>
                      </a:lnTo>
                      <a:lnTo>
                        <a:pt x="26" y="160"/>
                      </a:lnTo>
                      <a:lnTo>
                        <a:pt x="19" y="171"/>
                      </a:lnTo>
                      <a:lnTo>
                        <a:pt x="19" y="171"/>
                      </a:lnTo>
                      <a:lnTo>
                        <a:pt x="10" y="180"/>
                      </a:lnTo>
                      <a:lnTo>
                        <a:pt x="5" y="188"/>
                      </a:lnTo>
                      <a:lnTo>
                        <a:pt x="3" y="199"/>
                      </a:lnTo>
                      <a:lnTo>
                        <a:pt x="1" y="207"/>
                      </a:lnTo>
                      <a:lnTo>
                        <a:pt x="0" y="228"/>
                      </a:lnTo>
                      <a:lnTo>
                        <a:pt x="0" y="253"/>
                      </a:lnTo>
                      <a:lnTo>
                        <a:pt x="0" y="253"/>
                      </a:lnTo>
                      <a:lnTo>
                        <a:pt x="80" y="305"/>
                      </a:lnTo>
                      <a:lnTo>
                        <a:pt x="123" y="333"/>
                      </a:lnTo>
                      <a:lnTo>
                        <a:pt x="123" y="333"/>
                      </a:lnTo>
                      <a:lnTo>
                        <a:pt x="130" y="338"/>
                      </a:lnTo>
                      <a:lnTo>
                        <a:pt x="132" y="342"/>
                      </a:lnTo>
                      <a:lnTo>
                        <a:pt x="132" y="345"/>
                      </a:lnTo>
                      <a:lnTo>
                        <a:pt x="132" y="347"/>
                      </a:lnTo>
                      <a:lnTo>
                        <a:pt x="130" y="350"/>
                      </a:lnTo>
                      <a:lnTo>
                        <a:pt x="130" y="354"/>
                      </a:lnTo>
                      <a:lnTo>
                        <a:pt x="132" y="359"/>
                      </a:lnTo>
                      <a:lnTo>
                        <a:pt x="135" y="364"/>
                      </a:lnTo>
                      <a:lnTo>
                        <a:pt x="135" y="364"/>
                      </a:lnTo>
                      <a:lnTo>
                        <a:pt x="165" y="390"/>
                      </a:lnTo>
                      <a:lnTo>
                        <a:pt x="179" y="402"/>
                      </a:lnTo>
                      <a:lnTo>
                        <a:pt x="188" y="408"/>
                      </a:lnTo>
                      <a:lnTo>
                        <a:pt x="188" y="408"/>
                      </a:lnTo>
                      <a:lnTo>
                        <a:pt x="202" y="387"/>
                      </a:lnTo>
                      <a:lnTo>
                        <a:pt x="205" y="376"/>
                      </a:lnTo>
                      <a:lnTo>
                        <a:pt x="207" y="364"/>
                      </a:lnTo>
                      <a:lnTo>
                        <a:pt x="207" y="364"/>
                      </a:lnTo>
                      <a:lnTo>
                        <a:pt x="209" y="359"/>
                      </a:lnTo>
                      <a:lnTo>
                        <a:pt x="210" y="355"/>
                      </a:lnTo>
                      <a:lnTo>
                        <a:pt x="215" y="354"/>
                      </a:lnTo>
                      <a:lnTo>
                        <a:pt x="217" y="352"/>
                      </a:lnTo>
                      <a:lnTo>
                        <a:pt x="219" y="350"/>
                      </a:lnTo>
                      <a:lnTo>
                        <a:pt x="219" y="345"/>
                      </a:lnTo>
                      <a:lnTo>
                        <a:pt x="219" y="336"/>
                      </a:lnTo>
                      <a:lnTo>
                        <a:pt x="219" y="336"/>
                      </a:lnTo>
                      <a:lnTo>
                        <a:pt x="219" y="326"/>
                      </a:lnTo>
                      <a:lnTo>
                        <a:pt x="222" y="321"/>
                      </a:lnTo>
                      <a:lnTo>
                        <a:pt x="226" y="317"/>
                      </a:lnTo>
                      <a:lnTo>
                        <a:pt x="233" y="315"/>
                      </a:lnTo>
                      <a:lnTo>
                        <a:pt x="242" y="312"/>
                      </a:lnTo>
                      <a:lnTo>
                        <a:pt x="245" y="308"/>
                      </a:lnTo>
                      <a:lnTo>
                        <a:pt x="245" y="303"/>
                      </a:lnTo>
                      <a:lnTo>
                        <a:pt x="245" y="303"/>
                      </a:lnTo>
                      <a:lnTo>
                        <a:pt x="243" y="296"/>
                      </a:lnTo>
                      <a:lnTo>
                        <a:pt x="247" y="296"/>
                      </a:lnTo>
                      <a:lnTo>
                        <a:pt x="250" y="296"/>
                      </a:lnTo>
                      <a:lnTo>
                        <a:pt x="256" y="293"/>
                      </a:lnTo>
                      <a:lnTo>
                        <a:pt x="261" y="289"/>
                      </a:lnTo>
                      <a:lnTo>
                        <a:pt x="269" y="279"/>
                      </a:lnTo>
                      <a:lnTo>
                        <a:pt x="269" y="279"/>
                      </a:lnTo>
                      <a:lnTo>
                        <a:pt x="266" y="272"/>
                      </a:lnTo>
                      <a:lnTo>
                        <a:pt x="262" y="268"/>
                      </a:lnTo>
                      <a:lnTo>
                        <a:pt x="256" y="260"/>
                      </a:lnTo>
                      <a:lnTo>
                        <a:pt x="252" y="256"/>
                      </a:lnTo>
                      <a:lnTo>
                        <a:pt x="249" y="251"/>
                      </a:lnTo>
                      <a:lnTo>
                        <a:pt x="247" y="246"/>
                      </a:lnTo>
                      <a:lnTo>
                        <a:pt x="247" y="237"/>
                      </a:lnTo>
                      <a:lnTo>
                        <a:pt x="247" y="237"/>
                      </a:lnTo>
                      <a:lnTo>
                        <a:pt x="247" y="91"/>
                      </a:lnTo>
                      <a:lnTo>
                        <a:pt x="247" y="91"/>
                      </a:lnTo>
                      <a:lnTo>
                        <a:pt x="261" y="72"/>
                      </a:lnTo>
                      <a:lnTo>
                        <a:pt x="280" y="42"/>
                      </a:lnTo>
                      <a:lnTo>
                        <a:pt x="280" y="42"/>
                      </a:lnTo>
                      <a:lnTo>
                        <a:pt x="261" y="42"/>
                      </a:lnTo>
                      <a:lnTo>
                        <a:pt x="254" y="42"/>
                      </a:lnTo>
                      <a:lnTo>
                        <a:pt x="250" y="40"/>
                      </a:lnTo>
                      <a:lnTo>
                        <a:pt x="247" y="37"/>
                      </a:lnTo>
                      <a:lnTo>
                        <a:pt x="247" y="37"/>
                      </a:lnTo>
                      <a:lnTo>
                        <a:pt x="243" y="32"/>
                      </a:lnTo>
                      <a:lnTo>
                        <a:pt x="240" y="28"/>
                      </a:lnTo>
                      <a:lnTo>
                        <a:pt x="236" y="28"/>
                      </a:lnTo>
                      <a:lnTo>
                        <a:pt x="233" y="30"/>
                      </a:lnTo>
                      <a:lnTo>
                        <a:pt x="221" y="35"/>
                      </a:lnTo>
                      <a:lnTo>
                        <a:pt x="221" y="35"/>
                      </a:lnTo>
                      <a:lnTo>
                        <a:pt x="212" y="42"/>
                      </a:lnTo>
                      <a:lnTo>
                        <a:pt x="207" y="47"/>
                      </a:lnTo>
                      <a:lnTo>
                        <a:pt x="200" y="58"/>
                      </a:lnTo>
                      <a:lnTo>
                        <a:pt x="196" y="63"/>
                      </a:lnTo>
                      <a:lnTo>
                        <a:pt x="195" y="63"/>
                      </a:lnTo>
                      <a:lnTo>
                        <a:pt x="191" y="61"/>
                      </a:lnTo>
                      <a:lnTo>
                        <a:pt x="191" y="61"/>
                      </a:lnTo>
                      <a:lnTo>
                        <a:pt x="186" y="61"/>
                      </a:lnTo>
                      <a:lnTo>
                        <a:pt x="182" y="61"/>
                      </a:lnTo>
                      <a:lnTo>
                        <a:pt x="177" y="61"/>
                      </a:lnTo>
                      <a:lnTo>
                        <a:pt x="168" y="58"/>
                      </a:lnTo>
                      <a:lnTo>
                        <a:pt x="168" y="58"/>
                      </a:lnTo>
                      <a:lnTo>
                        <a:pt x="165" y="56"/>
                      </a:lnTo>
                      <a:lnTo>
                        <a:pt x="160" y="56"/>
                      </a:lnTo>
                      <a:lnTo>
                        <a:pt x="151" y="58"/>
                      </a:lnTo>
                      <a:lnTo>
                        <a:pt x="148" y="56"/>
                      </a:lnTo>
                      <a:lnTo>
                        <a:pt x="141" y="53"/>
                      </a:lnTo>
                      <a:lnTo>
                        <a:pt x="134" y="47"/>
                      </a:lnTo>
                      <a:lnTo>
                        <a:pt x="123" y="37"/>
                      </a:lnTo>
                      <a:lnTo>
                        <a:pt x="123" y="37"/>
                      </a:lnTo>
                      <a:lnTo>
                        <a:pt x="113" y="28"/>
                      </a:lnTo>
                      <a:lnTo>
                        <a:pt x="102" y="21"/>
                      </a:lnTo>
                      <a:lnTo>
                        <a:pt x="95" y="19"/>
                      </a:lnTo>
                      <a:lnTo>
                        <a:pt x="90" y="21"/>
                      </a:lnTo>
                      <a:lnTo>
                        <a:pt x="85" y="21"/>
                      </a:lnTo>
                      <a:lnTo>
                        <a:pt x="80" y="23"/>
                      </a:lnTo>
                      <a:lnTo>
                        <a:pt x="74" y="21"/>
                      </a:lnTo>
                      <a:lnTo>
                        <a:pt x="67" y="16"/>
                      </a:lnTo>
                      <a:lnTo>
                        <a:pt x="67" y="16"/>
                      </a:lnTo>
                      <a:lnTo>
                        <a:pt x="61" y="16"/>
                      </a:lnTo>
                      <a:lnTo>
                        <a:pt x="55" y="14"/>
                      </a:lnTo>
                      <a:lnTo>
                        <a:pt x="54" y="12"/>
                      </a:lnTo>
                      <a:lnTo>
                        <a:pt x="52" y="11"/>
                      </a:lnTo>
                      <a:lnTo>
                        <a:pt x="52" y="9"/>
                      </a:lnTo>
                      <a:lnTo>
                        <a:pt x="52" y="6"/>
                      </a:lnTo>
                      <a:lnTo>
                        <a:pt x="52" y="6"/>
                      </a:lnTo>
                      <a:lnTo>
                        <a:pt x="54" y="4"/>
                      </a:lnTo>
                      <a:lnTo>
                        <a:pt x="52" y="2"/>
                      </a:lnTo>
                      <a:lnTo>
                        <a:pt x="45" y="0"/>
                      </a:lnTo>
                      <a:lnTo>
                        <a:pt x="36" y="2"/>
                      </a:lnTo>
                      <a:lnTo>
                        <a:pt x="24" y="7"/>
                      </a:lnTo>
                      <a:lnTo>
                        <a:pt x="24" y="7"/>
                      </a:lnTo>
                      <a:lnTo>
                        <a:pt x="17" y="11"/>
                      </a:lnTo>
                      <a:lnTo>
                        <a:pt x="12" y="18"/>
                      </a:lnTo>
                      <a:lnTo>
                        <a:pt x="1" y="32"/>
                      </a:lnTo>
                      <a:lnTo>
                        <a:pt x="1"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5" name="Freeform 1754">
                  <a:extLst>
                    <a:ext uri="{FF2B5EF4-FFF2-40B4-BE49-F238E27FC236}">
                      <a16:creationId xmlns:a16="http://schemas.microsoft.com/office/drawing/2014/main" id="{B3613C5A-8C62-85B0-D8EF-CEB6163749BC}"/>
                    </a:ext>
                  </a:extLst>
                </p:cNvPr>
                <p:cNvSpPr>
                  <a:spLocks/>
                </p:cNvSpPr>
                <p:nvPr/>
              </p:nvSpPr>
              <p:spPr bwMode="auto">
                <a:xfrm>
                  <a:off x="5052759" y="4710879"/>
                  <a:ext cx="347115" cy="421118"/>
                </a:xfrm>
                <a:custGeom>
                  <a:avLst/>
                  <a:gdLst/>
                  <a:ahLst/>
                  <a:cxnLst>
                    <a:cxn ang="0">
                      <a:pos x="378" y="472"/>
                    </a:cxn>
                    <a:cxn ang="0">
                      <a:pos x="361" y="433"/>
                    </a:cxn>
                    <a:cxn ang="0">
                      <a:pos x="361" y="313"/>
                    </a:cxn>
                    <a:cxn ang="0">
                      <a:pos x="395" y="308"/>
                    </a:cxn>
                    <a:cxn ang="0">
                      <a:pos x="430" y="306"/>
                    </a:cxn>
                    <a:cxn ang="0">
                      <a:pos x="430" y="285"/>
                    </a:cxn>
                    <a:cxn ang="0">
                      <a:pos x="430" y="273"/>
                    </a:cxn>
                    <a:cxn ang="0">
                      <a:pos x="429" y="252"/>
                    </a:cxn>
                    <a:cxn ang="0">
                      <a:pos x="430" y="216"/>
                    </a:cxn>
                    <a:cxn ang="0">
                      <a:pos x="416" y="221"/>
                    </a:cxn>
                    <a:cxn ang="0">
                      <a:pos x="404" y="223"/>
                    </a:cxn>
                    <a:cxn ang="0">
                      <a:pos x="387" y="223"/>
                    </a:cxn>
                    <a:cxn ang="0">
                      <a:pos x="378" y="228"/>
                    </a:cxn>
                    <a:cxn ang="0">
                      <a:pos x="369" y="233"/>
                    </a:cxn>
                    <a:cxn ang="0">
                      <a:pos x="371" y="205"/>
                    </a:cxn>
                    <a:cxn ang="0">
                      <a:pos x="362" y="176"/>
                    </a:cxn>
                    <a:cxn ang="0">
                      <a:pos x="354" y="136"/>
                    </a:cxn>
                    <a:cxn ang="0">
                      <a:pos x="355" y="101"/>
                    </a:cxn>
                    <a:cxn ang="0">
                      <a:pos x="355" y="69"/>
                    </a:cxn>
                    <a:cxn ang="0">
                      <a:pos x="347" y="64"/>
                    </a:cxn>
                    <a:cxn ang="0">
                      <a:pos x="310" y="61"/>
                    </a:cxn>
                    <a:cxn ang="0">
                      <a:pos x="312" y="50"/>
                    </a:cxn>
                    <a:cxn ang="0">
                      <a:pos x="301" y="50"/>
                    </a:cxn>
                    <a:cxn ang="0">
                      <a:pos x="284" y="50"/>
                    </a:cxn>
                    <a:cxn ang="0">
                      <a:pos x="274" y="62"/>
                    </a:cxn>
                    <a:cxn ang="0">
                      <a:pos x="268" y="78"/>
                    </a:cxn>
                    <a:cxn ang="0">
                      <a:pos x="268" y="94"/>
                    </a:cxn>
                    <a:cxn ang="0">
                      <a:pos x="246" y="92"/>
                    </a:cxn>
                    <a:cxn ang="0">
                      <a:pos x="223" y="95"/>
                    </a:cxn>
                    <a:cxn ang="0">
                      <a:pos x="200" y="89"/>
                    </a:cxn>
                    <a:cxn ang="0">
                      <a:pos x="185" y="64"/>
                    </a:cxn>
                    <a:cxn ang="0">
                      <a:pos x="183" y="47"/>
                    </a:cxn>
                    <a:cxn ang="0">
                      <a:pos x="174" y="22"/>
                    </a:cxn>
                    <a:cxn ang="0">
                      <a:pos x="160" y="1"/>
                    </a:cxn>
                    <a:cxn ang="0">
                      <a:pos x="105" y="5"/>
                    </a:cxn>
                    <a:cxn ang="0">
                      <a:pos x="58" y="0"/>
                    </a:cxn>
                    <a:cxn ang="0">
                      <a:pos x="37" y="8"/>
                    </a:cxn>
                    <a:cxn ang="0">
                      <a:pos x="21" y="15"/>
                    </a:cxn>
                    <a:cxn ang="0">
                      <a:pos x="49" y="85"/>
                    </a:cxn>
                    <a:cxn ang="0">
                      <a:pos x="49" y="125"/>
                    </a:cxn>
                    <a:cxn ang="0">
                      <a:pos x="47" y="149"/>
                    </a:cxn>
                    <a:cxn ang="0">
                      <a:pos x="68" y="203"/>
                    </a:cxn>
                    <a:cxn ang="0">
                      <a:pos x="73" y="250"/>
                    </a:cxn>
                    <a:cxn ang="0">
                      <a:pos x="52" y="289"/>
                    </a:cxn>
                    <a:cxn ang="0">
                      <a:pos x="35" y="310"/>
                    </a:cxn>
                    <a:cxn ang="0">
                      <a:pos x="16" y="388"/>
                    </a:cxn>
                    <a:cxn ang="0">
                      <a:pos x="4" y="425"/>
                    </a:cxn>
                    <a:cxn ang="0">
                      <a:pos x="0" y="468"/>
                    </a:cxn>
                    <a:cxn ang="0">
                      <a:pos x="14" y="491"/>
                    </a:cxn>
                    <a:cxn ang="0">
                      <a:pos x="46" y="480"/>
                    </a:cxn>
                    <a:cxn ang="0">
                      <a:pos x="66" y="484"/>
                    </a:cxn>
                    <a:cxn ang="0">
                      <a:pos x="84" y="496"/>
                    </a:cxn>
                    <a:cxn ang="0">
                      <a:pos x="234" y="496"/>
                    </a:cxn>
                    <a:cxn ang="0">
                      <a:pos x="246" y="510"/>
                    </a:cxn>
                    <a:cxn ang="0">
                      <a:pos x="275" y="517"/>
                    </a:cxn>
                    <a:cxn ang="0">
                      <a:pos x="307" y="519"/>
                    </a:cxn>
                    <a:cxn ang="0">
                      <a:pos x="324" y="519"/>
                    </a:cxn>
                    <a:cxn ang="0">
                      <a:pos x="329" y="519"/>
                    </a:cxn>
                    <a:cxn ang="0">
                      <a:pos x="343" y="522"/>
                    </a:cxn>
                  </a:cxnLst>
                  <a:rect l="0" t="0" r="r" b="b"/>
                  <a:pathLst>
                    <a:path w="434" h="524">
                      <a:moveTo>
                        <a:pt x="411" y="506"/>
                      </a:moveTo>
                      <a:lnTo>
                        <a:pt x="411" y="506"/>
                      </a:lnTo>
                      <a:lnTo>
                        <a:pt x="394" y="489"/>
                      </a:lnTo>
                      <a:lnTo>
                        <a:pt x="378" y="472"/>
                      </a:lnTo>
                      <a:lnTo>
                        <a:pt x="371" y="461"/>
                      </a:lnTo>
                      <a:lnTo>
                        <a:pt x="366" y="452"/>
                      </a:lnTo>
                      <a:lnTo>
                        <a:pt x="362" y="442"/>
                      </a:lnTo>
                      <a:lnTo>
                        <a:pt x="361" y="433"/>
                      </a:lnTo>
                      <a:lnTo>
                        <a:pt x="361" y="433"/>
                      </a:lnTo>
                      <a:lnTo>
                        <a:pt x="361" y="318"/>
                      </a:lnTo>
                      <a:lnTo>
                        <a:pt x="361" y="318"/>
                      </a:lnTo>
                      <a:lnTo>
                        <a:pt x="361" y="313"/>
                      </a:lnTo>
                      <a:lnTo>
                        <a:pt x="364" y="310"/>
                      </a:lnTo>
                      <a:lnTo>
                        <a:pt x="369" y="308"/>
                      </a:lnTo>
                      <a:lnTo>
                        <a:pt x="376" y="308"/>
                      </a:lnTo>
                      <a:lnTo>
                        <a:pt x="395" y="308"/>
                      </a:lnTo>
                      <a:lnTo>
                        <a:pt x="423" y="308"/>
                      </a:lnTo>
                      <a:lnTo>
                        <a:pt x="423" y="308"/>
                      </a:lnTo>
                      <a:lnTo>
                        <a:pt x="429" y="308"/>
                      </a:lnTo>
                      <a:lnTo>
                        <a:pt x="430" y="306"/>
                      </a:lnTo>
                      <a:lnTo>
                        <a:pt x="430" y="301"/>
                      </a:lnTo>
                      <a:lnTo>
                        <a:pt x="429" y="294"/>
                      </a:lnTo>
                      <a:lnTo>
                        <a:pt x="429" y="289"/>
                      </a:lnTo>
                      <a:lnTo>
                        <a:pt x="430" y="285"/>
                      </a:lnTo>
                      <a:lnTo>
                        <a:pt x="430" y="285"/>
                      </a:lnTo>
                      <a:lnTo>
                        <a:pt x="432" y="282"/>
                      </a:lnTo>
                      <a:lnTo>
                        <a:pt x="434" y="278"/>
                      </a:lnTo>
                      <a:lnTo>
                        <a:pt x="430" y="273"/>
                      </a:lnTo>
                      <a:lnTo>
                        <a:pt x="429" y="264"/>
                      </a:lnTo>
                      <a:lnTo>
                        <a:pt x="429" y="259"/>
                      </a:lnTo>
                      <a:lnTo>
                        <a:pt x="429" y="252"/>
                      </a:lnTo>
                      <a:lnTo>
                        <a:pt x="429" y="252"/>
                      </a:lnTo>
                      <a:lnTo>
                        <a:pt x="432" y="240"/>
                      </a:lnTo>
                      <a:lnTo>
                        <a:pt x="432" y="230"/>
                      </a:lnTo>
                      <a:lnTo>
                        <a:pt x="430" y="216"/>
                      </a:lnTo>
                      <a:lnTo>
                        <a:pt x="430" y="216"/>
                      </a:lnTo>
                      <a:lnTo>
                        <a:pt x="429" y="221"/>
                      </a:lnTo>
                      <a:lnTo>
                        <a:pt x="425" y="223"/>
                      </a:lnTo>
                      <a:lnTo>
                        <a:pt x="422" y="223"/>
                      </a:lnTo>
                      <a:lnTo>
                        <a:pt x="416" y="221"/>
                      </a:lnTo>
                      <a:lnTo>
                        <a:pt x="416" y="221"/>
                      </a:lnTo>
                      <a:lnTo>
                        <a:pt x="413" y="219"/>
                      </a:lnTo>
                      <a:lnTo>
                        <a:pt x="409" y="219"/>
                      </a:lnTo>
                      <a:lnTo>
                        <a:pt x="404" y="223"/>
                      </a:lnTo>
                      <a:lnTo>
                        <a:pt x="397" y="224"/>
                      </a:lnTo>
                      <a:lnTo>
                        <a:pt x="392" y="224"/>
                      </a:lnTo>
                      <a:lnTo>
                        <a:pt x="387" y="223"/>
                      </a:lnTo>
                      <a:lnTo>
                        <a:pt x="387" y="223"/>
                      </a:lnTo>
                      <a:lnTo>
                        <a:pt x="382" y="223"/>
                      </a:lnTo>
                      <a:lnTo>
                        <a:pt x="380" y="224"/>
                      </a:lnTo>
                      <a:lnTo>
                        <a:pt x="378" y="224"/>
                      </a:lnTo>
                      <a:lnTo>
                        <a:pt x="378" y="228"/>
                      </a:lnTo>
                      <a:lnTo>
                        <a:pt x="376" y="231"/>
                      </a:lnTo>
                      <a:lnTo>
                        <a:pt x="373" y="233"/>
                      </a:lnTo>
                      <a:lnTo>
                        <a:pt x="369" y="233"/>
                      </a:lnTo>
                      <a:lnTo>
                        <a:pt x="369" y="233"/>
                      </a:lnTo>
                      <a:lnTo>
                        <a:pt x="366" y="231"/>
                      </a:lnTo>
                      <a:lnTo>
                        <a:pt x="366" y="226"/>
                      </a:lnTo>
                      <a:lnTo>
                        <a:pt x="369" y="214"/>
                      </a:lnTo>
                      <a:lnTo>
                        <a:pt x="371" y="205"/>
                      </a:lnTo>
                      <a:lnTo>
                        <a:pt x="371" y="195"/>
                      </a:lnTo>
                      <a:lnTo>
                        <a:pt x="368" y="186"/>
                      </a:lnTo>
                      <a:lnTo>
                        <a:pt x="362" y="176"/>
                      </a:lnTo>
                      <a:lnTo>
                        <a:pt x="362" y="176"/>
                      </a:lnTo>
                      <a:lnTo>
                        <a:pt x="357" y="165"/>
                      </a:lnTo>
                      <a:lnTo>
                        <a:pt x="354" y="155"/>
                      </a:lnTo>
                      <a:lnTo>
                        <a:pt x="354" y="144"/>
                      </a:lnTo>
                      <a:lnTo>
                        <a:pt x="354" y="136"/>
                      </a:lnTo>
                      <a:lnTo>
                        <a:pt x="357" y="116"/>
                      </a:lnTo>
                      <a:lnTo>
                        <a:pt x="357" y="109"/>
                      </a:lnTo>
                      <a:lnTo>
                        <a:pt x="355" y="101"/>
                      </a:lnTo>
                      <a:lnTo>
                        <a:pt x="355" y="101"/>
                      </a:lnTo>
                      <a:lnTo>
                        <a:pt x="352" y="90"/>
                      </a:lnTo>
                      <a:lnTo>
                        <a:pt x="352" y="83"/>
                      </a:lnTo>
                      <a:lnTo>
                        <a:pt x="354" y="76"/>
                      </a:lnTo>
                      <a:lnTo>
                        <a:pt x="355" y="69"/>
                      </a:lnTo>
                      <a:lnTo>
                        <a:pt x="355" y="69"/>
                      </a:lnTo>
                      <a:lnTo>
                        <a:pt x="354" y="68"/>
                      </a:lnTo>
                      <a:lnTo>
                        <a:pt x="352" y="66"/>
                      </a:lnTo>
                      <a:lnTo>
                        <a:pt x="347" y="64"/>
                      </a:lnTo>
                      <a:lnTo>
                        <a:pt x="329" y="64"/>
                      </a:lnTo>
                      <a:lnTo>
                        <a:pt x="321" y="64"/>
                      </a:lnTo>
                      <a:lnTo>
                        <a:pt x="314" y="64"/>
                      </a:lnTo>
                      <a:lnTo>
                        <a:pt x="310" y="61"/>
                      </a:lnTo>
                      <a:lnTo>
                        <a:pt x="310" y="59"/>
                      </a:lnTo>
                      <a:lnTo>
                        <a:pt x="310" y="57"/>
                      </a:lnTo>
                      <a:lnTo>
                        <a:pt x="310" y="57"/>
                      </a:lnTo>
                      <a:lnTo>
                        <a:pt x="312" y="50"/>
                      </a:lnTo>
                      <a:lnTo>
                        <a:pt x="312" y="48"/>
                      </a:lnTo>
                      <a:lnTo>
                        <a:pt x="310" y="47"/>
                      </a:lnTo>
                      <a:lnTo>
                        <a:pt x="307" y="47"/>
                      </a:lnTo>
                      <a:lnTo>
                        <a:pt x="301" y="50"/>
                      </a:lnTo>
                      <a:lnTo>
                        <a:pt x="301" y="50"/>
                      </a:lnTo>
                      <a:lnTo>
                        <a:pt x="298" y="50"/>
                      </a:lnTo>
                      <a:lnTo>
                        <a:pt x="295" y="52"/>
                      </a:lnTo>
                      <a:lnTo>
                        <a:pt x="284" y="50"/>
                      </a:lnTo>
                      <a:lnTo>
                        <a:pt x="281" y="52"/>
                      </a:lnTo>
                      <a:lnTo>
                        <a:pt x="277" y="54"/>
                      </a:lnTo>
                      <a:lnTo>
                        <a:pt x="274" y="57"/>
                      </a:lnTo>
                      <a:lnTo>
                        <a:pt x="274" y="62"/>
                      </a:lnTo>
                      <a:lnTo>
                        <a:pt x="274" y="62"/>
                      </a:lnTo>
                      <a:lnTo>
                        <a:pt x="272" y="71"/>
                      </a:lnTo>
                      <a:lnTo>
                        <a:pt x="270" y="75"/>
                      </a:lnTo>
                      <a:lnTo>
                        <a:pt x="268" y="78"/>
                      </a:lnTo>
                      <a:lnTo>
                        <a:pt x="268" y="85"/>
                      </a:lnTo>
                      <a:lnTo>
                        <a:pt x="268" y="85"/>
                      </a:lnTo>
                      <a:lnTo>
                        <a:pt x="268" y="90"/>
                      </a:lnTo>
                      <a:lnTo>
                        <a:pt x="268" y="94"/>
                      </a:lnTo>
                      <a:lnTo>
                        <a:pt x="265" y="95"/>
                      </a:lnTo>
                      <a:lnTo>
                        <a:pt x="261" y="95"/>
                      </a:lnTo>
                      <a:lnTo>
                        <a:pt x="254" y="95"/>
                      </a:lnTo>
                      <a:lnTo>
                        <a:pt x="246" y="92"/>
                      </a:lnTo>
                      <a:lnTo>
                        <a:pt x="246" y="92"/>
                      </a:lnTo>
                      <a:lnTo>
                        <a:pt x="242" y="90"/>
                      </a:lnTo>
                      <a:lnTo>
                        <a:pt x="237" y="90"/>
                      </a:lnTo>
                      <a:lnTo>
                        <a:pt x="223" y="95"/>
                      </a:lnTo>
                      <a:lnTo>
                        <a:pt x="214" y="97"/>
                      </a:lnTo>
                      <a:lnTo>
                        <a:pt x="209" y="97"/>
                      </a:lnTo>
                      <a:lnTo>
                        <a:pt x="204" y="94"/>
                      </a:lnTo>
                      <a:lnTo>
                        <a:pt x="200" y="89"/>
                      </a:lnTo>
                      <a:lnTo>
                        <a:pt x="200" y="89"/>
                      </a:lnTo>
                      <a:lnTo>
                        <a:pt x="194" y="78"/>
                      </a:lnTo>
                      <a:lnTo>
                        <a:pt x="188" y="71"/>
                      </a:lnTo>
                      <a:lnTo>
                        <a:pt x="185" y="64"/>
                      </a:lnTo>
                      <a:lnTo>
                        <a:pt x="183" y="61"/>
                      </a:lnTo>
                      <a:lnTo>
                        <a:pt x="183" y="55"/>
                      </a:lnTo>
                      <a:lnTo>
                        <a:pt x="183" y="55"/>
                      </a:lnTo>
                      <a:lnTo>
                        <a:pt x="183" y="47"/>
                      </a:lnTo>
                      <a:lnTo>
                        <a:pt x="180" y="42"/>
                      </a:lnTo>
                      <a:lnTo>
                        <a:pt x="176" y="35"/>
                      </a:lnTo>
                      <a:lnTo>
                        <a:pt x="174" y="22"/>
                      </a:lnTo>
                      <a:lnTo>
                        <a:pt x="174" y="22"/>
                      </a:lnTo>
                      <a:lnTo>
                        <a:pt x="173" y="10"/>
                      </a:lnTo>
                      <a:lnTo>
                        <a:pt x="171" y="5"/>
                      </a:lnTo>
                      <a:lnTo>
                        <a:pt x="166" y="3"/>
                      </a:lnTo>
                      <a:lnTo>
                        <a:pt x="160" y="1"/>
                      </a:lnTo>
                      <a:lnTo>
                        <a:pt x="152" y="1"/>
                      </a:lnTo>
                      <a:lnTo>
                        <a:pt x="122" y="3"/>
                      </a:lnTo>
                      <a:lnTo>
                        <a:pt x="122" y="3"/>
                      </a:lnTo>
                      <a:lnTo>
                        <a:pt x="105" y="5"/>
                      </a:lnTo>
                      <a:lnTo>
                        <a:pt x="93" y="5"/>
                      </a:lnTo>
                      <a:lnTo>
                        <a:pt x="77" y="3"/>
                      </a:lnTo>
                      <a:lnTo>
                        <a:pt x="65" y="0"/>
                      </a:lnTo>
                      <a:lnTo>
                        <a:pt x="58" y="0"/>
                      </a:lnTo>
                      <a:lnTo>
                        <a:pt x="49" y="0"/>
                      </a:lnTo>
                      <a:lnTo>
                        <a:pt x="49" y="0"/>
                      </a:lnTo>
                      <a:lnTo>
                        <a:pt x="42" y="5"/>
                      </a:lnTo>
                      <a:lnTo>
                        <a:pt x="37" y="8"/>
                      </a:lnTo>
                      <a:lnTo>
                        <a:pt x="26" y="10"/>
                      </a:lnTo>
                      <a:lnTo>
                        <a:pt x="21" y="12"/>
                      </a:lnTo>
                      <a:lnTo>
                        <a:pt x="19" y="14"/>
                      </a:lnTo>
                      <a:lnTo>
                        <a:pt x="21" y="15"/>
                      </a:lnTo>
                      <a:lnTo>
                        <a:pt x="21" y="15"/>
                      </a:lnTo>
                      <a:lnTo>
                        <a:pt x="30" y="35"/>
                      </a:lnTo>
                      <a:lnTo>
                        <a:pt x="42" y="68"/>
                      </a:lnTo>
                      <a:lnTo>
                        <a:pt x="49" y="85"/>
                      </a:lnTo>
                      <a:lnTo>
                        <a:pt x="52" y="101"/>
                      </a:lnTo>
                      <a:lnTo>
                        <a:pt x="52" y="115"/>
                      </a:lnTo>
                      <a:lnTo>
                        <a:pt x="52" y="120"/>
                      </a:lnTo>
                      <a:lnTo>
                        <a:pt x="49" y="125"/>
                      </a:lnTo>
                      <a:lnTo>
                        <a:pt x="49" y="125"/>
                      </a:lnTo>
                      <a:lnTo>
                        <a:pt x="46" y="132"/>
                      </a:lnTo>
                      <a:lnTo>
                        <a:pt x="46" y="141"/>
                      </a:lnTo>
                      <a:lnTo>
                        <a:pt x="47" y="149"/>
                      </a:lnTo>
                      <a:lnTo>
                        <a:pt x="49" y="160"/>
                      </a:lnTo>
                      <a:lnTo>
                        <a:pt x="59" y="181"/>
                      </a:lnTo>
                      <a:lnTo>
                        <a:pt x="68" y="203"/>
                      </a:lnTo>
                      <a:lnTo>
                        <a:pt x="68" y="203"/>
                      </a:lnTo>
                      <a:lnTo>
                        <a:pt x="72" y="214"/>
                      </a:lnTo>
                      <a:lnTo>
                        <a:pt x="73" y="226"/>
                      </a:lnTo>
                      <a:lnTo>
                        <a:pt x="75" y="238"/>
                      </a:lnTo>
                      <a:lnTo>
                        <a:pt x="73" y="250"/>
                      </a:lnTo>
                      <a:lnTo>
                        <a:pt x="72" y="261"/>
                      </a:lnTo>
                      <a:lnTo>
                        <a:pt x="66" y="273"/>
                      </a:lnTo>
                      <a:lnTo>
                        <a:pt x="61" y="282"/>
                      </a:lnTo>
                      <a:lnTo>
                        <a:pt x="52" y="289"/>
                      </a:lnTo>
                      <a:lnTo>
                        <a:pt x="52" y="289"/>
                      </a:lnTo>
                      <a:lnTo>
                        <a:pt x="46" y="296"/>
                      </a:lnTo>
                      <a:lnTo>
                        <a:pt x="40" y="303"/>
                      </a:lnTo>
                      <a:lnTo>
                        <a:pt x="35" y="310"/>
                      </a:lnTo>
                      <a:lnTo>
                        <a:pt x="30" y="318"/>
                      </a:lnTo>
                      <a:lnTo>
                        <a:pt x="25" y="336"/>
                      </a:lnTo>
                      <a:lnTo>
                        <a:pt x="21" y="353"/>
                      </a:lnTo>
                      <a:lnTo>
                        <a:pt x="16" y="388"/>
                      </a:lnTo>
                      <a:lnTo>
                        <a:pt x="14" y="404"/>
                      </a:lnTo>
                      <a:lnTo>
                        <a:pt x="9" y="414"/>
                      </a:lnTo>
                      <a:lnTo>
                        <a:pt x="9" y="414"/>
                      </a:lnTo>
                      <a:lnTo>
                        <a:pt x="4" y="425"/>
                      </a:lnTo>
                      <a:lnTo>
                        <a:pt x="0" y="433"/>
                      </a:lnTo>
                      <a:lnTo>
                        <a:pt x="0" y="442"/>
                      </a:lnTo>
                      <a:lnTo>
                        <a:pt x="0" y="451"/>
                      </a:lnTo>
                      <a:lnTo>
                        <a:pt x="0" y="468"/>
                      </a:lnTo>
                      <a:lnTo>
                        <a:pt x="2" y="479"/>
                      </a:lnTo>
                      <a:lnTo>
                        <a:pt x="0" y="491"/>
                      </a:lnTo>
                      <a:lnTo>
                        <a:pt x="0" y="491"/>
                      </a:lnTo>
                      <a:lnTo>
                        <a:pt x="14" y="491"/>
                      </a:lnTo>
                      <a:lnTo>
                        <a:pt x="25" y="491"/>
                      </a:lnTo>
                      <a:lnTo>
                        <a:pt x="33" y="487"/>
                      </a:lnTo>
                      <a:lnTo>
                        <a:pt x="46" y="480"/>
                      </a:lnTo>
                      <a:lnTo>
                        <a:pt x="46" y="480"/>
                      </a:lnTo>
                      <a:lnTo>
                        <a:pt x="54" y="477"/>
                      </a:lnTo>
                      <a:lnTo>
                        <a:pt x="59" y="477"/>
                      </a:lnTo>
                      <a:lnTo>
                        <a:pt x="63" y="480"/>
                      </a:lnTo>
                      <a:lnTo>
                        <a:pt x="66" y="484"/>
                      </a:lnTo>
                      <a:lnTo>
                        <a:pt x="72" y="492"/>
                      </a:lnTo>
                      <a:lnTo>
                        <a:pt x="77" y="496"/>
                      </a:lnTo>
                      <a:lnTo>
                        <a:pt x="84" y="496"/>
                      </a:lnTo>
                      <a:lnTo>
                        <a:pt x="84" y="496"/>
                      </a:lnTo>
                      <a:lnTo>
                        <a:pt x="211" y="496"/>
                      </a:lnTo>
                      <a:lnTo>
                        <a:pt x="211" y="496"/>
                      </a:lnTo>
                      <a:lnTo>
                        <a:pt x="225" y="496"/>
                      </a:lnTo>
                      <a:lnTo>
                        <a:pt x="234" y="496"/>
                      </a:lnTo>
                      <a:lnTo>
                        <a:pt x="239" y="499"/>
                      </a:lnTo>
                      <a:lnTo>
                        <a:pt x="242" y="506"/>
                      </a:lnTo>
                      <a:lnTo>
                        <a:pt x="242" y="506"/>
                      </a:lnTo>
                      <a:lnTo>
                        <a:pt x="246" y="510"/>
                      </a:lnTo>
                      <a:lnTo>
                        <a:pt x="249" y="513"/>
                      </a:lnTo>
                      <a:lnTo>
                        <a:pt x="256" y="517"/>
                      </a:lnTo>
                      <a:lnTo>
                        <a:pt x="265" y="519"/>
                      </a:lnTo>
                      <a:lnTo>
                        <a:pt x="275" y="517"/>
                      </a:lnTo>
                      <a:lnTo>
                        <a:pt x="295" y="515"/>
                      </a:lnTo>
                      <a:lnTo>
                        <a:pt x="301" y="517"/>
                      </a:lnTo>
                      <a:lnTo>
                        <a:pt x="307" y="519"/>
                      </a:lnTo>
                      <a:lnTo>
                        <a:pt x="307" y="519"/>
                      </a:lnTo>
                      <a:lnTo>
                        <a:pt x="315" y="522"/>
                      </a:lnTo>
                      <a:lnTo>
                        <a:pt x="319" y="524"/>
                      </a:lnTo>
                      <a:lnTo>
                        <a:pt x="322" y="522"/>
                      </a:lnTo>
                      <a:lnTo>
                        <a:pt x="324" y="519"/>
                      </a:lnTo>
                      <a:lnTo>
                        <a:pt x="324" y="519"/>
                      </a:lnTo>
                      <a:lnTo>
                        <a:pt x="324" y="517"/>
                      </a:lnTo>
                      <a:lnTo>
                        <a:pt x="326" y="517"/>
                      </a:lnTo>
                      <a:lnTo>
                        <a:pt x="329" y="519"/>
                      </a:lnTo>
                      <a:lnTo>
                        <a:pt x="335" y="522"/>
                      </a:lnTo>
                      <a:lnTo>
                        <a:pt x="340" y="522"/>
                      </a:lnTo>
                      <a:lnTo>
                        <a:pt x="343" y="522"/>
                      </a:lnTo>
                      <a:lnTo>
                        <a:pt x="343" y="522"/>
                      </a:lnTo>
                      <a:lnTo>
                        <a:pt x="411" y="506"/>
                      </a:lnTo>
                      <a:lnTo>
                        <a:pt x="411" y="50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6" name="Freeform 1755">
                  <a:extLst>
                    <a:ext uri="{FF2B5EF4-FFF2-40B4-BE49-F238E27FC236}">
                      <a16:creationId xmlns:a16="http://schemas.microsoft.com/office/drawing/2014/main" id="{DE3B8C6F-A3E1-13EB-73EF-E31B050BBB6B}"/>
                    </a:ext>
                  </a:extLst>
                </p:cNvPr>
                <p:cNvSpPr>
                  <a:spLocks/>
                </p:cNvSpPr>
                <p:nvPr/>
              </p:nvSpPr>
              <p:spPr bwMode="auto">
                <a:xfrm>
                  <a:off x="5341726" y="4795455"/>
                  <a:ext cx="327732" cy="338304"/>
                </a:xfrm>
                <a:custGeom>
                  <a:avLst/>
                  <a:gdLst/>
                  <a:ahLst/>
                  <a:cxnLst>
                    <a:cxn ang="0">
                      <a:pos x="95" y="399"/>
                    </a:cxn>
                    <a:cxn ang="0">
                      <a:pos x="33" y="387"/>
                    </a:cxn>
                    <a:cxn ang="0">
                      <a:pos x="0" y="331"/>
                    </a:cxn>
                    <a:cxn ang="0">
                      <a:pos x="3" y="208"/>
                    </a:cxn>
                    <a:cxn ang="0">
                      <a:pos x="62" y="206"/>
                    </a:cxn>
                    <a:cxn ang="0">
                      <a:pos x="68" y="187"/>
                    </a:cxn>
                    <a:cxn ang="0">
                      <a:pos x="69" y="171"/>
                    </a:cxn>
                    <a:cxn ang="0">
                      <a:pos x="71" y="138"/>
                    </a:cxn>
                    <a:cxn ang="0">
                      <a:pos x="82" y="119"/>
                    </a:cxn>
                    <a:cxn ang="0">
                      <a:pos x="90" y="138"/>
                    </a:cxn>
                    <a:cxn ang="0">
                      <a:pos x="116" y="131"/>
                    </a:cxn>
                    <a:cxn ang="0">
                      <a:pos x="130" y="154"/>
                    </a:cxn>
                    <a:cxn ang="0">
                      <a:pos x="170" y="162"/>
                    </a:cxn>
                    <a:cxn ang="0">
                      <a:pos x="177" y="143"/>
                    </a:cxn>
                    <a:cxn ang="0">
                      <a:pos x="188" y="159"/>
                    </a:cxn>
                    <a:cxn ang="0">
                      <a:pos x="212" y="176"/>
                    </a:cxn>
                    <a:cxn ang="0">
                      <a:pos x="243" y="216"/>
                    </a:cxn>
                    <a:cxn ang="0">
                      <a:pos x="259" y="218"/>
                    </a:cxn>
                    <a:cxn ang="0">
                      <a:pos x="271" y="222"/>
                    </a:cxn>
                    <a:cxn ang="0">
                      <a:pos x="270" y="169"/>
                    </a:cxn>
                    <a:cxn ang="0">
                      <a:pos x="247" y="178"/>
                    </a:cxn>
                    <a:cxn ang="0">
                      <a:pos x="221" y="140"/>
                    </a:cxn>
                    <a:cxn ang="0">
                      <a:pos x="233" y="100"/>
                    </a:cxn>
                    <a:cxn ang="0">
                      <a:pos x="233" y="75"/>
                    </a:cxn>
                    <a:cxn ang="0">
                      <a:pos x="230" y="54"/>
                    </a:cxn>
                    <a:cxn ang="0">
                      <a:pos x="238" y="34"/>
                    </a:cxn>
                    <a:cxn ang="0">
                      <a:pos x="250" y="11"/>
                    </a:cxn>
                    <a:cxn ang="0">
                      <a:pos x="306" y="0"/>
                    </a:cxn>
                    <a:cxn ang="0">
                      <a:pos x="331" y="18"/>
                    </a:cxn>
                    <a:cxn ang="0">
                      <a:pos x="339" y="32"/>
                    </a:cxn>
                    <a:cxn ang="0">
                      <a:pos x="348" y="34"/>
                    </a:cxn>
                    <a:cxn ang="0">
                      <a:pos x="383" y="53"/>
                    </a:cxn>
                    <a:cxn ang="0">
                      <a:pos x="391" y="61"/>
                    </a:cxn>
                    <a:cxn ang="0">
                      <a:pos x="397" y="79"/>
                    </a:cxn>
                    <a:cxn ang="0">
                      <a:pos x="407" y="101"/>
                    </a:cxn>
                    <a:cxn ang="0">
                      <a:pos x="397" y="117"/>
                    </a:cxn>
                    <a:cxn ang="0">
                      <a:pos x="395" y="135"/>
                    </a:cxn>
                    <a:cxn ang="0">
                      <a:pos x="397" y="155"/>
                    </a:cxn>
                    <a:cxn ang="0">
                      <a:pos x="400" y="182"/>
                    </a:cxn>
                    <a:cxn ang="0">
                      <a:pos x="393" y="188"/>
                    </a:cxn>
                    <a:cxn ang="0">
                      <a:pos x="383" y="216"/>
                    </a:cxn>
                    <a:cxn ang="0">
                      <a:pos x="376" y="234"/>
                    </a:cxn>
                    <a:cxn ang="0">
                      <a:pos x="372" y="258"/>
                    </a:cxn>
                    <a:cxn ang="0">
                      <a:pos x="287" y="293"/>
                    </a:cxn>
                    <a:cxn ang="0">
                      <a:pos x="263" y="321"/>
                    </a:cxn>
                    <a:cxn ang="0">
                      <a:pos x="242" y="338"/>
                    </a:cxn>
                    <a:cxn ang="0">
                      <a:pos x="226" y="364"/>
                    </a:cxn>
                    <a:cxn ang="0">
                      <a:pos x="176" y="417"/>
                    </a:cxn>
                    <a:cxn ang="0">
                      <a:pos x="158" y="422"/>
                    </a:cxn>
                    <a:cxn ang="0">
                      <a:pos x="141" y="420"/>
                    </a:cxn>
                    <a:cxn ang="0">
                      <a:pos x="113" y="413"/>
                    </a:cxn>
                  </a:cxnLst>
                  <a:rect l="0" t="0" r="r" b="b"/>
                  <a:pathLst>
                    <a:path w="407" h="424">
                      <a:moveTo>
                        <a:pt x="113" y="413"/>
                      </a:moveTo>
                      <a:lnTo>
                        <a:pt x="113" y="413"/>
                      </a:lnTo>
                      <a:lnTo>
                        <a:pt x="108" y="406"/>
                      </a:lnTo>
                      <a:lnTo>
                        <a:pt x="102" y="401"/>
                      </a:lnTo>
                      <a:lnTo>
                        <a:pt x="95" y="399"/>
                      </a:lnTo>
                      <a:lnTo>
                        <a:pt x="88" y="399"/>
                      </a:lnTo>
                      <a:lnTo>
                        <a:pt x="71" y="401"/>
                      </a:lnTo>
                      <a:lnTo>
                        <a:pt x="50" y="404"/>
                      </a:lnTo>
                      <a:lnTo>
                        <a:pt x="50" y="404"/>
                      </a:lnTo>
                      <a:lnTo>
                        <a:pt x="33" y="387"/>
                      </a:lnTo>
                      <a:lnTo>
                        <a:pt x="17" y="370"/>
                      </a:lnTo>
                      <a:lnTo>
                        <a:pt x="10" y="359"/>
                      </a:lnTo>
                      <a:lnTo>
                        <a:pt x="5" y="350"/>
                      </a:lnTo>
                      <a:lnTo>
                        <a:pt x="1" y="340"/>
                      </a:lnTo>
                      <a:lnTo>
                        <a:pt x="0" y="331"/>
                      </a:lnTo>
                      <a:lnTo>
                        <a:pt x="0" y="331"/>
                      </a:lnTo>
                      <a:lnTo>
                        <a:pt x="0" y="216"/>
                      </a:lnTo>
                      <a:lnTo>
                        <a:pt x="0" y="216"/>
                      </a:lnTo>
                      <a:lnTo>
                        <a:pt x="0" y="211"/>
                      </a:lnTo>
                      <a:lnTo>
                        <a:pt x="3" y="208"/>
                      </a:lnTo>
                      <a:lnTo>
                        <a:pt x="8" y="206"/>
                      </a:lnTo>
                      <a:lnTo>
                        <a:pt x="15" y="206"/>
                      </a:lnTo>
                      <a:lnTo>
                        <a:pt x="34" y="206"/>
                      </a:lnTo>
                      <a:lnTo>
                        <a:pt x="62" y="206"/>
                      </a:lnTo>
                      <a:lnTo>
                        <a:pt x="62" y="206"/>
                      </a:lnTo>
                      <a:lnTo>
                        <a:pt x="68" y="206"/>
                      </a:lnTo>
                      <a:lnTo>
                        <a:pt x="69" y="204"/>
                      </a:lnTo>
                      <a:lnTo>
                        <a:pt x="69" y="199"/>
                      </a:lnTo>
                      <a:lnTo>
                        <a:pt x="68" y="192"/>
                      </a:lnTo>
                      <a:lnTo>
                        <a:pt x="68" y="187"/>
                      </a:lnTo>
                      <a:lnTo>
                        <a:pt x="69" y="183"/>
                      </a:lnTo>
                      <a:lnTo>
                        <a:pt x="69" y="183"/>
                      </a:lnTo>
                      <a:lnTo>
                        <a:pt x="71" y="180"/>
                      </a:lnTo>
                      <a:lnTo>
                        <a:pt x="73" y="176"/>
                      </a:lnTo>
                      <a:lnTo>
                        <a:pt x="69" y="171"/>
                      </a:lnTo>
                      <a:lnTo>
                        <a:pt x="68" y="162"/>
                      </a:lnTo>
                      <a:lnTo>
                        <a:pt x="68" y="157"/>
                      </a:lnTo>
                      <a:lnTo>
                        <a:pt x="68" y="150"/>
                      </a:lnTo>
                      <a:lnTo>
                        <a:pt x="68" y="150"/>
                      </a:lnTo>
                      <a:lnTo>
                        <a:pt x="71" y="138"/>
                      </a:lnTo>
                      <a:lnTo>
                        <a:pt x="71" y="128"/>
                      </a:lnTo>
                      <a:lnTo>
                        <a:pt x="69" y="114"/>
                      </a:lnTo>
                      <a:lnTo>
                        <a:pt x="69" y="114"/>
                      </a:lnTo>
                      <a:lnTo>
                        <a:pt x="78" y="115"/>
                      </a:lnTo>
                      <a:lnTo>
                        <a:pt x="82" y="119"/>
                      </a:lnTo>
                      <a:lnTo>
                        <a:pt x="83" y="124"/>
                      </a:lnTo>
                      <a:lnTo>
                        <a:pt x="85" y="129"/>
                      </a:lnTo>
                      <a:lnTo>
                        <a:pt x="85" y="135"/>
                      </a:lnTo>
                      <a:lnTo>
                        <a:pt x="87" y="136"/>
                      </a:lnTo>
                      <a:lnTo>
                        <a:pt x="90" y="138"/>
                      </a:lnTo>
                      <a:lnTo>
                        <a:pt x="99" y="135"/>
                      </a:lnTo>
                      <a:lnTo>
                        <a:pt x="99" y="135"/>
                      </a:lnTo>
                      <a:lnTo>
                        <a:pt x="109" y="129"/>
                      </a:lnTo>
                      <a:lnTo>
                        <a:pt x="115" y="129"/>
                      </a:lnTo>
                      <a:lnTo>
                        <a:pt x="116" y="131"/>
                      </a:lnTo>
                      <a:lnTo>
                        <a:pt x="116" y="135"/>
                      </a:lnTo>
                      <a:lnTo>
                        <a:pt x="116" y="140"/>
                      </a:lnTo>
                      <a:lnTo>
                        <a:pt x="116" y="145"/>
                      </a:lnTo>
                      <a:lnTo>
                        <a:pt x="120" y="150"/>
                      </a:lnTo>
                      <a:lnTo>
                        <a:pt x="130" y="154"/>
                      </a:lnTo>
                      <a:lnTo>
                        <a:pt x="130" y="154"/>
                      </a:lnTo>
                      <a:lnTo>
                        <a:pt x="149" y="161"/>
                      </a:lnTo>
                      <a:lnTo>
                        <a:pt x="162" y="164"/>
                      </a:lnTo>
                      <a:lnTo>
                        <a:pt x="167" y="164"/>
                      </a:lnTo>
                      <a:lnTo>
                        <a:pt x="170" y="162"/>
                      </a:lnTo>
                      <a:lnTo>
                        <a:pt x="172" y="159"/>
                      </a:lnTo>
                      <a:lnTo>
                        <a:pt x="174" y="154"/>
                      </a:lnTo>
                      <a:lnTo>
                        <a:pt x="174" y="154"/>
                      </a:lnTo>
                      <a:lnTo>
                        <a:pt x="176" y="145"/>
                      </a:lnTo>
                      <a:lnTo>
                        <a:pt x="177" y="143"/>
                      </a:lnTo>
                      <a:lnTo>
                        <a:pt x="179" y="143"/>
                      </a:lnTo>
                      <a:lnTo>
                        <a:pt x="183" y="147"/>
                      </a:lnTo>
                      <a:lnTo>
                        <a:pt x="184" y="152"/>
                      </a:lnTo>
                      <a:lnTo>
                        <a:pt x="184" y="152"/>
                      </a:lnTo>
                      <a:lnTo>
                        <a:pt x="188" y="159"/>
                      </a:lnTo>
                      <a:lnTo>
                        <a:pt x="191" y="166"/>
                      </a:lnTo>
                      <a:lnTo>
                        <a:pt x="196" y="171"/>
                      </a:lnTo>
                      <a:lnTo>
                        <a:pt x="203" y="175"/>
                      </a:lnTo>
                      <a:lnTo>
                        <a:pt x="203" y="175"/>
                      </a:lnTo>
                      <a:lnTo>
                        <a:pt x="212" y="176"/>
                      </a:lnTo>
                      <a:lnTo>
                        <a:pt x="221" y="180"/>
                      </a:lnTo>
                      <a:lnTo>
                        <a:pt x="228" y="188"/>
                      </a:lnTo>
                      <a:lnTo>
                        <a:pt x="236" y="202"/>
                      </a:lnTo>
                      <a:lnTo>
                        <a:pt x="236" y="202"/>
                      </a:lnTo>
                      <a:lnTo>
                        <a:pt x="243" y="216"/>
                      </a:lnTo>
                      <a:lnTo>
                        <a:pt x="249" y="222"/>
                      </a:lnTo>
                      <a:lnTo>
                        <a:pt x="252" y="223"/>
                      </a:lnTo>
                      <a:lnTo>
                        <a:pt x="254" y="222"/>
                      </a:lnTo>
                      <a:lnTo>
                        <a:pt x="259" y="218"/>
                      </a:lnTo>
                      <a:lnTo>
                        <a:pt x="259" y="218"/>
                      </a:lnTo>
                      <a:lnTo>
                        <a:pt x="263" y="216"/>
                      </a:lnTo>
                      <a:lnTo>
                        <a:pt x="264" y="218"/>
                      </a:lnTo>
                      <a:lnTo>
                        <a:pt x="270" y="223"/>
                      </a:lnTo>
                      <a:lnTo>
                        <a:pt x="270" y="225"/>
                      </a:lnTo>
                      <a:lnTo>
                        <a:pt x="271" y="222"/>
                      </a:lnTo>
                      <a:lnTo>
                        <a:pt x="273" y="195"/>
                      </a:lnTo>
                      <a:lnTo>
                        <a:pt x="273" y="195"/>
                      </a:lnTo>
                      <a:lnTo>
                        <a:pt x="273" y="171"/>
                      </a:lnTo>
                      <a:lnTo>
                        <a:pt x="271" y="169"/>
                      </a:lnTo>
                      <a:lnTo>
                        <a:pt x="270" y="169"/>
                      </a:lnTo>
                      <a:lnTo>
                        <a:pt x="263" y="176"/>
                      </a:lnTo>
                      <a:lnTo>
                        <a:pt x="257" y="180"/>
                      </a:lnTo>
                      <a:lnTo>
                        <a:pt x="252" y="180"/>
                      </a:lnTo>
                      <a:lnTo>
                        <a:pt x="252" y="180"/>
                      </a:lnTo>
                      <a:lnTo>
                        <a:pt x="247" y="178"/>
                      </a:lnTo>
                      <a:lnTo>
                        <a:pt x="242" y="175"/>
                      </a:lnTo>
                      <a:lnTo>
                        <a:pt x="235" y="166"/>
                      </a:lnTo>
                      <a:lnTo>
                        <a:pt x="223" y="145"/>
                      </a:lnTo>
                      <a:lnTo>
                        <a:pt x="223" y="145"/>
                      </a:lnTo>
                      <a:lnTo>
                        <a:pt x="221" y="140"/>
                      </a:lnTo>
                      <a:lnTo>
                        <a:pt x="221" y="135"/>
                      </a:lnTo>
                      <a:lnTo>
                        <a:pt x="226" y="121"/>
                      </a:lnTo>
                      <a:lnTo>
                        <a:pt x="230" y="114"/>
                      </a:lnTo>
                      <a:lnTo>
                        <a:pt x="231" y="107"/>
                      </a:lnTo>
                      <a:lnTo>
                        <a:pt x="233" y="100"/>
                      </a:lnTo>
                      <a:lnTo>
                        <a:pt x="231" y="93"/>
                      </a:lnTo>
                      <a:lnTo>
                        <a:pt x="231" y="93"/>
                      </a:lnTo>
                      <a:lnTo>
                        <a:pt x="230" y="86"/>
                      </a:lnTo>
                      <a:lnTo>
                        <a:pt x="230" y="82"/>
                      </a:lnTo>
                      <a:lnTo>
                        <a:pt x="233" y="75"/>
                      </a:lnTo>
                      <a:lnTo>
                        <a:pt x="235" y="72"/>
                      </a:lnTo>
                      <a:lnTo>
                        <a:pt x="235" y="68"/>
                      </a:lnTo>
                      <a:lnTo>
                        <a:pt x="233" y="63"/>
                      </a:lnTo>
                      <a:lnTo>
                        <a:pt x="230" y="54"/>
                      </a:lnTo>
                      <a:lnTo>
                        <a:pt x="230" y="54"/>
                      </a:lnTo>
                      <a:lnTo>
                        <a:pt x="226" y="49"/>
                      </a:lnTo>
                      <a:lnTo>
                        <a:pt x="224" y="46"/>
                      </a:lnTo>
                      <a:lnTo>
                        <a:pt x="228" y="42"/>
                      </a:lnTo>
                      <a:lnTo>
                        <a:pt x="230" y="40"/>
                      </a:lnTo>
                      <a:lnTo>
                        <a:pt x="238" y="34"/>
                      </a:lnTo>
                      <a:lnTo>
                        <a:pt x="242" y="28"/>
                      </a:lnTo>
                      <a:lnTo>
                        <a:pt x="243" y="21"/>
                      </a:lnTo>
                      <a:lnTo>
                        <a:pt x="243" y="21"/>
                      </a:lnTo>
                      <a:lnTo>
                        <a:pt x="245" y="14"/>
                      </a:lnTo>
                      <a:lnTo>
                        <a:pt x="250" y="11"/>
                      </a:lnTo>
                      <a:lnTo>
                        <a:pt x="257" y="7"/>
                      </a:lnTo>
                      <a:lnTo>
                        <a:pt x="266" y="6"/>
                      </a:lnTo>
                      <a:lnTo>
                        <a:pt x="287" y="4"/>
                      </a:lnTo>
                      <a:lnTo>
                        <a:pt x="297" y="2"/>
                      </a:lnTo>
                      <a:lnTo>
                        <a:pt x="306" y="0"/>
                      </a:lnTo>
                      <a:lnTo>
                        <a:pt x="306" y="0"/>
                      </a:lnTo>
                      <a:lnTo>
                        <a:pt x="311" y="7"/>
                      </a:lnTo>
                      <a:lnTo>
                        <a:pt x="315" y="11"/>
                      </a:lnTo>
                      <a:lnTo>
                        <a:pt x="324" y="14"/>
                      </a:lnTo>
                      <a:lnTo>
                        <a:pt x="331" y="18"/>
                      </a:lnTo>
                      <a:lnTo>
                        <a:pt x="334" y="21"/>
                      </a:lnTo>
                      <a:lnTo>
                        <a:pt x="336" y="25"/>
                      </a:lnTo>
                      <a:lnTo>
                        <a:pt x="336" y="25"/>
                      </a:lnTo>
                      <a:lnTo>
                        <a:pt x="339" y="32"/>
                      </a:lnTo>
                      <a:lnTo>
                        <a:pt x="339" y="32"/>
                      </a:lnTo>
                      <a:lnTo>
                        <a:pt x="341" y="30"/>
                      </a:lnTo>
                      <a:lnTo>
                        <a:pt x="344" y="30"/>
                      </a:lnTo>
                      <a:lnTo>
                        <a:pt x="346" y="32"/>
                      </a:lnTo>
                      <a:lnTo>
                        <a:pt x="348" y="34"/>
                      </a:lnTo>
                      <a:lnTo>
                        <a:pt x="348" y="34"/>
                      </a:lnTo>
                      <a:lnTo>
                        <a:pt x="351" y="39"/>
                      </a:lnTo>
                      <a:lnTo>
                        <a:pt x="355" y="40"/>
                      </a:lnTo>
                      <a:lnTo>
                        <a:pt x="364" y="42"/>
                      </a:lnTo>
                      <a:lnTo>
                        <a:pt x="383" y="53"/>
                      </a:lnTo>
                      <a:lnTo>
                        <a:pt x="383" y="53"/>
                      </a:lnTo>
                      <a:lnTo>
                        <a:pt x="384" y="60"/>
                      </a:lnTo>
                      <a:lnTo>
                        <a:pt x="384" y="61"/>
                      </a:lnTo>
                      <a:lnTo>
                        <a:pt x="386" y="61"/>
                      </a:lnTo>
                      <a:lnTo>
                        <a:pt x="390" y="61"/>
                      </a:lnTo>
                      <a:lnTo>
                        <a:pt x="391" y="61"/>
                      </a:lnTo>
                      <a:lnTo>
                        <a:pt x="393" y="65"/>
                      </a:lnTo>
                      <a:lnTo>
                        <a:pt x="393" y="65"/>
                      </a:lnTo>
                      <a:lnTo>
                        <a:pt x="397" y="70"/>
                      </a:lnTo>
                      <a:lnTo>
                        <a:pt x="397" y="74"/>
                      </a:lnTo>
                      <a:lnTo>
                        <a:pt x="397" y="79"/>
                      </a:lnTo>
                      <a:lnTo>
                        <a:pt x="400" y="86"/>
                      </a:lnTo>
                      <a:lnTo>
                        <a:pt x="400" y="86"/>
                      </a:lnTo>
                      <a:lnTo>
                        <a:pt x="405" y="93"/>
                      </a:lnTo>
                      <a:lnTo>
                        <a:pt x="407" y="98"/>
                      </a:lnTo>
                      <a:lnTo>
                        <a:pt x="407" y="101"/>
                      </a:lnTo>
                      <a:lnTo>
                        <a:pt x="407" y="105"/>
                      </a:lnTo>
                      <a:lnTo>
                        <a:pt x="400" y="110"/>
                      </a:lnTo>
                      <a:lnTo>
                        <a:pt x="400" y="110"/>
                      </a:lnTo>
                      <a:lnTo>
                        <a:pt x="398" y="114"/>
                      </a:lnTo>
                      <a:lnTo>
                        <a:pt x="397" y="117"/>
                      </a:lnTo>
                      <a:lnTo>
                        <a:pt x="397" y="122"/>
                      </a:lnTo>
                      <a:lnTo>
                        <a:pt x="398" y="128"/>
                      </a:lnTo>
                      <a:lnTo>
                        <a:pt x="397" y="131"/>
                      </a:lnTo>
                      <a:lnTo>
                        <a:pt x="395" y="135"/>
                      </a:lnTo>
                      <a:lnTo>
                        <a:pt x="395" y="135"/>
                      </a:lnTo>
                      <a:lnTo>
                        <a:pt x="393" y="138"/>
                      </a:lnTo>
                      <a:lnTo>
                        <a:pt x="393" y="140"/>
                      </a:lnTo>
                      <a:lnTo>
                        <a:pt x="393" y="145"/>
                      </a:lnTo>
                      <a:lnTo>
                        <a:pt x="397" y="152"/>
                      </a:lnTo>
                      <a:lnTo>
                        <a:pt x="397" y="155"/>
                      </a:lnTo>
                      <a:lnTo>
                        <a:pt x="395" y="161"/>
                      </a:lnTo>
                      <a:lnTo>
                        <a:pt x="395" y="161"/>
                      </a:lnTo>
                      <a:lnTo>
                        <a:pt x="395" y="168"/>
                      </a:lnTo>
                      <a:lnTo>
                        <a:pt x="395" y="173"/>
                      </a:lnTo>
                      <a:lnTo>
                        <a:pt x="400" y="182"/>
                      </a:lnTo>
                      <a:lnTo>
                        <a:pt x="400" y="185"/>
                      </a:lnTo>
                      <a:lnTo>
                        <a:pt x="400" y="187"/>
                      </a:lnTo>
                      <a:lnTo>
                        <a:pt x="398" y="188"/>
                      </a:lnTo>
                      <a:lnTo>
                        <a:pt x="393" y="188"/>
                      </a:lnTo>
                      <a:lnTo>
                        <a:pt x="393" y="188"/>
                      </a:lnTo>
                      <a:lnTo>
                        <a:pt x="388" y="188"/>
                      </a:lnTo>
                      <a:lnTo>
                        <a:pt x="384" y="192"/>
                      </a:lnTo>
                      <a:lnTo>
                        <a:pt x="383" y="197"/>
                      </a:lnTo>
                      <a:lnTo>
                        <a:pt x="383" y="202"/>
                      </a:lnTo>
                      <a:lnTo>
                        <a:pt x="383" y="216"/>
                      </a:lnTo>
                      <a:lnTo>
                        <a:pt x="383" y="222"/>
                      </a:lnTo>
                      <a:lnTo>
                        <a:pt x="379" y="227"/>
                      </a:lnTo>
                      <a:lnTo>
                        <a:pt x="379" y="227"/>
                      </a:lnTo>
                      <a:lnTo>
                        <a:pt x="378" y="230"/>
                      </a:lnTo>
                      <a:lnTo>
                        <a:pt x="376" y="234"/>
                      </a:lnTo>
                      <a:lnTo>
                        <a:pt x="378" y="235"/>
                      </a:lnTo>
                      <a:lnTo>
                        <a:pt x="379" y="239"/>
                      </a:lnTo>
                      <a:lnTo>
                        <a:pt x="393" y="249"/>
                      </a:lnTo>
                      <a:lnTo>
                        <a:pt x="393" y="249"/>
                      </a:lnTo>
                      <a:lnTo>
                        <a:pt x="372" y="258"/>
                      </a:lnTo>
                      <a:lnTo>
                        <a:pt x="339" y="272"/>
                      </a:lnTo>
                      <a:lnTo>
                        <a:pt x="290" y="289"/>
                      </a:lnTo>
                      <a:lnTo>
                        <a:pt x="290" y="289"/>
                      </a:lnTo>
                      <a:lnTo>
                        <a:pt x="289" y="291"/>
                      </a:lnTo>
                      <a:lnTo>
                        <a:pt x="287" y="293"/>
                      </a:lnTo>
                      <a:lnTo>
                        <a:pt x="289" y="302"/>
                      </a:lnTo>
                      <a:lnTo>
                        <a:pt x="294" y="319"/>
                      </a:lnTo>
                      <a:lnTo>
                        <a:pt x="294" y="319"/>
                      </a:lnTo>
                      <a:lnTo>
                        <a:pt x="275" y="319"/>
                      </a:lnTo>
                      <a:lnTo>
                        <a:pt x="263" y="321"/>
                      </a:lnTo>
                      <a:lnTo>
                        <a:pt x="257" y="323"/>
                      </a:lnTo>
                      <a:lnTo>
                        <a:pt x="250" y="328"/>
                      </a:lnTo>
                      <a:lnTo>
                        <a:pt x="250" y="328"/>
                      </a:lnTo>
                      <a:lnTo>
                        <a:pt x="245" y="333"/>
                      </a:lnTo>
                      <a:lnTo>
                        <a:pt x="242" y="338"/>
                      </a:lnTo>
                      <a:lnTo>
                        <a:pt x="240" y="347"/>
                      </a:lnTo>
                      <a:lnTo>
                        <a:pt x="238" y="352"/>
                      </a:lnTo>
                      <a:lnTo>
                        <a:pt x="236" y="356"/>
                      </a:lnTo>
                      <a:lnTo>
                        <a:pt x="233" y="361"/>
                      </a:lnTo>
                      <a:lnTo>
                        <a:pt x="226" y="364"/>
                      </a:lnTo>
                      <a:lnTo>
                        <a:pt x="226" y="364"/>
                      </a:lnTo>
                      <a:lnTo>
                        <a:pt x="217" y="368"/>
                      </a:lnTo>
                      <a:lnTo>
                        <a:pt x="210" y="373"/>
                      </a:lnTo>
                      <a:lnTo>
                        <a:pt x="198" y="387"/>
                      </a:lnTo>
                      <a:lnTo>
                        <a:pt x="176" y="417"/>
                      </a:lnTo>
                      <a:lnTo>
                        <a:pt x="176" y="417"/>
                      </a:lnTo>
                      <a:lnTo>
                        <a:pt x="170" y="422"/>
                      </a:lnTo>
                      <a:lnTo>
                        <a:pt x="167" y="424"/>
                      </a:lnTo>
                      <a:lnTo>
                        <a:pt x="162" y="424"/>
                      </a:lnTo>
                      <a:lnTo>
                        <a:pt x="158" y="422"/>
                      </a:lnTo>
                      <a:lnTo>
                        <a:pt x="151" y="417"/>
                      </a:lnTo>
                      <a:lnTo>
                        <a:pt x="148" y="417"/>
                      </a:lnTo>
                      <a:lnTo>
                        <a:pt x="144" y="418"/>
                      </a:lnTo>
                      <a:lnTo>
                        <a:pt x="144" y="418"/>
                      </a:lnTo>
                      <a:lnTo>
                        <a:pt x="141" y="420"/>
                      </a:lnTo>
                      <a:lnTo>
                        <a:pt x="137" y="420"/>
                      </a:lnTo>
                      <a:lnTo>
                        <a:pt x="132" y="417"/>
                      </a:lnTo>
                      <a:lnTo>
                        <a:pt x="127" y="413"/>
                      </a:lnTo>
                      <a:lnTo>
                        <a:pt x="122" y="413"/>
                      </a:lnTo>
                      <a:lnTo>
                        <a:pt x="113" y="413"/>
                      </a:lnTo>
                      <a:lnTo>
                        <a:pt x="113" y="41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7" name="Freeform 1756">
                  <a:extLst>
                    <a:ext uri="{FF2B5EF4-FFF2-40B4-BE49-F238E27FC236}">
                      <a16:creationId xmlns:a16="http://schemas.microsoft.com/office/drawing/2014/main" id="{37E903D7-57E3-F2B6-5E92-44EC02B94508}"/>
                    </a:ext>
                  </a:extLst>
                </p:cNvPr>
                <p:cNvSpPr>
                  <a:spLocks/>
                </p:cNvSpPr>
                <p:nvPr/>
              </p:nvSpPr>
              <p:spPr bwMode="auto">
                <a:xfrm>
                  <a:off x="5572551" y="4872982"/>
                  <a:ext cx="301303" cy="570889"/>
                </a:xfrm>
                <a:custGeom>
                  <a:avLst/>
                  <a:gdLst/>
                  <a:ahLst/>
                  <a:cxnLst>
                    <a:cxn ang="0">
                      <a:pos x="97" y="680"/>
                    </a:cxn>
                    <a:cxn ang="0">
                      <a:pos x="87" y="675"/>
                    </a:cxn>
                    <a:cxn ang="0">
                      <a:pos x="108" y="642"/>
                    </a:cxn>
                    <a:cxn ang="0">
                      <a:pos x="153" y="621"/>
                    </a:cxn>
                    <a:cxn ang="0">
                      <a:pos x="186" y="588"/>
                    </a:cxn>
                    <a:cxn ang="0">
                      <a:pos x="181" y="566"/>
                    </a:cxn>
                    <a:cxn ang="0">
                      <a:pos x="188" y="519"/>
                    </a:cxn>
                    <a:cxn ang="0">
                      <a:pos x="181" y="505"/>
                    </a:cxn>
                    <a:cxn ang="0">
                      <a:pos x="172" y="456"/>
                    </a:cxn>
                    <a:cxn ang="0">
                      <a:pos x="157" y="428"/>
                    </a:cxn>
                    <a:cxn ang="0">
                      <a:pos x="158" y="400"/>
                    </a:cxn>
                    <a:cxn ang="0">
                      <a:pos x="186" y="381"/>
                    </a:cxn>
                    <a:cxn ang="0">
                      <a:pos x="212" y="360"/>
                    </a:cxn>
                    <a:cxn ang="0">
                      <a:pos x="239" y="320"/>
                    </a:cxn>
                    <a:cxn ang="0">
                      <a:pos x="282" y="287"/>
                    </a:cxn>
                    <a:cxn ang="0">
                      <a:pos x="324" y="264"/>
                    </a:cxn>
                    <a:cxn ang="0">
                      <a:pos x="367" y="198"/>
                    </a:cxn>
                    <a:cxn ang="0">
                      <a:pos x="374" y="177"/>
                    </a:cxn>
                    <a:cxn ang="0">
                      <a:pos x="364" y="156"/>
                    </a:cxn>
                    <a:cxn ang="0">
                      <a:pos x="362" y="71"/>
                    </a:cxn>
                    <a:cxn ang="0">
                      <a:pos x="362" y="28"/>
                    </a:cxn>
                    <a:cxn ang="0">
                      <a:pos x="359" y="0"/>
                    </a:cxn>
                    <a:cxn ang="0">
                      <a:pos x="305" y="35"/>
                    </a:cxn>
                    <a:cxn ang="0">
                      <a:pos x="279" y="33"/>
                    </a:cxn>
                    <a:cxn ang="0">
                      <a:pos x="270" y="35"/>
                    </a:cxn>
                    <a:cxn ang="0">
                      <a:pos x="251" y="50"/>
                    </a:cxn>
                    <a:cxn ang="0">
                      <a:pos x="232" y="45"/>
                    </a:cxn>
                    <a:cxn ang="0">
                      <a:pos x="205" y="43"/>
                    </a:cxn>
                    <a:cxn ang="0">
                      <a:pos x="190" y="41"/>
                    </a:cxn>
                    <a:cxn ang="0">
                      <a:pos x="157" y="43"/>
                    </a:cxn>
                    <a:cxn ang="0">
                      <a:pos x="153" y="59"/>
                    </a:cxn>
                    <a:cxn ang="0">
                      <a:pos x="148" y="85"/>
                    </a:cxn>
                    <a:cxn ang="0">
                      <a:pos x="162" y="132"/>
                    </a:cxn>
                    <a:cxn ang="0">
                      <a:pos x="197" y="170"/>
                    </a:cxn>
                    <a:cxn ang="0">
                      <a:pos x="197" y="209"/>
                    </a:cxn>
                    <a:cxn ang="0">
                      <a:pos x="190" y="240"/>
                    </a:cxn>
                    <a:cxn ang="0">
                      <a:pos x="172" y="259"/>
                    </a:cxn>
                    <a:cxn ang="0">
                      <a:pos x="176" y="285"/>
                    </a:cxn>
                    <a:cxn ang="0">
                      <a:pos x="167" y="273"/>
                    </a:cxn>
                    <a:cxn ang="0">
                      <a:pos x="141" y="231"/>
                    </a:cxn>
                    <a:cxn ang="0">
                      <a:pos x="153" y="200"/>
                    </a:cxn>
                    <a:cxn ang="0">
                      <a:pos x="146" y="170"/>
                    </a:cxn>
                    <a:cxn ang="0">
                      <a:pos x="122" y="172"/>
                    </a:cxn>
                    <a:cxn ang="0">
                      <a:pos x="85" y="158"/>
                    </a:cxn>
                    <a:cxn ang="0">
                      <a:pos x="0" y="193"/>
                    </a:cxn>
                    <a:cxn ang="0">
                      <a:pos x="9" y="233"/>
                    </a:cxn>
                    <a:cxn ang="0">
                      <a:pos x="47" y="242"/>
                    </a:cxn>
                    <a:cxn ang="0">
                      <a:pos x="89" y="261"/>
                    </a:cxn>
                    <a:cxn ang="0">
                      <a:pos x="96" y="278"/>
                    </a:cxn>
                    <a:cxn ang="0">
                      <a:pos x="101" y="306"/>
                    </a:cxn>
                    <a:cxn ang="0">
                      <a:pos x="91" y="355"/>
                    </a:cxn>
                    <a:cxn ang="0">
                      <a:pos x="94" y="374"/>
                    </a:cxn>
                    <a:cxn ang="0">
                      <a:pos x="96" y="393"/>
                    </a:cxn>
                    <a:cxn ang="0">
                      <a:pos x="94" y="416"/>
                    </a:cxn>
                    <a:cxn ang="0">
                      <a:pos x="77" y="468"/>
                    </a:cxn>
                    <a:cxn ang="0">
                      <a:pos x="49" y="548"/>
                    </a:cxn>
                    <a:cxn ang="0">
                      <a:pos x="61" y="672"/>
                    </a:cxn>
                  </a:cxnLst>
                  <a:rect l="0" t="0" r="r" b="b"/>
                  <a:pathLst>
                    <a:path w="374" h="710">
                      <a:moveTo>
                        <a:pt x="68" y="710"/>
                      </a:moveTo>
                      <a:lnTo>
                        <a:pt x="96" y="710"/>
                      </a:lnTo>
                      <a:lnTo>
                        <a:pt x="96" y="710"/>
                      </a:lnTo>
                      <a:lnTo>
                        <a:pt x="97" y="686"/>
                      </a:lnTo>
                      <a:lnTo>
                        <a:pt x="97" y="680"/>
                      </a:lnTo>
                      <a:lnTo>
                        <a:pt x="96" y="679"/>
                      </a:lnTo>
                      <a:lnTo>
                        <a:pt x="91" y="680"/>
                      </a:lnTo>
                      <a:lnTo>
                        <a:pt x="89" y="679"/>
                      </a:lnTo>
                      <a:lnTo>
                        <a:pt x="87" y="675"/>
                      </a:lnTo>
                      <a:lnTo>
                        <a:pt x="87" y="675"/>
                      </a:lnTo>
                      <a:lnTo>
                        <a:pt x="87" y="670"/>
                      </a:lnTo>
                      <a:lnTo>
                        <a:pt x="89" y="663"/>
                      </a:lnTo>
                      <a:lnTo>
                        <a:pt x="94" y="656"/>
                      </a:lnTo>
                      <a:lnTo>
                        <a:pt x="99" y="649"/>
                      </a:lnTo>
                      <a:lnTo>
                        <a:pt x="108" y="642"/>
                      </a:lnTo>
                      <a:lnTo>
                        <a:pt x="118" y="635"/>
                      </a:lnTo>
                      <a:lnTo>
                        <a:pt x="129" y="630"/>
                      </a:lnTo>
                      <a:lnTo>
                        <a:pt x="141" y="625"/>
                      </a:lnTo>
                      <a:lnTo>
                        <a:pt x="141" y="625"/>
                      </a:lnTo>
                      <a:lnTo>
                        <a:pt x="153" y="621"/>
                      </a:lnTo>
                      <a:lnTo>
                        <a:pt x="164" y="614"/>
                      </a:lnTo>
                      <a:lnTo>
                        <a:pt x="172" y="609"/>
                      </a:lnTo>
                      <a:lnTo>
                        <a:pt x="178" y="602"/>
                      </a:lnTo>
                      <a:lnTo>
                        <a:pt x="183" y="595"/>
                      </a:lnTo>
                      <a:lnTo>
                        <a:pt x="186" y="588"/>
                      </a:lnTo>
                      <a:lnTo>
                        <a:pt x="186" y="581"/>
                      </a:lnTo>
                      <a:lnTo>
                        <a:pt x="185" y="576"/>
                      </a:lnTo>
                      <a:lnTo>
                        <a:pt x="185" y="576"/>
                      </a:lnTo>
                      <a:lnTo>
                        <a:pt x="181" y="571"/>
                      </a:lnTo>
                      <a:lnTo>
                        <a:pt x="181" y="566"/>
                      </a:lnTo>
                      <a:lnTo>
                        <a:pt x="183" y="555"/>
                      </a:lnTo>
                      <a:lnTo>
                        <a:pt x="186" y="541"/>
                      </a:lnTo>
                      <a:lnTo>
                        <a:pt x="188" y="531"/>
                      </a:lnTo>
                      <a:lnTo>
                        <a:pt x="188" y="519"/>
                      </a:lnTo>
                      <a:lnTo>
                        <a:pt x="188" y="519"/>
                      </a:lnTo>
                      <a:lnTo>
                        <a:pt x="186" y="503"/>
                      </a:lnTo>
                      <a:lnTo>
                        <a:pt x="186" y="501"/>
                      </a:lnTo>
                      <a:lnTo>
                        <a:pt x="185" y="503"/>
                      </a:lnTo>
                      <a:lnTo>
                        <a:pt x="183" y="505"/>
                      </a:lnTo>
                      <a:lnTo>
                        <a:pt x="181" y="505"/>
                      </a:lnTo>
                      <a:lnTo>
                        <a:pt x="179" y="501"/>
                      </a:lnTo>
                      <a:lnTo>
                        <a:pt x="178" y="494"/>
                      </a:lnTo>
                      <a:lnTo>
                        <a:pt x="178" y="494"/>
                      </a:lnTo>
                      <a:lnTo>
                        <a:pt x="174" y="470"/>
                      </a:lnTo>
                      <a:lnTo>
                        <a:pt x="172" y="456"/>
                      </a:lnTo>
                      <a:lnTo>
                        <a:pt x="171" y="447"/>
                      </a:lnTo>
                      <a:lnTo>
                        <a:pt x="162" y="437"/>
                      </a:lnTo>
                      <a:lnTo>
                        <a:pt x="162" y="437"/>
                      </a:lnTo>
                      <a:lnTo>
                        <a:pt x="158" y="431"/>
                      </a:lnTo>
                      <a:lnTo>
                        <a:pt x="157" y="428"/>
                      </a:lnTo>
                      <a:lnTo>
                        <a:pt x="157" y="421"/>
                      </a:lnTo>
                      <a:lnTo>
                        <a:pt x="158" y="414"/>
                      </a:lnTo>
                      <a:lnTo>
                        <a:pt x="158" y="405"/>
                      </a:lnTo>
                      <a:lnTo>
                        <a:pt x="158" y="405"/>
                      </a:lnTo>
                      <a:lnTo>
                        <a:pt x="158" y="400"/>
                      </a:lnTo>
                      <a:lnTo>
                        <a:pt x="164" y="398"/>
                      </a:lnTo>
                      <a:lnTo>
                        <a:pt x="167" y="398"/>
                      </a:lnTo>
                      <a:lnTo>
                        <a:pt x="172" y="395"/>
                      </a:lnTo>
                      <a:lnTo>
                        <a:pt x="178" y="390"/>
                      </a:lnTo>
                      <a:lnTo>
                        <a:pt x="186" y="381"/>
                      </a:lnTo>
                      <a:lnTo>
                        <a:pt x="186" y="381"/>
                      </a:lnTo>
                      <a:lnTo>
                        <a:pt x="193" y="372"/>
                      </a:lnTo>
                      <a:lnTo>
                        <a:pt x="198" y="367"/>
                      </a:lnTo>
                      <a:lnTo>
                        <a:pt x="209" y="362"/>
                      </a:lnTo>
                      <a:lnTo>
                        <a:pt x="212" y="360"/>
                      </a:lnTo>
                      <a:lnTo>
                        <a:pt x="218" y="357"/>
                      </a:lnTo>
                      <a:lnTo>
                        <a:pt x="223" y="348"/>
                      </a:lnTo>
                      <a:lnTo>
                        <a:pt x="230" y="336"/>
                      </a:lnTo>
                      <a:lnTo>
                        <a:pt x="230" y="336"/>
                      </a:lnTo>
                      <a:lnTo>
                        <a:pt x="239" y="320"/>
                      </a:lnTo>
                      <a:lnTo>
                        <a:pt x="247" y="310"/>
                      </a:lnTo>
                      <a:lnTo>
                        <a:pt x="256" y="301"/>
                      </a:lnTo>
                      <a:lnTo>
                        <a:pt x="265" y="294"/>
                      </a:lnTo>
                      <a:lnTo>
                        <a:pt x="273" y="290"/>
                      </a:lnTo>
                      <a:lnTo>
                        <a:pt x="282" y="287"/>
                      </a:lnTo>
                      <a:lnTo>
                        <a:pt x="299" y="282"/>
                      </a:lnTo>
                      <a:lnTo>
                        <a:pt x="299" y="282"/>
                      </a:lnTo>
                      <a:lnTo>
                        <a:pt x="308" y="277"/>
                      </a:lnTo>
                      <a:lnTo>
                        <a:pt x="317" y="271"/>
                      </a:lnTo>
                      <a:lnTo>
                        <a:pt x="324" y="264"/>
                      </a:lnTo>
                      <a:lnTo>
                        <a:pt x="333" y="257"/>
                      </a:lnTo>
                      <a:lnTo>
                        <a:pt x="346" y="236"/>
                      </a:lnTo>
                      <a:lnTo>
                        <a:pt x="360" y="210"/>
                      </a:lnTo>
                      <a:lnTo>
                        <a:pt x="360" y="210"/>
                      </a:lnTo>
                      <a:lnTo>
                        <a:pt x="367" y="198"/>
                      </a:lnTo>
                      <a:lnTo>
                        <a:pt x="367" y="195"/>
                      </a:lnTo>
                      <a:lnTo>
                        <a:pt x="367" y="193"/>
                      </a:lnTo>
                      <a:lnTo>
                        <a:pt x="371" y="184"/>
                      </a:lnTo>
                      <a:lnTo>
                        <a:pt x="371" y="184"/>
                      </a:lnTo>
                      <a:lnTo>
                        <a:pt x="374" y="177"/>
                      </a:lnTo>
                      <a:lnTo>
                        <a:pt x="374" y="172"/>
                      </a:lnTo>
                      <a:lnTo>
                        <a:pt x="373" y="169"/>
                      </a:lnTo>
                      <a:lnTo>
                        <a:pt x="371" y="167"/>
                      </a:lnTo>
                      <a:lnTo>
                        <a:pt x="367" y="162"/>
                      </a:lnTo>
                      <a:lnTo>
                        <a:pt x="364" y="156"/>
                      </a:lnTo>
                      <a:lnTo>
                        <a:pt x="362" y="148"/>
                      </a:lnTo>
                      <a:lnTo>
                        <a:pt x="362" y="135"/>
                      </a:lnTo>
                      <a:lnTo>
                        <a:pt x="362" y="135"/>
                      </a:lnTo>
                      <a:lnTo>
                        <a:pt x="364" y="90"/>
                      </a:lnTo>
                      <a:lnTo>
                        <a:pt x="362" y="71"/>
                      </a:lnTo>
                      <a:lnTo>
                        <a:pt x="359" y="52"/>
                      </a:lnTo>
                      <a:lnTo>
                        <a:pt x="359" y="52"/>
                      </a:lnTo>
                      <a:lnTo>
                        <a:pt x="359" y="40"/>
                      </a:lnTo>
                      <a:lnTo>
                        <a:pt x="360" y="33"/>
                      </a:lnTo>
                      <a:lnTo>
                        <a:pt x="362" y="28"/>
                      </a:lnTo>
                      <a:lnTo>
                        <a:pt x="366" y="24"/>
                      </a:lnTo>
                      <a:lnTo>
                        <a:pt x="367" y="22"/>
                      </a:lnTo>
                      <a:lnTo>
                        <a:pt x="367" y="17"/>
                      </a:lnTo>
                      <a:lnTo>
                        <a:pt x="366" y="10"/>
                      </a:lnTo>
                      <a:lnTo>
                        <a:pt x="359" y="0"/>
                      </a:lnTo>
                      <a:lnTo>
                        <a:pt x="359" y="0"/>
                      </a:lnTo>
                      <a:lnTo>
                        <a:pt x="348" y="8"/>
                      </a:lnTo>
                      <a:lnTo>
                        <a:pt x="336" y="17"/>
                      </a:lnTo>
                      <a:lnTo>
                        <a:pt x="322" y="26"/>
                      </a:lnTo>
                      <a:lnTo>
                        <a:pt x="305" y="35"/>
                      </a:lnTo>
                      <a:lnTo>
                        <a:pt x="305" y="35"/>
                      </a:lnTo>
                      <a:lnTo>
                        <a:pt x="296" y="36"/>
                      </a:lnTo>
                      <a:lnTo>
                        <a:pt x="289" y="36"/>
                      </a:lnTo>
                      <a:lnTo>
                        <a:pt x="284" y="35"/>
                      </a:lnTo>
                      <a:lnTo>
                        <a:pt x="279" y="33"/>
                      </a:lnTo>
                      <a:lnTo>
                        <a:pt x="275" y="29"/>
                      </a:lnTo>
                      <a:lnTo>
                        <a:pt x="273" y="29"/>
                      </a:lnTo>
                      <a:lnTo>
                        <a:pt x="272" y="31"/>
                      </a:lnTo>
                      <a:lnTo>
                        <a:pt x="270" y="35"/>
                      </a:lnTo>
                      <a:lnTo>
                        <a:pt x="270" y="35"/>
                      </a:lnTo>
                      <a:lnTo>
                        <a:pt x="266" y="41"/>
                      </a:lnTo>
                      <a:lnTo>
                        <a:pt x="263" y="45"/>
                      </a:lnTo>
                      <a:lnTo>
                        <a:pt x="259" y="48"/>
                      </a:lnTo>
                      <a:lnTo>
                        <a:pt x="254" y="50"/>
                      </a:lnTo>
                      <a:lnTo>
                        <a:pt x="251" y="50"/>
                      </a:lnTo>
                      <a:lnTo>
                        <a:pt x="245" y="50"/>
                      </a:lnTo>
                      <a:lnTo>
                        <a:pt x="239" y="45"/>
                      </a:lnTo>
                      <a:lnTo>
                        <a:pt x="239" y="45"/>
                      </a:lnTo>
                      <a:lnTo>
                        <a:pt x="235" y="45"/>
                      </a:lnTo>
                      <a:lnTo>
                        <a:pt x="232" y="45"/>
                      </a:lnTo>
                      <a:lnTo>
                        <a:pt x="225" y="48"/>
                      </a:lnTo>
                      <a:lnTo>
                        <a:pt x="219" y="50"/>
                      </a:lnTo>
                      <a:lnTo>
                        <a:pt x="216" y="50"/>
                      </a:lnTo>
                      <a:lnTo>
                        <a:pt x="211" y="48"/>
                      </a:lnTo>
                      <a:lnTo>
                        <a:pt x="205" y="43"/>
                      </a:lnTo>
                      <a:lnTo>
                        <a:pt x="205" y="43"/>
                      </a:lnTo>
                      <a:lnTo>
                        <a:pt x="200" y="40"/>
                      </a:lnTo>
                      <a:lnTo>
                        <a:pt x="197" y="38"/>
                      </a:lnTo>
                      <a:lnTo>
                        <a:pt x="193" y="40"/>
                      </a:lnTo>
                      <a:lnTo>
                        <a:pt x="190" y="41"/>
                      </a:lnTo>
                      <a:lnTo>
                        <a:pt x="185" y="43"/>
                      </a:lnTo>
                      <a:lnTo>
                        <a:pt x="178" y="45"/>
                      </a:lnTo>
                      <a:lnTo>
                        <a:pt x="169" y="45"/>
                      </a:lnTo>
                      <a:lnTo>
                        <a:pt x="157" y="43"/>
                      </a:lnTo>
                      <a:lnTo>
                        <a:pt x="157" y="43"/>
                      </a:lnTo>
                      <a:lnTo>
                        <a:pt x="155" y="45"/>
                      </a:lnTo>
                      <a:lnTo>
                        <a:pt x="155" y="47"/>
                      </a:lnTo>
                      <a:lnTo>
                        <a:pt x="153" y="50"/>
                      </a:lnTo>
                      <a:lnTo>
                        <a:pt x="153" y="55"/>
                      </a:lnTo>
                      <a:lnTo>
                        <a:pt x="153" y="59"/>
                      </a:lnTo>
                      <a:lnTo>
                        <a:pt x="151" y="62"/>
                      </a:lnTo>
                      <a:lnTo>
                        <a:pt x="151" y="62"/>
                      </a:lnTo>
                      <a:lnTo>
                        <a:pt x="148" y="66"/>
                      </a:lnTo>
                      <a:lnTo>
                        <a:pt x="148" y="71"/>
                      </a:lnTo>
                      <a:lnTo>
                        <a:pt x="148" y="85"/>
                      </a:lnTo>
                      <a:lnTo>
                        <a:pt x="151" y="113"/>
                      </a:lnTo>
                      <a:lnTo>
                        <a:pt x="151" y="113"/>
                      </a:lnTo>
                      <a:lnTo>
                        <a:pt x="153" y="118"/>
                      </a:lnTo>
                      <a:lnTo>
                        <a:pt x="155" y="123"/>
                      </a:lnTo>
                      <a:lnTo>
                        <a:pt x="162" y="132"/>
                      </a:lnTo>
                      <a:lnTo>
                        <a:pt x="172" y="141"/>
                      </a:lnTo>
                      <a:lnTo>
                        <a:pt x="186" y="155"/>
                      </a:lnTo>
                      <a:lnTo>
                        <a:pt x="186" y="155"/>
                      </a:lnTo>
                      <a:lnTo>
                        <a:pt x="193" y="163"/>
                      </a:lnTo>
                      <a:lnTo>
                        <a:pt x="197" y="170"/>
                      </a:lnTo>
                      <a:lnTo>
                        <a:pt x="198" y="177"/>
                      </a:lnTo>
                      <a:lnTo>
                        <a:pt x="200" y="183"/>
                      </a:lnTo>
                      <a:lnTo>
                        <a:pt x="198" y="195"/>
                      </a:lnTo>
                      <a:lnTo>
                        <a:pt x="197" y="209"/>
                      </a:lnTo>
                      <a:lnTo>
                        <a:pt x="197" y="209"/>
                      </a:lnTo>
                      <a:lnTo>
                        <a:pt x="197" y="221"/>
                      </a:lnTo>
                      <a:lnTo>
                        <a:pt x="197" y="231"/>
                      </a:lnTo>
                      <a:lnTo>
                        <a:pt x="193" y="238"/>
                      </a:lnTo>
                      <a:lnTo>
                        <a:pt x="192" y="240"/>
                      </a:lnTo>
                      <a:lnTo>
                        <a:pt x="190" y="240"/>
                      </a:lnTo>
                      <a:lnTo>
                        <a:pt x="190" y="240"/>
                      </a:lnTo>
                      <a:lnTo>
                        <a:pt x="183" y="243"/>
                      </a:lnTo>
                      <a:lnTo>
                        <a:pt x="178" y="249"/>
                      </a:lnTo>
                      <a:lnTo>
                        <a:pt x="174" y="256"/>
                      </a:lnTo>
                      <a:lnTo>
                        <a:pt x="172" y="259"/>
                      </a:lnTo>
                      <a:lnTo>
                        <a:pt x="174" y="263"/>
                      </a:lnTo>
                      <a:lnTo>
                        <a:pt x="174" y="263"/>
                      </a:lnTo>
                      <a:lnTo>
                        <a:pt x="178" y="271"/>
                      </a:lnTo>
                      <a:lnTo>
                        <a:pt x="178" y="280"/>
                      </a:lnTo>
                      <a:lnTo>
                        <a:pt x="176" y="285"/>
                      </a:lnTo>
                      <a:lnTo>
                        <a:pt x="174" y="285"/>
                      </a:lnTo>
                      <a:lnTo>
                        <a:pt x="172" y="283"/>
                      </a:lnTo>
                      <a:lnTo>
                        <a:pt x="172" y="283"/>
                      </a:lnTo>
                      <a:lnTo>
                        <a:pt x="171" y="280"/>
                      </a:lnTo>
                      <a:lnTo>
                        <a:pt x="167" y="273"/>
                      </a:lnTo>
                      <a:lnTo>
                        <a:pt x="162" y="261"/>
                      </a:lnTo>
                      <a:lnTo>
                        <a:pt x="150" y="245"/>
                      </a:lnTo>
                      <a:lnTo>
                        <a:pt x="150" y="245"/>
                      </a:lnTo>
                      <a:lnTo>
                        <a:pt x="144" y="238"/>
                      </a:lnTo>
                      <a:lnTo>
                        <a:pt x="141" y="231"/>
                      </a:lnTo>
                      <a:lnTo>
                        <a:pt x="141" y="228"/>
                      </a:lnTo>
                      <a:lnTo>
                        <a:pt x="143" y="223"/>
                      </a:lnTo>
                      <a:lnTo>
                        <a:pt x="150" y="214"/>
                      </a:lnTo>
                      <a:lnTo>
                        <a:pt x="151" y="209"/>
                      </a:lnTo>
                      <a:lnTo>
                        <a:pt x="153" y="200"/>
                      </a:lnTo>
                      <a:lnTo>
                        <a:pt x="153" y="200"/>
                      </a:lnTo>
                      <a:lnTo>
                        <a:pt x="155" y="183"/>
                      </a:lnTo>
                      <a:lnTo>
                        <a:pt x="153" y="177"/>
                      </a:lnTo>
                      <a:lnTo>
                        <a:pt x="151" y="172"/>
                      </a:lnTo>
                      <a:lnTo>
                        <a:pt x="146" y="170"/>
                      </a:lnTo>
                      <a:lnTo>
                        <a:pt x="141" y="169"/>
                      </a:lnTo>
                      <a:lnTo>
                        <a:pt x="134" y="169"/>
                      </a:lnTo>
                      <a:lnTo>
                        <a:pt x="125" y="170"/>
                      </a:lnTo>
                      <a:lnTo>
                        <a:pt x="125" y="170"/>
                      </a:lnTo>
                      <a:lnTo>
                        <a:pt x="122" y="172"/>
                      </a:lnTo>
                      <a:lnTo>
                        <a:pt x="118" y="170"/>
                      </a:lnTo>
                      <a:lnTo>
                        <a:pt x="115" y="165"/>
                      </a:lnTo>
                      <a:lnTo>
                        <a:pt x="106" y="149"/>
                      </a:lnTo>
                      <a:lnTo>
                        <a:pt x="106" y="149"/>
                      </a:lnTo>
                      <a:lnTo>
                        <a:pt x="85" y="158"/>
                      </a:lnTo>
                      <a:lnTo>
                        <a:pt x="52" y="172"/>
                      </a:lnTo>
                      <a:lnTo>
                        <a:pt x="3" y="189"/>
                      </a:lnTo>
                      <a:lnTo>
                        <a:pt x="3" y="189"/>
                      </a:lnTo>
                      <a:lnTo>
                        <a:pt x="2" y="191"/>
                      </a:lnTo>
                      <a:lnTo>
                        <a:pt x="0" y="193"/>
                      </a:lnTo>
                      <a:lnTo>
                        <a:pt x="2" y="202"/>
                      </a:lnTo>
                      <a:lnTo>
                        <a:pt x="7" y="219"/>
                      </a:lnTo>
                      <a:lnTo>
                        <a:pt x="7" y="219"/>
                      </a:lnTo>
                      <a:lnTo>
                        <a:pt x="7" y="228"/>
                      </a:lnTo>
                      <a:lnTo>
                        <a:pt x="9" y="233"/>
                      </a:lnTo>
                      <a:lnTo>
                        <a:pt x="12" y="235"/>
                      </a:lnTo>
                      <a:lnTo>
                        <a:pt x="17" y="236"/>
                      </a:lnTo>
                      <a:lnTo>
                        <a:pt x="31" y="235"/>
                      </a:lnTo>
                      <a:lnTo>
                        <a:pt x="40" y="236"/>
                      </a:lnTo>
                      <a:lnTo>
                        <a:pt x="47" y="242"/>
                      </a:lnTo>
                      <a:lnTo>
                        <a:pt x="47" y="242"/>
                      </a:lnTo>
                      <a:lnTo>
                        <a:pt x="61" y="250"/>
                      </a:lnTo>
                      <a:lnTo>
                        <a:pt x="70" y="254"/>
                      </a:lnTo>
                      <a:lnTo>
                        <a:pt x="78" y="257"/>
                      </a:lnTo>
                      <a:lnTo>
                        <a:pt x="89" y="261"/>
                      </a:lnTo>
                      <a:lnTo>
                        <a:pt x="89" y="261"/>
                      </a:lnTo>
                      <a:lnTo>
                        <a:pt x="96" y="268"/>
                      </a:lnTo>
                      <a:lnTo>
                        <a:pt x="97" y="270"/>
                      </a:lnTo>
                      <a:lnTo>
                        <a:pt x="96" y="271"/>
                      </a:lnTo>
                      <a:lnTo>
                        <a:pt x="96" y="278"/>
                      </a:lnTo>
                      <a:lnTo>
                        <a:pt x="96" y="282"/>
                      </a:lnTo>
                      <a:lnTo>
                        <a:pt x="97" y="289"/>
                      </a:lnTo>
                      <a:lnTo>
                        <a:pt x="97" y="289"/>
                      </a:lnTo>
                      <a:lnTo>
                        <a:pt x="99" y="296"/>
                      </a:lnTo>
                      <a:lnTo>
                        <a:pt x="101" y="306"/>
                      </a:lnTo>
                      <a:lnTo>
                        <a:pt x="99" y="327"/>
                      </a:lnTo>
                      <a:lnTo>
                        <a:pt x="96" y="346"/>
                      </a:lnTo>
                      <a:lnTo>
                        <a:pt x="92" y="353"/>
                      </a:lnTo>
                      <a:lnTo>
                        <a:pt x="91" y="355"/>
                      </a:lnTo>
                      <a:lnTo>
                        <a:pt x="91" y="355"/>
                      </a:lnTo>
                      <a:lnTo>
                        <a:pt x="87" y="357"/>
                      </a:lnTo>
                      <a:lnTo>
                        <a:pt x="87" y="358"/>
                      </a:lnTo>
                      <a:lnTo>
                        <a:pt x="91" y="362"/>
                      </a:lnTo>
                      <a:lnTo>
                        <a:pt x="94" y="369"/>
                      </a:lnTo>
                      <a:lnTo>
                        <a:pt x="94" y="374"/>
                      </a:lnTo>
                      <a:lnTo>
                        <a:pt x="92" y="378"/>
                      </a:lnTo>
                      <a:lnTo>
                        <a:pt x="92" y="378"/>
                      </a:lnTo>
                      <a:lnTo>
                        <a:pt x="92" y="384"/>
                      </a:lnTo>
                      <a:lnTo>
                        <a:pt x="92" y="388"/>
                      </a:lnTo>
                      <a:lnTo>
                        <a:pt x="96" y="393"/>
                      </a:lnTo>
                      <a:lnTo>
                        <a:pt x="97" y="397"/>
                      </a:lnTo>
                      <a:lnTo>
                        <a:pt x="99" y="402"/>
                      </a:lnTo>
                      <a:lnTo>
                        <a:pt x="97" y="407"/>
                      </a:lnTo>
                      <a:lnTo>
                        <a:pt x="94" y="416"/>
                      </a:lnTo>
                      <a:lnTo>
                        <a:pt x="94" y="416"/>
                      </a:lnTo>
                      <a:lnTo>
                        <a:pt x="87" y="428"/>
                      </a:lnTo>
                      <a:lnTo>
                        <a:pt x="84" y="437"/>
                      </a:lnTo>
                      <a:lnTo>
                        <a:pt x="80" y="452"/>
                      </a:lnTo>
                      <a:lnTo>
                        <a:pt x="78" y="463"/>
                      </a:lnTo>
                      <a:lnTo>
                        <a:pt x="77" y="468"/>
                      </a:lnTo>
                      <a:lnTo>
                        <a:pt x="71" y="472"/>
                      </a:lnTo>
                      <a:lnTo>
                        <a:pt x="71" y="472"/>
                      </a:lnTo>
                      <a:lnTo>
                        <a:pt x="38" y="513"/>
                      </a:lnTo>
                      <a:lnTo>
                        <a:pt x="38" y="513"/>
                      </a:lnTo>
                      <a:lnTo>
                        <a:pt x="49" y="548"/>
                      </a:lnTo>
                      <a:lnTo>
                        <a:pt x="57" y="592"/>
                      </a:lnTo>
                      <a:lnTo>
                        <a:pt x="61" y="614"/>
                      </a:lnTo>
                      <a:lnTo>
                        <a:pt x="64" y="635"/>
                      </a:lnTo>
                      <a:lnTo>
                        <a:pt x="64" y="654"/>
                      </a:lnTo>
                      <a:lnTo>
                        <a:pt x="61" y="672"/>
                      </a:lnTo>
                      <a:lnTo>
                        <a:pt x="68" y="7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8" name="Freeform 1757">
                  <a:extLst>
                    <a:ext uri="{FF2B5EF4-FFF2-40B4-BE49-F238E27FC236}">
                      <a16:creationId xmlns:a16="http://schemas.microsoft.com/office/drawing/2014/main" id="{B1A063BC-3D4B-9FBE-63C3-496296AA3C0E}"/>
                    </a:ext>
                  </a:extLst>
                </p:cNvPr>
                <p:cNvSpPr>
                  <a:spLocks/>
                </p:cNvSpPr>
                <p:nvPr/>
              </p:nvSpPr>
              <p:spPr bwMode="auto">
                <a:xfrm>
                  <a:off x="5052761" y="5094996"/>
                  <a:ext cx="378831" cy="424642"/>
                </a:xfrm>
                <a:custGeom>
                  <a:avLst/>
                  <a:gdLst/>
                  <a:ahLst/>
                  <a:cxnLst>
                    <a:cxn ang="0">
                      <a:pos x="0" y="22"/>
                    </a:cxn>
                    <a:cxn ang="0">
                      <a:pos x="12" y="62"/>
                    </a:cxn>
                    <a:cxn ang="0">
                      <a:pos x="50" y="143"/>
                    </a:cxn>
                    <a:cxn ang="0">
                      <a:pos x="64" y="190"/>
                    </a:cxn>
                    <a:cxn ang="0">
                      <a:pos x="88" y="223"/>
                    </a:cxn>
                    <a:cxn ang="0">
                      <a:pos x="97" y="259"/>
                    </a:cxn>
                    <a:cxn ang="0">
                      <a:pos x="94" y="298"/>
                    </a:cxn>
                    <a:cxn ang="0">
                      <a:pos x="111" y="388"/>
                    </a:cxn>
                    <a:cxn ang="0">
                      <a:pos x="116" y="426"/>
                    </a:cxn>
                    <a:cxn ang="0">
                      <a:pos x="130" y="472"/>
                    </a:cxn>
                    <a:cxn ang="0">
                      <a:pos x="153" y="501"/>
                    </a:cxn>
                    <a:cxn ang="0">
                      <a:pos x="172" y="510"/>
                    </a:cxn>
                    <a:cxn ang="0">
                      <a:pos x="182" y="491"/>
                    </a:cxn>
                    <a:cxn ang="0">
                      <a:pos x="191" y="493"/>
                    </a:cxn>
                    <a:cxn ang="0">
                      <a:pos x="198" y="501"/>
                    </a:cxn>
                    <a:cxn ang="0">
                      <a:pos x="201" y="515"/>
                    </a:cxn>
                    <a:cxn ang="0">
                      <a:pos x="212" y="524"/>
                    </a:cxn>
                    <a:cxn ang="0">
                      <a:pos x="233" y="529"/>
                    </a:cxn>
                    <a:cxn ang="0">
                      <a:pos x="250" y="527"/>
                    </a:cxn>
                    <a:cxn ang="0">
                      <a:pos x="257" y="529"/>
                    </a:cxn>
                    <a:cxn ang="0">
                      <a:pos x="280" y="513"/>
                    </a:cxn>
                    <a:cxn ang="0">
                      <a:pos x="292" y="221"/>
                    </a:cxn>
                    <a:cxn ang="0">
                      <a:pos x="325" y="61"/>
                    </a:cxn>
                    <a:cxn ang="0">
                      <a:pos x="393" y="49"/>
                    </a:cxn>
                    <a:cxn ang="0">
                      <a:pos x="409" y="49"/>
                    </a:cxn>
                    <a:cxn ang="0">
                      <a:pos x="416" y="62"/>
                    </a:cxn>
                    <a:cxn ang="0">
                      <a:pos x="426" y="59"/>
                    </a:cxn>
                    <a:cxn ang="0">
                      <a:pos x="444" y="47"/>
                    </a:cxn>
                    <a:cxn ang="0">
                      <a:pos x="457" y="43"/>
                    </a:cxn>
                    <a:cxn ang="0">
                      <a:pos x="475" y="38"/>
                    </a:cxn>
                    <a:cxn ang="0">
                      <a:pos x="457" y="24"/>
                    </a:cxn>
                    <a:cxn ang="0">
                      <a:pos x="412" y="29"/>
                    </a:cxn>
                    <a:cxn ang="0">
                      <a:pos x="344" y="45"/>
                    </a:cxn>
                    <a:cxn ang="0">
                      <a:pos x="330" y="42"/>
                    </a:cxn>
                    <a:cxn ang="0">
                      <a:pos x="325" y="42"/>
                    </a:cxn>
                    <a:cxn ang="0">
                      <a:pos x="320" y="47"/>
                    </a:cxn>
                    <a:cxn ang="0">
                      <a:pos x="308" y="42"/>
                    </a:cxn>
                    <a:cxn ang="0">
                      <a:pos x="276" y="40"/>
                    </a:cxn>
                    <a:cxn ang="0">
                      <a:pos x="250" y="36"/>
                    </a:cxn>
                    <a:cxn ang="0">
                      <a:pos x="243" y="29"/>
                    </a:cxn>
                    <a:cxn ang="0">
                      <a:pos x="226" y="19"/>
                    </a:cxn>
                    <a:cxn ang="0">
                      <a:pos x="85" y="19"/>
                    </a:cxn>
                    <a:cxn ang="0">
                      <a:pos x="73" y="15"/>
                    </a:cxn>
                    <a:cxn ang="0">
                      <a:pos x="60" y="0"/>
                    </a:cxn>
                    <a:cxn ang="0">
                      <a:pos x="47" y="3"/>
                    </a:cxn>
                    <a:cxn ang="0">
                      <a:pos x="15" y="14"/>
                    </a:cxn>
                  </a:cxnLst>
                  <a:rect l="0" t="0" r="r" b="b"/>
                  <a:pathLst>
                    <a:path w="475" h="529">
                      <a:moveTo>
                        <a:pt x="1" y="14"/>
                      </a:moveTo>
                      <a:lnTo>
                        <a:pt x="1" y="14"/>
                      </a:lnTo>
                      <a:lnTo>
                        <a:pt x="0" y="22"/>
                      </a:lnTo>
                      <a:lnTo>
                        <a:pt x="1" y="29"/>
                      </a:lnTo>
                      <a:lnTo>
                        <a:pt x="5" y="47"/>
                      </a:lnTo>
                      <a:lnTo>
                        <a:pt x="12" y="62"/>
                      </a:lnTo>
                      <a:lnTo>
                        <a:pt x="20" y="82"/>
                      </a:lnTo>
                      <a:lnTo>
                        <a:pt x="41" y="120"/>
                      </a:lnTo>
                      <a:lnTo>
                        <a:pt x="50" y="143"/>
                      </a:lnTo>
                      <a:lnTo>
                        <a:pt x="57" y="169"/>
                      </a:lnTo>
                      <a:lnTo>
                        <a:pt x="57" y="169"/>
                      </a:lnTo>
                      <a:lnTo>
                        <a:pt x="64" y="190"/>
                      </a:lnTo>
                      <a:lnTo>
                        <a:pt x="73" y="205"/>
                      </a:lnTo>
                      <a:lnTo>
                        <a:pt x="80" y="214"/>
                      </a:lnTo>
                      <a:lnTo>
                        <a:pt x="88" y="223"/>
                      </a:lnTo>
                      <a:lnTo>
                        <a:pt x="94" y="231"/>
                      </a:lnTo>
                      <a:lnTo>
                        <a:pt x="97" y="242"/>
                      </a:lnTo>
                      <a:lnTo>
                        <a:pt x="97" y="259"/>
                      </a:lnTo>
                      <a:lnTo>
                        <a:pt x="95" y="285"/>
                      </a:lnTo>
                      <a:lnTo>
                        <a:pt x="95" y="285"/>
                      </a:lnTo>
                      <a:lnTo>
                        <a:pt x="94" y="298"/>
                      </a:lnTo>
                      <a:lnTo>
                        <a:pt x="95" y="313"/>
                      </a:lnTo>
                      <a:lnTo>
                        <a:pt x="102" y="348"/>
                      </a:lnTo>
                      <a:lnTo>
                        <a:pt x="111" y="388"/>
                      </a:lnTo>
                      <a:lnTo>
                        <a:pt x="114" y="407"/>
                      </a:lnTo>
                      <a:lnTo>
                        <a:pt x="116" y="426"/>
                      </a:lnTo>
                      <a:lnTo>
                        <a:pt x="116" y="426"/>
                      </a:lnTo>
                      <a:lnTo>
                        <a:pt x="120" y="444"/>
                      </a:lnTo>
                      <a:lnTo>
                        <a:pt x="123" y="459"/>
                      </a:lnTo>
                      <a:lnTo>
                        <a:pt x="130" y="472"/>
                      </a:lnTo>
                      <a:lnTo>
                        <a:pt x="137" y="484"/>
                      </a:lnTo>
                      <a:lnTo>
                        <a:pt x="146" y="493"/>
                      </a:lnTo>
                      <a:lnTo>
                        <a:pt x="153" y="501"/>
                      </a:lnTo>
                      <a:lnTo>
                        <a:pt x="167" y="513"/>
                      </a:lnTo>
                      <a:lnTo>
                        <a:pt x="167" y="513"/>
                      </a:lnTo>
                      <a:lnTo>
                        <a:pt x="172" y="510"/>
                      </a:lnTo>
                      <a:lnTo>
                        <a:pt x="177" y="505"/>
                      </a:lnTo>
                      <a:lnTo>
                        <a:pt x="181" y="496"/>
                      </a:lnTo>
                      <a:lnTo>
                        <a:pt x="182" y="491"/>
                      </a:lnTo>
                      <a:lnTo>
                        <a:pt x="184" y="489"/>
                      </a:lnTo>
                      <a:lnTo>
                        <a:pt x="188" y="489"/>
                      </a:lnTo>
                      <a:lnTo>
                        <a:pt x="191" y="493"/>
                      </a:lnTo>
                      <a:lnTo>
                        <a:pt x="191" y="493"/>
                      </a:lnTo>
                      <a:lnTo>
                        <a:pt x="196" y="496"/>
                      </a:lnTo>
                      <a:lnTo>
                        <a:pt x="198" y="501"/>
                      </a:lnTo>
                      <a:lnTo>
                        <a:pt x="200" y="508"/>
                      </a:lnTo>
                      <a:lnTo>
                        <a:pt x="200" y="512"/>
                      </a:lnTo>
                      <a:lnTo>
                        <a:pt x="201" y="515"/>
                      </a:lnTo>
                      <a:lnTo>
                        <a:pt x="205" y="520"/>
                      </a:lnTo>
                      <a:lnTo>
                        <a:pt x="212" y="524"/>
                      </a:lnTo>
                      <a:lnTo>
                        <a:pt x="212" y="524"/>
                      </a:lnTo>
                      <a:lnTo>
                        <a:pt x="221" y="527"/>
                      </a:lnTo>
                      <a:lnTo>
                        <a:pt x="228" y="529"/>
                      </a:lnTo>
                      <a:lnTo>
                        <a:pt x="233" y="529"/>
                      </a:lnTo>
                      <a:lnTo>
                        <a:pt x="240" y="529"/>
                      </a:lnTo>
                      <a:lnTo>
                        <a:pt x="247" y="527"/>
                      </a:lnTo>
                      <a:lnTo>
                        <a:pt x="250" y="527"/>
                      </a:lnTo>
                      <a:lnTo>
                        <a:pt x="254" y="527"/>
                      </a:lnTo>
                      <a:lnTo>
                        <a:pt x="254" y="527"/>
                      </a:lnTo>
                      <a:lnTo>
                        <a:pt x="257" y="529"/>
                      </a:lnTo>
                      <a:lnTo>
                        <a:pt x="261" y="527"/>
                      </a:lnTo>
                      <a:lnTo>
                        <a:pt x="269" y="522"/>
                      </a:lnTo>
                      <a:lnTo>
                        <a:pt x="280" y="513"/>
                      </a:lnTo>
                      <a:lnTo>
                        <a:pt x="285" y="510"/>
                      </a:lnTo>
                      <a:lnTo>
                        <a:pt x="292" y="508"/>
                      </a:lnTo>
                      <a:lnTo>
                        <a:pt x="292" y="221"/>
                      </a:lnTo>
                      <a:lnTo>
                        <a:pt x="325" y="221"/>
                      </a:lnTo>
                      <a:lnTo>
                        <a:pt x="325" y="61"/>
                      </a:lnTo>
                      <a:lnTo>
                        <a:pt x="325" y="61"/>
                      </a:lnTo>
                      <a:lnTo>
                        <a:pt x="377" y="52"/>
                      </a:lnTo>
                      <a:lnTo>
                        <a:pt x="377" y="52"/>
                      </a:lnTo>
                      <a:lnTo>
                        <a:pt x="393" y="49"/>
                      </a:lnTo>
                      <a:lnTo>
                        <a:pt x="403" y="47"/>
                      </a:lnTo>
                      <a:lnTo>
                        <a:pt x="405" y="47"/>
                      </a:lnTo>
                      <a:lnTo>
                        <a:pt x="409" y="49"/>
                      </a:lnTo>
                      <a:lnTo>
                        <a:pt x="414" y="57"/>
                      </a:lnTo>
                      <a:lnTo>
                        <a:pt x="414" y="57"/>
                      </a:lnTo>
                      <a:lnTo>
                        <a:pt x="416" y="62"/>
                      </a:lnTo>
                      <a:lnTo>
                        <a:pt x="419" y="62"/>
                      </a:lnTo>
                      <a:lnTo>
                        <a:pt x="423" y="62"/>
                      </a:lnTo>
                      <a:lnTo>
                        <a:pt x="426" y="59"/>
                      </a:lnTo>
                      <a:lnTo>
                        <a:pt x="435" y="52"/>
                      </a:lnTo>
                      <a:lnTo>
                        <a:pt x="438" y="49"/>
                      </a:lnTo>
                      <a:lnTo>
                        <a:pt x="444" y="47"/>
                      </a:lnTo>
                      <a:lnTo>
                        <a:pt x="444" y="47"/>
                      </a:lnTo>
                      <a:lnTo>
                        <a:pt x="450" y="47"/>
                      </a:lnTo>
                      <a:lnTo>
                        <a:pt x="457" y="43"/>
                      </a:lnTo>
                      <a:lnTo>
                        <a:pt x="464" y="40"/>
                      </a:lnTo>
                      <a:lnTo>
                        <a:pt x="475" y="38"/>
                      </a:lnTo>
                      <a:lnTo>
                        <a:pt x="475" y="38"/>
                      </a:lnTo>
                      <a:lnTo>
                        <a:pt x="470" y="31"/>
                      </a:lnTo>
                      <a:lnTo>
                        <a:pt x="464" y="26"/>
                      </a:lnTo>
                      <a:lnTo>
                        <a:pt x="457" y="24"/>
                      </a:lnTo>
                      <a:lnTo>
                        <a:pt x="450" y="24"/>
                      </a:lnTo>
                      <a:lnTo>
                        <a:pt x="433" y="26"/>
                      </a:lnTo>
                      <a:lnTo>
                        <a:pt x="412" y="29"/>
                      </a:lnTo>
                      <a:lnTo>
                        <a:pt x="412" y="29"/>
                      </a:lnTo>
                      <a:lnTo>
                        <a:pt x="344" y="45"/>
                      </a:lnTo>
                      <a:lnTo>
                        <a:pt x="344" y="45"/>
                      </a:lnTo>
                      <a:lnTo>
                        <a:pt x="341" y="45"/>
                      </a:lnTo>
                      <a:lnTo>
                        <a:pt x="336" y="45"/>
                      </a:lnTo>
                      <a:lnTo>
                        <a:pt x="330" y="42"/>
                      </a:lnTo>
                      <a:lnTo>
                        <a:pt x="327" y="40"/>
                      </a:lnTo>
                      <a:lnTo>
                        <a:pt x="325" y="40"/>
                      </a:lnTo>
                      <a:lnTo>
                        <a:pt x="325" y="42"/>
                      </a:lnTo>
                      <a:lnTo>
                        <a:pt x="325" y="42"/>
                      </a:lnTo>
                      <a:lnTo>
                        <a:pt x="323" y="45"/>
                      </a:lnTo>
                      <a:lnTo>
                        <a:pt x="320" y="47"/>
                      </a:lnTo>
                      <a:lnTo>
                        <a:pt x="316" y="45"/>
                      </a:lnTo>
                      <a:lnTo>
                        <a:pt x="308" y="42"/>
                      </a:lnTo>
                      <a:lnTo>
                        <a:pt x="308" y="42"/>
                      </a:lnTo>
                      <a:lnTo>
                        <a:pt x="302" y="40"/>
                      </a:lnTo>
                      <a:lnTo>
                        <a:pt x="296" y="38"/>
                      </a:lnTo>
                      <a:lnTo>
                        <a:pt x="276" y="40"/>
                      </a:lnTo>
                      <a:lnTo>
                        <a:pt x="266" y="42"/>
                      </a:lnTo>
                      <a:lnTo>
                        <a:pt x="257" y="40"/>
                      </a:lnTo>
                      <a:lnTo>
                        <a:pt x="250" y="36"/>
                      </a:lnTo>
                      <a:lnTo>
                        <a:pt x="247" y="33"/>
                      </a:lnTo>
                      <a:lnTo>
                        <a:pt x="243" y="29"/>
                      </a:lnTo>
                      <a:lnTo>
                        <a:pt x="243" y="29"/>
                      </a:lnTo>
                      <a:lnTo>
                        <a:pt x="240" y="22"/>
                      </a:lnTo>
                      <a:lnTo>
                        <a:pt x="235" y="19"/>
                      </a:lnTo>
                      <a:lnTo>
                        <a:pt x="226" y="19"/>
                      </a:lnTo>
                      <a:lnTo>
                        <a:pt x="212" y="19"/>
                      </a:lnTo>
                      <a:lnTo>
                        <a:pt x="212" y="19"/>
                      </a:lnTo>
                      <a:lnTo>
                        <a:pt x="85" y="19"/>
                      </a:lnTo>
                      <a:lnTo>
                        <a:pt x="85" y="19"/>
                      </a:lnTo>
                      <a:lnTo>
                        <a:pt x="78" y="19"/>
                      </a:lnTo>
                      <a:lnTo>
                        <a:pt x="73" y="15"/>
                      </a:lnTo>
                      <a:lnTo>
                        <a:pt x="67" y="7"/>
                      </a:lnTo>
                      <a:lnTo>
                        <a:pt x="64" y="3"/>
                      </a:lnTo>
                      <a:lnTo>
                        <a:pt x="60" y="0"/>
                      </a:lnTo>
                      <a:lnTo>
                        <a:pt x="55" y="0"/>
                      </a:lnTo>
                      <a:lnTo>
                        <a:pt x="47" y="3"/>
                      </a:lnTo>
                      <a:lnTo>
                        <a:pt x="47" y="3"/>
                      </a:lnTo>
                      <a:lnTo>
                        <a:pt x="34" y="10"/>
                      </a:lnTo>
                      <a:lnTo>
                        <a:pt x="26" y="14"/>
                      </a:lnTo>
                      <a:lnTo>
                        <a:pt x="15" y="14"/>
                      </a:lnTo>
                      <a:lnTo>
                        <a:pt x="1" y="14"/>
                      </a:lnTo>
                      <a:lnTo>
                        <a:pt x="1"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9" name="Freeform 1758">
                  <a:extLst>
                    <a:ext uri="{FF2B5EF4-FFF2-40B4-BE49-F238E27FC236}">
                      <a16:creationId xmlns:a16="http://schemas.microsoft.com/office/drawing/2014/main" id="{19BB73D7-0855-8F66-638E-886D2221ACD4}"/>
                    </a:ext>
                  </a:extLst>
                </p:cNvPr>
                <p:cNvSpPr>
                  <a:spLocks/>
                </p:cNvSpPr>
                <p:nvPr/>
              </p:nvSpPr>
              <p:spPr bwMode="auto">
                <a:xfrm>
                  <a:off x="5285343" y="5124951"/>
                  <a:ext cx="262540" cy="320684"/>
                </a:xfrm>
                <a:custGeom>
                  <a:avLst/>
                  <a:gdLst/>
                  <a:ahLst/>
                  <a:cxnLst>
                    <a:cxn ang="0">
                      <a:pos x="183" y="0"/>
                    </a:cxn>
                    <a:cxn ang="0">
                      <a:pos x="165" y="5"/>
                    </a:cxn>
                    <a:cxn ang="0">
                      <a:pos x="152" y="9"/>
                    </a:cxn>
                    <a:cxn ang="0">
                      <a:pos x="146" y="11"/>
                    </a:cxn>
                    <a:cxn ang="0">
                      <a:pos x="134" y="21"/>
                    </a:cxn>
                    <a:cxn ang="0">
                      <a:pos x="127" y="24"/>
                    </a:cxn>
                    <a:cxn ang="0">
                      <a:pos x="122" y="19"/>
                    </a:cxn>
                    <a:cxn ang="0">
                      <a:pos x="117" y="11"/>
                    </a:cxn>
                    <a:cxn ang="0">
                      <a:pos x="111" y="9"/>
                    </a:cxn>
                    <a:cxn ang="0">
                      <a:pos x="85" y="14"/>
                    </a:cxn>
                    <a:cxn ang="0">
                      <a:pos x="33" y="23"/>
                    </a:cxn>
                    <a:cxn ang="0">
                      <a:pos x="0" y="183"/>
                    </a:cxn>
                    <a:cxn ang="0">
                      <a:pos x="0" y="305"/>
                    </a:cxn>
                    <a:cxn ang="0">
                      <a:pos x="10" y="320"/>
                    </a:cxn>
                    <a:cxn ang="0">
                      <a:pos x="26" y="360"/>
                    </a:cxn>
                    <a:cxn ang="0">
                      <a:pos x="24" y="371"/>
                    </a:cxn>
                    <a:cxn ang="0">
                      <a:pos x="21" y="380"/>
                    </a:cxn>
                    <a:cxn ang="0">
                      <a:pos x="21" y="392"/>
                    </a:cxn>
                    <a:cxn ang="0">
                      <a:pos x="24" y="397"/>
                    </a:cxn>
                    <a:cxn ang="0">
                      <a:pos x="28" y="399"/>
                    </a:cxn>
                    <a:cxn ang="0">
                      <a:pos x="49" y="401"/>
                    </a:cxn>
                    <a:cxn ang="0">
                      <a:pos x="61" y="397"/>
                    </a:cxn>
                    <a:cxn ang="0">
                      <a:pos x="77" y="381"/>
                    </a:cxn>
                    <a:cxn ang="0">
                      <a:pos x="84" y="371"/>
                    </a:cxn>
                    <a:cxn ang="0">
                      <a:pos x="92" y="347"/>
                    </a:cxn>
                    <a:cxn ang="0">
                      <a:pos x="103" y="331"/>
                    </a:cxn>
                    <a:cxn ang="0">
                      <a:pos x="110" y="327"/>
                    </a:cxn>
                    <a:cxn ang="0">
                      <a:pos x="122" y="329"/>
                    </a:cxn>
                    <a:cxn ang="0">
                      <a:pos x="138" y="338"/>
                    </a:cxn>
                    <a:cxn ang="0">
                      <a:pos x="167" y="350"/>
                    </a:cxn>
                    <a:cxn ang="0">
                      <a:pos x="185" y="348"/>
                    </a:cxn>
                    <a:cxn ang="0">
                      <a:pos x="195" y="336"/>
                    </a:cxn>
                    <a:cxn ang="0">
                      <a:pos x="202" y="319"/>
                    </a:cxn>
                    <a:cxn ang="0">
                      <a:pos x="212" y="305"/>
                    </a:cxn>
                    <a:cxn ang="0">
                      <a:pos x="230" y="291"/>
                    </a:cxn>
                    <a:cxn ang="0">
                      <a:pos x="239" y="279"/>
                    </a:cxn>
                    <a:cxn ang="0">
                      <a:pos x="242" y="268"/>
                    </a:cxn>
                    <a:cxn ang="0">
                      <a:pos x="249" y="251"/>
                    </a:cxn>
                    <a:cxn ang="0">
                      <a:pos x="261" y="242"/>
                    </a:cxn>
                    <a:cxn ang="0">
                      <a:pos x="277" y="230"/>
                    </a:cxn>
                    <a:cxn ang="0">
                      <a:pos x="280" y="223"/>
                    </a:cxn>
                    <a:cxn ang="0">
                      <a:pos x="287" y="213"/>
                    </a:cxn>
                    <a:cxn ang="0">
                      <a:pos x="298" y="206"/>
                    </a:cxn>
                    <a:cxn ang="0">
                      <a:pos x="319" y="197"/>
                    </a:cxn>
                    <a:cxn ang="0">
                      <a:pos x="326" y="190"/>
                    </a:cxn>
                    <a:cxn ang="0">
                      <a:pos x="313" y="174"/>
                    </a:cxn>
                    <a:cxn ang="0">
                      <a:pos x="294" y="167"/>
                    </a:cxn>
                    <a:cxn ang="0">
                      <a:pos x="287" y="165"/>
                    </a:cxn>
                    <a:cxn ang="0">
                      <a:pos x="279" y="157"/>
                    </a:cxn>
                    <a:cxn ang="0">
                      <a:pos x="272" y="146"/>
                    </a:cxn>
                    <a:cxn ang="0">
                      <a:pos x="270" y="132"/>
                    </a:cxn>
                    <a:cxn ang="0">
                      <a:pos x="270" y="125"/>
                    </a:cxn>
                    <a:cxn ang="0">
                      <a:pos x="268" y="117"/>
                    </a:cxn>
                    <a:cxn ang="0">
                      <a:pos x="263" y="115"/>
                    </a:cxn>
                    <a:cxn ang="0">
                      <a:pos x="256" y="112"/>
                    </a:cxn>
                    <a:cxn ang="0">
                      <a:pos x="254" y="108"/>
                    </a:cxn>
                    <a:cxn ang="0">
                      <a:pos x="249" y="99"/>
                    </a:cxn>
                    <a:cxn ang="0">
                      <a:pos x="228" y="85"/>
                    </a:cxn>
                    <a:cxn ang="0">
                      <a:pos x="214" y="71"/>
                    </a:cxn>
                    <a:cxn ang="0">
                      <a:pos x="211" y="61"/>
                    </a:cxn>
                    <a:cxn ang="0">
                      <a:pos x="205" y="49"/>
                    </a:cxn>
                    <a:cxn ang="0">
                      <a:pos x="190" y="21"/>
                    </a:cxn>
                    <a:cxn ang="0">
                      <a:pos x="183" y="0"/>
                    </a:cxn>
                  </a:cxnLst>
                  <a:rect l="0" t="0" r="r" b="b"/>
                  <a:pathLst>
                    <a:path w="326" h="401">
                      <a:moveTo>
                        <a:pt x="183" y="0"/>
                      </a:moveTo>
                      <a:lnTo>
                        <a:pt x="183" y="0"/>
                      </a:lnTo>
                      <a:lnTo>
                        <a:pt x="172" y="2"/>
                      </a:lnTo>
                      <a:lnTo>
                        <a:pt x="165" y="5"/>
                      </a:lnTo>
                      <a:lnTo>
                        <a:pt x="158" y="9"/>
                      </a:lnTo>
                      <a:lnTo>
                        <a:pt x="152" y="9"/>
                      </a:lnTo>
                      <a:lnTo>
                        <a:pt x="152" y="9"/>
                      </a:lnTo>
                      <a:lnTo>
                        <a:pt x="146" y="11"/>
                      </a:lnTo>
                      <a:lnTo>
                        <a:pt x="143" y="14"/>
                      </a:lnTo>
                      <a:lnTo>
                        <a:pt x="134" y="21"/>
                      </a:lnTo>
                      <a:lnTo>
                        <a:pt x="131" y="24"/>
                      </a:lnTo>
                      <a:lnTo>
                        <a:pt x="127" y="24"/>
                      </a:lnTo>
                      <a:lnTo>
                        <a:pt x="124" y="24"/>
                      </a:lnTo>
                      <a:lnTo>
                        <a:pt x="122" y="19"/>
                      </a:lnTo>
                      <a:lnTo>
                        <a:pt x="122" y="19"/>
                      </a:lnTo>
                      <a:lnTo>
                        <a:pt x="117" y="11"/>
                      </a:lnTo>
                      <a:lnTo>
                        <a:pt x="113" y="9"/>
                      </a:lnTo>
                      <a:lnTo>
                        <a:pt x="111" y="9"/>
                      </a:lnTo>
                      <a:lnTo>
                        <a:pt x="101" y="11"/>
                      </a:lnTo>
                      <a:lnTo>
                        <a:pt x="85" y="14"/>
                      </a:lnTo>
                      <a:lnTo>
                        <a:pt x="85" y="14"/>
                      </a:lnTo>
                      <a:lnTo>
                        <a:pt x="33" y="23"/>
                      </a:lnTo>
                      <a:lnTo>
                        <a:pt x="33" y="183"/>
                      </a:lnTo>
                      <a:lnTo>
                        <a:pt x="0" y="183"/>
                      </a:lnTo>
                      <a:lnTo>
                        <a:pt x="0" y="305"/>
                      </a:lnTo>
                      <a:lnTo>
                        <a:pt x="0" y="305"/>
                      </a:lnTo>
                      <a:lnTo>
                        <a:pt x="5" y="312"/>
                      </a:lnTo>
                      <a:lnTo>
                        <a:pt x="10" y="320"/>
                      </a:lnTo>
                      <a:lnTo>
                        <a:pt x="21" y="341"/>
                      </a:lnTo>
                      <a:lnTo>
                        <a:pt x="26" y="360"/>
                      </a:lnTo>
                      <a:lnTo>
                        <a:pt x="26" y="367"/>
                      </a:lnTo>
                      <a:lnTo>
                        <a:pt x="24" y="371"/>
                      </a:lnTo>
                      <a:lnTo>
                        <a:pt x="24" y="371"/>
                      </a:lnTo>
                      <a:lnTo>
                        <a:pt x="21" y="380"/>
                      </a:lnTo>
                      <a:lnTo>
                        <a:pt x="19" y="388"/>
                      </a:lnTo>
                      <a:lnTo>
                        <a:pt x="21" y="392"/>
                      </a:lnTo>
                      <a:lnTo>
                        <a:pt x="23" y="395"/>
                      </a:lnTo>
                      <a:lnTo>
                        <a:pt x="24" y="397"/>
                      </a:lnTo>
                      <a:lnTo>
                        <a:pt x="28" y="399"/>
                      </a:lnTo>
                      <a:lnTo>
                        <a:pt x="28" y="399"/>
                      </a:lnTo>
                      <a:lnTo>
                        <a:pt x="38" y="399"/>
                      </a:lnTo>
                      <a:lnTo>
                        <a:pt x="49" y="401"/>
                      </a:lnTo>
                      <a:lnTo>
                        <a:pt x="54" y="399"/>
                      </a:lnTo>
                      <a:lnTo>
                        <a:pt x="61" y="397"/>
                      </a:lnTo>
                      <a:lnTo>
                        <a:pt x="68" y="390"/>
                      </a:lnTo>
                      <a:lnTo>
                        <a:pt x="77" y="381"/>
                      </a:lnTo>
                      <a:lnTo>
                        <a:pt x="77" y="381"/>
                      </a:lnTo>
                      <a:lnTo>
                        <a:pt x="84" y="371"/>
                      </a:lnTo>
                      <a:lnTo>
                        <a:pt x="89" y="359"/>
                      </a:lnTo>
                      <a:lnTo>
                        <a:pt x="92" y="347"/>
                      </a:lnTo>
                      <a:lnTo>
                        <a:pt x="98" y="338"/>
                      </a:lnTo>
                      <a:lnTo>
                        <a:pt x="103" y="331"/>
                      </a:lnTo>
                      <a:lnTo>
                        <a:pt x="106" y="329"/>
                      </a:lnTo>
                      <a:lnTo>
                        <a:pt x="110" y="327"/>
                      </a:lnTo>
                      <a:lnTo>
                        <a:pt x="115" y="327"/>
                      </a:lnTo>
                      <a:lnTo>
                        <a:pt x="122" y="329"/>
                      </a:lnTo>
                      <a:lnTo>
                        <a:pt x="138" y="338"/>
                      </a:lnTo>
                      <a:lnTo>
                        <a:pt x="138" y="338"/>
                      </a:lnTo>
                      <a:lnTo>
                        <a:pt x="153" y="347"/>
                      </a:lnTo>
                      <a:lnTo>
                        <a:pt x="167" y="350"/>
                      </a:lnTo>
                      <a:lnTo>
                        <a:pt x="178" y="352"/>
                      </a:lnTo>
                      <a:lnTo>
                        <a:pt x="185" y="348"/>
                      </a:lnTo>
                      <a:lnTo>
                        <a:pt x="192" y="343"/>
                      </a:lnTo>
                      <a:lnTo>
                        <a:pt x="195" y="336"/>
                      </a:lnTo>
                      <a:lnTo>
                        <a:pt x="202" y="319"/>
                      </a:lnTo>
                      <a:lnTo>
                        <a:pt x="202" y="319"/>
                      </a:lnTo>
                      <a:lnTo>
                        <a:pt x="207" y="310"/>
                      </a:lnTo>
                      <a:lnTo>
                        <a:pt x="212" y="305"/>
                      </a:lnTo>
                      <a:lnTo>
                        <a:pt x="223" y="296"/>
                      </a:lnTo>
                      <a:lnTo>
                        <a:pt x="230" y="291"/>
                      </a:lnTo>
                      <a:lnTo>
                        <a:pt x="235" y="286"/>
                      </a:lnTo>
                      <a:lnTo>
                        <a:pt x="239" y="279"/>
                      </a:lnTo>
                      <a:lnTo>
                        <a:pt x="242" y="268"/>
                      </a:lnTo>
                      <a:lnTo>
                        <a:pt x="242" y="268"/>
                      </a:lnTo>
                      <a:lnTo>
                        <a:pt x="246" y="258"/>
                      </a:lnTo>
                      <a:lnTo>
                        <a:pt x="249" y="251"/>
                      </a:lnTo>
                      <a:lnTo>
                        <a:pt x="254" y="246"/>
                      </a:lnTo>
                      <a:lnTo>
                        <a:pt x="261" y="242"/>
                      </a:lnTo>
                      <a:lnTo>
                        <a:pt x="272" y="235"/>
                      </a:lnTo>
                      <a:lnTo>
                        <a:pt x="277" y="230"/>
                      </a:lnTo>
                      <a:lnTo>
                        <a:pt x="280" y="223"/>
                      </a:lnTo>
                      <a:lnTo>
                        <a:pt x="280" y="223"/>
                      </a:lnTo>
                      <a:lnTo>
                        <a:pt x="284" y="216"/>
                      </a:lnTo>
                      <a:lnTo>
                        <a:pt x="287" y="213"/>
                      </a:lnTo>
                      <a:lnTo>
                        <a:pt x="293" y="209"/>
                      </a:lnTo>
                      <a:lnTo>
                        <a:pt x="298" y="206"/>
                      </a:lnTo>
                      <a:lnTo>
                        <a:pt x="312" y="200"/>
                      </a:lnTo>
                      <a:lnTo>
                        <a:pt x="319" y="197"/>
                      </a:lnTo>
                      <a:lnTo>
                        <a:pt x="326" y="190"/>
                      </a:lnTo>
                      <a:lnTo>
                        <a:pt x="326" y="190"/>
                      </a:lnTo>
                      <a:lnTo>
                        <a:pt x="320" y="179"/>
                      </a:lnTo>
                      <a:lnTo>
                        <a:pt x="313" y="174"/>
                      </a:lnTo>
                      <a:lnTo>
                        <a:pt x="306" y="171"/>
                      </a:lnTo>
                      <a:lnTo>
                        <a:pt x="294" y="167"/>
                      </a:lnTo>
                      <a:lnTo>
                        <a:pt x="294" y="167"/>
                      </a:lnTo>
                      <a:lnTo>
                        <a:pt x="287" y="165"/>
                      </a:lnTo>
                      <a:lnTo>
                        <a:pt x="282" y="160"/>
                      </a:lnTo>
                      <a:lnTo>
                        <a:pt x="279" y="157"/>
                      </a:lnTo>
                      <a:lnTo>
                        <a:pt x="273" y="152"/>
                      </a:lnTo>
                      <a:lnTo>
                        <a:pt x="272" y="146"/>
                      </a:lnTo>
                      <a:lnTo>
                        <a:pt x="270" y="139"/>
                      </a:lnTo>
                      <a:lnTo>
                        <a:pt x="270" y="132"/>
                      </a:lnTo>
                      <a:lnTo>
                        <a:pt x="270" y="125"/>
                      </a:lnTo>
                      <a:lnTo>
                        <a:pt x="270" y="125"/>
                      </a:lnTo>
                      <a:lnTo>
                        <a:pt x="270" y="120"/>
                      </a:lnTo>
                      <a:lnTo>
                        <a:pt x="268" y="117"/>
                      </a:lnTo>
                      <a:lnTo>
                        <a:pt x="266" y="115"/>
                      </a:lnTo>
                      <a:lnTo>
                        <a:pt x="263" y="115"/>
                      </a:lnTo>
                      <a:lnTo>
                        <a:pt x="258" y="113"/>
                      </a:lnTo>
                      <a:lnTo>
                        <a:pt x="256" y="112"/>
                      </a:lnTo>
                      <a:lnTo>
                        <a:pt x="254" y="108"/>
                      </a:lnTo>
                      <a:lnTo>
                        <a:pt x="254" y="108"/>
                      </a:lnTo>
                      <a:lnTo>
                        <a:pt x="254" y="103"/>
                      </a:lnTo>
                      <a:lnTo>
                        <a:pt x="249" y="99"/>
                      </a:lnTo>
                      <a:lnTo>
                        <a:pt x="235" y="91"/>
                      </a:lnTo>
                      <a:lnTo>
                        <a:pt x="228" y="85"/>
                      </a:lnTo>
                      <a:lnTo>
                        <a:pt x="219" y="80"/>
                      </a:lnTo>
                      <a:lnTo>
                        <a:pt x="214" y="71"/>
                      </a:lnTo>
                      <a:lnTo>
                        <a:pt x="211" y="61"/>
                      </a:lnTo>
                      <a:lnTo>
                        <a:pt x="211" y="61"/>
                      </a:lnTo>
                      <a:lnTo>
                        <a:pt x="209" y="54"/>
                      </a:lnTo>
                      <a:lnTo>
                        <a:pt x="205" y="49"/>
                      </a:lnTo>
                      <a:lnTo>
                        <a:pt x="199" y="37"/>
                      </a:lnTo>
                      <a:lnTo>
                        <a:pt x="190" y="21"/>
                      </a:lnTo>
                      <a:lnTo>
                        <a:pt x="186" y="11"/>
                      </a:lnTo>
                      <a:lnTo>
                        <a:pt x="183" y="0"/>
                      </a:lnTo>
                      <a:lnTo>
                        <a:pt x="18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0" name="Freeform 1759">
                  <a:extLst>
                    <a:ext uri="{FF2B5EF4-FFF2-40B4-BE49-F238E27FC236}">
                      <a16:creationId xmlns:a16="http://schemas.microsoft.com/office/drawing/2014/main" id="{DFDAF011-967D-824D-DD19-C34CD8BFBA1F}"/>
                    </a:ext>
                  </a:extLst>
                </p:cNvPr>
                <p:cNvSpPr>
                  <a:spLocks/>
                </p:cNvSpPr>
                <p:nvPr/>
              </p:nvSpPr>
              <p:spPr bwMode="auto">
                <a:xfrm>
                  <a:off x="5184911" y="5278243"/>
                  <a:ext cx="463406" cy="456358"/>
                </a:xfrm>
                <a:custGeom>
                  <a:avLst/>
                  <a:gdLst/>
                  <a:ahLst/>
                  <a:cxnLst>
                    <a:cxn ang="0">
                      <a:pos x="477" y="3"/>
                    </a:cxn>
                    <a:cxn ang="0">
                      <a:pos x="503" y="7"/>
                    </a:cxn>
                    <a:cxn ang="0">
                      <a:pos x="531" y="45"/>
                    </a:cxn>
                    <a:cxn ang="0">
                      <a:pos x="543" y="169"/>
                    </a:cxn>
                    <a:cxn ang="0">
                      <a:pos x="517" y="160"/>
                    </a:cxn>
                    <a:cxn ang="0">
                      <a:pos x="503" y="195"/>
                    </a:cxn>
                    <a:cxn ang="0">
                      <a:pos x="524" y="228"/>
                    </a:cxn>
                    <a:cxn ang="0">
                      <a:pos x="543" y="226"/>
                    </a:cxn>
                    <a:cxn ang="0">
                      <a:pos x="550" y="207"/>
                    </a:cxn>
                    <a:cxn ang="0">
                      <a:pos x="560" y="278"/>
                    </a:cxn>
                    <a:cxn ang="0">
                      <a:pos x="508" y="348"/>
                    </a:cxn>
                    <a:cxn ang="0">
                      <a:pos x="473" y="409"/>
                    </a:cxn>
                    <a:cxn ang="0">
                      <a:pos x="438" y="451"/>
                    </a:cxn>
                    <a:cxn ang="0">
                      <a:pos x="369" y="513"/>
                    </a:cxn>
                    <a:cxn ang="0">
                      <a:pos x="330" y="520"/>
                    </a:cxn>
                    <a:cxn ang="0">
                      <a:pos x="324" y="533"/>
                    </a:cxn>
                    <a:cxn ang="0">
                      <a:pos x="299" y="533"/>
                    </a:cxn>
                    <a:cxn ang="0">
                      <a:pos x="278" y="541"/>
                    </a:cxn>
                    <a:cxn ang="0">
                      <a:pos x="247" y="534"/>
                    </a:cxn>
                    <a:cxn ang="0">
                      <a:pos x="209" y="533"/>
                    </a:cxn>
                    <a:cxn ang="0">
                      <a:pos x="193" y="545"/>
                    </a:cxn>
                    <a:cxn ang="0">
                      <a:pos x="165" y="554"/>
                    </a:cxn>
                    <a:cxn ang="0">
                      <a:pos x="139" y="557"/>
                    </a:cxn>
                    <a:cxn ang="0">
                      <a:pos x="125" y="569"/>
                    </a:cxn>
                    <a:cxn ang="0">
                      <a:pos x="109" y="567"/>
                    </a:cxn>
                    <a:cxn ang="0">
                      <a:pos x="99" y="557"/>
                    </a:cxn>
                    <a:cxn ang="0">
                      <a:pos x="85" y="550"/>
                    </a:cxn>
                    <a:cxn ang="0">
                      <a:pos x="81" y="538"/>
                    </a:cxn>
                    <a:cxn ang="0">
                      <a:pos x="71" y="541"/>
                    </a:cxn>
                    <a:cxn ang="0">
                      <a:pos x="66" y="543"/>
                    </a:cxn>
                    <a:cxn ang="0">
                      <a:pos x="69" y="524"/>
                    </a:cxn>
                    <a:cxn ang="0">
                      <a:pos x="52" y="493"/>
                    </a:cxn>
                    <a:cxn ang="0">
                      <a:pos x="52" y="473"/>
                    </a:cxn>
                    <a:cxn ang="0">
                      <a:pos x="62" y="473"/>
                    </a:cxn>
                    <a:cxn ang="0">
                      <a:pos x="59" y="421"/>
                    </a:cxn>
                    <a:cxn ang="0">
                      <a:pos x="24" y="350"/>
                    </a:cxn>
                    <a:cxn ang="0">
                      <a:pos x="0" y="285"/>
                    </a:cxn>
                    <a:cxn ang="0">
                      <a:pos x="15" y="263"/>
                    </a:cxn>
                    <a:cxn ang="0">
                      <a:pos x="29" y="268"/>
                    </a:cxn>
                    <a:cxn ang="0">
                      <a:pos x="38" y="292"/>
                    </a:cxn>
                    <a:cxn ang="0">
                      <a:pos x="66" y="301"/>
                    </a:cxn>
                    <a:cxn ang="0">
                      <a:pos x="87" y="299"/>
                    </a:cxn>
                    <a:cxn ang="0">
                      <a:pos x="118" y="282"/>
                    </a:cxn>
                    <a:cxn ang="0">
                      <a:pos x="135" y="130"/>
                    </a:cxn>
                    <a:cxn ang="0">
                      <a:pos x="149" y="181"/>
                    </a:cxn>
                    <a:cxn ang="0">
                      <a:pos x="149" y="207"/>
                    </a:cxn>
                    <a:cxn ang="0">
                      <a:pos x="179" y="209"/>
                    </a:cxn>
                    <a:cxn ang="0">
                      <a:pos x="209" y="181"/>
                    </a:cxn>
                    <a:cxn ang="0">
                      <a:pos x="231" y="139"/>
                    </a:cxn>
                    <a:cxn ang="0">
                      <a:pos x="263" y="148"/>
                    </a:cxn>
                    <a:cxn ang="0">
                      <a:pos x="317" y="153"/>
                    </a:cxn>
                    <a:cxn ang="0">
                      <a:pos x="337" y="115"/>
                    </a:cxn>
                    <a:cxn ang="0">
                      <a:pos x="367" y="78"/>
                    </a:cxn>
                    <a:cxn ang="0">
                      <a:pos x="386" y="52"/>
                    </a:cxn>
                    <a:cxn ang="0">
                      <a:pos x="409" y="26"/>
                    </a:cxn>
                    <a:cxn ang="0">
                      <a:pos x="444" y="7"/>
                    </a:cxn>
                  </a:cxnLst>
                  <a:rect l="0" t="0" r="r" b="b"/>
                  <a:pathLst>
                    <a:path w="578" h="569">
                      <a:moveTo>
                        <a:pt x="451" y="0"/>
                      </a:moveTo>
                      <a:lnTo>
                        <a:pt x="451" y="0"/>
                      </a:lnTo>
                      <a:lnTo>
                        <a:pt x="458" y="0"/>
                      </a:lnTo>
                      <a:lnTo>
                        <a:pt x="465" y="2"/>
                      </a:lnTo>
                      <a:lnTo>
                        <a:pt x="477" y="3"/>
                      </a:lnTo>
                      <a:lnTo>
                        <a:pt x="485" y="7"/>
                      </a:lnTo>
                      <a:lnTo>
                        <a:pt x="491" y="7"/>
                      </a:lnTo>
                      <a:lnTo>
                        <a:pt x="496" y="7"/>
                      </a:lnTo>
                      <a:lnTo>
                        <a:pt x="496" y="7"/>
                      </a:lnTo>
                      <a:lnTo>
                        <a:pt x="503" y="7"/>
                      </a:lnTo>
                      <a:lnTo>
                        <a:pt x="510" y="7"/>
                      </a:lnTo>
                      <a:lnTo>
                        <a:pt x="515" y="9"/>
                      </a:lnTo>
                      <a:lnTo>
                        <a:pt x="520" y="10"/>
                      </a:lnTo>
                      <a:lnTo>
                        <a:pt x="520" y="10"/>
                      </a:lnTo>
                      <a:lnTo>
                        <a:pt x="531" y="45"/>
                      </a:lnTo>
                      <a:lnTo>
                        <a:pt x="539" y="89"/>
                      </a:lnTo>
                      <a:lnTo>
                        <a:pt x="543" y="111"/>
                      </a:lnTo>
                      <a:lnTo>
                        <a:pt x="546" y="132"/>
                      </a:lnTo>
                      <a:lnTo>
                        <a:pt x="546" y="151"/>
                      </a:lnTo>
                      <a:lnTo>
                        <a:pt x="543" y="169"/>
                      </a:lnTo>
                      <a:lnTo>
                        <a:pt x="543" y="169"/>
                      </a:lnTo>
                      <a:lnTo>
                        <a:pt x="534" y="162"/>
                      </a:lnTo>
                      <a:lnTo>
                        <a:pt x="527" y="160"/>
                      </a:lnTo>
                      <a:lnTo>
                        <a:pt x="522" y="158"/>
                      </a:lnTo>
                      <a:lnTo>
                        <a:pt x="517" y="160"/>
                      </a:lnTo>
                      <a:lnTo>
                        <a:pt x="513" y="165"/>
                      </a:lnTo>
                      <a:lnTo>
                        <a:pt x="512" y="170"/>
                      </a:lnTo>
                      <a:lnTo>
                        <a:pt x="505" y="186"/>
                      </a:lnTo>
                      <a:lnTo>
                        <a:pt x="505" y="186"/>
                      </a:lnTo>
                      <a:lnTo>
                        <a:pt x="503" y="195"/>
                      </a:lnTo>
                      <a:lnTo>
                        <a:pt x="505" y="204"/>
                      </a:lnTo>
                      <a:lnTo>
                        <a:pt x="508" y="212"/>
                      </a:lnTo>
                      <a:lnTo>
                        <a:pt x="512" y="218"/>
                      </a:lnTo>
                      <a:lnTo>
                        <a:pt x="519" y="224"/>
                      </a:lnTo>
                      <a:lnTo>
                        <a:pt x="524" y="228"/>
                      </a:lnTo>
                      <a:lnTo>
                        <a:pt x="531" y="230"/>
                      </a:lnTo>
                      <a:lnTo>
                        <a:pt x="536" y="230"/>
                      </a:lnTo>
                      <a:lnTo>
                        <a:pt x="536" y="230"/>
                      </a:lnTo>
                      <a:lnTo>
                        <a:pt x="541" y="228"/>
                      </a:lnTo>
                      <a:lnTo>
                        <a:pt x="543" y="226"/>
                      </a:lnTo>
                      <a:lnTo>
                        <a:pt x="545" y="223"/>
                      </a:lnTo>
                      <a:lnTo>
                        <a:pt x="545" y="218"/>
                      </a:lnTo>
                      <a:lnTo>
                        <a:pt x="545" y="211"/>
                      </a:lnTo>
                      <a:lnTo>
                        <a:pt x="546" y="207"/>
                      </a:lnTo>
                      <a:lnTo>
                        <a:pt x="550" y="207"/>
                      </a:lnTo>
                      <a:lnTo>
                        <a:pt x="578" y="207"/>
                      </a:lnTo>
                      <a:lnTo>
                        <a:pt x="578" y="207"/>
                      </a:lnTo>
                      <a:lnTo>
                        <a:pt x="573" y="242"/>
                      </a:lnTo>
                      <a:lnTo>
                        <a:pt x="566" y="265"/>
                      </a:lnTo>
                      <a:lnTo>
                        <a:pt x="560" y="278"/>
                      </a:lnTo>
                      <a:lnTo>
                        <a:pt x="552" y="289"/>
                      </a:lnTo>
                      <a:lnTo>
                        <a:pt x="543" y="296"/>
                      </a:lnTo>
                      <a:lnTo>
                        <a:pt x="532" y="306"/>
                      </a:lnTo>
                      <a:lnTo>
                        <a:pt x="522" y="322"/>
                      </a:lnTo>
                      <a:lnTo>
                        <a:pt x="508" y="348"/>
                      </a:lnTo>
                      <a:lnTo>
                        <a:pt x="508" y="348"/>
                      </a:lnTo>
                      <a:lnTo>
                        <a:pt x="498" y="371"/>
                      </a:lnTo>
                      <a:lnTo>
                        <a:pt x="489" y="388"/>
                      </a:lnTo>
                      <a:lnTo>
                        <a:pt x="480" y="400"/>
                      </a:lnTo>
                      <a:lnTo>
                        <a:pt x="473" y="409"/>
                      </a:lnTo>
                      <a:lnTo>
                        <a:pt x="461" y="419"/>
                      </a:lnTo>
                      <a:lnTo>
                        <a:pt x="456" y="426"/>
                      </a:lnTo>
                      <a:lnTo>
                        <a:pt x="449" y="435"/>
                      </a:lnTo>
                      <a:lnTo>
                        <a:pt x="449" y="435"/>
                      </a:lnTo>
                      <a:lnTo>
                        <a:pt x="438" y="451"/>
                      </a:lnTo>
                      <a:lnTo>
                        <a:pt x="426" y="465"/>
                      </a:lnTo>
                      <a:lnTo>
                        <a:pt x="404" y="486"/>
                      </a:lnTo>
                      <a:lnTo>
                        <a:pt x="384" y="501"/>
                      </a:lnTo>
                      <a:lnTo>
                        <a:pt x="369" y="513"/>
                      </a:lnTo>
                      <a:lnTo>
                        <a:pt x="369" y="513"/>
                      </a:lnTo>
                      <a:lnTo>
                        <a:pt x="362" y="519"/>
                      </a:lnTo>
                      <a:lnTo>
                        <a:pt x="353" y="520"/>
                      </a:lnTo>
                      <a:lnTo>
                        <a:pt x="344" y="520"/>
                      </a:lnTo>
                      <a:lnTo>
                        <a:pt x="337" y="520"/>
                      </a:lnTo>
                      <a:lnTo>
                        <a:pt x="330" y="520"/>
                      </a:lnTo>
                      <a:lnTo>
                        <a:pt x="327" y="522"/>
                      </a:lnTo>
                      <a:lnTo>
                        <a:pt x="324" y="524"/>
                      </a:lnTo>
                      <a:lnTo>
                        <a:pt x="324" y="527"/>
                      </a:lnTo>
                      <a:lnTo>
                        <a:pt x="324" y="527"/>
                      </a:lnTo>
                      <a:lnTo>
                        <a:pt x="324" y="533"/>
                      </a:lnTo>
                      <a:lnTo>
                        <a:pt x="322" y="534"/>
                      </a:lnTo>
                      <a:lnTo>
                        <a:pt x="315" y="533"/>
                      </a:lnTo>
                      <a:lnTo>
                        <a:pt x="310" y="531"/>
                      </a:lnTo>
                      <a:lnTo>
                        <a:pt x="304" y="531"/>
                      </a:lnTo>
                      <a:lnTo>
                        <a:pt x="299" y="533"/>
                      </a:lnTo>
                      <a:lnTo>
                        <a:pt x="294" y="536"/>
                      </a:lnTo>
                      <a:lnTo>
                        <a:pt x="294" y="536"/>
                      </a:lnTo>
                      <a:lnTo>
                        <a:pt x="290" y="541"/>
                      </a:lnTo>
                      <a:lnTo>
                        <a:pt x="283" y="541"/>
                      </a:lnTo>
                      <a:lnTo>
                        <a:pt x="278" y="541"/>
                      </a:lnTo>
                      <a:lnTo>
                        <a:pt x="271" y="538"/>
                      </a:lnTo>
                      <a:lnTo>
                        <a:pt x="257" y="534"/>
                      </a:lnTo>
                      <a:lnTo>
                        <a:pt x="252" y="533"/>
                      </a:lnTo>
                      <a:lnTo>
                        <a:pt x="247" y="534"/>
                      </a:lnTo>
                      <a:lnTo>
                        <a:pt x="247" y="534"/>
                      </a:lnTo>
                      <a:lnTo>
                        <a:pt x="243" y="536"/>
                      </a:lnTo>
                      <a:lnTo>
                        <a:pt x="238" y="538"/>
                      </a:lnTo>
                      <a:lnTo>
                        <a:pt x="229" y="536"/>
                      </a:lnTo>
                      <a:lnTo>
                        <a:pt x="219" y="533"/>
                      </a:lnTo>
                      <a:lnTo>
                        <a:pt x="209" y="533"/>
                      </a:lnTo>
                      <a:lnTo>
                        <a:pt x="209" y="533"/>
                      </a:lnTo>
                      <a:lnTo>
                        <a:pt x="205" y="533"/>
                      </a:lnTo>
                      <a:lnTo>
                        <a:pt x="202" y="534"/>
                      </a:lnTo>
                      <a:lnTo>
                        <a:pt x="198" y="540"/>
                      </a:lnTo>
                      <a:lnTo>
                        <a:pt x="193" y="545"/>
                      </a:lnTo>
                      <a:lnTo>
                        <a:pt x="188" y="548"/>
                      </a:lnTo>
                      <a:lnTo>
                        <a:pt x="182" y="550"/>
                      </a:lnTo>
                      <a:lnTo>
                        <a:pt x="182" y="550"/>
                      </a:lnTo>
                      <a:lnTo>
                        <a:pt x="172" y="554"/>
                      </a:lnTo>
                      <a:lnTo>
                        <a:pt x="165" y="554"/>
                      </a:lnTo>
                      <a:lnTo>
                        <a:pt x="160" y="552"/>
                      </a:lnTo>
                      <a:lnTo>
                        <a:pt x="149" y="552"/>
                      </a:lnTo>
                      <a:lnTo>
                        <a:pt x="149" y="552"/>
                      </a:lnTo>
                      <a:lnTo>
                        <a:pt x="142" y="554"/>
                      </a:lnTo>
                      <a:lnTo>
                        <a:pt x="139" y="557"/>
                      </a:lnTo>
                      <a:lnTo>
                        <a:pt x="132" y="562"/>
                      </a:lnTo>
                      <a:lnTo>
                        <a:pt x="129" y="569"/>
                      </a:lnTo>
                      <a:lnTo>
                        <a:pt x="127" y="569"/>
                      </a:lnTo>
                      <a:lnTo>
                        <a:pt x="125" y="569"/>
                      </a:lnTo>
                      <a:lnTo>
                        <a:pt x="125" y="569"/>
                      </a:lnTo>
                      <a:lnTo>
                        <a:pt x="120" y="569"/>
                      </a:lnTo>
                      <a:lnTo>
                        <a:pt x="116" y="569"/>
                      </a:lnTo>
                      <a:lnTo>
                        <a:pt x="113" y="569"/>
                      </a:lnTo>
                      <a:lnTo>
                        <a:pt x="109" y="567"/>
                      </a:lnTo>
                      <a:lnTo>
                        <a:pt x="109" y="567"/>
                      </a:lnTo>
                      <a:lnTo>
                        <a:pt x="106" y="564"/>
                      </a:lnTo>
                      <a:lnTo>
                        <a:pt x="102" y="564"/>
                      </a:lnTo>
                      <a:lnTo>
                        <a:pt x="101" y="562"/>
                      </a:lnTo>
                      <a:lnTo>
                        <a:pt x="99" y="557"/>
                      </a:lnTo>
                      <a:lnTo>
                        <a:pt x="99" y="557"/>
                      </a:lnTo>
                      <a:lnTo>
                        <a:pt x="97" y="554"/>
                      </a:lnTo>
                      <a:lnTo>
                        <a:pt x="95" y="552"/>
                      </a:lnTo>
                      <a:lnTo>
                        <a:pt x="90" y="552"/>
                      </a:lnTo>
                      <a:lnTo>
                        <a:pt x="88" y="552"/>
                      </a:lnTo>
                      <a:lnTo>
                        <a:pt x="85" y="550"/>
                      </a:lnTo>
                      <a:lnTo>
                        <a:pt x="85" y="548"/>
                      </a:lnTo>
                      <a:lnTo>
                        <a:pt x="83" y="543"/>
                      </a:lnTo>
                      <a:lnTo>
                        <a:pt x="83" y="543"/>
                      </a:lnTo>
                      <a:lnTo>
                        <a:pt x="83" y="540"/>
                      </a:lnTo>
                      <a:lnTo>
                        <a:pt x="81" y="538"/>
                      </a:lnTo>
                      <a:lnTo>
                        <a:pt x="80" y="536"/>
                      </a:lnTo>
                      <a:lnTo>
                        <a:pt x="78" y="536"/>
                      </a:lnTo>
                      <a:lnTo>
                        <a:pt x="75" y="536"/>
                      </a:lnTo>
                      <a:lnTo>
                        <a:pt x="73" y="538"/>
                      </a:lnTo>
                      <a:lnTo>
                        <a:pt x="71" y="541"/>
                      </a:lnTo>
                      <a:lnTo>
                        <a:pt x="71" y="545"/>
                      </a:lnTo>
                      <a:lnTo>
                        <a:pt x="71" y="545"/>
                      </a:lnTo>
                      <a:lnTo>
                        <a:pt x="69" y="548"/>
                      </a:lnTo>
                      <a:lnTo>
                        <a:pt x="68" y="548"/>
                      </a:lnTo>
                      <a:lnTo>
                        <a:pt x="66" y="543"/>
                      </a:lnTo>
                      <a:lnTo>
                        <a:pt x="64" y="534"/>
                      </a:lnTo>
                      <a:lnTo>
                        <a:pt x="64" y="531"/>
                      </a:lnTo>
                      <a:lnTo>
                        <a:pt x="66" y="527"/>
                      </a:lnTo>
                      <a:lnTo>
                        <a:pt x="66" y="527"/>
                      </a:lnTo>
                      <a:lnTo>
                        <a:pt x="69" y="524"/>
                      </a:lnTo>
                      <a:lnTo>
                        <a:pt x="68" y="517"/>
                      </a:lnTo>
                      <a:lnTo>
                        <a:pt x="64" y="510"/>
                      </a:lnTo>
                      <a:lnTo>
                        <a:pt x="55" y="498"/>
                      </a:lnTo>
                      <a:lnTo>
                        <a:pt x="55" y="498"/>
                      </a:lnTo>
                      <a:lnTo>
                        <a:pt x="52" y="493"/>
                      </a:lnTo>
                      <a:lnTo>
                        <a:pt x="50" y="486"/>
                      </a:lnTo>
                      <a:lnTo>
                        <a:pt x="48" y="482"/>
                      </a:lnTo>
                      <a:lnTo>
                        <a:pt x="48" y="479"/>
                      </a:lnTo>
                      <a:lnTo>
                        <a:pt x="50" y="475"/>
                      </a:lnTo>
                      <a:lnTo>
                        <a:pt x="52" y="473"/>
                      </a:lnTo>
                      <a:lnTo>
                        <a:pt x="54" y="473"/>
                      </a:lnTo>
                      <a:lnTo>
                        <a:pt x="55" y="475"/>
                      </a:lnTo>
                      <a:lnTo>
                        <a:pt x="55" y="475"/>
                      </a:lnTo>
                      <a:lnTo>
                        <a:pt x="59" y="475"/>
                      </a:lnTo>
                      <a:lnTo>
                        <a:pt x="62" y="473"/>
                      </a:lnTo>
                      <a:lnTo>
                        <a:pt x="64" y="468"/>
                      </a:lnTo>
                      <a:lnTo>
                        <a:pt x="68" y="460"/>
                      </a:lnTo>
                      <a:lnTo>
                        <a:pt x="68" y="449"/>
                      </a:lnTo>
                      <a:lnTo>
                        <a:pt x="66" y="437"/>
                      </a:lnTo>
                      <a:lnTo>
                        <a:pt x="59" y="421"/>
                      </a:lnTo>
                      <a:lnTo>
                        <a:pt x="50" y="404"/>
                      </a:lnTo>
                      <a:lnTo>
                        <a:pt x="50" y="404"/>
                      </a:lnTo>
                      <a:lnTo>
                        <a:pt x="38" y="383"/>
                      </a:lnTo>
                      <a:lnTo>
                        <a:pt x="29" y="365"/>
                      </a:lnTo>
                      <a:lnTo>
                        <a:pt x="24" y="350"/>
                      </a:lnTo>
                      <a:lnTo>
                        <a:pt x="21" y="336"/>
                      </a:lnTo>
                      <a:lnTo>
                        <a:pt x="17" y="322"/>
                      </a:lnTo>
                      <a:lnTo>
                        <a:pt x="14" y="310"/>
                      </a:lnTo>
                      <a:lnTo>
                        <a:pt x="8" y="298"/>
                      </a:lnTo>
                      <a:lnTo>
                        <a:pt x="0" y="285"/>
                      </a:lnTo>
                      <a:lnTo>
                        <a:pt x="0" y="285"/>
                      </a:lnTo>
                      <a:lnTo>
                        <a:pt x="5" y="282"/>
                      </a:lnTo>
                      <a:lnTo>
                        <a:pt x="10" y="277"/>
                      </a:lnTo>
                      <a:lnTo>
                        <a:pt x="14" y="268"/>
                      </a:lnTo>
                      <a:lnTo>
                        <a:pt x="15" y="263"/>
                      </a:lnTo>
                      <a:lnTo>
                        <a:pt x="17" y="261"/>
                      </a:lnTo>
                      <a:lnTo>
                        <a:pt x="21" y="261"/>
                      </a:lnTo>
                      <a:lnTo>
                        <a:pt x="24" y="265"/>
                      </a:lnTo>
                      <a:lnTo>
                        <a:pt x="24" y="265"/>
                      </a:lnTo>
                      <a:lnTo>
                        <a:pt x="29" y="268"/>
                      </a:lnTo>
                      <a:lnTo>
                        <a:pt x="31" y="273"/>
                      </a:lnTo>
                      <a:lnTo>
                        <a:pt x="33" y="280"/>
                      </a:lnTo>
                      <a:lnTo>
                        <a:pt x="33" y="284"/>
                      </a:lnTo>
                      <a:lnTo>
                        <a:pt x="34" y="287"/>
                      </a:lnTo>
                      <a:lnTo>
                        <a:pt x="38" y="292"/>
                      </a:lnTo>
                      <a:lnTo>
                        <a:pt x="45" y="296"/>
                      </a:lnTo>
                      <a:lnTo>
                        <a:pt x="45" y="296"/>
                      </a:lnTo>
                      <a:lnTo>
                        <a:pt x="54" y="299"/>
                      </a:lnTo>
                      <a:lnTo>
                        <a:pt x="61" y="301"/>
                      </a:lnTo>
                      <a:lnTo>
                        <a:pt x="66" y="301"/>
                      </a:lnTo>
                      <a:lnTo>
                        <a:pt x="73" y="301"/>
                      </a:lnTo>
                      <a:lnTo>
                        <a:pt x="80" y="299"/>
                      </a:lnTo>
                      <a:lnTo>
                        <a:pt x="83" y="299"/>
                      </a:lnTo>
                      <a:lnTo>
                        <a:pt x="87" y="299"/>
                      </a:lnTo>
                      <a:lnTo>
                        <a:pt x="87" y="299"/>
                      </a:lnTo>
                      <a:lnTo>
                        <a:pt x="90" y="301"/>
                      </a:lnTo>
                      <a:lnTo>
                        <a:pt x="94" y="299"/>
                      </a:lnTo>
                      <a:lnTo>
                        <a:pt x="102" y="294"/>
                      </a:lnTo>
                      <a:lnTo>
                        <a:pt x="113" y="285"/>
                      </a:lnTo>
                      <a:lnTo>
                        <a:pt x="118" y="282"/>
                      </a:lnTo>
                      <a:lnTo>
                        <a:pt x="125" y="280"/>
                      </a:lnTo>
                      <a:lnTo>
                        <a:pt x="125" y="115"/>
                      </a:lnTo>
                      <a:lnTo>
                        <a:pt x="125" y="115"/>
                      </a:lnTo>
                      <a:lnTo>
                        <a:pt x="130" y="122"/>
                      </a:lnTo>
                      <a:lnTo>
                        <a:pt x="135" y="130"/>
                      </a:lnTo>
                      <a:lnTo>
                        <a:pt x="146" y="151"/>
                      </a:lnTo>
                      <a:lnTo>
                        <a:pt x="151" y="170"/>
                      </a:lnTo>
                      <a:lnTo>
                        <a:pt x="151" y="177"/>
                      </a:lnTo>
                      <a:lnTo>
                        <a:pt x="149" y="181"/>
                      </a:lnTo>
                      <a:lnTo>
                        <a:pt x="149" y="181"/>
                      </a:lnTo>
                      <a:lnTo>
                        <a:pt x="146" y="190"/>
                      </a:lnTo>
                      <a:lnTo>
                        <a:pt x="144" y="198"/>
                      </a:lnTo>
                      <a:lnTo>
                        <a:pt x="146" y="202"/>
                      </a:lnTo>
                      <a:lnTo>
                        <a:pt x="148" y="205"/>
                      </a:lnTo>
                      <a:lnTo>
                        <a:pt x="149" y="207"/>
                      </a:lnTo>
                      <a:lnTo>
                        <a:pt x="153" y="209"/>
                      </a:lnTo>
                      <a:lnTo>
                        <a:pt x="153" y="209"/>
                      </a:lnTo>
                      <a:lnTo>
                        <a:pt x="163" y="209"/>
                      </a:lnTo>
                      <a:lnTo>
                        <a:pt x="174" y="211"/>
                      </a:lnTo>
                      <a:lnTo>
                        <a:pt x="179" y="209"/>
                      </a:lnTo>
                      <a:lnTo>
                        <a:pt x="186" y="207"/>
                      </a:lnTo>
                      <a:lnTo>
                        <a:pt x="193" y="200"/>
                      </a:lnTo>
                      <a:lnTo>
                        <a:pt x="202" y="191"/>
                      </a:lnTo>
                      <a:lnTo>
                        <a:pt x="202" y="191"/>
                      </a:lnTo>
                      <a:lnTo>
                        <a:pt x="209" y="181"/>
                      </a:lnTo>
                      <a:lnTo>
                        <a:pt x="214" y="169"/>
                      </a:lnTo>
                      <a:lnTo>
                        <a:pt x="217" y="157"/>
                      </a:lnTo>
                      <a:lnTo>
                        <a:pt x="223" y="148"/>
                      </a:lnTo>
                      <a:lnTo>
                        <a:pt x="228" y="141"/>
                      </a:lnTo>
                      <a:lnTo>
                        <a:pt x="231" y="139"/>
                      </a:lnTo>
                      <a:lnTo>
                        <a:pt x="235" y="137"/>
                      </a:lnTo>
                      <a:lnTo>
                        <a:pt x="240" y="137"/>
                      </a:lnTo>
                      <a:lnTo>
                        <a:pt x="247" y="139"/>
                      </a:lnTo>
                      <a:lnTo>
                        <a:pt x="263" y="148"/>
                      </a:lnTo>
                      <a:lnTo>
                        <a:pt x="263" y="148"/>
                      </a:lnTo>
                      <a:lnTo>
                        <a:pt x="278" y="157"/>
                      </a:lnTo>
                      <a:lnTo>
                        <a:pt x="292" y="160"/>
                      </a:lnTo>
                      <a:lnTo>
                        <a:pt x="303" y="162"/>
                      </a:lnTo>
                      <a:lnTo>
                        <a:pt x="310" y="158"/>
                      </a:lnTo>
                      <a:lnTo>
                        <a:pt x="317" y="153"/>
                      </a:lnTo>
                      <a:lnTo>
                        <a:pt x="320" y="146"/>
                      </a:lnTo>
                      <a:lnTo>
                        <a:pt x="327" y="129"/>
                      </a:lnTo>
                      <a:lnTo>
                        <a:pt x="327" y="129"/>
                      </a:lnTo>
                      <a:lnTo>
                        <a:pt x="332" y="120"/>
                      </a:lnTo>
                      <a:lnTo>
                        <a:pt x="337" y="115"/>
                      </a:lnTo>
                      <a:lnTo>
                        <a:pt x="348" y="106"/>
                      </a:lnTo>
                      <a:lnTo>
                        <a:pt x="355" y="101"/>
                      </a:lnTo>
                      <a:lnTo>
                        <a:pt x="360" y="96"/>
                      </a:lnTo>
                      <a:lnTo>
                        <a:pt x="364" y="89"/>
                      </a:lnTo>
                      <a:lnTo>
                        <a:pt x="367" y="78"/>
                      </a:lnTo>
                      <a:lnTo>
                        <a:pt x="367" y="78"/>
                      </a:lnTo>
                      <a:lnTo>
                        <a:pt x="371" y="68"/>
                      </a:lnTo>
                      <a:lnTo>
                        <a:pt x="374" y="61"/>
                      </a:lnTo>
                      <a:lnTo>
                        <a:pt x="379" y="56"/>
                      </a:lnTo>
                      <a:lnTo>
                        <a:pt x="386" y="52"/>
                      </a:lnTo>
                      <a:lnTo>
                        <a:pt x="397" y="45"/>
                      </a:lnTo>
                      <a:lnTo>
                        <a:pt x="402" y="40"/>
                      </a:lnTo>
                      <a:lnTo>
                        <a:pt x="405" y="33"/>
                      </a:lnTo>
                      <a:lnTo>
                        <a:pt x="405" y="33"/>
                      </a:lnTo>
                      <a:lnTo>
                        <a:pt x="409" y="26"/>
                      </a:lnTo>
                      <a:lnTo>
                        <a:pt x="412" y="23"/>
                      </a:lnTo>
                      <a:lnTo>
                        <a:pt x="418" y="19"/>
                      </a:lnTo>
                      <a:lnTo>
                        <a:pt x="423" y="16"/>
                      </a:lnTo>
                      <a:lnTo>
                        <a:pt x="437" y="10"/>
                      </a:lnTo>
                      <a:lnTo>
                        <a:pt x="444" y="7"/>
                      </a:lnTo>
                      <a:lnTo>
                        <a:pt x="451" y="0"/>
                      </a:lnTo>
                      <a:lnTo>
                        <a:pt x="45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1" name="Freeform 1760">
                  <a:extLst>
                    <a:ext uri="{FF2B5EF4-FFF2-40B4-BE49-F238E27FC236}">
                      <a16:creationId xmlns:a16="http://schemas.microsoft.com/office/drawing/2014/main" id="{40FB0370-4B9C-1CC1-FB4C-4D2F5178061E}"/>
                    </a:ext>
                  </a:extLst>
                </p:cNvPr>
                <p:cNvSpPr>
                  <a:spLocks/>
                </p:cNvSpPr>
                <p:nvPr/>
              </p:nvSpPr>
              <p:spPr bwMode="auto">
                <a:xfrm>
                  <a:off x="4728548" y="3706538"/>
                  <a:ext cx="442263" cy="412309"/>
                </a:xfrm>
                <a:custGeom>
                  <a:avLst/>
                  <a:gdLst/>
                  <a:ahLst/>
                  <a:cxnLst>
                    <a:cxn ang="0">
                      <a:pos x="142" y="289"/>
                    </a:cxn>
                    <a:cxn ang="0">
                      <a:pos x="137" y="315"/>
                    </a:cxn>
                    <a:cxn ang="0">
                      <a:pos x="128" y="341"/>
                    </a:cxn>
                    <a:cxn ang="0">
                      <a:pos x="120" y="347"/>
                    </a:cxn>
                    <a:cxn ang="0">
                      <a:pos x="113" y="354"/>
                    </a:cxn>
                    <a:cxn ang="0">
                      <a:pos x="83" y="357"/>
                    </a:cxn>
                    <a:cxn ang="0">
                      <a:pos x="41" y="361"/>
                    </a:cxn>
                    <a:cxn ang="0">
                      <a:pos x="24" y="373"/>
                    </a:cxn>
                    <a:cxn ang="0">
                      <a:pos x="0" y="388"/>
                    </a:cxn>
                    <a:cxn ang="0">
                      <a:pos x="7" y="406"/>
                    </a:cxn>
                    <a:cxn ang="0">
                      <a:pos x="15" y="425"/>
                    </a:cxn>
                    <a:cxn ang="0">
                      <a:pos x="36" y="439"/>
                    </a:cxn>
                    <a:cxn ang="0">
                      <a:pos x="31" y="442"/>
                    </a:cxn>
                    <a:cxn ang="0">
                      <a:pos x="31" y="455"/>
                    </a:cxn>
                    <a:cxn ang="0">
                      <a:pos x="50" y="472"/>
                    </a:cxn>
                    <a:cxn ang="0">
                      <a:pos x="60" y="472"/>
                    </a:cxn>
                    <a:cxn ang="0">
                      <a:pos x="71" y="472"/>
                    </a:cxn>
                    <a:cxn ang="0">
                      <a:pos x="69" y="484"/>
                    </a:cxn>
                    <a:cxn ang="0">
                      <a:pos x="69" y="491"/>
                    </a:cxn>
                    <a:cxn ang="0">
                      <a:pos x="80" y="498"/>
                    </a:cxn>
                    <a:cxn ang="0">
                      <a:pos x="83" y="489"/>
                    </a:cxn>
                    <a:cxn ang="0">
                      <a:pos x="90" y="482"/>
                    </a:cxn>
                    <a:cxn ang="0">
                      <a:pos x="101" y="489"/>
                    </a:cxn>
                    <a:cxn ang="0">
                      <a:pos x="121" y="507"/>
                    </a:cxn>
                    <a:cxn ang="0">
                      <a:pos x="123" y="479"/>
                    </a:cxn>
                    <a:cxn ang="0">
                      <a:pos x="134" y="467"/>
                    </a:cxn>
                    <a:cxn ang="0">
                      <a:pos x="139" y="439"/>
                    </a:cxn>
                    <a:cxn ang="0">
                      <a:pos x="155" y="427"/>
                    </a:cxn>
                    <a:cxn ang="0">
                      <a:pos x="175" y="427"/>
                    </a:cxn>
                    <a:cxn ang="0">
                      <a:pos x="186" y="418"/>
                    </a:cxn>
                    <a:cxn ang="0">
                      <a:pos x="203" y="423"/>
                    </a:cxn>
                    <a:cxn ang="0">
                      <a:pos x="224" y="435"/>
                    </a:cxn>
                    <a:cxn ang="0">
                      <a:pos x="238" y="455"/>
                    </a:cxn>
                    <a:cxn ang="0">
                      <a:pos x="266" y="442"/>
                    </a:cxn>
                    <a:cxn ang="0">
                      <a:pos x="280" y="444"/>
                    </a:cxn>
                    <a:cxn ang="0">
                      <a:pos x="316" y="463"/>
                    </a:cxn>
                    <a:cxn ang="0">
                      <a:pos x="334" y="460"/>
                    </a:cxn>
                    <a:cxn ang="0">
                      <a:pos x="356" y="444"/>
                    </a:cxn>
                    <a:cxn ang="0">
                      <a:pos x="393" y="441"/>
                    </a:cxn>
                    <a:cxn ang="0">
                      <a:pos x="426" y="455"/>
                    </a:cxn>
                    <a:cxn ang="0">
                      <a:pos x="442" y="437"/>
                    </a:cxn>
                    <a:cxn ang="0">
                      <a:pos x="471" y="427"/>
                    </a:cxn>
                    <a:cxn ang="0">
                      <a:pos x="470" y="399"/>
                    </a:cxn>
                    <a:cxn ang="0">
                      <a:pos x="504" y="331"/>
                    </a:cxn>
                    <a:cxn ang="0">
                      <a:pos x="532" y="298"/>
                    </a:cxn>
                    <a:cxn ang="0">
                      <a:pos x="543" y="223"/>
                    </a:cxn>
                    <a:cxn ang="0">
                      <a:pos x="546" y="162"/>
                    </a:cxn>
                    <a:cxn ang="0">
                      <a:pos x="546" y="131"/>
                    </a:cxn>
                    <a:cxn ang="0">
                      <a:pos x="529" y="91"/>
                    </a:cxn>
                    <a:cxn ang="0">
                      <a:pos x="524" y="38"/>
                    </a:cxn>
                    <a:cxn ang="0">
                      <a:pos x="496" y="38"/>
                    </a:cxn>
                    <a:cxn ang="0">
                      <a:pos x="484" y="28"/>
                    </a:cxn>
                    <a:cxn ang="0">
                      <a:pos x="449" y="11"/>
                    </a:cxn>
                    <a:cxn ang="0">
                      <a:pos x="414" y="0"/>
                    </a:cxn>
                    <a:cxn ang="0">
                      <a:pos x="247" y="124"/>
                    </a:cxn>
                    <a:cxn ang="0">
                      <a:pos x="208" y="173"/>
                    </a:cxn>
                    <a:cxn ang="0">
                      <a:pos x="172" y="188"/>
                    </a:cxn>
                  </a:cxnLst>
                  <a:rect l="0" t="0" r="r" b="b"/>
                  <a:pathLst>
                    <a:path w="552" h="512">
                      <a:moveTo>
                        <a:pt x="142" y="190"/>
                      </a:moveTo>
                      <a:lnTo>
                        <a:pt x="142" y="190"/>
                      </a:lnTo>
                      <a:lnTo>
                        <a:pt x="144" y="249"/>
                      </a:lnTo>
                      <a:lnTo>
                        <a:pt x="142" y="289"/>
                      </a:lnTo>
                      <a:lnTo>
                        <a:pt x="142" y="305"/>
                      </a:lnTo>
                      <a:lnTo>
                        <a:pt x="139" y="312"/>
                      </a:lnTo>
                      <a:lnTo>
                        <a:pt x="139" y="312"/>
                      </a:lnTo>
                      <a:lnTo>
                        <a:pt x="137" y="315"/>
                      </a:lnTo>
                      <a:lnTo>
                        <a:pt x="135" y="321"/>
                      </a:lnTo>
                      <a:lnTo>
                        <a:pt x="134" y="331"/>
                      </a:lnTo>
                      <a:lnTo>
                        <a:pt x="130" y="340"/>
                      </a:lnTo>
                      <a:lnTo>
                        <a:pt x="128" y="341"/>
                      </a:lnTo>
                      <a:lnTo>
                        <a:pt x="125" y="343"/>
                      </a:lnTo>
                      <a:lnTo>
                        <a:pt x="125" y="343"/>
                      </a:lnTo>
                      <a:lnTo>
                        <a:pt x="121" y="345"/>
                      </a:lnTo>
                      <a:lnTo>
                        <a:pt x="120" y="347"/>
                      </a:lnTo>
                      <a:lnTo>
                        <a:pt x="118" y="350"/>
                      </a:lnTo>
                      <a:lnTo>
                        <a:pt x="116" y="354"/>
                      </a:lnTo>
                      <a:lnTo>
                        <a:pt x="114" y="354"/>
                      </a:lnTo>
                      <a:lnTo>
                        <a:pt x="113" y="354"/>
                      </a:lnTo>
                      <a:lnTo>
                        <a:pt x="113" y="354"/>
                      </a:lnTo>
                      <a:lnTo>
                        <a:pt x="107" y="352"/>
                      </a:lnTo>
                      <a:lnTo>
                        <a:pt x="99" y="355"/>
                      </a:lnTo>
                      <a:lnTo>
                        <a:pt x="83" y="357"/>
                      </a:lnTo>
                      <a:lnTo>
                        <a:pt x="59" y="357"/>
                      </a:lnTo>
                      <a:lnTo>
                        <a:pt x="59" y="357"/>
                      </a:lnTo>
                      <a:lnTo>
                        <a:pt x="48" y="359"/>
                      </a:lnTo>
                      <a:lnTo>
                        <a:pt x="41" y="361"/>
                      </a:lnTo>
                      <a:lnTo>
                        <a:pt x="36" y="364"/>
                      </a:lnTo>
                      <a:lnTo>
                        <a:pt x="34" y="366"/>
                      </a:lnTo>
                      <a:lnTo>
                        <a:pt x="29" y="369"/>
                      </a:lnTo>
                      <a:lnTo>
                        <a:pt x="24" y="373"/>
                      </a:lnTo>
                      <a:lnTo>
                        <a:pt x="15" y="373"/>
                      </a:lnTo>
                      <a:lnTo>
                        <a:pt x="1" y="373"/>
                      </a:lnTo>
                      <a:lnTo>
                        <a:pt x="1" y="373"/>
                      </a:lnTo>
                      <a:lnTo>
                        <a:pt x="0" y="388"/>
                      </a:lnTo>
                      <a:lnTo>
                        <a:pt x="0" y="392"/>
                      </a:lnTo>
                      <a:lnTo>
                        <a:pt x="1" y="394"/>
                      </a:lnTo>
                      <a:lnTo>
                        <a:pt x="5" y="401"/>
                      </a:lnTo>
                      <a:lnTo>
                        <a:pt x="7" y="406"/>
                      </a:lnTo>
                      <a:lnTo>
                        <a:pt x="8" y="415"/>
                      </a:lnTo>
                      <a:lnTo>
                        <a:pt x="8" y="415"/>
                      </a:lnTo>
                      <a:lnTo>
                        <a:pt x="12" y="423"/>
                      </a:lnTo>
                      <a:lnTo>
                        <a:pt x="15" y="425"/>
                      </a:lnTo>
                      <a:lnTo>
                        <a:pt x="19" y="427"/>
                      </a:lnTo>
                      <a:lnTo>
                        <a:pt x="26" y="430"/>
                      </a:lnTo>
                      <a:lnTo>
                        <a:pt x="26" y="430"/>
                      </a:lnTo>
                      <a:lnTo>
                        <a:pt x="36" y="439"/>
                      </a:lnTo>
                      <a:lnTo>
                        <a:pt x="36" y="441"/>
                      </a:lnTo>
                      <a:lnTo>
                        <a:pt x="33" y="442"/>
                      </a:lnTo>
                      <a:lnTo>
                        <a:pt x="33" y="442"/>
                      </a:lnTo>
                      <a:lnTo>
                        <a:pt x="31" y="442"/>
                      </a:lnTo>
                      <a:lnTo>
                        <a:pt x="29" y="442"/>
                      </a:lnTo>
                      <a:lnTo>
                        <a:pt x="27" y="448"/>
                      </a:lnTo>
                      <a:lnTo>
                        <a:pt x="29" y="453"/>
                      </a:lnTo>
                      <a:lnTo>
                        <a:pt x="31" y="455"/>
                      </a:lnTo>
                      <a:lnTo>
                        <a:pt x="31" y="455"/>
                      </a:lnTo>
                      <a:lnTo>
                        <a:pt x="38" y="460"/>
                      </a:lnTo>
                      <a:lnTo>
                        <a:pt x="47" y="468"/>
                      </a:lnTo>
                      <a:lnTo>
                        <a:pt x="50" y="472"/>
                      </a:lnTo>
                      <a:lnTo>
                        <a:pt x="54" y="474"/>
                      </a:lnTo>
                      <a:lnTo>
                        <a:pt x="57" y="474"/>
                      </a:lnTo>
                      <a:lnTo>
                        <a:pt x="60" y="472"/>
                      </a:lnTo>
                      <a:lnTo>
                        <a:pt x="60" y="472"/>
                      </a:lnTo>
                      <a:lnTo>
                        <a:pt x="64" y="468"/>
                      </a:lnTo>
                      <a:lnTo>
                        <a:pt x="66" y="468"/>
                      </a:lnTo>
                      <a:lnTo>
                        <a:pt x="69" y="470"/>
                      </a:lnTo>
                      <a:lnTo>
                        <a:pt x="71" y="472"/>
                      </a:lnTo>
                      <a:lnTo>
                        <a:pt x="73" y="475"/>
                      </a:lnTo>
                      <a:lnTo>
                        <a:pt x="73" y="479"/>
                      </a:lnTo>
                      <a:lnTo>
                        <a:pt x="71" y="482"/>
                      </a:lnTo>
                      <a:lnTo>
                        <a:pt x="69" y="484"/>
                      </a:lnTo>
                      <a:lnTo>
                        <a:pt x="69" y="484"/>
                      </a:lnTo>
                      <a:lnTo>
                        <a:pt x="67" y="484"/>
                      </a:lnTo>
                      <a:lnTo>
                        <a:pt x="67" y="486"/>
                      </a:lnTo>
                      <a:lnTo>
                        <a:pt x="69" y="491"/>
                      </a:lnTo>
                      <a:lnTo>
                        <a:pt x="78" y="505"/>
                      </a:lnTo>
                      <a:lnTo>
                        <a:pt x="78" y="505"/>
                      </a:lnTo>
                      <a:lnTo>
                        <a:pt x="80" y="502"/>
                      </a:lnTo>
                      <a:lnTo>
                        <a:pt x="80" y="498"/>
                      </a:lnTo>
                      <a:lnTo>
                        <a:pt x="78" y="493"/>
                      </a:lnTo>
                      <a:lnTo>
                        <a:pt x="78" y="489"/>
                      </a:lnTo>
                      <a:lnTo>
                        <a:pt x="80" y="489"/>
                      </a:lnTo>
                      <a:lnTo>
                        <a:pt x="83" y="489"/>
                      </a:lnTo>
                      <a:lnTo>
                        <a:pt x="83" y="489"/>
                      </a:lnTo>
                      <a:lnTo>
                        <a:pt x="87" y="488"/>
                      </a:lnTo>
                      <a:lnTo>
                        <a:pt x="88" y="486"/>
                      </a:lnTo>
                      <a:lnTo>
                        <a:pt x="90" y="482"/>
                      </a:lnTo>
                      <a:lnTo>
                        <a:pt x="92" y="482"/>
                      </a:lnTo>
                      <a:lnTo>
                        <a:pt x="94" y="482"/>
                      </a:lnTo>
                      <a:lnTo>
                        <a:pt x="101" y="489"/>
                      </a:lnTo>
                      <a:lnTo>
                        <a:pt x="101" y="489"/>
                      </a:lnTo>
                      <a:lnTo>
                        <a:pt x="111" y="502"/>
                      </a:lnTo>
                      <a:lnTo>
                        <a:pt x="120" y="512"/>
                      </a:lnTo>
                      <a:lnTo>
                        <a:pt x="120" y="512"/>
                      </a:lnTo>
                      <a:lnTo>
                        <a:pt x="121" y="507"/>
                      </a:lnTo>
                      <a:lnTo>
                        <a:pt x="121" y="502"/>
                      </a:lnTo>
                      <a:lnTo>
                        <a:pt x="121" y="489"/>
                      </a:lnTo>
                      <a:lnTo>
                        <a:pt x="121" y="484"/>
                      </a:lnTo>
                      <a:lnTo>
                        <a:pt x="123" y="479"/>
                      </a:lnTo>
                      <a:lnTo>
                        <a:pt x="125" y="474"/>
                      </a:lnTo>
                      <a:lnTo>
                        <a:pt x="128" y="470"/>
                      </a:lnTo>
                      <a:lnTo>
                        <a:pt x="128" y="470"/>
                      </a:lnTo>
                      <a:lnTo>
                        <a:pt x="134" y="467"/>
                      </a:lnTo>
                      <a:lnTo>
                        <a:pt x="135" y="462"/>
                      </a:lnTo>
                      <a:lnTo>
                        <a:pt x="137" y="453"/>
                      </a:lnTo>
                      <a:lnTo>
                        <a:pt x="137" y="442"/>
                      </a:lnTo>
                      <a:lnTo>
                        <a:pt x="139" y="439"/>
                      </a:lnTo>
                      <a:lnTo>
                        <a:pt x="142" y="435"/>
                      </a:lnTo>
                      <a:lnTo>
                        <a:pt x="142" y="435"/>
                      </a:lnTo>
                      <a:lnTo>
                        <a:pt x="148" y="430"/>
                      </a:lnTo>
                      <a:lnTo>
                        <a:pt x="155" y="427"/>
                      </a:lnTo>
                      <a:lnTo>
                        <a:pt x="161" y="425"/>
                      </a:lnTo>
                      <a:lnTo>
                        <a:pt x="170" y="427"/>
                      </a:lnTo>
                      <a:lnTo>
                        <a:pt x="170" y="427"/>
                      </a:lnTo>
                      <a:lnTo>
                        <a:pt x="175" y="427"/>
                      </a:lnTo>
                      <a:lnTo>
                        <a:pt x="179" y="425"/>
                      </a:lnTo>
                      <a:lnTo>
                        <a:pt x="182" y="421"/>
                      </a:lnTo>
                      <a:lnTo>
                        <a:pt x="184" y="420"/>
                      </a:lnTo>
                      <a:lnTo>
                        <a:pt x="186" y="418"/>
                      </a:lnTo>
                      <a:lnTo>
                        <a:pt x="189" y="418"/>
                      </a:lnTo>
                      <a:lnTo>
                        <a:pt x="193" y="420"/>
                      </a:lnTo>
                      <a:lnTo>
                        <a:pt x="193" y="420"/>
                      </a:lnTo>
                      <a:lnTo>
                        <a:pt x="203" y="423"/>
                      </a:lnTo>
                      <a:lnTo>
                        <a:pt x="212" y="427"/>
                      </a:lnTo>
                      <a:lnTo>
                        <a:pt x="217" y="428"/>
                      </a:lnTo>
                      <a:lnTo>
                        <a:pt x="221" y="432"/>
                      </a:lnTo>
                      <a:lnTo>
                        <a:pt x="224" y="435"/>
                      </a:lnTo>
                      <a:lnTo>
                        <a:pt x="228" y="442"/>
                      </a:lnTo>
                      <a:lnTo>
                        <a:pt x="228" y="442"/>
                      </a:lnTo>
                      <a:lnTo>
                        <a:pt x="231" y="451"/>
                      </a:lnTo>
                      <a:lnTo>
                        <a:pt x="238" y="455"/>
                      </a:lnTo>
                      <a:lnTo>
                        <a:pt x="243" y="455"/>
                      </a:lnTo>
                      <a:lnTo>
                        <a:pt x="249" y="453"/>
                      </a:lnTo>
                      <a:lnTo>
                        <a:pt x="261" y="446"/>
                      </a:lnTo>
                      <a:lnTo>
                        <a:pt x="266" y="442"/>
                      </a:lnTo>
                      <a:lnTo>
                        <a:pt x="271" y="441"/>
                      </a:lnTo>
                      <a:lnTo>
                        <a:pt x="271" y="441"/>
                      </a:lnTo>
                      <a:lnTo>
                        <a:pt x="275" y="442"/>
                      </a:lnTo>
                      <a:lnTo>
                        <a:pt x="280" y="444"/>
                      </a:lnTo>
                      <a:lnTo>
                        <a:pt x="289" y="451"/>
                      </a:lnTo>
                      <a:lnTo>
                        <a:pt x="301" y="460"/>
                      </a:lnTo>
                      <a:lnTo>
                        <a:pt x="308" y="462"/>
                      </a:lnTo>
                      <a:lnTo>
                        <a:pt x="316" y="463"/>
                      </a:lnTo>
                      <a:lnTo>
                        <a:pt x="316" y="463"/>
                      </a:lnTo>
                      <a:lnTo>
                        <a:pt x="325" y="463"/>
                      </a:lnTo>
                      <a:lnTo>
                        <a:pt x="330" y="462"/>
                      </a:lnTo>
                      <a:lnTo>
                        <a:pt x="334" y="460"/>
                      </a:lnTo>
                      <a:lnTo>
                        <a:pt x="337" y="456"/>
                      </a:lnTo>
                      <a:lnTo>
                        <a:pt x="343" y="451"/>
                      </a:lnTo>
                      <a:lnTo>
                        <a:pt x="348" y="448"/>
                      </a:lnTo>
                      <a:lnTo>
                        <a:pt x="356" y="444"/>
                      </a:lnTo>
                      <a:lnTo>
                        <a:pt x="369" y="441"/>
                      </a:lnTo>
                      <a:lnTo>
                        <a:pt x="369" y="441"/>
                      </a:lnTo>
                      <a:lnTo>
                        <a:pt x="383" y="439"/>
                      </a:lnTo>
                      <a:lnTo>
                        <a:pt x="393" y="441"/>
                      </a:lnTo>
                      <a:lnTo>
                        <a:pt x="404" y="444"/>
                      </a:lnTo>
                      <a:lnTo>
                        <a:pt x="412" y="449"/>
                      </a:lnTo>
                      <a:lnTo>
                        <a:pt x="421" y="453"/>
                      </a:lnTo>
                      <a:lnTo>
                        <a:pt x="426" y="455"/>
                      </a:lnTo>
                      <a:lnTo>
                        <a:pt x="431" y="453"/>
                      </a:lnTo>
                      <a:lnTo>
                        <a:pt x="437" y="448"/>
                      </a:lnTo>
                      <a:lnTo>
                        <a:pt x="437" y="448"/>
                      </a:lnTo>
                      <a:lnTo>
                        <a:pt x="442" y="437"/>
                      </a:lnTo>
                      <a:lnTo>
                        <a:pt x="445" y="435"/>
                      </a:lnTo>
                      <a:lnTo>
                        <a:pt x="447" y="434"/>
                      </a:lnTo>
                      <a:lnTo>
                        <a:pt x="457" y="432"/>
                      </a:lnTo>
                      <a:lnTo>
                        <a:pt x="471" y="427"/>
                      </a:lnTo>
                      <a:lnTo>
                        <a:pt x="471" y="427"/>
                      </a:lnTo>
                      <a:lnTo>
                        <a:pt x="470" y="418"/>
                      </a:lnTo>
                      <a:lnTo>
                        <a:pt x="468" y="409"/>
                      </a:lnTo>
                      <a:lnTo>
                        <a:pt x="470" y="399"/>
                      </a:lnTo>
                      <a:lnTo>
                        <a:pt x="473" y="390"/>
                      </a:lnTo>
                      <a:lnTo>
                        <a:pt x="480" y="369"/>
                      </a:lnTo>
                      <a:lnTo>
                        <a:pt x="492" y="350"/>
                      </a:lnTo>
                      <a:lnTo>
                        <a:pt x="504" y="331"/>
                      </a:lnTo>
                      <a:lnTo>
                        <a:pt x="517" y="315"/>
                      </a:lnTo>
                      <a:lnTo>
                        <a:pt x="527" y="305"/>
                      </a:lnTo>
                      <a:lnTo>
                        <a:pt x="532" y="298"/>
                      </a:lnTo>
                      <a:lnTo>
                        <a:pt x="532" y="298"/>
                      </a:lnTo>
                      <a:lnTo>
                        <a:pt x="536" y="294"/>
                      </a:lnTo>
                      <a:lnTo>
                        <a:pt x="538" y="286"/>
                      </a:lnTo>
                      <a:lnTo>
                        <a:pt x="541" y="258"/>
                      </a:lnTo>
                      <a:lnTo>
                        <a:pt x="543" y="223"/>
                      </a:lnTo>
                      <a:lnTo>
                        <a:pt x="543" y="188"/>
                      </a:lnTo>
                      <a:lnTo>
                        <a:pt x="543" y="188"/>
                      </a:lnTo>
                      <a:lnTo>
                        <a:pt x="545" y="173"/>
                      </a:lnTo>
                      <a:lnTo>
                        <a:pt x="546" y="162"/>
                      </a:lnTo>
                      <a:lnTo>
                        <a:pt x="550" y="152"/>
                      </a:lnTo>
                      <a:lnTo>
                        <a:pt x="552" y="146"/>
                      </a:lnTo>
                      <a:lnTo>
                        <a:pt x="552" y="139"/>
                      </a:lnTo>
                      <a:lnTo>
                        <a:pt x="546" y="131"/>
                      </a:lnTo>
                      <a:lnTo>
                        <a:pt x="539" y="117"/>
                      </a:lnTo>
                      <a:lnTo>
                        <a:pt x="539" y="117"/>
                      </a:lnTo>
                      <a:lnTo>
                        <a:pt x="532" y="103"/>
                      </a:lnTo>
                      <a:lnTo>
                        <a:pt x="529" y="91"/>
                      </a:lnTo>
                      <a:lnTo>
                        <a:pt x="527" y="78"/>
                      </a:lnTo>
                      <a:lnTo>
                        <a:pt x="527" y="70"/>
                      </a:lnTo>
                      <a:lnTo>
                        <a:pt x="525" y="49"/>
                      </a:lnTo>
                      <a:lnTo>
                        <a:pt x="524" y="38"/>
                      </a:lnTo>
                      <a:lnTo>
                        <a:pt x="518" y="25"/>
                      </a:lnTo>
                      <a:lnTo>
                        <a:pt x="518" y="25"/>
                      </a:lnTo>
                      <a:lnTo>
                        <a:pt x="503" y="35"/>
                      </a:lnTo>
                      <a:lnTo>
                        <a:pt x="496" y="38"/>
                      </a:lnTo>
                      <a:lnTo>
                        <a:pt x="492" y="38"/>
                      </a:lnTo>
                      <a:lnTo>
                        <a:pt x="491" y="37"/>
                      </a:lnTo>
                      <a:lnTo>
                        <a:pt x="484" y="28"/>
                      </a:lnTo>
                      <a:lnTo>
                        <a:pt x="484" y="28"/>
                      </a:lnTo>
                      <a:lnTo>
                        <a:pt x="477" y="21"/>
                      </a:lnTo>
                      <a:lnTo>
                        <a:pt x="468" y="16"/>
                      </a:lnTo>
                      <a:lnTo>
                        <a:pt x="457" y="12"/>
                      </a:lnTo>
                      <a:lnTo>
                        <a:pt x="449" y="11"/>
                      </a:lnTo>
                      <a:lnTo>
                        <a:pt x="430" y="5"/>
                      </a:lnTo>
                      <a:lnTo>
                        <a:pt x="421" y="4"/>
                      </a:lnTo>
                      <a:lnTo>
                        <a:pt x="414" y="0"/>
                      </a:lnTo>
                      <a:lnTo>
                        <a:pt x="414" y="0"/>
                      </a:lnTo>
                      <a:lnTo>
                        <a:pt x="346" y="51"/>
                      </a:lnTo>
                      <a:lnTo>
                        <a:pt x="259" y="112"/>
                      </a:lnTo>
                      <a:lnTo>
                        <a:pt x="259" y="112"/>
                      </a:lnTo>
                      <a:lnTo>
                        <a:pt x="247" y="124"/>
                      </a:lnTo>
                      <a:lnTo>
                        <a:pt x="236" y="136"/>
                      </a:lnTo>
                      <a:lnTo>
                        <a:pt x="228" y="148"/>
                      </a:lnTo>
                      <a:lnTo>
                        <a:pt x="219" y="160"/>
                      </a:lnTo>
                      <a:lnTo>
                        <a:pt x="208" y="173"/>
                      </a:lnTo>
                      <a:lnTo>
                        <a:pt x="202" y="176"/>
                      </a:lnTo>
                      <a:lnTo>
                        <a:pt x="193" y="181"/>
                      </a:lnTo>
                      <a:lnTo>
                        <a:pt x="182" y="185"/>
                      </a:lnTo>
                      <a:lnTo>
                        <a:pt x="172" y="188"/>
                      </a:lnTo>
                      <a:lnTo>
                        <a:pt x="158" y="190"/>
                      </a:lnTo>
                      <a:lnTo>
                        <a:pt x="142" y="190"/>
                      </a:lnTo>
                      <a:lnTo>
                        <a:pt x="142" y="19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2" name="Freeform 1761">
                  <a:extLst>
                    <a:ext uri="{FF2B5EF4-FFF2-40B4-BE49-F238E27FC236}">
                      <a16:creationId xmlns:a16="http://schemas.microsoft.com/office/drawing/2014/main" id="{52D1327C-1736-BCA8-A8F3-936F89174D53}"/>
                    </a:ext>
                  </a:extLst>
                </p:cNvPr>
                <p:cNvSpPr>
                  <a:spLocks/>
                </p:cNvSpPr>
                <p:nvPr/>
              </p:nvSpPr>
              <p:spPr bwMode="auto">
                <a:xfrm>
                  <a:off x="4379672" y="3653678"/>
                  <a:ext cx="463407" cy="518028"/>
                </a:xfrm>
                <a:custGeom>
                  <a:avLst/>
                  <a:gdLst/>
                  <a:ahLst/>
                  <a:cxnLst>
                    <a:cxn ang="0">
                      <a:pos x="468" y="432"/>
                    </a:cxn>
                    <a:cxn ang="0">
                      <a:pos x="517" y="423"/>
                    </a:cxn>
                    <a:cxn ang="0">
                      <a:pos x="550" y="420"/>
                    </a:cxn>
                    <a:cxn ang="0">
                      <a:pos x="562" y="407"/>
                    </a:cxn>
                    <a:cxn ang="0">
                      <a:pos x="573" y="378"/>
                    </a:cxn>
                    <a:cxn ang="0">
                      <a:pos x="562" y="261"/>
                    </a:cxn>
                    <a:cxn ang="0">
                      <a:pos x="536" y="256"/>
                    </a:cxn>
                    <a:cxn ang="0">
                      <a:pos x="543" y="233"/>
                    </a:cxn>
                    <a:cxn ang="0">
                      <a:pos x="519" y="221"/>
                    </a:cxn>
                    <a:cxn ang="0">
                      <a:pos x="501" y="211"/>
                    </a:cxn>
                    <a:cxn ang="0">
                      <a:pos x="481" y="193"/>
                    </a:cxn>
                    <a:cxn ang="0">
                      <a:pos x="470" y="174"/>
                    </a:cxn>
                    <a:cxn ang="0">
                      <a:pos x="198" y="0"/>
                    </a:cxn>
                    <a:cxn ang="0">
                      <a:pos x="240" y="380"/>
                    </a:cxn>
                    <a:cxn ang="0">
                      <a:pos x="106" y="414"/>
                    </a:cxn>
                    <a:cxn ang="0">
                      <a:pos x="96" y="416"/>
                    </a:cxn>
                    <a:cxn ang="0">
                      <a:pos x="63" y="418"/>
                    </a:cxn>
                    <a:cxn ang="0">
                      <a:pos x="44" y="434"/>
                    </a:cxn>
                    <a:cxn ang="0">
                      <a:pos x="23" y="409"/>
                    </a:cxn>
                    <a:cxn ang="0">
                      <a:pos x="14" y="437"/>
                    </a:cxn>
                    <a:cxn ang="0">
                      <a:pos x="0" y="460"/>
                    </a:cxn>
                    <a:cxn ang="0">
                      <a:pos x="9" y="479"/>
                    </a:cxn>
                    <a:cxn ang="0">
                      <a:pos x="10" y="505"/>
                    </a:cxn>
                    <a:cxn ang="0">
                      <a:pos x="28" y="519"/>
                    </a:cxn>
                    <a:cxn ang="0">
                      <a:pos x="26" y="554"/>
                    </a:cxn>
                    <a:cxn ang="0">
                      <a:pos x="37" y="564"/>
                    </a:cxn>
                    <a:cxn ang="0">
                      <a:pos x="47" y="559"/>
                    </a:cxn>
                    <a:cxn ang="0">
                      <a:pos x="61" y="559"/>
                    </a:cxn>
                    <a:cxn ang="0">
                      <a:pos x="89" y="564"/>
                    </a:cxn>
                    <a:cxn ang="0">
                      <a:pos x="99" y="554"/>
                    </a:cxn>
                    <a:cxn ang="0">
                      <a:pos x="108" y="545"/>
                    </a:cxn>
                    <a:cxn ang="0">
                      <a:pos x="118" y="564"/>
                    </a:cxn>
                    <a:cxn ang="0">
                      <a:pos x="118" y="580"/>
                    </a:cxn>
                    <a:cxn ang="0">
                      <a:pos x="134" y="595"/>
                    </a:cxn>
                    <a:cxn ang="0">
                      <a:pos x="124" y="609"/>
                    </a:cxn>
                    <a:cxn ang="0">
                      <a:pos x="136" y="606"/>
                    </a:cxn>
                    <a:cxn ang="0">
                      <a:pos x="141" y="634"/>
                    </a:cxn>
                    <a:cxn ang="0">
                      <a:pos x="158" y="635"/>
                    </a:cxn>
                    <a:cxn ang="0">
                      <a:pos x="183" y="642"/>
                    </a:cxn>
                    <a:cxn ang="0">
                      <a:pos x="211" y="622"/>
                    </a:cxn>
                    <a:cxn ang="0">
                      <a:pos x="214" y="642"/>
                    </a:cxn>
                    <a:cxn ang="0">
                      <a:pos x="237" y="625"/>
                    </a:cxn>
                    <a:cxn ang="0">
                      <a:pos x="239" y="604"/>
                    </a:cxn>
                    <a:cxn ang="0">
                      <a:pos x="240" y="575"/>
                    </a:cxn>
                    <a:cxn ang="0">
                      <a:pos x="270" y="557"/>
                    </a:cxn>
                    <a:cxn ang="0">
                      <a:pos x="272" y="536"/>
                    </a:cxn>
                    <a:cxn ang="0">
                      <a:pos x="282" y="524"/>
                    </a:cxn>
                    <a:cxn ang="0">
                      <a:pos x="287" y="503"/>
                    </a:cxn>
                    <a:cxn ang="0">
                      <a:pos x="299" y="514"/>
                    </a:cxn>
                    <a:cxn ang="0">
                      <a:pos x="313" y="498"/>
                    </a:cxn>
                    <a:cxn ang="0">
                      <a:pos x="326" y="496"/>
                    </a:cxn>
                    <a:cxn ang="0">
                      <a:pos x="338" y="470"/>
                    </a:cxn>
                    <a:cxn ang="0">
                      <a:pos x="355" y="472"/>
                    </a:cxn>
                    <a:cxn ang="0">
                      <a:pos x="381" y="447"/>
                    </a:cxn>
                    <a:cxn ang="0">
                      <a:pos x="411" y="434"/>
                    </a:cxn>
                    <a:cxn ang="0">
                      <a:pos x="432" y="439"/>
                    </a:cxn>
                  </a:cxnLst>
                  <a:rect l="0" t="0" r="r" b="b"/>
                  <a:pathLst>
                    <a:path w="578" h="644">
                      <a:moveTo>
                        <a:pt x="435" y="439"/>
                      </a:moveTo>
                      <a:lnTo>
                        <a:pt x="435" y="439"/>
                      </a:lnTo>
                      <a:lnTo>
                        <a:pt x="449" y="439"/>
                      </a:lnTo>
                      <a:lnTo>
                        <a:pt x="458" y="439"/>
                      </a:lnTo>
                      <a:lnTo>
                        <a:pt x="463" y="435"/>
                      </a:lnTo>
                      <a:lnTo>
                        <a:pt x="468" y="432"/>
                      </a:lnTo>
                      <a:lnTo>
                        <a:pt x="470" y="430"/>
                      </a:lnTo>
                      <a:lnTo>
                        <a:pt x="475" y="427"/>
                      </a:lnTo>
                      <a:lnTo>
                        <a:pt x="482" y="425"/>
                      </a:lnTo>
                      <a:lnTo>
                        <a:pt x="493" y="423"/>
                      </a:lnTo>
                      <a:lnTo>
                        <a:pt x="493" y="423"/>
                      </a:lnTo>
                      <a:lnTo>
                        <a:pt x="517" y="423"/>
                      </a:lnTo>
                      <a:lnTo>
                        <a:pt x="533" y="421"/>
                      </a:lnTo>
                      <a:lnTo>
                        <a:pt x="541" y="418"/>
                      </a:lnTo>
                      <a:lnTo>
                        <a:pt x="547" y="420"/>
                      </a:lnTo>
                      <a:lnTo>
                        <a:pt x="547" y="420"/>
                      </a:lnTo>
                      <a:lnTo>
                        <a:pt x="548" y="420"/>
                      </a:lnTo>
                      <a:lnTo>
                        <a:pt x="550" y="420"/>
                      </a:lnTo>
                      <a:lnTo>
                        <a:pt x="552" y="416"/>
                      </a:lnTo>
                      <a:lnTo>
                        <a:pt x="554" y="413"/>
                      </a:lnTo>
                      <a:lnTo>
                        <a:pt x="555" y="411"/>
                      </a:lnTo>
                      <a:lnTo>
                        <a:pt x="559" y="409"/>
                      </a:lnTo>
                      <a:lnTo>
                        <a:pt x="559" y="409"/>
                      </a:lnTo>
                      <a:lnTo>
                        <a:pt x="562" y="407"/>
                      </a:lnTo>
                      <a:lnTo>
                        <a:pt x="564" y="406"/>
                      </a:lnTo>
                      <a:lnTo>
                        <a:pt x="568" y="397"/>
                      </a:lnTo>
                      <a:lnTo>
                        <a:pt x="569" y="387"/>
                      </a:lnTo>
                      <a:lnTo>
                        <a:pt x="571" y="381"/>
                      </a:lnTo>
                      <a:lnTo>
                        <a:pt x="573" y="378"/>
                      </a:lnTo>
                      <a:lnTo>
                        <a:pt x="573" y="378"/>
                      </a:lnTo>
                      <a:lnTo>
                        <a:pt x="576" y="371"/>
                      </a:lnTo>
                      <a:lnTo>
                        <a:pt x="576" y="355"/>
                      </a:lnTo>
                      <a:lnTo>
                        <a:pt x="578" y="315"/>
                      </a:lnTo>
                      <a:lnTo>
                        <a:pt x="576" y="256"/>
                      </a:lnTo>
                      <a:lnTo>
                        <a:pt x="576" y="256"/>
                      </a:lnTo>
                      <a:lnTo>
                        <a:pt x="562" y="261"/>
                      </a:lnTo>
                      <a:lnTo>
                        <a:pt x="552" y="263"/>
                      </a:lnTo>
                      <a:lnTo>
                        <a:pt x="545" y="265"/>
                      </a:lnTo>
                      <a:lnTo>
                        <a:pt x="540" y="263"/>
                      </a:lnTo>
                      <a:lnTo>
                        <a:pt x="536" y="261"/>
                      </a:lnTo>
                      <a:lnTo>
                        <a:pt x="536" y="258"/>
                      </a:lnTo>
                      <a:lnTo>
                        <a:pt x="536" y="256"/>
                      </a:lnTo>
                      <a:lnTo>
                        <a:pt x="538" y="252"/>
                      </a:lnTo>
                      <a:lnTo>
                        <a:pt x="538" y="252"/>
                      </a:lnTo>
                      <a:lnTo>
                        <a:pt x="540" y="249"/>
                      </a:lnTo>
                      <a:lnTo>
                        <a:pt x="543" y="245"/>
                      </a:lnTo>
                      <a:lnTo>
                        <a:pt x="543" y="240"/>
                      </a:lnTo>
                      <a:lnTo>
                        <a:pt x="543" y="233"/>
                      </a:lnTo>
                      <a:lnTo>
                        <a:pt x="541" y="230"/>
                      </a:lnTo>
                      <a:lnTo>
                        <a:pt x="538" y="225"/>
                      </a:lnTo>
                      <a:lnTo>
                        <a:pt x="533" y="223"/>
                      </a:lnTo>
                      <a:lnTo>
                        <a:pt x="526" y="221"/>
                      </a:lnTo>
                      <a:lnTo>
                        <a:pt x="526" y="221"/>
                      </a:lnTo>
                      <a:lnTo>
                        <a:pt x="519" y="221"/>
                      </a:lnTo>
                      <a:lnTo>
                        <a:pt x="515" y="219"/>
                      </a:lnTo>
                      <a:lnTo>
                        <a:pt x="512" y="218"/>
                      </a:lnTo>
                      <a:lnTo>
                        <a:pt x="512" y="214"/>
                      </a:lnTo>
                      <a:lnTo>
                        <a:pt x="508" y="211"/>
                      </a:lnTo>
                      <a:lnTo>
                        <a:pt x="507" y="211"/>
                      </a:lnTo>
                      <a:lnTo>
                        <a:pt x="501" y="211"/>
                      </a:lnTo>
                      <a:lnTo>
                        <a:pt x="501" y="211"/>
                      </a:lnTo>
                      <a:lnTo>
                        <a:pt x="498" y="211"/>
                      </a:lnTo>
                      <a:lnTo>
                        <a:pt x="494" y="209"/>
                      </a:lnTo>
                      <a:lnTo>
                        <a:pt x="489" y="204"/>
                      </a:lnTo>
                      <a:lnTo>
                        <a:pt x="484" y="197"/>
                      </a:lnTo>
                      <a:lnTo>
                        <a:pt x="481" y="193"/>
                      </a:lnTo>
                      <a:lnTo>
                        <a:pt x="475" y="190"/>
                      </a:lnTo>
                      <a:lnTo>
                        <a:pt x="475" y="190"/>
                      </a:lnTo>
                      <a:lnTo>
                        <a:pt x="472" y="188"/>
                      </a:lnTo>
                      <a:lnTo>
                        <a:pt x="470" y="186"/>
                      </a:lnTo>
                      <a:lnTo>
                        <a:pt x="470" y="181"/>
                      </a:lnTo>
                      <a:lnTo>
                        <a:pt x="470" y="174"/>
                      </a:lnTo>
                      <a:lnTo>
                        <a:pt x="468" y="171"/>
                      </a:lnTo>
                      <a:lnTo>
                        <a:pt x="463" y="167"/>
                      </a:lnTo>
                      <a:lnTo>
                        <a:pt x="463" y="167"/>
                      </a:lnTo>
                      <a:lnTo>
                        <a:pt x="259" y="0"/>
                      </a:lnTo>
                      <a:lnTo>
                        <a:pt x="198" y="0"/>
                      </a:lnTo>
                      <a:lnTo>
                        <a:pt x="198" y="0"/>
                      </a:lnTo>
                      <a:lnTo>
                        <a:pt x="232" y="367"/>
                      </a:lnTo>
                      <a:lnTo>
                        <a:pt x="232" y="367"/>
                      </a:lnTo>
                      <a:lnTo>
                        <a:pt x="232" y="374"/>
                      </a:lnTo>
                      <a:lnTo>
                        <a:pt x="235" y="376"/>
                      </a:lnTo>
                      <a:lnTo>
                        <a:pt x="239" y="378"/>
                      </a:lnTo>
                      <a:lnTo>
                        <a:pt x="240" y="380"/>
                      </a:lnTo>
                      <a:lnTo>
                        <a:pt x="240" y="387"/>
                      </a:lnTo>
                      <a:lnTo>
                        <a:pt x="235" y="414"/>
                      </a:lnTo>
                      <a:lnTo>
                        <a:pt x="235" y="414"/>
                      </a:lnTo>
                      <a:lnTo>
                        <a:pt x="111" y="414"/>
                      </a:lnTo>
                      <a:lnTo>
                        <a:pt x="111" y="414"/>
                      </a:lnTo>
                      <a:lnTo>
                        <a:pt x="106" y="414"/>
                      </a:lnTo>
                      <a:lnTo>
                        <a:pt x="103" y="413"/>
                      </a:lnTo>
                      <a:lnTo>
                        <a:pt x="99" y="411"/>
                      </a:lnTo>
                      <a:lnTo>
                        <a:pt x="97" y="409"/>
                      </a:lnTo>
                      <a:lnTo>
                        <a:pt x="97" y="411"/>
                      </a:lnTo>
                      <a:lnTo>
                        <a:pt x="96" y="416"/>
                      </a:lnTo>
                      <a:lnTo>
                        <a:pt x="96" y="416"/>
                      </a:lnTo>
                      <a:lnTo>
                        <a:pt x="94" y="418"/>
                      </a:lnTo>
                      <a:lnTo>
                        <a:pt x="92" y="420"/>
                      </a:lnTo>
                      <a:lnTo>
                        <a:pt x="84" y="420"/>
                      </a:lnTo>
                      <a:lnTo>
                        <a:pt x="73" y="420"/>
                      </a:lnTo>
                      <a:lnTo>
                        <a:pt x="63" y="418"/>
                      </a:lnTo>
                      <a:lnTo>
                        <a:pt x="63" y="418"/>
                      </a:lnTo>
                      <a:lnTo>
                        <a:pt x="56" y="418"/>
                      </a:lnTo>
                      <a:lnTo>
                        <a:pt x="50" y="420"/>
                      </a:lnTo>
                      <a:lnTo>
                        <a:pt x="49" y="423"/>
                      </a:lnTo>
                      <a:lnTo>
                        <a:pt x="47" y="428"/>
                      </a:lnTo>
                      <a:lnTo>
                        <a:pt x="45" y="434"/>
                      </a:lnTo>
                      <a:lnTo>
                        <a:pt x="44" y="434"/>
                      </a:lnTo>
                      <a:lnTo>
                        <a:pt x="42" y="430"/>
                      </a:lnTo>
                      <a:lnTo>
                        <a:pt x="42" y="430"/>
                      </a:lnTo>
                      <a:lnTo>
                        <a:pt x="37" y="420"/>
                      </a:lnTo>
                      <a:lnTo>
                        <a:pt x="30" y="411"/>
                      </a:lnTo>
                      <a:lnTo>
                        <a:pt x="26" y="409"/>
                      </a:lnTo>
                      <a:lnTo>
                        <a:pt x="23" y="409"/>
                      </a:lnTo>
                      <a:lnTo>
                        <a:pt x="19" y="413"/>
                      </a:lnTo>
                      <a:lnTo>
                        <a:pt x="16" y="418"/>
                      </a:lnTo>
                      <a:lnTo>
                        <a:pt x="16" y="418"/>
                      </a:lnTo>
                      <a:lnTo>
                        <a:pt x="12" y="425"/>
                      </a:lnTo>
                      <a:lnTo>
                        <a:pt x="12" y="430"/>
                      </a:lnTo>
                      <a:lnTo>
                        <a:pt x="14" y="437"/>
                      </a:lnTo>
                      <a:lnTo>
                        <a:pt x="16" y="440"/>
                      </a:lnTo>
                      <a:lnTo>
                        <a:pt x="14" y="444"/>
                      </a:lnTo>
                      <a:lnTo>
                        <a:pt x="9" y="446"/>
                      </a:lnTo>
                      <a:lnTo>
                        <a:pt x="0" y="449"/>
                      </a:lnTo>
                      <a:lnTo>
                        <a:pt x="0" y="449"/>
                      </a:lnTo>
                      <a:lnTo>
                        <a:pt x="0" y="460"/>
                      </a:lnTo>
                      <a:lnTo>
                        <a:pt x="0" y="461"/>
                      </a:lnTo>
                      <a:lnTo>
                        <a:pt x="2" y="463"/>
                      </a:lnTo>
                      <a:lnTo>
                        <a:pt x="5" y="468"/>
                      </a:lnTo>
                      <a:lnTo>
                        <a:pt x="7" y="472"/>
                      </a:lnTo>
                      <a:lnTo>
                        <a:pt x="9" y="479"/>
                      </a:lnTo>
                      <a:lnTo>
                        <a:pt x="9" y="479"/>
                      </a:lnTo>
                      <a:lnTo>
                        <a:pt x="9" y="487"/>
                      </a:lnTo>
                      <a:lnTo>
                        <a:pt x="5" y="491"/>
                      </a:lnTo>
                      <a:lnTo>
                        <a:pt x="5" y="493"/>
                      </a:lnTo>
                      <a:lnTo>
                        <a:pt x="9" y="501"/>
                      </a:lnTo>
                      <a:lnTo>
                        <a:pt x="9" y="501"/>
                      </a:lnTo>
                      <a:lnTo>
                        <a:pt x="10" y="505"/>
                      </a:lnTo>
                      <a:lnTo>
                        <a:pt x="14" y="507"/>
                      </a:lnTo>
                      <a:lnTo>
                        <a:pt x="17" y="507"/>
                      </a:lnTo>
                      <a:lnTo>
                        <a:pt x="19" y="507"/>
                      </a:lnTo>
                      <a:lnTo>
                        <a:pt x="21" y="508"/>
                      </a:lnTo>
                      <a:lnTo>
                        <a:pt x="28" y="519"/>
                      </a:lnTo>
                      <a:lnTo>
                        <a:pt x="28" y="519"/>
                      </a:lnTo>
                      <a:lnTo>
                        <a:pt x="30" y="526"/>
                      </a:lnTo>
                      <a:lnTo>
                        <a:pt x="30" y="533"/>
                      </a:lnTo>
                      <a:lnTo>
                        <a:pt x="28" y="540"/>
                      </a:lnTo>
                      <a:lnTo>
                        <a:pt x="28" y="548"/>
                      </a:lnTo>
                      <a:lnTo>
                        <a:pt x="28" y="548"/>
                      </a:lnTo>
                      <a:lnTo>
                        <a:pt x="26" y="554"/>
                      </a:lnTo>
                      <a:lnTo>
                        <a:pt x="28" y="559"/>
                      </a:lnTo>
                      <a:lnTo>
                        <a:pt x="28" y="562"/>
                      </a:lnTo>
                      <a:lnTo>
                        <a:pt x="30" y="564"/>
                      </a:lnTo>
                      <a:lnTo>
                        <a:pt x="33" y="566"/>
                      </a:lnTo>
                      <a:lnTo>
                        <a:pt x="35" y="566"/>
                      </a:lnTo>
                      <a:lnTo>
                        <a:pt x="37" y="564"/>
                      </a:lnTo>
                      <a:lnTo>
                        <a:pt x="38" y="561"/>
                      </a:lnTo>
                      <a:lnTo>
                        <a:pt x="38" y="561"/>
                      </a:lnTo>
                      <a:lnTo>
                        <a:pt x="40" y="555"/>
                      </a:lnTo>
                      <a:lnTo>
                        <a:pt x="42" y="555"/>
                      </a:lnTo>
                      <a:lnTo>
                        <a:pt x="44" y="555"/>
                      </a:lnTo>
                      <a:lnTo>
                        <a:pt x="47" y="559"/>
                      </a:lnTo>
                      <a:lnTo>
                        <a:pt x="50" y="566"/>
                      </a:lnTo>
                      <a:lnTo>
                        <a:pt x="50" y="566"/>
                      </a:lnTo>
                      <a:lnTo>
                        <a:pt x="52" y="568"/>
                      </a:lnTo>
                      <a:lnTo>
                        <a:pt x="54" y="568"/>
                      </a:lnTo>
                      <a:lnTo>
                        <a:pt x="59" y="562"/>
                      </a:lnTo>
                      <a:lnTo>
                        <a:pt x="61" y="559"/>
                      </a:lnTo>
                      <a:lnTo>
                        <a:pt x="66" y="557"/>
                      </a:lnTo>
                      <a:lnTo>
                        <a:pt x="71" y="557"/>
                      </a:lnTo>
                      <a:lnTo>
                        <a:pt x="78" y="561"/>
                      </a:lnTo>
                      <a:lnTo>
                        <a:pt x="78" y="561"/>
                      </a:lnTo>
                      <a:lnTo>
                        <a:pt x="87" y="564"/>
                      </a:lnTo>
                      <a:lnTo>
                        <a:pt x="89" y="564"/>
                      </a:lnTo>
                      <a:lnTo>
                        <a:pt x="91" y="562"/>
                      </a:lnTo>
                      <a:lnTo>
                        <a:pt x="92" y="559"/>
                      </a:lnTo>
                      <a:lnTo>
                        <a:pt x="94" y="555"/>
                      </a:lnTo>
                      <a:lnTo>
                        <a:pt x="97" y="555"/>
                      </a:lnTo>
                      <a:lnTo>
                        <a:pt x="97" y="555"/>
                      </a:lnTo>
                      <a:lnTo>
                        <a:pt x="99" y="554"/>
                      </a:lnTo>
                      <a:lnTo>
                        <a:pt x="101" y="552"/>
                      </a:lnTo>
                      <a:lnTo>
                        <a:pt x="99" y="547"/>
                      </a:lnTo>
                      <a:lnTo>
                        <a:pt x="99" y="545"/>
                      </a:lnTo>
                      <a:lnTo>
                        <a:pt x="101" y="543"/>
                      </a:lnTo>
                      <a:lnTo>
                        <a:pt x="108" y="545"/>
                      </a:lnTo>
                      <a:lnTo>
                        <a:pt x="108" y="545"/>
                      </a:lnTo>
                      <a:lnTo>
                        <a:pt x="111" y="547"/>
                      </a:lnTo>
                      <a:lnTo>
                        <a:pt x="113" y="550"/>
                      </a:lnTo>
                      <a:lnTo>
                        <a:pt x="115" y="555"/>
                      </a:lnTo>
                      <a:lnTo>
                        <a:pt x="117" y="561"/>
                      </a:lnTo>
                      <a:lnTo>
                        <a:pt x="117" y="564"/>
                      </a:lnTo>
                      <a:lnTo>
                        <a:pt x="118" y="564"/>
                      </a:lnTo>
                      <a:lnTo>
                        <a:pt x="118" y="564"/>
                      </a:lnTo>
                      <a:lnTo>
                        <a:pt x="120" y="566"/>
                      </a:lnTo>
                      <a:lnTo>
                        <a:pt x="120" y="568"/>
                      </a:lnTo>
                      <a:lnTo>
                        <a:pt x="120" y="575"/>
                      </a:lnTo>
                      <a:lnTo>
                        <a:pt x="118" y="578"/>
                      </a:lnTo>
                      <a:lnTo>
                        <a:pt x="118" y="580"/>
                      </a:lnTo>
                      <a:lnTo>
                        <a:pt x="120" y="582"/>
                      </a:lnTo>
                      <a:lnTo>
                        <a:pt x="120" y="582"/>
                      </a:lnTo>
                      <a:lnTo>
                        <a:pt x="125" y="583"/>
                      </a:lnTo>
                      <a:lnTo>
                        <a:pt x="131" y="588"/>
                      </a:lnTo>
                      <a:lnTo>
                        <a:pt x="134" y="592"/>
                      </a:lnTo>
                      <a:lnTo>
                        <a:pt x="134" y="595"/>
                      </a:lnTo>
                      <a:lnTo>
                        <a:pt x="132" y="595"/>
                      </a:lnTo>
                      <a:lnTo>
                        <a:pt x="132" y="595"/>
                      </a:lnTo>
                      <a:lnTo>
                        <a:pt x="129" y="597"/>
                      </a:lnTo>
                      <a:lnTo>
                        <a:pt x="127" y="599"/>
                      </a:lnTo>
                      <a:lnTo>
                        <a:pt x="124" y="606"/>
                      </a:lnTo>
                      <a:lnTo>
                        <a:pt x="124" y="609"/>
                      </a:lnTo>
                      <a:lnTo>
                        <a:pt x="125" y="611"/>
                      </a:lnTo>
                      <a:lnTo>
                        <a:pt x="127" y="608"/>
                      </a:lnTo>
                      <a:lnTo>
                        <a:pt x="127" y="608"/>
                      </a:lnTo>
                      <a:lnTo>
                        <a:pt x="132" y="604"/>
                      </a:lnTo>
                      <a:lnTo>
                        <a:pt x="134" y="604"/>
                      </a:lnTo>
                      <a:lnTo>
                        <a:pt x="136" y="606"/>
                      </a:lnTo>
                      <a:lnTo>
                        <a:pt x="138" y="613"/>
                      </a:lnTo>
                      <a:lnTo>
                        <a:pt x="138" y="623"/>
                      </a:lnTo>
                      <a:lnTo>
                        <a:pt x="138" y="623"/>
                      </a:lnTo>
                      <a:lnTo>
                        <a:pt x="138" y="632"/>
                      </a:lnTo>
                      <a:lnTo>
                        <a:pt x="139" y="632"/>
                      </a:lnTo>
                      <a:lnTo>
                        <a:pt x="141" y="634"/>
                      </a:lnTo>
                      <a:lnTo>
                        <a:pt x="143" y="634"/>
                      </a:lnTo>
                      <a:lnTo>
                        <a:pt x="145" y="634"/>
                      </a:lnTo>
                      <a:lnTo>
                        <a:pt x="148" y="637"/>
                      </a:lnTo>
                      <a:lnTo>
                        <a:pt x="150" y="644"/>
                      </a:lnTo>
                      <a:lnTo>
                        <a:pt x="150" y="644"/>
                      </a:lnTo>
                      <a:lnTo>
                        <a:pt x="158" y="635"/>
                      </a:lnTo>
                      <a:lnTo>
                        <a:pt x="164" y="634"/>
                      </a:lnTo>
                      <a:lnTo>
                        <a:pt x="169" y="634"/>
                      </a:lnTo>
                      <a:lnTo>
                        <a:pt x="172" y="637"/>
                      </a:lnTo>
                      <a:lnTo>
                        <a:pt x="174" y="641"/>
                      </a:lnTo>
                      <a:lnTo>
                        <a:pt x="178" y="642"/>
                      </a:lnTo>
                      <a:lnTo>
                        <a:pt x="183" y="642"/>
                      </a:lnTo>
                      <a:lnTo>
                        <a:pt x="188" y="637"/>
                      </a:lnTo>
                      <a:lnTo>
                        <a:pt x="188" y="637"/>
                      </a:lnTo>
                      <a:lnTo>
                        <a:pt x="198" y="625"/>
                      </a:lnTo>
                      <a:lnTo>
                        <a:pt x="205" y="618"/>
                      </a:lnTo>
                      <a:lnTo>
                        <a:pt x="209" y="618"/>
                      </a:lnTo>
                      <a:lnTo>
                        <a:pt x="211" y="622"/>
                      </a:lnTo>
                      <a:lnTo>
                        <a:pt x="211" y="625"/>
                      </a:lnTo>
                      <a:lnTo>
                        <a:pt x="211" y="634"/>
                      </a:lnTo>
                      <a:lnTo>
                        <a:pt x="211" y="634"/>
                      </a:lnTo>
                      <a:lnTo>
                        <a:pt x="211" y="639"/>
                      </a:lnTo>
                      <a:lnTo>
                        <a:pt x="212" y="642"/>
                      </a:lnTo>
                      <a:lnTo>
                        <a:pt x="214" y="642"/>
                      </a:lnTo>
                      <a:lnTo>
                        <a:pt x="218" y="642"/>
                      </a:lnTo>
                      <a:lnTo>
                        <a:pt x="225" y="635"/>
                      </a:lnTo>
                      <a:lnTo>
                        <a:pt x="230" y="634"/>
                      </a:lnTo>
                      <a:lnTo>
                        <a:pt x="235" y="632"/>
                      </a:lnTo>
                      <a:lnTo>
                        <a:pt x="235" y="632"/>
                      </a:lnTo>
                      <a:lnTo>
                        <a:pt x="237" y="625"/>
                      </a:lnTo>
                      <a:lnTo>
                        <a:pt x="237" y="620"/>
                      </a:lnTo>
                      <a:lnTo>
                        <a:pt x="235" y="611"/>
                      </a:lnTo>
                      <a:lnTo>
                        <a:pt x="235" y="606"/>
                      </a:lnTo>
                      <a:lnTo>
                        <a:pt x="237" y="604"/>
                      </a:lnTo>
                      <a:lnTo>
                        <a:pt x="239" y="604"/>
                      </a:lnTo>
                      <a:lnTo>
                        <a:pt x="239" y="604"/>
                      </a:lnTo>
                      <a:lnTo>
                        <a:pt x="242" y="602"/>
                      </a:lnTo>
                      <a:lnTo>
                        <a:pt x="242" y="599"/>
                      </a:lnTo>
                      <a:lnTo>
                        <a:pt x="244" y="590"/>
                      </a:lnTo>
                      <a:lnTo>
                        <a:pt x="242" y="582"/>
                      </a:lnTo>
                      <a:lnTo>
                        <a:pt x="240" y="575"/>
                      </a:lnTo>
                      <a:lnTo>
                        <a:pt x="240" y="575"/>
                      </a:lnTo>
                      <a:lnTo>
                        <a:pt x="240" y="571"/>
                      </a:lnTo>
                      <a:lnTo>
                        <a:pt x="242" y="569"/>
                      </a:lnTo>
                      <a:lnTo>
                        <a:pt x="251" y="568"/>
                      </a:lnTo>
                      <a:lnTo>
                        <a:pt x="261" y="564"/>
                      </a:lnTo>
                      <a:lnTo>
                        <a:pt x="266" y="562"/>
                      </a:lnTo>
                      <a:lnTo>
                        <a:pt x="270" y="557"/>
                      </a:lnTo>
                      <a:lnTo>
                        <a:pt x="270" y="557"/>
                      </a:lnTo>
                      <a:lnTo>
                        <a:pt x="275" y="545"/>
                      </a:lnTo>
                      <a:lnTo>
                        <a:pt x="275" y="541"/>
                      </a:lnTo>
                      <a:lnTo>
                        <a:pt x="273" y="538"/>
                      </a:lnTo>
                      <a:lnTo>
                        <a:pt x="273" y="538"/>
                      </a:lnTo>
                      <a:lnTo>
                        <a:pt x="272" y="536"/>
                      </a:lnTo>
                      <a:lnTo>
                        <a:pt x="273" y="534"/>
                      </a:lnTo>
                      <a:lnTo>
                        <a:pt x="279" y="533"/>
                      </a:lnTo>
                      <a:lnTo>
                        <a:pt x="282" y="533"/>
                      </a:lnTo>
                      <a:lnTo>
                        <a:pt x="284" y="531"/>
                      </a:lnTo>
                      <a:lnTo>
                        <a:pt x="284" y="528"/>
                      </a:lnTo>
                      <a:lnTo>
                        <a:pt x="282" y="524"/>
                      </a:lnTo>
                      <a:lnTo>
                        <a:pt x="282" y="524"/>
                      </a:lnTo>
                      <a:lnTo>
                        <a:pt x="280" y="519"/>
                      </a:lnTo>
                      <a:lnTo>
                        <a:pt x="280" y="514"/>
                      </a:lnTo>
                      <a:lnTo>
                        <a:pt x="282" y="508"/>
                      </a:lnTo>
                      <a:lnTo>
                        <a:pt x="287" y="503"/>
                      </a:lnTo>
                      <a:lnTo>
                        <a:pt x="287" y="503"/>
                      </a:lnTo>
                      <a:lnTo>
                        <a:pt x="289" y="501"/>
                      </a:lnTo>
                      <a:lnTo>
                        <a:pt x="291" y="503"/>
                      </a:lnTo>
                      <a:lnTo>
                        <a:pt x="293" y="508"/>
                      </a:lnTo>
                      <a:lnTo>
                        <a:pt x="296" y="512"/>
                      </a:lnTo>
                      <a:lnTo>
                        <a:pt x="299" y="514"/>
                      </a:lnTo>
                      <a:lnTo>
                        <a:pt x="299" y="514"/>
                      </a:lnTo>
                      <a:lnTo>
                        <a:pt x="305" y="514"/>
                      </a:lnTo>
                      <a:lnTo>
                        <a:pt x="308" y="514"/>
                      </a:lnTo>
                      <a:lnTo>
                        <a:pt x="310" y="512"/>
                      </a:lnTo>
                      <a:lnTo>
                        <a:pt x="312" y="510"/>
                      </a:lnTo>
                      <a:lnTo>
                        <a:pt x="313" y="505"/>
                      </a:lnTo>
                      <a:lnTo>
                        <a:pt x="313" y="498"/>
                      </a:lnTo>
                      <a:lnTo>
                        <a:pt x="313" y="498"/>
                      </a:lnTo>
                      <a:lnTo>
                        <a:pt x="313" y="494"/>
                      </a:lnTo>
                      <a:lnTo>
                        <a:pt x="315" y="493"/>
                      </a:lnTo>
                      <a:lnTo>
                        <a:pt x="320" y="494"/>
                      </a:lnTo>
                      <a:lnTo>
                        <a:pt x="324" y="496"/>
                      </a:lnTo>
                      <a:lnTo>
                        <a:pt x="326" y="496"/>
                      </a:lnTo>
                      <a:lnTo>
                        <a:pt x="327" y="494"/>
                      </a:lnTo>
                      <a:lnTo>
                        <a:pt x="329" y="491"/>
                      </a:lnTo>
                      <a:lnTo>
                        <a:pt x="329" y="491"/>
                      </a:lnTo>
                      <a:lnTo>
                        <a:pt x="331" y="481"/>
                      </a:lnTo>
                      <a:lnTo>
                        <a:pt x="336" y="474"/>
                      </a:lnTo>
                      <a:lnTo>
                        <a:pt x="338" y="470"/>
                      </a:lnTo>
                      <a:lnTo>
                        <a:pt x="343" y="470"/>
                      </a:lnTo>
                      <a:lnTo>
                        <a:pt x="346" y="470"/>
                      </a:lnTo>
                      <a:lnTo>
                        <a:pt x="350" y="472"/>
                      </a:lnTo>
                      <a:lnTo>
                        <a:pt x="350" y="472"/>
                      </a:lnTo>
                      <a:lnTo>
                        <a:pt x="353" y="474"/>
                      </a:lnTo>
                      <a:lnTo>
                        <a:pt x="355" y="472"/>
                      </a:lnTo>
                      <a:lnTo>
                        <a:pt x="357" y="465"/>
                      </a:lnTo>
                      <a:lnTo>
                        <a:pt x="360" y="456"/>
                      </a:lnTo>
                      <a:lnTo>
                        <a:pt x="364" y="453"/>
                      </a:lnTo>
                      <a:lnTo>
                        <a:pt x="369" y="451"/>
                      </a:lnTo>
                      <a:lnTo>
                        <a:pt x="369" y="451"/>
                      </a:lnTo>
                      <a:lnTo>
                        <a:pt x="381" y="447"/>
                      </a:lnTo>
                      <a:lnTo>
                        <a:pt x="390" y="442"/>
                      </a:lnTo>
                      <a:lnTo>
                        <a:pt x="400" y="435"/>
                      </a:lnTo>
                      <a:lnTo>
                        <a:pt x="406" y="432"/>
                      </a:lnTo>
                      <a:lnTo>
                        <a:pt x="407" y="432"/>
                      </a:lnTo>
                      <a:lnTo>
                        <a:pt x="411" y="434"/>
                      </a:lnTo>
                      <a:lnTo>
                        <a:pt x="411" y="434"/>
                      </a:lnTo>
                      <a:lnTo>
                        <a:pt x="416" y="435"/>
                      </a:lnTo>
                      <a:lnTo>
                        <a:pt x="418" y="434"/>
                      </a:lnTo>
                      <a:lnTo>
                        <a:pt x="420" y="434"/>
                      </a:lnTo>
                      <a:lnTo>
                        <a:pt x="425" y="435"/>
                      </a:lnTo>
                      <a:lnTo>
                        <a:pt x="425" y="435"/>
                      </a:lnTo>
                      <a:lnTo>
                        <a:pt x="432" y="439"/>
                      </a:lnTo>
                      <a:lnTo>
                        <a:pt x="435" y="439"/>
                      </a:lnTo>
                      <a:lnTo>
                        <a:pt x="435" y="43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3" name="Freeform 1762">
                  <a:extLst>
                    <a:ext uri="{FF2B5EF4-FFF2-40B4-BE49-F238E27FC236}">
                      <a16:creationId xmlns:a16="http://schemas.microsoft.com/office/drawing/2014/main" id="{0D9EF7CA-33FB-258A-655A-90E65DDE4B3C}"/>
                    </a:ext>
                  </a:extLst>
                </p:cNvPr>
                <p:cNvSpPr>
                  <a:spLocks/>
                </p:cNvSpPr>
                <p:nvPr/>
              </p:nvSpPr>
              <p:spPr bwMode="auto">
                <a:xfrm>
                  <a:off x="4243999" y="3572627"/>
                  <a:ext cx="343591" cy="440501"/>
                </a:xfrm>
                <a:custGeom>
                  <a:avLst/>
                  <a:gdLst/>
                  <a:ahLst/>
                  <a:cxnLst>
                    <a:cxn ang="0">
                      <a:pos x="23" y="479"/>
                    </a:cxn>
                    <a:cxn ang="0">
                      <a:pos x="49" y="470"/>
                    </a:cxn>
                    <a:cxn ang="0">
                      <a:pos x="87" y="468"/>
                    </a:cxn>
                    <a:cxn ang="0">
                      <a:pos x="108" y="477"/>
                    </a:cxn>
                    <a:cxn ang="0">
                      <a:pos x="124" y="493"/>
                    </a:cxn>
                    <a:cxn ang="0">
                      <a:pos x="147" y="521"/>
                    </a:cxn>
                    <a:cxn ang="0">
                      <a:pos x="171" y="550"/>
                    </a:cxn>
                    <a:cxn ang="0">
                      <a:pos x="185" y="545"/>
                    </a:cxn>
                    <a:cxn ang="0">
                      <a:pos x="183" y="531"/>
                    </a:cxn>
                    <a:cxn ang="0">
                      <a:pos x="187" y="519"/>
                    </a:cxn>
                    <a:cxn ang="0">
                      <a:pos x="197" y="510"/>
                    </a:cxn>
                    <a:cxn ang="0">
                      <a:pos x="213" y="531"/>
                    </a:cxn>
                    <a:cxn ang="0">
                      <a:pos x="216" y="535"/>
                    </a:cxn>
                    <a:cxn ang="0">
                      <a:pos x="221" y="521"/>
                    </a:cxn>
                    <a:cxn ang="0">
                      <a:pos x="234" y="519"/>
                    </a:cxn>
                    <a:cxn ang="0">
                      <a:pos x="263" y="521"/>
                    </a:cxn>
                    <a:cxn ang="0">
                      <a:pos x="267" y="517"/>
                    </a:cxn>
                    <a:cxn ang="0">
                      <a:pos x="270" y="512"/>
                    </a:cxn>
                    <a:cxn ang="0">
                      <a:pos x="282" y="515"/>
                    </a:cxn>
                    <a:cxn ang="0">
                      <a:pos x="406" y="515"/>
                    </a:cxn>
                    <a:cxn ang="0">
                      <a:pos x="410" y="479"/>
                    </a:cxn>
                    <a:cxn ang="0">
                      <a:pos x="403" y="468"/>
                    </a:cxn>
                    <a:cxn ang="0">
                      <a:pos x="430" y="101"/>
                    </a:cxn>
                    <a:cxn ang="0">
                      <a:pos x="178" y="57"/>
                    </a:cxn>
                    <a:cxn ang="0">
                      <a:pos x="154" y="181"/>
                    </a:cxn>
                    <a:cxn ang="0">
                      <a:pos x="140" y="202"/>
                    </a:cxn>
                    <a:cxn ang="0">
                      <a:pos x="143" y="261"/>
                    </a:cxn>
                    <a:cxn ang="0">
                      <a:pos x="7" y="263"/>
                    </a:cxn>
                    <a:cxn ang="0">
                      <a:pos x="0" y="280"/>
                    </a:cxn>
                    <a:cxn ang="0">
                      <a:pos x="2" y="287"/>
                    </a:cxn>
                    <a:cxn ang="0">
                      <a:pos x="6" y="275"/>
                    </a:cxn>
                    <a:cxn ang="0">
                      <a:pos x="9" y="273"/>
                    </a:cxn>
                    <a:cxn ang="0">
                      <a:pos x="13" y="286"/>
                    </a:cxn>
                    <a:cxn ang="0">
                      <a:pos x="18" y="294"/>
                    </a:cxn>
                    <a:cxn ang="0">
                      <a:pos x="23" y="294"/>
                    </a:cxn>
                    <a:cxn ang="0">
                      <a:pos x="28" y="324"/>
                    </a:cxn>
                    <a:cxn ang="0">
                      <a:pos x="26" y="336"/>
                    </a:cxn>
                    <a:cxn ang="0">
                      <a:pos x="19" y="350"/>
                    </a:cxn>
                    <a:cxn ang="0">
                      <a:pos x="25" y="357"/>
                    </a:cxn>
                    <a:cxn ang="0">
                      <a:pos x="35" y="385"/>
                    </a:cxn>
                    <a:cxn ang="0">
                      <a:pos x="35" y="423"/>
                    </a:cxn>
                    <a:cxn ang="0">
                      <a:pos x="23" y="467"/>
                    </a:cxn>
                    <a:cxn ang="0">
                      <a:pos x="19" y="484"/>
                    </a:cxn>
                  </a:cxnLst>
                  <a:rect l="0" t="0" r="r" b="b"/>
                  <a:pathLst>
                    <a:path w="430" h="550">
                      <a:moveTo>
                        <a:pt x="19" y="484"/>
                      </a:moveTo>
                      <a:lnTo>
                        <a:pt x="19" y="484"/>
                      </a:lnTo>
                      <a:lnTo>
                        <a:pt x="23" y="479"/>
                      </a:lnTo>
                      <a:lnTo>
                        <a:pt x="30" y="475"/>
                      </a:lnTo>
                      <a:lnTo>
                        <a:pt x="39" y="472"/>
                      </a:lnTo>
                      <a:lnTo>
                        <a:pt x="49" y="470"/>
                      </a:lnTo>
                      <a:lnTo>
                        <a:pt x="70" y="468"/>
                      </a:lnTo>
                      <a:lnTo>
                        <a:pt x="87" y="468"/>
                      </a:lnTo>
                      <a:lnTo>
                        <a:pt x="87" y="468"/>
                      </a:lnTo>
                      <a:lnTo>
                        <a:pt x="93" y="468"/>
                      </a:lnTo>
                      <a:lnTo>
                        <a:pt x="100" y="470"/>
                      </a:lnTo>
                      <a:lnTo>
                        <a:pt x="108" y="477"/>
                      </a:lnTo>
                      <a:lnTo>
                        <a:pt x="117" y="486"/>
                      </a:lnTo>
                      <a:lnTo>
                        <a:pt x="124" y="493"/>
                      </a:lnTo>
                      <a:lnTo>
                        <a:pt x="124" y="493"/>
                      </a:lnTo>
                      <a:lnTo>
                        <a:pt x="129" y="496"/>
                      </a:lnTo>
                      <a:lnTo>
                        <a:pt x="134" y="501"/>
                      </a:lnTo>
                      <a:lnTo>
                        <a:pt x="147" y="521"/>
                      </a:lnTo>
                      <a:lnTo>
                        <a:pt x="159" y="538"/>
                      </a:lnTo>
                      <a:lnTo>
                        <a:pt x="166" y="545"/>
                      </a:lnTo>
                      <a:lnTo>
                        <a:pt x="171" y="550"/>
                      </a:lnTo>
                      <a:lnTo>
                        <a:pt x="171" y="550"/>
                      </a:lnTo>
                      <a:lnTo>
                        <a:pt x="180" y="547"/>
                      </a:lnTo>
                      <a:lnTo>
                        <a:pt x="185" y="545"/>
                      </a:lnTo>
                      <a:lnTo>
                        <a:pt x="187" y="541"/>
                      </a:lnTo>
                      <a:lnTo>
                        <a:pt x="185" y="538"/>
                      </a:lnTo>
                      <a:lnTo>
                        <a:pt x="183" y="531"/>
                      </a:lnTo>
                      <a:lnTo>
                        <a:pt x="183" y="526"/>
                      </a:lnTo>
                      <a:lnTo>
                        <a:pt x="187" y="519"/>
                      </a:lnTo>
                      <a:lnTo>
                        <a:pt x="187" y="519"/>
                      </a:lnTo>
                      <a:lnTo>
                        <a:pt x="190" y="514"/>
                      </a:lnTo>
                      <a:lnTo>
                        <a:pt x="194" y="510"/>
                      </a:lnTo>
                      <a:lnTo>
                        <a:pt x="197" y="510"/>
                      </a:lnTo>
                      <a:lnTo>
                        <a:pt x="201" y="512"/>
                      </a:lnTo>
                      <a:lnTo>
                        <a:pt x="208" y="521"/>
                      </a:lnTo>
                      <a:lnTo>
                        <a:pt x="213" y="531"/>
                      </a:lnTo>
                      <a:lnTo>
                        <a:pt x="213" y="531"/>
                      </a:lnTo>
                      <a:lnTo>
                        <a:pt x="215" y="535"/>
                      </a:lnTo>
                      <a:lnTo>
                        <a:pt x="216" y="535"/>
                      </a:lnTo>
                      <a:lnTo>
                        <a:pt x="218" y="529"/>
                      </a:lnTo>
                      <a:lnTo>
                        <a:pt x="220" y="524"/>
                      </a:lnTo>
                      <a:lnTo>
                        <a:pt x="221" y="521"/>
                      </a:lnTo>
                      <a:lnTo>
                        <a:pt x="227" y="519"/>
                      </a:lnTo>
                      <a:lnTo>
                        <a:pt x="234" y="519"/>
                      </a:lnTo>
                      <a:lnTo>
                        <a:pt x="234" y="519"/>
                      </a:lnTo>
                      <a:lnTo>
                        <a:pt x="244" y="521"/>
                      </a:lnTo>
                      <a:lnTo>
                        <a:pt x="255" y="521"/>
                      </a:lnTo>
                      <a:lnTo>
                        <a:pt x="263" y="521"/>
                      </a:lnTo>
                      <a:lnTo>
                        <a:pt x="265" y="519"/>
                      </a:lnTo>
                      <a:lnTo>
                        <a:pt x="267" y="517"/>
                      </a:lnTo>
                      <a:lnTo>
                        <a:pt x="267" y="517"/>
                      </a:lnTo>
                      <a:lnTo>
                        <a:pt x="268" y="512"/>
                      </a:lnTo>
                      <a:lnTo>
                        <a:pt x="268" y="510"/>
                      </a:lnTo>
                      <a:lnTo>
                        <a:pt x="270" y="512"/>
                      </a:lnTo>
                      <a:lnTo>
                        <a:pt x="274" y="514"/>
                      </a:lnTo>
                      <a:lnTo>
                        <a:pt x="277" y="515"/>
                      </a:lnTo>
                      <a:lnTo>
                        <a:pt x="282" y="515"/>
                      </a:lnTo>
                      <a:lnTo>
                        <a:pt x="282" y="515"/>
                      </a:lnTo>
                      <a:lnTo>
                        <a:pt x="406" y="515"/>
                      </a:lnTo>
                      <a:lnTo>
                        <a:pt x="406" y="515"/>
                      </a:lnTo>
                      <a:lnTo>
                        <a:pt x="411" y="488"/>
                      </a:lnTo>
                      <a:lnTo>
                        <a:pt x="411" y="481"/>
                      </a:lnTo>
                      <a:lnTo>
                        <a:pt x="410" y="479"/>
                      </a:lnTo>
                      <a:lnTo>
                        <a:pt x="406" y="477"/>
                      </a:lnTo>
                      <a:lnTo>
                        <a:pt x="403" y="475"/>
                      </a:lnTo>
                      <a:lnTo>
                        <a:pt x="403" y="468"/>
                      </a:lnTo>
                      <a:lnTo>
                        <a:pt x="403" y="468"/>
                      </a:lnTo>
                      <a:lnTo>
                        <a:pt x="369" y="101"/>
                      </a:lnTo>
                      <a:lnTo>
                        <a:pt x="430" y="101"/>
                      </a:lnTo>
                      <a:lnTo>
                        <a:pt x="295" y="0"/>
                      </a:lnTo>
                      <a:lnTo>
                        <a:pt x="295" y="57"/>
                      </a:lnTo>
                      <a:lnTo>
                        <a:pt x="178" y="57"/>
                      </a:lnTo>
                      <a:lnTo>
                        <a:pt x="178" y="171"/>
                      </a:lnTo>
                      <a:lnTo>
                        <a:pt x="178" y="171"/>
                      </a:lnTo>
                      <a:lnTo>
                        <a:pt x="154" y="181"/>
                      </a:lnTo>
                      <a:lnTo>
                        <a:pt x="147" y="186"/>
                      </a:lnTo>
                      <a:lnTo>
                        <a:pt x="141" y="192"/>
                      </a:lnTo>
                      <a:lnTo>
                        <a:pt x="140" y="202"/>
                      </a:lnTo>
                      <a:lnTo>
                        <a:pt x="138" y="216"/>
                      </a:lnTo>
                      <a:lnTo>
                        <a:pt x="143" y="261"/>
                      </a:lnTo>
                      <a:lnTo>
                        <a:pt x="143" y="261"/>
                      </a:lnTo>
                      <a:lnTo>
                        <a:pt x="9" y="261"/>
                      </a:lnTo>
                      <a:lnTo>
                        <a:pt x="9" y="261"/>
                      </a:lnTo>
                      <a:lnTo>
                        <a:pt x="7" y="263"/>
                      </a:lnTo>
                      <a:lnTo>
                        <a:pt x="6" y="265"/>
                      </a:lnTo>
                      <a:lnTo>
                        <a:pt x="2" y="272"/>
                      </a:lnTo>
                      <a:lnTo>
                        <a:pt x="0" y="280"/>
                      </a:lnTo>
                      <a:lnTo>
                        <a:pt x="2" y="287"/>
                      </a:lnTo>
                      <a:lnTo>
                        <a:pt x="2" y="287"/>
                      </a:lnTo>
                      <a:lnTo>
                        <a:pt x="2" y="287"/>
                      </a:lnTo>
                      <a:lnTo>
                        <a:pt x="4" y="284"/>
                      </a:lnTo>
                      <a:lnTo>
                        <a:pt x="4" y="280"/>
                      </a:lnTo>
                      <a:lnTo>
                        <a:pt x="6" y="275"/>
                      </a:lnTo>
                      <a:lnTo>
                        <a:pt x="7" y="273"/>
                      </a:lnTo>
                      <a:lnTo>
                        <a:pt x="9" y="273"/>
                      </a:lnTo>
                      <a:lnTo>
                        <a:pt x="9" y="273"/>
                      </a:lnTo>
                      <a:lnTo>
                        <a:pt x="11" y="275"/>
                      </a:lnTo>
                      <a:lnTo>
                        <a:pt x="11" y="279"/>
                      </a:lnTo>
                      <a:lnTo>
                        <a:pt x="13" y="286"/>
                      </a:lnTo>
                      <a:lnTo>
                        <a:pt x="14" y="293"/>
                      </a:lnTo>
                      <a:lnTo>
                        <a:pt x="16" y="294"/>
                      </a:lnTo>
                      <a:lnTo>
                        <a:pt x="18" y="294"/>
                      </a:lnTo>
                      <a:lnTo>
                        <a:pt x="18" y="294"/>
                      </a:lnTo>
                      <a:lnTo>
                        <a:pt x="21" y="293"/>
                      </a:lnTo>
                      <a:lnTo>
                        <a:pt x="23" y="294"/>
                      </a:lnTo>
                      <a:lnTo>
                        <a:pt x="26" y="301"/>
                      </a:lnTo>
                      <a:lnTo>
                        <a:pt x="28" y="312"/>
                      </a:lnTo>
                      <a:lnTo>
                        <a:pt x="28" y="324"/>
                      </a:lnTo>
                      <a:lnTo>
                        <a:pt x="28" y="324"/>
                      </a:lnTo>
                      <a:lnTo>
                        <a:pt x="28" y="331"/>
                      </a:lnTo>
                      <a:lnTo>
                        <a:pt x="26" y="336"/>
                      </a:lnTo>
                      <a:lnTo>
                        <a:pt x="21" y="343"/>
                      </a:lnTo>
                      <a:lnTo>
                        <a:pt x="18" y="348"/>
                      </a:lnTo>
                      <a:lnTo>
                        <a:pt x="19" y="350"/>
                      </a:lnTo>
                      <a:lnTo>
                        <a:pt x="21" y="352"/>
                      </a:lnTo>
                      <a:lnTo>
                        <a:pt x="21" y="352"/>
                      </a:lnTo>
                      <a:lnTo>
                        <a:pt x="25" y="357"/>
                      </a:lnTo>
                      <a:lnTo>
                        <a:pt x="30" y="364"/>
                      </a:lnTo>
                      <a:lnTo>
                        <a:pt x="32" y="373"/>
                      </a:lnTo>
                      <a:lnTo>
                        <a:pt x="35" y="385"/>
                      </a:lnTo>
                      <a:lnTo>
                        <a:pt x="37" y="397"/>
                      </a:lnTo>
                      <a:lnTo>
                        <a:pt x="37" y="411"/>
                      </a:lnTo>
                      <a:lnTo>
                        <a:pt x="35" y="423"/>
                      </a:lnTo>
                      <a:lnTo>
                        <a:pt x="33" y="435"/>
                      </a:lnTo>
                      <a:lnTo>
                        <a:pt x="33" y="435"/>
                      </a:lnTo>
                      <a:lnTo>
                        <a:pt x="23" y="467"/>
                      </a:lnTo>
                      <a:lnTo>
                        <a:pt x="21" y="475"/>
                      </a:lnTo>
                      <a:lnTo>
                        <a:pt x="19" y="484"/>
                      </a:lnTo>
                      <a:lnTo>
                        <a:pt x="19" y="48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4" name="Freeform 1763">
                  <a:extLst>
                    <a:ext uri="{FF2B5EF4-FFF2-40B4-BE49-F238E27FC236}">
                      <a16:creationId xmlns:a16="http://schemas.microsoft.com/office/drawing/2014/main" id="{3A6D5A98-1111-9957-026B-A9100BA1DD77}"/>
                    </a:ext>
                  </a:extLst>
                </p:cNvPr>
                <p:cNvSpPr>
                  <a:spLocks/>
                </p:cNvSpPr>
                <p:nvPr/>
              </p:nvSpPr>
              <p:spPr bwMode="auto">
                <a:xfrm>
                  <a:off x="4799033" y="4043079"/>
                  <a:ext cx="336542" cy="325971"/>
                </a:xfrm>
                <a:custGeom>
                  <a:avLst/>
                  <a:gdLst/>
                  <a:ahLst/>
                  <a:cxnLst>
                    <a:cxn ang="0">
                      <a:pos x="403" y="61"/>
                    </a:cxn>
                    <a:cxn ang="0">
                      <a:pos x="418" y="71"/>
                    </a:cxn>
                    <a:cxn ang="0">
                      <a:pos x="415" y="101"/>
                    </a:cxn>
                    <a:cxn ang="0">
                      <a:pos x="396" y="120"/>
                    </a:cxn>
                    <a:cxn ang="0">
                      <a:pos x="376" y="160"/>
                    </a:cxn>
                    <a:cxn ang="0">
                      <a:pos x="354" y="225"/>
                    </a:cxn>
                    <a:cxn ang="0">
                      <a:pos x="338" y="239"/>
                    </a:cxn>
                    <a:cxn ang="0">
                      <a:pos x="316" y="301"/>
                    </a:cxn>
                    <a:cxn ang="0">
                      <a:pos x="303" y="317"/>
                    </a:cxn>
                    <a:cxn ang="0">
                      <a:pos x="289" y="303"/>
                    </a:cxn>
                    <a:cxn ang="0">
                      <a:pos x="265" y="293"/>
                    </a:cxn>
                    <a:cxn ang="0">
                      <a:pos x="249" y="308"/>
                    </a:cxn>
                    <a:cxn ang="0">
                      <a:pos x="239" y="320"/>
                    </a:cxn>
                    <a:cxn ang="0">
                      <a:pos x="223" y="334"/>
                    </a:cxn>
                    <a:cxn ang="0">
                      <a:pos x="204" y="390"/>
                    </a:cxn>
                    <a:cxn ang="0">
                      <a:pos x="199" y="393"/>
                    </a:cxn>
                    <a:cxn ang="0">
                      <a:pos x="178" y="400"/>
                    </a:cxn>
                    <a:cxn ang="0">
                      <a:pos x="161" y="397"/>
                    </a:cxn>
                    <a:cxn ang="0">
                      <a:pos x="155" y="402"/>
                    </a:cxn>
                    <a:cxn ang="0">
                      <a:pos x="141" y="409"/>
                    </a:cxn>
                    <a:cxn ang="0">
                      <a:pos x="117" y="409"/>
                    </a:cxn>
                    <a:cxn ang="0">
                      <a:pos x="96" y="381"/>
                    </a:cxn>
                    <a:cxn ang="0">
                      <a:pos x="72" y="331"/>
                    </a:cxn>
                    <a:cxn ang="0">
                      <a:pos x="40" y="320"/>
                    </a:cxn>
                    <a:cxn ang="0">
                      <a:pos x="26" y="315"/>
                    </a:cxn>
                    <a:cxn ang="0">
                      <a:pos x="16" y="320"/>
                    </a:cxn>
                    <a:cxn ang="0">
                      <a:pos x="4" y="277"/>
                    </a:cxn>
                    <a:cxn ang="0">
                      <a:pos x="4" y="212"/>
                    </a:cxn>
                    <a:cxn ang="0">
                      <a:pos x="14" y="202"/>
                    </a:cxn>
                    <a:cxn ang="0">
                      <a:pos x="25" y="178"/>
                    </a:cxn>
                    <a:cxn ang="0">
                      <a:pos x="40" y="139"/>
                    </a:cxn>
                    <a:cxn ang="0">
                      <a:pos x="33" y="113"/>
                    </a:cxn>
                    <a:cxn ang="0">
                      <a:pos x="32" y="94"/>
                    </a:cxn>
                    <a:cxn ang="0">
                      <a:pos x="33" y="66"/>
                    </a:cxn>
                    <a:cxn ang="0">
                      <a:pos x="40" y="52"/>
                    </a:cxn>
                    <a:cxn ang="0">
                      <a:pos x="49" y="24"/>
                    </a:cxn>
                    <a:cxn ang="0">
                      <a:pos x="60" y="12"/>
                    </a:cxn>
                    <a:cxn ang="0">
                      <a:pos x="82" y="9"/>
                    </a:cxn>
                    <a:cxn ang="0">
                      <a:pos x="96" y="2"/>
                    </a:cxn>
                    <a:cxn ang="0">
                      <a:pos x="105" y="2"/>
                    </a:cxn>
                    <a:cxn ang="0">
                      <a:pos x="133" y="14"/>
                    </a:cxn>
                    <a:cxn ang="0">
                      <a:pos x="143" y="33"/>
                    </a:cxn>
                    <a:cxn ang="0">
                      <a:pos x="173" y="28"/>
                    </a:cxn>
                    <a:cxn ang="0">
                      <a:pos x="187" y="24"/>
                    </a:cxn>
                    <a:cxn ang="0">
                      <a:pos x="220" y="44"/>
                    </a:cxn>
                    <a:cxn ang="0">
                      <a:pos x="242" y="44"/>
                    </a:cxn>
                    <a:cxn ang="0">
                      <a:pos x="260" y="30"/>
                    </a:cxn>
                    <a:cxn ang="0">
                      <a:pos x="295" y="21"/>
                    </a:cxn>
                    <a:cxn ang="0">
                      <a:pos x="333" y="35"/>
                    </a:cxn>
                    <a:cxn ang="0">
                      <a:pos x="349" y="30"/>
                    </a:cxn>
                    <a:cxn ang="0">
                      <a:pos x="369" y="14"/>
                    </a:cxn>
                  </a:cxnLst>
                  <a:rect l="0" t="0" r="r" b="b"/>
                  <a:pathLst>
                    <a:path w="420" h="409">
                      <a:moveTo>
                        <a:pt x="399" y="35"/>
                      </a:moveTo>
                      <a:lnTo>
                        <a:pt x="399" y="35"/>
                      </a:lnTo>
                      <a:lnTo>
                        <a:pt x="399" y="50"/>
                      </a:lnTo>
                      <a:lnTo>
                        <a:pt x="403" y="61"/>
                      </a:lnTo>
                      <a:lnTo>
                        <a:pt x="406" y="66"/>
                      </a:lnTo>
                      <a:lnTo>
                        <a:pt x="411" y="68"/>
                      </a:lnTo>
                      <a:lnTo>
                        <a:pt x="415" y="70"/>
                      </a:lnTo>
                      <a:lnTo>
                        <a:pt x="418" y="71"/>
                      </a:lnTo>
                      <a:lnTo>
                        <a:pt x="420" y="78"/>
                      </a:lnTo>
                      <a:lnTo>
                        <a:pt x="418" y="89"/>
                      </a:lnTo>
                      <a:lnTo>
                        <a:pt x="418" y="89"/>
                      </a:lnTo>
                      <a:lnTo>
                        <a:pt x="415" y="101"/>
                      </a:lnTo>
                      <a:lnTo>
                        <a:pt x="410" y="108"/>
                      </a:lnTo>
                      <a:lnTo>
                        <a:pt x="406" y="113"/>
                      </a:lnTo>
                      <a:lnTo>
                        <a:pt x="401" y="117"/>
                      </a:lnTo>
                      <a:lnTo>
                        <a:pt x="396" y="120"/>
                      </a:lnTo>
                      <a:lnTo>
                        <a:pt x="389" y="129"/>
                      </a:lnTo>
                      <a:lnTo>
                        <a:pt x="383" y="141"/>
                      </a:lnTo>
                      <a:lnTo>
                        <a:pt x="376" y="160"/>
                      </a:lnTo>
                      <a:lnTo>
                        <a:pt x="376" y="160"/>
                      </a:lnTo>
                      <a:lnTo>
                        <a:pt x="366" y="197"/>
                      </a:lnTo>
                      <a:lnTo>
                        <a:pt x="359" y="216"/>
                      </a:lnTo>
                      <a:lnTo>
                        <a:pt x="356" y="221"/>
                      </a:lnTo>
                      <a:lnTo>
                        <a:pt x="354" y="225"/>
                      </a:lnTo>
                      <a:lnTo>
                        <a:pt x="347" y="228"/>
                      </a:lnTo>
                      <a:lnTo>
                        <a:pt x="347" y="228"/>
                      </a:lnTo>
                      <a:lnTo>
                        <a:pt x="342" y="232"/>
                      </a:lnTo>
                      <a:lnTo>
                        <a:pt x="338" y="239"/>
                      </a:lnTo>
                      <a:lnTo>
                        <a:pt x="331" y="259"/>
                      </a:lnTo>
                      <a:lnTo>
                        <a:pt x="324" y="280"/>
                      </a:lnTo>
                      <a:lnTo>
                        <a:pt x="321" y="291"/>
                      </a:lnTo>
                      <a:lnTo>
                        <a:pt x="316" y="301"/>
                      </a:lnTo>
                      <a:lnTo>
                        <a:pt x="316" y="301"/>
                      </a:lnTo>
                      <a:lnTo>
                        <a:pt x="309" y="313"/>
                      </a:lnTo>
                      <a:lnTo>
                        <a:pt x="305" y="317"/>
                      </a:lnTo>
                      <a:lnTo>
                        <a:pt x="303" y="317"/>
                      </a:lnTo>
                      <a:lnTo>
                        <a:pt x="300" y="317"/>
                      </a:lnTo>
                      <a:lnTo>
                        <a:pt x="298" y="315"/>
                      </a:lnTo>
                      <a:lnTo>
                        <a:pt x="289" y="303"/>
                      </a:lnTo>
                      <a:lnTo>
                        <a:pt x="289" y="303"/>
                      </a:lnTo>
                      <a:lnTo>
                        <a:pt x="282" y="298"/>
                      </a:lnTo>
                      <a:lnTo>
                        <a:pt x="277" y="293"/>
                      </a:lnTo>
                      <a:lnTo>
                        <a:pt x="270" y="293"/>
                      </a:lnTo>
                      <a:lnTo>
                        <a:pt x="265" y="293"/>
                      </a:lnTo>
                      <a:lnTo>
                        <a:pt x="260" y="294"/>
                      </a:lnTo>
                      <a:lnTo>
                        <a:pt x="256" y="298"/>
                      </a:lnTo>
                      <a:lnTo>
                        <a:pt x="253" y="303"/>
                      </a:lnTo>
                      <a:lnTo>
                        <a:pt x="249" y="308"/>
                      </a:lnTo>
                      <a:lnTo>
                        <a:pt x="249" y="308"/>
                      </a:lnTo>
                      <a:lnTo>
                        <a:pt x="248" y="313"/>
                      </a:lnTo>
                      <a:lnTo>
                        <a:pt x="246" y="317"/>
                      </a:lnTo>
                      <a:lnTo>
                        <a:pt x="239" y="320"/>
                      </a:lnTo>
                      <a:lnTo>
                        <a:pt x="232" y="324"/>
                      </a:lnTo>
                      <a:lnTo>
                        <a:pt x="228" y="327"/>
                      </a:lnTo>
                      <a:lnTo>
                        <a:pt x="223" y="334"/>
                      </a:lnTo>
                      <a:lnTo>
                        <a:pt x="223" y="334"/>
                      </a:lnTo>
                      <a:lnTo>
                        <a:pt x="218" y="348"/>
                      </a:lnTo>
                      <a:lnTo>
                        <a:pt x="215" y="360"/>
                      </a:lnTo>
                      <a:lnTo>
                        <a:pt x="211" y="373"/>
                      </a:lnTo>
                      <a:lnTo>
                        <a:pt x="204" y="390"/>
                      </a:lnTo>
                      <a:lnTo>
                        <a:pt x="194" y="381"/>
                      </a:lnTo>
                      <a:lnTo>
                        <a:pt x="194" y="381"/>
                      </a:lnTo>
                      <a:lnTo>
                        <a:pt x="199" y="390"/>
                      </a:lnTo>
                      <a:lnTo>
                        <a:pt x="199" y="393"/>
                      </a:lnTo>
                      <a:lnTo>
                        <a:pt x="197" y="395"/>
                      </a:lnTo>
                      <a:lnTo>
                        <a:pt x="194" y="399"/>
                      </a:lnTo>
                      <a:lnTo>
                        <a:pt x="187" y="400"/>
                      </a:lnTo>
                      <a:lnTo>
                        <a:pt x="178" y="400"/>
                      </a:lnTo>
                      <a:lnTo>
                        <a:pt x="171" y="400"/>
                      </a:lnTo>
                      <a:lnTo>
                        <a:pt x="164" y="399"/>
                      </a:lnTo>
                      <a:lnTo>
                        <a:pt x="161" y="397"/>
                      </a:lnTo>
                      <a:lnTo>
                        <a:pt x="161" y="397"/>
                      </a:lnTo>
                      <a:lnTo>
                        <a:pt x="155" y="393"/>
                      </a:lnTo>
                      <a:lnTo>
                        <a:pt x="157" y="397"/>
                      </a:lnTo>
                      <a:lnTo>
                        <a:pt x="157" y="399"/>
                      </a:lnTo>
                      <a:lnTo>
                        <a:pt x="155" y="402"/>
                      </a:lnTo>
                      <a:lnTo>
                        <a:pt x="154" y="404"/>
                      </a:lnTo>
                      <a:lnTo>
                        <a:pt x="148" y="407"/>
                      </a:lnTo>
                      <a:lnTo>
                        <a:pt x="148" y="407"/>
                      </a:lnTo>
                      <a:lnTo>
                        <a:pt x="141" y="409"/>
                      </a:lnTo>
                      <a:lnTo>
                        <a:pt x="136" y="409"/>
                      </a:lnTo>
                      <a:lnTo>
                        <a:pt x="122" y="409"/>
                      </a:lnTo>
                      <a:lnTo>
                        <a:pt x="122" y="409"/>
                      </a:lnTo>
                      <a:lnTo>
                        <a:pt x="117" y="409"/>
                      </a:lnTo>
                      <a:lnTo>
                        <a:pt x="114" y="407"/>
                      </a:lnTo>
                      <a:lnTo>
                        <a:pt x="107" y="400"/>
                      </a:lnTo>
                      <a:lnTo>
                        <a:pt x="101" y="392"/>
                      </a:lnTo>
                      <a:lnTo>
                        <a:pt x="96" y="381"/>
                      </a:lnTo>
                      <a:lnTo>
                        <a:pt x="89" y="360"/>
                      </a:lnTo>
                      <a:lnTo>
                        <a:pt x="84" y="346"/>
                      </a:lnTo>
                      <a:lnTo>
                        <a:pt x="84" y="346"/>
                      </a:lnTo>
                      <a:lnTo>
                        <a:pt x="72" y="331"/>
                      </a:lnTo>
                      <a:lnTo>
                        <a:pt x="67" y="327"/>
                      </a:lnTo>
                      <a:lnTo>
                        <a:pt x="63" y="324"/>
                      </a:lnTo>
                      <a:lnTo>
                        <a:pt x="53" y="320"/>
                      </a:lnTo>
                      <a:lnTo>
                        <a:pt x="40" y="320"/>
                      </a:lnTo>
                      <a:lnTo>
                        <a:pt x="40" y="320"/>
                      </a:lnTo>
                      <a:lnTo>
                        <a:pt x="32" y="319"/>
                      </a:lnTo>
                      <a:lnTo>
                        <a:pt x="28" y="317"/>
                      </a:lnTo>
                      <a:lnTo>
                        <a:pt x="26" y="315"/>
                      </a:lnTo>
                      <a:lnTo>
                        <a:pt x="25" y="317"/>
                      </a:lnTo>
                      <a:lnTo>
                        <a:pt x="25" y="317"/>
                      </a:lnTo>
                      <a:lnTo>
                        <a:pt x="21" y="320"/>
                      </a:lnTo>
                      <a:lnTo>
                        <a:pt x="16" y="320"/>
                      </a:lnTo>
                      <a:lnTo>
                        <a:pt x="0" y="322"/>
                      </a:lnTo>
                      <a:lnTo>
                        <a:pt x="0" y="322"/>
                      </a:lnTo>
                      <a:lnTo>
                        <a:pt x="4" y="298"/>
                      </a:lnTo>
                      <a:lnTo>
                        <a:pt x="4" y="277"/>
                      </a:lnTo>
                      <a:lnTo>
                        <a:pt x="2" y="230"/>
                      </a:lnTo>
                      <a:lnTo>
                        <a:pt x="2" y="230"/>
                      </a:lnTo>
                      <a:lnTo>
                        <a:pt x="2" y="219"/>
                      </a:lnTo>
                      <a:lnTo>
                        <a:pt x="4" y="212"/>
                      </a:lnTo>
                      <a:lnTo>
                        <a:pt x="6" y="209"/>
                      </a:lnTo>
                      <a:lnTo>
                        <a:pt x="7" y="207"/>
                      </a:lnTo>
                      <a:lnTo>
                        <a:pt x="13" y="204"/>
                      </a:lnTo>
                      <a:lnTo>
                        <a:pt x="14" y="202"/>
                      </a:lnTo>
                      <a:lnTo>
                        <a:pt x="16" y="195"/>
                      </a:lnTo>
                      <a:lnTo>
                        <a:pt x="16" y="195"/>
                      </a:lnTo>
                      <a:lnTo>
                        <a:pt x="19" y="185"/>
                      </a:lnTo>
                      <a:lnTo>
                        <a:pt x="25" y="178"/>
                      </a:lnTo>
                      <a:lnTo>
                        <a:pt x="30" y="167"/>
                      </a:lnTo>
                      <a:lnTo>
                        <a:pt x="39" y="150"/>
                      </a:lnTo>
                      <a:lnTo>
                        <a:pt x="39" y="150"/>
                      </a:lnTo>
                      <a:lnTo>
                        <a:pt x="40" y="139"/>
                      </a:lnTo>
                      <a:lnTo>
                        <a:pt x="40" y="131"/>
                      </a:lnTo>
                      <a:lnTo>
                        <a:pt x="39" y="125"/>
                      </a:lnTo>
                      <a:lnTo>
                        <a:pt x="37" y="118"/>
                      </a:lnTo>
                      <a:lnTo>
                        <a:pt x="33" y="113"/>
                      </a:lnTo>
                      <a:lnTo>
                        <a:pt x="30" y="108"/>
                      </a:lnTo>
                      <a:lnTo>
                        <a:pt x="30" y="103"/>
                      </a:lnTo>
                      <a:lnTo>
                        <a:pt x="32" y="94"/>
                      </a:lnTo>
                      <a:lnTo>
                        <a:pt x="32" y="94"/>
                      </a:lnTo>
                      <a:lnTo>
                        <a:pt x="33" y="89"/>
                      </a:lnTo>
                      <a:lnTo>
                        <a:pt x="33" y="84"/>
                      </a:lnTo>
                      <a:lnTo>
                        <a:pt x="33" y="71"/>
                      </a:lnTo>
                      <a:lnTo>
                        <a:pt x="33" y="66"/>
                      </a:lnTo>
                      <a:lnTo>
                        <a:pt x="35" y="61"/>
                      </a:lnTo>
                      <a:lnTo>
                        <a:pt x="37" y="56"/>
                      </a:lnTo>
                      <a:lnTo>
                        <a:pt x="40" y="52"/>
                      </a:lnTo>
                      <a:lnTo>
                        <a:pt x="40" y="52"/>
                      </a:lnTo>
                      <a:lnTo>
                        <a:pt x="46" y="49"/>
                      </a:lnTo>
                      <a:lnTo>
                        <a:pt x="47" y="44"/>
                      </a:lnTo>
                      <a:lnTo>
                        <a:pt x="49" y="35"/>
                      </a:lnTo>
                      <a:lnTo>
                        <a:pt x="49" y="24"/>
                      </a:lnTo>
                      <a:lnTo>
                        <a:pt x="51" y="21"/>
                      </a:lnTo>
                      <a:lnTo>
                        <a:pt x="54" y="17"/>
                      </a:lnTo>
                      <a:lnTo>
                        <a:pt x="54" y="17"/>
                      </a:lnTo>
                      <a:lnTo>
                        <a:pt x="60" y="12"/>
                      </a:lnTo>
                      <a:lnTo>
                        <a:pt x="67" y="9"/>
                      </a:lnTo>
                      <a:lnTo>
                        <a:pt x="73" y="7"/>
                      </a:lnTo>
                      <a:lnTo>
                        <a:pt x="82" y="9"/>
                      </a:lnTo>
                      <a:lnTo>
                        <a:pt x="82" y="9"/>
                      </a:lnTo>
                      <a:lnTo>
                        <a:pt x="87" y="9"/>
                      </a:lnTo>
                      <a:lnTo>
                        <a:pt x="91" y="7"/>
                      </a:lnTo>
                      <a:lnTo>
                        <a:pt x="94" y="3"/>
                      </a:lnTo>
                      <a:lnTo>
                        <a:pt x="96" y="2"/>
                      </a:lnTo>
                      <a:lnTo>
                        <a:pt x="98" y="0"/>
                      </a:lnTo>
                      <a:lnTo>
                        <a:pt x="101" y="0"/>
                      </a:lnTo>
                      <a:lnTo>
                        <a:pt x="105" y="2"/>
                      </a:lnTo>
                      <a:lnTo>
                        <a:pt x="105" y="2"/>
                      </a:lnTo>
                      <a:lnTo>
                        <a:pt x="115" y="5"/>
                      </a:lnTo>
                      <a:lnTo>
                        <a:pt x="124" y="9"/>
                      </a:lnTo>
                      <a:lnTo>
                        <a:pt x="129" y="10"/>
                      </a:lnTo>
                      <a:lnTo>
                        <a:pt x="133" y="14"/>
                      </a:lnTo>
                      <a:lnTo>
                        <a:pt x="136" y="17"/>
                      </a:lnTo>
                      <a:lnTo>
                        <a:pt x="140" y="24"/>
                      </a:lnTo>
                      <a:lnTo>
                        <a:pt x="140" y="24"/>
                      </a:lnTo>
                      <a:lnTo>
                        <a:pt x="143" y="33"/>
                      </a:lnTo>
                      <a:lnTo>
                        <a:pt x="150" y="37"/>
                      </a:lnTo>
                      <a:lnTo>
                        <a:pt x="155" y="37"/>
                      </a:lnTo>
                      <a:lnTo>
                        <a:pt x="161" y="35"/>
                      </a:lnTo>
                      <a:lnTo>
                        <a:pt x="173" y="28"/>
                      </a:lnTo>
                      <a:lnTo>
                        <a:pt x="178" y="24"/>
                      </a:lnTo>
                      <a:lnTo>
                        <a:pt x="183" y="23"/>
                      </a:lnTo>
                      <a:lnTo>
                        <a:pt x="183" y="23"/>
                      </a:lnTo>
                      <a:lnTo>
                        <a:pt x="187" y="24"/>
                      </a:lnTo>
                      <a:lnTo>
                        <a:pt x="192" y="26"/>
                      </a:lnTo>
                      <a:lnTo>
                        <a:pt x="201" y="33"/>
                      </a:lnTo>
                      <a:lnTo>
                        <a:pt x="213" y="42"/>
                      </a:lnTo>
                      <a:lnTo>
                        <a:pt x="220" y="44"/>
                      </a:lnTo>
                      <a:lnTo>
                        <a:pt x="228" y="45"/>
                      </a:lnTo>
                      <a:lnTo>
                        <a:pt x="228" y="45"/>
                      </a:lnTo>
                      <a:lnTo>
                        <a:pt x="237" y="45"/>
                      </a:lnTo>
                      <a:lnTo>
                        <a:pt x="242" y="44"/>
                      </a:lnTo>
                      <a:lnTo>
                        <a:pt x="246" y="42"/>
                      </a:lnTo>
                      <a:lnTo>
                        <a:pt x="249" y="38"/>
                      </a:lnTo>
                      <a:lnTo>
                        <a:pt x="255" y="33"/>
                      </a:lnTo>
                      <a:lnTo>
                        <a:pt x="260" y="30"/>
                      </a:lnTo>
                      <a:lnTo>
                        <a:pt x="268" y="26"/>
                      </a:lnTo>
                      <a:lnTo>
                        <a:pt x="281" y="23"/>
                      </a:lnTo>
                      <a:lnTo>
                        <a:pt x="281" y="23"/>
                      </a:lnTo>
                      <a:lnTo>
                        <a:pt x="295" y="21"/>
                      </a:lnTo>
                      <a:lnTo>
                        <a:pt x="305" y="23"/>
                      </a:lnTo>
                      <a:lnTo>
                        <a:pt x="316" y="26"/>
                      </a:lnTo>
                      <a:lnTo>
                        <a:pt x="324" y="31"/>
                      </a:lnTo>
                      <a:lnTo>
                        <a:pt x="333" y="35"/>
                      </a:lnTo>
                      <a:lnTo>
                        <a:pt x="338" y="37"/>
                      </a:lnTo>
                      <a:lnTo>
                        <a:pt x="343" y="35"/>
                      </a:lnTo>
                      <a:lnTo>
                        <a:pt x="349" y="30"/>
                      </a:lnTo>
                      <a:lnTo>
                        <a:pt x="349" y="30"/>
                      </a:lnTo>
                      <a:lnTo>
                        <a:pt x="354" y="19"/>
                      </a:lnTo>
                      <a:lnTo>
                        <a:pt x="357" y="17"/>
                      </a:lnTo>
                      <a:lnTo>
                        <a:pt x="359" y="16"/>
                      </a:lnTo>
                      <a:lnTo>
                        <a:pt x="369" y="14"/>
                      </a:lnTo>
                      <a:lnTo>
                        <a:pt x="383" y="9"/>
                      </a:lnTo>
                      <a:lnTo>
                        <a:pt x="399" y="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5" name="Freeform 1764">
                  <a:extLst>
                    <a:ext uri="{FF2B5EF4-FFF2-40B4-BE49-F238E27FC236}">
                      <a16:creationId xmlns:a16="http://schemas.microsoft.com/office/drawing/2014/main" id="{9AFD68A3-50AF-972B-80F6-8BB7A6B8B8E6}"/>
                    </a:ext>
                  </a:extLst>
                </p:cNvPr>
                <p:cNvSpPr>
                  <a:spLocks/>
                </p:cNvSpPr>
                <p:nvPr/>
              </p:nvSpPr>
              <p:spPr bwMode="auto">
                <a:xfrm>
                  <a:off x="5130288" y="4141754"/>
                  <a:ext cx="366496" cy="297779"/>
                </a:xfrm>
                <a:custGeom>
                  <a:avLst/>
                  <a:gdLst/>
                  <a:ahLst/>
                  <a:cxnLst>
                    <a:cxn ang="0">
                      <a:pos x="446" y="249"/>
                    </a:cxn>
                    <a:cxn ang="0">
                      <a:pos x="435" y="251"/>
                    </a:cxn>
                    <a:cxn ang="0">
                      <a:pos x="411" y="246"/>
                    </a:cxn>
                    <a:cxn ang="0">
                      <a:pos x="383" y="244"/>
                    </a:cxn>
                    <a:cxn ang="0">
                      <a:pos x="371" y="256"/>
                    </a:cxn>
                    <a:cxn ang="0">
                      <a:pos x="353" y="255"/>
                    </a:cxn>
                    <a:cxn ang="0">
                      <a:pos x="322" y="267"/>
                    </a:cxn>
                    <a:cxn ang="0">
                      <a:pos x="298" y="262"/>
                    </a:cxn>
                    <a:cxn ang="0">
                      <a:pos x="289" y="275"/>
                    </a:cxn>
                    <a:cxn ang="0">
                      <a:pos x="265" y="291"/>
                    </a:cxn>
                    <a:cxn ang="0">
                      <a:pos x="219" y="279"/>
                    </a:cxn>
                    <a:cxn ang="0">
                      <a:pos x="205" y="267"/>
                    </a:cxn>
                    <a:cxn ang="0">
                      <a:pos x="186" y="251"/>
                    </a:cxn>
                    <a:cxn ang="0">
                      <a:pos x="160" y="258"/>
                    </a:cxn>
                    <a:cxn ang="0">
                      <a:pos x="148" y="279"/>
                    </a:cxn>
                    <a:cxn ang="0">
                      <a:pos x="146" y="319"/>
                    </a:cxn>
                    <a:cxn ang="0">
                      <a:pos x="132" y="316"/>
                    </a:cxn>
                    <a:cxn ang="0">
                      <a:pos x="113" y="312"/>
                    </a:cxn>
                    <a:cxn ang="0">
                      <a:pos x="101" y="312"/>
                    </a:cxn>
                    <a:cxn ang="0">
                      <a:pos x="84" y="314"/>
                    </a:cxn>
                    <a:cxn ang="0">
                      <a:pos x="70" y="333"/>
                    </a:cxn>
                    <a:cxn ang="0">
                      <a:pos x="61" y="373"/>
                    </a:cxn>
                    <a:cxn ang="0">
                      <a:pos x="47" y="328"/>
                    </a:cxn>
                    <a:cxn ang="0">
                      <a:pos x="23" y="303"/>
                    </a:cxn>
                    <a:cxn ang="0">
                      <a:pos x="19" y="279"/>
                    </a:cxn>
                    <a:cxn ang="0">
                      <a:pos x="7" y="258"/>
                    </a:cxn>
                    <a:cxn ang="0">
                      <a:pos x="5" y="228"/>
                    </a:cxn>
                    <a:cxn ang="0">
                      <a:pos x="2" y="209"/>
                    </a:cxn>
                    <a:cxn ang="0">
                      <a:pos x="12" y="195"/>
                    </a:cxn>
                    <a:cxn ang="0">
                      <a:pos x="42" y="148"/>
                    </a:cxn>
                    <a:cxn ang="0">
                      <a:pos x="61" y="145"/>
                    </a:cxn>
                    <a:cxn ang="0">
                      <a:pos x="73" y="136"/>
                    </a:cxn>
                    <a:cxn ang="0">
                      <a:pos x="87" y="145"/>
                    </a:cxn>
                    <a:cxn ang="0">
                      <a:pos x="110" y="131"/>
                    </a:cxn>
                    <a:cxn ang="0">
                      <a:pos x="143" y="124"/>
                    </a:cxn>
                    <a:cxn ang="0">
                      <a:pos x="158" y="107"/>
                    </a:cxn>
                    <a:cxn ang="0">
                      <a:pos x="155" y="91"/>
                    </a:cxn>
                    <a:cxn ang="0">
                      <a:pos x="162" y="86"/>
                    </a:cxn>
                    <a:cxn ang="0">
                      <a:pos x="209" y="75"/>
                    </a:cxn>
                    <a:cxn ang="0">
                      <a:pos x="242" y="40"/>
                    </a:cxn>
                    <a:cxn ang="0">
                      <a:pos x="254" y="21"/>
                    </a:cxn>
                    <a:cxn ang="0">
                      <a:pos x="272" y="4"/>
                    </a:cxn>
                    <a:cxn ang="0">
                      <a:pos x="296" y="2"/>
                    </a:cxn>
                    <a:cxn ang="0">
                      <a:pos x="320" y="44"/>
                    </a:cxn>
                    <a:cxn ang="0">
                      <a:pos x="322" y="72"/>
                    </a:cxn>
                    <a:cxn ang="0">
                      <a:pos x="331" y="100"/>
                    </a:cxn>
                    <a:cxn ang="0">
                      <a:pos x="341" y="107"/>
                    </a:cxn>
                    <a:cxn ang="0">
                      <a:pos x="350" y="117"/>
                    </a:cxn>
                    <a:cxn ang="0">
                      <a:pos x="373" y="127"/>
                    </a:cxn>
                    <a:cxn ang="0">
                      <a:pos x="376" y="147"/>
                    </a:cxn>
                    <a:cxn ang="0">
                      <a:pos x="390" y="159"/>
                    </a:cxn>
                    <a:cxn ang="0">
                      <a:pos x="418" y="192"/>
                    </a:cxn>
                    <a:cxn ang="0">
                      <a:pos x="428" y="211"/>
                    </a:cxn>
                    <a:cxn ang="0">
                      <a:pos x="446" y="221"/>
                    </a:cxn>
                    <a:cxn ang="0">
                      <a:pos x="458" y="256"/>
                    </a:cxn>
                  </a:cxnLst>
                  <a:rect l="0" t="0" r="r" b="b"/>
                  <a:pathLst>
                    <a:path w="458" h="373">
                      <a:moveTo>
                        <a:pt x="458" y="256"/>
                      </a:moveTo>
                      <a:lnTo>
                        <a:pt x="458" y="256"/>
                      </a:lnTo>
                      <a:lnTo>
                        <a:pt x="451" y="253"/>
                      </a:lnTo>
                      <a:lnTo>
                        <a:pt x="446" y="249"/>
                      </a:lnTo>
                      <a:lnTo>
                        <a:pt x="441" y="248"/>
                      </a:lnTo>
                      <a:lnTo>
                        <a:pt x="439" y="249"/>
                      </a:lnTo>
                      <a:lnTo>
                        <a:pt x="435" y="251"/>
                      </a:lnTo>
                      <a:lnTo>
                        <a:pt x="435" y="251"/>
                      </a:lnTo>
                      <a:lnTo>
                        <a:pt x="434" y="253"/>
                      </a:lnTo>
                      <a:lnTo>
                        <a:pt x="432" y="255"/>
                      </a:lnTo>
                      <a:lnTo>
                        <a:pt x="425" y="253"/>
                      </a:lnTo>
                      <a:lnTo>
                        <a:pt x="411" y="246"/>
                      </a:lnTo>
                      <a:lnTo>
                        <a:pt x="402" y="242"/>
                      </a:lnTo>
                      <a:lnTo>
                        <a:pt x="394" y="241"/>
                      </a:lnTo>
                      <a:lnTo>
                        <a:pt x="387" y="242"/>
                      </a:lnTo>
                      <a:lnTo>
                        <a:pt x="383" y="244"/>
                      </a:lnTo>
                      <a:lnTo>
                        <a:pt x="380" y="248"/>
                      </a:lnTo>
                      <a:lnTo>
                        <a:pt x="380" y="248"/>
                      </a:lnTo>
                      <a:lnTo>
                        <a:pt x="374" y="255"/>
                      </a:lnTo>
                      <a:lnTo>
                        <a:pt x="371" y="256"/>
                      </a:lnTo>
                      <a:lnTo>
                        <a:pt x="367" y="256"/>
                      </a:lnTo>
                      <a:lnTo>
                        <a:pt x="364" y="256"/>
                      </a:lnTo>
                      <a:lnTo>
                        <a:pt x="359" y="255"/>
                      </a:lnTo>
                      <a:lnTo>
                        <a:pt x="353" y="255"/>
                      </a:lnTo>
                      <a:lnTo>
                        <a:pt x="345" y="256"/>
                      </a:lnTo>
                      <a:lnTo>
                        <a:pt x="334" y="260"/>
                      </a:lnTo>
                      <a:lnTo>
                        <a:pt x="334" y="260"/>
                      </a:lnTo>
                      <a:lnTo>
                        <a:pt x="322" y="267"/>
                      </a:lnTo>
                      <a:lnTo>
                        <a:pt x="312" y="268"/>
                      </a:lnTo>
                      <a:lnTo>
                        <a:pt x="306" y="267"/>
                      </a:lnTo>
                      <a:lnTo>
                        <a:pt x="301" y="265"/>
                      </a:lnTo>
                      <a:lnTo>
                        <a:pt x="298" y="262"/>
                      </a:lnTo>
                      <a:lnTo>
                        <a:pt x="296" y="262"/>
                      </a:lnTo>
                      <a:lnTo>
                        <a:pt x="293" y="265"/>
                      </a:lnTo>
                      <a:lnTo>
                        <a:pt x="289" y="275"/>
                      </a:lnTo>
                      <a:lnTo>
                        <a:pt x="289" y="275"/>
                      </a:lnTo>
                      <a:lnTo>
                        <a:pt x="284" y="284"/>
                      </a:lnTo>
                      <a:lnTo>
                        <a:pt x="279" y="289"/>
                      </a:lnTo>
                      <a:lnTo>
                        <a:pt x="272" y="291"/>
                      </a:lnTo>
                      <a:lnTo>
                        <a:pt x="265" y="291"/>
                      </a:lnTo>
                      <a:lnTo>
                        <a:pt x="246" y="284"/>
                      </a:lnTo>
                      <a:lnTo>
                        <a:pt x="233" y="281"/>
                      </a:lnTo>
                      <a:lnTo>
                        <a:pt x="219" y="279"/>
                      </a:lnTo>
                      <a:lnTo>
                        <a:pt x="219" y="279"/>
                      </a:lnTo>
                      <a:lnTo>
                        <a:pt x="214" y="277"/>
                      </a:lnTo>
                      <a:lnTo>
                        <a:pt x="211" y="275"/>
                      </a:lnTo>
                      <a:lnTo>
                        <a:pt x="209" y="270"/>
                      </a:lnTo>
                      <a:lnTo>
                        <a:pt x="205" y="267"/>
                      </a:lnTo>
                      <a:lnTo>
                        <a:pt x="202" y="262"/>
                      </a:lnTo>
                      <a:lnTo>
                        <a:pt x="197" y="256"/>
                      </a:lnTo>
                      <a:lnTo>
                        <a:pt x="186" y="251"/>
                      </a:lnTo>
                      <a:lnTo>
                        <a:pt x="186" y="251"/>
                      </a:lnTo>
                      <a:lnTo>
                        <a:pt x="178" y="248"/>
                      </a:lnTo>
                      <a:lnTo>
                        <a:pt x="169" y="249"/>
                      </a:lnTo>
                      <a:lnTo>
                        <a:pt x="164" y="253"/>
                      </a:lnTo>
                      <a:lnTo>
                        <a:pt x="160" y="258"/>
                      </a:lnTo>
                      <a:lnTo>
                        <a:pt x="155" y="270"/>
                      </a:lnTo>
                      <a:lnTo>
                        <a:pt x="151" y="275"/>
                      </a:lnTo>
                      <a:lnTo>
                        <a:pt x="148" y="279"/>
                      </a:lnTo>
                      <a:lnTo>
                        <a:pt x="148" y="279"/>
                      </a:lnTo>
                      <a:lnTo>
                        <a:pt x="146" y="282"/>
                      </a:lnTo>
                      <a:lnTo>
                        <a:pt x="143" y="284"/>
                      </a:lnTo>
                      <a:lnTo>
                        <a:pt x="143" y="293"/>
                      </a:lnTo>
                      <a:lnTo>
                        <a:pt x="146" y="319"/>
                      </a:lnTo>
                      <a:lnTo>
                        <a:pt x="146" y="319"/>
                      </a:lnTo>
                      <a:lnTo>
                        <a:pt x="143" y="316"/>
                      </a:lnTo>
                      <a:lnTo>
                        <a:pt x="139" y="316"/>
                      </a:lnTo>
                      <a:lnTo>
                        <a:pt x="132" y="316"/>
                      </a:lnTo>
                      <a:lnTo>
                        <a:pt x="129" y="317"/>
                      </a:lnTo>
                      <a:lnTo>
                        <a:pt x="125" y="317"/>
                      </a:lnTo>
                      <a:lnTo>
                        <a:pt x="120" y="316"/>
                      </a:lnTo>
                      <a:lnTo>
                        <a:pt x="113" y="312"/>
                      </a:lnTo>
                      <a:lnTo>
                        <a:pt x="113" y="312"/>
                      </a:lnTo>
                      <a:lnTo>
                        <a:pt x="110" y="310"/>
                      </a:lnTo>
                      <a:lnTo>
                        <a:pt x="106" y="310"/>
                      </a:lnTo>
                      <a:lnTo>
                        <a:pt x="101" y="312"/>
                      </a:lnTo>
                      <a:lnTo>
                        <a:pt x="96" y="314"/>
                      </a:lnTo>
                      <a:lnTo>
                        <a:pt x="91" y="316"/>
                      </a:lnTo>
                      <a:lnTo>
                        <a:pt x="84" y="314"/>
                      </a:lnTo>
                      <a:lnTo>
                        <a:pt x="84" y="314"/>
                      </a:lnTo>
                      <a:lnTo>
                        <a:pt x="78" y="316"/>
                      </a:lnTo>
                      <a:lnTo>
                        <a:pt x="75" y="319"/>
                      </a:lnTo>
                      <a:lnTo>
                        <a:pt x="71" y="324"/>
                      </a:lnTo>
                      <a:lnTo>
                        <a:pt x="70" y="333"/>
                      </a:lnTo>
                      <a:lnTo>
                        <a:pt x="68" y="352"/>
                      </a:lnTo>
                      <a:lnTo>
                        <a:pt x="64" y="363"/>
                      </a:lnTo>
                      <a:lnTo>
                        <a:pt x="61" y="373"/>
                      </a:lnTo>
                      <a:lnTo>
                        <a:pt x="61" y="373"/>
                      </a:lnTo>
                      <a:lnTo>
                        <a:pt x="59" y="357"/>
                      </a:lnTo>
                      <a:lnTo>
                        <a:pt x="56" y="345"/>
                      </a:lnTo>
                      <a:lnTo>
                        <a:pt x="52" y="335"/>
                      </a:lnTo>
                      <a:lnTo>
                        <a:pt x="47" y="328"/>
                      </a:lnTo>
                      <a:lnTo>
                        <a:pt x="37" y="319"/>
                      </a:lnTo>
                      <a:lnTo>
                        <a:pt x="28" y="309"/>
                      </a:lnTo>
                      <a:lnTo>
                        <a:pt x="28" y="309"/>
                      </a:lnTo>
                      <a:lnTo>
                        <a:pt x="23" y="303"/>
                      </a:lnTo>
                      <a:lnTo>
                        <a:pt x="21" y="300"/>
                      </a:lnTo>
                      <a:lnTo>
                        <a:pt x="21" y="289"/>
                      </a:lnTo>
                      <a:lnTo>
                        <a:pt x="21" y="282"/>
                      </a:lnTo>
                      <a:lnTo>
                        <a:pt x="19" y="279"/>
                      </a:lnTo>
                      <a:lnTo>
                        <a:pt x="17" y="277"/>
                      </a:lnTo>
                      <a:lnTo>
                        <a:pt x="17" y="277"/>
                      </a:lnTo>
                      <a:lnTo>
                        <a:pt x="10" y="270"/>
                      </a:lnTo>
                      <a:lnTo>
                        <a:pt x="7" y="258"/>
                      </a:lnTo>
                      <a:lnTo>
                        <a:pt x="3" y="244"/>
                      </a:lnTo>
                      <a:lnTo>
                        <a:pt x="3" y="237"/>
                      </a:lnTo>
                      <a:lnTo>
                        <a:pt x="5" y="228"/>
                      </a:lnTo>
                      <a:lnTo>
                        <a:pt x="5" y="228"/>
                      </a:lnTo>
                      <a:lnTo>
                        <a:pt x="5" y="220"/>
                      </a:lnTo>
                      <a:lnTo>
                        <a:pt x="5" y="216"/>
                      </a:lnTo>
                      <a:lnTo>
                        <a:pt x="3" y="213"/>
                      </a:lnTo>
                      <a:lnTo>
                        <a:pt x="2" y="209"/>
                      </a:lnTo>
                      <a:lnTo>
                        <a:pt x="0" y="208"/>
                      </a:lnTo>
                      <a:lnTo>
                        <a:pt x="3" y="204"/>
                      </a:lnTo>
                      <a:lnTo>
                        <a:pt x="3" y="204"/>
                      </a:lnTo>
                      <a:lnTo>
                        <a:pt x="12" y="195"/>
                      </a:lnTo>
                      <a:lnTo>
                        <a:pt x="19" y="183"/>
                      </a:lnTo>
                      <a:lnTo>
                        <a:pt x="37" y="145"/>
                      </a:lnTo>
                      <a:lnTo>
                        <a:pt x="37" y="145"/>
                      </a:lnTo>
                      <a:lnTo>
                        <a:pt x="42" y="148"/>
                      </a:lnTo>
                      <a:lnTo>
                        <a:pt x="47" y="148"/>
                      </a:lnTo>
                      <a:lnTo>
                        <a:pt x="51" y="150"/>
                      </a:lnTo>
                      <a:lnTo>
                        <a:pt x="54" y="148"/>
                      </a:lnTo>
                      <a:lnTo>
                        <a:pt x="61" y="145"/>
                      </a:lnTo>
                      <a:lnTo>
                        <a:pt x="68" y="138"/>
                      </a:lnTo>
                      <a:lnTo>
                        <a:pt x="68" y="138"/>
                      </a:lnTo>
                      <a:lnTo>
                        <a:pt x="70" y="134"/>
                      </a:lnTo>
                      <a:lnTo>
                        <a:pt x="73" y="136"/>
                      </a:lnTo>
                      <a:lnTo>
                        <a:pt x="77" y="141"/>
                      </a:lnTo>
                      <a:lnTo>
                        <a:pt x="80" y="143"/>
                      </a:lnTo>
                      <a:lnTo>
                        <a:pt x="82" y="145"/>
                      </a:lnTo>
                      <a:lnTo>
                        <a:pt x="87" y="145"/>
                      </a:lnTo>
                      <a:lnTo>
                        <a:pt x="91" y="141"/>
                      </a:lnTo>
                      <a:lnTo>
                        <a:pt x="91" y="141"/>
                      </a:lnTo>
                      <a:lnTo>
                        <a:pt x="101" y="134"/>
                      </a:lnTo>
                      <a:lnTo>
                        <a:pt x="110" y="131"/>
                      </a:lnTo>
                      <a:lnTo>
                        <a:pt x="118" y="127"/>
                      </a:lnTo>
                      <a:lnTo>
                        <a:pt x="127" y="127"/>
                      </a:lnTo>
                      <a:lnTo>
                        <a:pt x="134" y="126"/>
                      </a:lnTo>
                      <a:lnTo>
                        <a:pt x="143" y="124"/>
                      </a:lnTo>
                      <a:lnTo>
                        <a:pt x="150" y="120"/>
                      </a:lnTo>
                      <a:lnTo>
                        <a:pt x="155" y="115"/>
                      </a:lnTo>
                      <a:lnTo>
                        <a:pt x="155" y="115"/>
                      </a:lnTo>
                      <a:lnTo>
                        <a:pt x="158" y="107"/>
                      </a:lnTo>
                      <a:lnTo>
                        <a:pt x="160" y="101"/>
                      </a:lnTo>
                      <a:lnTo>
                        <a:pt x="160" y="98"/>
                      </a:lnTo>
                      <a:lnTo>
                        <a:pt x="158" y="96"/>
                      </a:lnTo>
                      <a:lnTo>
                        <a:pt x="155" y="91"/>
                      </a:lnTo>
                      <a:lnTo>
                        <a:pt x="155" y="89"/>
                      </a:lnTo>
                      <a:lnTo>
                        <a:pt x="157" y="87"/>
                      </a:lnTo>
                      <a:lnTo>
                        <a:pt x="157" y="87"/>
                      </a:lnTo>
                      <a:lnTo>
                        <a:pt x="162" y="86"/>
                      </a:lnTo>
                      <a:lnTo>
                        <a:pt x="169" y="84"/>
                      </a:lnTo>
                      <a:lnTo>
                        <a:pt x="188" y="82"/>
                      </a:lnTo>
                      <a:lnTo>
                        <a:pt x="199" y="79"/>
                      </a:lnTo>
                      <a:lnTo>
                        <a:pt x="209" y="75"/>
                      </a:lnTo>
                      <a:lnTo>
                        <a:pt x="219" y="68"/>
                      </a:lnTo>
                      <a:lnTo>
                        <a:pt x="228" y="58"/>
                      </a:lnTo>
                      <a:lnTo>
                        <a:pt x="228" y="58"/>
                      </a:lnTo>
                      <a:lnTo>
                        <a:pt x="242" y="40"/>
                      </a:lnTo>
                      <a:lnTo>
                        <a:pt x="251" y="33"/>
                      </a:lnTo>
                      <a:lnTo>
                        <a:pt x="254" y="28"/>
                      </a:lnTo>
                      <a:lnTo>
                        <a:pt x="254" y="21"/>
                      </a:lnTo>
                      <a:lnTo>
                        <a:pt x="254" y="21"/>
                      </a:lnTo>
                      <a:lnTo>
                        <a:pt x="254" y="16"/>
                      </a:lnTo>
                      <a:lnTo>
                        <a:pt x="259" y="13"/>
                      </a:lnTo>
                      <a:lnTo>
                        <a:pt x="265" y="7"/>
                      </a:lnTo>
                      <a:lnTo>
                        <a:pt x="272" y="4"/>
                      </a:lnTo>
                      <a:lnTo>
                        <a:pt x="279" y="2"/>
                      </a:lnTo>
                      <a:lnTo>
                        <a:pt x="286" y="0"/>
                      </a:lnTo>
                      <a:lnTo>
                        <a:pt x="293" y="0"/>
                      </a:lnTo>
                      <a:lnTo>
                        <a:pt x="296" y="2"/>
                      </a:lnTo>
                      <a:lnTo>
                        <a:pt x="296" y="2"/>
                      </a:lnTo>
                      <a:lnTo>
                        <a:pt x="308" y="20"/>
                      </a:lnTo>
                      <a:lnTo>
                        <a:pt x="317" y="35"/>
                      </a:lnTo>
                      <a:lnTo>
                        <a:pt x="320" y="44"/>
                      </a:lnTo>
                      <a:lnTo>
                        <a:pt x="322" y="53"/>
                      </a:lnTo>
                      <a:lnTo>
                        <a:pt x="324" y="61"/>
                      </a:lnTo>
                      <a:lnTo>
                        <a:pt x="322" y="72"/>
                      </a:lnTo>
                      <a:lnTo>
                        <a:pt x="322" y="72"/>
                      </a:lnTo>
                      <a:lnTo>
                        <a:pt x="320" y="86"/>
                      </a:lnTo>
                      <a:lnTo>
                        <a:pt x="320" y="94"/>
                      </a:lnTo>
                      <a:lnTo>
                        <a:pt x="326" y="98"/>
                      </a:lnTo>
                      <a:lnTo>
                        <a:pt x="331" y="100"/>
                      </a:lnTo>
                      <a:lnTo>
                        <a:pt x="341" y="100"/>
                      </a:lnTo>
                      <a:lnTo>
                        <a:pt x="343" y="101"/>
                      </a:lnTo>
                      <a:lnTo>
                        <a:pt x="341" y="107"/>
                      </a:lnTo>
                      <a:lnTo>
                        <a:pt x="341" y="107"/>
                      </a:lnTo>
                      <a:lnTo>
                        <a:pt x="341" y="112"/>
                      </a:lnTo>
                      <a:lnTo>
                        <a:pt x="341" y="114"/>
                      </a:lnTo>
                      <a:lnTo>
                        <a:pt x="345" y="115"/>
                      </a:lnTo>
                      <a:lnTo>
                        <a:pt x="350" y="117"/>
                      </a:lnTo>
                      <a:lnTo>
                        <a:pt x="362" y="120"/>
                      </a:lnTo>
                      <a:lnTo>
                        <a:pt x="367" y="122"/>
                      </a:lnTo>
                      <a:lnTo>
                        <a:pt x="373" y="127"/>
                      </a:lnTo>
                      <a:lnTo>
                        <a:pt x="373" y="127"/>
                      </a:lnTo>
                      <a:lnTo>
                        <a:pt x="378" y="134"/>
                      </a:lnTo>
                      <a:lnTo>
                        <a:pt x="378" y="138"/>
                      </a:lnTo>
                      <a:lnTo>
                        <a:pt x="378" y="143"/>
                      </a:lnTo>
                      <a:lnTo>
                        <a:pt x="376" y="147"/>
                      </a:lnTo>
                      <a:lnTo>
                        <a:pt x="378" y="148"/>
                      </a:lnTo>
                      <a:lnTo>
                        <a:pt x="381" y="154"/>
                      </a:lnTo>
                      <a:lnTo>
                        <a:pt x="390" y="159"/>
                      </a:lnTo>
                      <a:lnTo>
                        <a:pt x="390" y="159"/>
                      </a:lnTo>
                      <a:lnTo>
                        <a:pt x="406" y="171"/>
                      </a:lnTo>
                      <a:lnTo>
                        <a:pt x="414" y="178"/>
                      </a:lnTo>
                      <a:lnTo>
                        <a:pt x="418" y="183"/>
                      </a:lnTo>
                      <a:lnTo>
                        <a:pt x="418" y="192"/>
                      </a:lnTo>
                      <a:lnTo>
                        <a:pt x="418" y="192"/>
                      </a:lnTo>
                      <a:lnTo>
                        <a:pt x="418" y="199"/>
                      </a:lnTo>
                      <a:lnTo>
                        <a:pt x="421" y="206"/>
                      </a:lnTo>
                      <a:lnTo>
                        <a:pt x="428" y="211"/>
                      </a:lnTo>
                      <a:lnTo>
                        <a:pt x="439" y="216"/>
                      </a:lnTo>
                      <a:lnTo>
                        <a:pt x="439" y="216"/>
                      </a:lnTo>
                      <a:lnTo>
                        <a:pt x="442" y="220"/>
                      </a:lnTo>
                      <a:lnTo>
                        <a:pt x="446" y="221"/>
                      </a:lnTo>
                      <a:lnTo>
                        <a:pt x="449" y="232"/>
                      </a:lnTo>
                      <a:lnTo>
                        <a:pt x="453" y="242"/>
                      </a:lnTo>
                      <a:lnTo>
                        <a:pt x="458" y="256"/>
                      </a:lnTo>
                      <a:lnTo>
                        <a:pt x="458" y="2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6" name="Freeform 1765">
                  <a:extLst>
                    <a:ext uri="{FF2B5EF4-FFF2-40B4-BE49-F238E27FC236}">
                      <a16:creationId xmlns:a16="http://schemas.microsoft.com/office/drawing/2014/main" id="{1A93D94F-C690-D466-7DEF-794812B2C249}"/>
                    </a:ext>
                  </a:extLst>
                </p:cNvPr>
                <p:cNvSpPr>
                  <a:spLocks/>
                </p:cNvSpPr>
                <p:nvPr/>
              </p:nvSpPr>
              <p:spPr bwMode="auto">
                <a:xfrm>
                  <a:off x="4961133" y="4069509"/>
                  <a:ext cx="216727" cy="391165"/>
                </a:xfrm>
                <a:custGeom>
                  <a:avLst/>
                  <a:gdLst/>
                  <a:ahLst/>
                  <a:cxnLst>
                    <a:cxn ang="0">
                      <a:pos x="225" y="468"/>
                    </a:cxn>
                    <a:cxn ang="0">
                      <a:pos x="249" y="475"/>
                    </a:cxn>
                    <a:cxn ang="0">
                      <a:pos x="265" y="487"/>
                    </a:cxn>
                    <a:cxn ang="0">
                      <a:pos x="268" y="482"/>
                    </a:cxn>
                    <a:cxn ang="0">
                      <a:pos x="270" y="463"/>
                    </a:cxn>
                    <a:cxn ang="0">
                      <a:pos x="261" y="425"/>
                    </a:cxn>
                    <a:cxn ang="0">
                      <a:pos x="237" y="399"/>
                    </a:cxn>
                    <a:cxn ang="0">
                      <a:pos x="230" y="372"/>
                    </a:cxn>
                    <a:cxn ang="0">
                      <a:pos x="219" y="360"/>
                    </a:cxn>
                    <a:cxn ang="0">
                      <a:pos x="214" y="318"/>
                    </a:cxn>
                    <a:cxn ang="0">
                      <a:pos x="212" y="303"/>
                    </a:cxn>
                    <a:cxn ang="0">
                      <a:pos x="212" y="294"/>
                    </a:cxn>
                    <a:cxn ang="0">
                      <a:pos x="246" y="235"/>
                    </a:cxn>
                    <a:cxn ang="0">
                      <a:pos x="240" y="209"/>
                    </a:cxn>
                    <a:cxn ang="0">
                      <a:pos x="232" y="191"/>
                    </a:cxn>
                    <a:cxn ang="0">
                      <a:pos x="195" y="155"/>
                    </a:cxn>
                    <a:cxn ang="0">
                      <a:pos x="195" y="139"/>
                    </a:cxn>
                    <a:cxn ang="0">
                      <a:pos x="209" y="132"/>
                    </a:cxn>
                    <a:cxn ang="0">
                      <a:pos x="237" y="136"/>
                    </a:cxn>
                    <a:cxn ang="0">
                      <a:pos x="240" y="122"/>
                    </a:cxn>
                    <a:cxn ang="0">
                      <a:pos x="230" y="82"/>
                    </a:cxn>
                    <a:cxn ang="0">
                      <a:pos x="228" y="43"/>
                    </a:cxn>
                    <a:cxn ang="0">
                      <a:pos x="223" y="29"/>
                    </a:cxn>
                    <a:cxn ang="0">
                      <a:pos x="218" y="15"/>
                    </a:cxn>
                    <a:cxn ang="0">
                      <a:pos x="214" y="3"/>
                    </a:cxn>
                    <a:cxn ang="0">
                      <a:pos x="195" y="15"/>
                    </a:cxn>
                    <a:cxn ang="0">
                      <a:pos x="211" y="35"/>
                    </a:cxn>
                    <a:cxn ang="0">
                      <a:pos x="214" y="54"/>
                    </a:cxn>
                    <a:cxn ang="0">
                      <a:pos x="197" y="82"/>
                    </a:cxn>
                    <a:cxn ang="0">
                      <a:pos x="172" y="125"/>
                    </a:cxn>
                    <a:cxn ang="0">
                      <a:pos x="152" y="186"/>
                    </a:cxn>
                    <a:cxn ang="0">
                      <a:pos x="138" y="197"/>
                    </a:cxn>
                    <a:cxn ang="0">
                      <a:pos x="117" y="256"/>
                    </a:cxn>
                    <a:cxn ang="0">
                      <a:pos x="101" y="282"/>
                    </a:cxn>
                    <a:cxn ang="0">
                      <a:pos x="85" y="268"/>
                    </a:cxn>
                    <a:cxn ang="0">
                      <a:pos x="66" y="258"/>
                    </a:cxn>
                    <a:cxn ang="0">
                      <a:pos x="49" y="268"/>
                    </a:cxn>
                    <a:cxn ang="0">
                      <a:pos x="42" y="282"/>
                    </a:cxn>
                    <a:cxn ang="0">
                      <a:pos x="19" y="299"/>
                    </a:cxn>
                    <a:cxn ang="0">
                      <a:pos x="7" y="338"/>
                    </a:cxn>
                    <a:cxn ang="0">
                      <a:pos x="2" y="365"/>
                    </a:cxn>
                    <a:cxn ang="0">
                      <a:pos x="12" y="364"/>
                    </a:cxn>
                    <a:cxn ang="0">
                      <a:pos x="19" y="385"/>
                    </a:cxn>
                    <a:cxn ang="0">
                      <a:pos x="31" y="388"/>
                    </a:cxn>
                    <a:cxn ang="0">
                      <a:pos x="40" y="385"/>
                    </a:cxn>
                    <a:cxn ang="0">
                      <a:pos x="40" y="393"/>
                    </a:cxn>
                    <a:cxn ang="0">
                      <a:pos x="38" y="400"/>
                    </a:cxn>
                    <a:cxn ang="0">
                      <a:pos x="45" y="414"/>
                    </a:cxn>
                    <a:cxn ang="0">
                      <a:pos x="49" y="435"/>
                    </a:cxn>
                    <a:cxn ang="0">
                      <a:pos x="54" y="463"/>
                    </a:cxn>
                    <a:cxn ang="0">
                      <a:pos x="99" y="465"/>
                    </a:cxn>
                    <a:cxn ang="0">
                      <a:pos x="139" y="459"/>
                    </a:cxn>
                    <a:cxn ang="0">
                      <a:pos x="167" y="465"/>
                    </a:cxn>
                  </a:cxnLst>
                  <a:rect l="0" t="0" r="r" b="b"/>
                  <a:pathLst>
                    <a:path w="270" h="487">
                      <a:moveTo>
                        <a:pt x="167" y="465"/>
                      </a:moveTo>
                      <a:lnTo>
                        <a:pt x="216" y="465"/>
                      </a:lnTo>
                      <a:lnTo>
                        <a:pt x="216" y="465"/>
                      </a:lnTo>
                      <a:lnTo>
                        <a:pt x="225" y="468"/>
                      </a:lnTo>
                      <a:lnTo>
                        <a:pt x="235" y="472"/>
                      </a:lnTo>
                      <a:lnTo>
                        <a:pt x="244" y="473"/>
                      </a:lnTo>
                      <a:lnTo>
                        <a:pt x="244" y="473"/>
                      </a:lnTo>
                      <a:lnTo>
                        <a:pt x="249" y="475"/>
                      </a:lnTo>
                      <a:lnTo>
                        <a:pt x="253" y="477"/>
                      </a:lnTo>
                      <a:lnTo>
                        <a:pt x="260" y="482"/>
                      </a:lnTo>
                      <a:lnTo>
                        <a:pt x="263" y="486"/>
                      </a:lnTo>
                      <a:lnTo>
                        <a:pt x="265" y="487"/>
                      </a:lnTo>
                      <a:lnTo>
                        <a:pt x="268" y="487"/>
                      </a:lnTo>
                      <a:lnTo>
                        <a:pt x="268" y="487"/>
                      </a:lnTo>
                      <a:lnTo>
                        <a:pt x="268" y="486"/>
                      </a:lnTo>
                      <a:lnTo>
                        <a:pt x="268" y="482"/>
                      </a:lnTo>
                      <a:lnTo>
                        <a:pt x="268" y="477"/>
                      </a:lnTo>
                      <a:lnTo>
                        <a:pt x="268" y="470"/>
                      </a:lnTo>
                      <a:lnTo>
                        <a:pt x="268" y="466"/>
                      </a:lnTo>
                      <a:lnTo>
                        <a:pt x="270" y="463"/>
                      </a:lnTo>
                      <a:lnTo>
                        <a:pt x="270" y="463"/>
                      </a:lnTo>
                      <a:lnTo>
                        <a:pt x="268" y="447"/>
                      </a:lnTo>
                      <a:lnTo>
                        <a:pt x="265" y="435"/>
                      </a:lnTo>
                      <a:lnTo>
                        <a:pt x="261" y="425"/>
                      </a:lnTo>
                      <a:lnTo>
                        <a:pt x="256" y="418"/>
                      </a:lnTo>
                      <a:lnTo>
                        <a:pt x="246" y="409"/>
                      </a:lnTo>
                      <a:lnTo>
                        <a:pt x="237" y="399"/>
                      </a:lnTo>
                      <a:lnTo>
                        <a:pt x="237" y="399"/>
                      </a:lnTo>
                      <a:lnTo>
                        <a:pt x="232" y="393"/>
                      </a:lnTo>
                      <a:lnTo>
                        <a:pt x="230" y="390"/>
                      </a:lnTo>
                      <a:lnTo>
                        <a:pt x="230" y="379"/>
                      </a:lnTo>
                      <a:lnTo>
                        <a:pt x="230" y="372"/>
                      </a:lnTo>
                      <a:lnTo>
                        <a:pt x="228" y="369"/>
                      </a:lnTo>
                      <a:lnTo>
                        <a:pt x="226" y="367"/>
                      </a:lnTo>
                      <a:lnTo>
                        <a:pt x="226" y="367"/>
                      </a:lnTo>
                      <a:lnTo>
                        <a:pt x="219" y="360"/>
                      </a:lnTo>
                      <a:lnTo>
                        <a:pt x="216" y="348"/>
                      </a:lnTo>
                      <a:lnTo>
                        <a:pt x="212" y="334"/>
                      </a:lnTo>
                      <a:lnTo>
                        <a:pt x="212" y="327"/>
                      </a:lnTo>
                      <a:lnTo>
                        <a:pt x="214" y="318"/>
                      </a:lnTo>
                      <a:lnTo>
                        <a:pt x="214" y="318"/>
                      </a:lnTo>
                      <a:lnTo>
                        <a:pt x="214" y="310"/>
                      </a:lnTo>
                      <a:lnTo>
                        <a:pt x="214" y="306"/>
                      </a:lnTo>
                      <a:lnTo>
                        <a:pt x="212" y="303"/>
                      </a:lnTo>
                      <a:lnTo>
                        <a:pt x="211" y="299"/>
                      </a:lnTo>
                      <a:lnTo>
                        <a:pt x="209" y="298"/>
                      </a:lnTo>
                      <a:lnTo>
                        <a:pt x="212" y="294"/>
                      </a:lnTo>
                      <a:lnTo>
                        <a:pt x="212" y="294"/>
                      </a:lnTo>
                      <a:lnTo>
                        <a:pt x="221" y="285"/>
                      </a:lnTo>
                      <a:lnTo>
                        <a:pt x="228" y="273"/>
                      </a:lnTo>
                      <a:lnTo>
                        <a:pt x="246" y="235"/>
                      </a:lnTo>
                      <a:lnTo>
                        <a:pt x="246" y="235"/>
                      </a:lnTo>
                      <a:lnTo>
                        <a:pt x="247" y="230"/>
                      </a:lnTo>
                      <a:lnTo>
                        <a:pt x="247" y="226"/>
                      </a:lnTo>
                      <a:lnTo>
                        <a:pt x="244" y="221"/>
                      </a:lnTo>
                      <a:lnTo>
                        <a:pt x="240" y="209"/>
                      </a:lnTo>
                      <a:lnTo>
                        <a:pt x="240" y="209"/>
                      </a:lnTo>
                      <a:lnTo>
                        <a:pt x="239" y="202"/>
                      </a:lnTo>
                      <a:lnTo>
                        <a:pt x="235" y="197"/>
                      </a:lnTo>
                      <a:lnTo>
                        <a:pt x="232" y="191"/>
                      </a:lnTo>
                      <a:lnTo>
                        <a:pt x="226" y="186"/>
                      </a:lnTo>
                      <a:lnTo>
                        <a:pt x="214" y="176"/>
                      </a:lnTo>
                      <a:lnTo>
                        <a:pt x="206" y="167"/>
                      </a:lnTo>
                      <a:lnTo>
                        <a:pt x="195" y="155"/>
                      </a:lnTo>
                      <a:lnTo>
                        <a:pt x="195" y="155"/>
                      </a:lnTo>
                      <a:lnTo>
                        <a:pt x="193" y="151"/>
                      </a:lnTo>
                      <a:lnTo>
                        <a:pt x="193" y="148"/>
                      </a:lnTo>
                      <a:lnTo>
                        <a:pt x="195" y="139"/>
                      </a:lnTo>
                      <a:lnTo>
                        <a:pt x="197" y="136"/>
                      </a:lnTo>
                      <a:lnTo>
                        <a:pt x="200" y="134"/>
                      </a:lnTo>
                      <a:lnTo>
                        <a:pt x="204" y="132"/>
                      </a:lnTo>
                      <a:lnTo>
                        <a:pt x="209" y="132"/>
                      </a:lnTo>
                      <a:lnTo>
                        <a:pt x="209" y="132"/>
                      </a:lnTo>
                      <a:lnTo>
                        <a:pt x="218" y="136"/>
                      </a:lnTo>
                      <a:lnTo>
                        <a:pt x="226" y="136"/>
                      </a:lnTo>
                      <a:lnTo>
                        <a:pt x="237" y="136"/>
                      </a:lnTo>
                      <a:lnTo>
                        <a:pt x="251" y="130"/>
                      </a:lnTo>
                      <a:lnTo>
                        <a:pt x="251" y="130"/>
                      </a:lnTo>
                      <a:lnTo>
                        <a:pt x="244" y="127"/>
                      </a:lnTo>
                      <a:lnTo>
                        <a:pt x="240" y="122"/>
                      </a:lnTo>
                      <a:lnTo>
                        <a:pt x="235" y="115"/>
                      </a:lnTo>
                      <a:lnTo>
                        <a:pt x="233" y="110"/>
                      </a:lnTo>
                      <a:lnTo>
                        <a:pt x="230" y="96"/>
                      </a:lnTo>
                      <a:lnTo>
                        <a:pt x="230" y="82"/>
                      </a:lnTo>
                      <a:lnTo>
                        <a:pt x="232" y="56"/>
                      </a:lnTo>
                      <a:lnTo>
                        <a:pt x="230" y="47"/>
                      </a:lnTo>
                      <a:lnTo>
                        <a:pt x="230" y="45"/>
                      </a:lnTo>
                      <a:lnTo>
                        <a:pt x="228" y="43"/>
                      </a:lnTo>
                      <a:lnTo>
                        <a:pt x="228" y="43"/>
                      </a:lnTo>
                      <a:lnTo>
                        <a:pt x="225" y="40"/>
                      </a:lnTo>
                      <a:lnTo>
                        <a:pt x="225" y="38"/>
                      </a:lnTo>
                      <a:lnTo>
                        <a:pt x="223" y="29"/>
                      </a:lnTo>
                      <a:lnTo>
                        <a:pt x="223" y="21"/>
                      </a:lnTo>
                      <a:lnTo>
                        <a:pt x="221" y="17"/>
                      </a:lnTo>
                      <a:lnTo>
                        <a:pt x="218" y="15"/>
                      </a:lnTo>
                      <a:lnTo>
                        <a:pt x="218" y="15"/>
                      </a:lnTo>
                      <a:lnTo>
                        <a:pt x="212" y="12"/>
                      </a:lnTo>
                      <a:lnTo>
                        <a:pt x="212" y="10"/>
                      </a:lnTo>
                      <a:lnTo>
                        <a:pt x="214" y="5"/>
                      </a:lnTo>
                      <a:lnTo>
                        <a:pt x="214" y="3"/>
                      </a:lnTo>
                      <a:lnTo>
                        <a:pt x="212" y="2"/>
                      </a:lnTo>
                      <a:lnTo>
                        <a:pt x="195" y="0"/>
                      </a:lnTo>
                      <a:lnTo>
                        <a:pt x="195" y="0"/>
                      </a:lnTo>
                      <a:lnTo>
                        <a:pt x="195" y="15"/>
                      </a:lnTo>
                      <a:lnTo>
                        <a:pt x="199" y="26"/>
                      </a:lnTo>
                      <a:lnTo>
                        <a:pt x="202" y="31"/>
                      </a:lnTo>
                      <a:lnTo>
                        <a:pt x="207" y="33"/>
                      </a:lnTo>
                      <a:lnTo>
                        <a:pt x="211" y="35"/>
                      </a:lnTo>
                      <a:lnTo>
                        <a:pt x="214" y="36"/>
                      </a:lnTo>
                      <a:lnTo>
                        <a:pt x="216" y="43"/>
                      </a:lnTo>
                      <a:lnTo>
                        <a:pt x="214" y="54"/>
                      </a:lnTo>
                      <a:lnTo>
                        <a:pt x="214" y="54"/>
                      </a:lnTo>
                      <a:lnTo>
                        <a:pt x="211" y="66"/>
                      </a:lnTo>
                      <a:lnTo>
                        <a:pt x="206" y="73"/>
                      </a:lnTo>
                      <a:lnTo>
                        <a:pt x="202" y="78"/>
                      </a:lnTo>
                      <a:lnTo>
                        <a:pt x="197" y="82"/>
                      </a:lnTo>
                      <a:lnTo>
                        <a:pt x="192" y="85"/>
                      </a:lnTo>
                      <a:lnTo>
                        <a:pt x="185" y="94"/>
                      </a:lnTo>
                      <a:lnTo>
                        <a:pt x="179" y="106"/>
                      </a:lnTo>
                      <a:lnTo>
                        <a:pt x="172" y="125"/>
                      </a:lnTo>
                      <a:lnTo>
                        <a:pt x="172" y="125"/>
                      </a:lnTo>
                      <a:lnTo>
                        <a:pt x="162" y="162"/>
                      </a:lnTo>
                      <a:lnTo>
                        <a:pt x="155" y="181"/>
                      </a:lnTo>
                      <a:lnTo>
                        <a:pt x="152" y="186"/>
                      </a:lnTo>
                      <a:lnTo>
                        <a:pt x="150" y="190"/>
                      </a:lnTo>
                      <a:lnTo>
                        <a:pt x="143" y="193"/>
                      </a:lnTo>
                      <a:lnTo>
                        <a:pt x="143" y="193"/>
                      </a:lnTo>
                      <a:lnTo>
                        <a:pt x="138" y="197"/>
                      </a:lnTo>
                      <a:lnTo>
                        <a:pt x="134" y="204"/>
                      </a:lnTo>
                      <a:lnTo>
                        <a:pt x="127" y="224"/>
                      </a:lnTo>
                      <a:lnTo>
                        <a:pt x="120" y="245"/>
                      </a:lnTo>
                      <a:lnTo>
                        <a:pt x="117" y="256"/>
                      </a:lnTo>
                      <a:lnTo>
                        <a:pt x="112" y="266"/>
                      </a:lnTo>
                      <a:lnTo>
                        <a:pt x="112" y="266"/>
                      </a:lnTo>
                      <a:lnTo>
                        <a:pt x="105" y="278"/>
                      </a:lnTo>
                      <a:lnTo>
                        <a:pt x="101" y="282"/>
                      </a:lnTo>
                      <a:lnTo>
                        <a:pt x="99" y="282"/>
                      </a:lnTo>
                      <a:lnTo>
                        <a:pt x="96" y="282"/>
                      </a:lnTo>
                      <a:lnTo>
                        <a:pt x="94" y="280"/>
                      </a:lnTo>
                      <a:lnTo>
                        <a:pt x="85" y="268"/>
                      </a:lnTo>
                      <a:lnTo>
                        <a:pt x="85" y="268"/>
                      </a:lnTo>
                      <a:lnTo>
                        <a:pt x="78" y="263"/>
                      </a:lnTo>
                      <a:lnTo>
                        <a:pt x="73" y="258"/>
                      </a:lnTo>
                      <a:lnTo>
                        <a:pt x="66" y="258"/>
                      </a:lnTo>
                      <a:lnTo>
                        <a:pt x="61" y="258"/>
                      </a:lnTo>
                      <a:lnTo>
                        <a:pt x="56" y="259"/>
                      </a:lnTo>
                      <a:lnTo>
                        <a:pt x="52" y="263"/>
                      </a:lnTo>
                      <a:lnTo>
                        <a:pt x="49" y="268"/>
                      </a:lnTo>
                      <a:lnTo>
                        <a:pt x="45" y="273"/>
                      </a:lnTo>
                      <a:lnTo>
                        <a:pt x="45" y="273"/>
                      </a:lnTo>
                      <a:lnTo>
                        <a:pt x="44" y="278"/>
                      </a:lnTo>
                      <a:lnTo>
                        <a:pt x="42" y="282"/>
                      </a:lnTo>
                      <a:lnTo>
                        <a:pt x="35" y="285"/>
                      </a:lnTo>
                      <a:lnTo>
                        <a:pt x="28" y="289"/>
                      </a:lnTo>
                      <a:lnTo>
                        <a:pt x="24" y="292"/>
                      </a:lnTo>
                      <a:lnTo>
                        <a:pt x="19" y="299"/>
                      </a:lnTo>
                      <a:lnTo>
                        <a:pt x="19" y="299"/>
                      </a:lnTo>
                      <a:lnTo>
                        <a:pt x="14" y="313"/>
                      </a:lnTo>
                      <a:lnTo>
                        <a:pt x="11" y="325"/>
                      </a:lnTo>
                      <a:lnTo>
                        <a:pt x="7" y="338"/>
                      </a:lnTo>
                      <a:lnTo>
                        <a:pt x="0" y="355"/>
                      </a:lnTo>
                      <a:lnTo>
                        <a:pt x="0" y="355"/>
                      </a:lnTo>
                      <a:lnTo>
                        <a:pt x="0" y="362"/>
                      </a:lnTo>
                      <a:lnTo>
                        <a:pt x="2" y="365"/>
                      </a:lnTo>
                      <a:lnTo>
                        <a:pt x="5" y="365"/>
                      </a:lnTo>
                      <a:lnTo>
                        <a:pt x="7" y="365"/>
                      </a:lnTo>
                      <a:lnTo>
                        <a:pt x="11" y="364"/>
                      </a:lnTo>
                      <a:lnTo>
                        <a:pt x="12" y="364"/>
                      </a:lnTo>
                      <a:lnTo>
                        <a:pt x="14" y="369"/>
                      </a:lnTo>
                      <a:lnTo>
                        <a:pt x="14" y="369"/>
                      </a:lnTo>
                      <a:lnTo>
                        <a:pt x="16" y="381"/>
                      </a:lnTo>
                      <a:lnTo>
                        <a:pt x="19" y="385"/>
                      </a:lnTo>
                      <a:lnTo>
                        <a:pt x="26" y="388"/>
                      </a:lnTo>
                      <a:lnTo>
                        <a:pt x="26" y="388"/>
                      </a:lnTo>
                      <a:lnTo>
                        <a:pt x="30" y="390"/>
                      </a:lnTo>
                      <a:lnTo>
                        <a:pt x="31" y="388"/>
                      </a:lnTo>
                      <a:lnTo>
                        <a:pt x="35" y="386"/>
                      </a:lnTo>
                      <a:lnTo>
                        <a:pt x="37" y="383"/>
                      </a:lnTo>
                      <a:lnTo>
                        <a:pt x="37" y="383"/>
                      </a:lnTo>
                      <a:lnTo>
                        <a:pt x="40" y="385"/>
                      </a:lnTo>
                      <a:lnTo>
                        <a:pt x="40" y="385"/>
                      </a:lnTo>
                      <a:lnTo>
                        <a:pt x="42" y="388"/>
                      </a:lnTo>
                      <a:lnTo>
                        <a:pt x="42" y="390"/>
                      </a:lnTo>
                      <a:lnTo>
                        <a:pt x="40" y="393"/>
                      </a:lnTo>
                      <a:lnTo>
                        <a:pt x="37" y="397"/>
                      </a:lnTo>
                      <a:lnTo>
                        <a:pt x="37" y="399"/>
                      </a:lnTo>
                      <a:lnTo>
                        <a:pt x="38" y="400"/>
                      </a:lnTo>
                      <a:lnTo>
                        <a:pt x="38" y="400"/>
                      </a:lnTo>
                      <a:lnTo>
                        <a:pt x="42" y="404"/>
                      </a:lnTo>
                      <a:lnTo>
                        <a:pt x="42" y="406"/>
                      </a:lnTo>
                      <a:lnTo>
                        <a:pt x="40" y="407"/>
                      </a:lnTo>
                      <a:lnTo>
                        <a:pt x="45" y="414"/>
                      </a:lnTo>
                      <a:lnTo>
                        <a:pt x="45" y="414"/>
                      </a:lnTo>
                      <a:lnTo>
                        <a:pt x="47" y="419"/>
                      </a:lnTo>
                      <a:lnTo>
                        <a:pt x="49" y="425"/>
                      </a:lnTo>
                      <a:lnTo>
                        <a:pt x="49" y="435"/>
                      </a:lnTo>
                      <a:lnTo>
                        <a:pt x="45" y="446"/>
                      </a:lnTo>
                      <a:lnTo>
                        <a:pt x="45" y="458"/>
                      </a:lnTo>
                      <a:lnTo>
                        <a:pt x="45" y="458"/>
                      </a:lnTo>
                      <a:lnTo>
                        <a:pt x="54" y="463"/>
                      </a:lnTo>
                      <a:lnTo>
                        <a:pt x="63" y="465"/>
                      </a:lnTo>
                      <a:lnTo>
                        <a:pt x="77" y="465"/>
                      </a:lnTo>
                      <a:lnTo>
                        <a:pt x="99" y="465"/>
                      </a:lnTo>
                      <a:lnTo>
                        <a:pt x="99" y="465"/>
                      </a:lnTo>
                      <a:lnTo>
                        <a:pt x="103" y="459"/>
                      </a:lnTo>
                      <a:lnTo>
                        <a:pt x="106" y="458"/>
                      </a:lnTo>
                      <a:lnTo>
                        <a:pt x="139" y="459"/>
                      </a:lnTo>
                      <a:lnTo>
                        <a:pt x="139" y="459"/>
                      </a:lnTo>
                      <a:lnTo>
                        <a:pt x="165" y="459"/>
                      </a:lnTo>
                      <a:lnTo>
                        <a:pt x="165" y="461"/>
                      </a:lnTo>
                      <a:lnTo>
                        <a:pt x="167" y="465"/>
                      </a:lnTo>
                      <a:lnTo>
                        <a:pt x="167" y="46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7" name="Freeform 1766">
                  <a:extLst>
                    <a:ext uri="{FF2B5EF4-FFF2-40B4-BE49-F238E27FC236}">
                      <a16:creationId xmlns:a16="http://schemas.microsoft.com/office/drawing/2014/main" id="{7DDDD3C2-E79F-BB5C-ADE8-5FC45EE8D651}"/>
                    </a:ext>
                  </a:extLst>
                </p:cNvPr>
                <p:cNvSpPr>
                  <a:spLocks/>
                </p:cNvSpPr>
                <p:nvPr/>
              </p:nvSpPr>
              <p:spPr bwMode="auto">
                <a:xfrm>
                  <a:off x="5033376" y="4390195"/>
                  <a:ext cx="214964" cy="297778"/>
                </a:xfrm>
                <a:custGeom>
                  <a:avLst/>
                  <a:gdLst/>
                  <a:ahLst/>
                  <a:cxnLst>
                    <a:cxn ang="0">
                      <a:pos x="74" y="79"/>
                    </a:cxn>
                    <a:cxn ang="0">
                      <a:pos x="73" y="98"/>
                    </a:cxn>
                    <a:cxn ang="0">
                      <a:pos x="85" y="101"/>
                    </a:cxn>
                    <a:cxn ang="0">
                      <a:pos x="106" y="98"/>
                    </a:cxn>
                    <a:cxn ang="0">
                      <a:pos x="118" y="117"/>
                    </a:cxn>
                    <a:cxn ang="0">
                      <a:pos x="115" y="131"/>
                    </a:cxn>
                    <a:cxn ang="0">
                      <a:pos x="102" y="140"/>
                    </a:cxn>
                    <a:cxn ang="0">
                      <a:pos x="97" y="164"/>
                    </a:cxn>
                    <a:cxn ang="0">
                      <a:pos x="115" y="178"/>
                    </a:cxn>
                    <a:cxn ang="0">
                      <a:pos x="116" y="197"/>
                    </a:cxn>
                    <a:cxn ang="0">
                      <a:pos x="115" y="239"/>
                    </a:cxn>
                    <a:cxn ang="0">
                      <a:pos x="111" y="254"/>
                    </a:cxn>
                    <a:cxn ang="0">
                      <a:pos x="104" y="261"/>
                    </a:cxn>
                    <a:cxn ang="0">
                      <a:pos x="95" y="249"/>
                    </a:cxn>
                    <a:cxn ang="0">
                      <a:pos x="83" y="260"/>
                    </a:cxn>
                    <a:cxn ang="0">
                      <a:pos x="69" y="254"/>
                    </a:cxn>
                    <a:cxn ang="0">
                      <a:pos x="54" y="232"/>
                    </a:cxn>
                    <a:cxn ang="0">
                      <a:pos x="50" y="248"/>
                    </a:cxn>
                    <a:cxn ang="0">
                      <a:pos x="47" y="256"/>
                    </a:cxn>
                    <a:cxn ang="0">
                      <a:pos x="22" y="258"/>
                    </a:cxn>
                    <a:cxn ang="0">
                      <a:pos x="19" y="282"/>
                    </a:cxn>
                    <a:cxn ang="0">
                      <a:pos x="29" y="300"/>
                    </a:cxn>
                    <a:cxn ang="0">
                      <a:pos x="24" y="314"/>
                    </a:cxn>
                    <a:cxn ang="0">
                      <a:pos x="12" y="308"/>
                    </a:cxn>
                    <a:cxn ang="0">
                      <a:pos x="22" y="347"/>
                    </a:cxn>
                    <a:cxn ang="0">
                      <a:pos x="33" y="369"/>
                    </a:cxn>
                    <a:cxn ang="0">
                      <a:pos x="54" y="348"/>
                    </a:cxn>
                    <a:cxn ang="0">
                      <a:pos x="64" y="345"/>
                    </a:cxn>
                    <a:cxn ang="0">
                      <a:pos x="85" y="359"/>
                    </a:cxn>
                    <a:cxn ang="0">
                      <a:pos x="109" y="340"/>
                    </a:cxn>
                    <a:cxn ang="0">
                      <a:pos x="118" y="343"/>
                    </a:cxn>
                    <a:cxn ang="0">
                      <a:pos x="115" y="359"/>
                    </a:cxn>
                    <a:cxn ang="0">
                      <a:pos x="123" y="364"/>
                    </a:cxn>
                    <a:cxn ang="0">
                      <a:pos x="144" y="348"/>
                    </a:cxn>
                    <a:cxn ang="0">
                      <a:pos x="162" y="326"/>
                    </a:cxn>
                    <a:cxn ang="0">
                      <a:pos x="177" y="310"/>
                    </a:cxn>
                    <a:cxn ang="0">
                      <a:pos x="179" y="284"/>
                    </a:cxn>
                    <a:cxn ang="0">
                      <a:pos x="177" y="260"/>
                    </a:cxn>
                    <a:cxn ang="0">
                      <a:pos x="203" y="211"/>
                    </a:cxn>
                    <a:cxn ang="0">
                      <a:pos x="224" y="192"/>
                    </a:cxn>
                    <a:cxn ang="0">
                      <a:pos x="233" y="164"/>
                    </a:cxn>
                    <a:cxn ang="0">
                      <a:pos x="242" y="140"/>
                    </a:cxn>
                    <a:cxn ang="0">
                      <a:pos x="238" y="122"/>
                    </a:cxn>
                    <a:cxn ang="0">
                      <a:pos x="240" y="100"/>
                    </a:cxn>
                    <a:cxn ang="0">
                      <a:pos x="245" y="59"/>
                    </a:cxn>
                    <a:cxn ang="0">
                      <a:pos x="259" y="32"/>
                    </a:cxn>
                    <a:cxn ang="0">
                      <a:pos x="264" y="9"/>
                    </a:cxn>
                    <a:cxn ang="0">
                      <a:pos x="247" y="7"/>
                    </a:cxn>
                    <a:cxn ang="0">
                      <a:pos x="231" y="2"/>
                    </a:cxn>
                    <a:cxn ang="0">
                      <a:pos x="214" y="4"/>
                    </a:cxn>
                    <a:cxn ang="0">
                      <a:pos x="196" y="6"/>
                    </a:cxn>
                    <a:cxn ang="0">
                      <a:pos x="186" y="42"/>
                    </a:cxn>
                    <a:cxn ang="0">
                      <a:pos x="177" y="66"/>
                    </a:cxn>
                    <a:cxn ang="0">
                      <a:pos x="177" y="86"/>
                    </a:cxn>
                    <a:cxn ang="0">
                      <a:pos x="172" y="86"/>
                    </a:cxn>
                    <a:cxn ang="0">
                      <a:pos x="153" y="73"/>
                    </a:cxn>
                    <a:cxn ang="0">
                      <a:pos x="125" y="65"/>
                    </a:cxn>
                  </a:cxnLst>
                  <a:rect l="0" t="0" r="r" b="b"/>
                  <a:pathLst>
                    <a:path w="266" h="369">
                      <a:moveTo>
                        <a:pt x="76" y="65"/>
                      </a:moveTo>
                      <a:lnTo>
                        <a:pt x="76" y="65"/>
                      </a:lnTo>
                      <a:lnTo>
                        <a:pt x="76" y="72"/>
                      </a:lnTo>
                      <a:lnTo>
                        <a:pt x="74" y="79"/>
                      </a:lnTo>
                      <a:lnTo>
                        <a:pt x="71" y="86"/>
                      </a:lnTo>
                      <a:lnTo>
                        <a:pt x="71" y="91"/>
                      </a:lnTo>
                      <a:lnTo>
                        <a:pt x="73" y="98"/>
                      </a:lnTo>
                      <a:lnTo>
                        <a:pt x="73" y="98"/>
                      </a:lnTo>
                      <a:lnTo>
                        <a:pt x="74" y="101"/>
                      </a:lnTo>
                      <a:lnTo>
                        <a:pt x="78" y="103"/>
                      </a:lnTo>
                      <a:lnTo>
                        <a:pt x="81" y="103"/>
                      </a:lnTo>
                      <a:lnTo>
                        <a:pt x="85" y="101"/>
                      </a:lnTo>
                      <a:lnTo>
                        <a:pt x="94" y="100"/>
                      </a:lnTo>
                      <a:lnTo>
                        <a:pt x="102" y="98"/>
                      </a:lnTo>
                      <a:lnTo>
                        <a:pt x="102" y="98"/>
                      </a:lnTo>
                      <a:lnTo>
                        <a:pt x="106" y="98"/>
                      </a:lnTo>
                      <a:lnTo>
                        <a:pt x="109" y="101"/>
                      </a:lnTo>
                      <a:lnTo>
                        <a:pt x="115" y="106"/>
                      </a:lnTo>
                      <a:lnTo>
                        <a:pt x="118" y="112"/>
                      </a:lnTo>
                      <a:lnTo>
                        <a:pt x="118" y="117"/>
                      </a:lnTo>
                      <a:lnTo>
                        <a:pt x="118" y="122"/>
                      </a:lnTo>
                      <a:lnTo>
                        <a:pt x="116" y="127"/>
                      </a:lnTo>
                      <a:lnTo>
                        <a:pt x="116" y="127"/>
                      </a:lnTo>
                      <a:lnTo>
                        <a:pt x="115" y="131"/>
                      </a:lnTo>
                      <a:lnTo>
                        <a:pt x="111" y="133"/>
                      </a:lnTo>
                      <a:lnTo>
                        <a:pt x="108" y="134"/>
                      </a:lnTo>
                      <a:lnTo>
                        <a:pt x="104" y="136"/>
                      </a:lnTo>
                      <a:lnTo>
                        <a:pt x="102" y="140"/>
                      </a:lnTo>
                      <a:lnTo>
                        <a:pt x="99" y="147"/>
                      </a:lnTo>
                      <a:lnTo>
                        <a:pt x="97" y="159"/>
                      </a:lnTo>
                      <a:lnTo>
                        <a:pt x="97" y="159"/>
                      </a:lnTo>
                      <a:lnTo>
                        <a:pt x="97" y="164"/>
                      </a:lnTo>
                      <a:lnTo>
                        <a:pt x="99" y="167"/>
                      </a:lnTo>
                      <a:lnTo>
                        <a:pt x="102" y="171"/>
                      </a:lnTo>
                      <a:lnTo>
                        <a:pt x="108" y="173"/>
                      </a:lnTo>
                      <a:lnTo>
                        <a:pt x="115" y="178"/>
                      </a:lnTo>
                      <a:lnTo>
                        <a:pt x="118" y="181"/>
                      </a:lnTo>
                      <a:lnTo>
                        <a:pt x="118" y="185"/>
                      </a:lnTo>
                      <a:lnTo>
                        <a:pt x="118" y="185"/>
                      </a:lnTo>
                      <a:lnTo>
                        <a:pt x="116" y="197"/>
                      </a:lnTo>
                      <a:lnTo>
                        <a:pt x="118" y="211"/>
                      </a:lnTo>
                      <a:lnTo>
                        <a:pt x="118" y="227"/>
                      </a:lnTo>
                      <a:lnTo>
                        <a:pt x="116" y="234"/>
                      </a:lnTo>
                      <a:lnTo>
                        <a:pt x="115" y="239"/>
                      </a:lnTo>
                      <a:lnTo>
                        <a:pt x="115" y="239"/>
                      </a:lnTo>
                      <a:lnTo>
                        <a:pt x="111" y="244"/>
                      </a:lnTo>
                      <a:lnTo>
                        <a:pt x="111" y="248"/>
                      </a:lnTo>
                      <a:lnTo>
                        <a:pt x="111" y="254"/>
                      </a:lnTo>
                      <a:lnTo>
                        <a:pt x="111" y="258"/>
                      </a:lnTo>
                      <a:lnTo>
                        <a:pt x="109" y="260"/>
                      </a:lnTo>
                      <a:lnTo>
                        <a:pt x="104" y="261"/>
                      </a:lnTo>
                      <a:lnTo>
                        <a:pt x="104" y="261"/>
                      </a:lnTo>
                      <a:lnTo>
                        <a:pt x="101" y="261"/>
                      </a:lnTo>
                      <a:lnTo>
                        <a:pt x="99" y="260"/>
                      </a:lnTo>
                      <a:lnTo>
                        <a:pt x="95" y="253"/>
                      </a:lnTo>
                      <a:lnTo>
                        <a:pt x="95" y="249"/>
                      </a:lnTo>
                      <a:lnTo>
                        <a:pt x="94" y="249"/>
                      </a:lnTo>
                      <a:lnTo>
                        <a:pt x="90" y="253"/>
                      </a:lnTo>
                      <a:lnTo>
                        <a:pt x="90" y="253"/>
                      </a:lnTo>
                      <a:lnTo>
                        <a:pt x="83" y="260"/>
                      </a:lnTo>
                      <a:lnTo>
                        <a:pt x="80" y="260"/>
                      </a:lnTo>
                      <a:lnTo>
                        <a:pt x="76" y="260"/>
                      </a:lnTo>
                      <a:lnTo>
                        <a:pt x="73" y="258"/>
                      </a:lnTo>
                      <a:lnTo>
                        <a:pt x="69" y="254"/>
                      </a:lnTo>
                      <a:lnTo>
                        <a:pt x="61" y="242"/>
                      </a:lnTo>
                      <a:lnTo>
                        <a:pt x="61" y="242"/>
                      </a:lnTo>
                      <a:lnTo>
                        <a:pt x="57" y="235"/>
                      </a:lnTo>
                      <a:lnTo>
                        <a:pt x="54" y="232"/>
                      </a:lnTo>
                      <a:lnTo>
                        <a:pt x="50" y="232"/>
                      </a:lnTo>
                      <a:lnTo>
                        <a:pt x="48" y="232"/>
                      </a:lnTo>
                      <a:lnTo>
                        <a:pt x="48" y="239"/>
                      </a:lnTo>
                      <a:lnTo>
                        <a:pt x="50" y="248"/>
                      </a:lnTo>
                      <a:lnTo>
                        <a:pt x="50" y="248"/>
                      </a:lnTo>
                      <a:lnTo>
                        <a:pt x="50" y="253"/>
                      </a:lnTo>
                      <a:lnTo>
                        <a:pt x="50" y="254"/>
                      </a:lnTo>
                      <a:lnTo>
                        <a:pt x="47" y="256"/>
                      </a:lnTo>
                      <a:lnTo>
                        <a:pt x="43" y="258"/>
                      </a:lnTo>
                      <a:lnTo>
                        <a:pt x="26" y="258"/>
                      </a:lnTo>
                      <a:lnTo>
                        <a:pt x="26" y="258"/>
                      </a:lnTo>
                      <a:lnTo>
                        <a:pt x="22" y="258"/>
                      </a:lnTo>
                      <a:lnTo>
                        <a:pt x="21" y="261"/>
                      </a:lnTo>
                      <a:lnTo>
                        <a:pt x="19" y="267"/>
                      </a:lnTo>
                      <a:lnTo>
                        <a:pt x="19" y="272"/>
                      </a:lnTo>
                      <a:lnTo>
                        <a:pt x="19" y="282"/>
                      </a:lnTo>
                      <a:lnTo>
                        <a:pt x="22" y="288"/>
                      </a:lnTo>
                      <a:lnTo>
                        <a:pt x="24" y="293"/>
                      </a:lnTo>
                      <a:lnTo>
                        <a:pt x="24" y="293"/>
                      </a:lnTo>
                      <a:lnTo>
                        <a:pt x="29" y="300"/>
                      </a:lnTo>
                      <a:lnTo>
                        <a:pt x="29" y="308"/>
                      </a:lnTo>
                      <a:lnTo>
                        <a:pt x="29" y="312"/>
                      </a:lnTo>
                      <a:lnTo>
                        <a:pt x="27" y="314"/>
                      </a:lnTo>
                      <a:lnTo>
                        <a:pt x="24" y="314"/>
                      </a:lnTo>
                      <a:lnTo>
                        <a:pt x="22" y="312"/>
                      </a:lnTo>
                      <a:lnTo>
                        <a:pt x="22" y="312"/>
                      </a:lnTo>
                      <a:lnTo>
                        <a:pt x="15" y="308"/>
                      </a:lnTo>
                      <a:lnTo>
                        <a:pt x="12" y="308"/>
                      </a:lnTo>
                      <a:lnTo>
                        <a:pt x="0" y="319"/>
                      </a:lnTo>
                      <a:lnTo>
                        <a:pt x="0" y="319"/>
                      </a:lnTo>
                      <a:lnTo>
                        <a:pt x="17" y="340"/>
                      </a:lnTo>
                      <a:lnTo>
                        <a:pt x="22" y="347"/>
                      </a:lnTo>
                      <a:lnTo>
                        <a:pt x="24" y="354"/>
                      </a:lnTo>
                      <a:lnTo>
                        <a:pt x="24" y="354"/>
                      </a:lnTo>
                      <a:lnTo>
                        <a:pt x="27" y="362"/>
                      </a:lnTo>
                      <a:lnTo>
                        <a:pt x="33" y="369"/>
                      </a:lnTo>
                      <a:lnTo>
                        <a:pt x="33" y="369"/>
                      </a:lnTo>
                      <a:lnTo>
                        <a:pt x="40" y="361"/>
                      </a:lnTo>
                      <a:lnTo>
                        <a:pt x="47" y="354"/>
                      </a:lnTo>
                      <a:lnTo>
                        <a:pt x="54" y="348"/>
                      </a:lnTo>
                      <a:lnTo>
                        <a:pt x="57" y="345"/>
                      </a:lnTo>
                      <a:lnTo>
                        <a:pt x="57" y="345"/>
                      </a:lnTo>
                      <a:lnTo>
                        <a:pt x="61" y="343"/>
                      </a:lnTo>
                      <a:lnTo>
                        <a:pt x="64" y="345"/>
                      </a:lnTo>
                      <a:lnTo>
                        <a:pt x="73" y="354"/>
                      </a:lnTo>
                      <a:lnTo>
                        <a:pt x="73" y="354"/>
                      </a:lnTo>
                      <a:lnTo>
                        <a:pt x="78" y="359"/>
                      </a:lnTo>
                      <a:lnTo>
                        <a:pt x="85" y="359"/>
                      </a:lnTo>
                      <a:lnTo>
                        <a:pt x="90" y="355"/>
                      </a:lnTo>
                      <a:lnTo>
                        <a:pt x="95" y="352"/>
                      </a:lnTo>
                      <a:lnTo>
                        <a:pt x="104" y="342"/>
                      </a:lnTo>
                      <a:lnTo>
                        <a:pt x="109" y="340"/>
                      </a:lnTo>
                      <a:lnTo>
                        <a:pt x="113" y="340"/>
                      </a:lnTo>
                      <a:lnTo>
                        <a:pt x="115" y="342"/>
                      </a:lnTo>
                      <a:lnTo>
                        <a:pt x="115" y="342"/>
                      </a:lnTo>
                      <a:lnTo>
                        <a:pt x="118" y="343"/>
                      </a:lnTo>
                      <a:lnTo>
                        <a:pt x="118" y="347"/>
                      </a:lnTo>
                      <a:lnTo>
                        <a:pt x="116" y="354"/>
                      </a:lnTo>
                      <a:lnTo>
                        <a:pt x="115" y="355"/>
                      </a:lnTo>
                      <a:lnTo>
                        <a:pt x="115" y="359"/>
                      </a:lnTo>
                      <a:lnTo>
                        <a:pt x="116" y="361"/>
                      </a:lnTo>
                      <a:lnTo>
                        <a:pt x="120" y="364"/>
                      </a:lnTo>
                      <a:lnTo>
                        <a:pt x="120" y="364"/>
                      </a:lnTo>
                      <a:lnTo>
                        <a:pt x="123" y="364"/>
                      </a:lnTo>
                      <a:lnTo>
                        <a:pt x="127" y="364"/>
                      </a:lnTo>
                      <a:lnTo>
                        <a:pt x="134" y="361"/>
                      </a:lnTo>
                      <a:lnTo>
                        <a:pt x="139" y="355"/>
                      </a:lnTo>
                      <a:lnTo>
                        <a:pt x="144" y="348"/>
                      </a:lnTo>
                      <a:lnTo>
                        <a:pt x="153" y="335"/>
                      </a:lnTo>
                      <a:lnTo>
                        <a:pt x="156" y="329"/>
                      </a:lnTo>
                      <a:lnTo>
                        <a:pt x="162" y="326"/>
                      </a:lnTo>
                      <a:lnTo>
                        <a:pt x="162" y="326"/>
                      </a:lnTo>
                      <a:lnTo>
                        <a:pt x="165" y="324"/>
                      </a:lnTo>
                      <a:lnTo>
                        <a:pt x="170" y="321"/>
                      </a:lnTo>
                      <a:lnTo>
                        <a:pt x="174" y="317"/>
                      </a:lnTo>
                      <a:lnTo>
                        <a:pt x="177" y="310"/>
                      </a:lnTo>
                      <a:lnTo>
                        <a:pt x="179" y="303"/>
                      </a:lnTo>
                      <a:lnTo>
                        <a:pt x="181" y="296"/>
                      </a:lnTo>
                      <a:lnTo>
                        <a:pt x="181" y="289"/>
                      </a:lnTo>
                      <a:lnTo>
                        <a:pt x="179" y="284"/>
                      </a:lnTo>
                      <a:lnTo>
                        <a:pt x="179" y="284"/>
                      </a:lnTo>
                      <a:lnTo>
                        <a:pt x="177" y="279"/>
                      </a:lnTo>
                      <a:lnTo>
                        <a:pt x="177" y="272"/>
                      </a:lnTo>
                      <a:lnTo>
                        <a:pt x="177" y="260"/>
                      </a:lnTo>
                      <a:lnTo>
                        <a:pt x="181" y="248"/>
                      </a:lnTo>
                      <a:lnTo>
                        <a:pt x="188" y="234"/>
                      </a:lnTo>
                      <a:lnTo>
                        <a:pt x="195" y="221"/>
                      </a:lnTo>
                      <a:lnTo>
                        <a:pt x="203" y="211"/>
                      </a:lnTo>
                      <a:lnTo>
                        <a:pt x="210" y="202"/>
                      </a:lnTo>
                      <a:lnTo>
                        <a:pt x="219" y="197"/>
                      </a:lnTo>
                      <a:lnTo>
                        <a:pt x="219" y="197"/>
                      </a:lnTo>
                      <a:lnTo>
                        <a:pt x="224" y="192"/>
                      </a:lnTo>
                      <a:lnTo>
                        <a:pt x="228" y="188"/>
                      </a:lnTo>
                      <a:lnTo>
                        <a:pt x="229" y="183"/>
                      </a:lnTo>
                      <a:lnTo>
                        <a:pt x="231" y="178"/>
                      </a:lnTo>
                      <a:lnTo>
                        <a:pt x="233" y="164"/>
                      </a:lnTo>
                      <a:lnTo>
                        <a:pt x="235" y="155"/>
                      </a:lnTo>
                      <a:lnTo>
                        <a:pt x="238" y="147"/>
                      </a:lnTo>
                      <a:lnTo>
                        <a:pt x="238" y="147"/>
                      </a:lnTo>
                      <a:lnTo>
                        <a:pt x="242" y="140"/>
                      </a:lnTo>
                      <a:lnTo>
                        <a:pt x="242" y="134"/>
                      </a:lnTo>
                      <a:lnTo>
                        <a:pt x="242" y="131"/>
                      </a:lnTo>
                      <a:lnTo>
                        <a:pt x="240" y="127"/>
                      </a:lnTo>
                      <a:lnTo>
                        <a:pt x="238" y="122"/>
                      </a:lnTo>
                      <a:lnTo>
                        <a:pt x="238" y="117"/>
                      </a:lnTo>
                      <a:lnTo>
                        <a:pt x="238" y="110"/>
                      </a:lnTo>
                      <a:lnTo>
                        <a:pt x="240" y="100"/>
                      </a:lnTo>
                      <a:lnTo>
                        <a:pt x="240" y="100"/>
                      </a:lnTo>
                      <a:lnTo>
                        <a:pt x="243" y="87"/>
                      </a:lnTo>
                      <a:lnTo>
                        <a:pt x="243" y="80"/>
                      </a:lnTo>
                      <a:lnTo>
                        <a:pt x="243" y="68"/>
                      </a:lnTo>
                      <a:lnTo>
                        <a:pt x="245" y="59"/>
                      </a:lnTo>
                      <a:lnTo>
                        <a:pt x="247" y="54"/>
                      </a:lnTo>
                      <a:lnTo>
                        <a:pt x="250" y="47"/>
                      </a:lnTo>
                      <a:lnTo>
                        <a:pt x="250" y="47"/>
                      </a:lnTo>
                      <a:lnTo>
                        <a:pt x="259" y="32"/>
                      </a:lnTo>
                      <a:lnTo>
                        <a:pt x="264" y="23"/>
                      </a:lnTo>
                      <a:lnTo>
                        <a:pt x="266" y="16"/>
                      </a:lnTo>
                      <a:lnTo>
                        <a:pt x="264" y="9"/>
                      </a:lnTo>
                      <a:lnTo>
                        <a:pt x="264" y="9"/>
                      </a:lnTo>
                      <a:lnTo>
                        <a:pt x="261" y="6"/>
                      </a:lnTo>
                      <a:lnTo>
                        <a:pt x="257" y="6"/>
                      </a:lnTo>
                      <a:lnTo>
                        <a:pt x="250" y="6"/>
                      </a:lnTo>
                      <a:lnTo>
                        <a:pt x="247" y="7"/>
                      </a:lnTo>
                      <a:lnTo>
                        <a:pt x="243" y="7"/>
                      </a:lnTo>
                      <a:lnTo>
                        <a:pt x="238" y="6"/>
                      </a:lnTo>
                      <a:lnTo>
                        <a:pt x="231" y="2"/>
                      </a:lnTo>
                      <a:lnTo>
                        <a:pt x="231" y="2"/>
                      </a:lnTo>
                      <a:lnTo>
                        <a:pt x="228" y="0"/>
                      </a:lnTo>
                      <a:lnTo>
                        <a:pt x="224" y="0"/>
                      </a:lnTo>
                      <a:lnTo>
                        <a:pt x="219" y="2"/>
                      </a:lnTo>
                      <a:lnTo>
                        <a:pt x="214" y="4"/>
                      </a:lnTo>
                      <a:lnTo>
                        <a:pt x="209" y="6"/>
                      </a:lnTo>
                      <a:lnTo>
                        <a:pt x="202" y="4"/>
                      </a:lnTo>
                      <a:lnTo>
                        <a:pt x="202" y="4"/>
                      </a:lnTo>
                      <a:lnTo>
                        <a:pt x="196" y="6"/>
                      </a:lnTo>
                      <a:lnTo>
                        <a:pt x="193" y="9"/>
                      </a:lnTo>
                      <a:lnTo>
                        <a:pt x="189" y="14"/>
                      </a:lnTo>
                      <a:lnTo>
                        <a:pt x="188" y="23"/>
                      </a:lnTo>
                      <a:lnTo>
                        <a:pt x="186" y="42"/>
                      </a:lnTo>
                      <a:lnTo>
                        <a:pt x="182" y="53"/>
                      </a:lnTo>
                      <a:lnTo>
                        <a:pt x="179" y="63"/>
                      </a:lnTo>
                      <a:lnTo>
                        <a:pt x="179" y="63"/>
                      </a:lnTo>
                      <a:lnTo>
                        <a:pt x="177" y="66"/>
                      </a:lnTo>
                      <a:lnTo>
                        <a:pt x="177" y="70"/>
                      </a:lnTo>
                      <a:lnTo>
                        <a:pt x="177" y="77"/>
                      </a:lnTo>
                      <a:lnTo>
                        <a:pt x="177" y="82"/>
                      </a:lnTo>
                      <a:lnTo>
                        <a:pt x="177" y="86"/>
                      </a:lnTo>
                      <a:lnTo>
                        <a:pt x="177" y="87"/>
                      </a:lnTo>
                      <a:lnTo>
                        <a:pt x="177" y="87"/>
                      </a:lnTo>
                      <a:lnTo>
                        <a:pt x="174" y="87"/>
                      </a:lnTo>
                      <a:lnTo>
                        <a:pt x="172" y="86"/>
                      </a:lnTo>
                      <a:lnTo>
                        <a:pt x="169" y="82"/>
                      </a:lnTo>
                      <a:lnTo>
                        <a:pt x="162" y="77"/>
                      </a:lnTo>
                      <a:lnTo>
                        <a:pt x="158" y="75"/>
                      </a:lnTo>
                      <a:lnTo>
                        <a:pt x="153" y="73"/>
                      </a:lnTo>
                      <a:lnTo>
                        <a:pt x="153" y="73"/>
                      </a:lnTo>
                      <a:lnTo>
                        <a:pt x="144" y="72"/>
                      </a:lnTo>
                      <a:lnTo>
                        <a:pt x="134" y="68"/>
                      </a:lnTo>
                      <a:lnTo>
                        <a:pt x="125" y="65"/>
                      </a:lnTo>
                      <a:lnTo>
                        <a:pt x="76" y="6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8" name="Freeform 1767">
                  <a:extLst>
                    <a:ext uri="{FF2B5EF4-FFF2-40B4-BE49-F238E27FC236}">
                      <a16:creationId xmlns:a16="http://schemas.microsoft.com/office/drawing/2014/main" id="{EE0E114F-E4F9-094A-A0F6-8BF77C154E4E}"/>
                    </a:ext>
                  </a:extLst>
                </p:cNvPr>
                <p:cNvSpPr>
                  <a:spLocks/>
                </p:cNvSpPr>
                <p:nvPr/>
              </p:nvSpPr>
              <p:spPr bwMode="auto">
                <a:xfrm>
                  <a:off x="4968183" y="4437769"/>
                  <a:ext cx="162104" cy="207916"/>
                </a:xfrm>
                <a:custGeom>
                  <a:avLst/>
                  <a:gdLst/>
                  <a:ahLst/>
                  <a:cxnLst>
                    <a:cxn ang="0">
                      <a:pos x="96" y="1"/>
                    </a:cxn>
                    <a:cxn ang="0">
                      <a:pos x="132" y="1"/>
                    </a:cxn>
                    <a:cxn ang="0">
                      <a:pos x="160" y="7"/>
                    </a:cxn>
                    <a:cxn ang="0">
                      <a:pos x="158" y="21"/>
                    </a:cxn>
                    <a:cxn ang="0">
                      <a:pos x="157" y="40"/>
                    </a:cxn>
                    <a:cxn ang="0">
                      <a:pos x="162" y="45"/>
                    </a:cxn>
                    <a:cxn ang="0">
                      <a:pos x="178" y="42"/>
                    </a:cxn>
                    <a:cxn ang="0">
                      <a:pos x="190" y="40"/>
                    </a:cxn>
                    <a:cxn ang="0">
                      <a:pos x="202" y="54"/>
                    </a:cxn>
                    <a:cxn ang="0">
                      <a:pos x="200" y="69"/>
                    </a:cxn>
                    <a:cxn ang="0">
                      <a:pos x="195" y="75"/>
                    </a:cxn>
                    <a:cxn ang="0">
                      <a:pos x="186" y="82"/>
                    </a:cxn>
                    <a:cxn ang="0">
                      <a:pos x="181" y="101"/>
                    </a:cxn>
                    <a:cxn ang="0">
                      <a:pos x="186" y="113"/>
                    </a:cxn>
                    <a:cxn ang="0">
                      <a:pos x="202" y="123"/>
                    </a:cxn>
                    <a:cxn ang="0">
                      <a:pos x="200" y="139"/>
                    </a:cxn>
                    <a:cxn ang="0">
                      <a:pos x="200" y="176"/>
                    </a:cxn>
                    <a:cxn ang="0">
                      <a:pos x="195" y="186"/>
                    </a:cxn>
                    <a:cxn ang="0">
                      <a:pos x="195" y="200"/>
                    </a:cxn>
                    <a:cxn ang="0">
                      <a:pos x="188" y="203"/>
                    </a:cxn>
                    <a:cxn ang="0">
                      <a:pos x="179" y="195"/>
                    </a:cxn>
                    <a:cxn ang="0">
                      <a:pos x="174" y="195"/>
                    </a:cxn>
                    <a:cxn ang="0">
                      <a:pos x="164" y="202"/>
                    </a:cxn>
                    <a:cxn ang="0">
                      <a:pos x="153" y="196"/>
                    </a:cxn>
                    <a:cxn ang="0">
                      <a:pos x="141" y="177"/>
                    </a:cxn>
                    <a:cxn ang="0">
                      <a:pos x="132" y="174"/>
                    </a:cxn>
                    <a:cxn ang="0">
                      <a:pos x="134" y="190"/>
                    </a:cxn>
                    <a:cxn ang="0">
                      <a:pos x="131" y="198"/>
                    </a:cxn>
                    <a:cxn ang="0">
                      <a:pos x="110" y="200"/>
                    </a:cxn>
                    <a:cxn ang="0">
                      <a:pos x="103" y="209"/>
                    </a:cxn>
                    <a:cxn ang="0">
                      <a:pos x="106" y="230"/>
                    </a:cxn>
                    <a:cxn ang="0">
                      <a:pos x="113" y="242"/>
                    </a:cxn>
                    <a:cxn ang="0">
                      <a:pos x="111" y="256"/>
                    </a:cxn>
                    <a:cxn ang="0">
                      <a:pos x="106" y="254"/>
                    </a:cxn>
                    <a:cxn ang="0">
                      <a:pos x="84" y="261"/>
                    </a:cxn>
                    <a:cxn ang="0">
                      <a:pos x="73" y="247"/>
                    </a:cxn>
                    <a:cxn ang="0">
                      <a:pos x="47" y="217"/>
                    </a:cxn>
                    <a:cxn ang="0">
                      <a:pos x="30" y="191"/>
                    </a:cxn>
                    <a:cxn ang="0">
                      <a:pos x="21" y="179"/>
                    </a:cxn>
                    <a:cxn ang="0">
                      <a:pos x="7" y="146"/>
                    </a:cxn>
                    <a:cxn ang="0">
                      <a:pos x="0" y="123"/>
                    </a:cxn>
                    <a:cxn ang="0">
                      <a:pos x="5" y="127"/>
                    </a:cxn>
                    <a:cxn ang="0">
                      <a:pos x="14" y="127"/>
                    </a:cxn>
                    <a:cxn ang="0">
                      <a:pos x="21" y="99"/>
                    </a:cxn>
                    <a:cxn ang="0">
                      <a:pos x="21" y="85"/>
                    </a:cxn>
                    <a:cxn ang="0">
                      <a:pos x="30" y="92"/>
                    </a:cxn>
                    <a:cxn ang="0">
                      <a:pos x="37" y="95"/>
                    </a:cxn>
                    <a:cxn ang="0">
                      <a:pos x="47" y="94"/>
                    </a:cxn>
                    <a:cxn ang="0">
                      <a:pos x="44" y="89"/>
                    </a:cxn>
                    <a:cxn ang="0">
                      <a:pos x="26" y="83"/>
                    </a:cxn>
                    <a:cxn ang="0">
                      <a:pos x="23" y="71"/>
                    </a:cxn>
                    <a:cxn ang="0">
                      <a:pos x="28" y="69"/>
                    </a:cxn>
                    <a:cxn ang="0">
                      <a:pos x="31" y="71"/>
                    </a:cxn>
                    <a:cxn ang="0">
                      <a:pos x="30" y="61"/>
                    </a:cxn>
                    <a:cxn ang="0">
                      <a:pos x="51" y="55"/>
                    </a:cxn>
                    <a:cxn ang="0">
                      <a:pos x="92" y="57"/>
                    </a:cxn>
                  </a:cxnLst>
                  <a:rect l="0" t="0" r="r" b="b"/>
                  <a:pathLst>
                    <a:path w="202" h="261">
                      <a:moveTo>
                        <a:pt x="92" y="7"/>
                      </a:moveTo>
                      <a:lnTo>
                        <a:pt x="92" y="7"/>
                      </a:lnTo>
                      <a:lnTo>
                        <a:pt x="96" y="1"/>
                      </a:lnTo>
                      <a:lnTo>
                        <a:pt x="99" y="0"/>
                      </a:lnTo>
                      <a:lnTo>
                        <a:pt x="132" y="1"/>
                      </a:lnTo>
                      <a:lnTo>
                        <a:pt x="132" y="1"/>
                      </a:lnTo>
                      <a:lnTo>
                        <a:pt x="158" y="1"/>
                      </a:lnTo>
                      <a:lnTo>
                        <a:pt x="158" y="3"/>
                      </a:lnTo>
                      <a:lnTo>
                        <a:pt x="160" y="7"/>
                      </a:lnTo>
                      <a:lnTo>
                        <a:pt x="160" y="7"/>
                      </a:lnTo>
                      <a:lnTo>
                        <a:pt x="160" y="14"/>
                      </a:lnTo>
                      <a:lnTo>
                        <a:pt x="158" y="21"/>
                      </a:lnTo>
                      <a:lnTo>
                        <a:pt x="155" y="28"/>
                      </a:lnTo>
                      <a:lnTo>
                        <a:pt x="155" y="33"/>
                      </a:lnTo>
                      <a:lnTo>
                        <a:pt x="157" y="40"/>
                      </a:lnTo>
                      <a:lnTo>
                        <a:pt x="157" y="40"/>
                      </a:lnTo>
                      <a:lnTo>
                        <a:pt x="158" y="43"/>
                      </a:lnTo>
                      <a:lnTo>
                        <a:pt x="162" y="45"/>
                      </a:lnTo>
                      <a:lnTo>
                        <a:pt x="165" y="45"/>
                      </a:lnTo>
                      <a:lnTo>
                        <a:pt x="169" y="43"/>
                      </a:lnTo>
                      <a:lnTo>
                        <a:pt x="178" y="42"/>
                      </a:lnTo>
                      <a:lnTo>
                        <a:pt x="186" y="40"/>
                      </a:lnTo>
                      <a:lnTo>
                        <a:pt x="186" y="40"/>
                      </a:lnTo>
                      <a:lnTo>
                        <a:pt x="190" y="40"/>
                      </a:lnTo>
                      <a:lnTo>
                        <a:pt x="193" y="43"/>
                      </a:lnTo>
                      <a:lnTo>
                        <a:pt x="199" y="48"/>
                      </a:lnTo>
                      <a:lnTo>
                        <a:pt x="202" y="54"/>
                      </a:lnTo>
                      <a:lnTo>
                        <a:pt x="202" y="59"/>
                      </a:lnTo>
                      <a:lnTo>
                        <a:pt x="202" y="64"/>
                      </a:lnTo>
                      <a:lnTo>
                        <a:pt x="200" y="69"/>
                      </a:lnTo>
                      <a:lnTo>
                        <a:pt x="200" y="69"/>
                      </a:lnTo>
                      <a:lnTo>
                        <a:pt x="199" y="73"/>
                      </a:lnTo>
                      <a:lnTo>
                        <a:pt x="195" y="75"/>
                      </a:lnTo>
                      <a:lnTo>
                        <a:pt x="192" y="76"/>
                      </a:lnTo>
                      <a:lnTo>
                        <a:pt x="188" y="78"/>
                      </a:lnTo>
                      <a:lnTo>
                        <a:pt x="186" y="82"/>
                      </a:lnTo>
                      <a:lnTo>
                        <a:pt x="183" y="89"/>
                      </a:lnTo>
                      <a:lnTo>
                        <a:pt x="181" y="101"/>
                      </a:lnTo>
                      <a:lnTo>
                        <a:pt x="181" y="101"/>
                      </a:lnTo>
                      <a:lnTo>
                        <a:pt x="181" y="106"/>
                      </a:lnTo>
                      <a:lnTo>
                        <a:pt x="183" y="109"/>
                      </a:lnTo>
                      <a:lnTo>
                        <a:pt x="186" y="113"/>
                      </a:lnTo>
                      <a:lnTo>
                        <a:pt x="192" y="115"/>
                      </a:lnTo>
                      <a:lnTo>
                        <a:pt x="199" y="120"/>
                      </a:lnTo>
                      <a:lnTo>
                        <a:pt x="202" y="123"/>
                      </a:lnTo>
                      <a:lnTo>
                        <a:pt x="202" y="127"/>
                      </a:lnTo>
                      <a:lnTo>
                        <a:pt x="202" y="127"/>
                      </a:lnTo>
                      <a:lnTo>
                        <a:pt x="200" y="139"/>
                      </a:lnTo>
                      <a:lnTo>
                        <a:pt x="202" y="153"/>
                      </a:lnTo>
                      <a:lnTo>
                        <a:pt x="202" y="169"/>
                      </a:lnTo>
                      <a:lnTo>
                        <a:pt x="200" y="176"/>
                      </a:lnTo>
                      <a:lnTo>
                        <a:pt x="199" y="181"/>
                      </a:lnTo>
                      <a:lnTo>
                        <a:pt x="199" y="181"/>
                      </a:lnTo>
                      <a:lnTo>
                        <a:pt x="195" y="186"/>
                      </a:lnTo>
                      <a:lnTo>
                        <a:pt x="195" y="190"/>
                      </a:lnTo>
                      <a:lnTo>
                        <a:pt x="195" y="196"/>
                      </a:lnTo>
                      <a:lnTo>
                        <a:pt x="195" y="200"/>
                      </a:lnTo>
                      <a:lnTo>
                        <a:pt x="193" y="202"/>
                      </a:lnTo>
                      <a:lnTo>
                        <a:pt x="188" y="203"/>
                      </a:lnTo>
                      <a:lnTo>
                        <a:pt x="188" y="203"/>
                      </a:lnTo>
                      <a:lnTo>
                        <a:pt x="185" y="203"/>
                      </a:lnTo>
                      <a:lnTo>
                        <a:pt x="183" y="202"/>
                      </a:lnTo>
                      <a:lnTo>
                        <a:pt x="179" y="195"/>
                      </a:lnTo>
                      <a:lnTo>
                        <a:pt x="179" y="191"/>
                      </a:lnTo>
                      <a:lnTo>
                        <a:pt x="178" y="191"/>
                      </a:lnTo>
                      <a:lnTo>
                        <a:pt x="174" y="195"/>
                      </a:lnTo>
                      <a:lnTo>
                        <a:pt x="174" y="195"/>
                      </a:lnTo>
                      <a:lnTo>
                        <a:pt x="167" y="202"/>
                      </a:lnTo>
                      <a:lnTo>
                        <a:pt x="164" y="202"/>
                      </a:lnTo>
                      <a:lnTo>
                        <a:pt x="160" y="202"/>
                      </a:lnTo>
                      <a:lnTo>
                        <a:pt x="157" y="200"/>
                      </a:lnTo>
                      <a:lnTo>
                        <a:pt x="153" y="196"/>
                      </a:lnTo>
                      <a:lnTo>
                        <a:pt x="145" y="184"/>
                      </a:lnTo>
                      <a:lnTo>
                        <a:pt x="145" y="184"/>
                      </a:lnTo>
                      <a:lnTo>
                        <a:pt x="141" y="177"/>
                      </a:lnTo>
                      <a:lnTo>
                        <a:pt x="138" y="174"/>
                      </a:lnTo>
                      <a:lnTo>
                        <a:pt x="134" y="174"/>
                      </a:lnTo>
                      <a:lnTo>
                        <a:pt x="132" y="174"/>
                      </a:lnTo>
                      <a:lnTo>
                        <a:pt x="132" y="181"/>
                      </a:lnTo>
                      <a:lnTo>
                        <a:pt x="134" y="190"/>
                      </a:lnTo>
                      <a:lnTo>
                        <a:pt x="134" y="190"/>
                      </a:lnTo>
                      <a:lnTo>
                        <a:pt x="134" y="195"/>
                      </a:lnTo>
                      <a:lnTo>
                        <a:pt x="134" y="196"/>
                      </a:lnTo>
                      <a:lnTo>
                        <a:pt x="131" y="198"/>
                      </a:lnTo>
                      <a:lnTo>
                        <a:pt x="127" y="200"/>
                      </a:lnTo>
                      <a:lnTo>
                        <a:pt x="110" y="200"/>
                      </a:lnTo>
                      <a:lnTo>
                        <a:pt x="110" y="200"/>
                      </a:lnTo>
                      <a:lnTo>
                        <a:pt x="106" y="200"/>
                      </a:lnTo>
                      <a:lnTo>
                        <a:pt x="105" y="203"/>
                      </a:lnTo>
                      <a:lnTo>
                        <a:pt x="103" y="209"/>
                      </a:lnTo>
                      <a:lnTo>
                        <a:pt x="103" y="214"/>
                      </a:lnTo>
                      <a:lnTo>
                        <a:pt x="103" y="224"/>
                      </a:lnTo>
                      <a:lnTo>
                        <a:pt x="106" y="230"/>
                      </a:lnTo>
                      <a:lnTo>
                        <a:pt x="108" y="235"/>
                      </a:lnTo>
                      <a:lnTo>
                        <a:pt x="108" y="235"/>
                      </a:lnTo>
                      <a:lnTo>
                        <a:pt x="113" y="242"/>
                      </a:lnTo>
                      <a:lnTo>
                        <a:pt x="113" y="250"/>
                      </a:lnTo>
                      <a:lnTo>
                        <a:pt x="113" y="254"/>
                      </a:lnTo>
                      <a:lnTo>
                        <a:pt x="111" y="256"/>
                      </a:lnTo>
                      <a:lnTo>
                        <a:pt x="108" y="256"/>
                      </a:lnTo>
                      <a:lnTo>
                        <a:pt x="106" y="254"/>
                      </a:lnTo>
                      <a:lnTo>
                        <a:pt x="106" y="254"/>
                      </a:lnTo>
                      <a:lnTo>
                        <a:pt x="99" y="250"/>
                      </a:lnTo>
                      <a:lnTo>
                        <a:pt x="96" y="250"/>
                      </a:lnTo>
                      <a:lnTo>
                        <a:pt x="84" y="261"/>
                      </a:lnTo>
                      <a:lnTo>
                        <a:pt x="84" y="261"/>
                      </a:lnTo>
                      <a:lnTo>
                        <a:pt x="75" y="252"/>
                      </a:lnTo>
                      <a:lnTo>
                        <a:pt x="73" y="247"/>
                      </a:lnTo>
                      <a:lnTo>
                        <a:pt x="66" y="238"/>
                      </a:lnTo>
                      <a:lnTo>
                        <a:pt x="47" y="217"/>
                      </a:lnTo>
                      <a:lnTo>
                        <a:pt x="47" y="217"/>
                      </a:lnTo>
                      <a:lnTo>
                        <a:pt x="38" y="207"/>
                      </a:lnTo>
                      <a:lnTo>
                        <a:pt x="33" y="198"/>
                      </a:lnTo>
                      <a:lnTo>
                        <a:pt x="30" y="191"/>
                      </a:lnTo>
                      <a:lnTo>
                        <a:pt x="24" y="184"/>
                      </a:lnTo>
                      <a:lnTo>
                        <a:pt x="24" y="184"/>
                      </a:lnTo>
                      <a:lnTo>
                        <a:pt x="21" y="179"/>
                      </a:lnTo>
                      <a:lnTo>
                        <a:pt x="17" y="170"/>
                      </a:lnTo>
                      <a:lnTo>
                        <a:pt x="7" y="146"/>
                      </a:lnTo>
                      <a:lnTo>
                        <a:pt x="7" y="146"/>
                      </a:lnTo>
                      <a:lnTo>
                        <a:pt x="2" y="132"/>
                      </a:lnTo>
                      <a:lnTo>
                        <a:pt x="0" y="125"/>
                      </a:lnTo>
                      <a:lnTo>
                        <a:pt x="0" y="123"/>
                      </a:lnTo>
                      <a:lnTo>
                        <a:pt x="0" y="123"/>
                      </a:lnTo>
                      <a:lnTo>
                        <a:pt x="5" y="127"/>
                      </a:lnTo>
                      <a:lnTo>
                        <a:pt x="5" y="127"/>
                      </a:lnTo>
                      <a:lnTo>
                        <a:pt x="9" y="130"/>
                      </a:lnTo>
                      <a:lnTo>
                        <a:pt x="12" y="129"/>
                      </a:lnTo>
                      <a:lnTo>
                        <a:pt x="14" y="127"/>
                      </a:lnTo>
                      <a:lnTo>
                        <a:pt x="17" y="123"/>
                      </a:lnTo>
                      <a:lnTo>
                        <a:pt x="21" y="111"/>
                      </a:lnTo>
                      <a:lnTo>
                        <a:pt x="21" y="99"/>
                      </a:lnTo>
                      <a:lnTo>
                        <a:pt x="21" y="99"/>
                      </a:lnTo>
                      <a:lnTo>
                        <a:pt x="21" y="89"/>
                      </a:lnTo>
                      <a:lnTo>
                        <a:pt x="21" y="85"/>
                      </a:lnTo>
                      <a:lnTo>
                        <a:pt x="23" y="85"/>
                      </a:lnTo>
                      <a:lnTo>
                        <a:pt x="24" y="85"/>
                      </a:lnTo>
                      <a:lnTo>
                        <a:pt x="30" y="92"/>
                      </a:lnTo>
                      <a:lnTo>
                        <a:pt x="30" y="92"/>
                      </a:lnTo>
                      <a:lnTo>
                        <a:pt x="33" y="95"/>
                      </a:lnTo>
                      <a:lnTo>
                        <a:pt x="37" y="95"/>
                      </a:lnTo>
                      <a:lnTo>
                        <a:pt x="42" y="95"/>
                      </a:lnTo>
                      <a:lnTo>
                        <a:pt x="45" y="95"/>
                      </a:lnTo>
                      <a:lnTo>
                        <a:pt x="47" y="94"/>
                      </a:lnTo>
                      <a:lnTo>
                        <a:pt x="49" y="92"/>
                      </a:lnTo>
                      <a:lnTo>
                        <a:pt x="47" y="90"/>
                      </a:lnTo>
                      <a:lnTo>
                        <a:pt x="44" y="89"/>
                      </a:lnTo>
                      <a:lnTo>
                        <a:pt x="44" y="89"/>
                      </a:lnTo>
                      <a:lnTo>
                        <a:pt x="35" y="87"/>
                      </a:lnTo>
                      <a:lnTo>
                        <a:pt x="26" y="83"/>
                      </a:lnTo>
                      <a:lnTo>
                        <a:pt x="23" y="78"/>
                      </a:lnTo>
                      <a:lnTo>
                        <a:pt x="23" y="75"/>
                      </a:lnTo>
                      <a:lnTo>
                        <a:pt x="23" y="71"/>
                      </a:lnTo>
                      <a:lnTo>
                        <a:pt x="23" y="71"/>
                      </a:lnTo>
                      <a:lnTo>
                        <a:pt x="26" y="69"/>
                      </a:lnTo>
                      <a:lnTo>
                        <a:pt x="28" y="69"/>
                      </a:lnTo>
                      <a:lnTo>
                        <a:pt x="30" y="71"/>
                      </a:lnTo>
                      <a:lnTo>
                        <a:pt x="31" y="71"/>
                      </a:lnTo>
                      <a:lnTo>
                        <a:pt x="31" y="71"/>
                      </a:lnTo>
                      <a:lnTo>
                        <a:pt x="33" y="68"/>
                      </a:lnTo>
                      <a:lnTo>
                        <a:pt x="31" y="64"/>
                      </a:lnTo>
                      <a:lnTo>
                        <a:pt x="30" y="61"/>
                      </a:lnTo>
                      <a:lnTo>
                        <a:pt x="31" y="55"/>
                      </a:lnTo>
                      <a:lnTo>
                        <a:pt x="31" y="55"/>
                      </a:lnTo>
                      <a:lnTo>
                        <a:pt x="51" y="55"/>
                      </a:lnTo>
                      <a:lnTo>
                        <a:pt x="64" y="55"/>
                      </a:lnTo>
                      <a:lnTo>
                        <a:pt x="77" y="57"/>
                      </a:lnTo>
                      <a:lnTo>
                        <a:pt x="92" y="57"/>
                      </a:lnTo>
                      <a:lnTo>
                        <a:pt x="92"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9" name="Freeform 1768">
                  <a:extLst>
                    <a:ext uri="{FF2B5EF4-FFF2-40B4-BE49-F238E27FC236}">
                      <a16:creationId xmlns:a16="http://schemas.microsoft.com/office/drawing/2014/main" id="{4D441B53-F472-479F-969F-385293E442ED}"/>
                    </a:ext>
                  </a:extLst>
                </p:cNvPr>
                <p:cNvSpPr>
                  <a:spLocks/>
                </p:cNvSpPr>
                <p:nvPr/>
              </p:nvSpPr>
              <p:spPr bwMode="auto">
                <a:xfrm>
                  <a:off x="4481869" y="4150564"/>
                  <a:ext cx="170916" cy="216726"/>
                </a:xfrm>
                <a:custGeom>
                  <a:avLst/>
                  <a:gdLst/>
                  <a:ahLst/>
                  <a:cxnLst>
                    <a:cxn ang="0">
                      <a:pos x="206" y="63"/>
                    </a:cxn>
                    <a:cxn ang="0">
                      <a:pos x="213" y="108"/>
                    </a:cxn>
                    <a:cxn ang="0">
                      <a:pos x="209" y="118"/>
                    </a:cxn>
                    <a:cxn ang="0">
                      <a:pos x="199" y="139"/>
                    </a:cxn>
                    <a:cxn ang="0">
                      <a:pos x="190" y="185"/>
                    </a:cxn>
                    <a:cxn ang="0">
                      <a:pos x="199" y="216"/>
                    </a:cxn>
                    <a:cxn ang="0">
                      <a:pos x="204" y="240"/>
                    </a:cxn>
                    <a:cxn ang="0">
                      <a:pos x="202" y="240"/>
                    </a:cxn>
                    <a:cxn ang="0">
                      <a:pos x="192" y="237"/>
                    </a:cxn>
                    <a:cxn ang="0">
                      <a:pos x="181" y="239"/>
                    </a:cxn>
                    <a:cxn ang="0">
                      <a:pos x="157" y="235"/>
                    </a:cxn>
                    <a:cxn ang="0">
                      <a:pos x="136" y="240"/>
                    </a:cxn>
                    <a:cxn ang="0">
                      <a:pos x="89" y="246"/>
                    </a:cxn>
                    <a:cxn ang="0">
                      <a:pos x="66" y="254"/>
                    </a:cxn>
                    <a:cxn ang="0">
                      <a:pos x="42" y="272"/>
                    </a:cxn>
                    <a:cxn ang="0">
                      <a:pos x="37" y="259"/>
                    </a:cxn>
                    <a:cxn ang="0">
                      <a:pos x="42" y="218"/>
                    </a:cxn>
                    <a:cxn ang="0">
                      <a:pos x="38" y="207"/>
                    </a:cxn>
                    <a:cxn ang="0">
                      <a:pos x="30" y="202"/>
                    </a:cxn>
                    <a:cxn ang="0">
                      <a:pos x="26" y="193"/>
                    </a:cxn>
                    <a:cxn ang="0">
                      <a:pos x="2" y="183"/>
                    </a:cxn>
                    <a:cxn ang="0">
                      <a:pos x="2" y="176"/>
                    </a:cxn>
                    <a:cxn ang="0">
                      <a:pos x="9" y="155"/>
                    </a:cxn>
                    <a:cxn ang="0">
                      <a:pos x="2" y="132"/>
                    </a:cxn>
                    <a:cxn ang="0">
                      <a:pos x="12" y="136"/>
                    </a:cxn>
                    <a:cxn ang="0">
                      <a:pos x="23" y="113"/>
                    </a:cxn>
                    <a:cxn ang="0">
                      <a:pos x="23" y="110"/>
                    </a:cxn>
                    <a:cxn ang="0">
                      <a:pos x="12" y="108"/>
                    </a:cxn>
                    <a:cxn ang="0">
                      <a:pos x="11" y="99"/>
                    </a:cxn>
                    <a:cxn ang="0">
                      <a:pos x="21" y="98"/>
                    </a:cxn>
                    <a:cxn ang="0">
                      <a:pos x="33" y="96"/>
                    </a:cxn>
                    <a:cxn ang="0">
                      <a:pos x="24" y="85"/>
                    </a:cxn>
                    <a:cxn ang="0">
                      <a:pos x="26" y="75"/>
                    </a:cxn>
                    <a:cxn ang="0">
                      <a:pos x="28" y="66"/>
                    </a:cxn>
                    <a:cxn ang="0">
                      <a:pos x="18" y="56"/>
                    </a:cxn>
                    <a:cxn ang="0">
                      <a:pos x="16" y="47"/>
                    </a:cxn>
                    <a:cxn ang="0">
                      <a:pos x="18" y="31"/>
                    </a:cxn>
                    <a:cxn ang="0">
                      <a:pos x="31" y="17"/>
                    </a:cxn>
                    <a:cxn ang="0">
                      <a:pos x="45" y="19"/>
                    </a:cxn>
                    <a:cxn ang="0">
                      <a:pos x="56" y="24"/>
                    </a:cxn>
                    <a:cxn ang="0">
                      <a:pos x="71" y="7"/>
                    </a:cxn>
                    <a:cxn ang="0">
                      <a:pos x="84" y="4"/>
                    </a:cxn>
                    <a:cxn ang="0">
                      <a:pos x="84" y="16"/>
                    </a:cxn>
                    <a:cxn ang="0">
                      <a:pos x="87" y="24"/>
                    </a:cxn>
                    <a:cxn ang="0">
                      <a:pos x="103" y="16"/>
                    </a:cxn>
                    <a:cxn ang="0">
                      <a:pos x="115" y="17"/>
                    </a:cxn>
                    <a:cxn ang="0">
                      <a:pos x="122" y="24"/>
                    </a:cxn>
                    <a:cxn ang="0">
                      <a:pos x="129" y="37"/>
                    </a:cxn>
                    <a:cxn ang="0">
                      <a:pos x="145" y="47"/>
                    </a:cxn>
                    <a:cxn ang="0">
                      <a:pos x="153" y="47"/>
                    </a:cxn>
                    <a:cxn ang="0">
                      <a:pos x="164" y="38"/>
                    </a:cxn>
                    <a:cxn ang="0">
                      <a:pos x="181" y="38"/>
                    </a:cxn>
                    <a:cxn ang="0">
                      <a:pos x="195" y="47"/>
                    </a:cxn>
                    <a:cxn ang="0">
                      <a:pos x="207" y="58"/>
                    </a:cxn>
                  </a:cxnLst>
                  <a:rect l="0" t="0" r="r" b="b"/>
                  <a:pathLst>
                    <a:path w="213" h="273">
                      <a:moveTo>
                        <a:pt x="207" y="58"/>
                      </a:moveTo>
                      <a:lnTo>
                        <a:pt x="207" y="58"/>
                      </a:lnTo>
                      <a:lnTo>
                        <a:pt x="206" y="63"/>
                      </a:lnTo>
                      <a:lnTo>
                        <a:pt x="207" y="71"/>
                      </a:lnTo>
                      <a:lnTo>
                        <a:pt x="211" y="91"/>
                      </a:lnTo>
                      <a:lnTo>
                        <a:pt x="213" y="108"/>
                      </a:lnTo>
                      <a:lnTo>
                        <a:pt x="213" y="115"/>
                      </a:lnTo>
                      <a:lnTo>
                        <a:pt x="209" y="118"/>
                      </a:lnTo>
                      <a:lnTo>
                        <a:pt x="209" y="118"/>
                      </a:lnTo>
                      <a:lnTo>
                        <a:pt x="206" y="120"/>
                      </a:lnTo>
                      <a:lnTo>
                        <a:pt x="204" y="125"/>
                      </a:lnTo>
                      <a:lnTo>
                        <a:pt x="199" y="139"/>
                      </a:lnTo>
                      <a:lnTo>
                        <a:pt x="188" y="174"/>
                      </a:lnTo>
                      <a:lnTo>
                        <a:pt x="188" y="174"/>
                      </a:lnTo>
                      <a:lnTo>
                        <a:pt x="190" y="185"/>
                      </a:lnTo>
                      <a:lnTo>
                        <a:pt x="192" y="197"/>
                      </a:lnTo>
                      <a:lnTo>
                        <a:pt x="199" y="216"/>
                      </a:lnTo>
                      <a:lnTo>
                        <a:pt x="199" y="216"/>
                      </a:lnTo>
                      <a:lnTo>
                        <a:pt x="206" y="232"/>
                      </a:lnTo>
                      <a:lnTo>
                        <a:pt x="206" y="239"/>
                      </a:lnTo>
                      <a:lnTo>
                        <a:pt x="204" y="240"/>
                      </a:lnTo>
                      <a:lnTo>
                        <a:pt x="200" y="240"/>
                      </a:lnTo>
                      <a:lnTo>
                        <a:pt x="200" y="240"/>
                      </a:lnTo>
                      <a:lnTo>
                        <a:pt x="202" y="240"/>
                      </a:lnTo>
                      <a:lnTo>
                        <a:pt x="200" y="239"/>
                      </a:lnTo>
                      <a:lnTo>
                        <a:pt x="192" y="237"/>
                      </a:lnTo>
                      <a:lnTo>
                        <a:pt x="192" y="237"/>
                      </a:lnTo>
                      <a:lnTo>
                        <a:pt x="188" y="237"/>
                      </a:lnTo>
                      <a:lnTo>
                        <a:pt x="185" y="239"/>
                      </a:lnTo>
                      <a:lnTo>
                        <a:pt x="181" y="239"/>
                      </a:lnTo>
                      <a:lnTo>
                        <a:pt x="169" y="239"/>
                      </a:lnTo>
                      <a:lnTo>
                        <a:pt x="169" y="239"/>
                      </a:lnTo>
                      <a:lnTo>
                        <a:pt x="157" y="235"/>
                      </a:lnTo>
                      <a:lnTo>
                        <a:pt x="148" y="239"/>
                      </a:lnTo>
                      <a:lnTo>
                        <a:pt x="148" y="239"/>
                      </a:lnTo>
                      <a:lnTo>
                        <a:pt x="136" y="240"/>
                      </a:lnTo>
                      <a:lnTo>
                        <a:pt x="125" y="240"/>
                      </a:lnTo>
                      <a:lnTo>
                        <a:pt x="112" y="240"/>
                      </a:lnTo>
                      <a:lnTo>
                        <a:pt x="89" y="246"/>
                      </a:lnTo>
                      <a:lnTo>
                        <a:pt x="89" y="246"/>
                      </a:lnTo>
                      <a:lnTo>
                        <a:pt x="77" y="249"/>
                      </a:lnTo>
                      <a:lnTo>
                        <a:pt x="66" y="254"/>
                      </a:lnTo>
                      <a:lnTo>
                        <a:pt x="54" y="263"/>
                      </a:lnTo>
                      <a:lnTo>
                        <a:pt x="45" y="270"/>
                      </a:lnTo>
                      <a:lnTo>
                        <a:pt x="42" y="272"/>
                      </a:lnTo>
                      <a:lnTo>
                        <a:pt x="38" y="273"/>
                      </a:lnTo>
                      <a:lnTo>
                        <a:pt x="38" y="273"/>
                      </a:lnTo>
                      <a:lnTo>
                        <a:pt x="37" y="259"/>
                      </a:lnTo>
                      <a:lnTo>
                        <a:pt x="38" y="244"/>
                      </a:lnTo>
                      <a:lnTo>
                        <a:pt x="42" y="218"/>
                      </a:lnTo>
                      <a:lnTo>
                        <a:pt x="42" y="218"/>
                      </a:lnTo>
                      <a:lnTo>
                        <a:pt x="42" y="212"/>
                      </a:lnTo>
                      <a:lnTo>
                        <a:pt x="40" y="209"/>
                      </a:lnTo>
                      <a:lnTo>
                        <a:pt x="38" y="207"/>
                      </a:lnTo>
                      <a:lnTo>
                        <a:pt x="37" y="206"/>
                      </a:lnTo>
                      <a:lnTo>
                        <a:pt x="31" y="204"/>
                      </a:lnTo>
                      <a:lnTo>
                        <a:pt x="30" y="202"/>
                      </a:lnTo>
                      <a:lnTo>
                        <a:pt x="28" y="197"/>
                      </a:lnTo>
                      <a:lnTo>
                        <a:pt x="28" y="197"/>
                      </a:lnTo>
                      <a:lnTo>
                        <a:pt x="26" y="193"/>
                      </a:lnTo>
                      <a:lnTo>
                        <a:pt x="21" y="190"/>
                      </a:lnTo>
                      <a:lnTo>
                        <a:pt x="11" y="186"/>
                      </a:lnTo>
                      <a:lnTo>
                        <a:pt x="2" y="183"/>
                      </a:lnTo>
                      <a:lnTo>
                        <a:pt x="0" y="179"/>
                      </a:lnTo>
                      <a:lnTo>
                        <a:pt x="2" y="176"/>
                      </a:lnTo>
                      <a:lnTo>
                        <a:pt x="2" y="176"/>
                      </a:lnTo>
                      <a:lnTo>
                        <a:pt x="7" y="169"/>
                      </a:lnTo>
                      <a:lnTo>
                        <a:pt x="9" y="160"/>
                      </a:lnTo>
                      <a:lnTo>
                        <a:pt x="9" y="155"/>
                      </a:lnTo>
                      <a:lnTo>
                        <a:pt x="9" y="148"/>
                      </a:lnTo>
                      <a:lnTo>
                        <a:pt x="2" y="132"/>
                      </a:lnTo>
                      <a:lnTo>
                        <a:pt x="2" y="132"/>
                      </a:lnTo>
                      <a:lnTo>
                        <a:pt x="5" y="136"/>
                      </a:lnTo>
                      <a:lnTo>
                        <a:pt x="9" y="136"/>
                      </a:lnTo>
                      <a:lnTo>
                        <a:pt x="12" y="136"/>
                      </a:lnTo>
                      <a:lnTo>
                        <a:pt x="14" y="132"/>
                      </a:lnTo>
                      <a:lnTo>
                        <a:pt x="19" y="124"/>
                      </a:lnTo>
                      <a:lnTo>
                        <a:pt x="23" y="113"/>
                      </a:lnTo>
                      <a:lnTo>
                        <a:pt x="23" y="113"/>
                      </a:lnTo>
                      <a:lnTo>
                        <a:pt x="23" y="111"/>
                      </a:lnTo>
                      <a:lnTo>
                        <a:pt x="23" y="110"/>
                      </a:lnTo>
                      <a:lnTo>
                        <a:pt x="19" y="110"/>
                      </a:lnTo>
                      <a:lnTo>
                        <a:pt x="14" y="110"/>
                      </a:lnTo>
                      <a:lnTo>
                        <a:pt x="12" y="108"/>
                      </a:lnTo>
                      <a:lnTo>
                        <a:pt x="12" y="105"/>
                      </a:lnTo>
                      <a:lnTo>
                        <a:pt x="12" y="105"/>
                      </a:lnTo>
                      <a:lnTo>
                        <a:pt x="11" y="99"/>
                      </a:lnTo>
                      <a:lnTo>
                        <a:pt x="12" y="98"/>
                      </a:lnTo>
                      <a:lnTo>
                        <a:pt x="14" y="96"/>
                      </a:lnTo>
                      <a:lnTo>
                        <a:pt x="21" y="98"/>
                      </a:lnTo>
                      <a:lnTo>
                        <a:pt x="33" y="101"/>
                      </a:lnTo>
                      <a:lnTo>
                        <a:pt x="33" y="101"/>
                      </a:lnTo>
                      <a:lnTo>
                        <a:pt x="33" y="96"/>
                      </a:lnTo>
                      <a:lnTo>
                        <a:pt x="31" y="92"/>
                      </a:lnTo>
                      <a:lnTo>
                        <a:pt x="26" y="87"/>
                      </a:lnTo>
                      <a:lnTo>
                        <a:pt x="24" y="85"/>
                      </a:lnTo>
                      <a:lnTo>
                        <a:pt x="24" y="84"/>
                      </a:lnTo>
                      <a:lnTo>
                        <a:pt x="24" y="80"/>
                      </a:lnTo>
                      <a:lnTo>
                        <a:pt x="26" y="75"/>
                      </a:lnTo>
                      <a:lnTo>
                        <a:pt x="26" y="75"/>
                      </a:lnTo>
                      <a:lnTo>
                        <a:pt x="28" y="70"/>
                      </a:lnTo>
                      <a:lnTo>
                        <a:pt x="28" y="66"/>
                      </a:lnTo>
                      <a:lnTo>
                        <a:pt x="26" y="64"/>
                      </a:lnTo>
                      <a:lnTo>
                        <a:pt x="23" y="61"/>
                      </a:lnTo>
                      <a:lnTo>
                        <a:pt x="18" y="56"/>
                      </a:lnTo>
                      <a:lnTo>
                        <a:pt x="16" y="52"/>
                      </a:lnTo>
                      <a:lnTo>
                        <a:pt x="16" y="47"/>
                      </a:lnTo>
                      <a:lnTo>
                        <a:pt x="16" y="47"/>
                      </a:lnTo>
                      <a:lnTo>
                        <a:pt x="16" y="40"/>
                      </a:lnTo>
                      <a:lnTo>
                        <a:pt x="16" y="37"/>
                      </a:lnTo>
                      <a:lnTo>
                        <a:pt x="18" y="31"/>
                      </a:lnTo>
                      <a:lnTo>
                        <a:pt x="23" y="26"/>
                      </a:lnTo>
                      <a:lnTo>
                        <a:pt x="23" y="26"/>
                      </a:lnTo>
                      <a:lnTo>
                        <a:pt x="31" y="17"/>
                      </a:lnTo>
                      <a:lnTo>
                        <a:pt x="37" y="16"/>
                      </a:lnTo>
                      <a:lnTo>
                        <a:pt x="42" y="16"/>
                      </a:lnTo>
                      <a:lnTo>
                        <a:pt x="45" y="19"/>
                      </a:lnTo>
                      <a:lnTo>
                        <a:pt x="47" y="23"/>
                      </a:lnTo>
                      <a:lnTo>
                        <a:pt x="51" y="24"/>
                      </a:lnTo>
                      <a:lnTo>
                        <a:pt x="56" y="24"/>
                      </a:lnTo>
                      <a:lnTo>
                        <a:pt x="61" y="19"/>
                      </a:lnTo>
                      <a:lnTo>
                        <a:pt x="61" y="19"/>
                      </a:lnTo>
                      <a:lnTo>
                        <a:pt x="71" y="7"/>
                      </a:lnTo>
                      <a:lnTo>
                        <a:pt x="78" y="0"/>
                      </a:lnTo>
                      <a:lnTo>
                        <a:pt x="82" y="0"/>
                      </a:lnTo>
                      <a:lnTo>
                        <a:pt x="84" y="4"/>
                      </a:lnTo>
                      <a:lnTo>
                        <a:pt x="84" y="7"/>
                      </a:lnTo>
                      <a:lnTo>
                        <a:pt x="84" y="16"/>
                      </a:lnTo>
                      <a:lnTo>
                        <a:pt x="84" y="16"/>
                      </a:lnTo>
                      <a:lnTo>
                        <a:pt x="84" y="21"/>
                      </a:lnTo>
                      <a:lnTo>
                        <a:pt x="85" y="24"/>
                      </a:lnTo>
                      <a:lnTo>
                        <a:pt x="87" y="24"/>
                      </a:lnTo>
                      <a:lnTo>
                        <a:pt x="91" y="24"/>
                      </a:lnTo>
                      <a:lnTo>
                        <a:pt x="98" y="17"/>
                      </a:lnTo>
                      <a:lnTo>
                        <a:pt x="103" y="16"/>
                      </a:lnTo>
                      <a:lnTo>
                        <a:pt x="108" y="14"/>
                      </a:lnTo>
                      <a:lnTo>
                        <a:pt x="108" y="14"/>
                      </a:lnTo>
                      <a:lnTo>
                        <a:pt x="115" y="17"/>
                      </a:lnTo>
                      <a:lnTo>
                        <a:pt x="120" y="19"/>
                      </a:lnTo>
                      <a:lnTo>
                        <a:pt x="122" y="21"/>
                      </a:lnTo>
                      <a:lnTo>
                        <a:pt x="122" y="24"/>
                      </a:lnTo>
                      <a:lnTo>
                        <a:pt x="124" y="28"/>
                      </a:lnTo>
                      <a:lnTo>
                        <a:pt x="125" y="31"/>
                      </a:lnTo>
                      <a:lnTo>
                        <a:pt x="129" y="37"/>
                      </a:lnTo>
                      <a:lnTo>
                        <a:pt x="136" y="42"/>
                      </a:lnTo>
                      <a:lnTo>
                        <a:pt x="136" y="42"/>
                      </a:lnTo>
                      <a:lnTo>
                        <a:pt x="145" y="47"/>
                      </a:lnTo>
                      <a:lnTo>
                        <a:pt x="150" y="49"/>
                      </a:lnTo>
                      <a:lnTo>
                        <a:pt x="152" y="49"/>
                      </a:lnTo>
                      <a:lnTo>
                        <a:pt x="153" y="47"/>
                      </a:lnTo>
                      <a:lnTo>
                        <a:pt x="157" y="44"/>
                      </a:lnTo>
                      <a:lnTo>
                        <a:pt x="159" y="40"/>
                      </a:lnTo>
                      <a:lnTo>
                        <a:pt x="164" y="38"/>
                      </a:lnTo>
                      <a:lnTo>
                        <a:pt x="172" y="37"/>
                      </a:lnTo>
                      <a:lnTo>
                        <a:pt x="172" y="37"/>
                      </a:lnTo>
                      <a:lnTo>
                        <a:pt x="181" y="38"/>
                      </a:lnTo>
                      <a:lnTo>
                        <a:pt x="188" y="40"/>
                      </a:lnTo>
                      <a:lnTo>
                        <a:pt x="192" y="44"/>
                      </a:lnTo>
                      <a:lnTo>
                        <a:pt x="195" y="47"/>
                      </a:lnTo>
                      <a:lnTo>
                        <a:pt x="200" y="54"/>
                      </a:lnTo>
                      <a:lnTo>
                        <a:pt x="202" y="56"/>
                      </a:lnTo>
                      <a:lnTo>
                        <a:pt x="207" y="58"/>
                      </a:lnTo>
                      <a:lnTo>
                        <a:pt x="207" y="5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0" name="Freeform 1769">
                  <a:extLst>
                    <a:ext uri="{FF2B5EF4-FFF2-40B4-BE49-F238E27FC236}">
                      <a16:creationId xmlns:a16="http://schemas.microsoft.com/office/drawing/2014/main" id="{F99B7F5F-5D3B-E4D6-BCE6-D22828FCD7F5}"/>
                    </a:ext>
                  </a:extLst>
                </p:cNvPr>
                <p:cNvSpPr>
                  <a:spLocks/>
                </p:cNvSpPr>
                <p:nvPr/>
              </p:nvSpPr>
              <p:spPr bwMode="auto">
                <a:xfrm>
                  <a:off x="4633401" y="4136468"/>
                  <a:ext cx="123340" cy="218488"/>
                </a:xfrm>
                <a:custGeom>
                  <a:avLst/>
                  <a:gdLst/>
                  <a:ahLst/>
                  <a:cxnLst>
                    <a:cxn ang="0">
                      <a:pos x="108" y="0"/>
                    </a:cxn>
                    <a:cxn ang="0">
                      <a:pos x="112" y="20"/>
                    </a:cxn>
                    <a:cxn ang="0">
                      <a:pos x="119" y="28"/>
                    </a:cxn>
                    <a:cxn ang="0">
                      <a:pos x="124" y="37"/>
                    </a:cxn>
                    <a:cxn ang="0">
                      <a:pos x="124" y="56"/>
                    </a:cxn>
                    <a:cxn ang="0">
                      <a:pos x="124" y="67"/>
                    </a:cxn>
                    <a:cxn ang="0">
                      <a:pos x="126" y="74"/>
                    </a:cxn>
                    <a:cxn ang="0">
                      <a:pos x="129" y="74"/>
                    </a:cxn>
                    <a:cxn ang="0">
                      <a:pos x="131" y="80"/>
                    </a:cxn>
                    <a:cxn ang="0">
                      <a:pos x="129" y="89"/>
                    </a:cxn>
                    <a:cxn ang="0">
                      <a:pos x="129" y="105"/>
                    </a:cxn>
                    <a:cxn ang="0">
                      <a:pos x="134" y="112"/>
                    </a:cxn>
                    <a:cxn ang="0">
                      <a:pos x="138" y="121"/>
                    </a:cxn>
                    <a:cxn ang="0">
                      <a:pos x="134" y="140"/>
                    </a:cxn>
                    <a:cxn ang="0">
                      <a:pos x="131" y="150"/>
                    </a:cxn>
                    <a:cxn ang="0">
                      <a:pos x="131" y="161"/>
                    </a:cxn>
                    <a:cxn ang="0">
                      <a:pos x="134" y="161"/>
                    </a:cxn>
                    <a:cxn ang="0">
                      <a:pos x="136" y="164"/>
                    </a:cxn>
                    <a:cxn ang="0">
                      <a:pos x="134" y="171"/>
                    </a:cxn>
                    <a:cxn ang="0">
                      <a:pos x="134" y="185"/>
                    </a:cxn>
                    <a:cxn ang="0">
                      <a:pos x="138" y="195"/>
                    </a:cxn>
                    <a:cxn ang="0">
                      <a:pos x="155" y="215"/>
                    </a:cxn>
                    <a:cxn ang="0">
                      <a:pos x="150" y="220"/>
                    </a:cxn>
                    <a:cxn ang="0">
                      <a:pos x="148" y="225"/>
                    </a:cxn>
                    <a:cxn ang="0">
                      <a:pos x="134" y="228"/>
                    </a:cxn>
                    <a:cxn ang="0">
                      <a:pos x="122" y="230"/>
                    </a:cxn>
                    <a:cxn ang="0">
                      <a:pos x="106" y="237"/>
                    </a:cxn>
                    <a:cxn ang="0">
                      <a:pos x="91" y="249"/>
                    </a:cxn>
                    <a:cxn ang="0">
                      <a:pos x="77" y="253"/>
                    </a:cxn>
                    <a:cxn ang="0">
                      <a:pos x="70" y="256"/>
                    </a:cxn>
                    <a:cxn ang="0">
                      <a:pos x="52" y="267"/>
                    </a:cxn>
                    <a:cxn ang="0">
                      <a:pos x="40" y="274"/>
                    </a:cxn>
                    <a:cxn ang="0">
                      <a:pos x="37" y="272"/>
                    </a:cxn>
                    <a:cxn ang="0">
                      <a:pos x="18" y="263"/>
                    </a:cxn>
                    <a:cxn ang="0">
                      <a:pos x="2" y="260"/>
                    </a:cxn>
                    <a:cxn ang="0">
                      <a:pos x="2" y="258"/>
                    </a:cxn>
                    <a:cxn ang="0">
                      <a:pos x="12" y="256"/>
                    </a:cxn>
                    <a:cxn ang="0">
                      <a:pos x="16" y="256"/>
                    </a:cxn>
                    <a:cxn ang="0">
                      <a:pos x="18" y="248"/>
                    </a:cxn>
                    <a:cxn ang="0">
                      <a:pos x="11" y="232"/>
                    </a:cxn>
                    <a:cxn ang="0">
                      <a:pos x="2" y="201"/>
                    </a:cxn>
                    <a:cxn ang="0">
                      <a:pos x="0" y="190"/>
                    </a:cxn>
                    <a:cxn ang="0">
                      <a:pos x="16" y="141"/>
                    </a:cxn>
                    <a:cxn ang="0">
                      <a:pos x="21" y="134"/>
                    </a:cxn>
                    <a:cxn ang="0">
                      <a:pos x="25" y="131"/>
                    </a:cxn>
                    <a:cxn ang="0">
                      <a:pos x="23" y="107"/>
                    </a:cxn>
                    <a:cxn ang="0">
                      <a:pos x="18" y="79"/>
                    </a:cxn>
                    <a:cxn ang="0">
                      <a:pos x="19" y="74"/>
                    </a:cxn>
                    <a:cxn ang="0">
                      <a:pos x="14" y="51"/>
                    </a:cxn>
                    <a:cxn ang="0">
                      <a:pos x="16" y="32"/>
                    </a:cxn>
                    <a:cxn ang="0">
                      <a:pos x="11" y="18"/>
                    </a:cxn>
                    <a:cxn ang="0">
                      <a:pos x="11" y="9"/>
                    </a:cxn>
                    <a:cxn ang="0">
                      <a:pos x="18" y="6"/>
                    </a:cxn>
                    <a:cxn ang="0">
                      <a:pos x="52" y="6"/>
                    </a:cxn>
                    <a:cxn ang="0">
                      <a:pos x="82" y="6"/>
                    </a:cxn>
                    <a:cxn ang="0">
                      <a:pos x="89" y="9"/>
                    </a:cxn>
                    <a:cxn ang="0">
                      <a:pos x="96" y="6"/>
                    </a:cxn>
                    <a:cxn ang="0">
                      <a:pos x="103" y="0"/>
                    </a:cxn>
                    <a:cxn ang="0">
                      <a:pos x="108" y="0"/>
                    </a:cxn>
                  </a:cxnLst>
                  <a:rect l="0" t="0" r="r" b="b"/>
                  <a:pathLst>
                    <a:path w="155" h="274">
                      <a:moveTo>
                        <a:pt x="108" y="0"/>
                      </a:moveTo>
                      <a:lnTo>
                        <a:pt x="108" y="0"/>
                      </a:lnTo>
                      <a:lnTo>
                        <a:pt x="108" y="11"/>
                      </a:lnTo>
                      <a:lnTo>
                        <a:pt x="112" y="20"/>
                      </a:lnTo>
                      <a:lnTo>
                        <a:pt x="113" y="25"/>
                      </a:lnTo>
                      <a:lnTo>
                        <a:pt x="119" y="28"/>
                      </a:lnTo>
                      <a:lnTo>
                        <a:pt x="122" y="32"/>
                      </a:lnTo>
                      <a:lnTo>
                        <a:pt x="124" y="37"/>
                      </a:lnTo>
                      <a:lnTo>
                        <a:pt x="126" y="46"/>
                      </a:lnTo>
                      <a:lnTo>
                        <a:pt x="124" y="56"/>
                      </a:lnTo>
                      <a:lnTo>
                        <a:pt x="124" y="56"/>
                      </a:lnTo>
                      <a:lnTo>
                        <a:pt x="124" y="67"/>
                      </a:lnTo>
                      <a:lnTo>
                        <a:pt x="124" y="72"/>
                      </a:lnTo>
                      <a:lnTo>
                        <a:pt x="126" y="74"/>
                      </a:lnTo>
                      <a:lnTo>
                        <a:pt x="127" y="74"/>
                      </a:lnTo>
                      <a:lnTo>
                        <a:pt x="129" y="74"/>
                      </a:lnTo>
                      <a:lnTo>
                        <a:pt x="129" y="75"/>
                      </a:lnTo>
                      <a:lnTo>
                        <a:pt x="131" y="80"/>
                      </a:lnTo>
                      <a:lnTo>
                        <a:pt x="129" y="89"/>
                      </a:lnTo>
                      <a:lnTo>
                        <a:pt x="129" y="89"/>
                      </a:lnTo>
                      <a:lnTo>
                        <a:pt x="129" y="100"/>
                      </a:lnTo>
                      <a:lnTo>
                        <a:pt x="129" y="105"/>
                      </a:lnTo>
                      <a:lnTo>
                        <a:pt x="131" y="108"/>
                      </a:lnTo>
                      <a:lnTo>
                        <a:pt x="134" y="112"/>
                      </a:lnTo>
                      <a:lnTo>
                        <a:pt x="136" y="115"/>
                      </a:lnTo>
                      <a:lnTo>
                        <a:pt x="138" y="121"/>
                      </a:lnTo>
                      <a:lnTo>
                        <a:pt x="136" y="127"/>
                      </a:lnTo>
                      <a:lnTo>
                        <a:pt x="134" y="140"/>
                      </a:lnTo>
                      <a:lnTo>
                        <a:pt x="134" y="140"/>
                      </a:lnTo>
                      <a:lnTo>
                        <a:pt x="131" y="150"/>
                      </a:lnTo>
                      <a:lnTo>
                        <a:pt x="129" y="157"/>
                      </a:lnTo>
                      <a:lnTo>
                        <a:pt x="131" y="161"/>
                      </a:lnTo>
                      <a:lnTo>
                        <a:pt x="131" y="161"/>
                      </a:lnTo>
                      <a:lnTo>
                        <a:pt x="134" y="161"/>
                      </a:lnTo>
                      <a:lnTo>
                        <a:pt x="134" y="161"/>
                      </a:lnTo>
                      <a:lnTo>
                        <a:pt x="136" y="164"/>
                      </a:lnTo>
                      <a:lnTo>
                        <a:pt x="134" y="171"/>
                      </a:lnTo>
                      <a:lnTo>
                        <a:pt x="134" y="171"/>
                      </a:lnTo>
                      <a:lnTo>
                        <a:pt x="132" y="178"/>
                      </a:lnTo>
                      <a:lnTo>
                        <a:pt x="134" y="185"/>
                      </a:lnTo>
                      <a:lnTo>
                        <a:pt x="134" y="190"/>
                      </a:lnTo>
                      <a:lnTo>
                        <a:pt x="138" y="195"/>
                      </a:lnTo>
                      <a:lnTo>
                        <a:pt x="145" y="204"/>
                      </a:lnTo>
                      <a:lnTo>
                        <a:pt x="155" y="215"/>
                      </a:lnTo>
                      <a:lnTo>
                        <a:pt x="155" y="215"/>
                      </a:lnTo>
                      <a:lnTo>
                        <a:pt x="150" y="220"/>
                      </a:lnTo>
                      <a:lnTo>
                        <a:pt x="150" y="223"/>
                      </a:lnTo>
                      <a:lnTo>
                        <a:pt x="148" y="225"/>
                      </a:lnTo>
                      <a:lnTo>
                        <a:pt x="145" y="227"/>
                      </a:lnTo>
                      <a:lnTo>
                        <a:pt x="134" y="228"/>
                      </a:lnTo>
                      <a:lnTo>
                        <a:pt x="134" y="228"/>
                      </a:lnTo>
                      <a:lnTo>
                        <a:pt x="122" y="230"/>
                      </a:lnTo>
                      <a:lnTo>
                        <a:pt x="113" y="234"/>
                      </a:lnTo>
                      <a:lnTo>
                        <a:pt x="106" y="237"/>
                      </a:lnTo>
                      <a:lnTo>
                        <a:pt x="101" y="241"/>
                      </a:lnTo>
                      <a:lnTo>
                        <a:pt x="91" y="249"/>
                      </a:lnTo>
                      <a:lnTo>
                        <a:pt x="85" y="251"/>
                      </a:lnTo>
                      <a:lnTo>
                        <a:pt x="77" y="253"/>
                      </a:lnTo>
                      <a:lnTo>
                        <a:pt x="77" y="253"/>
                      </a:lnTo>
                      <a:lnTo>
                        <a:pt x="70" y="256"/>
                      </a:lnTo>
                      <a:lnTo>
                        <a:pt x="63" y="258"/>
                      </a:lnTo>
                      <a:lnTo>
                        <a:pt x="52" y="267"/>
                      </a:lnTo>
                      <a:lnTo>
                        <a:pt x="44" y="272"/>
                      </a:lnTo>
                      <a:lnTo>
                        <a:pt x="40" y="274"/>
                      </a:lnTo>
                      <a:lnTo>
                        <a:pt x="37" y="272"/>
                      </a:lnTo>
                      <a:lnTo>
                        <a:pt x="37" y="272"/>
                      </a:lnTo>
                      <a:lnTo>
                        <a:pt x="26" y="267"/>
                      </a:lnTo>
                      <a:lnTo>
                        <a:pt x="18" y="263"/>
                      </a:lnTo>
                      <a:lnTo>
                        <a:pt x="2" y="260"/>
                      </a:lnTo>
                      <a:lnTo>
                        <a:pt x="2" y="260"/>
                      </a:lnTo>
                      <a:lnTo>
                        <a:pt x="0" y="258"/>
                      </a:lnTo>
                      <a:lnTo>
                        <a:pt x="2" y="258"/>
                      </a:lnTo>
                      <a:lnTo>
                        <a:pt x="5" y="258"/>
                      </a:lnTo>
                      <a:lnTo>
                        <a:pt x="12" y="256"/>
                      </a:lnTo>
                      <a:lnTo>
                        <a:pt x="12" y="256"/>
                      </a:lnTo>
                      <a:lnTo>
                        <a:pt x="16" y="256"/>
                      </a:lnTo>
                      <a:lnTo>
                        <a:pt x="18" y="255"/>
                      </a:lnTo>
                      <a:lnTo>
                        <a:pt x="18" y="248"/>
                      </a:lnTo>
                      <a:lnTo>
                        <a:pt x="11" y="232"/>
                      </a:lnTo>
                      <a:lnTo>
                        <a:pt x="11" y="232"/>
                      </a:lnTo>
                      <a:lnTo>
                        <a:pt x="4" y="213"/>
                      </a:lnTo>
                      <a:lnTo>
                        <a:pt x="2" y="201"/>
                      </a:lnTo>
                      <a:lnTo>
                        <a:pt x="0" y="190"/>
                      </a:lnTo>
                      <a:lnTo>
                        <a:pt x="0" y="190"/>
                      </a:lnTo>
                      <a:lnTo>
                        <a:pt x="11" y="155"/>
                      </a:lnTo>
                      <a:lnTo>
                        <a:pt x="16" y="141"/>
                      </a:lnTo>
                      <a:lnTo>
                        <a:pt x="18" y="136"/>
                      </a:lnTo>
                      <a:lnTo>
                        <a:pt x="21" y="134"/>
                      </a:lnTo>
                      <a:lnTo>
                        <a:pt x="21" y="134"/>
                      </a:lnTo>
                      <a:lnTo>
                        <a:pt x="25" y="131"/>
                      </a:lnTo>
                      <a:lnTo>
                        <a:pt x="25" y="124"/>
                      </a:lnTo>
                      <a:lnTo>
                        <a:pt x="23" y="107"/>
                      </a:lnTo>
                      <a:lnTo>
                        <a:pt x="19" y="87"/>
                      </a:lnTo>
                      <a:lnTo>
                        <a:pt x="18" y="79"/>
                      </a:lnTo>
                      <a:lnTo>
                        <a:pt x="19" y="74"/>
                      </a:lnTo>
                      <a:lnTo>
                        <a:pt x="19" y="74"/>
                      </a:lnTo>
                      <a:lnTo>
                        <a:pt x="16" y="63"/>
                      </a:lnTo>
                      <a:lnTo>
                        <a:pt x="14" y="51"/>
                      </a:lnTo>
                      <a:lnTo>
                        <a:pt x="14" y="40"/>
                      </a:lnTo>
                      <a:lnTo>
                        <a:pt x="16" y="32"/>
                      </a:lnTo>
                      <a:lnTo>
                        <a:pt x="16" y="32"/>
                      </a:lnTo>
                      <a:lnTo>
                        <a:pt x="11" y="18"/>
                      </a:lnTo>
                      <a:lnTo>
                        <a:pt x="11" y="13"/>
                      </a:lnTo>
                      <a:lnTo>
                        <a:pt x="11" y="9"/>
                      </a:lnTo>
                      <a:lnTo>
                        <a:pt x="12" y="6"/>
                      </a:lnTo>
                      <a:lnTo>
                        <a:pt x="18" y="6"/>
                      </a:lnTo>
                      <a:lnTo>
                        <a:pt x="18" y="6"/>
                      </a:lnTo>
                      <a:lnTo>
                        <a:pt x="52" y="6"/>
                      </a:lnTo>
                      <a:lnTo>
                        <a:pt x="82" y="6"/>
                      </a:lnTo>
                      <a:lnTo>
                        <a:pt x="82" y="6"/>
                      </a:lnTo>
                      <a:lnTo>
                        <a:pt x="87" y="7"/>
                      </a:lnTo>
                      <a:lnTo>
                        <a:pt x="89" y="9"/>
                      </a:lnTo>
                      <a:lnTo>
                        <a:pt x="92" y="9"/>
                      </a:lnTo>
                      <a:lnTo>
                        <a:pt x="96" y="6"/>
                      </a:lnTo>
                      <a:lnTo>
                        <a:pt x="96" y="6"/>
                      </a:lnTo>
                      <a:lnTo>
                        <a:pt x="103" y="0"/>
                      </a:lnTo>
                      <a:lnTo>
                        <a:pt x="108" y="0"/>
                      </a:lnTo>
                      <a:lnTo>
                        <a:pt x="108"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1" name="Freeform 1770">
                  <a:extLst>
                    <a:ext uri="{FF2B5EF4-FFF2-40B4-BE49-F238E27FC236}">
                      <a16:creationId xmlns:a16="http://schemas.microsoft.com/office/drawing/2014/main" id="{71C46569-E3DA-0E4B-C150-A6659B5F723A}"/>
                    </a:ext>
                  </a:extLst>
                </p:cNvPr>
                <p:cNvSpPr>
                  <a:spLocks/>
                </p:cNvSpPr>
                <p:nvPr/>
              </p:nvSpPr>
              <p:spPr bwMode="auto">
                <a:xfrm>
                  <a:off x="4296860" y="4083608"/>
                  <a:ext cx="211442" cy="186772"/>
                </a:xfrm>
                <a:custGeom>
                  <a:avLst/>
                  <a:gdLst/>
                  <a:ahLst/>
                  <a:cxnLst>
                    <a:cxn ang="0">
                      <a:pos x="157" y="185"/>
                    </a:cxn>
                    <a:cxn ang="0">
                      <a:pos x="158" y="162"/>
                    </a:cxn>
                    <a:cxn ang="0">
                      <a:pos x="153" y="141"/>
                    </a:cxn>
                    <a:cxn ang="0">
                      <a:pos x="136" y="117"/>
                    </a:cxn>
                    <a:cxn ang="0">
                      <a:pos x="108" y="119"/>
                    </a:cxn>
                    <a:cxn ang="0">
                      <a:pos x="97" y="117"/>
                    </a:cxn>
                    <a:cxn ang="0">
                      <a:pos x="85" y="136"/>
                    </a:cxn>
                    <a:cxn ang="0">
                      <a:pos x="63" y="153"/>
                    </a:cxn>
                    <a:cxn ang="0">
                      <a:pos x="61" y="146"/>
                    </a:cxn>
                    <a:cxn ang="0">
                      <a:pos x="50" y="138"/>
                    </a:cxn>
                    <a:cxn ang="0">
                      <a:pos x="54" y="126"/>
                    </a:cxn>
                    <a:cxn ang="0">
                      <a:pos x="37" y="113"/>
                    </a:cxn>
                    <a:cxn ang="0">
                      <a:pos x="19" y="101"/>
                    </a:cxn>
                    <a:cxn ang="0">
                      <a:pos x="19" y="80"/>
                    </a:cxn>
                    <a:cxn ang="0">
                      <a:pos x="12" y="82"/>
                    </a:cxn>
                    <a:cxn ang="0">
                      <a:pos x="14" y="70"/>
                    </a:cxn>
                    <a:cxn ang="0">
                      <a:pos x="5" y="80"/>
                    </a:cxn>
                    <a:cxn ang="0">
                      <a:pos x="2" y="75"/>
                    </a:cxn>
                    <a:cxn ang="0">
                      <a:pos x="21" y="49"/>
                    </a:cxn>
                    <a:cxn ang="0">
                      <a:pos x="30" y="44"/>
                    </a:cxn>
                    <a:cxn ang="0">
                      <a:pos x="44" y="46"/>
                    </a:cxn>
                    <a:cxn ang="0">
                      <a:pos x="44" y="25"/>
                    </a:cxn>
                    <a:cxn ang="0">
                      <a:pos x="49" y="16"/>
                    </a:cxn>
                    <a:cxn ang="0">
                      <a:pos x="57" y="2"/>
                    </a:cxn>
                    <a:cxn ang="0">
                      <a:pos x="99" y="12"/>
                    </a:cxn>
                    <a:cxn ang="0">
                      <a:pos x="129" y="12"/>
                    </a:cxn>
                    <a:cxn ang="0">
                      <a:pos x="131" y="28"/>
                    </a:cxn>
                    <a:cxn ang="0">
                      <a:pos x="139" y="25"/>
                    </a:cxn>
                    <a:cxn ang="0">
                      <a:pos x="151" y="30"/>
                    </a:cxn>
                    <a:cxn ang="0">
                      <a:pos x="162" y="23"/>
                    </a:cxn>
                    <a:cxn ang="0">
                      <a:pos x="188" y="28"/>
                    </a:cxn>
                    <a:cxn ang="0">
                      <a:pos x="198" y="19"/>
                    </a:cxn>
                    <a:cxn ang="0">
                      <a:pos x="200" y="9"/>
                    </a:cxn>
                    <a:cxn ang="0">
                      <a:pos x="214" y="14"/>
                    </a:cxn>
                    <a:cxn ang="0">
                      <a:pos x="219" y="28"/>
                    </a:cxn>
                    <a:cxn ang="0">
                      <a:pos x="219" y="44"/>
                    </a:cxn>
                    <a:cxn ang="0">
                      <a:pos x="235" y="56"/>
                    </a:cxn>
                    <a:cxn ang="0">
                      <a:pos x="228" y="63"/>
                    </a:cxn>
                    <a:cxn ang="0">
                      <a:pos x="228" y="72"/>
                    </a:cxn>
                    <a:cxn ang="0">
                      <a:pos x="239" y="87"/>
                    </a:cxn>
                    <a:cxn ang="0">
                      <a:pos x="244" y="98"/>
                    </a:cxn>
                    <a:cxn ang="0">
                      <a:pos x="246" y="113"/>
                    </a:cxn>
                    <a:cxn ang="0">
                      <a:pos x="244" y="134"/>
                    </a:cxn>
                    <a:cxn ang="0">
                      <a:pos x="256" y="152"/>
                    </a:cxn>
                    <a:cxn ang="0">
                      <a:pos x="252" y="167"/>
                    </a:cxn>
                    <a:cxn ang="0">
                      <a:pos x="261" y="183"/>
                    </a:cxn>
                    <a:cxn ang="0">
                      <a:pos x="240" y="187"/>
                    </a:cxn>
                    <a:cxn ang="0">
                      <a:pos x="251" y="192"/>
                    </a:cxn>
                    <a:cxn ang="0">
                      <a:pos x="242" y="214"/>
                    </a:cxn>
                    <a:cxn ang="0">
                      <a:pos x="230" y="214"/>
                    </a:cxn>
                    <a:cxn ang="0">
                      <a:pos x="214" y="234"/>
                    </a:cxn>
                    <a:cxn ang="0">
                      <a:pos x="204" y="227"/>
                    </a:cxn>
                    <a:cxn ang="0">
                      <a:pos x="198" y="209"/>
                    </a:cxn>
                    <a:cxn ang="0">
                      <a:pos x="197" y="185"/>
                    </a:cxn>
                    <a:cxn ang="0">
                      <a:pos x="169" y="180"/>
                    </a:cxn>
                  </a:cxnLst>
                  <a:rect l="0" t="0" r="r" b="b"/>
                  <a:pathLst>
                    <a:path w="261" h="234">
                      <a:moveTo>
                        <a:pt x="169" y="180"/>
                      </a:moveTo>
                      <a:lnTo>
                        <a:pt x="169" y="180"/>
                      </a:lnTo>
                      <a:lnTo>
                        <a:pt x="162" y="185"/>
                      </a:lnTo>
                      <a:lnTo>
                        <a:pt x="158" y="187"/>
                      </a:lnTo>
                      <a:lnTo>
                        <a:pt x="157" y="185"/>
                      </a:lnTo>
                      <a:lnTo>
                        <a:pt x="158" y="181"/>
                      </a:lnTo>
                      <a:lnTo>
                        <a:pt x="160" y="173"/>
                      </a:lnTo>
                      <a:lnTo>
                        <a:pt x="160" y="167"/>
                      </a:lnTo>
                      <a:lnTo>
                        <a:pt x="158" y="162"/>
                      </a:lnTo>
                      <a:lnTo>
                        <a:pt x="158" y="162"/>
                      </a:lnTo>
                      <a:lnTo>
                        <a:pt x="153" y="153"/>
                      </a:lnTo>
                      <a:lnTo>
                        <a:pt x="155" y="148"/>
                      </a:lnTo>
                      <a:lnTo>
                        <a:pt x="155" y="148"/>
                      </a:lnTo>
                      <a:lnTo>
                        <a:pt x="155" y="143"/>
                      </a:lnTo>
                      <a:lnTo>
                        <a:pt x="153" y="141"/>
                      </a:lnTo>
                      <a:lnTo>
                        <a:pt x="150" y="136"/>
                      </a:lnTo>
                      <a:lnTo>
                        <a:pt x="143" y="126"/>
                      </a:lnTo>
                      <a:lnTo>
                        <a:pt x="143" y="126"/>
                      </a:lnTo>
                      <a:lnTo>
                        <a:pt x="141" y="120"/>
                      </a:lnTo>
                      <a:lnTo>
                        <a:pt x="136" y="117"/>
                      </a:lnTo>
                      <a:lnTo>
                        <a:pt x="131" y="115"/>
                      </a:lnTo>
                      <a:lnTo>
                        <a:pt x="124" y="113"/>
                      </a:lnTo>
                      <a:lnTo>
                        <a:pt x="113" y="115"/>
                      </a:lnTo>
                      <a:lnTo>
                        <a:pt x="110" y="117"/>
                      </a:lnTo>
                      <a:lnTo>
                        <a:pt x="108" y="119"/>
                      </a:lnTo>
                      <a:lnTo>
                        <a:pt x="108" y="119"/>
                      </a:lnTo>
                      <a:lnTo>
                        <a:pt x="108" y="120"/>
                      </a:lnTo>
                      <a:lnTo>
                        <a:pt x="106" y="120"/>
                      </a:lnTo>
                      <a:lnTo>
                        <a:pt x="101" y="119"/>
                      </a:lnTo>
                      <a:lnTo>
                        <a:pt x="97" y="117"/>
                      </a:lnTo>
                      <a:lnTo>
                        <a:pt x="94" y="119"/>
                      </a:lnTo>
                      <a:lnTo>
                        <a:pt x="92" y="120"/>
                      </a:lnTo>
                      <a:lnTo>
                        <a:pt x="91" y="126"/>
                      </a:lnTo>
                      <a:lnTo>
                        <a:pt x="91" y="126"/>
                      </a:lnTo>
                      <a:lnTo>
                        <a:pt x="85" y="136"/>
                      </a:lnTo>
                      <a:lnTo>
                        <a:pt x="78" y="145"/>
                      </a:lnTo>
                      <a:lnTo>
                        <a:pt x="71" y="152"/>
                      </a:lnTo>
                      <a:lnTo>
                        <a:pt x="63" y="157"/>
                      </a:lnTo>
                      <a:lnTo>
                        <a:pt x="63" y="157"/>
                      </a:lnTo>
                      <a:lnTo>
                        <a:pt x="63" y="153"/>
                      </a:lnTo>
                      <a:lnTo>
                        <a:pt x="64" y="152"/>
                      </a:lnTo>
                      <a:lnTo>
                        <a:pt x="64" y="152"/>
                      </a:lnTo>
                      <a:lnTo>
                        <a:pt x="63" y="150"/>
                      </a:lnTo>
                      <a:lnTo>
                        <a:pt x="63" y="150"/>
                      </a:lnTo>
                      <a:lnTo>
                        <a:pt x="61" y="146"/>
                      </a:lnTo>
                      <a:lnTo>
                        <a:pt x="59" y="145"/>
                      </a:lnTo>
                      <a:lnTo>
                        <a:pt x="59" y="143"/>
                      </a:lnTo>
                      <a:lnTo>
                        <a:pt x="56" y="140"/>
                      </a:lnTo>
                      <a:lnTo>
                        <a:pt x="56" y="140"/>
                      </a:lnTo>
                      <a:lnTo>
                        <a:pt x="50" y="138"/>
                      </a:lnTo>
                      <a:lnTo>
                        <a:pt x="50" y="134"/>
                      </a:lnTo>
                      <a:lnTo>
                        <a:pt x="50" y="133"/>
                      </a:lnTo>
                      <a:lnTo>
                        <a:pt x="52" y="127"/>
                      </a:lnTo>
                      <a:lnTo>
                        <a:pt x="52" y="127"/>
                      </a:lnTo>
                      <a:lnTo>
                        <a:pt x="54" y="126"/>
                      </a:lnTo>
                      <a:lnTo>
                        <a:pt x="52" y="124"/>
                      </a:lnTo>
                      <a:lnTo>
                        <a:pt x="49" y="120"/>
                      </a:lnTo>
                      <a:lnTo>
                        <a:pt x="42" y="119"/>
                      </a:lnTo>
                      <a:lnTo>
                        <a:pt x="37" y="113"/>
                      </a:lnTo>
                      <a:lnTo>
                        <a:pt x="37" y="113"/>
                      </a:lnTo>
                      <a:lnTo>
                        <a:pt x="31" y="110"/>
                      </a:lnTo>
                      <a:lnTo>
                        <a:pt x="26" y="108"/>
                      </a:lnTo>
                      <a:lnTo>
                        <a:pt x="23" y="105"/>
                      </a:lnTo>
                      <a:lnTo>
                        <a:pt x="19" y="101"/>
                      </a:lnTo>
                      <a:lnTo>
                        <a:pt x="19" y="101"/>
                      </a:lnTo>
                      <a:lnTo>
                        <a:pt x="19" y="96"/>
                      </a:lnTo>
                      <a:lnTo>
                        <a:pt x="17" y="96"/>
                      </a:lnTo>
                      <a:lnTo>
                        <a:pt x="17" y="87"/>
                      </a:lnTo>
                      <a:lnTo>
                        <a:pt x="17" y="87"/>
                      </a:lnTo>
                      <a:lnTo>
                        <a:pt x="19" y="80"/>
                      </a:lnTo>
                      <a:lnTo>
                        <a:pt x="17" y="82"/>
                      </a:lnTo>
                      <a:lnTo>
                        <a:pt x="14" y="86"/>
                      </a:lnTo>
                      <a:lnTo>
                        <a:pt x="12" y="86"/>
                      </a:lnTo>
                      <a:lnTo>
                        <a:pt x="12" y="82"/>
                      </a:lnTo>
                      <a:lnTo>
                        <a:pt x="12" y="82"/>
                      </a:lnTo>
                      <a:lnTo>
                        <a:pt x="10" y="80"/>
                      </a:lnTo>
                      <a:lnTo>
                        <a:pt x="10" y="77"/>
                      </a:lnTo>
                      <a:lnTo>
                        <a:pt x="14" y="73"/>
                      </a:lnTo>
                      <a:lnTo>
                        <a:pt x="16" y="72"/>
                      </a:lnTo>
                      <a:lnTo>
                        <a:pt x="14" y="70"/>
                      </a:lnTo>
                      <a:lnTo>
                        <a:pt x="14" y="70"/>
                      </a:lnTo>
                      <a:lnTo>
                        <a:pt x="10" y="72"/>
                      </a:lnTo>
                      <a:lnTo>
                        <a:pt x="9" y="73"/>
                      </a:lnTo>
                      <a:lnTo>
                        <a:pt x="5" y="77"/>
                      </a:lnTo>
                      <a:lnTo>
                        <a:pt x="5" y="80"/>
                      </a:lnTo>
                      <a:lnTo>
                        <a:pt x="3" y="82"/>
                      </a:lnTo>
                      <a:lnTo>
                        <a:pt x="2" y="80"/>
                      </a:lnTo>
                      <a:lnTo>
                        <a:pt x="2" y="80"/>
                      </a:lnTo>
                      <a:lnTo>
                        <a:pt x="0" y="79"/>
                      </a:lnTo>
                      <a:lnTo>
                        <a:pt x="2" y="75"/>
                      </a:lnTo>
                      <a:lnTo>
                        <a:pt x="2" y="75"/>
                      </a:lnTo>
                      <a:lnTo>
                        <a:pt x="10" y="56"/>
                      </a:lnTo>
                      <a:lnTo>
                        <a:pt x="14" y="52"/>
                      </a:lnTo>
                      <a:lnTo>
                        <a:pt x="16" y="51"/>
                      </a:lnTo>
                      <a:lnTo>
                        <a:pt x="21" y="49"/>
                      </a:lnTo>
                      <a:lnTo>
                        <a:pt x="23" y="49"/>
                      </a:lnTo>
                      <a:lnTo>
                        <a:pt x="24" y="47"/>
                      </a:lnTo>
                      <a:lnTo>
                        <a:pt x="24" y="47"/>
                      </a:lnTo>
                      <a:lnTo>
                        <a:pt x="26" y="44"/>
                      </a:lnTo>
                      <a:lnTo>
                        <a:pt x="30" y="44"/>
                      </a:lnTo>
                      <a:lnTo>
                        <a:pt x="33" y="44"/>
                      </a:lnTo>
                      <a:lnTo>
                        <a:pt x="37" y="46"/>
                      </a:lnTo>
                      <a:lnTo>
                        <a:pt x="40" y="46"/>
                      </a:lnTo>
                      <a:lnTo>
                        <a:pt x="44" y="46"/>
                      </a:lnTo>
                      <a:lnTo>
                        <a:pt x="44" y="46"/>
                      </a:lnTo>
                      <a:lnTo>
                        <a:pt x="47" y="44"/>
                      </a:lnTo>
                      <a:lnTo>
                        <a:pt x="49" y="40"/>
                      </a:lnTo>
                      <a:lnTo>
                        <a:pt x="50" y="35"/>
                      </a:lnTo>
                      <a:lnTo>
                        <a:pt x="49" y="30"/>
                      </a:lnTo>
                      <a:lnTo>
                        <a:pt x="44" y="25"/>
                      </a:lnTo>
                      <a:lnTo>
                        <a:pt x="44" y="25"/>
                      </a:lnTo>
                      <a:lnTo>
                        <a:pt x="42" y="23"/>
                      </a:lnTo>
                      <a:lnTo>
                        <a:pt x="42" y="21"/>
                      </a:lnTo>
                      <a:lnTo>
                        <a:pt x="47" y="19"/>
                      </a:lnTo>
                      <a:lnTo>
                        <a:pt x="49" y="16"/>
                      </a:lnTo>
                      <a:lnTo>
                        <a:pt x="50" y="12"/>
                      </a:lnTo>
                      <a:lnTo>
                        <a:pt x="50" y="7"/>
                      </a:lnTo>
                      <a:lnTo>
                        <a:pt x="49" y="0"/>
                      </a:lnTo>
                      <a:lnTo>
                        <a:pt x="49" y="0"/>
                      </a:lnTo>
                      <a:lnTo>
                        <a:pt x="57" y="2"/>
                      </a:lnTo>
                      <a:lnTo>
                        <a:pt x="64" y="4"/>
                      </a:lnTo>
                      <a:lnTo>
                        <a:pt x="78" y="9"/>
                      </a:lnTo>
                      <a:lnTo>
                        <a:pt x="91" y="12"/>
                      </a:lnTo>
                      <a:lnTo>
                        <a:pt x="94" y="14"/>
                      </a:lnTo>
                      <a:lnTo>
                        <a:pt x="99" y="12"/>
                      </a:lnTo>
                      <a:lnTo>
                        <a:pt x="99" y="12"/>
                      </a:lnTo>
                      <a:lnTo>
                        <a:pt x="106" y="9"/>
                      </a:lnTo>
                      <a:lnTo>
                        <a:pt x="115" y="11"/>
                      </a:lnTo>
                      <a:lnTo>
                        <a:pt x="122" y="11"/>
                      </a:lnTo>
                      <a:lnTo>
                        <a:pt x="129" y="12"/>
                      </a:lnTo>
                      <a:lnTo>
                        <a:pt x="129" y="12"/>
                      </a:lnTo>
                      <a:lnTo>
                        <a:pt x="127" y="18"/>
                      </a:lnTo>
                      <a:lnTo>
                        <a:pt x="129" y="23"/>
                      </a:lnTo>
                      <a:lnTo>
                        <a:pt x="129" y="26"/>
                      </a:lnTo>
                      <a:lnTo>
                        <a:pt x="131" y="28"/>
                      </a:lnTo>
                      <a:lnTo>
                        <a:pt x="134" y="30"/>
                      </a:lnTo>
                      <a:lnTo>
                        <a:pt x="136" y="30"/>
                      </a:lnTo>
                      <a:lnTo>
                        <a:pt x="138" y="28"/>
                      </a:lnTo>
                      <a:lnTo>
                        <a:pt x="139" y="25"/>
                      </a:lnTo>
                      <a:lnTo>
                        <a:pt x="139" y="25"/>
                      </a:lnTo>
                      <a:lnTo>
                        <a:pt x="141" y="19"/>
                      </a:lnTo>
                      <a:lnTo>
                        <a:pt x="143" y="19"/>
                      </a:lnTo>
                      <a:lnTo>
                        <a:pt x="145" y="19"/>
                      </a:lnTo>
                      <a:lnTo>
                        <a:pt x="148" y="23"/>
                      </a:lnTo>
                      <a:lnTo>
                        <a:pt x="151" y="30"/>
                      </a:lnTo>
                      <a:lnTo>
                        <a:pt x="151" y="30"/>
                      </a:lnTo>
                      <a:lnTo>
                        <a:pt x="153" y="32"/>
                      </a:lnTo>
                      <a:lnTo>
                        <a:pt x="155" y="32"/>
                      </a:lnTo>
                      <a:lnTo>
                        <a:pt x="160" y="26"/>
                      </a:lnTo>
                      <a:lnTo>
                        <a:pt x="162" y="23"/>
                      </a:lnTo>
                      <a:lnTo>
                        <a:pt x="167" y="21"/>
                      </a:lnTo>
                      <a:lnTo>
                        <a:pt x="172" y="21"/>
                      </a:lnTo>
                      <a:lnTo>
                        <a:pt x="179" y="25"/>
                      </a:lnTo>
                      <a:lnTo>
                        <a:pt x="179" y="25"/>
                      </a:lnTo>
                      <a:lnTo>
                        <a:pt x="188" y="28"/>
                      </a:lnTo>
                      <a:lnTo>
                        <a:pt x="190" y="28"/>
                      </a:lnTo>
                      <a:lnTo>
                        <a:pt x="192" y="26"/>
                      </a:lnTo>
                      <a:lnTo>
                        <a:pt x="193" y="23"/>
                      </a:lnTo>
                      <a:lnTo>
                        <a:pt x="195" y="19"/>
                      </a:lnTo>
                      <a:lnTo>
                        <a:pt x="198" y="19"/>
                      </a:lnTo>
                      <a:lnTo>
                        <a:pt x="198" y="19"/>
                      </a:lnTo>
                      <a:lnTo>
                        <a:pt x="200" y="18"/>
                      </a:lnTo>
                      <a:lnTo>
                        <a:pt x="202" y="16"/>
                      </a:lnTo>
                      <a:lnTo>
                        <a:pt x="200" y="11"/>
                      </a:lnTo>
                      <a:lnTo>
                        <a:pt x="200" y="9"/>
                      </a:lnTo>
                      <a:lnTo>
                        <a:pt x="202" y="7"/>
                      </a:lnTo>
                      <a:lnTo>
                        <a:pt x="209" y="9"/>
                      </a:lnTo>
                      <a:lnTo>
                        <a:pt x="209" y="9"/>
                      </a:lnTo>
                      <a:lnTo>
                        <a:pt x="212" y="11"/>
                      </a:lnTo>
                      <a:lnTo>
                        <a:pt x="214" y="14"/>
                      </a:lnTo>
                      <a:lnTo>
                        <a:pt x="216" y="19"/>
                      </a:lnTo>
                      <a:lnTo>
                        <a:pt x="218" y="25"/>
                      </a:lnTo>
                      <a:lnTo>
                        <a:pt x="218" y="28"/>
                      </a:lnTo>
                      <a:lnTo>
                        <a:pt x="219" y="28"/>
                      </a:lnTo>
                      <a:lnTo>
                        <a:pt x="219" y="28"/>
                      </a:lnTo>
                      <a:lnTo>
                        <a:pt x="221" y="30"/>
                      </a:lnTo>
                      <a:lnTo>
                        <a:pt x="221" y="32"/>
                      </a:lnTo>
                      <a:lnTo>
                        <a:pt x="221" y="39"/>
                      </a:lnTo>
                      <a:lnTo>
                        <a:pt x="219" y="42"/>
                      </a:lnTo>
                      <a:lnTo>
                        <a:pt x="219" y="44"/>
                      </a:lnTo>
                      <a:lnTo>
                        <a:pt x="221" y="46"/>
                      </a:lnTo>
                      <a:lnTo>
                        <a:pt x="221" y="46"/>
                      </a:lnTo>
                      <a:lnTo>
                        <a:pt x="226" y="47"/>
                      </a:lnTo>
                      <a:lnTo>
                        <a:pt x="232" y="52"/>
                      </a:lnTo>
                      <a:lnTo>
                        <a:pt x="235" y="56"/>
                      </a:lnTo>
                      <a:lnTo>
                        <a:pt x="235" y="59"/>
                      </a:lnTo>
                      <a:lnTo>
                        <a:pt x="233" y="59"/>
                      </a:lnTo>
                      <a:lnTo>
                        <a:pt x="233" y="59"/>
                      </a:lnTo>
                      <a:lnTo>
                        <a:pt x="230" y="61"/>
                      </a:lnTo>
                      <a:lnTo>
                        <a:pt x="228" y="63"/>
                      </a:lnTo>
                      <a:lnTo>
                        <a:pt x="225" y="70"/>
                      </a:lnTo>
                      <a:lnTo>
                        <a:pt x="225" y="73"/>
                      </a:lnTo>
                      <a:lnTo>
                        <a:pt x="226" y="75"/>
                      </a:lnTo>
                      <a:lnTo>
                        <a:pt x="228" y="72"/>
                      </a:lnTo>
                      <a:lnTo>
                        <a:pt x="228" y="72"/>
                      </a:lnTo>
                      <a:lnTo>
                        <a:pt x="233" y="68"/>
                      </a:lnTo>
                      <a:lnTo>
                        <a:pt x="235" y="68"/>
                      </a:lnTo>
                      <a:lnTo>
                        <a:pt x="237" y="70"/>
                      </a:lnTo>
                      <a:lnTo>
                        <a:pt x="239" y="77"/>
                      </a:lnTo>
                      <a:lnTo>
                        <a:pt x="239" y="87"/>
                      </a:lnTo>
                      <a:lnTo>
                        <a:pt x="239" y="87"/>
                      </a:lnTo>
                      <a:lnTo>
                        <a:pt x="239" y="96"/>
                      </a:lnTo>
                      <a:lnTo>
                        <a:pt x="240" y="96"/>
                      </a:lnTo>
                      <a:lnTo>
                        <a:pt x="242" y="98"/>
                      </a:lnTo>
                      <a:lnTo>
                        <a:pt x="244" y="98"/>
                      </a:lnTo>
                      <a:lnTo>
                        <a:pt x="246" y="98"/>
                      </a:lnTo>
                      <a:lnTo>
                        <a:pt x="249" y="101"/>
                      </a:lnTo>
                      <a:lnTo>
                        <a:pt x="251" y="108"/>
                      </a:lnTo>
                      <a:lnTo>
                        <a:pt x="251" y="108"/>
                      </a:lnTo>
                      <a:lnTo>
                        <a:pt x="246" y="113"/>
                      </a:lnTo>
                      <a:lnTo>
                        <a:pt x="244" y="119"/>
                      </a:lnTo>
                      <a:lnTo>
                        <a:pt x="244" y="122"/>
                      </a:lnTo>
                      <a:lnTo>
                        <a:pt x="244" y="129"/>
                      </a:lnTo>
                      <a:lnTo>
                        <a:pt x="244" y="129"/>
                      </a:lnTo>
                      <a:lnTo>
                        <a:pt x="244" y="134"/>
                      </a:lnTo>
                      <a:lnTo>
                        <a:pt x="246" y="138"/>
                      </a:lnTo>
                      <a:lnTo>
                        <a:pt x="251" y="143"/>
                      </a:lnTo>
                      <a:lnTo>
                        <a:pt x="254" y="146"/>
                      </a:lnTo>
                      <a:lnTo>
                        <a:pt x="256" y="148"/>
                      </a:lnTo>
                      <a:lnTo>
                        <a:pt x="256" y="152"/>
                      </a:lnTo>
                      <a:lnTo>
                        <a:pt x="254" y="157"/>
                      </a:lnTo>
                      <a:lnTo>
                        <a:pt x="254" y="157"/>
                      </a:lnTo>
                      <a:lnTo>
                        <a:pt x="252" y="162"/>
                      </a:lnTo>
                      <a:lnTo>
                        <a:pt x="252" y="166"/>
                      </a:lnTo>
                      <a:lnTo>
                        <a:pt x="252" y="167"/>
                      </a:lnTo>
                      <a:lnTo>
                        <a:pt x="254" y="169"/>
                      </a:lnTo>
                      <a:lnTo>
                        <a:pt x="259" y="174"/>
                      </a:lnTo>
                      <a:lnTo>
                        <a:pt x="261" y="178"/>
                      </a:lnTo>
                      <a:lnTo>
                        <a:pt x="261" y="183"/>
                      </a:lnTo>
                      <a:lnTo>
                        <a:pt x="261" y="183"/>
                      </a:lnTo>
                      <a:lnTo>
                        <a:pt x="249" y="180"/>
                      </a:lnTo>
                      <a:lnTo>
                        <a:pt x="242" y="178"/>
                      </a:lnTo>
                      <a:lnTo>
                        <a:pt x="240" y="180"/>
                      </a:lnTo>
                      <a:lnTo>
                        <a:pt x="239" y="181"/>
                      </a:lnTo>
                      <a:lnTo>
                        <a:pt x="240" y="187"/>
                      </a:lnTo>
                      <a:lnTo>
                        <a:pt x="240" y="187"/>
                      </a:lnTo>
                      <a:lnTo>
                        <a:pt x="240" y="190"/>
                      </a:lnTo>
                      <a:lnTo>
                        <a:pt x="242" y="192"/>
                      </a:lnTo>
                      <a:lnTo>
                        <a:pt x="247" y="192"/>
                      </a:lnTo>
                      <a:lnTo>
                        <a:pt x="251" y="192"/>
                      </a:lnTo>
                      <a:lnTo>
                        <a:pt x="251" y="193"/>
                      </a:lnTo>
                      <a:lnTo>
                        <a:pt x="251" y="195"/>
                      </a:lnTo>
                      <a:lnTo>
                        <a:pt x="251" y="195"/>
                      </a:lnTo>
                      <a:lnTo>
                        <a:pt x="247" y="206"/>
                      </a:lnTo>
                      <a:lnTo>
                        <a:pt x="242" y="214"/>
                      </a:lnTo>
                      <a:lnTo>
                        <a:pt x="240" y="218"/>
                      </a:lnTo>
                      <a:lnTo>
                        <a:pt x="237" y="218"/>
                      </a:lnTo>
                      <a:lnTo>
                        <a:pt x="233" y="218"/>
                      </a:lnTo>
                      <a:lnTo>
                        <a:pt x="230" y="214"/>
                      </a:lnTo>
                      <a:lnTo>
                        <a:pt x="230" y="214"/>
                      </a:lnTo>
                      <a:lnTo>
                        <a:pt x="228" y="214"/>
                      </a:lnTo>
                      <a:lnTo>
                        <a:pt x="225" y="216"/>
                      </a:lnTo>
                      <a:lnTo>
                        <a:pt x="219" y="225"/>
                      </a:lnTo>
                      <a:lnTo>
                        <a:pt x="218" y="230"/>
                      </a:lnTo>
                      <a:lnTo>
                        <a:pt x="214" y="234"/>
                      </a:lnTo>
                      <a:lnTo>
                        <a:pt x="211" y="234"/>
                      </a:lnTo>
                      <a:lnTo>
                        <a:pt x="207" y="232"/>
                      </a:lnTo>
                      <a:lnTo>
                        <a:pt x="207" y="232"/>
                      </a:lnTo>
                      <a:lnTo>
                        <a:pt x="205" y="228"/>
                      </a:lnTo>
                      <a:lnTo>
                        <a:pt x="204" y="227"/>
                      </a:lnTo>
                      <a:lnTo>
                        <a:pt x="200" y="227"/>
                      </a:lnTo>
                      <a:lnTo>
                        <a:pt x="198" y="225"/>
                      </a:lnTo>
                      <a:lnTo>
                        <a:pt x="198" y="220"/>
                      </a:lnTo>
                      <a:lnTo>
                        <a:pt x="198" y="220"/>
                      </a:lnTo>
                      <a:lnTo>
                        <a:pt x="198" y="209"/>
                      </a:lnTo>
                      <a:lnTo>
                        <a:pt x="197" y="202"/>
                      </a:lnTo>
                      <a:lnTo>
                        <a:pt x="195" y="195"/>
                      </a:lnTo>
                      <a:lnTo>
                        <a:pt x="197" y="188"/>
                      </a:lnTo>
                      <a:lnTo>
                        <a:pt x="197" y="188"/>
                      </a:lnTo>
                      <a:lnTo>
                        <a:pt x="197" y="185"/>
                      </a:lnTo>
                      <a:lnTo>
                        <a:pt x="195" y="181"/>
                      </a:lnTo>
                      <a:lnTo>
                        <a:pt x="192" y="180"/>
                      </a:lnTo>
                      <a:lnTo>
                        <a:pt x="186" y="178"/>
                      </a:lnTo>
                      <a:lnTo>
                        <a:pt x="178" y="178"/>
                      </a:lnTo>
                      <a:lnTo>
                        <a:pt x="169" y="180"/>
                      </a:lnTo>
                      <a:lnTo>
                        <a:pt x="169" y="18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2" name="Freeform 1771">
                  <a:extLst>
                    <a:ext uri="{FF2B5EF4-FFF2-40B4-BE49-F238E27FC236}">
                      <a16:creationId xmlns:a16="http://schemas.microsoft.com/office/drawing/2014/main" id="{BEE3DD61-42E4-D28D-3FA2-482CC64E0511}"/>
                    </a:ext>
                  </a:extLst>
                </p:cNvPr>
                <p:cNvSpPr>
                  <a:spLocks/>
                </p:cNvSpPr>
                <p:nvPr/>
              </p:nvSpPr>
              <p:spPr bwMode="auto">
                <a:xfrm>
                  <a:off x="5290628" y="2774440"/>
                  <a:ext cx="267825" cy="183249"/>
                </a:xfrm>
                <a:custGeom>
                  <a:avLst/>
                  <a:gdLst/>
                  <a:ahLst/>
                  <a:cxnLst>
                    <a:cxn ang="0">
                      <a:pos x="84" y="23"/>
                    </a:cxn>
                    <a:cxn ang="0">
                      <a:pos x="70" y="26"/>
                    </a:cxn>
                    <a:cxn ang="0">
                      <a:pos x="63" y="38"/>
                    </a:cxn>
                    <a:cxn ang="0">
                      <a:pos x="49" y="58"/>
                    </a:cxn>
                    <a:cxn ang="0">
                      <a:pos x="45" y="70"/>
                    </a:cxn>
                    <a:cxn ang="0">
                      <a:pos x="26" y="101"/>
                    </a:cxn>
                    <a:cxn ang="0">
                      <a:pos x="17" y="99"/>
                    </a:cxn>
                    <a:cxn ang="0">
                      <a:pos x="17" y="103"/>
                    </a:cxn>
                    <a:cxn ang="0">
                      <a:pos x="0" y="108"/>
                    </a:cxn>
                    <a:cxn ang="0">
                      <a:pos x="17" y="125"/>
                    </a:cxn>
                    <a:cxn ang="0">
                      <a:pos x="17" y="138"/>
                    </a:cxn>
                    <a:cxn ang="0">
                      <a:pos x="42" y="153"/>
                    </a:cxn>
                    <a:cxn ang="0">
                      <a:pos x="40" y="162"/>
                    </a:cxn>
                    <a:cxn ang="0">
                      <a:pos x="61" y="186"/>
                    </a:cxn>
                    <a:cxn ang="0">
                      <a:pos x="71" y="185"/>
                    </a:cxn>
                    <a:cxn ang="0">
                      <a:pos x="78" y="179"/>
                    </a:cxn>
                    <a:cxn ang="0">
                      <a:pos x="85" y="186"/>
                    </a:cxn>
                    <a:cxn ang="0">
                      <a:pos x="78" y="195"/>
                    </a:cxn>
                    <a:cxn ang="0">
                      <a:pos x="96" y="207"/>
                    </a:cxn>
                    <a:cxn ang="0">
                      <a:pos x="89" y="218"/>
                    </a:cxn>
                    <a:cxn ang="0">
                      <a:pos x="97" y="223"/>
                    </a:cxn>
                    <a:cxn ang="0">
                      <a:pos x="120" y="223"/>
                    </a:cxn>
                    <a:cxn ang="0">
                      <a:pos x="139" y="226"/>
                    </a:cxn>
                    <a:cxn ang="0">
                      <a:pos x="164" y="226"/>
                    </a:cxn>
                    <a:cxn ang="0">
                      <a:pos x="190" y="228"/>
                    </a:cxn>
                    <a:cxn ang="0">
                      <a:pos x="223" y="209"/>
                    </a:cxn>
                    <a:cxn ang="0">
                      <a:pos x="247" y="211"/>
                    </a:cxn>
                    <a:cxn ang="0">
                      <a:pos x="258" y="213"/>
                    </a:cxn>
                    <a:cxn ang="0">
                      <a:pos x="270" y="218"/>
                    </a:cxn>
                    <a:cxn ang="0">
                      <a:pos x="291" y="226"/>
                    </a:cxn>
                    <a:cxn ang="0">
                      <a:pos x="303" y="183"/>
                    </a:cxn>
                    <a:cxn ang="0">
                      <a:pos x="320" y="172"/>
                    </a:cxn>
                    <a:cxn ang="0">
                      <a:pos x="333" y="152"/>
                    </a:cxn>
                    <a:cxn ang="0">
                      <a:pos x="320" y="143"/>
                    </a:cxn>
                    <a:cxn ang="0">
                      <a:pos x="306" y="148"/>
                    </a:cxn>
                    <a:cxn ang="0">
                      <a:pos x="298" y="150"/>
                    </a:cxn>
                    <a:cxn ang="0">
                      <a:pos x="279" y="141"/>
                    </a:cxn>
                    <a:cxn ang="0">
                      <a:pos x="277" y="127"/>
                    </a:cxn>
                    <a:cxn ang="0">
                      <a:pos x="275" y="106"/>
                    </a:cxn>
                    <a:cxn ang="0">
                      <a:pos x="277" y="71"/>
                    </a:cxn>
                    <a:cxn ang="0">
                      <a:pos x="258" y="45"/>
                    </a:cxn>
                    <a:cxn ang="0">
                      <a:pos x="251" y="37"/>
                    </a:cxn>
                    <a:cxn ang="0">
                      <a:pos x="233" y="4"/>
                    </a:cxn>
                    <a:cxn ang="0">
                      <a:pos x="218" y="2"/>
                    </a:cxn>
                    <a:cxn ang="0">
                      <a:pos x="200" y="14"/>
                    </a:cxn>
                    <a:cxn ang="0">
                      <a:pos x="176" y="19"/>
                    </a:cxn>
                    <a:cxn ang="0">
                      <a:pos x="165" y="28"/>
                    </a:cxn>
                    <a:cxn ang="0">
                      <a:pos x="150" y="16"/>
                    </a:cxn>
                    <a:cxn ang="0">
                      <a:pos x="134" y="16"/>
                    </a:cxn>
                    <a:cxn ang="0">
                      <a:pos x="115" y="14"/>
                    </a:cxn>
                    <a:cxn ang="0">
                      <a:pos x="101" y="9"/>
                    </a:cxn>
                    <a:cxn ang="0">
                      <a:pos x="96" y="14"/>
                    </a:cxn>
                  </a:cxnLst>
                  <a:rect l="0" t="0" r="r" b="b"/>
                  <a:pathLst>
                    <a:path w="333" h="230">
                      <a:moveTo>
                        <a:pt x="92" y="16"/>
                      </a:moveTo>
                      <a:lnTo>
                        <a:pt x="92" y="16"/>
                      </a:lnTo>
                      <a:lnTo>
                        <a:pt x="87" y="21"/>
                      </a:lnTo>
                      <a:lnTo>
                        <a:pt x="84" y="23"/>
                      </a:lnTo>
                      <a:lnTo>
                        <a:pt x="80" y="24"/>
                      </a:lnTo>
                      <a:lnTo>
                        <a:pt x="78" y="24"/>
                      </a:lnTo>
                      <a:lnTo>
                        <a:pt x="73" y="24"/>
                      </a:lnTo>
                      <a:lnTo>
                        <a:pt x="70" y="26"/>
                      </a:lnTo>
                      <a:lnTo>
                        <a:pt x="66" y="30"/>
                      </a:lnTo>
                      <a:lnTo>
                        <a:pt x="66" y="30"/>
                      </a:lnTo>
                      <a:lnTo>
                        <a:pt x="64" y="35"/>
                      </a:lnTo>
                      <a:lnTo>
                        <a:pt x="63" y="38"/>
                      </a:lnTo>
                      <a:lnTo>
                        <a:pt x="61" y="44"/>
                      </a:lnTo>
                      <a:lnTo>
                        <a:pt x="54" y="51"/>
                      </a:lnTo>
                      <a:lnTo>
                        <a:pt x="54" y="51"/>
                      </a:lnTo>
                      <a:lnTo>
                        <a:pt x="49" y="58"/>
                      </a:lnTo>
                      <a:lnTo>
                        <a:pt x="49" y="61"/>
                      </a:lnTo>
                      <a:lnTo>
                        <a:pt x="49" y="65"/>
                      </a:lnTo>
                      <a:lnTo>
                        <a:pt x="45" y="70"/>
                      </a:lnTo>
                      <a:lnTo>
                        <a:pt x="45" y="70"/>
                      </a:lnTo>
                      <a:lnTo>
                        <a:pt x="37" y="89"/>
                      </a:lnTo>
                      <a:lnTo>
                        <a:pt x="31" y="98"/>
                      </a:lnTo>
                      <a:lnTo>
                        <a:pt x="26" y="101"/>
                      </a:lnTo>
                      <a:lnTo>
                        <a:pt x="26" y="101"/>
                      </a:lnTo>
                      <a:lnTo>
                        <a:pt x="24" y="101"/>
                      </a:lnTo>
                      <a:lnTo>
                        <a:pt x="23" y="101"/>
                      </a:lnTo>
                      <a:lnTo>
                        <a:pt x="21" y="99"/>
                      </a:lnTo>
                      <a:lnTo>
                        <a:pt x="17" y="99"/>
                      </a:lnTo>
                      <a:lnTo>
                        <a:pt x="17" y="99"/>
                      </a:lnTo>
                      <a:lnTo>
                        <a:pt x="16" y="101"/>
                      </a:lnTo>
                      <a:lnTo>
                        <a:pt x="17" y="103"/>
                      </a:lnTo>
                      <a:lnTo>
                        <a:pt x="17" y="103"/>
                      </a:lnTo>
                      <a:lnTo>
                        <a:pt x="14" y="105"/>
                      </a:lnTo>
                      <a:lnTo>
                        <a:pt x="14" y="105"/>
                      </a:lnTo>
                      <a:lnTo>
                        <a:pt x="5" y="106"/>
                      </a:lnTo>
                      <a:lnTo>
                        <a:pt x="0" y="108"/>
                      </a:lnTo>
                      <a:lnTo>
                        <a:pt x="0" y="108"/>
                      </a:lnTo>
                      <a:lnTo>
                        <a:pt x="7" y="117"/>
                      </a:lnTo>
                      <a:lnTo>
                        <a:pt x="12" y="122"/>
                      </a:lnTo>
                      <a:lnTo>
                        <a:pt x="17" y="125"/>
                      </a:lnTo>
                      <a:lnTo>
                        <a:pt x="17" y="129"/>
                      </a:lnTo>
                      <a:lnTo>
                        <a:pt x="17" y="131"/>
                      </a:lnTo>
                      <a:lnTo>
                        <a:pt x="17" y="131"/>
                      </a:lnTo>
                      <a:lnTo>
                        <a:pt x="17" y="138"/>
                      </a:lnTo>
                      <a:lnTo>
                        <a:pt x="21" y="143"/>
                      </a:lnTo>
                      <a:lnTo>
                        <a:pt x="26" y="146"/>
                      </a:lnTo>
                      <a:lnTo>
                        <a:pt x="31" y="148"/>
                      </a:lnTo>
                      <a:lnTo>
                        <a:pt x="42" y="153"/>
                      </a:lnTo>
                      <a:lnTo>
                        <a:pt x="44" y="155"/>
                      </a:lnTo>
                      <a:lnTo>
                        <a:pt x="42" y="160"/>
                      </a:lnTo>
                      <a:lnTo>
                        <a:pt x="42" y="160"/>
                      </a:lnTo>
                      <a:lnTo>
                        <a:pt x="40" y="162"/>
                      </a:lnTo>
                      <a:lnTo>
                        <a:pt x="40" y="166"/>
                      </a:lnTo>
                      <a:lnTo>
                        <a:pt x="44" y="174"/>
                      </a:lnTo>
                      <a:lnTo>
                        <a:pt x="50" y="181"/>
                      </a:lnTo>
                      <a:lnTo>
                        <a:pt x="61" y="186"/>
                      </a:lnTo>
                      <a:lnTo>
                        <a:pt x="61" y="186"/>
                      </a:lnTo>
                      <a:lnTo>
                        <a:pt x="66" y="186"/>
                      </a:lnTo>
                      <a:lnTo>
                        <a:pt x="70" y="186"/>
                      </a:lnTo>
                      <a:lnTo>
                        <a:pt x="71" y="185"/>
                      </a:lnTo>
                      <a:lnTo>
                        <a:pt x="71" y="181"/>
                      </a:lnTo>
                      <a:lnTo>
                        <a:pt x="73" y="178"/>
                      </a:lnTo>
                      <a:lnTo>
                        <a:pt x="75" y="178"/>
                      </a:lnTo>
                      <a:lnTo>
                        <a:pt x="78" y="179"/>
                      </a:lnTo>
                      <a:lnTo>
                        <a:pt x="78" y="179"/>
                      </a:lnTo>
                      <a:lnTo>
                        <a:pt x="85" y="183"/>
                      </a:lnTo>
                      <a:lnTo>
                        <a:pt x="87" y="185"/>
                      </a:lnTo>
                      <a:lnTo>
                        <a:pt x="85" y="186"/>
                      </a:lnTo>
                      <a:lnTo>
                        <a:pt x="84" y="188"/>
                      </a:lnTo>
                      <a:lnTo>
                        <a:pt x="80" y="188"/>
                      </a:lnTo>
                      <a:lnTo>
                        <a:pt x="78" y="192"/>
                      </a:lnTo>
                      <a:lnTo>
                        <a:pt x="78" y="195"/>
                      </a:lnTo>
                      <a:lnTo>
                        <a:pt x="84" y="200"/>
                      </a:lnTo>
                      <a:lnTo>
                        <a:pt x="84" y="200"/>
                      </a:lnTo>
                      <a:lnTo>
                        <a:pt x="92" y="206"/>
                      </a:lnTo>
                      <a:lnTo>
                        <a:pt x="96" y="207"/>
                      </a:lnTo>
                      <a:lnTo>
                        <a:pt x="96" y="211"/>
                      </a:lnTo>
                      <a:lnTo>
                        <a:pt x="94" y="213"/>
                      </a:lnTo>
                      <a:lnTo>
                        <a:pt x="91" y="216"/>
                      </a:lnTo>
                      <a:lnTo>
                        <a:pt x="89" y="218"/>
                      </a:lnTo>
                      <a:lnTo>
                        <a:pt x="91" y="221"/>
                      </a:lnTo>
                      <a:lnTo>
                        <a:pt x="91" y="221"/>
                      </a:lnTo>
                      <a:lnTo>
                        <a:pt x="94" y="223"/>
                      </a:lnTo>
                      <a:lnTo>
                        <a:pt x="97" y="223"/>
                      </a:lnTo>
                      <a:lnTo>
                        <a:pt x="103" y="221"/>
                      </a:lnTo>
                      <a:lnTo>
                        <a:pt x="111" y="219"/>
                      </a:lnTo>
                      <a:lnTo>
                        <a:pt x="115" y="221"/>
                      </a:lnTo>
                      <a:lnTo>
                        <a:pt x="120" y="223"/>
                      </a:lnTo>
                      <a:lnTo>
                        <a:pt x="120" y="223"/>
                      </a:lnTo>
                      <a:lnTo>
                        <a:pt x="127" y="226"/>
                      </a:lnTo>
                      <a:lnTo>
                        <a:pt x="131" y="228"/>
                      </a:lnTo>
                      <a:lnTo>
                        <a:pt x="139" y="226"/>
                      </a:lnTo>
                      <a:lnTo>
                        <a:pt x="146" y="225"/>
                      </a:lnTo>
                      <a:lnTo>
                        <a:pt x="153" y="223"/>
                      </a:lnTo>
                      <a:lnTo>
                        <a:pt x="153" y="223"/>
                      </a:lnTo>
                      <a:lnTo>
                        <a:pt x="164" y="226"/>
                      </a:lnTo>
                      <a:lnTo>
                        <a:pt x="172" y="230"/>
                      </a:lnTo>
                      <a:lnTo>
                        <a:pt x="178" y="230"/>
                      </a:lnTo>
                      <a:lnTo>
                        <a:pt x="183" y="230"/>
                      </a:lnTo>
                      <a:lnTo>
                        <a:pt x="190" y="228"/>
                      </a:lnTo>
                      <a:lnTo>
                        <a:pt x="195" y="223"/>
                      </a:lnTo>
                      <a:lnTo>
                        <a:pt x="195" y="223"/>
                      </a:lnTo>
                      <a:lnTo>
                        <a:pt x="207" y="216"/>
                      </a:lnTo>
                      <a:lnTo>
                        <a:pt x="223" y="209"/>
                      </a:lnTo>
                      <a:lnTo>
                        <a:pt x="230" y="207"/>
                      </a:lnTo>
                      <a:lnTo>
                        <a:pt x="237" y="206"/>
                      </a:lnTo>
                      <a:lnTo>
                        <a:pt x="242" y="207"/>
                      </a:lnTo>
                      <a:lnTo>
                        <a:pt x="247" y="211"/>
                      </a:lnTo>
                      <a:lnTo>
                        <a:pt x="247" y="211"/>
                      </a:lnTo>
                      <a:lnTo>
                        <a:pt x="249" y="213"/>
                      </a:lnTo>
                      <a:lnTo>
                        <a:pt x="252" y="213"/>
                      </a:lnTo>
                      <a:lnTo>
                        <a:pt x="258" y="213"/>
                      </a:lnTo>
                      <a:lnTo>
                        <a:pt x="263" y="213"/>
                      </a:lnTo>
                      <a:lnTo>
                        <a:pt x="266" y="214"/>
                      </a:lnTo>
                      <a:lnTo>
                        <a:pt x="270" y="218"/>
                      </a:lnTo>
                      <a:lnTo>
                        <a:pt x="270" y="218"/>
                      </a:lnTo>
                      <a:lnTo>
                        <a:pt x="275" y="223"/>
                      </a:lnTo>
                      <a:lnTo>
                        <a:pt x="280" y="225"/>
                      </a:lnTo>
                      <a:lnTo>
                        <a:pt x="291" y="226"/>
                      </a:lnTo>
                      <a:lnTo>
                        <a:pt x="291" y="226"/>
                      </a:lnTo>
                      <a:lnTo>
                        <a:pt x="294" y="204"/>
                      </a:lnTo>
                      <a:lnTo>
                        <a:pt x="296" y="195"/>
                      </a:lnTo>
                      <a:lnTo>
                        <a:pt x="299" y="188"/>
                      </a:lnTo>
                      <a:lnTo>
                        <a:pt x="303" y="183"/>
                      </a:lnTo>
                      <a:lnTo>
                        <a:pt x="308" y="178"/>
                      </a:lnTo>
                      <a:lnTo>
                        <a:pt x="313" y="174"/>
                      </a:lnTo>
                      <a:lnTo>
                        <a:pt x="320" y="172"/>
                      </a:lnTo>
                      <a:lnTo>
                        <a:pt x="320" y="172"/>
                      </a:lnTo>
                      <a:lnTo>
                        <a:pt x="327" y="169"/>
                      </a:lnTo>
                      <a:lnTo>
                        <a:pt x="329" y="164"/>
                      </a:lnTo>
                      <a:lnTo>
                        <a:pt x="331" y="159"/>
                      </a:lnTo>
                      <a:lnTo>
                        <a:pt x="333" y="152"/>
                      </a:lnTo>
                      <a:lnTo>
                        <a:pt x="333" y="152"/>
                      </a:lnTo>
                      <a:lnTo>
                        <a:pt x="329" y="148"/>
                      </a:lnTo>
                      <a:lnTo>
                        <a:pt x="327" y="145"/>
                      </a:lnTo>
                      <a:lnTo>
                        <a:pt x="320" y="143"/>
                      </a:lnTo>
                      <a:lnTo>
                        <a:pt x="315" y="143"/>
                      </a:lnTo>
                      <a:lnTo>
                        <a:pt x="312" y="145"/>
                      </a:lnTo>
                      <a:lnTo>
                        <a:pt x="312" y="145"/>
                      </a:lnTo>
                      <a:lnTo>
                        <a:pt x="306" y="148"/>
                      </a:lnTo>
                      <a:lnTo>
                        <a:pt x="303" y="148"/>
                      </a:lnTo>
                      <a:lnTo>
                        <a:pt x="299" y="148"/>
                      </a:lnTo>
                      <a:lnTo>
                        <a:pt x="298" y="150"/>
                      </a:lnTo>
                      <a:lnTo>
                        <a:pt x="298" y="150"/>
                      </a:lnTo>
                      <a:lnTo>
                        <a:pt x="296" y="153"/>
                      </a:lnTo>
                      <a:lnTo>
                        <a:pt x="291" y="153"/>
                      </a:lnTo>
                      <a:lnTo>
                        <a:pt x="286" y="148"/>
                      </a:lnTo>
                      <a:lnTo>
                        <a:pt x="279" y="141"/>
                      </a:lnTo>
                      <a:lnTo>
                        <a:pt x="279" y="141"/>
                      </a:lnTo>
                      <a:lnTo>
                        <a:pt x="275" y="136"/>
                      </a:lnTo>
                      <a:lnTo>
                        <a:pt x="275" y="132"/>
                      </a:lnTo>
                      <a:lnTo>
                        <a:pt x="277" y="127"/>
                      </a:lnTo>
                      <a:lnTo>
                        <a:pt x="275" y="118"/>
                      </a:lnTo>
                      <a:lnTo>
                        <a:pt x="275" y="118"/>
                      </a:lnTo>
                      <a:lnTo>
                        <a:pt x="275" y="113"/>
                      </a:lnTo>
                      <a:lnTo>
                        <a:pt x="275" y="106"/>
                      </a:lnTo>
                      <a:lnTo>
                        <a:pt x="279" y="92"/>
                      </a:lnTo>
                      <a:lnTo>
                        <a:pt x="279" y="85"/>
                      </a:lnTo>
                      <a:lnTo>
                        <a:pt x="279" y="78"/>
                      </a:lnTo>
                      <a:lnTo>
                        <a:pt x="277" y="71"/>
                      </a:lnTo>
                      <a:lnTo>
                        <a:pt x="273" y="66"/>
                      </a:lnTo>
                      <a:lnTo>
                        <a:pt x="273" y="66"/>
                      </a:lnTo>
                      <a:lnTo>
                        <a:pt x="261" y="52"/>
                      </a:lnTo>
                      <a:lnTo>
                        <a:pt x="258" y="45"/>
                      </a:lnTo>
                      <a:lnTo>
                        <a:pt x="256" y="42"/>
                      </a:lnTo>
                      <a:lnTo>
                        <a:pt x="254" y="40"/>
                      </a:lnTo>
                      <a:lnTo>
                        <a:pt x="254" y="40"/>
                      </a:lnTo>
                      <a:lnTo>
                        <a:pt x="251" y="37"/>
                      </a:lnTo>
                      <a:lnTo>
                        <a:pt x="249" y="30"/>
                      </a:lnTo>
                      <a:lnTo>
                        <a:pt x="242" y="16"/>
                      </a:lnTo>
                      <a:lnTo>
                        <a:pt x="239" y="9"/>
                      </a:lnTo>
                      <a:lnTo>
                        <a:pt x="233" y="4"/>
                      </a:lnTo>
                      <a:lnTo>
                        <a:pt x="230" y="0"/>
                      </a:lnTo>
                      <a:lnTo>
                        <a:pt x="223" y="0"/>
                      </a:lnTo>
                      <a:lnTo>
                        <a:pt x="223" y="0"/>
                      </a:lnTo>
                      <a:lnTo>
                        <a:pt x="218" y="2"/>
                      </a:lnTo>
                      <a:lnTo>
                        <a:pt x="214" y="4"/>
                      </a:lnTo>
                      <a:lnTo>
                        <a:pt x="209" y="9"/>
                      </a:lnTo>
                      <a:lnTo>
                        <a:pt x="204" y="12"/>
                      </a:lnTo>
                      <a:lnTo>
                        <a:pt x="200" y="14"/>
                      </a:lnTo>
                      <a:lnTo>
                        <a:pt x="193" y="16"/>
                      </a:lnTo>
                      <a:lnTo>
                        <a:pt x="193" y="16"/>
                      </a:lnTo>
                      <a:lnTo>
                        <a:pt x="181" y="18"/>
                      </a:lnTo>
                      <a:lnTo>
                        <a:pt x="176" y="19"/>
                      </a:lnTo>
                      <a:lnTo>
                        <a:pt x="172" y="21"/>
                      </a:lnTo>
                      <a:lnTo>
                        <a:pt x="167" y="26"/>
                      </a:lnTo>
                      <a:lnTo>
                        <a:pt x="167" y="26"/>
                      </a:lnTo>
                      <a:lnTo>
                        <a:pt x="165" y="28"/>
                      </a:lnTo>
                      <a:lnTo>
                        <a:pt x="162" y="28"/>
                      </a:lnTo>
                      <a:lnTo>
                        <a:pt x="158" y="23"/>
                      </a:lnTo>
                      <a:lnTo>
                        <a:pt x="153" y="18"/>
                      </a:lnTo>
                      <a:lnTo>
                        <a:pt x="150" y="16"/>
                      </a:lnTo>
                      <a:lnTo>
                        <a:pt x="146" y="16"/>
                      </a:lnTo>
                      <a:lnTo>
                        <a:pt x="146" y="16"/>
                      </a:lnTo>
                      <a:lnTo>
                        <a:pt x="139" y="18"/>
                      </a:lnTo>
                      <a:lnTo>
                        <a:pt x="134" y="16"/>
                      </a:lnTo>
                      <a:lnTo>
                        <a:pt x="129" y="16"/>
                      </a:lnTo>
                      <a:lnTo>
                        <a:pt x="118" y="14"/>
                      </a:lnTo>
                      <a:lnTo>
                        <a:pt x="118" y="14"/>
                      </a:lnTo>
                      <a:lnTo>
                        <a:pt x="115" y="14"/>
                      </a:lnTo>
                      <a:lnTo>
                        <a:pt x="111" y="14"/>
                      </a:lnTo>
                      <a:lnTo>
                        <a:pt x="106" y="11"/>
                      </a:lnTo>
                      <a:lnTo>
                        <a:pt x="103" y="9"/>
                      </a:lnTo>
                      <a:lnTo>
                        <a:pt x="101" y="9"/>
                      </a:lnTo>
                      <a:lnTo>
                        <a:pt x="99" y="11"/>
                      </a:lnTo>
                      <a:lnTo>
                        <a:pt x="99" y="11"/>
                      </a:lnTo>
                      <a:lnTo>
                        <a:pt x="96" y="14"/>
                      </a:lnTo>
                      <a:lnTo>
                        <a:pt x="96" y="14"/>
                      </a:lnTo>
                      <a:lnTo>
                        <a:pt x="94" y="14"/>
                      </a:lnTo>
                      <a:lnTo>
                        <a:pt x="92" y="16"/>
                      </a:lnTo>
                      <a:lnTo>
                        <a:pt x="92"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3" name="Freeform 1772">
                  <a:extLst>
                    <a:ext uri="{FF2B5EF4-FFF2-40B4-BE49-F238E27FC236}">
                      <a16:creationId xmlns:a16="http://schemas.microsoft.com/office/drawing/2014/main" id="{36F6EB73-B828-5B75-941E-69CD5ED850E5}"/>
                    </a:ext>
                  </a:extLst>
                </p:cNvPr>
                <p:cNvSpPr>
                  <a:spLocks/>
                </p:cNvSpPr>
                <p:nvPr/>
              </p:nvSpPr>
              <p:spPr bwMode="auto">
                <a:xfrm>
                  <a:off x="5371682" y="2441422"/>
                  <a:ext cx="269586" cy="207916"/>
                </a:xfrm>
                <a:custGeom>
                  <a:avLst/>
                  <a:gdLst/>
                  <a:ahLst/>
                  <a:cxnLst>
                    <a:cxn ang="0">
                      <a:pos x="286" y="216"/>
                    </a:cxn>
                    <a:cxn ang="0">
                      <a:pos x="265" y="233"/>
                    </a:cxn>
                    <a:cxn ang="0">
                      <a:pos x="263" y="256"/>
                    </a:cxn>
                    <a:cxn ang="0">
                      <a:pos x="251" y="252"/>
                    </a:cxn>
                    <a:cxn ang="0">
                      <a:pos x="230" y="250"/>
                    </a:cxn>
                    <a:cxn ang="0">
                      <a:pos x="218" y="252"/>
                    </a:cxn>
                    <a:cxn ang="0">
                      <a:pos x="209" y="240"/>
                    </a:cxn>
                    <a:cxn ang="0">
                      <a:pos x="194" y="249"/>
                    </a:cxn>
                    <a:cxn ang="0">
                      <a:pos x="178" y="240"/>
                    </a:cxn>
                    <a:cxn ang="0">
                      <a:pos x="145" y="237"/>
                    </a:cxn>
                    <a:cxn ang="0">
                      <a:pos x="129" y="233"/>
                    </a:cxn>
                    <a:cxn ang="0">
                      <a:pos x="94" y="223"/>
                    </a:cxn>
                    <a:cxn ang="0">
                      <a:pos x="54" y="226"/>
                    </a:cxn>
                    <a:cxn ang="0">
                      <a:pos x="35" y="240"/>
                    </a:cxn>
                    <a:cxn ang="0">
                      <a:pos x="25" y="240"/>
                    </a:cxn>
                    <a:cxn ang="0">
                      <a:pos x="16" y="242"/>
                    </a:cxn>
                    <a:cxn ang="0">
                      <a:pos x="18" y="216"/>
                    </a:cxn>
                    <a:cxn ang="0">
                      <a:pos x="2" y="207"/>
                    </a:cxn>
                    <a:cxn ang="0">
                      <a:pos x="12" y="193"/>
                    </a:cxn>
                    <a:cxn ang="0">
                      <a:pos x="30" y="179"/>
                    </a:cxn>
                    <a:cxn ang="0">
                      <a:pos x="14" y="116"/>
                    </a:cxn>
                    <a:cxn ang="0">
                      <a:pos x="40" y="118"/>
                    </a:cxn>
                    <a:cxn ang="0">
                      <a:pos x="66" y="106"/>
                    </a:cxn>
                    <a:cxn ang="0">
                      <a:pos x="82" y="99"/>
                    </a:cxn>
                    <a:cxn ang="0">
                      <a:pos x="93" y="106"/>
                    </a:cxn>
                    <a:cxn ang="0">
                      <a:pos x="93" y="95"/>
                    </a:cxn>
                    <a:cxn ang="0">
                      <a:pos x="93" y="76"/>
                    </a:cxn>
                    <a:cxn ang="0">
                      <a:pos x="110" y="59"/>
                    </a:cxn>
                    <a:cxn ang="0">
                      <a:pos x="126" y="50"/>
                    </a:cxn>
                    <a:cxn ang="0">
                      <a:pos x="122" y="43"/>
                    </a:cxn>
                    <a:cxn ang="0">
                      <a:pos x="124" y="26"/>
                    </a:cxn>
                    <a:cxn ang="0">
                      <a:pos x="141" y="17"/>
                    </a:cxn>
                    <a:cxn ang="0">
                      <a:pos x="159" y="14"/>
                    </a:cxn>
                    <a:cxn ang="0">
                      <a:pos x="178" y="0"/>
                    </a:cxn>
                    <a:cxn ang="0">
                      <a:pos x="192" y="3"/>
                    </a:cxn>
                    <a:cxn ang="0">
                      <a:pos x="202" y="8"/>
                    </a:cxn>
                    <a:cxn ang="0">
                      <a:pos x="220" y="8"/>
                    </a:cxn>
                    <a:cxn ang="0">
                      <a:pos x="223" y="22"/>
                    </a:cxn>
                    <a:cxn ang="0">
                      <a:pos x="242" y="15"/>
                    </a:cxn>
                    <a:cxn ang="0">
                      <a:pos x="263" y="22"/>
                    </a:cxn>
                    <a:cxn ang="0">
                      <a:pos x="275" y="28"/>
                    </a:cxn>
                    <a:cxn ang="0">
                      <a:pos x="274" y="38"/>
                    </a:cxn>
                    <a:cxn ang="0">
                      <a:pos x="279" y="55"/>
                    </a:cxn>
                    <a:cxn ang="0">
                      <a:pos x="275" y="64"/>
                    </a:cxn>
                    <a:cxn ang="0">
                      <a:pos x="274" y="73"/>
                    </a:cxn>
                    <a:cxn ang="0">
                      <a:pos x="284" y="89"/>
                    </a:cxn>
                    <a:cxn ang="0">
                      <a:pos x="300" y="109"/>
                    </a:cxn>
                    <a:cxn ang="0">
                      <a:pos x="307" y="118"/>
                    </a:cxn>
                    <a:cxn ang="0">
                      <a:pos x="314" y="127"/>
                    </a:cxn>
                    <a:cxn ang="0">
                      <a:pos x="328" y="134"/>
                    </a:cxn>
                    <a:cxn ang="0">
                      <a:pos x="338" y="142"/>
                    </a:cxn>
                    <a:cxn ang="0">
                      <a:pos x="333" y="151"/>
                    </a:cxn>
                    <a:cxn ang="0">
                      <a:pos x="314" y="163"/>
                    </a:cxn>
                    <a:cxn ang="0">
                      <a:pos x="300" y="156"/>
                    </a:cxn>
                    <a:cxn ang="0">
                      <a:pos x="289" y="163"/>
                    </a:cxn>
                    <a:cxn ang="0">
                      <a:pos x="293" y="174"/>
                    </a:cxn>
                    <a:cxn ang="0">
                      <a:pos x="298" y="191"/>
                    </a:cxn>
                    <a:cxn ang="0">
                      <a:pos x="303" y="214"/>
                    </a:cxn>
                  </a:cxnLst>
                  <a:rect l="0" t="0" r="r" b="b"/>
                  <a:pathLst>
                    <a:path w="338" h="261">
                      <a:moveTo>
                        <a:pt x="303" y="214"/>
                      </a:moveTo>
                      <a:lnTo>
                        <a:pt x="303" y="214"/>
                      </a:lnTo>
                      <a:lnTo>
                        <a:pt x="295" y="214"/>
                      </a:lnTo>
                      <a:lnTo>
                        <a:pt x="286" y="216"/>
                      </a:lnTo>
                      <a:lnTo>
                        <a:pt x="279" y="219"/>
                      </a:lnTo>
                      <a:lnTo>
                        <a:pt x="274" y="223"/>
                      </a:lnTo>
                      <a:lnTo>
                        <a:pt x="268" y="226"/>
                      </a:lnTo>
                      <a:lnTo>
                        <a:pt x="265" y="233"/>
                      </a:lnTo>
                      <a:lnTo>
                        <a:pt x="263" y="238"/>
                      </a:lnTo>
                      <a:lnTo>
                        <a:pt x="263" y="245"/>
                      </a:lnTo>
                      <a:lnTo>
                        <a:pt x="263" y="245"/>
                      </a:lnTo>
                      <a:lnTo>
                        <a:pt x="263" y="256"/>
                      </a:lnTo>
                      <a:lnTo>
                        <a:pt x="261" y="261"/>
                      </a:lnTo>
                      <a:lnTo>
                        <a:pt x="260" y="261"/>
                      </a:lnTo>
                      <a:lnTo>
                        <a:pt x="258" y="259"/>
                      </a:lnTo>
                      <a:lnTo>
                        <a:pt x="251" y="252"/>
                      </a:lnTo>
                      <a:lnTo>
                        <a:pt x="251" y="252"/>
                      </a:lnTo>
                      <a:lnTo>
                        <a:pt x="247" y="250"/>
                      </a:lnTo>
                      <a:lnTo>
                        <a:pt x="239" y="249"/>
                      </a:lnTo>
                      <a:lnTo>
                        <a:pt x="230" y="250"/>
                      </a:lnTo>
                      <a:lnTo>
                        <a:pt x="223" y="252"/>
                      </a:lnTo>
                      <a:lnTo>
                        <a:pt x="223" y="252"/>
                      </a:lnTo>
                      <a:lnTo>
                        <a:pt x="220" y="254"/>
                      </a:lnTo>
                      <a:lnTo>
                        <a:pt x="218" y="252"/>
                      </a:lnTo>
                      <a:lnTo>
                        <a:pt x="216" y="245"/>
                      </a:lnTo>
                      <a:lnTo>
                        <a:pt x="214" y="242"/>
                      </a:lnTo>
                      <a:lnTo>
                        <a:pt x="213" y="240"/>
                      </a:lnTo>
                      <a:lnTo>
                        <a:pt x="209" y="240"/>
                      </a:lnTo>
                      <a:lnTo>
                        <a:pt x="202" y="243"/>
                      </a:lnTo>
                      <a:lnTo>
                        <a:pt x="202" y="243"/>
                      </a:lnTo>
                      <a:lnTo>
                        <a:pt x="195" y="249"/>
                      </a:lnTo>
                      <a:lnTo>
                        <a:pt x="194" y="249"/>
                      </a:lnTo>
                      <a:lnTo>
                        <a:pt x="194" y="247"/>
                      </a:lnTo>
                      <a:lnTo>
                        <a:pt x="192" y="245"/>
                      </a:lnTo>
                      <a:lnTo>
                        <a:pt x="187" y="242"/>
                      </a:lnTo>
                      <a:lnTo>
                        <a:pt x="178" y="240"/>
                      </a:lnTo>
                      <a:lnTo>
                        <a:pt x="166" y="240"/>
                      </a:lnTo>
                      <a:lnTo>
                        <a:pt x="166" y="240"/>
                      </a:lnTo>
                      <a:lnTo>
                        <a:pt x="150" y="240"/>
                      </a:lnTo>
                      <a:lnTo>
                        <a:pt x="145" y="237"/>
                      </a:lnTo>
                      <a:lnTo>
                        <a:pt x="141" y="235"/>
                      </a:lnTo>
                      <a:lnTo>
                        <a:pt x="134" y="233"/>
                      </a:lnTo>
                      <a:lnTo>
                        <a:pt x="134" y="233"/>
                      </a:lnTo>
                      <a:lnTo>
                        <a:pt x="129" y="233"/>
                      </a:lnTo>
                      <a:lnTo>
                        <a:pt x="124" y="231"/>
                      </a:lnTo>
                      <a:lnTo>
                        <a:pt x="112" y="228"/>
                      </a:lnTo>
                      <a:lnTo>
                        <a:pt x="103" y="224"/>
                      </a:lnTo>
                      <a:lnTo>
                        <a:pt x="94" y="223"/>
                      </a:lnTo>
                      <a:lnTo>
                        <a:pt x="82" y="223"/>
                      </a:lnTo>
                      <a:lnTo>
                        <a:pt x="66" y="223"/>
                      </a:lnTo>
                      <a:lnTo>
                        <a:pt x="66" y="223"/>
                      </a:lnTo>
                      <a:lnTo>
                        <a:pt x="54" y="226"/>
                      </a:lnTo>
                      <a:lnTo>
                        <a:pt x="46" y="228"/>
                      </a:lnTo>
                      <a:lnTo>
                        <a:pt x="40" y="231"/>
                      </a:lnTo>
                      <a:lnTo>
                        <a:pt x="37" y="235"/>
                      </a:lnTo>
                      <a:lnTo>
                        <a:pt x="35" y="240"/>
                      </a:lnTo>
                      <a:lnTo>
                        <a:pt x="33" y="242"/>
                      </a:lnTo>
                      <a:lnTo>
                        <a:pt x="30" y="240"/>
                      </a:lnTo>
                      <a:lnTo>
                        <a:pt x="30" y="240"/>
                      </a:lnTo>
                      <a:lnTo>
                        <a:pt x="25" y="240"/>
                      </a:lnTo>
                      <a:lnTo>
                        <a:pt x="21" y="242"/>
                      </a:lnTo>
                      <a:lnTo>
                        <a:pt x="18" y="247"/>
                      </a:lnTo>
                      <a:lnTo>
                        <a:pt x="18" y="247"/>
                      </a:lnTo>
                      <a:lnTo>
                        <a:pt x="16" y="242"/>
                      </a:lnTo>
                      <a:lnTo>
                        <a:pt x="16" y="237"/>
                      </a:lnTo>
                      <a:lnTo>
                        <a:pt x="18" y="226"/>
                      </a:lnTo>
                      <a:lnTo>
                        <a:pt x="18" y="221"/>
                      </a:lnTo>
                      <a:lnTo>
                        <a:pt x="18" y="216"/>
                      </a:lnTo>
                      <a:lnTo>
                        <a:pt x="14" y="212"/>
                      </a:lnTo>
                      <a:lnTo>
                        <a:pt x="7" y="210"/>
                      </a:lnTo>
                      <a:lnTo>
                        <a:pt x="7" y="210"/>
                      </a:lnTo>
                      <a:lnTo>
                        <a:pt x="2" y="207"/>
                      </a:lnTo>
                      <a:lnTo>
                        <a:pt x="0" y="205"/>
                      </a:lnTo>
                      <a:lnTo>
                        <a:pt x="2" y="202"/>
                      </a:lnTo>
                      <a:lnTo>
                        <a:pt x="4" y="200"/>
                      </a:lnTo>
                      <a:lnTo>
                        <a:pt x="12" y="193"/>
                      </a:lnTo>
                      <a:lnTo>
                        <a:pt x="25" y="188"/>
                      </a:lnTo>
                      <a:lnTo>
                        <a:pt x="25" y="188"/>
                      </a:lnTo>
                      <a:lnTo>
                        <a:pt x="28" y="184"/>
                      </a:lnTo>
                      <a:lnTo>
                        <a:pt x="30" y="179"/>
                      </a:lnTo>
                      <a:lnTo>
                        <a:pt x="30" y="172"/>
                      </a:lnTo>
                      <a:lnTo>
                        <a:pt x="28" y="163"/>
                      </a:lnTo>
                      <a:lnTo>
                        <a:pt x="23" y="142"/>
                      </a:lnTo>
                      <a:lnTo>
                        <a:pt x="14" y="116"/>
                      </a:lnTo>
                      <a:lnTo>
                        <a:pt x="14" y="116"/>
                      </a:lnTo>
                      <a:lnTo>
                        <a:pt x="23" y="116"/>
                      </a:lnTo>
                      <a:lnTo>
                        <a:pt x="30" y="116"/>
                      </a:lnTo>
                      <a:lnTo>
                        <a:pt x="40" y="118"/>
                      </a:lnTo>
                      <a:lnTo>
                        <a:pt x="46" y="118"/>
                      </a:lnTo>
                      <a:lnTo>
                        <a:pt x="51" y="116"/>
                      </a:lnTo>
                      <a:lnTo>
                        <a:pt x="58" y="113"/>
                      </a:lnTo>
                      <a:lnTo>
                        <a:pt x="66" y="106"/>
                      </a:lnTo>
                      <a:lnTo>
                        <a:pt x="66" y="106"/>
                      </a:lnTo>
                      <a:lnTo>
                        <a:pt x="73" y="101"/>
                      </a:lnTo>
                      <a:lnTo>
                        <a:pt x="79" y="99"/>
                      </a:lnTo>
                      <a:lnTo>
                        <a:pt x="82" y="99"/>
                      </a:lnTo>
                      <a:lnTo>
                        <a:pt x="84" y="101"/>
                      </a:lnTo>
                      <a:lnTo>
                        <a:pt x="87" y="106"/>
                      </a:lnTo>
                      <a:lnTo>
                        <a:pt x="89" y="108"/>
                      </a:lnTo>
                      <a:lnTo>
                        <a:pt x="93" y="106"/>
                      </a:lnTo>
                      <a:lnTo>
                        <a:pt x="93" y="106"/>
                      </a:lnTo>
                      <a:lnTo>
                        <a:pt x="96" y="102"/>
                      </a:lnTo>
                      <a:lnTo>
                        <a:pt x="96" y="101"/>
                      </a:lnTo>
                      <a:lnTo>
                        <a:pt x="93" y="95"/>
                      </a:lnTo>
                      <a:lnTo>
                        <a:pt x="91" y="92"/>
                      </a:lnTo>
                      <a:lnTo>
                        <a:pt x="89" y="89"/>
                      </a:lnTo>
                      <a:lnTo>
                        <a:pt x="89" y="83"/>
                      </a:lnTo>
                      <a:lnTo>
                        <a:pt x="93" y="76"/>
                      </a:lnTo>
                      <a:lnTo>
                        <a:pt x="93" y="76"/>
                      </a:lnTo>
                      <a:lnTo>
                        <a:pt x="99" y="68"/>
                      </a:lnTo>
                      <a:lnTo>
                        <a:pt x="105" y="62"/>
                      </a:lnTo>
                      <a:lnTo>
                        <a:pt x="110" y="59"/>
                      </a:lnTo>
                      <a:lnTo>
                        <a:pt x="113" y="59"/>
                      </a:lnTo>
                      <a:lnTo>
                        <a:pt x="120" y="55"/>
                      </a:lnTo>
                      <a:lnTo>
                        <a:pt x="124" y="54"/>
                      </a:lnTo>
                      <a:lnTo>
                        <a:pt x="126" y="50"/>
                      </a:lnTo>
                      <a:lnTo>
                        <a:pt x="126" y="50"/>
                      </a:lnTo>
                      <a:lnTo>
                        <a:pt x="127" y="47"/>
                      </a:lnTo>
                      <a:lnTo>
                        <a:pt x="127" y="43"/>
                      </a:lnTo>
                      <a:lnTo>
                        <a:pt x="122" y="43"/>
                      </a:lnTo>
                      <a:lnTo>
                        <a:pt x="120" y="42"/>
                      </a:lnTo>
                      <a:lnTo>
                        <a:pt x="120" y="40"/>
                      </a:lnTo>
                      <a:lnTo>
                        <a:pt x="120" y="35"/>
                      </a:lnTo>
                      <a:lnTo>
                        <a:pt x="124" y="26"/>
                      </a:lnTo>
                      <a:lnTo>
                        <a:pt x="124" y="26"/>
                      </a:lnTo>
                      <a:lnTo>
                        <a:pt x="131" y="21"/>
                      </a:lnTo>
                      <a:lnTo>
                        <a:pt x="136" y="17"/>
                      </a:lnTo>
                      <a:lnTo>
                        <a:pt x="141" y="17"/>
                      </a:lnTo>
                      <a:lnTo>
                        <a:pt x="147" y="17"/>
                      </a:lnTo>
                      <a:lnTo>
                        <a:pt x="153" y="17"/>
                      </a:lnTo>
                      <a:lnTo>
                        <a:pt x="157" y="17"/>
                      </a:lnTo>
                      <a:lnTo>
                        <a:pt x="159" y="14"/>
                      </a:lnTo>
                      <a:lnTo>
                        <a:pt x="159" y="14"/>
                      </a:lnTo>
                      <a:lnTo>
                        <a:pt x="166" y="5"/>
                      </a:lnTo>
                      <a:lnTo>
                        <a:pt x="171" y="1"/>
                      </a:lnTo>
                      <a:lnTo>
                        <a:pt x="178" y="0"/>
                      </a:lnTo>
                      <a:lnTo>
                        <a:pt x="178" y="0"/>
                      </a:lnTo>
                      <a:lnTo>
                        <a:pt x="185" y="0"/>
                      </a:lnTo>
                      <a:lnTo>
                        <a:pt x="190" y="0"/>
                      </a:lnTo>
                      <a:lnTo>
                        <a:pt x="192" y="3"/>
                      </a:lnTo>
                      <a:lnTo>
                        <a:pt x="195" y="5"/>
                      </a:lnTo>
                      <a:lnTo>
                        <a:pt x="197" y="7"/>
                      </a:lnTo>
                      <a:lnTo>
                        <a:pt x="199" y="8"/>
                      </a:lnTo>
                      <a:lnTo>
                        <a:pt x="202" y="8"/>
                      </a:lnTo>
                      <a:lnTo>
                        <a:pt x="209" y="7"/>
                      </a:lnTo>
                      <a:lnTo>
                        <a:pt x="209" y="7"/>
                      </a:lnTo>
                      <a:lnTo>
                        <a:pt x="216" y="7"/>
                      </a:lnTo>
                      <a:lnTo>
                        <a:pt x="220" y="8"/>
                      </a:lnTo>
                      <a:lnTo>
                        <a:pt x="221" y="12"/>
                      </a:lnTo>
                      <a:lnTo>
                        <a:pt x="221" y="15"/>
                      </a:lnTo>
                      <a:lnTo>
                        <a:pt x="221" y="19"/>
                      </a:lnTo>
                      <a:lnTo>
                        <a:pt x="223" y="22"/>
                      </a:lnTo>
                      <a:lnTo>
                        <a:pt x="225" y="22"/>
                      </a:lnTo>
                      <a:lnTo>
                        <a:pt x="230" y="21"/>
                      </a:lnTo>
                      <a:lnTo>
                        <a:pt x="230" y="21"/>
                      </a:lnTo>
                      <a:lnTo>
                        <a:pt x="242" y="15"/>
                      </a:lnTo>
                      <a:lnTo>
                        <a:pt x="251" y="15"/>
                      </a:lnTo>
                      <a:lnTo>
                        <a:pt x="258" y="17"/>
                      </a:lnTo>
                      <a:lnTo>
                        <a:pt x="263" y="22"/>
                      </a:lnTo>
                      <a:lnTo>
                        <a:pt x="263" y="22"/>
                      </a:lnTo>
                      <a:lnTo>
                        <a:pt x="265" y="24"/>
                      </a:lnTo>
                      <a:lnTo>
                        <a:pt x="268" y="26"/>
                      </a:lnTo>
                      <a:lnTo>
                        <a:pt x="274" y="28"/>
                      </a:lnTo>
                      <a:lnTo>
                        <a:pt x="275" y="28"/>
                      </a:lnTo>
                      <a:lnTo>
                        <a:pt x="275" y="29"/>
                      </a:lnTo>
                      <a:lnTo>
                        <a:pt x="275" y="33"/>
                      </a:lnTo>
                      <a:lnTo>
                        <a:pt x="274" y="38"/>
                      </a:lnTo>
                      <a:lnTo>
                        <a:pt x="274" y="38"/>
                      </a:lnTo>
                      <a:lnTo>
                        <a:pt x="274" y="43"/>
                      </a:lnTo>
                      <a:lnTo>
                        <a:pt x="274" y="47"/>
                      </a:lnTo>
                      <a:lnTo>
                        <a:pt x="277" y="54"/>
                      </a:lnTo>
                      <a:lnTo>
                        <a:pt x="279" y="55"/>
                      </a:lnTo>
                      <a:lnTo>
                        <a:pt x="279" y="57"/>
                      </a:lnTo>
                      <a:lnTo>
                        <a:pt x="279" y="61"/>
                      </a:lnTo>
                      <a:lnTo>
                        <a:pt x="275" y="64"/>
                      </a:lnTo>
                      <a:lnTo>
                        <a:pt x="275" y="64"/>
                      </a:lnTo>
                      <a:lnTo>
                        <a:pt x="272" y="66"/>
                      </a:lnTo>
                      <a:lnTo>
                        <a:pt x="270" y="69"/>
                      </a:lnTo>
                      <a:lnTo>
                        <a:pt x="270" y="71"/>
                      </a:lnTo>
                      <a:lnTo>
                        <a:pt x="274" y="73"/>
                      </a:lnTo>
                      <a:lnTo>
                        <a:pt x="279" y="78"/>
                      </a:lnTo>
                      <a:lnTo>
                        <a:pt x="282" y="82"/>
                      </a:lnTo>
                      <a:lnTo>
                        <a:pt x="284" y="89"/>
                      </a:lnTo>
                      <a:lnTo>
                        <a:pt x="284" y="89"/>
                      </a:lnTo>
                      <a:lnTo>
                        <a:pt x="286" y="97"/>
                      </a:lnTo>
                      <a:lnTo>
                        <a:pt x="291" y="102"/>
                      </a:lnTo>
                      <a:lnTo>
                        <a:pt x="295" y="106"/>
                      </a:lnTo>
                      <a:lnTo>
                        <a:pt x="300" y="109"/>
                      </a:lnTo>
                      <a:lnTo>
                        <a:pt x="307" y="113"/>
                      </a:lnTo>
                      <a:lnTo>
                        <a:pt x="308" y="115"/>
                      </a:lnTo>
                      <a:lnTo>
                        <a:pt x="307" y="118"/>
                      </a:lnTo>
                      <a:lnTo>
                        <a:pt x="307" y="118"/>
                      </a:lnTo>
                      <a:lnTo>
                        <a:pt x="303" y="123"/>
                      </a:lnTo>
                      <a:lnTo>
                        <a:pt x="305" y="125"/>
                      </a:lnTo>
                      <a:lnTo>
                        <a:pt x="308" y="127"/>
                      </a:lnTo>
                      <a:lnTo>
                        <a:pt x="314" y="127"/>
                      </a:lnTo>
                      <a:lnTo>
                        <a:pt x="322" y="127"/>
                      </a:lnTo>
                      <a:lnTo>
                        <a:pt x="326" y="129"/>
                      </a:lnTo>
                      <a:lnTo>
                        <a:pt x="328" y="134"/>
                      </a:lnTo>
                      <a:lnTo>
                        <a:pt x="328" y="134"/>
                      </a:lnTo>
                      <a:lnTo>
                        <a:pt x="329" y="136"/>
                      </a:lnTo>
                      <a:lnTo>
                        <a:pt x="331" y="139"/>
                      </a:lnTo>
                      <a:lnTo>
                        <a:pt x="336" y="142"/>
                      </a:lnTo>
                      <a:lnTo>
                        <a:pt x="338" y="142"/>
                      </a:lnTo>
                      <a:lnTo>
                        <a:pt x="338" y="146"/>
                      </a:lnTo>
                      <a:lnTo>
                        <a:pt x="336" y="148"/>
                      </a:lnTo>
                      <a:lnTo>
                        <a:pt x="333" y="151"/>
                      </a:lnTo>
                      <a:lnTo>
                        <a:pt x="333" y="151"/>
                      </a:lnTo>
                      <a:lnTo>
                        <a:pt x="326" y="156"/>
                      </a:lnTo>
                      <a:lnTo>
                        <a:pt x="321" y="162"/>
                      </a:lnTo>
                      <a:lnTo>
                        <a:pt x="317" y="163"/>
                      </a:lnTo>
                      <a:lnTo>
                        <a:pt x="314" y="163"/>
                      </a:lnTo>
                      <a:lnTo>
                        <a:pt x="308" y="162"/>
                      </a:lnTo>
                      <a:lnTo>
                        <a:pt x="303" y="158"/>
                      </a:lnTo>
                      <a:lnTo>
                        <a:pt x="303" y="158"/>
                      </a:lnTo>
                      <a:lnTo>
                        <a:pt x="300" y="156"/>
                      </a:lnTo>
                      <a:lnTo>
                        <a:pt x="295" y="156"/>
                      </a:lnTo>
                      <a:lnTo>
                        <a:pt x="293" y="158"/>
                      </a:lnTo>
                      <a:lnTo>
                        <a:pt x="289" y="160"/>
                      </a:lnTo>
                      <a:lnTo>
                        <a:pt x="289" y="163"/>
                      </a:lnTo>
                      <a:lnTo>
                        <a:pt x="289" y="167"/>
                      </a:lnTo>
                      <a:lnTo>
                        <a:pt x="289" y="170"/>
                      </a:lnTo>
                      <a:lnTo>
                        <a:pt x="293" y="174"/>
                      </a:lnTo>
                      <a:lnTo>
                        <a:pt x="293" y="174"/>
                      </a:lnTo>
                      <a:lnTo>
                        <a:pt x="296" y="179"/>
                      </a:lnTo>
                      <a:lnTo>
                        <a:pt x="300" y="184"/>
                      </a:lnTo>
                      <a:lnTo>
                        <a:pt x="300" y="188"/>
                      </a:lnTo>
                      <a:lnTo>
                        <a:pt x="298" y="191"/>
                      </a:lnTo>
                      <a:lnTo>
                        <a:pt x="298" y="196"/>
                      </a:lnTo>
                      <a:lnTo>
                        <a:pt x="298" y="200"/>
                      </a:lnTo>
                      <a:lnTo>
                        <a:pt x="300" y="207"/>
                      </a:lnTo>
                      <a:lnTo>
                        <a:pt x="303" y="214"/>
                      </a:lnTo>
                      <a:lnTo>
                        <a:pt x="303" y="2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4" name="Freeform 1773">
                  <a:extLst>
                    <a:ext uri="{FF2B5EF4-FFF2-40B4-BE49-F238E27FC236}">
                      <a16:creationId xmlns:a16="http://schemas.microsoft.com/office/drawing/2014/main" id="{92E641ED-ED6C-685B-EE7B-D2A41B0A61A8}"/>
                    </a:ext>
                  </a:extLst>
                </p:cNvPr>
                <p:cNvSpPr>
                  <a:spLocks/>
                </p:cNvSpPr>
                <p:nvPr/>
              </p:nvSpPr>
              <p:spPr bwMode="auto">
                <a:xfrm>
                  <a:off x="5119716" y="2497806"/>
                  <a:ext cx="280158" cy="243156"/>
                </a:xfrm>
                <a:custGeom>
                  <a:avLst/>
                  <a:gdLst/>
                  <a:ahLst/>
                  <a:cxnLst>
                    <a:cxn ang="0">
                      <a:pos x="332" y="181"/>
                    </a:cxn>
                    <a:cxn ang="0">
                      <a:pos x="339" y="199"/>
                    </a:cxn>
                    <a:cxn ang="0">
                      <a:pos x="348" y="215"/>
                    </a:cxn>
                    <a:cxn ang="0">
                      <a:pos x="345" y="218"/>
                    </a:cxn>
                    <a:cxn ang="0">
                      <a:pos x="346" y="232"/>
                    </a:cxn>
                    <a:cxn ang="0">
                      <a:pos x="329" y="241"/>
                    </a:cxn>
                    <a:cxn ang="0">
                      <a:pos x="299" y="275"/>
                    </a:cxn>
                    <a:cxn ang="0">
                      <a:pos x="301" y="291"/>
                    </a:cxn>
                    <a:cxn ang="0">
                      <a:pos x="301" y="300"/>
                    </a:cxn>
                    <a:cxn ang="0">
                      <a:pos x="294" y="303"/>
                    </a:cxn>
                    <a:cxn ang="0">
                      <a:pos x="273" y="291"/>
                    </a:cxn>
                    <a:cxn ang="0">
                      <a:pos x="240" y="286"/>
                    </a:cxn>
                    <a:cxn ang="0">
                      <a:pos x="216" y="288"/>
                    </a:cxn>
                    <a:cxn ang="0">
                      <a:pos x="205" y="296"/>
                    </a:cxn>
                    <a:cxn ang="0">
                      <a:pos x="197" y="295"/>
                    </a:cxn>
                    <a:cxn ang="0">
                      <a:pos x="197" y="284"/>
                    </a:cxn>
                    <a:cxn ang="0">
                      <a:pos x="184" y="277"/>
                    </a:cxn>
                    <a:cxn ang="0">
                      <a:pos x="174" y="286"/>
                    </a:cxn>
                    <a:cxn ang="0">
                      <a:pos x="169" y="284"/>
                    </a:cxn>
                    <a:cxn ang="0">
                      <a:pos x="163" y="281"/>
                    </a:cxn>
                    <a:cxn ang="0">
                      <a:pos x="143" y="255"/>
                    </a:cxn>
                    <a:cxn ang="0">
                      <a:pos x="129" y="255"/>
                    </a:cxn>
                    <a:cxn ang="0">
                      <a:pos x="122" y="244"/>
                    </a:cxn>
                    <a:cxn ang="0">
                      <a:pos x="101" y="235"/>
                    </a:cxn>
                    <a:cxn ang="0">
                      <a:pos x="96" y="237"/>
                    </a:cxn>
                    <a:cxn ang="0">
                      <a:pos x="96" y="248"/>
                    </a:cxn>
                    <a:cxn ang="0">
                      <a:pos x="78" y="241"/>
                    </a:cxn>
                    <a:cxn ang="0">
                      <a:pos x="73" y="228"/>
                    </a:cxn>
                    <a:cxn ang="0">
                      <a:pos x="80" y="223"/>
                    </a:cxn>
                    <a:cxn ang="0">
                      <a:pos x="64" y="220"/>
                    </a:cxn>
                    <a:cxn ang="0">
                      <a:pos x="40" y="209"/>
                    </a:cxn>
                    <a:cxn ang="0">
                      <a:pos x="24" y="208"/>
                    </a:cxn>
                    <a:cxn ang="0">
                      <a:pos x="29" y="183"/>
                    </a:cxn>
                    <a:cxn ang="0">
                      <a:pos x="17" y="169"/>
                    </a:cxn>
                    <a:cxn ang="0">
                      <a:pos x="19" y="154"/>
                    </a:cxn>
                    <a:cxn ang="0">
                      <a:pos x="15" y="138"/>
                    </a:cxn>
                    <a:cxn ang="0">
                      <a:pos x="15" y="127"/>
                    </a:cxn>
                    <a:cxn ang="0">
                      <a:pos x="7" y="114"/>
                    </a:cxn>
                    <a:cxn ang="0">
                      <a:pos x="0" y="100"/>
                    </a:cxn>
                    <a:cxn ang="0">
                      <a:pos x="5" y="72"/>
                    </a:cxn>
                    <a:cxn ang="0">
                      <a:pos x="12" y="65"/>
                    </a:cxn>
                    <a:cxn ang="0">
                      <a:pos x="14" y="58"/>
                    </a:cxn>
                    <a:cxn ang="0">
                      <a:pos x="7" y="56"/>
                    </a:cxn>
                    <a:cxn ang="0">
                      <a:pos x="2" y="49"/>
                    </a:cxn>
                    <a:cxn ang="0">
                      <a:pos x="35" y="40"/>
                    </a:cxn>
                    <a:cxn ang="0">
                      <a:pos x="71" y="30"/>
                    </a:cxn>
                    <a:cxn ang="0">
                      <a:pos x="85" y="16"/>
                    </a:cxn>
                    <a:cxn ang="0">
                      <a:pos x="103" y="9"/>
                    </a:cxn>
                    <a:cxn ang="0">
                      <a:pos x="137" y="0"/>
                    </a:cxn>
                    <a:cxn ang="0">
                      <a:pos x="163" y="11"/>
                    </a:cxn>
                    <a:cxn ang="0">
                      <a:pos x="157" y="11"/>
                    </a:cxn>
                    <a:cxn ang="0">
                      <a:pos x="153" y="18"/>
                    </a:cxn>
                    <a:cxn ang="0">
                      <a:pos x="163" y="26"/>
                    </a:cxn>
                    <a:cxn ang="0">
                      <a:pos x="191" y="20"/>
                    </a:cxn>
                    <a:cxn ang="0">
                      <a:pos x="292" y="26"/>
                    </a:cxn>
                    <a:cxn ang="0">
                      <a:pos x="310" y="26"/>
                    </a:cxn>
                    <a:cxn ang="0">
                      <a:pos x="327" y="44"/>
                    </a:cxn>
                    <a:cxn ang="0">
                      <a:pos x="341" y="94"/>
                    </a:cxn>
                    <a:cxn ang="0">
                      <a:pos x="338" y="119"/>
                    </a:cxn>
                    <a:cxn ang="0">
                      <a:pos x="315" y="133"/>
                    </a:cxn>
                    <a:cxn ang="0">
                      <a:pos x="320" y="141"/>
                    </a:cxn>
                    <a:cxn ang="0">
                      <a:pos x="331" y="155"/>
                    </a:cxn>
                    <a:cxn ang="0">
                      <a:pos x="331" y="176"/>
                    </a:cxn>
                  </a:cxnLst>
                  <a:rect l="0" t="0" r="r" b="b"/>
                  <a:pathLst>
                    <a:path w="350" h="305">
                      <a:moveTo>
                        <a:pt x="331" y="176"/>
                      </a:moveTo>
                      <a:lnTo>
                        <a:pt x="331" y="176"/>
                      </a:lnTo>
                      <a:lnTo>
                        <a:pt x="332" y="180"/>
                      </a:lnTo>
                      <a:lnTo>
                        <a:pt x="332" y="181"/>
                      </a:lnTo>
                      <a:lnTo>
                        <a:pt x="331" y="185"/>
                      </a:lnTo>
                      <a:lnTo>
                        <a:pt x="331" y="188"/>
                      </a:lnTo>
                      <a:lnTo>
                        <a:pt x="332" y="190"/>
                      </a:lnTo>
                      <a:lnTo>
                        <a:pt x="339" y="199"/>
                      </a:lnTo>
                      <a:lnTo>
                        <a:pt x="339" y="199"/>
                      </a:lnTo>
                      <a:lnTo>
                        <a:pt x="348" y="211"/>
                      </a:lnTo>
                      <a:lnTo>
                        <a:pt x="348" y="215"/>
                      </a:lnTo>
                      <a:lnTo>
                        <a:pt x="348" y="215"/>
                      </a:lnTo>
                      <a:lnTo>
                        <a:pt x="343" y="215"/>
                      </a:lnTo>
                      <a:lnTo>
                        <a:pt x="343" y="216"/>
                      </a:lnTo>
                      <a:lnTo>
                        <a:pt x="345" y="218"/>
                      </a:lnTo>
                      <a:lnTo>
                        <a:pt x="345" y="218"/>
                      </a:lnTo>
                      <a:lnTo>
                        <a:pt x="348" y="223"/>
                      </a:lnTo>
                      <a:lnTo>
                        <a:pt x="350" y="228"/>
                      </a:lnTo>
                      <a:lnTo>
                        <a:pt x="348" y="230"/>
                      </a:lnTo>
                      <a:lnTo>
                        <a:pt x="346" y="232"/>
                      </a:lnTo>
                      <a:lnTo>
                        <a:pt x="338" y="235"/>
                      </a:lnTo>
                      <a:lnTo>
                        <a:pt x="338" y="235"/>
                      </a:lnTo>
                      <a:lnTo>
                        <a:pt x="334" y="237"/>
                      </a:lnTo>
                      <a:lnTo>
                        <a:pt x="329" y="241"/>
                      </a:lnTo>
                      <a:lnTo>
                        <a:pt x="320" y="249"/>
                      </a:lnTo>
                      <a:lnTo>
                        <a:pt x="303" y="272"/>
                      </a:lnTo>
                      <a:lnTo>
                        <a:pt x="303" y="272"/>
                      </a:lnTo>
                      <a:lnTo>
                        <a:pt x="299" y="275"/>
                      </a:lnTo>
                      <a:lnTo>
                        <a:pt x="299" y="279"/>
                      </a:lnTo>
                      <a:lnTo>
                        <a:pt x="299" y="284"/>
                      </a:lnTo>
                      <a:lnTo>
                        <a:pt x="301" y="289"/>
                      </a:lnTo>
                      <a:lnTo>
                        <a:pt x="301" y="291"/>
                      </a:lnTo>
                      <a:lnTo>
                        <a:pt x="301" y="295"/>
                      </a:lnTo>
                      <a:lnTo>
                        <a:pt x="301" y="295"/>
                      </a:lnTo>
                      <a:lnTo>
                        <a:pt x="299" y="296"/>
                      </a:lnTo>
                      <a:lnTo>
                        <a:pt x="301" y="300"/>
                      </a:lnTo>
                      <a:lnTo>
                        <a:pt x="305" y="303"/>
                      </a:lnTo>
                      <a:lnTo>
                        <a:pt x="305" y="305"/>
                      </a:lnTo>
                      <a:lnTo>
                        <a:pt x="303" y="305"/>
                      </a:lnTo>
                      <a:lnTo>
                        <a:pt x="294" y="303"/>
                      </a:lnTo>
                      <a:lnTo>
                        <a:pt x="294" y="303"/>
                      </a:lnTo>
                      <a:lnTo>
                        <a:pt x="280" y="298"/>
                      </a:lnTo>
                      <a:lnTo>
                        <a:pt x="275" y="295"/>
                      </a:lnTo>
                      <a:lnTo>
                        <a:pt x="273" y="291"/>
                      </a:lnTo>
                      <a:lnTo>
                        <a:pt x="271" y="289"/>
                      </a:lnTo>
                      <a:lnTo>
                        <a:pt x="271" y="289"/>
                      </a:lnTo>
                      <a:lnTo>
                        <a:pt x="256" y="286"/>
                      </a:lnTo>
                      <a:lnTo>
                        <a:pt x="240" y="286"/>
                      </a:lnTo>
                      <a:lnTo>
                        <a:pt x="219" y="286"/>
                      </a:lnTo>
                      <a:lnTo>
                        <a:pt x="219" y="286"/>
                      </a:lnTo>
                      <a:lnTo>
                        <a:pt x="217" y="286"/>
                      </a:lnTo>
                      <a:lnTo>
                        <a:pt x="216" y="288"/>
                      </a:lnTo>
                      <a:lnTo>
                        <a:pt x="211" y="293"/>
                      </a:lnTo>
                      <a:lnTo>
                        <a:pt x="207" y="296"/>
                      </a:lnTo>
                      <a:lnTo>
                        <a:pt x="207" y="298"/>
                      </a:lnTo>
                      <a:lnTo>
                        <a:pt x="205" y="296"/>
                      </a:lnTo>
                      <a:lnTo>
                        <a:pt x="205" y="296"/>
                      </a:lnTo>
                      <a:lnTo>
                        <a:pt x="202" y="296"/>
                      </a:lnTo>
                      <a:lnTo>
                        <a:pt x="198" y="296"/>
                      </a:lnTo>
                      <a:lnTo>
                        <a:pt x="197" y="295"/>
                      </a:lnTo>
                      <a:lnTo>
                        <a:pt x="197" y="293"/>
                      </a:lnTo>
                      <a:lnTo>
                        <a:pt x="197" y="293"/>
                      </a:lnTo>
                      <a:lnTo>
                        <a:pt x="198" y="288"/>
                      </a:lnTo>
                      <a:lnTo>
                        <a:pt x="197" y="284"/>
                      </a:lnTo>
                      <a:lnTo>
                        <a:pt x="195" y="281"/>
                      </a:lnTo>
                      <a:lnTo>
                        <a:pt x="191" y="279"/>
                      </a:lnTo>
                      <a:lnTo>
                        <a:pt x="188" y="277"/>
                      </a:lnTo>
                      <a:lnTo>
                        <a:pt x="184" y="277"/>
                      </a:lnTo>
                      <a:lnTo>
                        <a:pt x="181" y="279"/>
                      </a:lnTo>
                      <a:lnTo>
                        <a:pt x="179" y="281"/>
                      </a:lnTo>
                      <a:lnTo>
                        <a:pt x="179" y="281"/>
                      </a:lnTo>
                      <a:lnTo>
                        <a:pt x="174" y="286"/>
                      </a:lnTo>
                      <a:lnTo>
                        <a:pt x="170" y="288"/>
                      </a:lnTo>
                      <a:lnTo>
                        <a:pt x="169" y="288"/>
                      </a:lnTo>
                      <a:lnTo>
                        <a:pt x="169" y="284"/>
                      </a:lnTo>
                      <a:lnTo>
                        <a:pt x="169" y="284"/>
                      </a:lnTo>
                      <a:lnTo>
                        <a:pt x="169" y="282"/>
                      </a:lnTo>
                      <a:lnTo>
                        <a:pt x="167" y="281"/>
                      </a:lnTo>
                      <a:lnTo>
                        <a:pt x="163" y="281"/>
                      </a:lnTo>
                      <a:lnTo>
                        <a:pt x="163" y="281"/>
                      </a:lnTo>
                      <a:lnTo>
                        <a:pt x="162" y="274"/>
                      </a:lnTo>
                      <a:lnTo>
                        <a:pt x="158" y="267"/>
                      </a:lnTo>
                      <a:lnTo>
                        <a:pt x="153" y="260"/>
                      </a:lnTo>
                      <a:lnTo>
                        <a:pt x="143" y="255"/>
                      </a:lnTo>
                      <a:lnTo>
                        <a:pt x="143" y="255"/>
                      </a:lnTo>
                      <a:lnTo>
                        <a:pt x="136" y="253"/>
                      </a:lnTo>
                      <a:lnTo>
                        <a:pt x="130" y="255"/>
                      </a:lnTo>
                      <a:lnTo>
                        <a:pt x="129" y="255"/>
                      </a:lnTo>
                      <a:lnTo>
                        <a:pt x="125" y="253"/>
                      </a:lnTo>
                      <a:lnTo>
                        <a:pt x="125" y="253"/>
                      </a:lnTo>
                      <a:lnTo>
                        <a:pt x="122" y="248"/>
                      </a:lnTo>
                      <a:lnTo>
                        <a:pt x="122" y="244"/>
                      </a:lnTo>
                      <a:lnTo>
                        <a:pt x="122" y="242"/>
                      </a:lnTo>
                      <a:lnTo>
                        <a:pt x="116" y="241"/>
                      </a:lnTo>
                      <a:lnTo>
                        <a:pt x="116" y="241"/>
                      </a:lnTo>
                      <a:lnTo>
                        <a:pt x="101" y="235"/>
                      </a:lnTo>
                      <a:lnTo>
                        <a:pt x="96" y="234"/>
                      </a:lnTo>
                      <a:lnTo>
                        <a:pt x="96" y="235"/>
                      </a:lnTo>
                      <a:lnTo>
                        <a:pt x="96" y="237"/>
                      </a:lnTo>
                      <a:lnTo>
                        <a:pt x="96" y="237"/>
                      </a:lnTo>
                      <a:lnTo>
                        <a:pt x="97" y="241"/>
                      </a:lnTo>
                      <a:lnTo>
                        <a:pt x="97" y="242"/>
                      </a:lnTo>
                      <a:lnTo>
                        <a:pt x="97" y="246"/>
                      </a:lnTo>
                      <a:lnTo>
                        <a:pt x="96" y="248"/>
                      </a:lnTo>
                      <a:lnTo>
                        <a:pt x="92" y="249"/>
                      </a:lnTo>
                      <a:lnTo>
                        <a:pt x="89" y="249"/>
                      </a:lnTo>
                      <a:lnTo>
                        <a:pt x="83" y="246"/>
                      </a:lnTo>
                      <a:lnTo>
                        <a:pt x="78" y="241"/>
                      </a:lnTo>
                      <a:lnTo>
                        <a:pt x="78" y="241"/>
                      </a:lnTo>
                      <a:lnTo>
                        <a:pt x="75" y="235"/>
                      </a:lnTo>
                      <a:lnTo>
                        <a:pt x="73" y="232"/>
                      </a:lnTo>
                      <a:lnTo>
                        <a:pt x="73" y="228"/>
                      </a:lnTo>
                      <a:lnTo>
                        <a:pt x="75" y="228"/>
                      </a:lnTo>
                      <a:lnTo>
                        <a:pt x="78" y="227"/>
                      </a:lnTo>
                      <a:lnTo>
                        <a:pt x="80" y="225"/>
                      </a:lnTo>
                      <a:lnTo>
                        <a:pt x="80" y="223"/>
                      </a:lnTo>
                      <a:lnTo>
                        <a:pt x="80" y="223"/>
                      </a:lnTo>
                      <a:lnTo>
                        <a:pt x="76" y="220"/>
                      </a:lnTo>
                      <a:lnTo>
                        <a:pt x="73" y="220"/>
                      </a:lnTo>
                      <a:lnTo>
                        <a:pt x="64" y="220"/>
                      </a:lnTo>
                      <a:lnTo>
                        <a:pt x="52" y="216"/>
                      </a:lnTo>
                      <a:lnTo>
                        <a:pt x="52" y="216"/>
                      </a:lnTo>
                      <a:lnTo>
                        <a:pt x="45" y="211"/>
                      </a:lnTo>
                      <a:lnTo>
                        <a:pt x="40" y="209"/>
                      </a:lnTo>
                      <a:lnTo>
                        <a:pt x="36" y="204"/>
                      </a:lnTo>
                      <a:lnTo>
                        <a:pt x="35" y="202"/>
                      </a:lnTo>
                      <a:lnTo>
                        <a:pt x="33" y="202"/>
                      </a:lnTo>
                      <a:lnTo>
                        <a:pt x="24" y="208"/>
                      </a:lnTo>
                      <a:lnTo>
                        <a:pt x="24" y="208"/>
                      </a:lnTo>
                      <a:lnTo>
                        <a:pt x="28" y="197"/>
                      </a:lnTo>
                      <a:lnTo>
                        <a:pt x="29" y="188"/>
                      </a:lnTo>
                      <a:lnTo>
                        <a:pt x="29" y="183"/>
                      </a:lnTo>
                      <a:lnTo>
                        <a:pt x="28" y="181"/>
                      </a:lnTo>
                      <a:lnTo>
                        <a:pt x="21" y="178"/>
                      </a:lnTo>
                      <a:lnTo>
                        <a:pt x="19" y="174"/>
                      </a:lnTo>
                      <a:lnTo>
                        <a:pt x="17" y="169"/>
                      </a:lnTo>
                      <a:lnTo>
                        <a:pt x="17" y="169"/>
                      </a:lnTo>
                      <a:lnTo>
                        <a:pt x="15" y="164"/>
                      </a:lnTo>
                      <a:lnTo>
                        <a:pt x="17" y="161"/>
                      </a:lnTo>
                      <a:lnTo>
                        <a:pt x="19" y="154"/>
                      </a:lnTo>
                      <a:lnTo>
                        <a:pt x="21" y="152"/>
                      </a:lnTo>
                      <a:lnTo>
                        <a:pt x="21" y="148"/>
                      </a:lnTo>
                      <a:lnTo>
                        <a:pt x="19" y="143"/>
                      </a:lnTo>
                      <a:lnTo>
                        <a:pt x="15" y="138"/>
                      </a:lnTo>
                      <a:lnTo>
                        <a:pt x="15" y="138"/>
                      </a:lnTo>
                      <a:lnTo>
                        <a:pt x="14" y="134"/>
                      </a:lnTo>
                      <a:lnTo>
                        <a:pt x="14" y="131"/>
                      </a:lnTo>
                      <a:lnTo>
                        <a:pt x="15" y="127"/>
                      </a:lnTo>
                      <a:lnTo>
                        <a:pt x="15" y="124"/>
                      </a:lnTo>
                      <a:lnTo>
                        <a:pt x="15" y="122"/>
                      </a:lnTo>
                      <a:lnTo>
                        <a:pt x="12" y="119"/>
                      </a:lnTo>
                      <a:lnTo>
                        <a:pt x="7" y="114"/>
                      </a:lnTo>
                      <a:lnTo>
                        <a:pt x="7" y="114"/>
                      </a:lnTo>
                      <a:lnTo>
                        <a:pt x="2" y="108"/>
                      </a:lnTo>
                      <a:lnTo>
                        <a:pt x="0" y="105"/>
                      </a:lnTo>
                      <a:lnTo>
                        <a:pt x="0" y="100"/>
                      </a:lnTo>
                      <a:lnTo>
                        <a:pt x="2" y="94"/>
                      </a:lnTo>
                      <a:lnTo>
                        <a:pt x="5" y="89"/>
                      </a:lnTo>
                      <a:lnTo>
                        <a:pt x="5" y="80"/>
                      </a:lnTo>
                      <a:lnTo>
                        <a:pt x="5" y="72"/>
                      </a:lnTo>
                      <a:lnTo>
                        <a:pt x="3" y="61"/>
                      </a:lnTo>
                      <a:lnTo>
                        <a:pt x="3" y="61"/>
                      </a:lnTo>
                      <a:lnTo>
                        <a:pt x="9" y="63"/>
                      </a:lnTo>
                      <a:lnTo>
                        <a:pt x="12" y="65"/>
                      </a:lnTo>
                      <a:lnTo>
                        <a:pt x="14" y="65"/>
                      </a:lnTo>
                      <a:lnTo>
                        <a:pt x="14" y="63"/>
                      </a:lnTo>
                      <a:lnTo>
                        <a:pt x="14" y="63"/>
                      </a:lnTo>
                      <a:lnTo>
                        <a:pt x="14" y="58"/>
                      </a:lnTo>
                      <a:lnTo>
                        <a:pt x="12" y="54"/>
                      </a:lnTo>
                      <a:lnTo>
                        <a:pt x="12" y="54"/>
                      </a:lnTo>
                      <a:lnTo>
                        <a:pt x="9" y="54"/>
                      </a:lnTo>
                      <a:lnTo>
                        <a:pt x="7" y="56"/>
                      </a:lnTo>
                      <a:lnTo>
                        <a:pt x="5" y="56"/>
                      </a:lnTo>
                      <a:lnTo>
                        <a:pt x="2" y="53"/>
                      </a:lnTo>
                      <a:lnTo>
                        <a:pt x="2" y="49"/>
                      </a:lnTo>
                      <a:lnTo>
                        <a:pt x="2" y="49"/>
                      </a:lnTo>
                      <a:lnTo>
                        <a:pt x="7" y="49"/>
                      </a:lnTo>
                      <a:lnTo>
                        <a:pt x="12" y="49"/>
                      </a:lnTo>
                      <a:lnTo>
                        <a:pt x="22" y="46"/>
                      </a:lnTo>
                      <a:lnTo>
                        <a:pt x="35" y="40"/>
                      </a:lnTo>
                      <a:lnTo>
                        <a:pt x="52" y="35"/>
                      </a:lnTo>
                      <a:lnTo>
                        <a:pt x="52" y="35"/>
                      </a:lnTo>
                      <a:lnTo>
                        <a:pt x="64" y="32"/>
                      </a:lnTo>
                      <a:lnTo>
                        <a:pt x="71" y="30"/>
                      </a:lnTo>
                      <a:lnTo>
                        <a:pt x="75" y="26"/>
                      </a:lnTo>
                      <a:lnTo>
                        <a:pt x="76" y="23"/>
                      </a:lnTo>
                      <a:lnTo>
                        <a:pt x="80" y="20"/>
                      </a:lnTo>
                      <a:lnTo>
                        <a:pt x="85" y="16"/>
                      </a:lnTo>
                      <a:lnTo>
                        <a:pt x="92" y="14"/>
                      </a:lnTo>
                      <a:lnTo>
                        <a:pt x="92" y="14"/>
                      </a:lnTo>
                      <a:lnTo>
                        <a:pt x="101" y="11"/>
                      </a:lnTo>
                      <a:lnTo>
                        <a:pt x="103" y="9"/>
                      </a:lnTo>
                      <a:lnTo>
                        <a:pt x="108" y="6"/>
                      </a:lnTo>
                      <a:lnTo>
                        <a:pt x="125" y="2"/>
                      </a:lnTo>
                      <a:lnTo>
                        <a:pt x="125" y="2"/>
                      </a:lnTo>
                      <a:lnTo>
                        <a:pt x="137" y="0"/>
                      </a:lnTo>
                      <a:lnTo>
                        <a:pt x="144" y="0"/>
                      </a:lnTo>
                      <a:lnTo>
                        <a:pt x="151" y="4"/>
                      </a:lnTo>
                      <a:lnTo>
                        <a:pt x="163" y="11"/>
                      </a:lnTo>
                      <a:lnTo>
                        <a:pt x="163" y="11"/>
                      </a:lnTo>
                      <a:lnTo>
                        <a:pt x="165" y="13"/>
                      </a:lnTo>
                      <a:lnTo>
                        <a:pt x="165" y="14"/>
                      </a:lnTo>
                      <a:lnTo>
                        <a:pt x="162" y="14"/>
                      </a:lnTo>
                      <a:lnTo>
                        <a:pt x="157" y="11"/>
                      </a:lnTo>
                      <a:lnTo>
                        <a:pt x="157" y="11"/>
                      </a:lnTo>
                      <a:lnTo>
                        <a:pt x="151" y="7"/>
                      </a:lnTo>
                      <a:lnTo>
                        <a:pt x="150" y="7"/>
                      </a:lnTo>
                      <a:lnTo>
                        <a:pt x="153" y="18"/>
                      </a:lnTo>
                      <a:lnTo>
                        <a:pt x="153" y="18"/>
                      </a:lnTo>
                      <a:lnTo>
                        <a:pt x="157" y="21"/>
                      </a:lnTo>
                      <a:lnTo>
                        <a:pt x="160" y="25"/>
                      </a:lnTo>
                      <a:lnTo>
                        <a:pt x="163" y="26"/>
                      </a:lnTo>
                      <a:lnTo>
                        <a:pt x="170" y="26"/>
                      </a:lnTo>
                      <a:lnTo>
                        <a:pt x="181" y="25"/>
                      </a:lnTo>
                      <a:lnTo>
                        <a:pt x="191" y="20"/>
                      </a:lnTo>
                      <a:lnTo>
                        <a:pt x="191" y="20"/>
                      </a:lnTo>
                      <a:lnTo>
                        <a:pt x="224" y="25"/>
                      </a:lnTo>
                      <a:lnTo>
                        <a:pt x="254" y="28"/>
                      </a:lnTo>
                      <a:lnTo>
                        <a:pt x="280" y="28"/>
                      </a:lnTo>
                      <a:lnTo>
                        <a:pt x="292" y="26"/>
                      </a:lnTo>
                      <a:lnTo>
                        <a:pt x="301" y="25"/>
                      </a:lnTo>
                      <a:lnTo>
                        <a:pt x="301" y="25"/>
                      </a:lnTo>
                      <a:lnTo>
                        <a:pt x="305" y="25"/>
                      </a:lnTo>
                      <a:lnTo>
                        <a:pt x="310" y="26"/>
                      </a:lnTo>
                      <a:lnTo>
                        <a:pt x="320" y="32"/>
                      </a:lnTo>
                      <a:lnTo>
                        <a:pt x="324" y="35"/>
                      </a:lnTo>
                      <a:lnTo>
                        <a:pt x="327" y="39"/>
                      </a:lnTo>
                      <a:lnTo>
                        <a:pt x="327" y="44"/>
                      </a:lnTo>
                      <a:lnTo>
                        <a:pt x="327" y="47"/>
                      </a:lnTo>
                      <a:lnTo>
                        <a:pt x="327" y="47"/>
                      </a:lnTo>
                      <a:lnTo>
                        <a:pt x="336" y="73"/>
                      </a:lnTo>
                      <a:lnTo>
                        <a:pt x="341" y="94"/>
                      </a:lnTo>
                      <a:lnTo>
                        <a:pt x="343" y="103"/>
                      </a:lnTo>
                      <a:lnTo>
                        <a:pt x="343" y="110"/>
                      </a:lnTo>
                      <a:lnTo>
                        <a:pt x="341" y="115"/>
                      </a:lnTo>
                      <a:lnTo>
                        <a:pt x="338" y="119"/>
                      </a:lnTo>
                      <a:lnTo>
                        <a:pt x="338" y="119"/>
                      </a:lnTo>
                      <a:lnTo>
                        <a:pt x="325" y="124"/>
                      </a:lnTo>
                      <a:lnTo>
                        <a:pt x="317" y="131"/>
                      </a:lnTo>
                      <a:lnTo>
                        <a:pt x="315" y="133"/>
                      </a:lnTo>
                      <a:lnTo>
                        <a:pt x="313" y="136"/>
                      </a:lnTo>
                      <a:lnTo>
                        <a:pt x="315" y="138"/>
                      </a:lnTo>
                      <a:lnTo>
                        <a:pt x="320" y="141"/>
                      </a:lnTo>
                      <a:lnTo>
                        <a:pt x="320" y="141"/>
                      </a:lnTo>
                      <a:lnTo>
                        <a:pt x="327" y="143"/>
                      </a:lnTo>
                      <a:lnTo>
                        <a:pt x="331" y="147"/>
                      </a:lnTo>
                      <a:lnTo>
                        <a:pt x="331" y="152"/>
                      </a:lnTo>
                      <a:lnTo>
                        <a:pt x="331" y="155"/>
                      </a:lnTo>
                      <a:lnTo>
                        <a:pt x="329" y="166"/>
                      </a:lnTo>
                      <a:lnTo>
                        <a:pt x="329" y="171"/>
                      </a:lnTo>
                      <a:lnTo>
                        <a:pt x="331" y="176"/>
                      </a:lnTo>
                      <a:lnTo>
                        <a:pt x="331" y="17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5" name="Freeform 1774">
                  <a:extLst>
                    <a:ext uri="{FF2B5EF4-FFF2-40B4-BE49-F238E27FC236}">
                      <a16:creationId xmlns:a16="http://schemas.microsoft.com/office/drawing/2014/main" id="{32AFCAEC-72DF-6A92-F440-1502EE683CC3}"/>
                    </a:ext>
                  </a:extLst>
                </p:cNvPr>
                <p:cNvSpPr>
                  <a:spLocks/>
                </p:cNvSpPr>
                <p:nvPr/>
              </p:nvSpPr>
              <p:spPr bwMode="auto">
                <a:xfrm>
                  <a:off x="4585829" y="2656386"/>
                  <a:ext cx="364736" cy="350638"/>
                </a:xfrm>
                <a:custGeom>
                  <a:avLst/>
                  <a:gdLst/>
                  <a:ahLst/>
                  <a:cxnLst>
                    <a:cxn ang="0">
                      <a:pos x="419" y="291"/>
                    </a:cxn>
                    <a:cxn ang="0">
                      <a:pos x="402" y="306"/>
                    </a:cxn>
                    <a:cxn ang="0">
                      <a:pos x="409" y="336"/>
                    </a:cxn>
                    <a:cxn ang="0">
                      <a:pos x="435" y="350"/>
                    </a:cxn>
                    <a:cxn ang="0">
                      <a:pos x="432" y="371"/>
                    </a:cxn>
                    <a:cxn ang="0">
                      <a:pos x="390" y="400"/>
                    </a:cxn>
                    <a:cxn ang="0">
                      <a:pos x="360" y="400"/>
                    </a:cxn>
                    <a:cxn ang="0">
                      <a:pos x="331" y="392"/>
                    </a:cxn>
                    <a:cxn ang="0">
                      <a:pos x="311" y="379"/>
                    </a:cxn>
                    <a:cxn ang="0">
                      <a:pos x="278" y="406"/>
                    </a:cxn>
                    <a:cxn ang="0">
                      <a:pos x="268" y="435"/>
                    </a:cxn>
                    <a:cxn ang="0">
                      <a:pos x="240" y="437"/>
                    </a:cxn>
                    <a:cxn ang="0">
                      <a:pos x="207" y="419"/>
                    </a:cxn>
                    <a:cxn ang="0">
                      <a:pos x="177" y="419"/>
                    </a:cxn>
                    <a:cxn ang="0">
                      <a:pos x="149" y="416"/>
                    </a:cxn>
                    <a:cxn ang="0">
                      <a:pos x="120" y="400"/>
                    </a:cxn>
                    <a:cxn ang="0">
                      <a:pos x="106" y="388"/>
                    </a:cxn>
                    <a:cxn ang="0">
                      <a:pos x="127" y="327"/>
                    </a:cxn>
                    <a:cxn ang="0">
                      <a:pos x="123" y="322"/>
                    </a:cxn>
                    <a:cxn ang="0">
                      <a:pos x="141" y="298"/>
                    </a:cxn>
                    <a:cxn ang="0">
                      <a:pos x="129" y="277"/>
                    </a:cxn>
                    <a:cxn ang="0">
                      <a:pos x="129" y="256"/>
                    </a:cxn>
                    <a:cxn ang="0">
                      <a:pos x="113" y="240"/>
                    </a:cxn>
                    <a:cxn ang="0">
                      <a:pos x="97" y="209"/>
                    </a:cxn>
                    <a:cxn ang="0">
                      <a:pos x="92" y="197"/>
                    </a:cxn>
                    <a:cxn ang="0">
                      <a:pos x="82" y="186"/>
                    </a:cxn>
                    <a:cxn ang="0">
                      <a:pos x="62" y="179"/>
                    </a:cxn>
                    <a:cxn ang="0">
                      <a:pos x="24" y="167"/>
                    </a:cxn>
                    <a:cxn ang="0">
                      <a:pos x="3" y="157"/>
                    </a:cxn>
                    <a:cxn ang="0">
                      <a:pos x="10" y="148"/>
                    </a:cxn>
                    <a:cxn ang="0">
                      <a:pos x="12" y="141"/>
                    </a:cxn>
                    <a:cxn ang="0">
                      <a:pos x="3" y="130"/>
                    </a:cxn>
                    <a:cxn ang="0">
                      <a:pos x="31" y="123"/>
                    </a:cxn>
                    <a:cxn ang="0">
                      <a:pos x="48" y="116"/>
                    </a:cxn>
                    <a:cxn ang="0">
                      <a:pos x="73" y="132"/>
                    </a:cxn>
                    <a:cxn ang="0">
                      <a:pos x="94" y="127"/>
                    </a:cxn>
                    <a:cxn ang="0">
                      <a:pos x="106" y="129"/>
                    </a:cxn>
                    <a:cxn ang="0">
                      <a:pos x="113" y="115"/>
                    </a:cxn>
                    <a:cxn ang="0">
                      <a:pos x="102" y="78"/>
                    </a:cxn>
                    <a:cxn ang="0">
                      <a:pos x="120" y="71"/>
                    </a:cxn>
                    <a:cxn ang="0">
                      <a:pos x="141" y="89"/>
                    </a:cxn>
                    <a:cxn ang="0">
                      <a:pos x="177" y="83"/>
                    </a:cxn>
                    <a:cxn ang="0">
                      <a:pos x="186" y="66"/>
                    </a:cxn>
                    <a:cxn ang="0">
                      <a:pos x="224" y="45"/>
                    </a:cxn>
                    <a:cxn ang="0">
                      <a:pos x="223" y="33"/>
                    </a:cxn>
                    <a:cxn ang="0">
                      <a:pos x="228" y="7"/>
                    </a:cxn>
                    <a:cxn ang="0">
                      <a:pos x="277" y="19"/>
                    </a:cxn>
                    <a:cxn ang="0">
                      <a:pos x="294" y="33"/>
                    </a:cxn>
                    <a:cxn ang="0">
                      <a:pos x="313" y="47"/>
                    </a:cxn>
                    <a:cxn ang="0">
                      <a:pos x="336" y="49"/>
                    </a:cxn>
                    <a:cxn ang="0">
                      <a:pos x="341" y="66"/>
                    </a:cxn>
                    <a:cxn ang="0">
                      <a:pos x="365" y="83"/>
                    </a:cxn>
                    <a:cxn ang="0">
                      <a:pos x="400" y="92"/>
                    </a:cxn>
                    <a:cxn ang="0">
                      <a:pos x="421" y="101"/>
                    </a:cxn>
                    <a:cxn ang="0">
                      <a:pos x="445" y="123"/>
                    </a:cxn>
                    <a:cxn ang="0">
                      <a:pos x="418" y="184"/>
                    </a:cxn>
                    <a:cxn ang="0">
                      <a:pos x="405" y="200"/>
                    </a:cxn>
                    <a:cxn ang="0">
                      <a:pos x="393" y="221"/>
                    </a:cxn>
                    <a:cxn ang="0">
                      <a:pos x="381" y="244"/>
                    </a:cxn>
                    <a:cxn ang="0">
                      <a:pos x="386" y="251"/>
                    </a:cxn>
                    <a:cxn ang="0">
                      <a:pos x="404" y="238"/>
                    </a:cxn>
                    <a:cxn ang="0">
                      <a:pos x="411" y="256"/>
                    </a:cxn>
                  </a:cxnLst>
                  <a:rect l="0" t="0" r="r" b="b"/>
                  <a:pathLst>
                    <a:path w="454" h="439">
                      <a:moveTo>
                        <a:pt x="412" y="263"/>
                      </a:moveTo>
                      <a:lnTo>
                        <a:pt x="412" y="263"/>
                      </a:lnTo>
                      <a:lnTo>
                        <a:pt x="409" y="270"/>
                      </a:lnTo>
                      <a:lnTo>
                        <a:pt x="409" y="275"/>
                      </a:lnTo>
                      <a:lnTo>
                        <a:pt x="411" y="278"/>
                      </a:lnTo>
                      <a:lnTo>
                        <a:pt x="414" y="282"/>
                      </a:lnTo>
                      <a:lnTo>
                        <a:pt x="419" y="287"/>
                      </a:lnTo>
                      <a:lnTo>
                        <a:pt x="419" y="291"/>
                      </a:lnTo>
                      <a:lnTo>
                        <a:pt x="418" y="294"/>
                      </a:lnTo>
                      <a:lnTo>
                        <a:pt x="418" y="294"/>
                      </a:lnTo>
                      <a:lnTo>
                        <a:pt x="414" y="296"/>
                      </a:lnTo>
                      <a:lnTo>
                        <a:pt x="411" y="299"/>
                      </a:lnTo>
                      <a:lnTo>
                        <a:pt x="402" y="301"/>
                      </a:lnTo>
                      <a:lnTo>
                        <a:pt x="400" y="303"/>
                      </a:lnTo>
                      <a:lnTo>
                        <a:pt x="400" y="305"/>
                      </a:lnTo>
                      <a:lnTo>
                        <a:pt x="402" y="306"/>
                      </a:lnTo>
                      <a:lnTo>
                        <a:pt x="407" y="312"/>
                      </a:lnTo>
                      <a:lnTo>
                        <a:pt x="407" y="312"/>
                      </a:lnTo>
                      <a:lnTo>
                        <a:pt x="414" y="315"/>
                      </a:lnTo>
                      <a:lnTo>
                        <a:pt x="416" y="320"/>
                      </a:lnTo>
                      <a:lnTo>
                        <a:pt x="416" y="324"/>
                      </a:lnTo>
                      <a:lnTo>
                        <a:pt x="414" y="325"/>
                      </a:lnTo>
                      <a:lnTo>
                        <a:pt x="411" y="332"/>
                      </a:lnTo>
                      <a:lnTo>
                        <a:pt x="409" y="336"/>
                      </a:lnTo>
                      <a:lnTo>
                        <a:pt x="411" y="341"/>
                      </a:lnTo>
                      <a:lnTo>
                        <a:pt x="411" y="341"/>
                      </a:lnTo>
                      <a:lnTo>
                        <a:pt x="412" y="346"/>
                      </a:lnTo>
                      <a:lnTo>
                        <a:pt x="416" y="350"/>
                      </a:lnTo>
                      <a:lnTo>
                        <a:pt x="421" y="350"/>
                      </a:lnTo>
                      <a:lnTo>
                        <a:pt x="425" y="350"/>
                      </a:lnTo>
                      <a:lnTo>
                        <a:pt x="432" y="350"/>
                      </a:lnTo>
                      <a:lnTo>
                        <a:pt x="435" y="350"/>
                      </a:lnTo>
                      <a:lnTo>
                        <a:pt x="437" y="350"/>
                      </a:lnTo>
                      <a:lnTo>
                        <a:pt x="437" y="350"/>
                      </a:lnTo>
                      <a:lnTo>
                        <a:pt x="438" y="352"/>
                      </a:lnTo>
                      <a:lnTo>
                        <a:pt x="437" y="355"/>
                      </a:lnTo>
                      <a:lnTo>
                        <a:pt x="435" y="360"/>
                      </a:lnTo>
                      <a:lnTo>
                        <a:pt x="432" y="365"/>
                      </a:lnTo>
                      <a:lnTo>
                        <a:pt x="432" y="371"/>
                      </a:lnTo>
                      <a:lnTo>
                        <a:pt x="432" y="371"/>
                      </a:lnTo>
                      <a:lnTo>
                        <a:pt x="414" y="381"/>
                      </a:lnTo>
                      <a:lnTo>
                        <a:pt x="405" y="386"/>
                      </a:lnTo>
                      <a:lnTo>
                        <a:pt x="404" y="388"/>
                      </a:lnTo>
                      <a:lnTo>
                        <a:pt x="404" y="390"/>
                      </a:lnTo>
                      <a:lnTo>
                        <a:pt x="404" y="390"/>
                      </a:lnTo>
                      <a:lnTo>
                        <a:pt x="404" y="393"/>
                      </a:lnTo>
                      <a:lnTo>
                        <a:pt x="400" y="397"/>
                      </a:lnTo>
                      <a:lnTo>
                        <a:pt x="390" y="400"/>
                      </a:lnTo>
                      <a:lnTo>
                        <a:pt x="379" y="402"/>
                      </a:lnTo>
                      <a:lnTo>
                        <a:pt x="374" y="402"/>
                      </a:lnTo>
                      <a:lnTo>
                        <a:pt x="371" y="400"/>
                      </a:lnTo>
                      <a:lnTo>
                        <a:pt x="371" y="400"/>
                      </a:lnTo>
                      <a:lnTo>
                        <a:pt x="369" y="399"/>
                      </a:lnTo>
                      <a:lnTo>
                        <a:pt x="365" y="399"/>
                      </a:lnTo>
                      <a:lnTo>
                        <a:pt x="364" y="400"/>
                      </a:lnTo>
                      <a:lnTo>
                        <a:pt x="360" y="400"/>
                      </a:lnTo>
                      <a:lnTo>
                        <a:pt x="357" y="397"/>
                      </a:lnTo>
                      <a:lnTo>
                        <a:pt x="357" y="397"/>
                      </a:lnTo>
                      <a:lnTo>
                        <a:pt x="353" y="392"/>
                      </a:lnTo>
                      <a:lnTo>
                        <a:pt x="350" y="390"/>
                      </a:lnTo>
                      <a:lnTo>
                        <a:pt x="344" y="388"/>
                      </a:lnTo>
                      <a:lnTo>
                        <a:pt x="336" y="390"/>
                      </a:lnTo>
                      <a:lnTo>
                        <a:pt x="336" y="390"/>
                      </a:lnTo>
                      <a:lnTo>
                        <a:pt x="331" y="392"/>
                      </a:lnTo>
                      <a:lnTo>
                        <a:pt x="329" y="390"/>
                      </a:lnTo>
                      <a:lnTo>
                        <a:pt x="327" y="388"/>
                      </a:lnTo>
                      <a:lnTo>
                        <a:pt x="320" y="388"/>
                      </a:lnTo>
                      <a:lnTo>
                        <a:pt x="320" y="388"/>
                      </a:lnTo>
                      <a:lnTo>
                        <a:pt x="317" y="386"/>
                      </a:lnTo>
                      <a:lnTo>
                        <a:pt x="313" y="385"/>
                      </a:lnTo>
                      <a:lnTo>
                        <a:pt x="311" y="381"/>
                      </a:lnTo>
                      <a:lnTo>
                        <a:pt x="311" y="379"/>
                      </a:lnTo>
                      <a:lnTo>
                        <a:pt x="308" y="381"/>
                      </a:lnTo>
                      <a:lnTo>
                        <a:pt x="297" y="388"/>
                      </a:lnTo>
                      <a:lnTo>
                        <a:pt x="297" y="388"/>
                      </a:lnTo>
                      <a:lnTo>
                        <a:pt x="290" y="392"/>
                      </a:lnTo>
                      <a:lnTo>
                        <a:pt x="283" y="395"/>
                      </a:lnTo>
                      <a:lnTo>
                        <a:pt x="278" y="399"/>
                      </a:lnTo>
                      <a:lnTo>
                        <a:pt x="278" y="402"/>
                      </a:lnTo>
                      <a:lnTo>
                        <a:pt x="278" y="406"/>
                      </a:lnTo>
                      <a:lnTo>
                        <a:pt x="278" y="406"/>
                      </a:lnTo>
                      <a:lnTo>
                        <a:pt x="278" y="414"/>
                      </a:lnTo>
                      <a:lnTo>
                        <a:pt x="277" y="418"/>
                      </a:lnTo>
                      <a:lnTo>
                        <a:pt x="277" y="423"/>
                      </a:lnTo>
                      <a:lnTo>
                        <a:pt x="277" y="433"/>
                      </a:lnTo>
                      <a:lnTo>
                        <a:pt x="277" y="433"/>
                      </a:lnTo>
                      <a:lnTo>
                        <a:pt x="271" y="433"/>
                      </a:lnTo>
                      <a:lnTo>
                        <a:pt x="268" y="435"/>
                      </a:lnTo>
                      <a:lnTo>
                        <a:pt x="264" y="437"/>
                      </a:lnTo>
                      <a:lnTo>
                        <a:pt x="263" y="439"/>
                      </a:lnTo>
                      <a:lnTo>
                        <a:pt x="257" y="437"/>
                      </a:lnTo>
                      <a:lnTo>
                        <a:pt x="257" y="437"/>
                      </a:lnTo>
                      <a:lnTo>
                        <a:pt x="254" y="437"/>
                      </a:lnTo>
                      <a:lnTo>
                        <a:pt x="250" y="435"/>
                      </a:lnTo>
                      <a:lnTo>
                        <a:pt x="247" y="437"/>
                      </a:lnTo>
                      <a:lnTo>
                        <a:pt x="240" y="437"/>
                      </a:lnTo>
                      <a:lnTo>
                        <a:pt x="228" y="432"/>
                      </a:lnTo>
                      <a:lnTo>
                        <a:pt x="228" y="432"/>
                      </a:lnTo>
                      <a:lnTo>
                        <a:pt x="228" y="428"/>
                      </a:lnTo>
                      <a:lnTo>
                        <a:pt x="226" y="426"/>
                      </a:lnTo>
                      <a:lnTo>
                        <a:pt x="223" y="425"/>
                      </a:lnTo>
                      <a:lnTo>
                        <a:pt x="219" y="426"/>
                      </a:lnTo>
                      <a:lnTo>
                        <a:pt x="219" y="426"/>
                      </a:lnTo>
                      <a:lnTo>
                        <a:pt x="207" y="419"/>
                      </a:lnTo>
                      <a:lnTo>
                        <a:pt x="200" y="416"/>
                      </a:lnTo>
                      <a:lnTo>
                        <a:pt x="195" y="414"/>
                      </a:lnTo>
                      <a:lnTo>
                        <a:pt x="193" y="416"/>
                      </a:lnTo>
                      <a:lnTo>
                        <a:pt x="191" y="419"/>
                      </a:lnTo>
                      <a:lnTo>
                        <a:pt x="189" y="421"/>
                      </a:lnTo>
                      <a:lnTo>
                        <a:pt x="186" y="421"/>
                      </a:lnTo>
                      <a:lnTo>
                        <a:pt x="186" y="421"/>
                      </a:lnTo>
                      <a:lnTo>
                        <a:pt x="177" y="419"/>
                      </a:lnTo>
                      <a:lnTo>
                        <a:pt x="172" y="421"/>
                      </a:lnTo>
                      <a:lnTo>
                        <a:pt x="169" y="421"/>
                      </a:lnTo>
                      <a:lnTo>
                        <a:pt x="165" y="419"/>
                      </a:lnTo>
                      <a:lnTo>
                        <a:pt x="165" y="419"/>
                      </a:lnTo>
                      <a:lnTo>
                        <a:pt x="162" y="418"/>
                      </a:lnTo>
                      <a:lnTo>
                        <a:pt x="160" y="416"/>
                      </a:lnTo>
                      <a:lnTo>
                        <a:pt x="155" y="416"/>
                      </a:lnTo>
                      <a:lnTo>
                        <a:pt x="149" y="416"/>
                      </a:lnTo>
                      <a:lnTo>
                        <a:pt x="148" y="416"/>
                      </a:lnTo>
                      <a:lnTo>
                        <a:pt x="146" y="414"/>
                      </a:lnTo>
                      <a:lnTo>
                        <a:pt x="146" y="414"/>
                      </a:lnTo>
                      <a:lnTo>
                        <a:pt x="142" y="409"/>
                      </a:lnTo>
                      <a:lnTo>
                        <a:pt x="139" y="407"/>
                      </a:lnTo>
                      <a:lnTo>
                        <a:pt x="129" y="404"/>
                      </a:lnTo>
                      <a:lnTo>
                        <a:pt x="122" y="402"/>
                      </a:lnTo>
                      <a:lnTo>
                        <a:pt x="120" y="400"/>
                      </a:lnTo>
                      <a:lnTo>
                        <a:pt x="120" y="397"/>
                      </a:lnTo>
                      <a:lnTo>
                        <a:pt x="120" y="397"/>
                      </a:lnTo>
                      <a:lnTo>
                        <a:pt x="120" y="395"/>
                      </a:lnTo>
                      <a:lnTo>
                        <a:pt x="118" y="393"/>
                      </a:lnTo>
                      <a:lnTo>
                        <a:pt x="115" y="392"/>
                      </a:lnTo>
                      <a:lnTo>
                        <a:pt x="111" y="392"/>
                      </a:lnTo>
                      <a:lnTo>
                        <a:pt x="106" y="388"/>
                      </a:lnTo>
                      <a:lnTo>
                        <a:pt x="106" y="388"/>
                      </a:lnTo>
                      <a:lnTo>
                        <a:pt x="111" y="386"/>
                      </a:lnTo>
                      <a:lnTo>
                        <a:pt x="115" y="379"/>
                      </a:lnTo>
                      <a:lnTo>
                        <a:pt x="118" y="369"/>
                      </a:lnTo>
                      <a:lnTo>
                        <a:pt x="122" y="352"/>
                      </a:lnTo>
                      <a:lnTo>
                        <a:pt x="122" y="352"/>
                      </a:lnTo>
                      <a:lnTo>
                        <a:pt x="123" y="329"/>
                      </a:lnTo>
                      <a:lnTo>
                        <a:pt x="125" y="327"/>
                      </a:lnTo>
                      <a:lnTo>
                        <a:pt x="127" y="327"/>
                      </a:lnTo>
                      <a:lnTo>
                        <a:pt x="127" y="327"/>
                      </a:lnTo>
                      <a:lnTo>
                        <a:pt x="129" y="324"/>
                      </a:lnTo>
                      <a:lnTo>
                        <a:pt x="129" y="322"/>
                      </a:lnTo>
                      <a:lnTo>
                        <a:pt x="127" y="320"/>
                      </a:lnTo>
                      <a:lnTo>
                        <a:pt x="125" y="322"/>
                      </a:lnTo>
                      <a:lnTo>
                        <a:pt x="125" y="322"/>
                      </a:lnTo>
                      <a:lnTo>
                        <a:pt x="123" y="324"/>
                      </a:lnTo>
                      <a:lnTo>
                        <a:pt x="123" y="322"/>
                      </a:lnTo>
                      <a:lnTo>
                        <a:pt x="125" y="308"/>
                      </a:lnTo>
                      <a:lnTo>
                        <a:pt x="125" y="308"/>
                      </a:lnTo>
                      <a:lnTo>
                        <a:pt x="129" y="291"/>
                      </a:lnTo>
                      <a:lnTo>
                        <a:pt x="130" y="284"/>
                      </a:lnTo>
                      <a:lnTo>
                        <a:pt x="130" y="284"/>
                      </a:lnTo>
                      <a:lnTo>
                        <a:pt x="134" y="285"/>
                      </a:lnTo>
                      <a:lnTo>
                        <a:pt x="137" y="289"/>
                      </a:lnTo>
                      <a:lnTo>
                        <a:pt x="141" y="298"/>
                      </a:lnTo>
                      <a:lnTo>
                        <a:pt x="142" y="303"/>
                      </a:lnTo>
                      <a:lnTo>
                        <a:pt x="144" y="301"/>
                      </a:lnTo>
                      <a:lnTo>
                        <a:pt x="144" y="301"/>
                      </a:lnTo>
                      <a:lnTo>
                        <a:pt x="142" y="294"/>
                      </a:lnTo>
                      <a:lnTo>
                        <a:pt x="142" y="289"/>
                      </a:lnTo>
                      <a:lnTo>
                        <a:pt x="137" y="284"/>
                      </a:lnTo>
                      <a:lnTo>
                        <a:pt x="129" y="277"/>
                      </a:lnTo>
                      <a:lnTo>
                        <a:pt x="129" y="277"/>
                      </a:lnTo>
                      <a:lnTo>
                        <a:pt x="122" y="273"/>
                      </a:lnTo>
                      <a:lnTo>
                        <a:pt x="122" y="273"/>
                      </a:lnTo>
                      <a:lnTo>
                        <a:pt x="122" y="271"/>
                      </a:lnTo>
                      <a:lnTo>
                        <a:pt x="125" y="270"/>
                      </a:lnTo>
                      <a:lnTo>
                        <a:pt x="127" y="268"/>
                      </a:lnTo>
                      <a:lnTo>
                        <a:pt x="129" y="264"/>
                      </a:lnTo>
                      <a:lnTo>
                        <a:pt x="129" y="264"/>
                      </a:lnTo>
                      <a:lnTo>
                        <a:pt x="129" y="256"/>
                      </a:lnTo>
                      <a:lnTo>
                        <a:pt x="127" y="252"/>
                      </a:lnTo>
                      <a:lnTo>
                        <a:pt x="125" y="251"/>
                      </a:lnTo>
                      <a:lnTo>
                        <a:pt x="127" y="247"/>
                      </a:lnTo>
                      <a:lnTo>
                        <a:pt x="127" y="247"/>
                      </a:lnTo>
                      <a:lnTo>
                        <a:pt x="127" y="245"/>
                      </a:lnTo>
                      <a:lnTo>
                        <a:pt x="125" y="245"/>
                      </a:lnTo>
                      <a:lnTo>
                        <a:pt x="120" y="244"/>
                      </a:lnTo>
                      <a:lnTo>
                        <a:pt x="113" y="240"/>
                      </a:lnTo>
                      <a:lnTo>
                        <a:pt x="113" y="240"/>
                      </a:lnTo>
                      <a:lnTo>
                        <a:pt x="102" y="233"/>
                      </a:lnTo>
                      <a:lnTo>
                        <a:pt x="95" y="224"/>
                      </a:lnTo>
                      <a:lnTo>
                        <a:pt x="92" y="217"/>
                      </a:lnTo>
                      <a:lnTo>
                        <a:pt x="94" y="214"/>
                      </a:lnTo>
                      <a:lnTo>
                        <a:pt x="95" y="212"/>
                      </a:lnTo>
                      <a:lnTo>
                        <a:pt x="95" y="212"/>
                      </a:lnTo>
                      <a:lnTo>
                        <a:pt x="97" y="209"/>
                      </a:lnTo>
                      <a:lnTo>
                        <a:pt x="97" y="207"/>
                      </a:lnTo>
                      <a:lnTo>
                        <a:pt x="95" y="205"/>
                      </a:lnTo>
                      <a:lnTo>
                        <a:pt x="92" y="204"/>
                      </a:lnTo>
                      <a:lnTo>
                        <a:pt x="92" y="204"/>
                      </a:lnTo>
                      <a:lnTo>
                        <a:pt x="90" y="204"/>
                      </a:lnTo>
                      <a:lnTo>
                        <a:pt x="90" y="202"/>
                      </a:lnTo>
                      <a:lnTo>
                        <a:pt x="90" y="200"/>
                      </a:lnTo>
                      <a:lnTo>
                        <a:pt x="92" y="197"/>
                      </a:lnTo>
                      <a:lnTo>
                        <a:pt x="87" y="197"/>
                      </a:lnTo>
                      <a:lnTo>
                        <a:pt x="87" y="197"/>
                      </a:lnTo>
                      <a:lnTo>
                        <a:pt x="80" y="197"/>
                      </a:lnTo>
                      <a:lnTo>
                        <a:pt x="78" y="193"/>
                      </a:lnTo>
                      <a:lnTo>
                        <a:pt x="78" y="191"/>
                      </a:lnTo>
                      <a:lnTo>
                        <a:pt x="82" y="188"/>
                      </a:lnTo>
                      <a:lnTo>
                        <a:pt x="82" y="188"/>
                      </a:lnTo>
                      <a:lnTo>
                        <a:pt x="82" y="186"/>
                      </a:lnTo>
                      <a:lnTo>
                        <a:pt x="80" y="184"/>
                      </a:lnTo>
                      <a:lnTo>
                        <a:pt x="78" y="183"/>
                      </a:lnTo>
                      <a:lnTo>
                        <a:pt x="73" y="184"/>
                      </a:lnTo>
                      <a:lnTo>
                        <a:pt x="73" y="184"/>
                      </a:lnTo>
                      <a:lnTo>
                        <a:pt x="68" y="184"/>
                      </a:lnTo>
                      <a:lnTo>
                        <a:pt x="66" y="181"/>
                      </a:lnTo>
                      <a:lnTo>
                        <a:pt x="66" y="179"/>
                      </a:lnTo>
                      <a:lnTo>
                        <a:pt x="62" y="179"/>
                      </a:lnTo>
                      <a:lnTo>
                        <a:pt x="62" y="179"/>
                      </a:lnTo>
                      <a:lnTo>
                        <a:pt x="57" y="179"/>
                      </a:lnTo>
                      <a:lnTo>
                        <a:pt x="54" y="177"/>
                      </a:lnTo>
                      <a:lnTo>
                        <a:pt x="50" y="174"/>
                      </a:lnTo>
                      <a:lnTo>
                        <a:pt x="43" y="172"/>
                      </a:lnTo>
                      <a:lnTo>
                        <a:pt x="43" y="172"/>
                      </a:lnTo>
                      <a:lnTo>
                        <a:pt x="31" y="167"/>
                      </a:lnTo>
                      <a:lnTo>
                        <a:pt x="24" y="167"/>
                      </a:lnTo>
                      <a:lnTo>
                        <a:pt x="19" y="167"/>
                      </a:lnTo>
                      <a:lnTo>
                        <a:pt x="19" y="167"/>
                      </a:lnTo>
                      <a:lnTo>
                        <a:pt x="15" y="169"/>
                      </a:lnTo>
                      <a:lnTo>
                        <a:pt x="14" y="167"/>
                      </a:lnTo>
                      <a:lnTo>
                        <a:pt x="10" y="164"/>
                      </a:lnTo>
                      <a:lnTo>
                        <a:pt x="5" y="158"/>
                      </a:lnTo>
                      <a:lnTo>
                        <a:pt x="5" y="158"/>
                      </a:lnTo>
                      <a:lnTo>
                        <a:pt x="3" y="157"/>
                      </a:lnTo>
                      <a:lnTo>
                        <a:pt x="3" y="155"/>
                      </a:lnTo>
                      <a:lnTo>
                        <a:pt x="8" y="153"/>
                      </a:lnTo>
                      <a:lnTo>
                        <a:pt x="15" y="153"/>
                      </a:lnTo>
                      <a:lnTo>
                        <a:pt x="17" y="151"/>
                      </a:lnTo>
                      <a:lnTo>
                        <a:pt x="17" y="150"/>
                      </a:lnTo>
                      <a:lnTo>
                        <a:pt x="17" y="150"/>
                      </a:lnTo>
                      <a:lnTo>
                        <a:pt x="14" y="148"/>
                      </a:lnTo>
                      <a:lnTo>
                        <a:pt x="10" y="148"/>
                      </a:lnTo>
                      <a:lnTo>
                        <a:pt x="8" y="148"/>
                      </a:lnTo>
                      <a:lnTo>
                        <a:pt x="7" y="146"/>
                      </a:lnTo>
                      <a:lnTo>
                        <a:pt x="7" y="146"/>
                      </a:lnTo>
                      <a:lnTo>
                        <a:pt x="7" y="144"/>
                      </a:lnTo>
                      <a:lnTo>
                        <a:pt x="7" y="144"/>
                      </a:lnTo>
                      <a:lnTo>
                        <a:pt x="10" y="143"/>
                      </a:lnTo>
                      <a:lnTo>
                        <a:pt x="14" y="143"/>
                      </a:lnTo>
                      <a:lnTo>
                        <a:pt x="12" y="141"/>
                      </a:lnTo>
                      <a:lnTo>
                        <a:pt x="12" y="141"/>
                      </a:lnTo>
                      <a:lnTo>
                        <a:pt x="8" y="141"/>
                      </a:lnTo>
                      <a:lnTo>
                        <a:pt x="5" y="141"/>
                      </a:lnTo>
                      <a:lnTo>
                        <a:pt x="1" y="141"/>
                      </a:lnTo>
                      <a:lnTo>
                        <a:pt x="0" y="139"/>
                      </a:lnTo>
                      <a:lnTo>
                        <a:pt x="0" y="139"/>
                      </a:lnTo>
                      <a:lnTo>
                        <a:pt x="0" y="134"/>
                      </a:lnTo>
                      <a:lnTo>
                        <a:pt x="3" y="130"/>
                      </a:lnTo>
                      <a:lnTo>
                        <a:pt x="8" y="127"/>
                      </a:lnTo>
                      <a:lnTo>
                        <a:pt x="17" y="125"/>
                      </a:lnTo>
                      <a:lnTo>
                        <a:pt x="17" y="125"/>
                      </a:lnTo>
                      <a:lnTo>
                        <a:pt x="24" y="123"/>
                      </a:lnTo>
                      <a:lnTo>
                        <a:pt x="26" y="122"/>
                      </a:lnTo>
                      <a:lnTo>
                        <a:pt x="28" y="122"/>
                      </a:lnTo>
                      <a:lnTo>
                        <a:pt x="31" y="123"/>
                      </a:lnTo>
                      <a:lnTo>
                        <a:pt x="31" y="123"/>
                      </a:lnTo>
                      <a:lnTo>
                        <a:pt x="36" y="125"/>
                      </a:lnTo>
                      <a:lnTo>
                        <a:pt x="40" y="125"/>
                      </a:lnTo>
                      <a:lnTo>
                        <a:pt x="41" y="122"/>
                      </a:lnTo>
                      <a:lnTo>
                        <a:pt x="43" y="120"/>
                      </a:lnTo>
                      <a:lnTo>
                        <a:pt x="43" y="120"/>
                      </a:lnTo>
                      <a:lnTo>
                        <a:pt x="43" y="116"/>
                      </a:lnTo>
                      <a:lnTo>
                        <a:pt x="45" y="116"/>
                      </a:lnTo>
                      <a:lnTo>
                        <a:pt x="48" y="116"/>
                      </a:lnTo>
                      <a:lnTo>
                        <a:pt x="54" y="113"/>
                      </a:lnTo>
                      <a:lnTo>
                        <a:pt x="54" y="113"/>
                      </a:lnTo>
                      <a:lnTo>
                        <a:pt x="57" y="113"/>
                      </a:lnTo>
                      <a:lnTo>
                        <a:pt x="59" y="113"/>
                      </a:lnTo>
                      <a:lnTo>
                        <a:pt x="62" y="116"/>
                      </a:lnTo>
                      <a:lnTo>
                        <a:pt x="69" y="129"/>
                      </a:lnTo>
                      <a:lnTo>
                        <a:pt x="69" y="129"/>
                      </a:lnTo>
                      <a:lnTo>
                        <a:pt x="73" y="132"/>
                      </a:lnTo>
                      <a:lnTo>
                        <a:pt x="76" y="130"/>
                      </a:lnTo>
                      <a:lnTo>
                        <a:pt x="83" y="125"/>
                      </a:lnTo>
                      <a:lnTo>
                        <a:pt x="83" y="125"/>
                      </a:lnTo>
                      <a:lnTo>
                        <a:pt x="87" y="123"/>
                      </a:lnTo>
                      <a:lnTo>
                        <a:pt x="88" y="125"/>
                      </a:lnTo>
                      <a:lnTo>
                        <a:pt x="90" y="127"/>
                      </a:lnTo>
                      <a:lnTo>
                        <a:pt x="94" y="127"/>
                      </a:lnTo>
                      <a:lnTo>
                        <a:pt x="94" y="127"/>
                      </a:lnTo>
                      <a:lnTo>
                        <a:pt x="97" y="125"/>
                      </a:lnTo>
                      <a:lnTo>
                        <a:pt x="99" y="123"/>
                      </a:lnTo>
                      <a:lnTo>
                        <a:pt x="99" y="123"/>
                      </a:lnTo>
                      <a:lnTo>
                        <a:pt x="101" y="122"/>
                      </a:lnTo>
                      <a:lnTo>
                        <a:pt x="101" y="122"/>
                      </a:lnTo>
                      <a:lnTo>
                        <a:pt x="102" y="123"/>
                      </a:lnTo>
                      <a:lnTo>
                        <a:pt x="104" y="125"/>
                      </a:lnTo>
                      <a:lnTo>
                        <a:pt x="106" y="129"/>
                      </a:lnTo>
                      <a:lnTo>
                        <a:pt x="111" y="129"/>
                      </a:lnTo>
                      <a:lnTo>
                        <a:pt x="111" y="129"/>
                      </a:lnTo>
                      <a:lnTo>
                        <a:pt x="116" y="127"/>
                      </a:lnTo>
                      <a:lnTo>
                        <a:pt x="115" y="123"/>
                      </a:lnTo>
                      <a:lnTo>
                        <a:pt x="113" y="120"/>
                      </a:lnTo>
                      <a:lnTo>
                        <a:pt x="113" y="118"/>
                      </a:lnTo>
                      <a:lnTo>
                        <a:pt x="113" y="115"/>
                      </a:lnTo>
                      <a:lnTo>
                        <a:pt x="113" y="115"/>
                      </a:lnTo>
                      <a:lnTo>
                        <a:pt x="113" y="108"/>
                      </a:lnTo>
                      <a:lnTo>
                        <a:pt x="111" y="101"/>
                      </a:lnTo>
                      <a:lnTo>
                        <a:pt x="109" y="94"/>
                      </a:lnTo>
                      <a:lnTo>
                        <a:pt x="106" y="89"/>
                      </a:lnTo>
                      <a:lnTo>
                        <a:pt x="106" y="89"/>
                      </a:lnTo>
                      <a:lnTo>
                        <a:pt x="102" y="87"/>
                      </a:lnTo>
                      <a:lnTo>
                        <a:pt x="102" y="83"/>
                      </a:lnTo>
                      <a:lnTo>
                        <a:pt x="102" y="78"/>
                      </a:lnTo>
                      <a:lnTo>
                        <a:pt x="101" y="75"/>
                      </a:lnTo>
                      <a:lnTo>
                        <a:pt x="101" y="75"/>
                      </a:lnTo>
                      <a:lnTo>
                        <a:pt x="101" y="71"/>
                      </a:lnTo>
                      <a:lnTo>
                        <a:pt x="104" y="71"/>
                      </a:lnTo>
                      <a:lnTo>
                        <a:pt x="109" y="73"/>
                      </a:lnTo>
                      <a:lnTo>
                        <a:pt x="116" y="73"/>
                      </a:lnTo>
                      <a:lnTo>
                        <a:pt x="116" y="73"/>
                      </a:lnTo>
                      <a:lnTo>
                        <a:pt x="120" y="71"/>
                      </a:lnTo>
                      <a:lnTo>
                        <a:pt x="122" y="73"/>
                      </a:lnTo>
                      <a:lnTo>
                        <a:pt x="123" y="80"/>
                      </a:lnTo>
                      <a:lnTo>
                        <a:pt x="125" y="87"/>
                      </a:lnTo>
                      <a:lnTo>
                        <a:pt x="125" y="89"/>
                      </a:lnTo>
                      <a:lnTo>
                        <a:pt x="127" y="90"/>
                      </a:lnTo>
                      <a:lnTo>
                        <a:pt x="127" y="90"/>
                      </a:lnTo>
                      <a:lnTo>
                        <a:pt x="134" y="89"/>
                      </a:lnTo>
                      <a:lnTo>
                        <a:pt x="141" y="89"/>
                      </a:lnTo>
                      <a:lnTo>
                        <a:pt x="151" y="90"/>
                      </a:lnTo>
                      <a:lnTo>
                        <a:pt x="158" y="94"/>
                      </a:lnTo>
                      <a:lnTo>
                        <a:pt x="162" y="94"/>
                      </a:lnTo>
                      <a:lnTo>
                        <a:pt x="165" y="92"/>
                      </a:lnTo>
                      <a:lnTo>
                        <a:pt x="165" y="92"/>
                      </a:lnTo>
                      <a:lnTo>
                        <a:pt x="176" y="87"/>
                      </a:lnTo>
                      <a:lnTo>
                        <a:pt x="179" y="85"/>
                      </a:lnTo>
                      <a:lnTo>
                        <a:pt x="177" y="83"/>
                      </a:lnTo>
                      <a:lnTo>
                        <a:pt x="177" y="83"/>
                      </a:lnTo>
                      <a:lnTo>
                        <a:pt x="172" y="82"/>
                      </a:lnTo>
                      <a:lnTo>
                        <a:pt x="170" y="80"/>
                      </a:lnTo>
                      <a:lnTo>
                        <a:pt x="170" y="78"/>
                      </a:lnTo>
                      <a:lnTo>
                        <a:pt x="170" y="75"/>
                      </a:lnTo>
                      <a:lnTo>
                        <a:pt x="174" y="73"/>
                      </a:lnTo>
                      <a:lnTo>
                        <a:pt x="179" y="69"/>
                      </a:lnTo>
                      <a:lnTo>
                        <a:pt x="186" y="66"/>
                      </a:lnTo>
                      <a:lnTo>
                        <a:pt x="186" y="66"/>
                      </a:lnTo>
                      <a:lnTo>
                        <a:pt x="210" y="56"/>
                      </a:lnTo>
                      <a:lnTo>
                        <a:pt x="216" y="54"/>
                      </a:lnTo>
                      <a:lnTo>
                        <a:pt x="217" y="50"/>
                      </a:lnTo>
                      <a:lnTo>
                        <a:pt x="217" y="50"/>
                      </a:lnTo>
                      <a:lnTo>
                        <a:pt x="221" y="47"/>
                      </a:lnTo>
                      <a:lnTo>
                        <a:pt x="223" y="47"/>
                      </a:lnTo>
                      <a:lnTo>
                        <a:pt x="224" y="45"/>
                      </a:lnTo>
                      <a:lnTo>
                        <a:pt x="223" y="43"/>
                      </a:lnTo>
                      <a:lnTo>
                        <a:pt x="223" y="43"/>
                      </a:lnTo>
                      <a:lnTo>
                        <a:pt x="221" y="40"/>
                      </a:lnTo>
                      <a:lnTo>
                        <a:pt x="223" y="38"/>
                      </a:lnTo>
                      <a:lnTo>
                        <a:pt x="223" y="38"/>
                      </a:lnTo>
                      <a:lnTo>
                        <a:pt x="223" y="35"/>
                      </a:lnTo>
                      <a:lnTo>
                        <a:pt x="223" y="35"/>
                      </a:lnTo>
                      <a:lnTo>
                        <a:pt x="223" y="33"/>
                      </a:lnTo>
                      <a:lnTo>
                        <a:pt x="223" y="29"/>
                      </a:lnTo>
                      <a:lnTo>
                        <a:pt x="223" y="24"/>
                      </a:lnTo>
                      <a:lnTo>
                        <a:pt x="223" y="19"/>
                      </a:lnTo>
                      <a:lnTo>
                        <a:pt x="223" y="19"/>
                      </a:lnTo>
                      <a:lnTo>
                        <a:pt x="223" y="16"/>
                      </a:lnTo>
                      <a:lnTo>
                        <a:pt x="223" y="12"/>
                      </a:lnTo>
                      <a:lnTo>
                        <a:pt x="224" y="9"/>
                      </a:lnTo>
                      <a:lnTo>
                        <a:pt x="228" y="7"/>
                      </a:lnTo>
                      <a:lnTo>
                        <a:pt x="240" y="3"/>
                      </a:lnTo>
                      <a:lnTo>
                        <a:pt x="256" y="0"/>
                      </a:lnTo>
                      <a:lnTo>
                        <a:pt x="256" y="0"/>
                      </a:lnTo>
                      <a:lnTo>
                        <a:pt x="259" y="10"/>
                      </a:lnTo>
                      <a:lnTo>
                        <a:pt x="263" y="16"/>
                      </a:lnTo>
                      <a:lnTo>
                        <a:pt x="266" y="19"/>
                      </a:lnTo>
                      <a:lnTo>
                        <a:pt x="270" y="19"/>
                      </a:lnTo>
                      <a:lnTo>
                        <a:pt x="277" y="19"/>
                      </a:lnTo>
                      <a:lnTo>
                        <a:pt x="278" y="21"/>
                      </a:lnTo>
                      <a:lnTo>
                        <a:pt x="282" y="24"/>
                      </a:lnTo>
                      <a:lnTo>
                        <a:pt x="282" y="24"/>
                      </a:lnTo>
                      <a:lnTo>
                        <a:pt x="283" y="28"/>
                      </a:lnTo>
                      <a:lnTo>
                        <a:pt x="285" y="29"/>
                      </a:lnTo>
                      <a:lnTo>
                        <a:pt x="289" y="31"/>
                      </a:lnTo>
                      <a:lnTo>
                        <a:pt x="292" y="31"/>
                      </a:lnTo>
                      <a:lnTo>
                        <a:pt x="294" y="33"/>
                      </a:lnTo>
                      <a:lnTo>
                        <a:pt x="296" y="35"/>
                      </a:lnTo>
                      <a:lnTo>
                        <a:pt x="296" y="35"/>
                      </a:lnTo>
                      <a:lnTo>
                        <a:pt x="297" y="36"/>
                      </a:lnTo>
                      <a:lnTo>
                        <a:pt x="299" y="38"/>
                      </a:lnTo>
                      <a:lnTo>
                        <a:pt x="306" y="40"/>
                      </a:lnTo>
                      <a:lnTo>
                        <a:pt x="308" y="40"/>
                      </a:lnTo>
                      <a:lnTo>
                        <a:pt x="311" y="43"/>
                      </a:lnTo>
                      <a:lnTo>
                        <a:pt x="313" y="47"/>
                      </a:lnTo>
                      <a:lnTo>
                        <a:pt x="315" y="52"/>
                      </a:lnTo>
                      <a:lnTo>
                        <a:pt x="315" y="52"/>
                      </a:lnTo>
                      <a:lnTo>
                        <a:pt x="317" y="57"/>
                      </a:lnTo>
                      <a:lnTo>
                        <a:pt x="318" y="61"/>
                      </a:lnTo>
                      <a:lnTo>
                        <a:pt x="322" y="59"/>
                      </a:lnTo>
                      <a:lnTo>
                        <a:pt x="325" y="57"/>
                      </a:lnTo>
                      <a:lnTo>
                        <a:pt x="332" y="52"/>
                      </a:lnTo>
                      <a:lnTo>
                        <a:pt x="336" y="49"/>
                      </a:lnTo>
                      <a:lnTo>
                        <a:pt x="337" y="49"/>
                      </a:lnTo>
                      <a:lnTo>
                        <a:pt x="337" y="49"/>
                      </a:lnTo>
                      <a:lnTo>
                        <a:pt x="339" y="50"/>
                      </a:lnTo>
                      <a:lnTo>
                        <a:pt x="339" y="52"/>
                      </a:lnTo>
                      <a:lnTo>
                        <a:pt x="337" y="57"/>
                      </a:lnTo>
                      <a:lnTo>
                        <a:pt x="337" y="61"/>
                      </a:lnTo>
                      <a:lnTo>
                        <a:pt x="337" y="64"/>
                      </a:lnTo>
                      <a:lnTo>
                        <a:pt x="341" y="66"/>
                      </a:lnTo>
                      <a:lnTo>
                        <a:pt x="346" y="69"/>
                      </a:lnTo>
                      <a:lnTo>
                        <a:pt x="346" y="69"/>
                      </a:lnTo>
                      <a:lnTo>
                        <a:pt x="350" y="71"/>
                      </a:lnTo>
                      <a:lnTo>
                        <a:pt x="353" y="73"/>
                      </a:lnTo>
                      <a:lnTo>
                        <a:pt x="357" y="78"/>
                      </a:lnTo>
                      <a:lnTo>
                        <a:pt x="358" y="82"/>
                      </a:lnTo>
                      <a:lnTo>
                        <a:pt x="362" y="82"/>
                      </a:lnTo>
                      <a:lnTo>
                        <a:pt x="365" y="83"/>
                      </a:lnTo>
                      <a:lnTo>
                        <a:pt x="371" y="82"/>
                      </a:lnTo>
                      <a:lnTo>
                        <a:pt x="371" y="82"/>
                      </a:lnTo>
                      <a:lnTo>
                        <a:pt x="381" y="83"/>
                      </a:lnTo>
                      <a:lnTo>
                        <a:pt x="390" y="83"/>
                      </a:lnTo>
                      <a:lnTo>
                        <a:pt x="390" y="83"/>
                      </a:lnTo>
                      <a:lnTo>
                        <a:pt x="395" y="85"/>
                      </a:lnTo>
                      <a:lnTo>
                        <a:pt x="398" y="87"/>
                      </a:lnTo>
                      <a:lnTo>
                        <a:pt x="400" y="92"/>
                      </a:lnTo>
                      <a:lnTo>
                        <a:pt x="404" y="96"/>
                      </a:lnTo>
                      <a:lnTo>
                        <a:pt x="404" y="97"/>
                      </a:lnTo>
                      <a:lnTo>
                        <a:pt x="407" y="97"/>
                      </a:lnTo>
                      <a:lnTo>
                        <a:pt x="407" y="97"/>
                      </a:lnTo>
                      <a:lnTo>
                        <a:pt x="411" y="97"/>
                      </a:lnTo>
                      <a:lnTo>
                        <a:pt x="412" y="101"/>
                      </a:lnTo>
                      <a:lnTo>
                        <a:pt x="416" y="103"/>
                      </a:lnTo>
                      <a:lnTo>
                        <a:pt x="421" y="101"/>
                      </a:lnTo>
                      <a:lnTo>
                        <a:pt x="421" y="101"/>
                      </a:lnTo>
                      <a:lnTo>
                        <a:pt x="430" y="101"/>
                      </a:lnTo>
                      <a:lnTo>
                        <a:pt x="437" y="103"/>
                      </a:lnTo>
                      <a:lnTo>
                        <a:pt x="452" y="110"/>
                      </a:lnTo>
                      <a:lnTo>
                        <a:pt x="452" y="110"/>
                      </a:lnTo>
                      <a:lnTo>
                        <a:pt x="454" y="111"/>
                      </a:lnTo>
                      <a:lnTo>
                        <a:pt x="454" y="113"/>
                      </a:lnTo>
                      <a:lnTo>
                        <a:pt x="445" y="123"/>
                      </a:lnTo>
                      <a:lnTo>
                        <a:pt x="440" y="134"/>
                      </a:lnTo>
                      <a:lnTo>
                        <a:pt x="437" y="144"/>
                      </a:lnTo>
                      <a:lnTo>
                        <a:pt x="433" y="160"/>
                      </a:lnTo>
                      <a:lnTo>
                        <a:pt x="433" y="179"/>
                      </a:lnTo>
                      <a:lnTo>
                        <a:pt x="433" y="179"/>
                      </a:lnTo>
                      <a:lnTo>
                        <a:pt x="426" y="184"/>
                      </a:lnTo>
                      <a:lnTo>
                        <a:pt x="421" y="184"/>
                      </a:lnTo>
                      <a:lnTo>
                        <a:pt x="418" y="184"/>
                      </a:lnTo>
                      <a:lnTo>
                        <a:pt x="412" y="186"/>
                      </a:lnTo>
                      <a:lnTo>
                        <a:pt x="412" y="186"/>
                      </a:lnTo>
                      <a:lnTo>
                        <a:pt x="411" y="190"/>
                      </a:lnTo>
                      <a:lnTo>
                        <a:pt x="412" y="191"/>
                      </a:lnTo>
                      <a:lnTo>
                        <a:pt x="412" y="193"/>
                      </a:lnTo>
                      <a:lnTo>
                        <a:pt x="409" y="197"/>
                      </a:lnTo>
                      <a:lnTo>
                        <a:pt x="409" y="197"/>
                      </a:lnTo>
                      <a:lnTo>
                        <a:pt x="405" y="200"/>
                      </a:lnTo>
                      <a:lnTo>
                        <a:pt x="404" y="204"/>
                      </a:lnTo>
                      <a:lnTo>
                        <a:pt x="404" y="207"/>
                      </a:lnTo>
                      <a:lnTo>
                        <a:pt x="398" y="209"/>
                      </a:lnTo>
                      <a:lnTo>
                        <a:pt x="398" y="209"/>
                      </a:lnTo>
                      <a:lnTo>
                        <a:pt x="395" y="211"/>
                      </a:lnTo>
                      <a:lnTo>
                        <a:pt x="393" y="212"/>
                      </a:lnTo>
                      <a:lnTo>
                        <a:pt x="393" y="217"/>
                      </a:lnTo>
                      <a:lnTo>
                        <a:pt x="393" y="221"/>
                      </a:lnTo>
                      <a:lnTo>
                        <a:pt x="391" y="224"/>
                      </a:lnTo>
                      <a:lnTo>
                        <a:pt x="386" y="226"/>
                      </a:lnTo>
                      <a:lnTo>
                        <a:pt x="386" y="226"/>
                      </a:lnTo>
                      <a:lnTo>
                        <a:pt x="384" y="228"/>
                      </a:lnTo>
                      <a:lnTo>
                        <a:pt x="383" y="231"/>
                      </a:lnTo>
                      <a:lnTo>
                        <a:pt x="383" y="237"/>
                      </a:lnTo>
                      <a:lnTo>
                        <a:pt x="383" y="242"/>
                      </a:lnTo>
                      <a:lnTo>
                        <a:pt x="381" y="244"/>
                      </a:lnTo>
                      <a:lnTo>
                        <a:pt x="379" y="247"/>
                      </a:lnTo>
                      <a:lnTo>
                        <a:pt x="379" y="247"/>
                      </a:lnTo>
                      <a:lnTo>
                        <a:pt x="376" y="251"/>
                      </a:lnTo>
                      <a:lnTo>
                        <a:pt x="376" y="252"/>
                      </a:lnTo>
                      <a:lnTo>
                        <a:pt x="379" y="254"/>
                      </a:lnTo>
                      <a:lnTo>
                        <a:pt x="384" y="252"/>
                      </a:lnTo>
                      <a:lnTo>
                        <a:pt x="384" y="252"/>
                      </a:lnTo>
                      <a:lnTo>
                        <a:pt x="386" y="251"/>
                      </a:lnTo>
                      <a:lnTo>
                        <a:pt x="388" y="249"/>
                      </a:lnTo>
                      <a:lnTo>
                        <a:pt x="388" y="244"/>
                      </a:lnTo>
                      <a:lnTo>
                        <a:pt x="390" y="240"/>
                      </a:lnTo>
                      <a:lnTo>
                        <a:pt x="393" y="238"/>
                      </a:lnTo>
                      <a:lnTo>
                        <a:pt x="397" y="237"/>
                      </a:lnTo>
                      <a:lnTo>
                        <a:pt x="397" y="237"/>
                      </a:lnTo>
                      <a:lnTo>
                        <a:pt x="402" y="237"/>
                      </a:lnTo>
                      <a:lnTo>
                        <a:pt x="404" y="238"/>
                      </a:lnTo>
                      <a:lnTo>
                        <a:pt x="405" y="240"/>
                      </a:lnTo>
                      <a:lnTo>
                        <a:pt x="407" y="242"/>
                      </a:lnTo>
                      <a:lnTo>
                        <a:pt x="405" y="247"/>
                      </a:lnTo>
                      <a:lnTo>
                        <a:pt x="404" y="252"/>
                      </a:lnTo>
                      <a:lnTo>
                        <a:pt x="404" y="252"/>
                      </a:lnTo>
                      <a:lnTo>
                        <a:pt x="404" y="254"/>
                      </a:lnTo>
                      <a:lnTo>
                        <a:pt x="407" y="254"/>
                      </a:lnTo>
                      <a:lnTo>
                        <a:pt x="411" y="256"/>
                      </a:lnTo>
                      <a:lnTo>
                        <a:pt x="412" y="263"/>
                      </a:lnTo>
                      <a:lnTo>
                        <a:pt x="412" y="26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6" name="Freeform 1775">
                  <a:extLst>
                    <a:ext uri="{FF2B5EF4-FFF2-40B4-BE49-F238E27FC236}">
                      <a16:creationId xmlns:a16="http://schemas.microsoft.com/office/drawing/2014/main" id="{A06A6F57-B665-2DD3-66DA-1DF6F2965A1B}"/>
                    </a:ext>
                  </a:extLst>
                </p:cNvPr>
                <p:cNvSpPr>
                  <a:spLocks/>
                </p:cNvSpPr>
                <p:nvPr/>
              </p:nvSpPr>
              <p:spPr bwMode="auto">
                <a:xfrm>
                  <a:off x="4906513" y="2822012"/>
                  <a:ext cx="336542" cy="359448"/>
                </a:xfrm>
                <a:custGeom>
                  <a:avLst/>
                  <a:gdLst/>
                  <a:ahLst/>
                  <a:cxnLst>
                    <a:cxn ang="0">
                      <a:pos x="251" y="66"/>
                    </a:cxn>
                    <a:cxn ang="0">
                      <a:pos x="246" y="49"/>
                    </a:cxn>
                    <a:cxn ang="0">
                      <a:pos x="239" y="39"/>
                    </a:cxn>
                    <a:cxn ang="0">
                      <a:pos x="200" y="18"/>
                    </a:cxn>
                    <a:cxn ang="0">
                      <a:pos x="193" y="7"/>
                    </a:cxn>
                    <a:cxn ang="0">
                      <a:pos x="186" y="2"/>
                    </a:cxn>
                    <a:cxn ang="0">
                      <a:pos x="157" y="11"/>
                    </a:cxn>
                    <a:cxn ang="0">
                      <a:pos x="134" y="11"/>
                    </a:cxn>
                    <a:cxn ang="0">
                      <a:pos x="136" y="28"/>
                    </a:cxn>
                    <a:cxn ang="0">
                      <a:pos x="122" y="25"/>
                    </a:cxn>
                    <a:cxn ang="0">
                      <a:pos x="122" y="42"/>
                    </a:cxn>
                    <a:cxn ang="0">
                      <a:pos x="108" y="39"/>
                    </a:cxn>
                    <a:cxn ang="0">
                      <a:pos x="96" y="30"/>
                    </a:cxn>
                    <a:cxn ang="0">
                      <a:pos x="89" y="47"/>
                    </a:cxn>
                    <a:cxn ang="0">
                      <a:pos x="85" y="63"/>
                    </a:cxn>
                    <a:cxn ang="0">
                      <a:pos x="66" y="44"/>
                    </a:cxn>
                    <a:cxn ang="0">
                      <a:pos x="54" y="39"/>
                    </a:cxn>
                    <a:cxn ang="0">
                      <a:pos x="52" y="51"/>
                    </a:cxn>
                    <a:cxn ang="0">
                      <a:pos x="28" y="58"/>
                    </a:cxn>
                    <a:cxn ang="0">
                      <a:pos x="11" y="73"/>
                    </a:cxn>
                    <a:cxn ang="0">
                      <a:pos x="11" y="94"/>
                    </a:cxn>
                    <a:cxn ang="0">
                      <a:pos x="14" y="110"/>
                    </a:cxn>
                    <a:cxn ang="0">
                      <a:pos x="11" y="136"/>
                    </a:cxn>
                    <a:cxn ang="0">
                      <a:pos x="37" y="145"/>
                    </a:cxn>
                    <a:cxn ang="0">
                      <a:pos x="32" y="166"/>
                    </a:cxn>
                    <a:cxn ang="0">
                      <a:pos x="73" y="133"/>
                    </a:cxn>
                    <a:cxn ang="0">
                      <a:pos x="108" y="150"/>
                    </a:cxn>
                    <a:cxn ang="0">
                      <a:pos x="127" y="176"/>
                    </a:cxn>
                    <a:cxn ang="0">
                      <a:pos x="136" y="201"/>
                    </a:cxn>
                    <a:cxn ang="0">
                      <a:pos x="159" y="230"/>
                    </a:cxn>
                    <a:cxn ang="0">
                      <a:pos x="181" y="248"/>
                    </a:cxn>
                    <a:cxn ang="0">
                      <a:pos x="211" y="277"/>
                    </a:cxn>
                    <a:cxn ang="0">
                      <a:pos x="254" y="302"/>
                    </a:cxn>
                    <a:cxn ang="0">
                      <a:pos x="274" y="315"/>
                    </a:cxn>
                    <a:cxn ang="0">
                      <a:pos x="289" y="319"/>
                    </a:cxn>
                    <a:cxn ang="0">
                      <a:pos x="307" y="347"/>
                    </a:cxn>
                    <a:cxn ang="0">
                      <a:pos x="331" y="390"/>
                    </a:cxn>
                    <a:cxn ang="0">
                      <a:pos x="324" y="422"/>
                    </a:cxn>
                    <a:cxn ang="0">
                      <a:pos x="321" y="448"/>
                    </a:cxn>
                    <a:cxn ang="0">
                      <a:pos x="343" y="429"/>
                    </a:cxn>
                    <a:cxn ang="0">
                      <a:pos x="362" y="401"/>
                    </a:cxn>
                    <a:cxn ang="0">
                      <a:pos x="361" y="371"/>
                    </a:cxn>
                    <a:cxn ang="0">
                      <a:pos x="348" y="354"/>
                    </a:cxn>
                    <a:cxn ang="0">
                      <a:pos x="368" y="326"/>
                    </a:cxn>
                    <a:cxn ang="0">
                      <a:pos x="399" y="343"/>
                    </a:cxn>
                    <a:cxn ang="0">
                      <a:pos x="415" y="355"/>
                    </a:cxn>
                    <a:cxn ang="0">
                      <a:pos x="411" y="329"/>
                    </a:cxn>
                    <a:cxn ang="0">
                      <a:pos x="369" y="300"/>
                    </a:cxn>
                    <a:cxn ang="0">
                      <a:pos x="329" y="270"/>
                    </a:cxn>
                    <a:cxn ang="0">
                      <a:pos x="322" y="256"/>
                    </a:cxn>
                    <a:cxn ang="0">
                      <a:pos x="256" y="207"/>
                    </a:cxn>
                    <a:cxn ang="0">
                      <a:pos x="228" y="166"/>
                    </a:cxn>
                    <a:cxn ang="0">
                      <a:pos x="199" y="131"/>
                    </a:cxn>
                    <a:cxn ang="0">
                      <a:pos x="207" y="110"/>
                    </a:cxn>
                    <a:cxn ang="0">
                      <a:pos x="204" y="82"/>
                    </a:cxn>
                    <a:cxn ang="0">
                      <a:pos x="227" y="70"/>
                    </a:cxn>
                    <a:cxn ang="0">
                      <a:pos x="247" y="70"/>
                    </a:cxn>
                  </a:cxnLst>
                  <a:rect l="0" t="0" r="r" b="b"/>
                  <a:pathLst>
                    <a:path w="418" h="449">
                      <a:moveTo>
                        <a:pt x="247" y="75"/>
                      </a:moveTo>
                      <a:lnTo>
                        <a:pt x="247" y="75"/>
                      </a:lnTo>
                      <a:lnTo>
                        <a:pt x="251" y="75"/>
                      </a:lnTo>
                      <a:lnTo>
                        <a:pt x="253" y="75"/>
                      </a:lnTo>
                      <a:lnTo>
                        <a:pt x="254" y="73"/>
                      </a:lnTo>
                      <a:lnTo>
                        <a:pt x="254" y="72"/>
                      </a:lnTo>
                      <a:lnTo>
                        <a:pt x="251" y="66"/>
                      </a:lnTo>
                      <a:lnTo>
                        <a:pt x="247" y="63"/>
                      </a:lnTo>
                      <a:lnTo>
                        <a:pt x="247" y="63"/>
                      </a:lnTo>
                      <a:lnTo>
                        <a:pt x="244" y="59"/>
                      </a:lnTo>
                      <a:lnTo>
                        <a:pt x="242" y="56"/>
                      </a:lnTo>
                      <a:lnTo>
                        <a:pt x="242" y="53"/>
                      </a:lnTo>
                      <a:lnTo>
                        <a:pt x="246" y="49"/>
                      </a:lnTo>
                      <a:lnTo>
                        <a:pt x="246" y="49"/>
                      </a:lnTo>
                      <a:lnTo>
                        <a:pt x="247" y="47"/>
                      </a:lnTo>
                      <a:lnTo>
                        <a:pt x="247" y="46"/>
                      </a:lnTo>
                      <a:lnTo>
                        <a:pt x="244" y="44"/>
                      </a:lnTo>
                      <a:lnTo>
                        <a:pt x="240" y="44"/>
                      </a:lnTo>
                      <a:lnTo>
                        <a:pt x="237" y="40"/>
                      </a:lnTo>
                      <a:lnTo>
                        <a:pt x="237" y="40"/>
                      </a:lnTo>
                      <a:lnTo>
                        <a:pt x="239" y="39"/>
                      </a:lnTo>
                      <a:lnTo>
                        <a:pt x="242" y="35"/>
                      </a:lnTo>
                      <a:lnTo>
                        <a:pt x="246" y="32"/>
                      </a:lnTo>
                      <a:lnTo>
                        <a:pt x="247" y="28"/>
                      </a:lnTo>
                      <a:lnTo>
                        <a:pt x="247" y="28"/>
                      </a:lnTo>
                      <a:lnTo>
                        <a:pt x="225" y="25"/>
                      </a:lnTo>
                      <a:lnTo>
                        <a:pt x="209" y="21"/>
                      </a:lnTo>
                      <a:lnTo>
                        <a:pt x="200" y="18"/>
                      </a:lnTo>
                      <a:lnTo>
                        <a:pt x="199" y="16"/>
                      </a:lnTo>
                      <a:lnTo>
                        <a:pt x="199" y="12"/>
                      </a:lnTo>
                      <a:lnTo>
                        <a:pt x="199" y="12"/>
                      </a:lnTo>
                      <a:lnTo>
                        <a:pt x="199" y="11"/>
                      </a:lnTo>
                      <a:lnTo>
                        <a:pt x="197" y="9"/>
                      </a:lnTo>
                      <a:lnTo>
                        <a:pt x="195" y="9"/>
                      </a:lnTo>
                      <a:lnTo>
                        <a:pt x="193" y="7"/>
                      </a:lnTo>
                      <a:lnTo>
                        <a:pt x="193" y="7"/>
                      </a:lnTo>
                      <a:lnTo>
                        <a:pt x="195" y="4"/>
                      </a:lnTo>
                      <a:lnTo>
                        <a:pt x="197" y="2"/>
                      </a:lnTo>
                      <a:lnTo>
                        <a:pt x="197" y="0"/>
                      </a:lnTo>
                      <a:lnTo>
                        <a:pt x="195" y="0"/>
                      </a:lnTo>
                      <a:lnTo>
                        <a:pt x="186" y="2"/>
                      </a:lnTo>
                      <a:lnTo>
                        <a:pt x="186" y="2"/>
                      </a:lnTo>
                      <a:lnTo>
                        <a:pt x="180" y="4"/>
                      </a:lnTo>
                      <a:lnTo>
                        <a:pt x="173" y="4"/>
                      </a:lnTo>
                      <a:lnTo>
                        <a:pt x="167" y="4"/>
                      </a:lnTo>
                      <a:lnTo>
                        <a:pt x="162" y="4"/>
                      </a:lnTo>
                      <a:lnTo>
                        <a:pt x="162" y="4"/>
                      </a:lnTo>
                      <a:lnTo>
                        <a:pt x="159" y="7"/>
                      </a:lnTo>
                      <a:lnTo>
                        <a:pt x="157" y="11"/>
                      </a:lnTo>
                      <a:lnTo>
                        <a:pt x="155" y="14"/>
                      </a:lnTo>
                      <a:lnTo>
                        <a:pt x="152" y="16"/>
                      </a:lnTo>
                      <a:lnTo>
                        <a:pt x="152" y="16"/>
                      </a:lnTo>
                      <a:lnTo>
                        <a:pt x="148" y="16"/>
                      </a:lnTo>
                      <a:lnTo>
                        <a:pt x="145" y="14"/>
                      </a:lnTo>
                      <a:lnTo>
                        <a:pt x="141" y="11"/>
                      </a:lnTo>
                      <a:lnTo>
                        <a:pt x="134" y="11"/>
                      </a:lnTo>
                      <a:lnTo>
                        <a:pt x="134" y="11"/>
                      </a:lnTo>
                      <a:lnTo>
                        <a:pt x="132" y="14"/>
                      </a:lnTo>
                      <a:lnTo>
                        <a:pt x="132" y="18"/>
                      </a:lnTo>
                      <a:lnTo>
                        <a:pt x="134" y="23"/>
                      </a:lnTo>
                      <a:lnTo>
                        <a:pt x="136" y="26"/>
                      </a:lnTo>
                      <a:lnTo>
                        <a:pt x="136" y="26"/>
                      </a:lnTo>
                      <a:lnTo>
                        <a:pt x="136" y="28"/>
                      </a:lnTo>
                      <a:lnTo>
                        <a:pt x="136" y="28"/>
                      </a:lnTo>
                      <a:lnTo>
                        <a:pt x="134" y="30"/>
                      </a:lnTo>
                      <a:lnTo>
                        <a:pt x="132" y="30"/>
                      </a:lnTo>
                      <a:lnTo>
                        <a:pt x="127" y="26"/>
                      </a:lnTo>
                      <a:lnTo>
                        <a:pt x="124" y="25"/>
                      </a:lnTo>
                      <a:lnTo>
                        <a:pt x="124" y="23"/>
                      </a:lnTo>
                      <a:lnTo>
                        <a:pt x="122" y="25"/>
                      </a:lnTo>
                      <a:lnTo>
                        <a:pt x="122" y="25"/>
                      </a:lnTo>
                      <a:lnTo>
                        <a:pt x="122" y="28"/>
                      </a:lnTo>
                      <a:lnTo>
                        <a:pt x="124" y="33"/>
                      </a:lnTo>
                      <a:lnTo>
                        <a:pt x="124" y="39"/>
                      </a:lnTo>
                      <a:lnTo>
                        <a:pt x="124" y="42"/>
                      </a:lnTo>
                      <a:lnTo>
                        <a:pt x="122" y="42"/>
                      </a:lnTo>
                      <a:lnTo>
                        <a:pt x="122" y="42"/>
                      </a:lnTo>
                      <a:lnTo>
                        <a:pt x="120" y="42"/>
                      </a:lnTo>
                      <a:lnTo>
                        <a:pt x="120" y="42"/>
                      </a:lnTo>
                      <a:lnTo>
                        <a:pt x="117" y="39"/>
                      </a:lnTo>
                      <a:lnTo>
                        <a:pt x="113" y="37"/>
                      </a:lnTo>
                      <a:lnTo>
                        <a:pt x="112" y="37"/>
                      </a:lnTo>
                      <a:lnTo>
                        <a:pt x="108" y="39"/>
                      </a:lnTo>
                      <a:lnTo>
                        <a:pt x="108" y="39"/>
                      </a:lnTo>
                      <a:lnTo>
                        <a:pt x="106" y="39"/>
                      </a:lnTo>
                      <a:lnTo>
                        <a:pt x="105" y="39"/>
                      </a:lnTo>
                      <a:lnTo>
                        <a:pt x="103" y="35"/>
                      </a:lnTo>
                      <a:lnTo>
                        <a:pt x="99" y="32"/>
                      </a:lnTo>
                      <a:lnTo>
                        <a:pt x="98" y="30"/>
                      </a:lnTo>
                      <a:lnTo>
                        <a:pt x="96" y="30"/>
                      </a:lnTo>
                      <a:lnTo>
                        <a:pt x="96" y="30"/>
                      </a:lnTo>
                      <a:lnTo>
                        <a:pt x="94" y="30"/>
                      </a:lnTo>
                      <a:lnTo>
                        <a:pt x="94" y="32"/>
                      </a:lnTo>
                      <a:lnTo>
                        <a:pt x="94" y="35"/>
                      </a:lnTo>
                      <a:lnTo>
                        <a:pt x="92" y="42"/>
                      </a:lnTo>
                      <a:lnTo>
                        <a:pt x="91" y="44"/>
                      </a:lnTo>
                      <a:lnTo>
                        <a:pt x="89" y="47"/>
                      </a:lnTo>
                      <a:lnTo>
                        <a:pt x="89" y="47"/>
                      </a:lnTo>
                      <a:lnTo>
                        <a:pt x="85" y="51"/>
                      </a:lnTo>
                      <a:lnTo>
                        <a:pt x="85" y="53"/>
                      </a:lnTo>
                      <a:lnTo>
                        <a:pt x="85" y="58"/>
                      </a:lnTo>
                      <a:lnTo>
                        <a:pt x="87" y="61"/>
                      </a:lnTo>
                      <a:lnTo>
                        <a:pt x="87" y="63"/>
                      </a:lnTo>
                      <a:lnTo>
                        <a:pt x="85" y="63"/>
                      </a:lnTo>
                      <a:lnTo>
                        <a:pt x="85" y="63"/>
                      </a:lnTo>
                      <a:lnTo>
                        <a:pt x="84" y="63"/>
                      </a:lnTo>
                      <a:lnTo>
                        <a:pt x="82" y="63"/>
                      </a:lnTo>
                      <a:lnTo>
                        <a:pt x="79" y="58"/>
                      </a:lnTo>
                      <a:lnTo>
                        <a:pt x="75" y="53"/>
                      </a:lnTo>
                      <a:lnTo>
                        <a:pt x="70" y="47"/>
                      </a:lnTo>
                      <a:lnTo>
                        <a:pt x="70" y="47"/>
                      </a:lnTo>
                      <a:lnTo>
                        <a:pt x="66" y="44"/>
                      </a:lnTo>
                      <a:lnTo>
                        <a:pt x="65" y="40"/>
                      </a:lnTo>
                      <a:lnTo>
                        <a:pt x="65" y="32"/>
                      </a:lnTo>
                      <a:lnTo>
                        <a:pt x="65" y="32"/>
                      </a:lnTo>
                      <a:lnTo>
                        <a:pt x="63" y="30"/>
                      </a:lnTo>
                      <a:lnTo>
                        <a:pt x="61" y="32"/>
                      </a:lnTo>
                      <a:lnTo>
                        <a:pt x="58" y="35"/>
                      </a:lnTo>
                      <a:lnTo>
                        <a:pt x="54" y="39"/>
                      </a:lnTo>
                      <a:lnTo>
                        <a:pt x="54" y="39"/>
                      </a:lnTo>
                      <a:lnTo>
                        <a:pt x="52" y="39"/>
                      </a:lnTo>
                      <a:lnTo>
                        <a:pt x="52" y="40"/>
                      </a:lnTo>
                      <a:lnTo>
                        <a:pt x="54" y="44"/>
                      </a:lnTo>
                      <a:lnTo>
                        <a:pt x="54" y="46"/>
                      </a:lnTo>
                      <a:lnTo>
                        <a:pt x="54" y="47"/>
                      </a:lnTo>
                      <a:lnTo>
                        <a:pt x="52" y="51"/>
                      </a:lnTo>
                      <a:lnTo>
                        <a:pt x="49" y="53"/>
                      </a:lnTo>
                      <a:lnTo>
                        <a:pt x="49" y="53"/>
                      </a:lnTo>
                      <a:lnTo>
                        <a:pt x="42" y="58"/>
                      </a:lnTo>
                      <a:lnTo>
                        <a:pt x="38" y="56"/>
                      </a:lnTo>
                      <a:lnTo>
                        <a:pt x="33" y="56"/>
                      </a:lnTo>
                      <a:lnTo>
                        <a:pt x="28" y="58"/>
                      </a:lnTo>
                      <a:lnTo>
                        <a:pt x="28" y="58"/>
                      </a:lnTo>
                      <a:lnTo>
                        <a:pt x="23" y="61"/>
                      </a:lnTo>
                      <a:lnTo>
                        <a:pt x="18" y="61"/>
                      </a:lnTo>
                      <a:lnTo>
                        <a:pt x="12" y="58"/>
                      </a:lnTo>
                      <a:lnTo>
                        <a:pt x="12" y="58"/>
                      </a:lnTo>
                      <a:lnTo>
                        <a:pt x="9" y="65"/>
                      </a:lnTo>
                      <a:lnTo>
                        <a:pt x="9" y="70"/>
                      </a:lnTo>
                      <a:lnTo>
                        <a:pt x="11" y="73"/>
                      </a:lnTo>
                      <a:lnTo>
                        <a:pt x="14" y="77"/>
                      </a:lnTo>
                      <a:lnTo>
                        <a:pt x="19" y="82"/>
                      </a:lnTo>
                      <a:lnTo>
                        <a:pt x="19" y="86"/>
                      </a:lnTo>
                      <a:lnTo>
                        <a:pt x="18" y="89"/>
                      </a:lnTo>
                      <a:lnTo>
                        <a:pt x="18" y="89"/>
                      </a:lnTo>
                      <a:lnTo>
                        <a:pt x="14" y="91"/>
                      </a:lnTo>
                      <a:lnTo>
                        <a:pt x="11" y="94"/>
                      </a:lnTo>
                      <a:lnTo>
                        <a:pt x="2" y="96"/>
                      </a:lnTo>
                      <a:lnTo>
                        <a:pt x="0" y="98"/>
                      </a:lnTo>
                      <a:lnTo>
                        <a:pt x="0" y="100"/>
                      </a:lnTo>
                      <a:lnTo>
                        <a:pt x="2" y="101"/>
                      </a:lnTo>
                      <a:lnTo>
                        <a:pt x="7" y="107"/>
                      </a:lnTo>
                      <a:lnTo>
                        <a:pt x="7" y="107"/>
                      </a:lnTo>
                      <a:lnTo>
                        <a:pt x="14" y="110"/>
                      </a:lnTo>
                      <a:lnTo>
                        <a:pt x="16" y="115"/>
                      </a:lnTo>
                      <a:lnTo>
                        <a:pt x="16" y="119"/>
                      </a:lnTo>
                      <a:lnTo>
                        <a:pt x="14" y="120"/>
                      </a:lnTo>
                      <a:lnTo>
                        <a:pt x="11" y="127"/>
                      </a:lnTo>
                      <a:lnTo>
                        <a:pt x="9" y="131"/>
                      </a:lnTo>
                      <a:lnTo>
                        <a:pt x="11" y="136"/>
                      </a:lnTo>
                      <a:lnTo>
                        <a:pt x="11" y="136"/>
                      </a:lnTo>
                      <a:lnTo>
                        <a:pt x="12" y="141"/>
                      </a:lnTo>
                      <a:lnTo>
                        <a:pt x="16" y="145"/>
                      </a:lnTo>
                      <a:lnTo>
                        <a:pt x="21" y="145"/>
                      </a:lnTo>
                      <a:lnTo>
                        <a:pt x="25" y="145"/>
                      </a:lnTo>
                      <a:lnTo>
                        <a:pt x="32" y="145"/>
                      </a:lnTo>
                      <a:lnTo>
                        <a:pt x="35" y="145"/>
                      </a:lnTo>
                      <a:lnTo>
                        <a:pt x="37" y="145"/>
                      </a:lnTo>
                      <a:lnTo>
                        <a:pt x="37" y="145"/>
                      </a:lnTo>
                      <a:lnTo>
                        <a:pt x="38" y="147"/>
                      </a:lnTo>
                      <a:lnTo>
                        <a:pt x="37" y="150"/>
                      </a:lnTo>
                      <a:lnTo>
                        <a:pt x="35" y="155"/>
                      </a:lnTo>
                      <a:lnTo>
                        <a:pt x="32" y="160"/>
                      </a:lnTo>
                      <a:lnTo>
                        <a:pt x="32" y="166"/>
                      </a:lnTo>
                      <a:lnTo>
                        <a:pt x="32" y="166"/>
                      </a:lnTo>
                      <a:lnTo>
                        <a:pt x="42" y="160"/>
                      </a:lnTo>
                      <a:lnTo>
                        <a:pt x="51" y="155"/>
                      </a:lnTo>
                      <a:lnTo>
                        <a:pt x="56" y="152"/>
                      </a:lnTo>
                      <a:lnTo>
                        <a:pt x="59" y="147"/>
                      </a:lnTo>
                      <a:lnTo>
                        <a:pt x="63" y="140"/>
                      </a:lnTo>
                      <a:lnTo>
                        <a:pt x="68" y="136"/>
                      </a:lnTo>
                      <a:lnTo>
                        <a:pt x="73" y="133"/>
                      </a:lnTo>
                      <a:lnTo>
                        <a:pt x="73" y="133"/>
                      </a:lnTo>
                      <a:lnTo>
                        <a:pt x="79" y="131"/>
                      </a:lnTo>
                      <a:lnTo>
                        <a:pt x="85" y="133"/>
                      </a:lnTo>
                      <a:lnTo>
                        <a:pt x="91" y="136"/>
                      </a:lnTo>
                      <a:lnTo>
                        <a:pt x="94" y="140"/>
                      </a:lnTo>
                      <a:lnTo>
                        <a:pt x="103" y="148"/>
                      </a:lnTo>
                      <a:lnTo>
                        <a:pt x="108" y="150"/>
                      </a:lnTo>
                      <a:lnTo>
                        <a:pt x="113" y="150"/>
                      </a:lnTo>
                      <a:lnTo>
                        <a:pt x="113" y="150"/>
                      </a:lnTo>
                      <a:lnTo>
                        <a:pt x="119" y="152"/>
                      </a:lnTo>
                      <a:lnTo>
                        <a:pt x="122" y="154"/>
                      </a:lnTo>
                      <a:lnTo>
                        <a:pt x="124" y="159"/>
                      </a:lnTo>
                      <a:lnTo>
                        <a:pt x="126" y="164"/>
                      </a:lnTo>
                      <a:lnTo>
                        <a:pt x="127" y="176"/>
                      </a:lnTo>
                      <a:lnTo>
                        <a:pt x="129" y="181"/>
                      </a:lnTo>
                      <a:lnTo>
                        <a:pt x="132" y="185"/>
                      </a:lnTo>
                      <a:lnTo>
                        <a:pt x="132" y="185"/>
                      </a:lnTo>
                      <a:lnTo>
                        <a:pt x="134" y="188"/>
                      </a:lnTo>
                      <a:lnTo>
                        <a:pt x="136" y="192"/>
                      </a:lnTo>
                      <a:lnTo>
                        <a:pt x="136" y="197"/>
                      </a:lnTo>
                      <a:lnTo>
                        <a:pt x="136" y="201"/>
                      </a:lnTo>
                      <a:lnTo>
                        <a:pt x="136" y="204"/>
                      </a:lnTo>
                      <a:lnTo>
                        <a:pt x="139" y="207"/>
                      </a:lnTo>
                      <a:lnTo>
                        <a:pt x="143" y="211"/>
                      </a:lnTo>
                      <a:lnTo>
                        <a:pt x="143" y="211"/>
                      </a:lnTo>
                      <a:lnTo>
                        <a:pt x="157" y="221"/>
                      </a:lnTo>
                      <a:lnTo>
                        <a:pt x="159" y="225"/>
                      </a:lnTo>
                      <a:lnTo>
                        <a:pt x="159" y="230"/>
                      </a:lnTo>
                      <a:lnTo>
                        <a:pt x="159" y="230"/>
                      </a:lnTo>
                      <a:lnTo>
                        <a:pt x="159" y="232"/>
                      </a:lnTo>
                      <a:lnTo>
                        <a:pt x="160" y="234"/>
                      </a:lnTo>
                      <a:lnTo>
                        <a:pt x="167" y="235"/>
                      </a:lnTo>
                      <a:lnTo>
                        <a:pt x="174" y="239"/>
                      </a:lnTo>
                      <a:lnTo>
                        <a:pt x="178" y="242"/>
                      </a:lnTo>
                      <a:lnTo>
                        <a:pt x="181" y="248"/>
                      </a:lnTo>
                      <a:lnTo>
                        <a:pt x="181" y="248"/>
                      </a:lnTo>
                      <a:lnTo>
                        <a:pt x="185" y="254"/>
                      </a:lnTo>
                      <a:lnTo>
                        <a:pt x="188" y="254"/>
                      </a:lnTo>
                      <a:lnTo>
                        <a:pt x="192" y="258"/>
                      </a:lnTo>
                      <a:lnTo>
                        <a:pt x="200" y="267"/>
                      </a:lnTo>
                      <a:lnTo>
                        <a:pt x="200" y="267"/>
                      </a:lnTo>
                      <a:lnTo>
                        <a:pt x="211" y="277"/>
                      </a:lnTo>
                      <a:lnTo>
                        <a:pt x="221" y="284"/>
                      </a:lnTo>
                      <a:lnTo>
                        <a:pt x="233" y="288"/>
                      </a:lnTo>
                      <a:lnTo>
                        <a:pt x="244" y="289"/>
                      </a:lnTo>
                      <a:lnTo>
                        <a:pt x="244" y="289"/>
                      </a:lnTo>
                      <a:lnTo>
                        <a:pt x="247" y="289"/>
                      </a:lnTo>
                      <a:lnTo>
                        <a:pt x="251" y="293"/>
                      </a:lnTo>
                      <a:lnTo>
                        <a:pt x="254" y="302"/>
                      </a:lnTo>
                      <a:lnTo>
                        <a:pt x="260" y="308"/>
                      </a:lnTo>
                      <a:lnTo>
                        <a:pt x="263" y="310"/>
                      </a:lnTo>
                      <a:lnTo>
                        <a:pt x="267" y="312"/>
                      </a:lnTo>
                      <a:lnTo>
                        <a:pt x="267" y="312"/>
                      </a:lnTo>
                      <a:lnTo>
                        <a:pt x="272" y="312"/>
                      </a:lnTo>
                      <a:lnTo>
                        <a:pt x="274" y="312"/>
                      </a:lnTo>
                      <a:lnTo>
                        <a:pt x="274" y="315"/>
                      </a:lnTo>
                      <a:lnTo>
                        <a:pt x="274" y="317"/>
                      </a:lnTo>
                      <a:lnTo>
                        <a:pt x="274" y="319"/>
                      </a:lnTo>
                      <a:lnTo>
                        <a:pt x="275" y="321"/>
                      </a:lnTo>
                      <a:lnTo>
                        <a:pt x="280" y="319"/>
                      </a:lnTo>
                      <a:lnTo>
                        <a:pt x="280" y="319"/>
                      </a:lnTo>
                      <a:lnTo>
                        <a:pt x="286" y="319"/>
                      </a:lnTo>
                      <a:lnTo>
                        <a:pt x="289" y="319"/>
                      </a:lnTo>
                      <a:lnTo>
                        <a:pt x="289" y="322"/>
                      </a:lnTo>
                      <a:lnTo>
                        <a:pt x="289" y="324"/>
                      </a:lnTo>
                      <a:lnTo>
                        <a:pt x="289" y="333"/>
                      </a:lnTo>
                      <a:lnTo>
                        <a:pt x="291" y="338"/>
                      </a:lnTo>
                      <a:lnTo>
                        <a:pt x="296" y="342"/>
                      </a:lnTo>
                      <a:lnTo>
                        <a:pt x="296" y="342"/>
                      </a:lnTo>
                      <a:lnTo>
                        <a:pt x="307" y="347"/>
                      </a:lnTo>
                      <a:lnTo>
                        <a:pt x="314" y="350"/>
                      </a:lnTo>
                      <a:lnTo>
                        <a:pt x="317" y="352"/>
                      </a:lnTo>
                      <a:lnTo>
                        <a:pt x="321" y="357"/>
                      </a:lnTo>
                      <a:lnTo>
                        <a:pt x="324" y="362"/>
                      </a:lnTo>
                      <a:lnTo>
                        <a:pt x="328" y="373"/>
                      </a:lnTo>
                      <a:lnTo>
                        <a:pt x="328" y="373"/>
                      </a:lnTo>
                      <a:lnTo>
                        <a:pt x="331" y="390"/>
                      </a:lnTo>
                      <a:lnTo>
                        <a:pt x="333" y="399"/>
                      </a:lnTo>
                      <a:lnTo>
                        <a:pt x="333" y="406"/>
                      </a:lnTo>
                      <a:lnTo>
                        <a:pt x="329" y="409"/>
                      </a:lnTo>
                      <a:lnTo>
                        <a:pt x="329" y="409"/>
                      </a:lnTo>
                      <a:lnTo>
                        <a:pt x="326" y="413"/>
                      </a:lnTo>
                      <a:lnTo>
                        <a:pt x="326" y="418"/>
                      </a:lnTo>
                      <a:lnTo>
                        <a:pt x="324" y="422"/>
                      </a:lnTo>
                      <a:lnTo>
                        <a:pt x="322" y="427"/>
                      </a:lnTo>
                      <a:lnTo>
                        <a:pt x="322" y="427"/>
                      </a:lnTo>
                      <a:lnTo>
                        <a:pt x="319" y="434"/>
                      </a:lnTo>
                      <a:lnTo>
                        <a:pt x="317" y="439"/>
                      </a:lnTo>
                      <a:lnTo>
                        <a:pt x="317" y="444"/>
                      </a:lnTo>
                      <a:lnTo>
                        <a:pt x="321" y="448"/>
                      </a:lnTo>
                      <a:lnTo>
                        <a:pt x="321" y="448"/>
                      </a:lnTo>
                      <a:lnTo>
                        <a:pt x="326" y="449"/>
                      </a:lnTo>
                      <a:lnTo>
                        <a:pt x="329" y="449"/>
                      </a:lnTo>
                      <a:lnTo>
                        <a:pt x="331" y="448"/>
                      </a:lnTo>
                      <a:lnTo>
                        <a:pt x="333" y="446"/>
                      </a:lnTo>
                      <a:lnTo>
                        <a:pt x="336" y="437"/>
                      </a:lnTo>
                      <a:lnTo>
                        <a:pt x="343" y="429"/>
                      </a:lnTo>
                      <a:lnTo>
                        <a:pt x="343" y="429"/>
                      </a:lnTo>
                      <a:lnTo>
                        <a:pt x="347" y="423"/>
                      </a:lnTo>
                      <a:lnTo>
                        <a:pt x="348" y="420"/>
                      </a:lnTo>
                      <a:lnTo>
                        <a:pt x="350" y="415"/>
                      </a:lnTo>
                      <a:lnTo>
                        <a:pt x="354" y="408"/>
                      </a:lnTo>
                      <a:lnTo>
                        <a:pt x="357" y="404"/>
                      </a:lnTo>
                      <a:lnTo>
                        <a:pt x="362" y="401"/>
                      </a:lnTo>
                      <a:lnTo>
                        <a:pt x="362" y="401"/>
                      </a:lnTo>
                      <a:lnTo>
                        <a:pt x="368" y="397"/>
                      </a:lnTo>
                      <a:lnTo>
                        <a:pt x="369" y="392"/>
                      </a:lnTo>
                      <a:lnTo>
                        <a:pt x="371" y="387"/>
                      </a:lnTo>
                      <a:lnTo>
                        <a:pt x="371" y="383"/>
                      </a:lnTo>
                      <a:lnTo>
                        <a:pt x="368" y="378"/>
                      </a:lnTo>
                      <a:lnTo>
                        <a:pt x="364" y="375"/>
                      </a:lnTo>
                      <a:lnTo>
                        <a:pt x="361" y="371"/>
                      </a:lnTo>
                      <a:lnTo>
                        <a:pt x="357" y="369"/>
                      </a:lnTo>
                      <a:lnTo>
                        <a:pt x="357" y="369"/>
                      </a:lnTo>
                      <a:lnTo>
                        <a:pt x="348" y="366"/>
                      </a:lnTo>
                      <a:lnTo>
                        <a:pt x="345" y="362"/>
                      </a:lnTo>
                      <a:lnTo>
                        <a:pt x="345" y="359"/>
                      </a:lnTo>
                      <a:lnTo>
                        <a:pt x="348" y="354"/>
                      </a:lnTo>
                      <a:lnTo>
                        <a:pt x="348" y="354"/>
                      </a:lnTo>
                      <a:lnTo>
                        <a:pt x="352" y="347"/>
                      </a:lnTo>
                      <a:lnTo>
                        <a:pt x="352" y="342"/>
                      </a:lnTo>
                      <a:lnTo>
                        <a:pt x="354" y="335"/>
                      </a:lnTo>
                      <a:lnTo>
                        <a:pt x="357" y="331"/>
                      </a:lnTo>
                      <a:lnTo>
                        <a:pt x="361" y="328"/>
                      </a:lnTo>
                      <a:lnTo>
                        <a:pt x="361" y="328"/>
                      </a:lnTo>
                      <a:lnTo>
                        <a:pt x="368" y="326"/>
                      </a:lnTo>
                      <a:lnTo>
                        <a:pt x="373" y="326"/>
                      </a:lnTo>
                      <a:lnTo>
                        <a:pt x="378" y="329"/>
                      </a:lnTo>
                      <a:lnTo>
                        <a:pt x="387" y="331"/>
                      </a:lnTo>
                      <a:lnTo>
                        <a:pt x="387" y="331"/>
                      </a:lnTo>
                      <a:lnTo>
                        <a:pt x="392" y="333"/>
                      </a:lnTo>
                      <a:lnTo>
                        <a:pt x="395" y="336"/>
                      </a:lnTo>
                      <a:lnTo>
                        <a:pt x="399" y="343"/>
                      </a:lnTo>
                      <a:lnTo>
                        <a:pt x="402" y="352"/>
                      </a:lnTo>
                      <a:lnTo>
                        <a:pt x="404" y="355"/>
                      </a:lnTo>
                      <a:lnTo>
                        <a:pt x="408" y="357"/>
                      </a:lnTo>
                      <a:lnTo>
                        <a:pt x="408" y="357"/>
                      </a:lnTo>
                      <a:lnTo>
                        <a:pt x="415" y="357"/>
                      </a:lnTo>
                      <a:lnTo>
                        <a:pt x="415" y="357"/>
                      </a:lnTo>
                      <a:lnTo>
                        <a:pt x="415" y="355"/>
                      </a:lnTo>
                      <a:lnTo>
                        <a:pt x="415" y="352"/>
                      </a:lnTo>
                      <a:lnTo>
                        <a:pt x="416" y="345"/>
                      </a:lnTo>
                      <a:lnTo>
                        <a:pt x="416" y="345"/>
                      </a:lnTo>
                      <a:lnTo>
                        <a:pt x="418" y="340"/>
                      </a:lnTo>
                      <a:lnTo>
                        <a:pt x="416" y="336"/>
                      </a:lnTo>
                      <a:lnTo>
                        <a:pt x="415" y="333"/>
                      </a:lnTo>
                      <a:lnTo>
                        <a:pt x="411" y="329"/>
                      </a:lnTo>
                      <a:lnTo>
                        <a:pt x="402" y="321"/>
                      </a:lnTo>
                      <a:lnTo>
                        <a:pt x="394" y="315"/>
                      </a:lnTo>
                      <a:lnTo>
                        <a:pt x="394" y="315"/>
                      </a:lnTo>
                      <a:lnTo>
                        <a:pt x="380" y="307"/>
                      </a:lnTo>
                      <a:lnTo>
                        <a:pt x="375" y="303"/>
                      </a:lnTo>
                      <a:lnTo>
                        <a:pt x="369" y="300"/>
                      </a:lnTo>
                      <a:lnTo>
                        <a:pt x="369" y="300"/>
                      </a:lnTo>
                      <a:lnTo>
                        <a:pt x="366" y="296"/>
                      </a:lnTo>
                      <a:lnTo>
                        <a:pt x="359" y="293"/>
                      </a:lnTo>
                      <a:lnTo>
                        <a:pt x="343" y="286"/>
                      </a:lnTo>
                      <a:lnTo>
                        <a:pt x="334" y="281"/>
                      </a:lnTo>
                      <a:lnTo>
                        <a:pt x="329" y="277"/>
                      </a:lnTo>
                      <a:lnTo>
                        <a:pt x="328" y="272"/>
                      </a:lnTo>
                      <a:lnTo>
                        <a:pt x="329" y="270"/>
                      </a:lnTo>
                      <a:lnTo>
                        <a:pt x="331" y="268"/>
                      </a:lnTo>
                      <a:lnTo>
                        <a:pt x="331" y="268"/>
                      </a:lnTo>
                      <a:lnTo>
                        <a:pt x="336" y="263"/>
                      </a:lnTo>
                      <a:lnTo>
                        <a:pt x="336" y="261"/>
                      </a:lnTo>
                      <a:lnTo>
                        <a:pt x="334" y="260"/>
                      </a:lnTo>
                      <a:lnTo>
                        <a:pt x="329" y="258"/>
                      </a:lnTo>
                      <a:lnTo>
                        <a:pt x="322" y="256"/>
                      </a:lnTo>
                      <a:lnTo>
                        <a:pt x="303" y="254"/>
                      </a:lnTo>
                      <a:lnTo>
                        <a:pt x="293" y="251"/>
                      </a:lnTo>
                      <a:lnTo>
                        <a:pt x="286" y="248"/>
                      </a:lnTo>
                      <a:lnTo>
                        <a:pt x="286" y="248"/>
                      </a:lnTo>
                      <a:lnTo>
                        <a:pt x="272" y="234"/>
                      </a:lnTo>
                      <a:lnTo>
                        <a:pt x="263" y="220"/>
                      </a:lnTo>
                      <a:lnTo>
                        <a:pt x="256" y="207"/>
                      </a:lnTo>
                      <a:lnTo>
                        <a:pt x="253" y="195"/>
                      </a:lnTo>
                      <a:lnTo>
                        <a:pt x="247" y="180"/>
                      </a:lnTo>
                      <a:lnTo>
                        <a:pt x="244" y="174"/>
                      </a:lnTo>
                      <a:lnTo>
                        <a:pt x="240" y="173"/>
                      </a:lnTo>
                      <a:lnTo>
                        <a:pt x="240" y="173"/>
                      </a:lnTo>
                      <a:lnTo>
                        <a:pt x="233" y="171"/>
                      </a:lnTo>
                      <a:lnTo>
                        <a:pt x="228" y="166"/>
                      </a:lnTo>
                      <a:lnTo>
                        <a:pt x="221" y="160"/>
                      </a:lnTo>
                      <a:lnTo>
                        <a:pt x="213" y="154"/>
                      </a:lnTo>
                      <a:lnTo>
                        <a:pt x="213" y="154"/>
                      </a:lnTo>
                      <a:lnTo>
                        <a:pt x="207" y="148"/>
                      </a:lnTo>
                      <a:lnTo>
                        <a:pt x="204" y="143"/>
                      </a:lnTo>
                      <a:lnTo>
                        <a:pt x="200" y="136"/>
                      </a:lnTo>
                      <a:lnTo>
                        <a:pt x="199" y="131"/>
                      </a:lnTo>
                      <a:lnTo>
                        <a:pt x="199" y="124"/>
                      </a:lnTo>
                      <a:lnTo>
                        <a:pt x="199" y="119"/>
                      </a:lnTo>
                      <a:lnTo>
                        <a:pt x="200" y="115"/>
                      </a:lnTo>
                      <a:lnTo>
                        <a:pt x="204" y="112"/>
                      </a:lnTo>
                      <a:lnTo>
                        <a:pt x="204" y="112"/>
                      </a:lnTo>
                      <a:lnTo>
                        <a:pt x="206" y="112"/>
                      </a:lnTo>
                      <a:lnTo>
                        <a:pt x="207" y="110"/>
                      </a:lnTo>
                      <a:lnTo>
                        <a:pt x="206" y="105"/>
                      </a:lnTo>
                      <a:lnTo>
                        <a:pt x="199" y="94"/>
                      </a:lnTo>
                      <a:lnTo>
                        <a:pt x="199" y="94"/>
                      </a:lnTo>
                      <a:lnTo>
                        <a:pt x="197" y="87"/>
                      </a:lnTo>
                      <a:lnTo>
                        <a:pt x="197" y="82"/>
                      </a:lnTo>
                      <a:lnTo>
                        <a:pt x="200" y="80"/>
                      </a:lnTo>
                      <a:lnTo>
                        <a:pt x="204" y="82"/>
                      </a:lnTo>
                      <a:lnTo>
                        <a:pt x="204" y="82"/>
                      </a:lnTo>
                      <a:lnTo>
                        <a:pt x="207" y="84"/>
                      </a:lnTo>
                      <a:lnTo>
                        <a:pt x="209" y="82"/>
                      </a:lnTo>
                      <a:lnTo>
                        <a:pt x="213" y="80"/>
                      </a:lnTo>
                      <a:lnTo>
                        <a:pt x="220" y="75"/>
                      </a:lnTo>
                      <a:lnTo>
                        <a:pt x="227" y="70"/>
                      </a:lnTo>
                      <a:lnTo>
                        <a:pt x="227" y="70"/>
                      </a:lnTo>
                      <a:lnTo>
                        <a:pt x="233" y="68"/>
                      </a:lnTo>
                      <a:lnTo>
                        <a:pt x="233" y="70"/>
                      </a:lnTo>
                      <a:lnTo>
                        <a:pt x="235" y="72"/>
                      </a:lnTo>
                      <a:lnTo>
                        <a:pt x="240" y="70"/>
                      </a:lnTo>
                      <a:lnTo>
                        <a:pt x="240" y="70"/>
                      </a:lnTo>
                      <a:lnTo>
                        <a:pt x="246" y="70"/>
                      </a:lnTo>
                      <a:lnTo>
                        <a:pt x="247" y="70"/>
                      </a:lnTo>
                      <a:lnTo>
                        <a:pt x="247" y="75"/>
                      </a:lnTo>
                      <a:lnTo>
                        <a:pt x="247"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7" name="Freeform 1776">
                  <a:extLst>
                    <a:ext uri="{FF2B5EF4-FFF2-40B4-BE49-F238E27FC236}">
                      <a16:creationId xmlns:a16="http://schemas.microsoft.com/office/drawing/2014/main" id="{EA8D75D9-840E-32D3-5E2A-72065148045B}"/>
                    </a:ext>
                  </a:extLst>
                </p:cNvPr>
                <p:cNvSpPr>
                  <a:spLocks/>
                </p:cNvSpPr>
                <p:nvPr/>
              </p:nvSpPr>
              <p:spPr bwMode="auto">
                <a:xfrm>
                  <a:off x="5162003" y="2896018"/>
                  <a:ext cx="111006" cy="103957"/>
                </a:xfrm>
                <a:custGeom>
                  <a:avLst/>
                  <a:gdLst/>
                  <a:ahLst/>
                  <a:cxnLst>
                    <a:cxn ang="0">
                      <a:pos x="127" y="80"/>
                    </a:cxn>
                    <a:cxn ang="0">
                      <a:pos x="134" y="81"/>
                    </a:cxn>
                    <a:cxn ang="0">
                      <a:pos x="134" y="76"/>
                    </a:cxn>
                    <a:cxn ang="0">
                      <a:pos x="123" y="61"/>
                    </a:cxn>
                    <a:cxn ang="0">
                      <a:pos x="132" y="62"/>
                    </a:cxn>
                    <a:cxn ang="0">
                      <a:pos x="137" y="61"/>
                    </a:cxn>
                    <a:cxn ang="0">
                      <a:pos x="122" y="45"/>
                    </a:cxn>
                    <a:cxn ang="0">
                      <a:pos x="118" y="38"/>
                    </a:cxn>
                    <a:cxn ang="0">
                      <a:pos x="127" y="15"/>
                    </a:cxn>
                    <a:cxn ang="0">
                      <a:pos x="116" y="17"/>
                    </a:cxn>
                    <a:cxn ang="0">
                      <a:pos x="106" y="12"/>
                    </a:cxn>
                    <a:cxn ang="0">
                      <a:pos x="101" y="7"/>
                    </a:cxn>
                    <a:cxn ang="0">
                      <a:pos x="90" y="5"/>
                    </a:cxn>
                    <a:cxn ang="0">
                      <a:pos x="78" y="7"/>
                    </a:cxn>
                    <a:cxn ang="0">
                      <a:pos x="71" y="8"/>
                    </a:cxn>
                    <a:cxn ang="0">
                      <a:pos x="57" y="3"/>
                    </a:cxn>
                    <a:cxn ang="0">
                      <a:pos x="52" y="3"/>
                    </a:cxn>
                    <a:cxn ang="0">
                      <a:pos x="31" y="0"/>
                    </a:cxn>
                    <a:cxn ang="0">
                      <a:pos x="26" y="3"/>
                    </a:cxn>
                    <a:cxn ang="0">
                      <a:pos x="15" y="5"/>
                    </a:cxn>
                    <a:cxn ang="0">
                      <a:pos x="7" y="1"/>
                    </a:cxn>
                    <a:cxn ang="0">
                      <a:pos x="0" y="17"/>
                    </a:cxn>
                    <a:cxn ang="0">
                      <a:pos x="3" y="24"/>
                    </a:cxn>
                    <a:cxn ang="0">
                      <a:pos x="14" y="38"/>
                    </a:cxn>
                    <a:cxn ang="0">
                      <a:pos x="17" y="43"/>
                    </a:cxn>
                    <a:cxn ang="0">
                      <a:pos x="14" y="50"/>
                    </a:cxn>
                    <a:cxn ang="0">
                      <a:pos x="19" y="52"/>
                    </a:cxn>
                    <a:cxn ang="0">
                      <a:pos x="42" y="78"/>
                    </a:cxn>
                    <a:cxn ang="0">
                      <a:pos x="52" y="87"/>
                    </a:cxn>
                    <a:cxn ang="0">
                      <a:pos x="59" y="99"/>
                    </a:cxn>
                    <a:cxn ang="0">
                      <a:pos x="69" y="109"/>
                    </a:cxn>
                    <a:cxn ang="0">
                      <a:pos x="69" y="113"/>
                    </a:cxn>
                    <a:cxn ang="0">
                      <a:pos x="76" y="118"/>
                    </a:cxn>
                    <a:cxn ang="0">
                      <a:pos x="85" y="125"/>
                    </a:cxn>
                    <a:cxn ang="0">
                      <a:pos x="99" y="128"/>
                    </a:cxn>
                    <a:cxn ang="0">
                      <a:pos x="96" y="116"/>
                    </a:cxn>
                    <a:cxn ang="0">
                      <a:pos x="99" y="111"/>
                    </a:cxn>
                    <a:cxn ang="0">
                      <a:pos x="108" y="97"/>
                    </a:cxn>
                    <a:cxn ang="0">
                      <a:pos x="113" y="94"/>
                    </a:cxn>
                    <a:cxn ang="0">
                      <a:pos x="116" y="99"/>
                    </a:cxn>
                    <a:cxn ang="0">
                      <a:pos x="116" y="94"/>
                    </a:cxn>
                    <a:cxn ang="0">
                      <a:pos x="115" y="81"/>
                    </a:cxn>
                    <a:cxn ang="0">
                      <a:pos x="123" y="85"/>
                    </a:cxn>
                  </a:cxnLst>
                  <a:rect l="0" t="0" r="r" b="b"/>
                  <a:pathLst>
                    <a:path w="137" h="130">
                      <a:moveTo>
                        <a:pt x="123" y="85"/>
                      </a:moveTo>
                      <a:lnTo>
                        <a:pt x="123" y="85"/>
                      </a:lnTo>
                      <a:lnTo>
                        <a:pt x="127" y="80"/>
                      </a:lnTo>
                      <a:lnTo>
                        <a:pt x="130" y="81"/>
                      </a:lnTo>
                      <a:lnTo>
                        <a:pt x="132" y="81"/>
                      </a:lnTo>
                      <a:lnTo>
                        <a:pt x="134" y="81"/>
                      </a:lnTo>
                      <a:lnTo>
                        <a:pt x="134" y="81"/>
                      </a:lnTo>
                      <a:lnTo>
                        <a:pt x="134" y="80"/>
                      </a:lnTo>
                      <a:lnTo>
                        <a:pt x="134" y="76"/>
                      </a:lnTo>
                      <a:lnTo>
                        <a:pt x="130" y="69"/>
                      </a:lnTo>
                      <a:lnTo>
                        <a:pt x="123" y="61"/>
                      </a:lnTo>
                      <a:lnTo>
                        <a:pt x="123" y="61"/>
                      </a:lnTo>
                      <a:lnTo>
                        <a:pt x="125" y="61"/>
                      </a:lnTo>
                      <a:lnTo>
                        <a:pt x="129" y="62"/>
                      </a:lnTo>
                      <a:lnTo>
                        <a:pt x="132" y="62"/>
                      </a:lnTo>
                      <a:lnTo>
                        <a:pt x="136" y="62"/>
                      </a:lnTo>
                      <a:lnTo>
                        <a:pt x="136" y="62"/>
                      </a:lnTo>
                      <a:lnTo>
                        <a:pt x="137" y="61"/>
                      </a:lnTo>
                      <a:lnTo>
                        <a:pt x="136" y="57"/>
                      </a:lnTo>
                      <a:lnTo>
                        <a:pt x="129" y="52"/>
                      </a:lnTo>
                      <a:lnTo>
                        <a:pt x="122" y="45"/>
                      </a:lnTo>
                      <a:lnTo>
                        <a:pt x="118" y="41"/>
                      </a:lnTo>
                      <a:lnTo>
                        <a:pt x="118" y="38"/>
                      </a:lnTo>
                      <a:lnTo>
                        <a:pt x="118" y="38"/>
                      </a:lnTo>
                      <a:lnTo>
                        <a:pt x="125" y="24"/>
                      </a:lnTo>
                      <a:lnTo>
                        <a:pt x="127" y="17"/>
                      </a:lnTo>
                      <a:lnTo>
                        <a:pt x="127" y="15"/>
                      </a:lnTo>
                      <a:lnTo>
                        <a:pt x="125" y="15"/>
                      </a:lnTo>
                      <a:lnTo>
                        <a:pt x="116" y="17"/>
                      </a:lnTo>
                      <a:lnTo>
                        <a:pt x="116" y="17"/>
                      </a:lnTo>
                      <a:lnTo>
                        <a:pt x="111" y="17"/>
                      </a:lnTo>
                      <a:lnTo>
                        <a:pt x="109" y="15"/>
                      </a:lnTo>
                      <a:lnTo>
                        <a:pt x="106" y="12"/>
                      </a:lnTo>
                      <a:lnTo>
                        <a:pt x="104" y="7"/>
                      </a:lnTo>
                      <a:lnTo>
                        <a:pt x="103" y="7"/>
                      </a:lnTo>
                      <a:lnTo>
                        <a:pt x="101" y="7"/>
                      </a:lnTo>
                      <a:lnTo>
                        <a:pt x="101" y="7"/>
                      </a:lnTo>
                      <a:lnTo>
                        <a:pt x="96" y="7"/>
                      </a:lnTo>
                      <a:lnTo>
                        <a:pt x="90" y="5"/>
                      </a:lnTo>
                      <a:lnTo>
                        <a:pt x="83" y="3"/>
                      </a:lnTo>
                      <a:lnTo>
                        <a:pt x="80" y="5"/>
                      </a:lnTo>
                      <a:lnTo>
                        <a:pt x="78" y="7"/>
                      </a:lnTo>
                      <a:lnTo>
                        <a:pt x="78" y="7"/>
                      </a:lnTo>
                      <a:lnTo>
                        <a:pt x="75" y="8"/>
                      </a:lnTo>
                      <a:lnTo>
                        <a:pt x="71" y="8"/>
                      </a:lnTo>
                      <a:lnTo>
                        <a:pt x="66" y="7"/>
                      </a:lnTo>
                      <a:lnTo>
                        <a:pt x="59" y="3"/>
                      </a:lnTo>
                      <a:lnTo>
                        <a:pt x="57" y="3"/>
                      </a:lnTo>
                      <a:lnTo>
                        <a:pt x="54" y="3"/>
                      </a:lnTo>
                      <a:lnTo>
                        <a:pt x="54" y="3"/>
                      </a:lnTo>
                      <a:lnTo>
                        <a:pt x="52" y="3"/>
                      </a:lnTo>
                      <a:lnTo>
                        <a:pt x="49" y="3"/>
                      </a:lnTo>
                      <a:lnTo>
                        <a:pt x="40" y="1"/>
                      </a:lnTo>
                      <a:lnTo>
                        <a:pt x="31" y="0"/>
                      </a:lnTo>
                      <a:lnTo>
                        <a:pt x="29" y="1"/>
                      </a:lnTo>
                      <a:lnTo>
                        <a:pt x="26" y="3"/>
                      </a:lnTo>
                      <a:lnTo>
                        <a:pt x="26" y="3"/>
                      </a:lnTo>
                      <a:lnTo>
                        <a:pt x="21" y="12"/>
                      </a:lnTo>
                      <a:lnTo>
                        <a:pt x="19" y="10"/>
                      </a:lnTo>
                      <a:lnTo>
                        <a:pt x="15" y="5"/>
                      </a:lnTo>
                      <a:lnTo>
                        <a:pt x="15" y="5"/>
                      </a:lnTo>
                      <a:lnTo>
                        <a:pt x="10" y="1"/>
                      </a:lnTo>
                      <a:lnTo>
                        <a:pt x="7" y="1"/>
                      </a:lnTo>
                      <a:lnTo>
                        <a:pt x="3" y="3"/>
                      </a:lnTo>
                      <a:lnTo>
                        <a:pt x="2" y="7"/>
                      </a:lnTo>
                      <a:lnTo>
                        <a:pt x="0" y="17"/>
                      </a:lnTo>
                      <a:lnTo>
                        <a:pt x="2" y="20"/>
                      </a:lnTo>
                      <a:lnTo>
                        <a:pt x="3" y="24"/>
                      </a:lnTo>
                      <a:lnTo>
                        <a:pt x="3" y="24"/>
                      </a:lnTo>
                      <a:lnTo>
                        <a:pt x="9" y="27"/>
                      </a:lnTo>
                      <a:lnTo>
                        <a:pt x="10" y="33"/>
                      </a:lnTo>
                      <a:lnTo>
                        <a:pt x="14" y="38"/>
                      </a:lnTo>
                      <a:lnTo>
                        <a:pt x="15" y="41"/>
                      </a:lnTo>
                      <a:lnTo>
                        <a:pt x="15" y="41"/>
                      </a:lnTo>
                      <a:lnTo>
                        <a:pt x="17" y="43"/>
                      </a:lnTo>
                      <a:lnTo>
                        <a:pt x="17" y="45"/>
                      </a:lnTo>
                      <a:lnTo>
                        <a:pt x="15" y="48"/>
                      </a:lnTo>
                      <a:lnTo>
                        <a:pt x="14" y="50"/>
                      </a:lnTo>
                      <a:lnTo>
                        <a:pt x="17" y="52"/>
                      </a:lnTo>
                      <a:lnTo>
                        <a:pt x="17" y="52"/>
                      </a:lnTo>
                      <a:lnTo>
                        <a:pt x="19" y="52"/>
                      </a:lnTo>
                      <a:lnTo>
                        <a:pt x="24" y="55"/>
                      </a:lnTo>
                      <a:lnTo>
                        <a:pt x="33" y="66"/>
                      </a:lnTo>
                      <a:lnTo>
                        <a:pt x="42" y="78"/>
                      </a:lnTo>
                      <a:lnTo>
                        <a:pt x="49" y="83"/>
                      </a:lnTo>
                      <a:lnTo>
                        <a:pt x="49" y="83"/>
                      </a:lnTo>
                      <a:lnTo>
                        <a:pt x="52" y="87"/>
                      </a:lnTo>
                      <a:lnTo>
                        <a:pt x="54" y="90"/>
                      </a:lnTo>
                      <a:lnTo>
                        <a:pt x="56" y="95"/>
                      </a:lnTo>
                      <a:lnTo>
                        <a:pt x="59" y="99"/>
                      </a:lnTo>
                      <a:lnTo>
                        <a:pt x="59" y="99"/>
                      </a:lnTo>
                      <a:lnTo>
                        <a:pt x="68" y="106"/>
                      </a:lnTo>
                      <a:lnTo>
                        <a:pt x="69" y="109"/>
                      </a:lnTo>
                      <a:lnTo>
                        <a:pt x="69" y="111"/>
                      </a:lnTo>
                      <a:lnTo>
                        <a:pt x="69" y="111"/>
                      </a:lnTo>
                      <a:lnTo>
                        <a:pt x="69" y="113"/>
                      </a:lnTo>
                      <a:lnTo>
                        <a:pt x="71" y="113"/>
                      </a:lnTo>
                      <a:lnTo>
                        <a:pt x="73" y="114"/>
                      </a:lnTo>
                      <a:lnTo>
                        <a:pt x="76" y="118"/>
                      </a:lnTo>
                      <a:lnTo>
                        <a:pt x="76" y="118"/>
                      </a:lnTo>
                      <a:lnTo>
                        <a:pt x="80" y="121"/>
                      </a:lnTo>
                      <a:lnTo>
                        <a:pt x="85" y="125"/>
                      </a:lnTo>
                      <a:lnTo>
                        <a:pt x="96" y="130"/>
                      </a:lnTo>
                      <a:lnTo>
                        <a:pt x="96" y="130"/>
                      </a:lnTo>
                      <a:lnTo>
                        <a:pt x="99" y="128"/>
                      </a:lnTo>
                      <a:lnTo>
                        <a:pt x="99" y="125"/>
                      </a:lnTo>
                      <a:lnTo>
                        <a:pt x="97" y="121"/>
                      </a:lnTo>
                      <a:lnTo>
                        <a:pt x="96" y="116"/>
                      </a:lnTo>
                      <a:lnTo>
                        <a:pt x="96" y="114"/>
                      </a:lnTo>
                      <a:lnTo>
                        <a:pt x="99" y="111"/>
                      </a:lnTo>
                      <a:lnTo>
                        <a:pt x="99" y="111"/>
                      </a:lnTo>
                      <a:lnTo>
                        <a:pt x="104" y="106"/>
                      </a:lnTo>
                      <a:lnTo>
                        <a:pt x="106" y="101"/>
                      </a:lnTo>
                      <a:lnTo>
                        <a:pt x="108" y="97"/>
                      </a:lnTo>
                      <a:lnTo>
                        <a:pt x="109" y="92"/>
                      </a:lnTo>
                      <a:lnTo>
                        <a:pt x="109" y="92"/>
                      </a:lnTo>
                      <a:lnTo>
                        <a:pt x="113" y="94"/>
                      </a:lnTo>
                      <a:lnTo>
                        <a:pt x="115" y="95"/>
                      </a:lnTo>
                      <a:lnTo>
                        <a:pt x="115" y="99"/>
                      </a:lnTo>
                      <a:lnTo>
                        <a:pt x="116" y="99"/>
                      </a:lnTo>
                      <a:lnTo>
                        <a:pt x="116" y="99"/>
                      </a:lnTo>
                      <a:lnTo>
                        <a:pt x="118" y="95"/>
                      </a:lnTo>
                      <a:lnTo>
                        <a:pt x="116" y="94"/>
                      </a:lnTo>
                      <a:lnTo>
                        <a:pt x="115" y="87"/>
                      </a:lnTo>
                      <a:lnTo>
                        <a:pt x="113" y="83"/>
                      </a:lnTo>
                      <a:lnTo>
                        <a:pt x="115" y="81"/>
                      </a:lnTo>
                      <a:lnTo>
                        <a:pt x="118" y="83"/>
                      </a:lnTo>
                      <a:lnTo>
                        <a:pt x="123" y="85"/>
                      </a:lnTo>
                      <a:lnTo>
                        <a:pt x="123" y="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8" name="Freeform 1777">
                  <a:extLst>
                    <a:ext uri="{FF2B5EF4-FFF2-40B4-BE49-F238E27FC236}">
                      <a16:creationId xmlns:a16="http://schemas.microsoft.com/office/drawing/2014/main" id="{1C3E4F9A-9B74-0663-A9DF-92C67C55B537}"/>
                    </a:ext>
                  </a:extLst>
                </p:cNvPr>
                <p:cNvSpPr>
                  <a:spLocks/>
                </p:cNvSpPr>
                <p:nvPr/>
              </p:nvSpPr>
              <p:spPr bwMode="auto">
                <a:xfrm>
                  <a:off x="6032432" y="2469613"/>
                  <a:ext cx="1147065" cy="607890"/>
                </a:xfrm>
                <a:custGeom>
                  <a:avLst/>
                  <a:gdLst/>
                  <a:ahLst/>
                  <a:cxnLst>
                    <a:cxn ang="0">
                      <a:pos x="834" y="687"/>
                    </a:cxn>
                    <a:cxn ang="0">
                      <a:pos x="789" y="729"/>
                    </a:cxn>
                    <a:cxn ang="0">
                      <a:pos x="766" y="757"/>
                    </a:cxn>
                    <a:cxn ang="0">
                      <a:pos x="745" y="729"/>
                    </a:cxn>
                    <a:cxn ang="0">
                      <a:pos x="698" y="689"/>
                    </a:cxn>
                    <a:cxn ang="0">
                      <a:pos x="677" y="645"/>
                    </a:cxn>
                    <a:cxn ang="0">
                      <a:pos x="637" y="607"/>
                    </a:cxn>
                    <a:cxn ang="0">
                      <a:pos x="538" y="614"/>
                    </a:cxn>
                    <a:cxn ang="0">
                      <a:pos x="531" y="551"/>
                    </a:cxn>
                    <a:cxn ang="0">
                      <a:pos x="515" y="510"/>
                    </a:cxn>
                    <a:cxn ang="0">
                      <a:pos x="519" y="473"/>
                    </a:cxn>
                    <a:cxn ang="0">
                      <a:pos x="512" y="461"/>
                    </a:cxn>
                    <a:cxn ang="0">
                      <a:pos x="486" y="454"/>
                    </a:cxn>
                    <a:cxn ang="0">
                      <a:pos x="466" y="485"/>
                    </a:cxn>
                    <a:cxn ang="0">
                      <a:pos x="447" y="492"/>
                    </a:cxn>
                    <a:cxn ang="0">
                      <a:pos x="331" y="543"/>
                    </a:cxn>
                    <a:cxn ang="0">
                      <a:pos x="289" y="687"/>
                    </a:cxn>
                    <a:cxn ang="0">
                      <a:pos x="204" y="691"/>
                    </a:cxn>
                    <a:cxn ang="0">
                      <a:pos x="191" y="647"/>
                    </a:cxn>
                    <a:cxn ang="0">
                      <a:pos x="164" y="619"/>
                    </a:cxn>
                    <a:cxn ang="0">
                      <a:pos x="132" y="562"/>
                    </a:cxn>
                    <a:cxn ang="0">
                      <a:pos x="174" y="565"/>
                    </a:cxn>
                    <a:cxn ang="0">
                      <a:pos x="165" y="534"/>
                    </a:cxn>
                    <a:cxn ang="0">
                      <a:pos x="211" y="524"/>
                    </a:cxn>
                    <a:cxn ang="0">
                      <a:pos x="230" y="475"/>
                    </a:cxn>
                    <a:cxn ang="0">
                      <a:pos x="198" y="452"/>
                    </a:cxn>
                    <a:cxn ang="0">
                      <a:pos x="113" y="466"/>
                    </a:cxn>
                    <a:cxn ang="0">
                      <a:pos x="75" y="489"/>
                    </a:cxn>
                    <a:cxn ang="0">
                      <a:pos x="73" y="431"/>
                    </a:cxn>
                    <a:cxn ang="0">
                      <a:pos x="16" y="377"/>
                    </a:cxn>
                    <a:cxn ang="0">
                      <a:pos x="10" y="320"/>
                    </a:cxn>
                    <a:cxn ang="0">
                      <a:pos x="50" y="283"/>
                    </a:cxn>
                    <a:cxn ang="0">
                      <a:pos x="101" y="236"/>
                    </a:cxn>
                    <a:cxn ang="0">
                      <a:pos x="184" y="205"/>
                    </a:cxn>
                    <a:cxn ang="0">
                      <a:pos x="299" y="252"/>
                    </a:cxn>
                    <a:cxn ang="0">
                      <a:pos x="374" y="238"/>
                    </a:cxn>
                    <a:cxn ang="0">
                      <a:pos x="466" y="249"/>
                    </a:cxn>
                    <a:cxn ang="0">
                      <a:pos x="527" y="229"/>
                    </a:cxn>
                    <a:cxn ang="0">
                      <a:pos x="496" y="177"/>
                    </a:cxn>
                    <a:cxn ang="0">
                      <a:pos x="529" y="134"/>
                    </a:cxn>
                    <a:cxn ang="0">
                      <a:pos x="508" y="80"/>
                    </a:cxn>
                    <a:cxn ang="0">
                      <a:pos x="778" y="7"/>
                    </a:cxn>
                    <a:cxn ang="0">
                      <a:pos x="857" y="31"/>
                    </a:cxn>
                    <a:cxn ang="0">
                      <a:pos x="954" y="80"/>
                    </a:cxn>
                    <a:cxn ang="0">
                      <a:pos x="1038" y="62"/>
                    </a:cxn>
                    <a:cxn ang="0">
                      <a:pos x="1088" y="113"/>
                    </a:cxn>
                    <a:cxn ang="0">
                      <a:pos x="1189" y="233"/>
                    </a:cxn>
                    <a:cxn ang="0">
                      <a:pos x="1281" y="240"/>
                    </a:cxn>
                    <a:cxn ang="0">
                      <a:pos x="1400" y="306"/>
                    </a:cxn>
                    <a:cxn ang="0">
                      <a:pos x="1410" y="348"/>
                    </a:cxn>
                    <a:cxn ang="0">
                      <a:pos x="1370" y="419"/>
                    </a:cxn>
                    <a:cxn ang="0">
                      <a:pos x="1328" y="442"/>
                    </a:cxn>
                    <a:cxn ang="0">
                      <a:pos x="1264" y="491"/>
                    </a:cxn>
                    <a:cxn ang="0">
                      <a:pos x="1257" y="536"/>
                    </a:cxn>
                    <a:cxn ang="0">
                      <a:pos x="1175" y="550"/>
                    </a:cxn>
                    <a:cxn ang="0">
                      <a:pos x="1198" y="630"/>
                    </a:cxn>
                    <a:cxn ang="0">
                      <a:pos x="1182" y="665"/>
                    </a:cxn>
                    <a:cxn ang="0">
                      <a:pos x="1146" y="654"/>
                    </a:cxn>
                    <a:cxn ang="0">
                      <a:pos x="1010" y="649"/>
                    </a:cxn>
                    <a:cxn ang="0">
                      <a:pos x="944" y="670"/>
                    </a:cxn>
                    <a:cxn ang="0">
                      <a:pos x="858" y="670"/>
                    </a:cxn>
                  </a:cxnLst>
                  <a:rect l="0" t="0" r="r" b="b"/>
                  <a:pathLst>
                    <a:path w="1431" h="757">
                      <a:moveTo>
                        <a:pt x="857" y="677"/>
                      </a:moveTo>
                      <a:lnTo>
                        <a:pt x="855" y="679"/>
                      </a:lnTo>
                      <a:lnTo>
                        <a:pt x="855" y="679"/>
                      </a:lnTo>
                      <a:lnTo>
                        <a:pt x="848" y="680"/>
                      </a:lnTo>
                      <a:lnTo>
                        <a:pt x="846" y="684"/>
                      </a:lnTo>
                      <a:lnTo>
                        <a:pt x="846" y="687"/>
                      </a:lnTo>
                      <a:lnTo>
                        <a:pt x="844" y="689"/>
                      </a:lnTo>
                      <a:lnTo>
                        <a:pt x="844" y="689"/>
                      </a:lnTo>
                      <a:lnTo>
                        <a:pt x="841" y="687"/>
                      </a:lnTo>
                      <a:lnTo>
                        <a:pt x="841" y="686"/>
                      </a:lnTo>
                      <a:lnTo>
                        <a:pt x="837" y="684"/>
                      </a:lnTo>
                      <a:lnTo>
                        <a:pt x="834" y="687"/>
                      </a:lnTo>
                      <a:lnTo>
                        <a:pt x="834" y="687"/>
                      </a:lnTo>
                      <a:lnTo>
                        <a:pt x="823" y="699"/>
                      </a:lnTo>
                      <a:lnTo>
                        <a:pt x="809" y="706"/>
                      </a:lnTo>
                      <a:lnTo>
                        <a:pt x="809" y="706"/>
                      </a:lnTo>
                      <a:lnTo>
                        <a:pt x="806" y="710"/>
                      </a:lnTo>
                      <a:lnTo>
                        <a:pt x="803" y="712"/>
                      </a:lnTo>
                      <a:lnTo>
                        <a:pt x="801" y="715"/>
                      </a:lnTo>
                      <a:lnTo>
                        <a:pt x="796" y="717"/>
                      </a:lnTo>
                      <a:lnTo>
                        <a:pt x="796" y="717"/>
                      </a:lnTo>
                      <a:lnTo>
                        <a:pt x="792" y="719"/>
                      </a:lnTo>
                      <a:lnTo>
                        <a:pt x="790" y="719"/>
                      </a:lnTo>
                      <a:lnTo>
                        <a:pt x="789" y="724"/>
                      </a:lnTo>
                      <a:lnTo>
                        <a:pt x="789" y="727"/>
                      </a:lnTo>
                      <a:lnTo>
                        <a:pt x="789" y="729"/>
                      </a:lnTo>
                      <a:lnTo>
                        <a:pt x="787" y="731"/>
                      </a:lnTo>
                      <a:lnTo>
                        <a:pt x="787" y="731"/>
                      </a:lnTo>
                      <a:lnTo>
                        <a:pt x="780" y="736"/>
                      </a:lnTo>
                      <a:lnTo>
                        <a:pt x="775" y="740"/>
                      </a:lnTo>
                      <a:lnTo>
                        <a:pt x="771" y="745"/>
                      </a:lnTo>
                      <a:lnTo>
                        <a:pt x="771" y="748"/>
                      </a:lnTo>
                      <a:lnTo>
                        <a:pt x="773" y="752"/>
                      </a:lnTo>
                      <a:lnTo>
                        <a:pt x="773" y="752"/>
                      </a:lnTo>
                      <a:lnTo>
                        <a:pt x="775" y="755"/>
                      </a:lnTo>
                      <a:lnTo>
                        <a:pt x="773" y="757"/>
                      </a:lnTo>
                      <a:lnTo>
                        <a:pt x="769" y="757"/>
                      </a:lnTo>
                      <a:lnTo>
                        <a:pt x="766" y="757"/>
                      </a:lnTo>
                      <a:lnTo>
                        <a:pt x="766" y="757"/>
                      </a:lnTo>
                      <a:lnTo>
                        <a:pt x="752" y="748"/>
                      </a:lnTo>
                      <a:lnTo>
                        <a:pt x="752" y="748"/>
                      </a:lnTo>
                      <a:lnTo>
                        <a:pt x="756" y="743"/>
                      </a:lnTo>
                      <a:lnTo>
                        <a:pt x="757" y="738"/>
                      </a:lnTo>
                      <a:lnTo>
                        <a:pt x="757" y="736"/>
                      </a:lnTo>
                      <a:lnTo>
                        <a:pt x="757" y="736"/>
                      </a:lnTo>
                      <a:lnTo>
                        <a:pt x="756" y="736"/>
                      </a:lnTo>
                      <a:lnTo>
                        <a:pt x="754" y="736"/>
                      </a:lnTo>
                      <a:lnTo>
                        <a:pt x="752" y="736"/>
                      </a:lnTo>
                      <a:lnTo>
                        <a:pt x="750" y="733"/>
                      </a:lnTo>
                      <a:lnTo>
                        <a:pt x="750" y="733"/>
                      </a:lnTo>
                      <a:lnTo>
                        <a:pt x="749" y="729"/>
                      </a:lnTo>
                      <a:lnTo>
                        <a:pt x="745" y="729"/>
                      </a:lnTo>
                      <a:lnTo>
                        <a:pt x="726" y="731"/>
                      </a:lnTo>
                      <a:lnTo>
                        <a:pt x="726" y="731"/>
                      </a:lnTo>
                      <a:lnTo>
                        <a:pt x="712" y="731"/>
                      </a:lnTo>
                      <a:lnTo>
                        <a:pt x="707" y="729"/>
                      </a:lnTo>
                      <a:lnTo>
                        <a:pt x="705" y="727"/>
                      </a:lnTo>
                      <a:lnTo>
                        <a:pt x="703" y="724"/>
                      </a:lnTo>
                      <a:lnTo>
                        <a:pt x="703" y="717"/>
                      </a:lnTo>
                      <a:lnTo>
                        <a:pt x="703" y="717"/>
                      </a:lnTo>
                      <a:lnTo>
                        <a:pt x="703" y="698"/>
                      </a:lnTo>
                      <a:lnTo>
                        <a:pt x="702" y="692"/>
                      </a:lnTo>
                      <a:lnTo>
                        <a:pt x="700" y="691"/>
                      </a:lnTo>
                      <a:lnTo>
                        <a:pt x="698" y="689"/>
                      </a:lnTo>
                      <a:lnTo>
                        <a:pt x="698" y="689"/>
                      </a:lnTo>
                      <a:lnTo>
                        <a:pt x="682" y="689"/>
                      </a:lnTo>
                      <a:lnTo>
                        <a:pt x="682" y="689"/>
                      </a:lnTo>
                      <a:lnTo>
                        <a:pt x="682" y="684"/>
                      </a:lnTo>
                      <a:lnTo>
                        <a:pt x="682" y="677"/>
                      </a:lnTo>
                      <a:lnTo>
                        <a:pt x="684" y="665"/>
                      </a:lnTo>
                      <a:lnTo>
                        <a:pt x="684" y="665"/>
                      </a:lnTo>
                      <a:lnTo>
                        <a:pt x="688" y="645"/>
                      </a:lnTo>
                      <a:lnTo>
                        <a:pt x="686" y="642"/>
                      </a:lnTo>
                      <a:lnTo>
                        <a:pt x="686" y="642"/>
                      </a:lnTo>
                      <a:lnTo>
                        <a:pt x="682" y="642"/>
                      </a:lnTo>
                      <a:lnTo>
                        <a:pt x="681" y="644"/>
                      </a:lnTo>
                      <a:lnTo>
                        <a:pt x="681" y="644"/>
                      </a:lnTo>
                      <a:lnTo>
                        <a:pt x="677" y="645"/>
                      </a:lnTo>
                      <a:lnTo>
                        <a:pt x="674" y="645"/>
                      </a:lnTo>
                      <a:lnTo>
                        <a:pt x="670" y="639"/>
                      </a:lnTo>
                      <a:lnTo>
                        <a:pt x="667" y="628"/>
                      </a:lnTo>
                      <a:lnTo>
                        <a:pt x="663" y="625"/>
                      </a:lnTo>
                      <a:lnTo>
                        <a:pt x="660" y="621"/>
                      </a:lnTo>
                      <a:lnTo>
                        <a:pt x="660" y="621"/>
                      </a:lnTo>
                      <a:lnTo>
                        <a:pt x="655" y="619"/>
                      </a:lnTo>
                      <a:lnTo>
                        <a:pt x="653" y="616"/>
                      </a:lnTo>
                      <a:lnTo>
                        <a:pt x="648" y="609"/>
                      </a:lnTo>
                      <a:lnTo>
                        <a:pt x="646" y="607"/>
                      </a:lnTo>
                      <a:lnTo>
                        <a:pt x="644" y="605"/>
                      </a:lnTo>
                      <a:lnTo>
                        <a:pt x="641" y="605"/>
                      </a:lnTo>
                      <a:lnTo>
                        <a:pt x="637" y="607"/>
                      </a:lnTo>
                      <a:lnTo>
                        <a:pt x="637" y="607"/>
                      </a:lnTo>
                      <a:lnTo>
                        <a:pt x="628" y="612"/>
                      </a:lnTo>
                      <a:lnTo>
                        <a:pt x="621" y="614"/>
                      </a:lnTo>
                      <a:lnTo>
                        <a:pt x="614" y="614"/>
                      </a:lnTo>
                      <a:lnTo>
                        <a:pt x="608" y="612"/>
                      </a:lnTo>
                      <a:lnTo>
                        <a:pt x="590" y="611"/>
                      </a:lnTo>
                      <a:lnTo>
                        <a:pt x="580" y="611"/>
                      </a:lnTo>
                      <a:lnTo>
                        <a:pt x="567" y="612"/>
                      </a:lnTo>
                      <a:lnTo>
                        <a:pt x="567" y="612"/>
                      </a:lnTo>
                      <a:lnTo>
                        <a:pt x="554" y="616"/>
                      </a:lnTo>
                      <a:lnTo>
                        <a:pt x="543" y="618"/>
                      </a:lnTo>
                      <a:lnTo>
                        <a:pt x="540" y="616"/>
                      </a:lnTo>
                      <a:lnTo>
                        <a:pt x="538" y="614"/>
                      </a:lnTo>
                      <a:lnTo>
                        <a:pt x="531" y="605"/>
                      </a:lnTo>
                      <a:lnTo>
                        <a:pt x="531" y="605"/>
                      </a:lnTo>
                      <a:lnTo>
                        <a:pt x="512" y="581"/>
                      </a:lnTo>
                      <a:lnTo>
                        <a:pt x="512" y="581"/>
                      </a:lnTo>
                      <a:lnTo>
                        <a:pt x="510" y="578"/>
                      </a:lnTo>
                      <a:lnTo>
                        <a:pt x="510" y="576"/>
                      </a:lnTo>
                      <a:lnTo>
                        <a:pt x="510" y="576"/>
                      </a:lnTo>
                      <a:lnTo>
                        <a:pt x="510" y="567"/>
                      </a:lnTo>
                      <a:lnTo>
                        <a:pt x="510" y="564"/>
                      </a:lnTo>
                      <a:lnTo>
                        <a:pt x="512" y="562"/>
                      </a:lnTo>
                      <a:lnTo>
                        <a:pt x="515" y="560"/>
                      </a:lnTo>
                      <a:lnTo>
                        <a:pt x="524" y="555"/>
                      </a:lnTo>
                      <a:lnTo>
                        <a:pt x="531" y="551"/>
                      </a:lnTo>
                      <a:lnTo>
                        <a:pt x="540" y="543"/>
                      </a:lnTo>
                      <a:lnTo>
                        <a:pt x="540" y="543"/>
                      </a:lnTo>
                      <a:lnTo>
                        <a:pt x="538" y="536"/>
                      </a:lnTo>
                      <a:lnTo>
                        <a:pt x="536" y="534"/>
                      </a:lnTo>
                      <a:lnTo>
                        <a:pt x="533" y="532"/>
                      </a:lnTo>
                      <a:lnTo>
                        <a:pt x="529" y="532"/>
                      </a:lnTo>
                      <a:lnTo>
                        <a:pt x="527" y="534"/>
                      </a:lnTo>
                      <a:lnTo>
                        <a:pt x="524" y="532"/>
                      </a:lnTo>
                      <a:lnTo>
                        <a:pt x="522" y="531"/>
                      </a:lnTo>
                      <a:lnTo>
                        <a:pt x="522" y="525"/>
                      </a:lnTo>
                      <a:lnTo>
                        <a:pt x="522" y="525"/>
                      </a:lnTo>
                      <a:lnTo>
                        <a:pt x="519" y="515"/>
                      </a:lnTo>
                      <a:lnTo>
                        <a:pt x="515" y="510"/>
                      </a:lnTo>
                      <a:lnTo>
                        <a:pt x="512" y="504"/>
                      </a:lnTo>
                      <a:lnTo>
                        <a:pt x="507" y="494"/>
                      </a:lnTo>
                      <a:lnTo>
                        <a:pt x="507" y="494"/>
                      </a:lnTo>
                      <a:lnTo>
                        <a:pt x="505" y="489"/>
                      </a:lnTo>
                      <a:lnTo>
                        <a:pt x="507" y="485"/>
                      </a:lnTo>
                      <a:lnTo>
                        <a:pt x="507" y="484"/>
                      </a:lnTo>
                      <a:lnTo>
                        <a:pt x="510" y="485"/>
                      </a:lnTo>
                      <a:lnTo>
                        <a:pt x="515" y="485"/>
                      </a:lnTo>
                      <a:lnTo>
                        <a:pt x="517" y="484"/>
                      </a:lnTo>
                      <a:lnTo>
                        <a:pt x="517" y="480"/>
                      </a:lnTo>
                      <a:lnTo>
                        <a:pt x="517" y="480"/>
                      </a:lnTo>
                      <a:lnTo>
                        <a:pt x="517" y="475"/>
                      </a:lnTo>
                      <a:lnTo>
                        <a:pt x="519" y="473"/>
                      </a:lnTo>
                      <a:lnTo>
                        <a:pt x="524" y="470"/>
                      </a:lnTo>
                      <a:lnTo>
                        <a:pt x="526" y="468"/>
                      </a:lnTo>
                      <a:lnTo>
                        <a:pt x="527" y="466"/>
                      </a:lnTo>
                      <a:lnTo>
                        <a:pt x="527" y="461"/>
                      </a:lnTo>
                      <a:lnTo>
                        <a:pt x="527" y="454"/>
                      </a:lnTo>
                      <a:lnTo>
                        <a:pt x="527" y="454"/>
                      </a:lnTo>
                      <a:lnTo>
                        <a:pt x="527" y="450"/>
                      </a:lnTo>
                      <a:lnTo>
                        <a:pt x="526" y="449"/>
                      </a:lnTo>
                      <a:lnTo>
                        <a:pt x="522" y="449"/>
                      </a:lnTo>
                      <a:lnTo>
                        <a:pt x="520" y="449"/>
                      </a:lnTo>
                      <a:lnTo>
                        <a:pt x="515" y="454"/>
                      </a:lnTo>
                      <a:lnTo>
                        <a:pt x="512" y="461"/>
                      </a:lnTo>
                      <a:lnTo>
                        <a:pt x="512" y="461"/>
                      </a:lnTo>
                      <a:lnTo>
                        <a:pt x="510" y="464"/>
                      </a:lnTo>
                      <a:lnTo>
                        <a:pt x="508" y="466"/>
                      </a:lnTo>
                      <a:lnTo>
                        <a:pt x="503" y="470"/>
                      </a:lnTo>
                      <a:lnTo>
                        <a:pt x="501" y="470"/>
                      </a:lnTo>
                      <a:lnTo>
                        <a:pt x="500" y="468"/>
                      </a:lnTo>
                      <a:lnTo>
                        <a:pt x="500" y="466"/>
                      </a:lnTo>
                      <a:lnTo>
                        <a:pt x="501" y="461"/>
                      </a:lnTo>
                      <a:lnTo>
                        <a:pt x="501" y="461"/>
                      </a:lnTo>
                      <a:lnTo>
                        <a:pt x="503" y="457"/>
                      </a:lnTo>
                      <a:lnTo>
                        <a:pt x="501" y="454"/>
                      </a:lnTo>
                      <a:lnTo>
                        <a:pt x="500" y="452"/>
                      </a:lnTo>
                      <a:lnTo>
                        <a:pt x="496" y="452"/>
                      </a:lnTo>
                      <a:lnTo>
                        <a:pt x="486" y="454"/>
                      </a:lnTo>
                      <a:lnTo>
                        <a:pt x="472" y="461"/>
                      </a:lnTo>
                      <a:lnTo>
                        <a:pt x="472" y="461"/>
                      </a:lnTo>
                      <a:lnTo>
                        <a:pt x="466" y="464"/>
                      </a:lnTo>
                      <a:lnTo>
                        <a:pt x="465" y="466"/>
                      </a:lnTo>
                      <a:lnTo>
                        <a:pt x="465" y="468"/>
                      </a:lnTo>
                      <a:lnTo>
                        <a:pt x="468" y="470"/>
                      </a:lnTo>
                      <a:lnTo>
                        <a:pt x="473" y="475"/>
                      </a:lnTo>
                      <a:lnTo>
                        <a:pt x="473" y="477"/>
                      </a:lnTo>
                      <a:lnTo>
                        <a:pt x="473" y="482"/>
                      </a:lnTo>
                      <a:lnTo>
                        <a:pt x="473" y="482"/>
                      </a:lnTo>
                      <a:lnTo>
                        <a:pt x="472" y="485"/>
                      </a:lnTo>
                      <a:lnTo>
                        <a:pt x="468" y="485"/>
                      </a:lnTo>
                      <a:lnTo>
                        <a:pt x="466" y="485"/>
                      </a:lnTo>
                      <a:lnTo>
                        <a:pt x="465" y="482"/>
                      </a:lnTo>
                      <a:lnTo>
                        <a:pt x="460" y="477"/>
                      </a:lnTo>
                      <a:lnTo>
                        <a:pt x="456" y="475"/>
                      </a:lnTo>
                      <a:lnTo>
                        <a:pt x="454" y="477"/>
                      </a:lnTo>
                      <a:lnTo>
                        <a:pt x="454" y="477"/>
                      </a:lnTo>
                      <a:lnTo>
                        <a:pt x="451" y="478"/>
                      </a:lnTo>
                      <a:lnTo>
                        <a:pt x="451" y="478"/>
                      </a:lnTo>
                      <a:lnTo>
                        <a:pt x="453" y="482"/>
                      </a:lnTo>
                      <a:lnTo>
                        <a:pt x="454" y="485"/>
                      </a:lnTo>
                      <a:lnTo>
                        <a:pt x="454" y="489"/>
                      </a:lnTo>
                      <a:lnTo>
                        <a:pt x="451" y="491"/>
                      </a:lnTo>
                      <a:lnTo>
                        <a:pt x="451" y="491"/>
                      </a:lnTo>
                      <a:lnTo>
                        <a:pt x="447" y="492"/>
                      </a:lnTo>
                      <a:lnTo>
                        <a:pt x="444" y="494"/>
                      </a:lnTo>
                      <a:lnTo>
                        <a:pt x="437" y="494"/>
                      </a:lnTo>
                      <a:lnTo>
                        <a:pt x="433" y="494"/>
                      </a:lnTo>
                      <a:lnTo>
                        <a:pt x="430" y="497"/>
                      </a:lnTo>
                      <a:lnTo>
                        <a:pt x="426" y="504"/>
                      </a:lnTo>
                      <a:lnTo>
                        <a:pt x="421" y="513"/>
                      </a:lnTo>
                      <a:lnTo>
                        <a:pt x="421" y="513"/>
                      </a:lnTo>
                      <a:lnTo>
                        <a:pt x="406" y="517"/>
                      </a:lnTo>
                      <a:lnTo>
                        <a:pt x="381" y="525"/>
                      </a:lnTo>
                      <a:lnTo>
                        <a:pt x="338" y="539"/>
                      </a:lnTo>
                      <a:lnTo>
                        <a:pt x="338" y="539"/>
                      </a:lnTo>
                      <a:lnTo>
                        <a:pt x="332" y="541"/>
                      </a:lnTo>
                      <a:lnTo>
                        <a:pt x="331" y="543"/>
                      </a:lnTo>
                      <a:lnTo>
                        <a:pt x="331" y="557"/>
                      </a:lnTo>
                      <a:lnTo>
                        <a:pt x="331" y="557"/>
                      </a:lnTo>
                      <a:lnTo>
                        <a:pt x="331" y="722"/>
                      </a:lnTo>
                      <a:lnTo>
                        <a:pt x="331" y="722"/>
                      </a:lnTo>
                      <a:lnTo>
                        <a:pt x="324" y="724"/>
                      </a:lnTo>
                      <a:lnTo>
                        <a:pt x="318" y="726"/>
                      </a:lnTo>
                      <a:lnTo>
                        <a:pt x="313" y="726"/>
                      </a:lnTo>
                      <a:lnTo>
                        <a:pt x="312" y="724"/>
                      </a:lnTo>
                      <a:lnTo>
                        <a:pt x="308" y="720"/>
                      </a:lnTo>
                      <a:lnTo>
                        <a:pt x="308" y="720"/>
                      </a:lnTo>
                      <a:lnTo>
                        <a:pt x="296" y="698"/>
                      </a:lnTo>
                      <a:lnTo>
                        <a:pt x="292" y="691"/>
                      </a:lnTo>
                      <a:lnTo>
                        <a:pt x="289" y="687"/>
                      </a:lnTo>
                      <a:lnTo>
                        <a:pt x="289" y="687"/>
                      </a:lnTo>
                      <a:lnTo>
                        <a:pt x="275" y="677"/>
                      </a:lnTo>
                      <a:lnTo>
                        <a:pt x="264" y="673"/>
                      </a:lnTo>
                      <a:lnTo>
                        <a:pt x="261" y="673"/>
                      </a:lnTo>
                      <a:lnTo>
                        <a:pt x="256" y="673"/>
                      </a:lnTo>
                      <a:lnTo>
                        <a:pt x="256" y="673"/>
                      </a:lnTo>
                      <a:lnTo>
                        <a:pt x="237" y="677"/>
                      </a:lnTo>
                      <a:lnTo>
                        <a:pt x="228" y="682"/>
                      </a:lnTo>
                      <a:lnTo>
                        <a:pt x="221" y="686"/>
                      </a:lnTo>
                      <a:lnTo>
                        <a:pt x="221" y="686"/>
                      </a:lnTo>
                      <a:lnTo>
                        <a:pt x="205" y="701"/>
                      </a:lnTo>
                      <a:lnTo>
                        <a:pt x="205" y="701"/>
                      </a:lnTo>
                      <a:lnTo>
                        <a:pt x="204" y="691"/>
                      </a:lnTo>
                      <a:lnTo>
                        <a:pt x="205" y="682"/>
                      </a:lnTo>
                      <a:lnTo>
                        <a:pt x="209" y="677"/>
                      </a:lnTo>
                      <a:lnTo>
                        <a:pt x="212" y="670"/>
                      </a:lnTo>
                      <a:lnTo>
                        <a:pt x="216" y="666"/>
                      </a:lnTo>
                      <a:lnTo>
                        <a:pt x="217" y="661"/>
                      </a:lnTo>
                      <a:lnTo>
                        <a:pt x="216" y="656"/>
                      </a:lnTo>
                      <a:lnTo>
                        <a:pt x="212" y="651"/>
                      </a:lnTo>
                      <a:lnTo>
                        <a:pt x="212" y="651"/>
                      </a:lnTo>
                      <a:lnTo>
                        <a:pt x="205" y="647"/>
                      </a:lnTo>
                      <a:lnTo>
                        <a:pt x="202" y="645"/>
                      </a:lnTo>
                      <a:lnTo>
                        <a:pt x="197" y="645"/>
                      </a:lnTo>
                      <a:lnTo>
                        <a:pt x="195" y="645"/>
                      </a:lnTo>
                      <a:lnTo>
                        <a:pt x="191" y="647"/>
                      </a:lnTo>
                      <a:lnTo>
                        <a:pt x="190" y="647"/>
                      </a:lnTo>
                      <a:lnTo>
                        <a:pt x="186" y="645"/>
                      </a:lnTo>
                      <a:lnTo>
                        <a:pt x="184" y="640"/>
                      </a:lnTo>
                      <a:lnTo>
                        <a:pt x="184" y="640"/>
                      </a:lnTo>
                      <a:lnTo>
                        <a:pt x="181" y="635"/>
                      </a:lnTo>
                      <a:lnTo>
                        <a:pt x="177" y="633"/>
                      </a:lnTo>
                      <a:lnTo>
                        <a:pt x="174" y="632"/>
                      </a:lnTo>
                      <a:lnTo>
                        <a:pt x="170" y="633"/>
                      </a:lnTo>
                      <a:lnTo>
                        <a:pt x="165" y="633"/>
                      </a:lnTo>
                      <a:lnTo>
                        <a:pt x="165" y="632"/>
                      </a:lnTo>
                      <a:lnTo>
                        <a:pt x="164" y="630"/>
                      </a:lnTo>
                      <a:lnTo>
                        <a:pt x="164" y="630"/>
                      </a:lnTo>
                      <a:lnTo>
                        <a:pt x="164" y="619"/>
                      </a:lnTo>
                      <a:lnTo>
                        <a:pt x="158" y="604"/>
                      </a:lnTo>
                      <a:lnTo>
                        <a:pt x="155" y="595"/>
                      </a:lnTo>
                      <a:lnTo>
                        <a:pt x="151" y="586"/>
                      </a:lnTo>
                      <a:lnTo>
                        <a:pt x="146" y="581"/>
                      </a:lnTo>
                      <a:lnTo>
                        <a:pt x="141" y="579"/>
                      </a:lnTo>
                      <a:lnTo>
                        <a:pt x="141" y="579"/>
                      </a:lnTo>
                      <a:lnTo>
                        <a:pt x="136" y="578"/>
                      </a:lnTo>
                      <a:lnTo>
                        <a:pt x="130" y="576"/>
                      </a:lnTo>
                      <a:lnTo>
                        <a:pt x="127" y="574"/>
                      </a:lnTo>
                      <a:lnTo>
                        <a:pt x="125" y="571"/>
                      </a:lnTo>
                      <a:lnTo>
                        <a:pt x="125" y="567"/>
                      </a:lnTo>
                      <a:lnTo>
                        <a:pt x="129" y="564"/>
                      </a:lnTo>
                      <a:lnTo>
                        <a:pt x="132" y="562"/>
                      </a:lnTo>
                      <a:lnTo>
                        <a:pt x="139" y="560"/>
                      </a:lnTo>
                      <a:lnTo>
                        <a:pt x="139" y="560"/>
                      </a:lnTo>
                      <a:lnTo>
                        <a:pt x="146" y="560"/>
                      </a:lnTo>
                      <a:lnTo>
                        <a:pt x="150" y="560"/>
                      </a:lnTo>
                      <a:lnTo>
                        <a:pt x="151" y="562"/>
                      </a:lnTo>
                      <a:lnTo>
                        <a:pt x="153" y="564"/>
                      </a:lnTo>
                      <a:lnTo>
                        <a:pt x="155" y="565"/>
                      </a:lnTo>
                      <a:lnTo>
                        <a:pt x="157" y="567"/>
                      </a:lnTo>
                      <a:lnTo>
                        <a:pt x="162" y="569"/>
                      </a:lnTo>
                      <a:lnTo>
                        <a:pt x="169" y="569"/>
                      </a:lnTo>
                      <a:lnTo>
                        <a:pt x="169" y="569"/>
                      </a:lnTo>
                      <a:lnTo>
                        <a:pt x="174" y="567"/>
                      </a:lnTo>
                      <a:lnTo>
                        <a:pt x="174" y="565"/>
                      </a:lnTo>
                      <a:lnTo>
                        <a:pt x="174" y="564"/>
                      </a:lnTo>
                      <a:lnTo>
                        <a:pt x="164" y="557"/>
                      </a:lnTo>
                      <a:lnTo>
                        <a:pt x="158" y="553"/>
                      </a:lnTo>
                      <a:lnTo>
                        <a:pt x="155" y="548"/>
                      </a:lnTo>
                      <a:lnTo>
                        <a:pt x="153" y="546"/>
                      </a:lnTo>
                      <a:lnTo>
                        <a:pt x="153" y="545"/>
                      </a:lnTo>
                      <a:lnTo>
                        <a:pt x="155" y="543"/>
                      </a:lnTo>
                      <a:lnTo>
                        <a:pt x="158" y="541"/>
                      </a:lnTo>
                      <a:lnTo>
                        <a:pt x="158" y="541"/>
                      </a:lnTo>
                      <a:lnTo>
                        <a:pt x="164" y="539"/>
                      </a:lnTo>
                      <a:lnTo>
                        <a:pt x="165" y="538"/>
                      </a:lnTo>
                      <a:lnTo>
                        <a:pt x="165" y="536"/>
                      </a:lnTo>
                      <a:lnTo>
                        <a:pt x="165" y="534"/>
                      </a:lnTo>
                      <a:lnTo>
                        <a:pt x="164" y="532"/>
                      </a:lnTo>
                      <a:lnTo>
                        <a:pt x="164" y="531"/>
                      </a:lnTo>
                      <a:lnTo>
                        <a:pt x="165" y="529"/>
                      </a:lnTo>
                      <a:lnTo>
                        <a:pt x="169" y="525"/>
                      </a:lnTo>
                      <a:lnTo>
                        <a:pt x="169" y="525"/>
                      </a:lnTo>
                      <a:lnTo>
                        <a:pt x="177" y="522"/>
                      </a:lnTo>
                      <a:lnTo>
                        <a:pt x="181" y="522"/>
                      </a:lnTo>
                      <a:lnTo>
                        <a:pt x="186" y="525"/>
                      </a:lnTo>
                      <a:lnTo>
                        <a:pt x="190" y="525"/>
                      </a:lnTo>
                      <a:lnTo>
                        <a:pt x="195" y="524"/>
                      </a:lnTo>
                      <a:lnTo>
                        <a:pt x="195" y="524"/>
                      </a:lnTo>
                      <a:lnTo>
                        <a:pt x="202" y="524"/>
                      </a:lnTo>
                      <a:lnTo>
                        <a:pt x="211" y="524"/>
                      </a:lnTo>
                      <a:lnTo>
                        <a:pt x="224" y="527"/>
                      </a:lnTo>
                      <a:lnTo>
                        <a:pt x="230" y="527"/>
                      </a:lnTo>
                      <a:lnTo>
                        <a:pt x="231" y="527"/>
                      </a:lnTo>
                      <a:lnTo>
                        <a:pt x="230" y="524"/>
                      </a:lnTo>
                      <a:lnTo>
                        <a:pt x="224" y="518"/>
                      </a:lnTo>
                      <a:lnTo>
                        <a:pt x="224" y="518"/>
                      </a:lnTo>
                      <a:lnTo>
                        <a:pt x="219" y="513"/>
                      </a:lnTo>
                      <a:lnTo>
                        <a:pt x="219" y="508"/>
                      </a:lnTo>
                      <a:lnTo>
                        <a:pt x="221" y="503"/>
                      </a:lnTo>
                      <a:lnTo>
                        <a:pt x="224" y="496"/>
                      </a:lnTo>
                      <a:lnTo>
                        <a:pt x="230" y="484"/>
                      </a:lnTo>
                      <a:lnTo>
                        <a:pt x="231" y="478"/>
                      </a:lnTo>
                      <a:lnTo>
                        <a:pt x="230" y="475"/>
                      </a:lnTo>
                      <a:lnTo>
                        <a:pt x="230" y="475"/>
                      </a:lnTo>
                      <a:lnTo>
                        <a:pt x="226" y="468"/>
                      </a:lnTo>
                      <a:lnTo>
                        <a:pt x="228" y="463"/>
                      </a:lnTo>
                      <a:lnTo>
                        <a:pt x="230" y="459"/>
                      </a:lnTo>
                      <a:lnTo>
                        <a:pt x="228" y="454"/>
                      </a:lnTo>
                      <a:lnTo>
                        <a:pt x="228" y="454"/>
                      </a:lnTo>
                      <a:lnTo>
                        <a:pt x="224" y="447"/>
                      </a:lnTo>
                      <a:lnTo>
                        <a:pt x="217" y="444"/>
                      </a:lnTo>
                      <a:lnTo>
                        <a:pt x="209" y="444"/>
                      </a:lnTo>
                      <a:lnTo>
                        <a:pt x="205" y="445"/>
                      </a:lnTo>
                      <a:lnTo>
                        <a:pt x="204" y="447"/>
                      </a:lnTo>
                      <a:lnTo>
                        <a:pt x="204" y="447"/>
                      </a:lnTo>
                      <a:lnTo>
                        <a:pt x="198" y="452"/>
                      </a:lnTo>
                      <a:lnTo>
                        <a:pt x="195" y="452"/>
                      </a:lnTo>
                      <a:lnTo>
                        <a:pt x="179" y="444"/>
                      </a:lnTo>
                      <a:lnTo>
                        <a:pt x="179" y="444"/>
                      </a:lnTo>
                      <a:lnTo>
                        <a:pt x="172" y="440"/>
                      </a:lnTo>
                      <a:lnTo>
                        <a:pt x="167" y="438"/>
                      </a:lnTo>
                      <a:lnTo>
                        <a:pt x="160" y="438"/>
                      </a:lnTo>
                      <a:lnTo>
                        <a:pt x="153" y="440"/>
                      </a:lnTo>
                      <a:lnTo>
                        <a:pt x="148" y="442"/>
                      </a:lnTo>
                      <a:lnTo>
                        <a:pt x="141" y="445"/>
                      </a:lnTo>
                      <a:lnTo>
                        <a:pt x="127" y="457"/>
                      </a:lnTo>
                      <a:lnTo>
                        <a:pt x="127" y="457"/>
                      </a:lnTo>
                      <a:lnTo>
                        <a:pt x="120" y="463"/>
                      </a:lnTo>
                      <a:lnTo>
                        <a:pt x="113" y="466"/>
                      </a:lnTo>
                      <a:lnTo>
                        <a:pt x="104" y="466"/>
                      </a:lnTo>
                      <a:lnTo>
                        <a:pt x="97" y="468"/>
                      </a:lnTo>
                      <a:lnTo>
                        <a:pt x="94" y="470"/>
                      </a:lnTo>
                      <a:lnTo>
                        <a:pt x="90" y="475"/>
                      </a:lnTo>
                      <a:lnTo>
                        <a:pt x="90" y="475"/>
                      </a:lnTo>
                      <a:lnTo>
                        <a:pt x="89" y="480"/>
                      </a:lnTo>
                      <a:lnTo>
                        <a:pt x="87" y="484"/>
                      </a:lnTo>
                      <a:lnTo>
                        <a:pt x="80" y="487"/>
                      </a:lnTo>
                      <a:lnTo>
                        <a:pt x="76" y="491"/>
                      </a:lnTo>
                      <a:lnTo>
                        <a:pt x="75" y="492"/>
                      </a:lnTo>
                      <a:lnTo>
                        <a:pt x="75" y="496"/>
                      </a:lnTo>
                      <a:lnTo>
                        <a:pt x="75" y="496"/>
                      </a:lnTo>
                      <a:lnTo>
                        <a:pt x="75" y="489"/>
                      </a:lnTo>
                      <a:lnTo>
                        <a:pt x="76" y="485"/>
                      </a:lnTo>
                      <a:lnTo>
                        <a:pt x="80" y="482"/>
                      </a:lnTo>
                      <a:lnTo>
                        <a:pt x="83" y="471"/>
                      </a:lnTo>
                      <a:lnTo>
                        <a:pt x="83" y="471"/>
                      </a:lnTo>
                      <a:lnTo>
                        <a:pt x="73" y="466"/>
                      </a:lnTo>
                      <a:lnTo>
                        <a:pt x="69" y="463"/>
                      </a:lnTo>
                      <a:lnTo>
                        <a:pt x="71" y="461"/>
                      </a:lnTo>
                      <a:lnTo>
                        <a:pt x="75" y="457"/>
                      </a:lnTo>
                      <a:lnTo>
                        <a:pt x="78" y="456"/>
                      </a:lnTo>
                      <a:lnTo>
                        <a:pt x="82" y="450"/>
                      </a:lnTo>
                      <a:lnTo>
                        <a:pt x="82" y="447"/>
                      </a:lnTo>
                      <a:lnTo>
                        <a:pt x="80" y="444"/>
                      </a:lnTo>
                      <a:lnTo>
                        <a:pt x="73" y="431"/>
                      </a:lnTo>
                      <a:lnTo>
                        <a:pt x="73" y="431"/>
                      </a:lnTo>
                      <a:lnTo>
                        <a:pt x="56" y="412"/>
                      </a:lnTo>
                      <a:lnTo>
                        <a:pt x="45" y="403"/>
                      </a:lnTo>
                      <a:lnTo>
                        <a:pt x="42" y="402"/>
                      </a:lnTo>
                      <a:lnTo>
                        <a:pt x="38" y="402"/>
                      </a:lnTo>
                      <a:lnTo>
                        <a:pt x="31" y="403"/>
                      </a:lnTo>
                      <a:lnTo>
                        <a:pt x="31" y="403"/>
                      </a:lnTo>
                      <a:lnTo>
                        <a:pt x="26" y="403"/>
                      </a:lnTo>
                      <a:lnTo>
                        <a:pt x="24" y="402"/>
                      </a:lnTo>
                      <a:lnTo>
                        <a:pt x="22" y="393"/>
                      </a:lnTo>
                      <a:lnTo>
                        <a:pt x="22" y="388"/>
                      </a:lnTo>
                      <a:lnTo>
                        <a:pt x="19" y="383"/>
                      </a:lnTo>
                      <a:lnTo>
                        <a:pt x="16" y="377"/>
                      </a:lnTo>
                      <a:lnTo>
                        <a:pt x="9" y="374"/>
                      </a:lnTo>
                      <a:lnTo>
                        <a:pt x="9" y="374"/>
                      </a:lnTo>
                      <a:lnTo>
                        <a:pt x="5" y="372"/>
                      </a:lnTo>
                      <a:lnTo>
                        <a:pt x="2" y="370"/>
                      </a:lnTo>
                      <a:lnTo>
                        <a:pt x="0" y="367"/>
                      </a:lnTo>
                      <a:lnTo>
                        <a:pt x="0" y="365"/>
                      </a:lnTo>
                      <a:lnTo>
                        <a:pt x="2" y="358"/>
                      </a:lnTo>
                      <a:lnTo>
                        <a:pt x="5" y="349"/>
                      </a:lnTo>
                      <a:lnTo>
                        <a:pt x="10" y="341"/>
                      </a:lnTo>
                      <a:lnTo>
                        <a:pt x="12" y="334"/>
                      </a:lnTo>
                      <a:lnTo>
                        <a:pt x="14" y="327"/>
                      </a:lnTo>
                      <a:lnTo>
                        <a:pt x="12" y="323"/>
                      </a:lnTo>
                      <a:lnTo>
                        <a:pt x="10" y="320"/>
                      </a:lnTo>
                      <a:lnTo>
                        <a:pt x="10" y="320"/>
                      </a:lnTo>
                      <a:lnTo>
                        <a:pt x="9" y="316"/>
                      </a:lnTo>
                      <a:lnTo>
                        <a:pt x="9" y="313"/>
                      </a:lnTo>
                      <a:lnTo>
                        <a:pt x="9" y="304"/>
                      </a:lnTo>
                      <a:lnTo>
                        <a:pt x="12" y="294"/>
                      </a:lnTo>
                      <a:lnTo>
                        <a:pt x="17" y="285"/>
                      </a:lnTo>
                      <a:lnTo>
                        <a:pt x="24" y="276"/>
                      </a:lnTo>
                      <a:lnTo>
                        <a:pt x="31" y="271"/>
                      </a:lnTo>
                      <a:lnTo>
                        <a:pt x="36" y="268"/>
                      </a:lnTo>
                      <a:lnTo>
                        <a:pt x="40" y="269"/>
                      </a:lnTo>
                      <a:lnTo>
                        <a:pt x="42" y="271"/>
                      </a:lnTo>
                      <a:lnTo>
                        <a:pt x="42" y="271"/>
                      </a:lnTo>
                      <a:lnTo>
                        <a:pt x="50" y="283"/>
                      </a:lnTo>
                      <a:lnTo>
                        <a:pt x="59" y="292"/>
                      </a:lnTo>
                      <a:lnTo>
                        <a:pt x="64" y="296"/>
                      </a:lnTo>
                      <a:lnTo>
                        <a:pt x="69" y="297"/>
                      </a:lnTo>
                      <a:lnTo>
                        <a:pt x="73" y="294"/>
                      </a:lnTo>
                      <a:lnTo>
                        <a:pt x="75" y="289"/>
                      </a:lnTo>
                      <a:lnTo>
                        <a:pt x="76" y="280"/>
                      </a:lnTo>
                      <a:lnTo>
                        <a:pt x="76" y="269"/>
                      </a:lnTo>
                      <a:lnTo>
                        <a:pt x="76" y="269"/>
                      </a:lnTo>
                      <a:lnTo>
                        <a:pt x="76" y="264"/>
                      </a:lnTo>
                      <a:lnTo>
                        <a:pt x="76" y="259"/>
                      </a:lnTo>
                      <a:lnTo>
                        <a:pt x="82" y="250"/>
                      </a:lnTo>
                      <a:lnTo>
                        <a:pt x="90" y="243"/>
                      </a:lnTo>
                      <a:lnTo>
                        <a:pt x="101" y="236"/>
                      </a:lnTo>
                      <a:lnTo>
                        <a:pt x="122" y="224"/>
                      </a:lnTo>
                      <a:lnTo>
                        <a:pt x="132" y="215"/>
                      </a:lnTo>
                      <a:lnTo>
                        <a:pt x="141" y="207"/>
                      </a:lnTo>
                      <a:lnTo>
                        <a:pt x="141" y="207"/>
                      </a:lnTo>
                      <a:lnTo>
                        <a:pt x="146" y="202"/>
                      </a:lnTo>
                      <a:lnTo>
                        <a:pt x="151" y="200"/>
                      </a:lnTo>
                      <a:lnTo>
                        <a:pt x="157" y="202"/>
                      </a:lnTo>
                      <a:lnTo>
                        <a:pt x="160" y="205"/>
                      </a:lnTo>
                      <a:lnTo>
                        <a:pt x="165" y="208"/>
                      </a:lnTo>
                      <a:lnTo>
                        <a:pt x="170" y="210"/>
                      </a:lnTo>
                      <a:lnTo>
                        <a:pt x="177" y="210"/>
                      </a:lnTo>
                      <a:lnTo>
                        <a:pt x="184" y="205"/>
                      </a:lnTo>
                      <a:lnTo>
                        <a:pt x="184" y="205"/>
                      </a:lnTo>
                      <a:lnTo>
                        <a:pt x="193" y="200"/>
                      </a:lnTo>
                      <a:lnTo>
                        <a:pt x="198" y="198"/>
                      </a:lnTo>
                      <a:lnTo>
                        <a:pt x="202" y="198"/>
                      </a:lnTo>
                      <a:lnTo>
                        <a:pt x="205" y="200"/>
                      </a:lnTo>
                      <a:lnTo>
                        <a:pt x="217" y="207"/>
                      </a:lnTo>
                      <a:lnTo>
                        <a:pt x="226" y="210"/>
                      </a:lnTo>
                      <a:lnTo>
                        <a:pt x="237" y="212"/>
                      </a:lnTo>
                      <a:lnTo>
                        <a:pt x="237" y="212"/>
                      </a:lnTo>
                      <a:lnTo>
                        <a:pt x="244" y="214"/>
                      </a:lnTo>
                      <a:lnTo>
                        <a:pt x="251" y="217"/>
                      </a:lnTo>
                      <a:lnTo>
                        <a:pt x="263" y="224"/>
                      </a:lnTo>
                      <a:lnTo>
                        <a:pt x="289" y="243"/>
                      </a:lnTo>
                      <a:lnTo>
                        <a:pt x="299" y="252"/>
                      </a:lnTo>
                      <a:lnTo>
                        <a:pt x="310" y="259"/>
                      </a:lnTo>
                      <a:lnTo>
                        <a:pt x="315" y="259"/>
                      </a:lnTo>
                      <a:lnTo>
                        <a:pt x="320" y="259"/>
                      </a:lnTo>
                      <a:lnTo>
                        <a:pt x="325" y="257"/>
                      </a:lnTo>
                      <a:lnTo>
                        <a:pt x="329" y="255"/>
                      </a:lnTo>
                      <a:lnTo>
                        <a:pt x="329" y="255"/>
                      </a:lnTo>
                      <a:lnTo>
                        <a:pt x="339" y="243"/>
                      </a:lnTo>
                      <a:lnTo>
                        <a:pt x="350" y="236"/>
                      </a:lnTo>
                      <a:lnTo>
                        <a:pt x="355" y="235"/>
                      </a:lnTo>
                      <a:lnTo>
                        <a:pt x="362" y="233"/>
                      </a:lnTo>
                      <a:lnTo>
                        <a:pt x="367" y="235"/>
                      </a:lnTo>
                      <a:lnTo>
                        <a:pt x="374" y="238"/>
                      </a:lnTo>
                      <a:lnTo>
                        <a:pt x="374" y="238"/>
                      </a:lnTo>
                      <a:lnTo>
                        <a:pt x="381" y="240"/>
                      </a:lnTo>
                      <a:lnTo>
                        <a:pt x="386" y="240"/>
                      </a:lnTo>
                      <a:lnTo>
                        <a:pt x="395" y="236"/>
                      </a:lnTo>
                      <a:lnTo>
                        <a:pt x="400" y="235"/>
                      </a:lnTo>
                      <a:lnTo>
                        <a:pt x="409" y="235"/>
                      </a:lnTo>
                      <a:lnTo>
                        <a:pt x="419" y="238"/>
                      </a:lnTo>
                      <a:lnTo>
                        <a:pt x="433" y="249"/>
                      </a:lnTo>
                      <a:lnTo>
                        <a:pt x="433" y="249"/>
                      </a:lnTo>
                      <a:lnTo>
                        <a:pt x="447" y="255"/>
                      </a:lnTo>
                      <a:lnTo>
                        <a:pt x="456" y="259"/>
                      </a:lnTo>
                      <a:lnTo>
                        <a:pt x="461" y="257"/>
                      </a:lnTo>
                      <a:lnTo>
                        <a:pt x="465" y="254"/>
                      </a:lnTo>
                      <a:lnTo>
                        <a:pt x="466" y="249"/>
                      </a:lnTo>
                      <a:lnTo>
                        <a:pt x="470" y="245"/>
                      </a:lnTo>
                      <a:lnTo>
                        <a:pt x="472" y="245"/>
                      </a:lnTo>
                      <a:lnTo>
                        <a:pt x="475" y="245"/>
                      </a:lnTo>
                      <a:lnTo>
                        <a:pt x="484" y="249"/>
                      </a:lnTo>
                      <a:lnTo>
                        <a:pt x="484" y="249"/>
                      </a:lnTo>
                      <a:lnTo>
                        <a:pt x="489" y="252"/>
                      </a:lnTo>
                      <a:lnTo>
                        <a:pt x="494" y="254"/>
                      </a:lnTo>
                      <a:lnTo>
                        <a:pt x="500" y="254"/>
                      </a:lnTo>
                      <a:lnTo>
                        <a:pt x="505" y="254"/>
                      </a:lnTo>
                      <a:lnTo>
                        <a:pt x="515" y="249"/>
                      </a:lnTo>
                      <a:lnTo>
                        <a:pt x="522" y="242"/>
                      </a:lnTo>
                      <a:lnTo>
                        <a:pt x="526" y="235"/>
                      </a:lnTo>
                      <a:lnTo>
                        <a:pt x="527" y="229"/>
                      </a:lnTo>
                      <a:lnTo>
                        <a:pt x="526" y="224"/>
                      </a:lnTo>
                      <a:lnTo>
                        <a:pt x="524" y="221"/>
                      </a:lnTo>
                      <a:lnTo>
                        <a:pt x="520" y="215"/>
                      </a:lnTo>
                      <a:lnTo>
                        <a:pt x="515" y="212"/>
                      </a:lnTo>
                      <a:lnTo>
                        <a:pt x="508" y="208"/>
                      </a:lnTo>
                      <a:lnTo>
                        <a:pt x="508" y="208"/>
                      </a:lnTo>
                      <a:lnTo>
                        <a:pt x="487" y="200"/>
                      </a:lnTo>
                      <a:lnTo>
                        <a:pt x="482" y="195"/>
                      </a:lnTo>
                      <a:lnTo>
                        <a:pt x="480" y="191"/>
                      </a:lnTo>
                      <a:lnTo>
                        <a:pt x="479" y="189"/>
                      </a:lnTo>
                      <a:lnTo>
                        <a:pt x="480" y="186"/>
                      </a:lnTo>
                      <a:lnTo>
                        <a:pt x="487" y="181"/>
                      </a:lnTo>
                      <a:lnTo>
                        <a:pt x="496" y="177"/>
                      </a:lnTo>
                      <a:lnTo>
                        <a:pt x="503" y="172"/>
                      </a:lnTo>
                      <a:lnTo>
                        <a:pt x="505" y="168"/>
                      </a:lnTo>
                      <a:lnTo>
                        <a:pt x="505" y="165"/>
                      </a:lnTo>
                      <a:lnTo>
                        <a:pt x="503" y="160"/>
                      </a:lnTo>
                      <a:lnTo>
                        <a:pt x="498" y="154"/>
                      </a:lnTo>
                      <a:lnTo>
                        <a:pt x="498" y="154"/>
                      </a:lnTo>
                      <a:lnTo>
                        <a:pt x="494" y="151"/>
                      </a:lnTo>
                      <a:lnTo>
                        <a:pt x="494" y="148"/>
                      </a:lnTo>
                      <a:lnTo>
                        <a:pt x="496" y="146"/>
                      </a:lnTo>
                      <a:lnTo>
                        <a:pt x="498" y="142"/>
                      </a:lnTo>
                      <a:lnTo>
                        <a:pt x="507" y="139"/>
                      </a:lnTo>
                      <a:lnTo>
                        <a:pt x="519" y="137"/>
                      </a:lnTo>
                      <a:lnTo>
                        <a:pt x="529" y="134"/>
                      </a:lnTo>
                      <a:lnTo>
                        <a:pt x="538" y="132"/>
                      </a:lnTo>
                      <a:lnTo>
                        <a:pt x="540" y="130"/>
                      </a:lnTo>
                      <a:lnTo>
                        <a:pt x="540" y="128"/>
                      </a:lnTo>
                      <a:lnTo>
                        <a:pt x="538" y="127"/>
                      </a:lnTo>
                      <a:lnTo>
                        <a:pt x="533" y="123"/>
                      </a:lnTo>
                      <a:lnTo>
                        <a:pt x="533" y="123"/>
                      </a:lnTo>
                      <a:lnTo>
                        <a:pt x="522" y="118"/>
                      </a:lnTo>
                      <a:lnTo>
                        <a:pt x="513" y="111"/>
                      </a:lnTo>
                      <a:lnTo>
                        <a:pt x="508" y="102"/>
                      </a:lnTo>
                      <a:lnTo>
                        <a:pt x="505" y="94"/>
                      </a:lnTo>
                      <a:lnTo>
                        <a:pt x="505" y="87"/>
                      </a:lnTo>
                      <a:lnTo>
                        <a:pt x="507" y="83"/>
                      </a:lnTo>
                      <a:lnTo>
                        <a:pt x="508" y="80"/>
                      </a:lnTo>
                      <a:lnTo>
                        <a:pt x="512" y="78"/>
                      </a:lnTo>
                      <a:lnTo>
                        <a:pt x="517" y="76"/>
                      </a:lnTo>
                      <a:lnTo>
                        <a:pt x="529" y="74"/>
                      </a:lnTo>
                      <a:lnTo>
                        <a:pt x="529" y="74"/>
                      </a:lnTo>
                      <a:lnTo>
                        <a:pt x="548" y="74"/>
                      </a:lnTo>
                      <a:lnTo>
                        <a:pt x="573" y="71"/>
                      </a:lnTo>
                      <a:lnTo>
                        <a:pt x="634" y="59"/>
                      </a:lnTo>
                      <a:lnTo>
                        <a:pt x="696" y="43"/>
                      </a:lnTo>
                      <a:lnTo>
                        <a:pt x="738" y="31"/>
                      </a:lnTo>
                      <a:lnTo>
                        <a:pt x="738" y="31"/>
                      </a:lnTo>
                      <a:lnTo>
                        <a:pt x="752" y="24"/>
                      </a:lnTo>
                      <a:lnTo>
                        <a:pt x="762" y="19"/>
                      </a:lnTo>
                      <a:lnTo>
                        <a:pt x="778" y="7"/>
                      </a:lnTo>
                      <a:lnTo>
                        <a:pt x="785" y="3"/>
                      </a:lnTo>
                      <a:lnTo>
                        <a:pt x="792" y="0"/>
                      </a:lnTo>
                      <a:lnTo>
                        <a:pt x="799" y="1"/>
                      </a:lnTo>
                      <a:lnTo>
                        <a:pt x="808" y="5"/>
                      </a:lnTo>
                      <a:lnTo>
                        <a:pt x="808" y="5"/>
                      </a:lnTo>
                      <a:lnTo>
                        <a:pt x="815" y="10"/>
                      </a:lnTo>
                      <a:lnTo>
                        <a:pt x="823" y="10"/>
                      </a:lnTo>
                      <a:lnTo>
                        <a:pt x="837" y="8"/>
                      </a:lnTo>
                      <a:lnTo>
                        <a:pt x="843" y="8"/>
                      </a:lnTo>
                      <a:lnTo>
                        <a:pt x="848" y="12"/>
                      </a:lnTo>
                      <a:lnTo>
                        <a:pt x="853" y="19"/>
                      </a:lnTo>
                      <a:lnTo>
                        <a:pt x="857" y="31"/>
                      </a:lnTo>
                      <a:lnTo>
                        <a:pt x="857" y="31"/>
                      </a:lnTo>
                      <a:lnTo>
                        <a:pt x="862" y="48"/>
                      </a:lnTo>
                      <a:lnTo>
                        <a:pt x="867" y="59"/>
                      </a:lnTo>
                      <a:lnTo>
                        <a:pt x="874" y="64"/>
                      </a:lnTo>
                      <a:lnTo>
                        <a:pt x="881" y="66"/>
                      </a:lnTo>
                      <a:lnTo>
                        <a:pt x="898" y="64"/>
                      </a:lnTo>
                      <a:lnTo>
                        <a:pt x="907" y="66"/>
                      </a:lnTo>
                      <a:lnTo>
                        <a:pt x="917" y="69"/>
                      </a:lnTo>
                      <a:lnTo>
                        <a:pt x="917" y="69"/>
                      </a:lnTo>
                      <a:lnTo>
                        <a:pt x="928" y="73"/>
                      </a:lnTo>
                      <a:lnTo>
                        <a:pt x="937" y="76"/>
                      </a:lnTo>
                      <a:lnTo>
                        <a:pt x="951" y="76"/>
                      </a:lnTo>
                      <a:lnTo>
                        <a:pt x="954" y="78"/>
                      </a:lnTo>
                      <a:lnTo>
                        <a:pt x="954" y="80"/>
                      </a:lnTo>
                      <a:lnTo>
                        <a:pt x="947" y="88"/>
                      </a:lnTo>
                      <a:lnTo>
                        <a:pt x="947" y="88"/>
                      </a:lnTo>
                      <a:lnTo>
                        <a:pt x="942" y="94"/>
                      </a:lnTo>
                      <a:lnTo>
                        <a:pt x="942" y="97"/>
                      </a:lnTo>
                      <a:lnTo>
                        <a:pt x="942" y="99"/>
                      </a:lnTo>
                      <a:lnTo>
                        <a:pt x="945" y="101"/>
                      </a:lnTo>
                      <a:lnTo>
                        <a:pt x="954" y="101"/>
                      </a:lnTo>
                      <a:lnTo>
                        <a:pt x="966" y="99"/>
                      </a:lnTo>
                      <a:lnTo>
                        <a:pt x="980" y="92"/>
                      </a:lnTo>
                      <a:lnTo>
                        <a:pt x="998" y="85"/>
                      </a:lnTo>
                      <a:lnTo>
                        <a:pt x="1018" y="73"/>
                      </a:lnTo>
                      <a:lnTo>
                        <a:pt x="1018" y="73"/>
                      </a:lnTo>
                      <a:lnTo>
                        <a:pt x="1038" y="62"/>
                      </a:lnTo>
                      <a:lnTo>
                        <a:pt x="1050" y="57"/>
                      </a:lnTo>
                      <a:lnTo>
                        <a:pt x="1058" y="55"/>
                      </a:lnTo>
                      <a:lnTo>
                        <a:pt x="1064" y="57"/>
                      </a:lnTo>
                      <a:lnTo>
                        <a:pt x="1064" y="60"/>
                      </a:lnTo>
                      <a:lnTo>
                        <a:pt x="1064" y="66"/>
                      </a:lnTo>
                      <a:lnTo>
                        <a:pt x="1058" y="71"/>
                      </a:lnTo>
                      <a:lnTo>
                        <a:pt x="1053" y="76"/>
                      </a:lnTo>
                      <a:lnTo>
                        <a:pt x="1053" y="76"/>
                      </a:lnTo>
                      <a:lnTo>
                        <a:pt x="1052" y="78"/>
                      </a:lnTo>
                      <a:lnTo>
                        <a:pt x="1052" y="80"/>
                      </a:lnTo>
                      <a:lnTo>
                        <a:pt x="1055" y="85"/>
                      </a:lnTo>
                      <a:lnTo>
                        <a:pt x="1074" y="101"/>
                      </a:lnTo>
                      <a:lnTo>
                        <a:pt x="1088" y="113"/>
                      </a:lnTo>
                      <a:lnTo>
                        <a:pt x="1106" y="132"/>
                      </a:lnTo>
                      <a:lnTo>
                        <a:pt x="1123" y="154"/>
                      </a:lnTo>
                      <a:lnTo>
                        <a:pt x="1132" y="168"/>
                      </a:lnTo>
                      <a:lnTo>
                        <a:pt x="1139" y="186"/>
                      </a:lnTo>
                      <a:lnTo>
                        <a:pt x="1139" y="186"/>
                      </a:lnTo>
                      <a:lnTo>
                        <a:pt x="1158" y="221"/>
                      </a:lnTo>
                      <a:lnTo>
                        <a:pt x="1165" y="233"/>
                      </a:lnTo>
                      <a:lnTo>
                        <a:pt x="1170" y="240"/>
                      </a:lnTo>
                      <a:lnTo>
                        <a:pt x="1175" y="243"/>
                      </a:lnTo>
                      <a:lnTo>
                        <a:pt x="1179" y="243"/>
                      </a:lnTo>
                      <a:lnTo>
                        <a:pt x="1182" y="243"/>
                      </a:lnTo>
                      <a:lnTo>
                        <a:pt x="1184" y="240"/>
                      </a:lnTo>
                      <a:lnTo>
                        <a:pt x="1189" y="233"/>
                      </a:lnTo>
                      <a:lnTo>
                        <a:pt x="1194" y="226"/>
                      </a:lnTo>
                      <a:lnTo>
                        <a:pt x="1198" y="224"/>
                      </a:lnTo>
                      <a:lnTo>
                        <a:pt x="1203" y="224"/>
                      </a:lnTo>
                      <a:lnTo>
                        <a:pt x="1210" y="226"/>
                      </a:lnTo>
                      <a:lnTo>
                        <a:pt x="1217" y="231"/>
                      </a:lnTo>
                      <a:lnTo>
                        <a:pt x="1217" y="231"/>
                      </a:lnTo>
                      <a:lnTo>
                        <a:pt x="1224" y="236"/>
                      </a:lnTo>
                      <a:lnTo>
                        <a:pt x="1233" y="242"/>
                      </a:lnTo>
                      <a:lnTo>
                        <a:pt x="1240" y="243"/>
                      </a:lnTo>
                      <a:lnTo>
                        <a:pt x="1247" y="245"/>
                      </a:lnTo>
                      <a:lnTo>
                        <a:pt x="1259" y="243"/>
                      </a:lnTo>
                      <a:lnTo>
                        <a:pt x="1271" y="242"/>
                      </a:lnTo>
                      <a:lnTo>
                        <a:pt x="1281" y="240"/>
                      </a:lnTo>
                      <a:lnTo>
                        <a:pt x="1294" y="240"/>
                      </a:lnTo>
                      <a:lnTo>
                        <a:pt x="1301" y="242"/>
                      </a:lnTo>
                      <a:lnTo>
                        <a:pt x="1306" y="245"/>
                      </a:lnTo>
                      <a:lnTo>
                        <a:pt x="1313" y="250"/>
                      </a:lnTo>
                      <a:lnTo>
                        <a:pt x="1320" y="257"/>
                      </a:lnTo>
                      <a:lnTo>
                        <a:pt x="1320" y="257"/>
                      </a:lnTo>
                      <a:lnTo>
                        <a:pt x="1344" y="287"/>
                      </a:lnTo>
                      <a:lnTo>
                        <a:pt x="1353" y="297"/>
                      </a:lnTo>
                      <a:lnTo>
                        <a:pt x="1363" y="306"/>
                      </a:lnTo>
                      <a:lnTo>
                        <a:pt x="1372" y="311"/>
                      </a:lnTo>
                      <a:lnTo>
                        <a:pt x="1381" y="315"/>
                      </a:lnTo>
                      <a:lnTo>
                        <a:pt x="1389" y="311"/>
                      </a:lnTo>
                      <a:lnTo>
                        <a:pt x="1400" y="306"/>
                      </a:lnTo>
                      <a:lnTo>
                        <a:pt x="1400" y="306"/>
                      </a:lnTo>
                      <a:lnTo>
                        <a:pt x="1412" y="296"/>
                      </a:lnTo>
                      <a:lnTo>
                        <a:pt x="1414" y="297"/>
                      </a:lnTo>
                      <a:lnTo>
                        <a:pt x="1414" y="301"/>
                      </a:lnTo>
                      <a:lnTo>
                        <a:pt x="1414" y="308"/>
                      </a:lnTo>
                      <a:lnTo>
                        <a:pt x="1415" y="316"/>
                      </a:lnTo>
                      <a:lnTo>
                        <a:pt x="1421" y="327"/>
                      </a:lnTo>
                      <a:lnTo>
                        <a:pt x="1431" y="337"/>
                      </a:lnTo>
                      <a:lnTo>
                        <a:pt x="1431" y="337"/>
                      </a:lnTo>
                      <a:lnTo>
                        <a:pt x="1419" y="337"/>
                      </a:lnTo>
                      <a:lnTo>
                        <a:pt x="1414" y="339"/>
                      </a:lnTo>
                      <a:lnTo>
                        <a:pt x="1410" y="343"/>
                      </a:lnTo>
                      <a:lnTo>
                        <a:pt x="1410" y="348"/>
                      </a:lnTo>
                      <a:lnTo>
                        <a:pt x="1410" y="353"/>
                      </a:lnTo>
                      <a:lnTo>
                        <a:pt x="1408" y="358"/>
                      </a:lnTo>
                      <a:lnTo>
                        <a:pt x="1403" y="363"/>
                      </a:lnTo>
                      <a:lnTo>
                        <a:pt x="1393" y="367"/>
                      </a:lnTo>
                      <a:lnTo>
                        <a:pt x="1393" y="367"/>
                      </a:lnTo>
                      <a:lnTo>
                        <a:pt x="1382" y="372"/>
                      </a:lnTo>
                      <a:lnTo>
                        <a:pt x="1374" y="377"/>
                      </a:lnTo>
                      <a:lnTo>
                        <a:pt x="1370" y="383"/>
                      </a:lnTo>
                      <a:lnTo>
                        <a:pt x="1367" y="391"/>
                      </a:lnTo>
                      <a:lnTo>
                        <a:pt x="1367" y="398"/>
                      </a:lnTo>
                      <a:lnTo>
                        <a:pt x="1367" y="405"/>
                      </a:lnTo>
                      <a:lnTo>
                        <a:pt x="1370" y="419"/>
                      </a:lnTo>
                      <a:lnTo>
                        <a:pt x="1370" y="419"/>
                      </a:lnTo>
                      <a:lnTo>
                        <a:pt x="1372" y="428"/>
                      </a:lnTo>
                      <a:lnTo>
                        <a:pt x="1372" y="433"/>
                      </a:lnTo>
                      <a:lnTo>
                        <a:pt x="1368" y="437"/>
                      </a:lnTo>
                      <a:lnTo>
                        <a:pt x="1361" y="442"/>
                      </a:lnTo>
                      <a:lnTo>
                        <a:pt x="1351" y="447"/>
                      </a:lnTo>
                      <a:lnTo>
                        <a:pt x="1351" y="447"/>
                      </a:lnTo>
                      <a:lnTo>
                        <a:pt x="1346" y="449"/>
                      </a:lnTo>
                      <a:lnTo>
                        <a:pt x="1342" y="449"/>
                      </a:lnTo>
                      <a:lnTo>
                        <a:pt x="1339" y="447"/>
                      </a:lnTo>
                      <a:lnTo>
                        <a:pt x="1337" y="445"/>
                      </a:lnTo>
                      <a:lnTo>
                        <a:pt x="1335" y="444"/>
                      </a:lnTo>
                      <a:lnTo>
                        <a:pt x="1332" y="442"/>
                      </a:lnTo>
                      <a:lnTo>
                        <a:pt x="1328" y="442"/>
                      </a:lnTo>
                      <a:lnTo>
                        <a:pt x="1323" y="442"/>
                      </a:lnTo>
                      <a:lnTo>
                        <a:pt x="1323" y="442"/>
                      </a:lnTo>
                      <a:lnTo>
                        <a:pt x="1314" y="444"/>
                      </a:lnTo>
                      <a:lnTo>
                        <a:pt x="1307" y="442"/>
                      </a:lnTo>
                      <a:lnTo>
                        <a:pt x="1294" y="435"/>
                      </a:lnTo>
                      <a:lnTo>
                        <a:pt x="1288" y="433"/>
                      </a:lnTo>
                      <a:lnTo>
                        <a:pt x="1283" y="431"/>
                      </a:lnTo>
                      <a:lnTo>
                        <a:pt x="1280" y="433"/>
                      </a:lnTo>
                      <a:lnTo>
                        <a:pt x="1278" y="437"/>
                      </a:lnTo>
                      <a:lnTo>
                        <a:pt x="1278" y="437"/>
                      </a:lnTo>
                      <a:lnTo>
                        <a:pt x="1274" y="454"/>
                      </a:lnTo>
                      <a:lnTo>
                        <a:pt x="1269" y="471"/>
                      </a:lnTo>
                      <a:lnTo>
                        <a:pt x="1264" y="491"/>
                      </a:lnTo>
                      <a:lnTo>
                        <a:pt x="1257" y="504"/>
                      </a:lnTo>
                      <a:lnTo>
                        <a:pt x="1257" y="504"/>
                      </a:lnTo>
                      <a:lnTo>
                        <a:pt x="1255" y="510"/>
                      </a:lnTo>
                      <a:lnTo>
                        <a:pt x="1255" y="513"/>
                      </a:lnTo>
                      <a:lnTo>
                        <a:pt x="1257" y="515"/>
                      </a:lnTo>
                      <a:lnTo>
                        <a:pt x="1260" y="517"/>
                      </a:lnTo>
                      <a:lnTo>
                        <a:pt x="1264" y="520"/>
                      </a:lnTo>
                      <a:lnTo>
                        <a:pt x="1266" y="524"/>
                      </a:lnTo>
                      <a:lnTo>
                        <a:pt x="1266" y="527"/>
                      </a:lnTo>
                      <a:lnTo>
                        <a:pt x="1266" y="527"/>
                      </a:lnTo>
                      <a:lnTo>
                        <a:pt x="1264" y="532"/>
                      </a:lnTo>
                      <a:lnTo>
                        <a:pt x="1260" y="534"/>
                      </a:lnTo>
                      <a:lnTo>
                        <a:pt x="1257" y="536"/>
                      </a:lnTo>
                      <a:lnTo>
                        <a:pt x="1254" y="536"/>
                      </a:lnTo>
                      <a:lnTo>
                        <a:pt x="1245" y="532"/>
                      </a:lnTo>
                      <a:lnTo>
                        <a:pt x="1236" y="529"/>
                      </a:lnTo>
                      <a:lnTo>
                        <a:pt x="1236" y="529"/>
                      </a:lnTo>
                      <a:lnTo>
                        <a:pt x="1231" y="527"/>
                      </a:lnTo>
                      <a:lnTo>
                        <a:pt x="1226" y="527"/>
                      </a:lnTo>
                      <a:lnTo>
                        <a:pt x="1212" y="531"/>
                      </a:lnTo>
                      <a:lnTo>
                        <a:pt x="1180" y="541"/>
                      </a:lnTo>
                      <a:lnTo>
                        <a:pt x="1180" y="541"/>
                      </a:lnTo>
                      <a:lnTo>
                        <a:pt x="1172" y="543"/>
                      </a:lnTo>
                      <a:lnTo>
                        <a:pt x="1168" y="546"/>
                      </a:lnTo>
                      <a:lnTo>
                        <a:pt x="1172" y="548"/>
                      </a:lnTo>
                      <a:lnTo>
                        <a:pt x="1175" y="550"/>
                      </a:lnTo>
                      <a:lnTo>
                        <a:pt x="1186" y="555"/>
                      </a:lnTo>
                      <a:lnTo>
                        <a:pt x="1189" y="558"/>
                      </a:lnTo>
                      <a:lnTo>
                        <a:pt x="1189" y="560"/>
                      </a:lnTo>
                      <a:lnTo>
                        <a:pt x="1187" y="562"/>
                      </a:lnTo>
                      <a:lnTo>
                        <a:pt x="1187" y="562"/>
                      </a:lnTo>
                      <a:lnTo>
                        <a:pt x="1186" y="565"/>
                      </a:lnTo>
                      <a:lnTo>
                        <a:pt x="1186" y="569"/>
                      </a:lnTo>
                      <a:lnTo>
                        <a:pt x="1187" y="578"/>
                      </a:lnTo>
                      <a:lnTo>
                        <a:pt x="1194" y="600"/>
                      </a:lnTo>
                      <a:lnTo>
                        <a:pt x="1198" y="611"/>
                      </a:lnTo>
                      <a:lnTo>
                        <a:pt x="1200" y="619"/>
                      </a:lnTo>
                      <a:lnTo>
                        <a:pt x="1200" y="628"/>
                      </a:lnTo>
                      <a:lnTo>
                        <a:pt x="1198" y="630"/>
                      </a:lnTo>
                      <a:lnTo>
                        <a:pt x="1196" y="632"/>
                      </a:lnTo>
                      <a:lnTo>
                        <a:pt x="1196" y="632"/>
                      </a:lnTo>
                      <a:lnTo>
                        <a:pt x="1193" y="635"/>
                      </a:lnTo>
                      <a:lnTo>
                        <a:pt x="1191" y="637"/>
                      </a:lnTo>
                      <a:lnTo>
                        <a:pt x="1191" y="640"/>
                      </a:lnTo>
                      <a:lnTo>
                        <a:pt x="1191" y="642"/>
                      </a:lnTo>
                      <a:lnTo>
                        <a:pt x="1193" y="645"/>
                      </a:lnTo>
                      <a:lnTo>
                        <a:pt x="1191" y="647"/>
                      </a:lnTo>
                      <a:lnTo>
                        <a:pt x="1187" y="649"/>
                      </a:lnTo>
                      <a:lnTo>
                        <a:pt x="1187" y="649"/>
                      </a:lnTo>
                      <a:lnTo>
                        <a:pt x="1184" y="651"/>
                      </a:lnTo>
                      <a:lnTo>
                        <a:pt x="1182" y="656"/>
                      </a:lnTo>
                      <a:lnTo>
                        <a:pt x="1182" y="665"/>
                      </a:lnTo>
                      <a:lnTo>
                        <a:pt x="1184" y="675"/>
                      </a:lnTo>
                      <a:lnTo>
                        <a:pt x="1184" y="679"/>
                      </a:lnTo>
                      <a:lnTo>
                        <a:pt x="1184" y="682"/>
                      </a:lnTo>
                      <a:lnTo>
                        <a:pt x="1184" y="682"/>
                      </a:lnTo>
                      <a:lnTo>
                        <a:pt x="1179" y="675"/>
                      </a:lnTo>
                      <a:lnTo>
                        <a:pt x="1172" y="672"/>
                      </a:lnTo>
                      <a:lnTo>
                        <a:pt x="1166" y="668"/>
                      </a:lnTo>
                      <a:lnTo>
                        <a:pt x="1161" y="668"/>
                      </a:lnTo>
                      <a:lnTo>
                        <a:pt x="1153" y="666"/>
                      </a:lnTo>
                      <a:lnTo>
                        <a:pt x="1151" y="663"/>
                      </a:lnTo>
                      <a:lnTo>
                        <a:pt x="1149" y="659"/>
                      </a:lnTo>
                      <a:lnTo>
                        <a:pt x="1149" y="659"/>
                      </a:lnTo>
                      <a:lnTo>
                        <a:pt x="1146" y="654"/>
                      </a:lnTo>
                      <a:lnTo>
                        <a:pt x="1142" y="651"/>
                      </a:lnTo>
                      <a:lnTo>
                        <a:pt x="1135" y="649"/>
                      </a:lnTo>
                      <a:lnTo>
                        <a:pt x="1126" y="647"/>
                      </a:lnTo>
                      <a:lnTo>
                        <a:pt x="1104" y="645"/>
                      </a:lnTo>
                      <a:lnTo>
                        <a:pt x="1071" y="644"/>
                      </a:lnTo>
                      <a:lnTo>
                        <a:pt x="1071" y="644"/>
                      </a:lnTo>
                      <a:lnTo>
                        <a:pt x="1055" y="644"/>
                      </a:lnTo>
                      <a:lnTo>
                        <a:pt x="1041" y="644"/>
                      </a:lnTo>
                      <a:lnTo>
                        <a:pt x="1025" y="647"/>
                      </a:lnTo>
                      <a:lnTo>
                        <a:pt x="1017" y="649"/>
                      </a:lnTo>
                      <a:lnTo>
                        <a:pt x="1013" y="649"/>
                      </a:lnTo>
                      <a:lnTo>
                        <a:pt x="1010" y="649"/>
                      </a:lnTo>
                      <a:lnTo>
                        <a:pt x="1010" y="649"/>
                      </a:lnTo>
                      <a:lnTo>
                        <a:pt x="999" y="644"/>
                      </a:lnTo>
                      <a:lnTo>
                        <a:pt x="987" y="637"/>
                      </a:lnTo>
                      <a:lnTo>
                        <a:pt x="980" y="633"/>
                      </a:lnTo>
                      <a:lnTo>
                        <a:pt x="973" y="632"/>
                      </a:lnTo>
                      <a:lnTo>
                        <a:pt x="968" y="632"/>
                      </a:lnTo>
                      <a:lnTo>
                        <a:pt x="959" y="633"/>
                      </a:lnTo>
                      <a:lnTo>
                        <a:pt x="959" y="633"/>
                      </a:lnTo>
                      <a:lnTo>
                        <a:pt x="952" y="637"/>
                      </a:lnTo>
                      <a:lnTo>
                        <a:pt x="947" y="644"/>
                      </a:lnTo>
                      <a:lnTo>
                        <a:pt x="945" y="651"/>
                      </a:lnTo>
                      <a:lnTo>
                        <a:pt x="945" y="658"/>
                      </a:lnTo>
                      <a:lnTo>
                        <a:pt x="945" y="668"/>
                      </a:lnTo>
                      <a:lnTo>
                        <a:pt x="944" y="670"/>
                      </a:lnTo>
                      <a:lnTo>
                        <a:pt x="940" y="670"/>
                      </a:lnTo>
                      <a:lnTo>
                        <a:pt x="940" y="670"/>
                      </a:lnTo>
                      <a:lnTo>
                        <a:pt x="926" y="663"/>
                      </a:lnTo>
                      <a:lnTo>
                        <a:pt x="910" y="654"/>
                      </a:lnTo>
                      <a:lnTo>
                        <a:pt x="895" y="649"/>
                      </a:lnTo>
                      <a:lnTo>
                        <a:pt x="886" y="649"/>
                      </a:lnTo>
                      <a:lnTo>
                        <a:pt x="879" y="649"/>
                      </a:lnTo>
                      <a:lnTo>
                        <a:pt x="879" y="649"/>
                      </a:lnTo>
                      <a:lnTo>
                        <a:pt x="872" y="651"/>
                      </a:lnTo>
                      <a:lnTo>
                        <a:pt x="869" y="652"/>
                      </a:lnTo>
                      <a:lnTo>
                        <a:pt x="865" y="656"/>
                      </a:lnTo>
                      <a:lnTo>
                        <a:pt x="862" y="661"/>
                      </a:lnTo>
                      <a:lnTo>
                        <a:pt x="858" y="670"/>
                      </a:lnTo>
                      <a:lnTo>
                        <a:pt x="857" y="677"/>
                      </a:lnTo>
                      <a:lnTo>
                        <a:pt x="857" y="67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9" name="Freeform 1778">
                  <a:extLst>
                    <a:ext uri="{FF2B5EF4-FFF2-40B4-BE49-F238E27FC236}">
                      <a16:creationId xmlns:a16="http://schemas.microsoft.com/office/drawing/2014/main" id="{2F6FC943-9A86-928B-6EAD-2E332544A886}"/>
                    </a:ext>
                  </a:extLst>
                </p:cNvPr>
                <p:cNvSpPr>
                  <a:spLocks/>
                </p:cNvSpPr>
                <p:nvPr/>
              </p:nvSpPr>
              <p:spPr bwMode="auto">
                <a:xfrm>
                  <a:off x="5021042" y="1248545"/>
                  <a:ext cx="304828" cy="195582"/>
                </a:xfrm>
                <a:custGeom>
                  <a:avLst/>
                  <a:gdLst/>
                  <a:ahLst/>
                  <a:cxnLst>
                    <a:cxn ang="0">
                      <a:pos x="179" y="233"/>
                    </a:cxn>
                    <a:cxn ang="0">
                      <a:pos x="151" y="211"/>
                    </a:cxn>
                    <a:cxn ang="0">
                      <a:pos x="115" y="192"/>
                    </a:cxn>
                    <a:cxn ang="0">
                      <a:pos x="144" y="179"/>
                    </a:cxn>
                    <a:cxn ang="0">
                      <a:pos x="183" y="169"/>
                    </a:cxn>
                    <a:cxn ang="0">
                      <a:pos x="190" y="159"/>
                    </a:cxn>
                    <a:cxn ang="0">
                      <a:pos x="134" y="162"/>
                    </a:cxn>
                    <a:cxn ang="0">
                      <a:pos x="101" y="157"/>
                    </a:cxn>
                    <a:cxn ang="0">
                      <a:pos x="139" y="139"/>
                    </a:cxn>
                    <a:cxn ang="0">
                      <a:pos x="209" y="117"/>
                    </a:cxn>
                    <a:cxn ang="0">
                      <a:pos x="190" y="112"/>
                    </a:cxn>
                    <a:cxn ang="0">
                      <a:pos x="165" y="103"/>
                    </a:cxn>
                    <a:cxn ang="0">
                      <a:pos x="143" y="110"/>
                    </a:cxn>
                    <a:cxn ang="0">
                      <a:pos x="101" y="134"/>
                    </a:cxn>
                    <a:cxn ang="0">
                      <a:pos x="61" y="115"/>
                    </a:cxn>
                    <a:cxn ang="0">
                      <a:pos x="26" y="82"/>
                    </a:cxn>
                    <a:cxn ang="0">
                      <a:pos x="50" y="78"/>
                    </a:cxn>
                    <a:cxn ang="0">
                      <a:pos x="43" y="71"/>
                    </a:cxn>
                    <a:cxn ang="0">
                      <a:pos x="43" y="56"/>
                    </a:cxn>
                    <a:cxn ang="0">
                      <a:pos x="26" y="68"/>
                    </a:cxn>
                    <a:cxn ang="0">
                      <a:pos x="7" y="52"/>
                    </a:cxn>
                    <a:cxn ang="0">
                      <a:pos x="3" y="33"/>
                    </a:cxn>
                    <a:cxn ang="0">
                      <a:pos x="26" y="17"/>
                    </a:cxn>
                    <a:cxn ang="0">
                      <a:pos x="42" y="21"/>
                    </a:cxn>
                    <a:cxn ang="0">
                      <a:pos x="54" y="19"/>
                    </a:cxn>
                    <a:cxn ang="0">
                      <a:pos x="66" y="17"/>
                    </a:cxn>
                    <a:cxn ang="0">
                      <a:pos x="90" y="19"/>
                    </a:cxn>
                    <a:cxn ang="0">
                      <a:pos x="113" y="16"/>
                    </a:cxn>
                    <a:cxn ang="0">
                      <a:pos x="103" y="26"/>
                    </a:cxn>
                    <a:cxn ang="0">
                      <a:pos x="84" y="33"/>
                    </a:cxn>
                    <a:cxn ang="0">
                      <a:pos x="106" y="45"/>
                    </a:cxn>
                    <a:cxn ang="0">
                      <a:pos x="115" y="59"/>
                    </a:cxn>
                    <a:cxn ang="0">
                      <a:pos x="124" y="28"/>
                    </a:cxn>
                    <a:cxn ang="0">
                      <a:pos x="136" y="23"/>
                    </a:cxn>
                    <a:cxn ang="0">
                      <a:pos x="158" y="38"/>
                    </a:cxn>
                    <a:cxn ang="0">
                      <a:pos x="197" y="82"/>
                    </a:cxn>
                    <a:cxn ang="0">
                      <a:pos x="202" y="78"/>
                    </a:cxn>
                    <a:cxn ang="0">
                      <a:pos x="176" y="23"/>
                    </a:cxn>
                    <a:cxn ang="0">
                      <a:pos x="181" y="5"/>
                    </a:cxn>
                    <a:cxn ang="0">
                      <a:pos x="198" y="2"/>
                    </a:cxn>
                    <a:cxn ang="0">
                      <a:pos x="221" y="11"/>
                    </a:cxn>
                    <a:cxn ang="0">
                      <a:pos x="259" y="21"/>
                    </a:cxn>
                    <a:cxn ang="0">
                      <a:pos x="254" y="28"/>
                    </a:cxn>
                    <a:cxn ang="0">
                      <a:pos x="251" y="47"/>
                    </a:cxn>
                    <a:cxn ang="0">
                      <a:pos x="256" y="42"/>
                    </a:cxn>
                    <a:cxn ang="0">
                      <a:pos x="277" y="35"/>
                    </a:cxn>
                    <a:cxn ang="0">
                      <a:pos x="287" y="51"/>
                    </a:cxn>
                    <a:cxn ang="0">
                      <a:pos x="294" y="65"/>
                    </a:cxn>
                    <a:cxn ang="0">
                      <a:pos x="322" y="66"/>
                    </a:cxn>
                    <a:cxn ang="0">
                      <a:pos x="353" y="80"/>
                    </a:cxn>
                    <a:cxn ang="0">
                      <a:pos x="380" y="91"/>
                    </a:cxn>
                    <a:cxn ang="0">
                      <a:pos x="364" y="99"/>
                    </a:cxn>
                    <a:cxn ang="0">
                      <a:pos x="306" y="106"/>
                    </a:cxn>
                    <a:cxn ang="0">
                      <a:pos x="296" y="122"/>
                    </a:cxn>
                    <a:cxn ang="0">
                      <a:pos x="291" y="139"/>
                    </a:cxn>
                    <a:cxn ang="0">
                      <a:pos x="272" y="148"/>
                    </a:cxn>
                    <a:cxn ang="0">
                      <a:pos x="270" y="162"/>
                    </a:cxn>
                    <a:cxn ang="0">
                      <a:pos x="254" y="183"/>
                    </a:cxn>
                    <a:cxn ang="0">
                      <a:pos x="238" y="195"/>
                    </a:cxn>
                    <a:cxn ang="0">
                      <a:pos x="230" y="233"/>
                    </a:cxn>
                    <a:cxn ang="0">
                      <a:pos x="219" y="244"/>
                    </a:cxn>
                  </a:cxnLst>
                  <a:rect l="0" t="0" r="r" b="b"/>
                  <a:pathLst>
                    <a:path w="380" h="246">
                      <a:moveTo>
                        <a:pt x="205" y="244"/>
                      </a:moveTo>
                      <a:lnTo>
                        <a:pt x="205" y="244"/>
                      </a:lnTo>
                      <a:lnTo>
                        <a:pt x="190" y="239"/>
                      </a:lnTo>
                      <a:lnTo>
                        <a:pt x="179" y="233"/>
                      </a:lnTo>
                      <a:lnTo>
                        <a:pt x="174" y="230"/>
                      </a:lnTo>
                      <a:lnTo>
                        <a:pt x="169" y="225"/>
                      </a:lnTo>
                      <a:lnTo>
                        <a:pt x="158" y="214"/>
                      </a:lnTo>
                      <a:lnTo>
                        <a:pt x="151" y="211"/>
                      </a:lnTo>
                      <a:lnTo>
                        <a:pt x="139" y="206"/>
                      </a:lnTo>
                      <a:lnTo>
                        <a:pt x="139" y="206"/>
                      </a:lnTo>
                      <a:lnTo>
                        <a:pt x="118" y="195"/>
                      </a:lnTo>
                      <a:lnTo>
                        <a:pt x="115" y="192"/>
                      </a:lnTo>
                      <a:lnTo>
                        <a:pt x="113" y="190"/>
                      </a:lnTo>
                      <a:lnTo>
                        <a:pt x="117" y="186"/>
                      </a:lnTo>
                      <a:lnTo>
                        <a:pt x="122" y="185"/>
                      </a:lnTo>
                      <a:lnTo>
                        <a:pt x="144" y="179"/>
                      </a:lnTo>
                      <a:lnTo>
                        <a:pt x="144" y="179"/>
                      </a:lnTo>
                      <a:lnTo>
                        <a:pt x="158" y="176"/>
                      </a:lnTo>
                      <a:lnTo>
                        <a:pt x="171" y="172"/>
                      </a:lnTo>
                      <a:lnTo>
                        <a:pt x="183" y="169"/>
                      </a:lnTo>
                      <a:lnTo>
                        <a:pt x="190" y="164"/>
                      </a:lnTo>
                      <a:lnTo>
                        <a:pt x="193" y="160"/>
                      </a:lnTo>
                      <a:lnTo>
                        <a:pt x="191" y="159"/>
                      </a:lnTo>
                      <a:lnTo>
                        <a:pt x="190" y="159"/>
                      </a:lnTo>
                      <a:lnTo>
                        <a:pt x="178" y="157"/>
                      </a:lnTo>
                      <a:lnTo>
                        <a:pt x="157" y="159"/>
                      </a:lnTo>
                      <a:lnTo>
                        <a:pt x="157" y="159"/>
                      </a:lnTo>
                      <a:lnTo>
                        <a:pt x="134" y="162"/>
                      </a:lnTo>
                      <a:lnTo>
                        <a:pt x="118" y="162"/>
                      </a:lnTo>
                      <a:lnTo>
                        <a:pt x="106" y="160"/>
                      </a:lnTo>
                      <a:lnTo>
                        <a:pt x="103" y="159"/>
                      </a:lnTo>
                      <a:lnTo>
                        <a:pt x="101" y="157"/>
                      </a:lnTo>
                      <a:lnTo>
                        <a:pt x="103" y="155"/>
                      </a:lnTo>
                      <a:lnTo>
                        <a:pt x="110" y="150"/>
                      </a:lnTo>
                      <a:lnTo>
                        <a:pt x="122" y="145"/>
                      </a:lnTo>
                      <a:lnTo>
                        <a:pt x="139" y="139"/>
                      </a:lnTo>
                      <a:lnTo>
                        <a:pt x="139" y="139"/>
                      </a:lnTo>
                      <a:lnTo>
                        <a:pt x="178" y="129"/>
                      </a:lnTo>
                      <a:lnTo>
                        <a:pt x="204" y="120"/>
                      </a:lnTo>
                      <a:lnTo>
                        <a:pt x="209" y="117"/>
                      </a:lnTo>
                      <a:lnTo>
                        <a:pt x="211" y="115"/>
                      </a:lnTo>
                      <a:lnTo>
                        <a:pt x="211" y="113"/>
                      </a:lnTo>
                      <a:lnTo>
                        <a:pt x="204" y="112"/>
                      </a:lnTo>
                      <a:lnTo>
                        <a:pt x="190" y="112"/>
                      </a:lnTo>
                      <a:lnTo>
                        <a:pt x="190" y="112"/>
                      </a:lnTo>
                      <a:lnTo>
                        <a:pt x="176" y="110"/>
                      </a:lnTo>
                      <a:lnTo>
                        <a:pt x="169" y="106"/>
                      </a:lnTo>
                      <a:lnTo>
                        <a:pt x="165" y="103"/>
                      </a:lnTo>
                      <a:lnTo>
                        <a:pt x="164" y="101"/>
                      </a:lnTo>
                      <a:lnTo>
                        <a:pt x="162" y="99"/>
                      </a:lnTo>
                      <a:lnTo>
                        <a:pt x="160" y="99"/>
                      </a:lnTo>
                      <a:lnTo>
                        <a:pt x="143" y="110"/>
                      </a:lnTo>
                      <a:lnTo>
                        <a:pt x="143" y="110"/>
                      </a:lnTo>
                      <a:lnTo>
                        <a:pt x="120" y="125"/>
                      </a:lnTo>
                      <a:lnTo>
                        <a:pt x="110" y="131"/>
                      </a:lnTo>
                      <a:lnTo>
                        <a:pt x="101" y="134"/>
                      </a:lnTo>
                      <a:lnTo>
                        <a:pt x="92" y="136"/>
                      </a:lnTo>
                      <a:lnTo>
                        <a:pt x="84" y="132"/>
                      </a:lnTo>
                      <a:lnTo>
                        <a:pt x="73" y="127"/>
                      </a:lnTo>
                      <a:lnTo>
                        <a:pt x="61" y="115"/>
                      </a:lnTo>
                      <a:lnTo>
                        <a:pt x="61" y="115"/>
                      </a:lnTo>
                      <a:lnTo>
                        <a:pt x="38" y="94"/>
                      </a:lnTo>
                      <a:lnTo>
                        <a:pt x="28" y="84"/>
                      </a:lnTo>
                      <a:lnTo>
                        <a:pt x="26" y="82"/>
                      </a:lnTo>
                      <a:lnTo>
                        <a:pt x="28" y="80"/>
                      </a:lnTo>
                      <a:lnTo>
                        <a:pt x="40" y="78"/>
                      </a:lnTo>
                      <a:lnTo>
                        <a:pt x="40" y="78"/>
                      </a:lnTo>
                      <a:lnTo>
                        <a:pt x="50" y="78"/>
                      </a:lnTo>
                      <a:lnTo>
                        <a:pt x="50" y="77"/>
                      </a:lnTo>
                      <a:lnTo>
                        <a:pt x="49" y="77"/>
                      </a:lnTo>
                      <a:lnTo>
                        <a:pt x="45" y="75"/>
                      </a:lnTo>
                      <a:lnTo>
                        <a:pt x="43" y="71"/>
                      </a:lnTo>
                      <a:lnTo>
                        <a:pt x="42" y="66"/>
                      </a:lnTo>
                      <a:lnTo>
                        <a:pt x="42" y="61"/>
                      </a:lnTo>
                      <a:lnTo>
                        <a:pt x="42" y="61"/>
                      </a:lnTo>
                      <a:lnTo>
                        <a:pt x="43" y="56"/>
                      </a:lnTo>
                      <a:lnTo>
                        <a:pt x="42" y="56"/>
                      </a:lnTo>
                      <a:lnTo>
                        <a:pt x="37" y="63"/>
                      </a:lnTo>
                      <a:lnTo>
                        <a:pt x="31" y="66"/>
                      </a:lnTo>
                      <a:lnTo>
                        <a:pt x="26" y="68"/>
                      </a:lnTo>
                      <a:lnTo>
                        <a:pt x="21" y="68"/>
                      </a:lnTo>
                      <a:lnTo>
                        <a:pt x="16" y="63"/>
                      </a:lnTo>
                      <a:lnTo>
                        <a:pt x="16" y="63"/>
                      </a:lnTo>
                      <a:lnTo>
                        <a:pt x="7" y="52"/>
                      </a:lnTo>
                      <a:lnTo>
                        <a:pt x="3" y="47"/>
                      </a:lnTo>
                      <a:lnTo>
                        <a:pt x="0" y="42"/>
                      </a:lnTo>
                      <a:lnTo>
                        <a:pt x="0" y="38"/>
                      </a:lnTo>
                      <a:lnTo>
                        <a:pt x="3" y="33"/>
                      </a:lnTo>
                      <a:lnTo>
                        <a:pt x="9" y="28"/>
                      </a:lnTo>
                      <a:lnTo>
                        <a:pt x="17" y="23"/>
                      </a:lnTo>
                      <a:lnTo>
                        <a:pt x="17" y="23"/>
                      </a:lnTo>
                      <a:lnTo>
                        <a:pt x="26" y="17"/>
                      </a:lnTo>
                      <a:lnTo>
                        <a:pt x="33" y="16"/>
                      </a:lnTo>
                      <a:lnTo>
                        <a:pt x="37" y="17"/>
                      </a:lnTo>
                      <a:lnTo>
                        <a:pt x="40" y="19"/>
                      </a:lnTo>
                      <a:lnTo>
                        <a:pt x="42" y="21"/>
                      </a:lnTo>
                      <a:lnTo>
                        <a:pt x="45" y="23"/>
                      </a:lnTo>
                      <a:lnTo>
                        <a:pt x="49" y="23"/>
                      </a:lnTo>
                      <a:lnTo>
                        <a:pt x="54" y="19"/>
                      </a:lnTo>
                      <a:lnTo>
                        <a:pt x="54" y="19"/>
                      </a:lnTo>
                      <a:lnTo>
                        <a:pt x="59" y="16"/>
                      </a:lnTo>
                      <a:lnTo>
                        <a:pt x="63" y="16"/>
                      </a:lnTo>
                      <a:lnTo>
                        <a:pt x="64" y="16"/>
                      </a:lnTo>
                      <a:lnTo>
                        <a:pt x="66" y="17"/>
                      </a:lnTo>
                      <a:lnTo>
                        <a:pt x="70" y="19"/>
                      </a:lnTo>
                      <a:lnTo>
                        <a:pt x="73" y="21"/>
                      </a:lnTo>
                      <a:lnTo>
                        <a:pt x="80" y="21"/>
                      </a:lnTo>
                      <a:lnTo>
                        <a:pt x="90" y="19"/>
                      </a:lnTo>
                      <a:lnTo>
                        <a:pt x="90" y="19"/>
                      </a:lnTo>
                      <a:lnTo>
                        <a:pt x="101" y="16"/>
                      </a:lnTo>
                      <a:lnTo>
                        <a:pt x="108" y="16"/>
                      </a:lnTo>
                      <a:lnTo>
                        <a:pt x="113" y="16"/>
                      </a:lnTo>
                      <a:lnTo>
                        <a:pt x="113" y="17"/>
                      </a:lnTo>
                      <a:lnTo>
                        <a:pt x="113" y="21"/>
                      </a:lnTo>
                      <a:lnTo>
                        <a:pt x="110" y="24"/>
                      </a:lnTo>
                      <a:lnTo>
                        <a:pt x="103" y="26"/>
                      </a:lnTo>
                      <a:lnTo>
                        <a:pt x="94" y="30"/>
                      </a:lnTo>
                      <a:lnTo>
                        <a:pt x="94" y="30"/>
                      </a:lnTo>
                      <a:lnTo>
                        <a:pt x="84" y="31"/>
                      </a:lnTo>
                      <a:lnTo>
                        <a:pt x="84" y="33"/>
                      </a:lnTo>
                      <a:lnTo>
                        <a:pt x="87" y="35"/>
                      </a:lnTo>
                      <a:lnTo>
                        <a:pt x="92" y="37"/>
                      </a:lnTo>
                      <a:lnTo>
                        <a:pt x="99" y="40"/>
                      </a:lnTo>
                      <a:lnTo>
                        <a:pt x="106" y="45"/>
                      </a:lnTo>
                      <a:lnTo>
                        <a:pt x="110" y="52"/>
                      </a:lnTo>
                      <a:lnTo>
                        <a:pt x="110" y="52"/>
                      </a:lnTo>
                      <a:lnTo>
                        <a:pt x="113" y="59"/>
                      </a:lnTo>
                      <a:lnTo>
                        <a:pt x="115" y="59"/>
                      </a:lnTo>
                      <a:lnTo>
                        <a:pt x="115" y="51"/>
                      </a:lnTo>
                      <a:lnTo>
                        <a:pt x="117" y="44"/>
                      </a:lnTo>
                      <a:lnTo>
                        <a:pt x="118" y="35"/>
                      </a:lnTo>
                      <a:lnTo>
                        <a:pt x="124" y="28"/>
                      </a:lnTo>
                      <a:lnTo>
                        <a:pt x="127" y="26"/>
                      </a:lnTo>
                      <a:lnTo>
                        <a:pt x="131" y="23"/>
                      </a:lnTo>
                      <a:lnTo>
                        <a:pt x="131" y="23"/>
                      </a:lnTo>
                      <a:lnTo>
                        <a:pt x="136" y="23"/>
                      </a:lnTo>
                      <a:lnTo>
                        <a:pt x="139" y="23"/>
                      </a:lnTo>
                      <a:lnTo>
                        <a:pt x="144" y="26"/>
                      </a:lnTo>
                      <a:lnTo>
                        <a:pt x="150" y="30"/>
                      </a:lnTo>
                      <a:lnTo>
                        <a:pt x="158" y="38"/>
                      </a:lnTo>
                      <a:lnTo>
                        <a:pt x="169" y="49"/>
                      </a:lnTo>
                      <a:lnTo>
                        <a:pt x="186" y="71"/>
                      </a:lnTo>
                      <a:lnTo>
                        <a:pt x="193" y="78"/>
                      </a:lnTo>
                      <a:lnTo>
                        <a:pt x="197" y="82"/>
                      </a:lnTo>
                      <a:lnTo>
                        <a:pt x="200" y="82"/>
                      </a:lnTo>
                      <a:lnTo>
                        <a:pt x="200" y="82"/>
                      </a:lnTo>
                      <a:lnTo>
                        <a:pt x="202" y="80"/>
                      </a:lnTo>
                      <a:lnTo>
                        <a:pt x="202" y="78"/>
                      </a:lnTo>
                      <a:lnTo>
                        <a:pt x="200" y="71"/>
                      </a:lnTo>
                      <a:lnTo>
                        <a:pt x="186" y="49"/>
                      </a:lnTo>
                      <a:lnTo>
                        <a:pt x="181" y="35"/>
                      </a:lnTo>
                      <a:lnTo>
                        <a:pt x="176" y="23"/>
                      </a:lnTo>
                      <a:lnTo>
                        <a:pt x="176" y="17"/>
                      </a:lnTo>
                      <a:lnTo>
                        <a:pt x="176" y="12"/>
                      </a:lnTo>
                      <a:lnTo>
                        <a:pt x="178" y="9"/>
                      </a:lnTo>
                      <a:lnTo>
                        <a:pt x="181" y="5"/>
                      </a:lnTo>
                      <a:lnTo>
                        <a:pt x="181" y="5"/>
                      </a:lnTo>
                      <a:lnTo>
                        <a:pt x="188" y="2"/>
                      </a:lnTo>
                      <a:lnTo>
                        <a:pt x="193" y="0"/>
                      </a:lnTo>
                      <a:lnTo>
                        <a:pt x="198" y="2"/>
                      </a:lnTo>
                      <a:lnTo>
                        <a:pt x="200" y="4"/>
                      </a:lnTo>
                      <a:lnTo>
                        <a:pt x="209" y="9"/>
                      </a:lnTo>
                      <a:lnTo>
                        <a:pt x="214" y="11"/>
                      </a:lnTo>
                      <a:lnTo>
                        <a:pt x="221" y="11"/>
                      </a:lnTo>
                      <a:lnTo>
                        <a:pt x="221" y="11"/>
                      </a:lnTo>
                      <a:lnTo>
                        <a:pt x="235" y="11"/>
                      </a:lnTo>
                      <a:lnTo>
                        <a:pt x="242" y="12"/>
                      </a:lnTo>
                      <a:lnTo>
                        <a:pt x="259" y="21"/>
                      </a:lnTo>
                      <a:lnTo>
                        <a:pt x="259" y="21"/>
                      </a:lnTo>
                      <a:lnTo>
                        <a:pt x="259" y="23"/>
                      </a:lnTo>
                      <a:lnTo>
                        <a:pt x="258" y="23"/>
                      </a:lnTo>
                      <a:lnTo>
                        <a:pt x="254" y="28"/>
                      </a:lnTo>
                      <a:lnTo>
                        <a:pt x="251" y="31"/>
                      </a:lnTo>
                      <a:lnTo>
                        <a:pt x="249" y="35"/>
                      </a:lnTo>
                      <a:lnTo>
                        <a:pt x="249" y="40"/>
                      </a:lnTo>
                      <a:lnTo>
                        <a:pt x="251" y="47"/>
                      </a:lnTo>
                      <a:lnTo>
                        <a:pt x="251" y="47"/>
                      </a:lnTo>
                      <a:lnTo>
                        <a:pt x="252" y="51"/>
                      </a:lnTo>
                      <a:lnTo>
                        <a:pt x="254" y="51"/>
                      </a:lnTo>
                      <a:lnTo>
                        <a:pt x="256" y="42"/>
                      </a:lnTo>
                      <a:lnTo>
                        <a:pt x="259" y="37"/>
                      </a:lnTo>
                      <a:lnTo>
                        <a:pt x="263" y="33"/>
                      </a:lnTo>
                      <a:lnTo>
                        <a:pt x="268" y="31"/>
                      </a:lnTo>
                      <a:lnTo>
                        <a:pt x="277" y="35"/>
                      </a:lnTo>
                      <a:lnTo>
                        <a:pt x="277" y="35"/>
                      </a:lnTo>
                      <a:lnTo>
                        <a:pt x="282" y="38"/>
                      </a:lnTo>
                      <a:lnTo>
                        <a:pt x="285" y="45"/>
                      </a:lnTo>
                      <a:lnTo>
                        <a:pt x="287" y="51"/>
                      </a:lnTo>
                      <a:lnTo>
                        <a:pt x="287" y="54"/>
                      </a:lnTo>
                      <a:lnTo>
                        <a:pt x="287" y="59"/>
                      </a:lnTo>
                      <a:lnTo>
                        <a:pt x="289" y="63"/>
                      </a:lnTo>
                      <a:lnTo>
                        <a:pt x="294" y="65"/>
                      </a:lnTo>
                      <a:lnTo>
                        <a:pt x="303" y="65"/>
                      </a:lnTo>
                      <a:lnTo>
                        <a:pt x="303" y="65"/>
                      </a:lnTo>
                      <a:lnTo>
                        <a:pt x="319" y="66"/>
                      </a:lnTo>
                      <a:lnTo>
                        <a:pt x="322" y="66"/>
                      </a:lnTo>
                      <a:lnTo>
                        <a:pt x="324" y="68"/>
                      </a:lnTo>
                      <a:lnTo>
                        <a:pt x="333" y="73"/>
                      </a:lnTo>
                      <a:lnTo>
                        <a:pt x="339" y="77"/>
                      </a:lnTo>
                      <a:lnTo>
                        <a:pt x="353" y="80"/>
                      </a:lnTo>
                      <a:lnTo>
                        <a:pt x="353" y="80"/>
                      </a:lnTo>
                      <a:lnTo>
                        <a:pt x="366" y="84"/>
                      </a:lnTo>
                      <a:lnTo>
                        <a:pt x="374" y="87"/>
                      </a:lnTo>
                      <a:lnTo>
                        <a:pt x="380" y="91"/>
                      </a:lnTo>
                      <a:lnTo>
                        <a:pt x="380" y="92"/>
                      </a:lnTo>
                      <a:lnTo>
                        <a:pt x="380" y="94"/>
                      </a:lnTo>
                      <a:lnTo>
                        <a:pt x="374" y="96"/>
                      </a:lnTo>
                      <a:lnTo>
                        <a:pt x="364" y="99"/>
                      </a:lnTo>
                      <a:lnTo>
                        <a:pt x="331" y="103"/>
                      </a:lnTo>
                      <a:lnTo>
                        <a:pt x="331" y="103"/>
                      </a:lnTo>
                      <a:lnTo>
                        <a:pt x="313" y="105"/>
                      </a:lnTo>
                      <a:lnTo>
                        <a:pt x="306" y="106"/>
                      </a:lnTo>
                      <a:lnTo>
                        <a:pt x="303" y="110"/>
                      </a:lnTo>
                      <a:lnTo>
                        <a:pt x="299" y="112"/>
                      </a:lnTo>
                      <a:lnTo>
                        <a:pt x="298" y="115"/>
                      </a:lnTo>
                      <a:lnTo>
                        <a:pt x="296" y="122"/>
                      </a:lnTo>
                      <a:lnTo>
                        <a:pt x="296" y="127"/>
                      </a:lnTo>
                      <a:lnTo>
                        <a:pt x="294" y="134"/>
                      </a:lnTo>
                      <a:lnTo>
                        <a:pt x="292" y="138"/>
                      </a:lnTo>
                      <a:lnTo>
                        <a:pt x="291" y="139"/>
                      </a:lnTo>
                      <a:lnTo>
                        <a:pt x="285" y="143"/>
                      </a:lnTo>
                      <a:lnTo>
                        <a:pt x="280" y="145"/>
                      </a:lnTo>
                      <a:lnTo>
                        <a:pt x="280" y="145"/>
                      </a:lnTo>
                      <a:lnTo>
                        <a:pt x="272" y="148"/>
                      </a:lnTo>
                      <a:lnTo>
                        <a:pt x="270" y="150"/>
                      </a:lnTo>
                      <a:lnTo>
                        <a:pt x="268" y="153"/>
                      </a:lnTo>
                      <a:lnTo>
                        <a:pt x="268" y="157"/>
                      </a:lnTo>
                      <a:lnTo>
                        <a:pt x="270" y="162"/>
                      </a:lnTo>
                      <a:lnTo>
                        <a:pt x="272" y="167"/>
                      </a:lnTo>
                      <a:lnTo>
                        <a:pt x="272" y="172"/>
                      </a:lnTo>
                      <a:lnTo>
                        <a:pt x="266" y="178"/>
                      </a:lnTo>
                      <a:lnTo>
                        <a:pt x="254" y="183"/>
                      </a:lnTo>
                      <a:lnTo>
                        <a:pt x="254" y="183"/>
                      </a:lnTo>
                      <a:lnTo>
                        <a:pt x="247" y="186"/>
                      </a:lnTo>
                      <a:lnTo>
                        <a:pt x="242" y="190"/>
                      </a:lnTo>
                      <a:lnTo>
                        <a:pt x="238" y="195"/>
                      </a:lnTo>
                      <a:lnTo>
                        <a:pt x="235" y="200"/>
                      </a:lnTo>
                      <a:lnTo>
                        <a:pt x="232" y="211"/>
                      </a:lnTo>
                      <a:lnTo>
                        <a:pt x="230" y="223"/>
                      </a:lnTo>
                      <a:lnTo>
                        <a:pt x="230" y="233"/>
                      </a:lnTo>
                      <a:lnTo>
                        <a:pt x="228" y="237"/>
                      </a:lnTo>
                      <a:lnTo>
                        <a:pt x="226" y="240"/>
                      </a:lnTo>
                      <a:lnTo>
                        <a:pt x="223" y="244"/>
                      </a:lnTo>
                      <a:lnTo>
                        <a:pt x="219" y="244"/>
                      </a:lnTo>
                      <a:lnTo>
                        <a:pt x="212" y="246"/>
                      </a:lnTo>
                      <a:lnTo>
                        <a:pt x="205" y="244"/>
                      </a:lnTo>
                      <a:lnTo>
                        <a:pt x="205" y="2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0" name="Freeform 1779">
                  <a:extLst>
                    <a:ext uri="{FF2B5EF4-FFF2-40B4-BE49-F238E27FC236}">
                      <a16:creationId xmlns:a16="http://schemas.microsoft.com/office/drawing/2014/main" id="{8ECDE022-3884-4F54-5E71-C764BDABE0B4}"/>
                    </a:ext>
                  </a:extLst>
                </p:cNvPr>
                <p:cNvSpPr>
                  <a:spLocks/>
                </p:cNvSpPr>
                <p:nvPr/>
              </p:nvSpPr>
              <p:spPr bwMode="auto">
                <a:xfrm>
                  <a:off x="5223674" y="1220353"/>
                  <a:ext cx="264300" cy="81052"/>
                </a:xfrm>
                <a:custGeom>
                  <a:avLst/>
                  <a:gdLst/>
                  <a:ahLst/>
                  <a:cxnLst>
                    <a:cxn ang="0">
                      <a:pos x="21" y="49"/>
                    </a:cxn>
                    <a:cxn ang="0">
                      <a:pos x="17" y="42"/>
                    </a:cxn>
                    <a:cxn ang="0">
                      <a:pos x="19" y="38"/>
                    </a:cxn>
                    <a:cxn ang="0">
                      <a:pos x="5" y="31"/>
                    </a:cxn>
                    <a:cxn ang="0">
                      <a:pos x="1" y="23"/>
                    </a:cxn>
                    <a:cxn ang="0">
                      <a:pos x="21" y="21"/>
                    </a:cxn>
                    <a:cxn ang="0">
                      <a:pos x="43" y="26"/>
                    </a:cxn>
                    <a:cxn ang="0">
                      <a:pos x="43" y="21"/>
                    </a:cxn>
                    <a:cxn ang="0">
                      <a:pos x="36" y="9"/>
                    </a:cxn>
                    <a:cxn ang="0">
                      <a:pos x="50" y="14"/>
                    </a:cxn>
                    <a:cxn ang="0">
                      <a:pos x="66" y="17"/>
                    </a:cxn>
                    <a:cxn ang="0">
                      <a:pos x="57" y="3"/>
                    </a:cxn>
                    <a:cxn ang="0">
                      <a:pos x="64" y="2"/>
                    </a:cxn>
                    <a:cxn ang="0">
                      <a:pos x="97" y="12"/>
                    </a:cxn>
                    <a:cxn ang="0">
                      <a:pos x="125" y="16"/>
                    </a:cxn>
                    <a:cxn ang="0">
                      <a:pos x="137" y="16"/>
                    </a:cxn>
                    <a:cxn ang="0">
                      <a:pos x="149" y="31"/>
                    </a:cxn>
                    <a:cxn ang="0">
                      <a:pos x="158" y="33"/>
                    </a:cxn>
                    <a:cxn ang="0">
                      <a:pos x="162" y="19"/>
                    </a:cxn>
                    <a:cxn ang="0">
                      <a:pos x="169" y="3"/>
                    </a:cxn>
                    <a:cxn ang="0">
                      <a:pos x="181" y="0"/>
                    </a:cxn>
                    <a:cxn ang="0">
                      <a:pos x="191" y="5"/>
                    </a:cxn>
                    <a:cxn ang="0">
                      <a:pos x="188" y="17"/>
                    </a:cxn>
                    <a:cxn ang="0">
                      <a:pos x="195" y="24"/>
                    </a:cxn>
                    <a:cxn ang="0">
                      <a:pos x="205" y="23"/>
                    </a:cxn>
                    <a:cxn ang="0">
                      <a:pos x="214" y="10"/>
                    </a:cxn>
                    <a:cxn ang="0">
                      <a:pos x="230" y="10"/>
                    </a:cxn>
                    <a:cxn ang="0">
                      <a:pos x="283" y="24"/>
                    </a:cxn>
                    <a:cxn ang="0">
                      <a:pos x="306" y="24"/>
                    </a:cxn>
                    <a:cxn ang="0">
                      <a:pos x="327" y="33"/>
                    </a:cxn>
                    <a:cxn ang="0">
                      <a:pos x="327" y="45"/>
                    </a:cxn>
                    <a:cxn ang="0">
                      <a:pos x="301" y="56"/>
                    </a:cxn>
                    <a:cxn ang="0">
                      <a:pos x="285" y="70"/>
                    </a:cxn>
                    <a:cxn ang="0">
                      <a:pos x="280" y="80"/>
                    </a:cxn>
                    <a:cxn ang="0">
                      <a:pos x="264" y="85"/>
                    </a:cxn>
                    <a:cxn ang="0">
                      <a:pos x="245" y="82"/>
                    </a:cxn>
                    <a:cxn ang="0">
                      <a:pos x="226" y="92"/>
                    </a:cxn>
                    <a:cxn ang="0">
                      <a:pos x="207" y="99"/>
                    </a:cxn>
                    <a:cxn ang="0">
                      <a:pos x="170" y="87"/>
                    </a:cxn>
                    <a:cxn ang="0">
                      <a:pos x="144" y="82"/>
                    </a:cxn>
                    <a:cxn ang="0">
                      <a:pos x="68" y="73"/>
                    </a:cxn>
                    <a:cxn ang="0">
                      <a:pos x="64" y="70"/>
                    </a:cxn>
                    <a:cxn ang="0">
                      <a:pos x="82" y="64"/>
                    </a:cxn>
                    <a:cxn ang="0">
                      <a:pos x="135" y="52"/>
                    </a:cxn>
                    <a:cxn ang="0">
                      <a:pos x="111" y="50"/>
                    </a:cxn>
                    <a:cxn ang="0">
                      <a:pos x="62" y="57"/>
                    </a:cxn>
                    <a:cxn ang="0">
                      <a:pos x="38" y="57"/>
                    </a:cxn>
                  </a:cxnLst>
                  <a:rect l="0" t="0" r="r" b="b"/>
                  <a:pathLst>
                    <a:path w="331" h="99">
                      <a:moveTo>
                        <a:pt x="29" y="54"/>
                      </a:moveTo>
                      <a:lnTo>
                        <a:pt x="29" y="54"/>
                      </a:lnTo>
                      <a:lnTo>
                        <a:pt x="21" y="49"/>
                      </a:lnTo>
                      <a:lnTo>
                        <a:pt x="17" y="45"/>
                      </a:lnTo>
                      <a:lnTo>
                        <a:pt x="15" y="44"/>
                      </a:lnTo>
                      <a:lnTo>
                        <a:pt x="17" y="42"/>
                      </a:lnTo>
                      <a:lnTo>
                        <a:pt x="19" y="42"/>
                      </a:lnTo>
                      <a:lnTo>
                        <a:pt x="21" y="40"/>
                      </a:lnTo>
                      <a:lnTo>
                        <a:pt x="19" y="38"/>
                      </a:lnTo>
                      <a:lnTo>
                        <a:pt x="12" y="37"/>
                      </a:lnTo>
                      <a:lnTo>
                        <a:pt x="12" y="37"/>
                      </a:lnTo>
                      <a:lnTo>
                        <a:pt x="5" y="31"/>
                      </a:lnTo>
                      <a:lnTo>
                        <a:pt x="1" y="28"/>
                      </a:lnTo>
                      <a:lnTo>
                        <a:pt x="0" y="24"/>
                      </a:lnTo>
                      <a:lnTo>
                        <a:pt x="1" y="23"/>
                      </a:lnTo>
                      <a:lnTo>
                        <a:pt x="5" y="21"/>
                      </a:lnTo>
                      <a:lnTo>
                        <a:pt x="12" y="21"/>
                      </a:lnTo>
                      <a:lnTo>
                        <a:pt x="21" y="21"/>
                      </a:lnTo>
                      <a:lnTo>
                        <a:pt x="33" y="24"/>
                      </a:lnTo>
                      <a:lnTo>
                        <a:pt x="33" y="24"/>
                      </a:lnTo>
                      <a:lnTo>
                        <a:pt x="43" y="26"/>
                      </a:lnTo>
                      <a:lnTo>
                        <a:pt x="45" y="26"/>
                      </a:lnTo>
                      <a:lnTo>
                        <a:pt x="45" y="24"/>
                      </a:lnTo>
                      <a:lnTo>
                        <a:pt x="43" y="21"/>
                      </a:lnTo>
                      <a:lnTo>
                        <a:pt x="40" y="16"/>
                      </a:lnTo>
                      <a:lnTo>
                        <a:pt x="36" y="12"/>
                      </a:lnTo>
                      <a:lnTo>
                        <a:pt x="36" y="9"/>
                      </a:lnTo>
                      <a:lnTo>
                        <a:pt x="40" y="10"/>
                      </a:lnTo>
                      <a:lnTo>
                        <a:pt x="50" y="14"/>
                      </a:lnTo>
                      <a:lnTo>
                        <a:pt x="50" y="14"/>
                      </a:lnTo>
                      <a:lnTo>
                        <a:pt x="62" y="17"/>
                      </a:lnTo>
                      <a:lnTo>
                        <a:pt x="64" y="19"/>
                      </a:lnTo>
                      <a:lnTo>
                        <a:pt x="66" y="17"/>
                      </a:lnTo>
                      <a:lnTo>
                        <a:pt x="64" y="14"/>
                      </a:lnTo>
                      <a:lnTo>
                        <a:pt x="61" y="9"/>
                      </a:lnTo>
                      <a:lnTo>
                        <a:pt x="57" y="3"/>
                      </a:lnTo>
                      <a:lnTo>
                        <a:pt x="57" y="2"/>
                      </a:lnTo>
                      <a:lnTo>
                        <a:pt x="57" y="0"/>
                      </a:lnTo>
                      <a:lnTo>
                        <a:pt x="64" y="2"/>
                      </a:lnTo>
                      <a:lnTo>
                        <a:pt x="80" y="7"/>
                      </a:lnTo>
                      <a:lnTo>
                        <a:pt x="80" y="7"/>
                      </a:lnTo>
                      <a:lnTo>
                        <a:pt x="97" y="12"/>
                      </a:lnTo>
                      <a:lnTo>
                        <a:pt x="109" y="16"/>
                      </a:lnTo>
                      <a:lnTo>
                        <a:pt x="120" y="16"/>
                      </a:lnTo>
                      <a:lnTo>
                        <a:pt x="125" y="16"/>
                      </a:lnTo>
                      <a:lnTo>
                        <a:pt x="130" y="14"/>
                      </a:lnTo>
                      <a:lnTo>
                        <a:pt x="134" y="14"/>
                      </a:lnTo>
                      <a:lnTo>
                        <a:pt x="137" y="16"/>
                      </a:lnTo>
                      <a:lnTo>
                        <a:pt x="142" y="21"/>
                      </a:lnTo>
                      <a:lnTo>
                        <a:pt x="142" y="21"/>
                      </a:lnTo>
                      <a:lnTo>
                        <a:pt x="149" y="31"/>
                      </a:lnTo>
                      <a:lnTo>
                        <a:pt x="153" y="33"/>
                      </a:lnTo>
                      <a:lnTo>
                        <a:pt x="156" y="35"/>
                      </a:lnTo>
                      <a:lnTo>
                        <a:pt x="158" y="33"/>
                      </a:lnTo>
                      <a:lnTo>
                        <a:pt x="160" y="31"/>
                      </a:lnTo>
                      <a:lnTo>
                        <a:pt x="162" y="19"/>
                      </a:lnTo>
                      <a:lnTo>
                        <a:pt x="162" y="19"/>
                      </a:lnTo>
                      <a:lnTo>
                        <a:pt x="162" y="12"/>
                      </a:lnTo>
                      <a:lnTo>
                        <a:pt x="165" y="7"/>
                      </a:lnTo>
                      <a:lnTo>
                        <a:pt x="169" y="3"/>
                      </a:lnTo>
                      <a:lnTo>
                        <a:pt x="172" y="0"/>
                      </a:lnTo>
                      <a:lnTo>
                        <a:pt x="176" y="0"/>
                      </a:lnTo>
                      <a:lnTo>
                        <a:pt x="181" y="0"/>
                      </a:lnTo>
                      <a:lnTo>
                        <a:pt x="189" y="2"/>
                      </a:lnTo>
                      <a:lnTo>
                        <a:pt x="189" y="2"/>
                      </a:lnTo>
                      <a:lnTo>
                        <a:pt x="191" y="5"/>
                      </a:lnTo>
                      <a:lnTo>
                        <a:pt x="191" y="7"/>
                      </a:lnTo>
                      <a:lnTo>
                        <a:pt x="189" y="14"/>
                      </a:lnTo>
                      <a:lnTo>
                        <a:pt x="188" y="17"/>
                      </a:lnTo>
                      <a:lnTo>
                        <a:pt x="188" y="21"/>
                      </a:lnTo>
                      <a:lnTo>
                        <a:pt x="189" y="23"/>
                      </a:lnTo>
                      <a:lnTo>
                        <a:pt x="195" y="24"/>
                      </a:lnTo>
                      <a:lnTo>
                        <a:pt x="195" y="24"/>
                      </a:lnTo>
                      <a:lnTo>
                        <a:pt x="202" y="24"/>
                      </a:lnTo>
                      <a:lnTo>
                        <a:pt x="205" y="23"/>
                      </a:lnTo>
                      <a:lnTo>
                        <a:pt x="209" y="17"/>
                      </a:lnTo>
                      <a:lnTo>
                        <a:pt x="210" y="14"/>
                      </a:lnTo>
                      <a:lnTo>
                        <a:pt x="214" y="10"/>
                      </a:lnTo>
                      <a:lnTo>
                        <a:pt x="221" y="10"/>
                      </a:lnTo>
                      <a:lnTo>
                        <a:pt x="230" y="10"/>
                      </a:lnTo>
                      <a:lnTo>
                        <a:pt x="230" y="10"/>
                      </a:lnTo>
                      <a:lnTo>
                        <a:pt x="252" y="16"/>
                      </a:lnTo>
                      <a:lnTo>
                        <a:pt x="270" y="21"/>
                      </a:lnTo>
                      <a:lnTo>
                        <a:pt x="283" y="24"/>
                      </a:lnTo>
                      <a:lnTo>
                        <a:pt x="297" y="24"/>
                      </a:lnTo>
                      <a:lnTo>
                        <a:pt x="297" y="24"/>
                      </a:lnTo>
                      <a:lnTo>
                        <a:pt x="306" y="24"/>
                      </a:lnTo>
                      <a:lnTo>
                        <a:pt x="313" y="26"/>
                      </a:lnTo>
                      <a:lnTo>
                        <a:pt x="320" y="30"/>
                      </a:lnTo>
                      <a:lnTo>
                        <a:pt x="327" y="33"/>
                      </a:lnTo>
                      <a:lnTo>
                        <a:pt x="331" y="37"/>
                      </a:lnTo>
                      <a:lnTo>
                        <a:pt x="331" y="42"/>
                      </a:lnTo>
                      <a:lnTo>
                        <a:pt x="327" y="45"/>
                      </a:lnTo>
                      <a:lnTo>
                        <a:pt x="317" y="50"/>
                      </a:lnTo>
                      <a:lnTo>
                        <a:pt x="317" y="50"/>
                      </a:lnTo>
                      <a:lnTo>
                        <a:pt x="301" y="56"/>
                      </a:lnTo>
                      <a:lnTo>
                        <a:pt x="290" y="61"/>
                      </a:lnTo>
                      <a:lnTo>
                        <a:pt x="287" y="66"/>
                      </a:lnTo>
                      <a:lnTo>
                        <a:pt x="285" y="70"/>
                      </a:lnTo>
                      <a:lnTo>
                        <a:pt x="283" y="73"/>
                      </a:lnTo>
                      <a:lnTo>
                        <a:pt x="283" y="77"/>
                      </a:lnTo>
                      <a:lnTo>
                        <a:pt x="280" y="80"/>
                      </a:lnTo>
                      <a:lnTo>
                        <a:pt x="273" y="84"/>
                      </a:lnTo>
                      <a:lnTo>
                        <a:pt x="273" y="84"/>
                      </a:lnTo>
                      <a:lnTo>
                        <a:pt x="264" y="85"/>
                      </a:lnTo>
                      <a:lnTo>
                        <a:pt x="259" y="85"/>
                      </a:lnTo>
                      <a:lnTo>
                        <a:pt x="250" y="82"/>
                      </a:lnTo>
                      <a:lnTo>
                        <a:pt x="245" y="82"/>
                      </a:lnTo>
                      <a:lnTo>
                        <a:pt x="242" y="82"/>
                      </a:lnTo>
                      <a:lnTo>
                        <a:pt x="235" y="85"/>
                      </a:lnTo>
                      <a:lnTo>
                        <a:pt x="226" y="92"/>
                      </a:lnTo>
                      <a:lnTo>
                        <a:pt x="226" y="92"/>
                      </a:lnTo>
                      <a:lnTo>
                        <a:pt x="216" y="98"/>
                      </a:lnTo>
                      <a:lnTo>
                        <a:pt x="207" y="99"/>
                      </a:lnTo>
                      <a:lnTo>
                        <a:pt x="198" y="98"/>
                      </a:lnTo>
                      <a:lnTo>
                        <a:pt x="189" y="96"/>
                      </a:lnTo>
                      <a:lnTo>
                        <a:pt x="170" y="87"/>
                      </a:lnTo>
                      <a:lnTo>
                        <a:pt x="158" y="84"/>
                      </a:lnTo>
                      <a:lnTo>
                        <a:pt x="144" y="82"/>
                      </a:lnTo>
                      <a:lnTo>
                        <a:pt x="144" y="82"/>
                      </a:lnTo>
                      <a:lnTo>
                        <a:pt x="111" y="80"/>
                      </a:lnTo>
                      <a:lnTo>
                        <a:pt x="78" y="77"/>
                      </a:lnTo>
                      <a:lnTo>
                        <a:pt x="68" y="73"/>
                      </a:lnTo>
                      <a:lnTo>
                        <a:pt x="66" y="73"/>
                      </a:lnTo>
                      <a:lnTo>
                        <a:pt x="64" y="71"/>
                      </a:lnTo>
                      <a:lnTo>
                        <a:pt x="64" y="70"/>
                      </a:lnTo>
                      <a:lnTo>
                        <a:pt x="68" y="68"/>
                      </a:lnTo>
                      <a:lnTo>
                        <a:pt x="82" y="64"/>
                      </a:lnTo>
                      <a:lnTo>
                        <a:pt x="82" y="64"/>
                      </a:lnTo>
                      <a:lnTo>
                        <a:pt x="115" y="57"/>
                      </a:lnTo>
                      <a:lnTo>
                        <a:pt x="134" y="54"/>
                      </a:lnTo>
                      <a:lnTo>
                        <a:pt x="135" y="52"/>
                      </a:lnTo>
                      <a:lnTo>
                        <a:pt x="134" y="50"/>
                      </a:lnTo>
                      <a:lnTo>
                        <a:pt x="111" y="50"/>
                      </a:lnTo>
                      <a:lnTo>
                        <a:pt x="111" y="50"/>
                      </a:lnTo>
                      <a:lnTo>
                        <a:pt x="95" y="52"/>
                      </a:lnTo>
                      <a:lnTo>
                        <a:pt x="83" y="54"/>
                      </a:lnTo>
                      <a:lnTo>
                        <a:pt x="62" y="57"/>
                      </a:lnTo>
                      <a:lnTo>
                        <a:pt x="54" y="59"/>
                      </a:lnTo>
                      <a:lnTo>
                        <a:pt x="47" y="59"/>
                      </a:lnTo>
                      <a:lnTo>
                        <a:pt x="38" y="57"/>
                      </a:lnTo>
                      <a:lnTo>
                        <a:pt x="29" y="54"/>
                      </a:lnTo>
                      <a:lnTo>
                        <a:pt x="29" y="5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1" name="Freeform 1780">
                  <a:extLst>
                    <a:ext uri="{FF2B5EF4-FFF2-40B4-BE49-F238E27FC236}">
                      <a16:creationId xmlns:a16="http://schemas.microsoft.com/office/drawing/2014/main" id="{B981F86C-7943-9DAE-29BA-C735FD6C9F94}"/>
                    </a:ext>
                  </a:extLst>
                </p:cNvPr>
                <p:cNvSpPr>
                  <a:spLocks noEditPoints="1"/>
                </p:cNvSpPr>
                <p:nvPr/>
              </p:nvSpPr>
              <p:spPr bwMode="auto">
                <a:xfrm>
                  <a:off x="4858940" y="1734859"/>
                  <a:ext cx="736517" cy="625511"/>
                </a:xfrm>
                <a:custGeom>
                  <a:avLst/>
                  <a:gdLst/>
                  <a:ahLst/>
                  <a:cxnLst>
                    <a:cxn ang="0">
                      <a:pos x="312" y="179"/>
                    </a:cxn>
                    <a:cxn ang="0">
                      <a:pos x="388" y="169"/>
                    </a:cxn>
                    <a:cxn ang="0">
                      <a:pos x="387" y="139"/>
                    </a:cxn>
                    <a:cxn ang="0">
                      <a:pos x="374" y="136"/>
                    </a:cxn>
                    <a:cxn ang="0">
                      <a:pos x="346" y="146"/>
                    </a:cxn>
                    <a:cxn ang="0">
                      <a:pos x="327" y="181"/>
                    </a:cxn>
                    <a:cxn ang="0">
                      <a:pos x="428" y="129"/>
                    </a:cxn>
                    <a:cxn ang="0">
                      <a:pos x="442" y="97"/>
                    </a:cxn>
                    <a:cxn ang="0">
                      <a:pos x="463" y="92"/>
                    </a:cxn>
                    <a:cxn ang="0">
                      <a:pos x="487" y="75"/>
                    </a:cxn>
                    <a:cxn ang="0">
                      <a:pos x="524" y="54"/>
                    </a:cxn>
                    <a:cxn ang="0">
                      <a:pos x="623" y="26"/>
                    </a:cxn>
                    <a:cxn ang="0">
                      <a:pos x="635" y="48"/>
                    </a:cxn>
                    <a:cxn ang="0">
                      <a:pos x="674" y="28"/>
                    </a:cxn>
                    <a:cxn ang="0">
                      <a:pos x="782" y="73"/>
                    </a:cxn>
                    <a:cxn ang="0">
                      <a:pos x="662" y="146"/>
                    </a:cxn>
                    <a:cxn ang="0">
                      <a:pos x="536" y="132"/>
                    </a:cxn>
                    <a:cxn ang="0">
                      <a:pos x="437" y="190"/>
                    </a:cxn>
                    <a:cxn ang="0">
                      <a:pos x="353" y="306"/>
                    </a:cxn>
                    <a:cxn ang="0">
                      <a:pos x="312" y="433"/>
                    </a:cxn>
                    <a:cxn ang="0">
                      <a:pos x="258" y="534"/>
                    </a:cxn>
                    <a:cxn ang="0">
                      <a:pos x="256" y="670"/>
                    </a:cxn>
                    <a:cxn ang="0">
                      <a:pos x="200" y="701"/>
                    </a:cxn>
                    <a:cxn ang="0">
                      <a:pos x="165" y="722"/>
                    </a:cxn>
                    <a:cxn ang="0">
                      <a:pos x="68" y="775"/>
                    </a:cxn>
                    <a:cxn ang="0">
                      <a:pos x="33" y="719"/>
                    </a:cxn>
                    <a:cxn ang="0">
                      <a:pos x="30" y="684"/>
                    </a:cxn>
                    <a:cxn ang="0">
                      <a:pos x="16" y="658"/>
                    </a:cxn>
                    <a:cxn ang="0">
                      <a:pos x="12" y="609"/>
                    </a:cxn>
                    <a:cxn ang="0">
                      <a:pos x="54" y="597"/>
                    </a:cxn>
                    <a:cxn ang="0">
                      <a:pos x="28" y="560"/>
                    </a:cxn>
                    <a:cxn ang="0">
                      <a:pos x="31" y="541"/>
                    </a:cxn>
                    <a:cxn ang="0">
                      <a:pos x="85" y="508"/>
                    </a:cxn>
                    <a:cxn ang="0">
                      <a:pos x="141" y="466"/>
                    </a:cxn>
                    <a:cxn ang="0">
                      <a:pos x="202" y="461"/>
                    </a:cxn>
                    <a:cxn ang="0">
                      <a:pos x="172" y="458"/>
                    </a:cxn>
                    <a:cxn ang="0">
                      <a:pos x="214" y="402"/>
                    </a:cxn>
                    <a:cxn ang="0">
                      <a:pos x="207" y="385"/>
                    </a:cxn>
                    <a:cxn ang="0">
                      <a:pos x="268" y="332"/>
                    </a:cxn>
                    <a:cxn ang="0">
                      <a:pos x="286" y="292"/>
                    </a:cxn>
                    <a:cxn ang="0">
                      <a:pos x="319" y="250"/>
                    </a:cxn>
                    <a:cxn ang="0">
                      <a:pos x="346" y="233"/>
                    </a:cxn>
                    <a:cxn ang="0">
                      <a:pos x="346" y="205"/>
                    </a:cxn>
                    <a:cxn ang="0">
                      <a:pos x="397" y="198"/>
                    </a:cxn>
                    <a:cxn ang="0">
                      <a:pos x="409" y="169"/>
                    </a:cxn>
                    <a:cxn ang="0">
                      <a:pos x="463" y="102"/>
                    </a:cxn>
                    <a:cxn ang="0">
                      <a:pos x="493" y="97"/>
                    </a:cxn>
                    <a:cxn ang="0">
                      <a:pos x="536" y="102"/>
                    </a:cxn>
                    <a:cxn ang="0">
                      <a:pos x="597" y="73"/>
                    </a:cxn>
                    <a:cxn ang="0">
                      <a:pos x="615" y="54"/>
                    </a:cxn>
                    <a:cxn ang="0">
                      <a:pos x="679" y="29"/>
                    </a:cxn>
                    <a:cxn ang="0">
                      <a:pos x="716" y="14"/>
                    </a:cxn>
                    <a:cxn ang="0">
                      <a:pos x="721" y="47"/>
                    </a:cxn>
                    <a:cxn ang="0">
                      <a:pos x="789" y="17"/>
                    </a:cxn>
                    <a:cxn ang="0">
                      <a:pos x="822" y="17"/>
                    </a:cxn>
                    <a:cxn ang="0">
                      <a:pos x="857" y="24"/>
                    </a:cxn>
                    <a:cxn ang="0">
                      <a:pos x="872" y="66"/>
                    </a:cxn>
                    <a:cxn ang="0">
                      <a:pos x="912" y="90"/>
                    </a:cxn>
                    <a:cxn ang="0">
                      <a:pos x="320" y="176"/>
                    </a:cxn>
                    <a:cxn ang="0">
                      <a:pos x="355" y="200"/>
                    </a:cxn>
                    <a:cxn ang="0">
                      <a:pos x="493" y="61"/>
                    </a:cxn>
                    <a:cxn ang="0">
                      <a:pos x="559" y="68"/>
                    </a:cxn>
                    <a:cxn ang="0">
                      <a:pos x="669" y="10"/>
                    </a:cxn>
                  </a:cxnLst>
                  <a:rect l="0" t="0" r="r" b="b"/>
                  <a:pathLst>
                    <a:path w="918" h="780">
                      <a:moveTo>
                        <a:pt x="286" y="193"/>
                      </a:moveTo>
                      <a:lnTo>
                        <a:pt x="286" y="193"/>
                      </a:lnTo>
                      <a:lnTo>
                        <a:pt x="286" y="198"/>
                      </a:lnTo>
                      <a:lnTo>
                        <a:pt x="286" y="200"/>
                      </a:lnTo>
                      <a:lnTo>
                        <a:pt x="282" y="203"/>
                      </a:lnTo>
                      <a:lnTo>
                        <a:pt x="282" y="203"/>
                      </a:lnTo>
                      <a:lnTo>
                        <a:pt x="277" y="205"/>
                      </a:lnTo>
                      <a:lnTo>
                        <a:pt x="279" y="200"/>
                      </a:lnTo>
                      <a:lnTo>
                        <a:pt x="279" y="200"/>
                      </a:lnTo>
                      <a:lnTo>
                        <a:pt x="284" y="191"/>
                      </a:lnTo>
                      <a:lnTo>
                        <a:pt x="286" y="190"/>
                      </a:lnTo>
                      <a:lnTo>
                        <a:pt x="286" y="193"/>
                      </a:lnTo>
                      <a:lnTo>
                        <a:pt x="286" y="193"/>
                      </a:lnTo>
                      <a:close/>
                      <a:moveTo>
                        <a:pt x="289" y="195"/>
                      </a:moveTo>
                      <a:lnTo>
                        <a:pt x="289" y="195"/>
                      </a:lnTo>
                      <a:lnTo>
                        <a:pt x="289" y="191"/>
                      </a:lnTo>
                      <a:lnTo>
                        <a:pt x="291" y="191"/>
                      </a:lnTo>
                      <a:lnTo>
                        <a:pt x="292" y="191"/>
                      </a:lnTo>
                      <a:lnTo>
                        <a:pt x="292" y="188"/>
                      </a:lnTo>
                      <a:lnTo>
                        <a:pt x="292" y="188"/>
                      </a:lnTo>
                      <a:lnTo>
                        <a:pt x="294" y="186"/>
                      </a:lnTo>
                      <a:lnTo>
                        <a:pt x="296" y="186"/>
                      </a:lnTo>
                      <a:lnTo>
                        <a:pt x="298" y="188"/>
                      </a:lnTo>
                      <a:lnTo>
                        <a:pt x="296" y="191"/>
                      </a:lnTo>
                      <a:lnTo>
                        <a:pt x="296" y="191"/>
                      </a:lnTo>
                      <a:lnTo>
                        <a:pt x="292" y="196"/>
                      </a:lnTo>
                      <a:lnTo>
                        <a:pt x="291" y="196"/>
                      </a:lnTo>
                      <a:lnTo>
                        <a:pt x="289" y="195"/>
                      </a:lnTo>
                      <a:lnTo>
                        <a:pt x="289" y="195"/>
                      </a:lnTo>
                      <a:close/>
                      <a:moveTo>
                        <a:pt x="299" y="184"/>
                      </a:moveTo>
                      <a:lnTo>
                        <a:pt x="299" y="184"/>
                      </a:lnTo>
                      <a:lnTo>
                        <a:pt x="303" y="181"/>
                      </a:lnTo>
                      <a:lnTo>
                        <a:pt x="305" y="177"/>
                      </a:lnTo>
                      <a:lnTo>
                        <a:pt x="308" y="177"/>
                      </a:lnTo>
                      <a:lnTo>
                        <a:pt x="312" y="179"/>
                      </a:lnTo>
                      <a:lnTo>
                        <a:pt x="312" y="179"/>
                      </a:lnTo>
                      <a:lnTo>
                        <a:pt x="320" y="181"/>
                      </a:lnTo>
                      <a:lnTo>
                        <a:pt x="322" y="181"/>
                      </a:lnTo>
                      <a:lnTo>
                        <a:pt x="319" y="183"/>
                      </a:lnTo>
                      <a:lnTo>
                        <a:pt x="319" y="183"/>
                      </a:lnTo>
                      <a:lnTo>
                        <a:pt x="315" y="184"/>
                      </a:lnTo>
                      <a:lnTo>
                        <a:pt x="313" y="188"/>
                      </a:lnTo>
                      <a:lnTo>
                        <a:pt x="312" y="190"/>
                      </a:lnTo>
                      <a:lnTo>
                        <a:pt x="308" y="191"/>
                      </a:lnTo>
                      <a:lnTo>
                        <a:pt x="308" y="191"/>
                      </a:lnTo>
                      <a:lnTo>
                        <a:pt x="306" y="191"/>
                      </a:lnTo>
                      <a:lnTo>
                        <a:pt x="305" y="190"/>
                      </a:lnTo>
                      <a:lnTo>
                        <a:pt x="303" y="191"/>
                      </a:lnTo>
                      <a:lnTo>
                        <a:pt x="303" y="191"/>
                      </a:lnTo>
                      <a:lnTo>
                        <a:pt x="301" y="193"/>
                      </a:lnTo>
                      <a:lnTo>
                        <a:pt x="299" y="191"/>
                      </a:lnTo>
                      <a:lnTo>
                        <a:pt x="299" y="191"/>
                      </a:lnTo>
                      <a:lnTo>
                        <a:pt x="299" y="190"/>
                      </a:lnTo>
                      <a:lnTo>
                        <a:pt x="299" y="190"/>
                      </a:lnTo>
                      <a:lnTo>
                        <a:pt x="299" y="186"/>
                      </a:lnTo>
                      <a:lnTo>
                        <a:pt x="299" y="184"/>
                      </a:lnTo>
                      <a:lnTo>
                        <a:pt x="299" y="184"/>
                      </a:lnTo>
                      <a:close/>
                      <a:moveTo>
                        <a:pt x="400" y="141"/>
                      </a:moveTo>
                      <a:lnTo>
                        <a:pt x="400" y="141"/>
                      </a:lnTo>
                      <a:lnTo>
                        <a:pt x="404" y="144"/>
                      </a:lnTo>
                      <a:lnTo>
                        <a:pt x="407" y="151"/>
                      </a:lnTo>
                      <a:lnTo>
                        <a:pt x="407" y="153"/>
                      </a:lnTo>
                      <a:lnTo>
                        <a:pt x="407" y="156"/>
                      </a:lnTo>
                      <a:lnTo>
                        <a:pt x="406" y="158"/>
                      </a:lnTo>
                      <a:lnTo>
                        <a:pt x="402" y="158"/>
                      </a:lnTo>
                      <a:lnTo>
                        <a:pt x="402" y="158"/>
                      </a:lnTo>
                      <a:lnTo>
                        <a:pt x="395" y="160"/>
                      </a:lnTo>
                      <a:lnTo>
                        <a:pt x="392" y="162"/>
                      </a:lnTo>
                      <a:lnTo>
                        <a:pt x="390" y="165"/>
                      </a:lnTo>
                      <a:lnTo>
                        <a:pt x="388" y="169"/>
                      </a:lnTo>
                      <a:lnTo>
                        <a:pt x="388" y="169"/>
                      </a:lnTo>
                      <a:lnTo>
                        <a:pt x="385" y="172"/>
                      </a:lnTo>
                      <a:lnTo>
                        <a:pt x="383" y="172"/>
                      </a:lnTo>
                      <a:lnTo>
                        <a:pt x="381" y="170"/>
                      </a:lnTo>
                      <a:lnTo>
                        <a:pt x="381" y="170"/>
                      </a:lnTo>
                      <a:lnTo>
                        <a:pt x="380" y="170"/>
                      </a:lnTo>
                      <a:lnTo>
                        <a:pt x="378" y="170"/>
                      </a:lnTo>
                      <a:lnTo>
                        <a:pt x="376" y="174"/>
                      </a:lnTo>
                      <a:lnTo>
                        <a:pt x="374" y="177"/>
                      </a:lnTo>
                      <a:lnTo>
                        <a:pt x="373" y="177"/>
                      </a:lnTo>
                      <a:lnTo>
                        <a:pt x="371" y="176"/>
                      </a:lnTo>
                      <a:lnTo>
                        <a:pt x="371" y="176"/>
                      </a:lnTo>
                      <a:lnTo>
                        <a:pt x="367" y="176"/>
                      </a:lnTo>
                      <a:lnTo>
                        <a:pt x="366" y="176"/>
                      </a:lnTo>
                      <a:lnTo>
                        <a:pt x="359" y="177"/>
                      </a:lnTo>
                      <a:lnTo>
                        <a:pt x="355" y="179"/>
                      </a:lnTo>
                      <a:lnTo>
                        <a:pt x="357" y="174"/>
                      </a:lnTo>
                      <a:lnTo>
                        <a:pt x="357" y="174"/>
                      </a:lnTo>
                      <a:lnTo>
                        <a:pt x="360" y="167"/>
                      </a:lnTo>
                      <a:lnTo>
                        <a:pt x="360" y="163"/>
                      </a:lnTo>
                      <a:lnTo>
                        <a:pt x="362" y="162"/>
                      </a:lnTo>
                      <a:lnTo>
                        <a:pt x="366" y="160"/>
                      </a:lnTo>
                      <a:lnTo>
                        <a:pt x="366" y="160"/>
                      </a:lnTo>
                      <a:lnTo>
                        <a:pt x="369" y="158"/>
                      </a:lnTo>
                      <a:lnTo>
                        <a:pt x="371" y="156"/>
                      </a:lnTo>
                      <a:lnTo>
                        <a:pt x="369" y="151"/>
                      </a:lnTo>
                      <a:lnTo>
                        <a:pt x="369" y="148"/>
                      </a:lnTo>
                      <a:lnTo>
                        <a:pt x="369" y="148"/>
                      </a:lnTo>
                      <a:lnTo>
                        <a:pt x="373" y="142"/>
                      </a:lnTo>
                      <a:lnTo>
                        <a:pt x="376" y="139"/>
                      </a:lnTo>
                      <a:lnTo>
                        <a:pt x="380" y="136"/>
                      </a:lnTo>
                      <a:lnTo>
                        <a:pt x="385" y="136"/>
                      </a:lnTo>
                      <a:lnTo>
                        <a:pt x="385" y="136"/>
                      </a:lnTo>
                      <a:lnTo>
                        <a:pt x="387" y="137"/>
                      </a:lnTo>
                      <a:lnTo>
                        <a:pt x="387" y="139"/>
                      </a:lnTo>
                      <a:lnTo>
                        <a:pt x="383" y="144"/>
                      </a:lnTo>
                      <a:lnTo>
                        <a:pt x="381" y="148"/>
                      </a:lnTo>
                      <a:lnTo>
                        <a:pt x="381" y="149"/>
                      </a:lnTo>
                      <a:lnTo>
                        <a:pt x="383" y="149"/>
                      </a:lnTo>
                      <a:lnTo>
                        <a:pt x="383" y="149"/>
                      </a:lnTo>
                      <a:lnTo>
                        <a:pt x="387" y="149"/>
                      </a:lnTo>
                      <a:lnTo>
                        <a:pt x="387" y="149"/>
                      </a:lnTo>
                      <a:lnTo>
                        <a:pt x="385" y="153"/>
                      </a:lnTo>
                      <a:lnTo>
                        <a:pt x="383" y="156"/>
                      </a:lnTo>
                      <a:lnTo>
                        <a:pt x="387" y="155"/>
                      </a:lnTo>
                      <a:lnTo>
                        <a:pt x="387" y="155"/>
                      </a:lnTo>
                      <a:lnTo>
                        <a:pt x="392" y="149"/>
                      </a:lnTo>
                      <a:lnTo>
                        <a:pt x="392" y="146"/>
                      </a:lnTo>
                      <a:lnTo>
                        <a:pt x="392" y="144"/>
                      </a:lnTo>
                      <a:lnTo>
                        <a:pt x="393" y="141"/>
                      </a:lnTo>
                      <a:lnTo>
                        <a:pt x="393" y="141"/>
                      </a:lnTo>
                      <a:lnTo>
                        <a:pt x="397" y="139"/>
                      </a:lnTo>
                      <a:lnTo>
                        <a:pt x="400" y="141"/>
                      </a:lnTo>
                      <a:lnTo>
                        <a:pt x="400" y="141"/>
                      </a:lnTo>
                      <a:close/>
                      <a:moveTo>
                        <a:pt x="369" y="132"/>
                      </a:moveTo>
                      <a:lnTo>
                        <a:pt x="369" y="132"/>
                      </a:lnTo>
                      <a:lnTo>
                        <a:pt x="373" y="127"/>
                      </a:lnTo>
                      <a:lnTo>
                        <a:pt x="376" y="122"/>
                      </a:lnTo>
                      <a:lnTo>
                        <a:pt x="387" y="116"/>
                      </a:lnTo>
                      <a:lnTo>
                        <a:pt x="387" y="116"/>
                      </a:lnTo>
                      <a:lnTo>
                        <a:pt x="392" y="115"/>
                      </a:lnTo>
                      <a:lnTo>
                        <a:pt x="393" y="115"/>
                      </a:lnTo>
                      <a:lnTo>
                        <a:pt x="392" y="118"/>
                      </a:lnTo>
                      <a:lnTo>
                        <a:pt x="388" y="123"/>
                      </a:lnTo>
                      <a:lnTo>
                        <a:pt x="388" y="123"/>
                      </a:lnTo>
                      <a:lnTo>
                        <a:pt x="383" y="130"/>
                      </a:lnTo>
                      <a:lnTo>
                        <a:pt x="381" y="132"/>
                      </a:lnTo>
                      <a:lnTo>
                        <a:pt x="378" y="134"/>
                      </a:lnTo>
                      <a:lnTo>
                        <a:pt x="378" y="134"/>
                      </a:lnTo>
                      <a:lnTo>
                        <a:pt x="374" y="136"/>
                      </a:lnTo>
                      <a:lnTo>
                        <a:pt x="373" y="137"/>
                      </a:lnTo>
                      <a:lnTo>
                        <a:pt x="371" y="141"/>
                      </a:lnTo>
                      <a:lnTo>
                        <a:pt x="369" y="141"/>
                      </a:lnTo>
                      <a:lnTo>
                        <a:pt x="369" y="141"/>
                      </a:lnTo>
                      <a:lnTo>
                        <a:pt x="367" y="139"/>
                      </a:lnTo>
                      <a:lnTo>
                        <a:pt x="367" y="137"/>
                      </a:lnTo>
                      <a:lnTo>
                        <a:pt x="369" y="132"/>
                      </a:lnTo>
                      <a:lnTo>
                        <a:pt x="369" y="132"/>
                      </a:lnTo>
                      <a:close/>
                      <a:moveTo>
                        <a:pt x="346" y="158"/>
                      </a:moveTo>
                      <a:lnTo>
                        <a:pt x="346" y="158"/>
                      </a:lnTo>
                      <a:lnTo>
                        <a:pt x="346" y="158"/>
                      </a:lnTo>
                      <a:lnTo>
                        <a:pt x="346" y="156"/>
                      </a:lnTo>
                      <a:lnTo>
                        <a:pt x="352" y="153"/>
                      </a:lnTo>
                      <a:lnTo>
                        <a:pt x="357" y="151"/>
                      </a:lnTo>
                      <a:lnTo>
                        <a:pt x="352" y="151"/>
                      </a:lnTo>
                      <a:lnTo>
                        <a:pt x="352" y="151"/>
                      </a:lnTo>
                      <a:lnTo>
                        <a:pt x="343" y="153"/>
                      </a:lnTo>
                      <a:lnTo>
                        <a:pt x="339" y="156"/>
                      </a:lnTo>
                      <a:lnTo>
                        <a:pt x="338" y="158"/>
                      </a:lnTo>
                      <a:lnTo>
                        <a:pt x="333" y="156"/>
                      </a:lnTo>
                      <a:lnTo>
                        <a:pt x="333" y="156"/>
                      </a:lnTo>
                      <a:lnTo>
                        <a:pt x="331" y="153"/>
                      </a:lnTo>
                      <a:lnTo>
                        <a:pt x="331" y="151"/>
                      </a:lnTo>
                      <a:lnTo>
                        <a:pt x="333" y="149"/>
                      </a:lnTo>
                      <a:lnTo>
                        <a:pt x="334" y="148"/>
                      </a:lnTo>
                      <a:lnTo>
                        <a:pt x="334" y="148"/>
                      </a:lnTo>
                      <a:lnTo>
                        <a:pt x="334" y="146"/>
                      </a:lnTo>
                      <a:lnTo>
                        <a:pt x="336" y="146"/>
                      </a:lnTo>
                      <a:lnTo>
                        <a:pt x="338" y="144"/>
                      </a:lnTo>
                      <a:lnTo>
                        <a:pt x="339" y="144"/>
                      </a:lnTo>
                      <a:lnTo>
                        <a:pt x="339" y="144"/>
                      </a:lnTo>
                      <a:lnTo>
                        <a:pt x="341" y="142"/>
                      </a:lnTo>
                      <a:lnTo>
                        <a:pt x="341" y="144"/>
                      </a:lnTo>
                      <a:lnTo>
                        <a:pt x="343" y="146"/>
                      </a:lnTo>
                      <a:lnTo>
                        <a:pt x="346" y="146"/>
                      </a:lnTo>
                      <a:lnTo>
                        <a:pt x="346" y="146"/>
                      </a:lnTo>
                      <a:lnTo>
                        <a:pt x="348" y="146"/>
                      </a:lnTo>
                      <a:lnTo>
                        <a:pt x="348" y="144"/>
                      </a:lnTo>
                      <a:lnTo>
                        <a:pt x="350" y="142"/>
                      </a:lnTo>
                      <a:lnTo>
                        <a:pt x="353" y="142"/>
                      </a:lnTo>
                      <a:lnTo>
                        <a:pt x="353" y="142"/>
                      </a:lnTo>
                      <a:lnTo>
                        <a:pt x="357" y="142"/>
                      </a:lnTo>
                      <a:lnTo>
                        <a:pt x="355" y="139"/>
                      </a:lnTo>
                      <a:lnTo>
                        <a:pt x="353" y="136"/>
                      </a:lnTo>
                      <a:lnTo>
                        <a:pt x="353" y="134"/>
                      </a:lnTo>
                      <a:lnTo>
                        <a:pt x="355" y="132"/>
                      </a:lnTo>
                      <a:lnTo>
                        <a:pt x="355" y="132"/>
                      </a:lnTo>
                      <a:lnTo>
                        <a:pt x="357" y="132"/>
                      </a:lnTo>
                      <a:lnTo>
                        <a:pt x="359" y="134"/>
                      </a:lnTo>
                      <a:lnTo>
                        <a:pt x="364" y="137"/>
                      </a:lnTo>
                      <a:lnTo>
                        <a:pt x="366" y="142"/>
                      </a:lnTo>
                      <a:lnTo>
                        <a:pt x="366" y="144"/>
                      </a:lnTo>
                      <a:lnTo>
                        <a:pt x="364" y="146"/>
                      </a:lnTo>
                      <a:lnTo>
                        <a:pt x="364" y="146"/>
                      </a:lnTo>
                      <a:lnTo>
                        <a:pt x="364" y="146"/>
                      </a:lnTo>
                      <a:lnTo>
                        <a:pt x="364" y="148"/>
                      </a:lnTo>
                      <a:lnTo>
                        <a:pt x="366" y="149"/>
                      </a:lnTo>
                      <a:lnTo>
                        <a:pt x="366" y="153"/>
                      </a:lnTo>
                      <a:lnTo>
                        <a:pt x="366" y="155"/>
                      </a:lnTo>
                      <a:lnTo>
                        <a:pt x="364" y="155"/>
                      </a:lnTo>
                      <a:lnTo>
                        <a:pt x="364" y="155"/>
                      </a:lnTo>
                      <a:lnTo>
                        <a:pt x="355" y="158"/>
                      </a:lnTo>
                      <a:lnTo>
                        <a:pt x="346" y="158"/>
                      </a:lnTo>
                      <a:lnTo>
                        <a:pt x="346" y="158"/>
                      </a:lnTo>
                      <a:close/>
                      <a:moveTo>
                        <a:pt x="334" y="183"/>
                      </a:moveTo>
                      <a:lnTo>
                        <a:pt x="334" y="183"/>
                      </a:lnTo>
                      <a:lnTo>
                        <a:pt x="329" y="184"/>
                      </a:lnTo>
                      <a:lnTo>
                        <a:pt x="326" y="184"/>
                      </a:lnTo>
                      <a:lnTo>
                        <a:pt x="326" y="183"/>
                      </a:lnTo>
                      <a:lnTo>
                        <a:pt x="327" y="181"/>
                      </a:lnTo>
                      <a:lnTo>
                        <a:pt x="327" y="181"/>
                      </a:lnTo>
                      <a:lnTo>
                        <a:pt x="329" y="179"/>
                      </a:lnTo>
                      <a:lnTo>
                        <a:pt x="329" y="177"/>
                      </a:lnTo>
                      <a:lnTo>
                        <a:pt x="329" y="176"/>
                      </a:lnTo>
                      <a:lnTo>
                        <a:pt x="331" y="176"/>
                      </a:lnTo>
                      <a:lnTo>
                        <a:pt x="331" y="176"/>
                      </a:lnTo>
                      <a:lnTo>
                        <a:pt x="334" y="174"/>
                      </a:lnTo>
                      <a:lnTo>
                        <a:pt x="334" y="174"/>
                      </a:lnTo>
                      <a:lnTo>
                        <a:pt x="334" y="172"/>
                      </a:lnTo>
                      <a:lnTo>
                        <a:pt x="336" y="170"/>
                      </a:lnTo>
                      <a:lnTo>
                        <a:pt x="336" y="170"/>
                      </a:lnTo>
                      <a:lnTo>
                        <a:pt x="345" y="169"/>
                      </a:lnTo>
                      <a:lnTo>
                        <a:pt x="352" y="169"/>
                      </a:lnTo>
                      <a:lnTo>
                        <a:pt x="352" y="169"/>
                      </a:lnTo>
                      <a:lnTo>
                        <a:pt x="357" y="169"/>
                      </a:lnTo>
                      <a:lnTo>
                        <a:pt x="357" y="169"/>
                      </a:lnTo>
                      <a:lnTo>
                        <a:pt x="353" y="172"/>
                      </a:lnTo>
                      <a:lnTo>
                        <a:pt x="353" y="172"/>
                      </a:lnTo>
                      <a:lnTo>
                        <a:pt x="343" y="179"/>
                      </a:lnTo>
                      <a:lnTo>
                        <a:pt x="334" y="183"/>
                      </a:lnTo>
                      <a:lnTo>
                        <a:pt x="334" y="183"/>
                      </a:lnTo>
                      <a:close/>
                      <a:moveTo>
                        <a:pt x="453" y="123"/>
                      </a:moveTo>
                      <a:lnTo>
                        <a:pt x="453" y="123"/>
                      </a:lnTo>
                      <a:lnTo>
                        <a:pt x="446" y="123"/>
                      </a:lnTo>
                      <a:lnTo>
                        <a:pt x="444" y="122"/>
                      </a:lnTo>
                      <a:lnTo>
                        <a:pt x="444" y="120"/>
                      </a:lnTo>
                      <a:lnTo>
                        <a:pt x="442" y="120"/>
                      </a:lnTo>
                      <a:lnTo>
                        <a:pt x="442" y="120"/>
                      </a:lnTo>
                      <a:lnTo>
                        <a:pt x="439" y="122"/>
                      </a:lnTo>
                      <a:lnTo>
                        <a:pt x="437" y="125"/>
                      </a:lnTo>
                      <a:lnTo>
                        <a:pt x="434" y="129"/>
                      </a:lnTo>
                      <a:lnTo>
                        <a:pt x="430" y="130"/>
                      </a:lnTo>
                      <a:lnTo>
                        <a:pt x="430" y="130"/>
                      </a:lnTo>
                      <a:lnTo>
                        <a:pt x="428" y="130"/>
                      </a:lnTo>
                      <a:lnTo>
                        <a:pt x="428" y="129"/>
                      </a:lnTo>
                      <a:lnTo>
                        <a:pt x="428" y="127"/>
                      </a:lnTo>
                      <a:lnTo>
                        <a:pt x="423" y="127"/>
                      </a:lnTo>
                      <a:lnTo>
                        <a:pt x="423" y="127"/>
                      </a:lnTo>
                      <a:lnTo>
                        <a:pt x="420" y="127"/>
                      </a:lnTo>
                      <a:lnTo>
                        <a:pt x="421" y="125"/>
                      </a:lnTo>
                      <a:lnTo>
                        <a:pt x="423" y="122"/>
                      </a:lnTo>
                      <a:lnTo>
                        <a:pt x="423" y="122"/>
                      </a:lnTo>
                      <a:lnTo>
                        <a:pt x="423" y="120"/>
                      </a:lnTo>
                      <a:lnTo>
                        <a:pt x="423" y="120"/>
                      </a:lnTo>
                      <a:lnTo>
                        <a:pt x="423" y="118"/>
                      </a:lnTo>
                      <a:lnTo>
                        <a:pt x="425" y="116"/>
                      </a:lnTo>
                      <a:lnTo>
                        <a:pt x="425" y="116"/>
                      </a:lnTo>
                      <a:lnTo>
                        <a:pt x="423" y="115"/>
                      </a:lnTo>
                      <a:lnTo>
                        <a:pt x="423" y="115"/>
                      </a:lnTo>
                      <a:lnTo>
                        <a:pt x="423" y="113"/>
                      </a:lnTo>
                      <a:lnTo>
                        <a:pt x="425" y="111"/>
                      </a:lnTo>
                      <a:lnTo>
                        <a:pt x="427" y="111"/>
                      </a:lnTo>
                      <a:lnTo>
                        <a:pt x="425" y="109"/>
                      </a:lnTo>
                      <a:lnTo>
                        <a:pt x="425" y="109"/>
                      </a:lnTo>
                      <a:lnTo>
                        <a:pt x="423" y="109"/>
                      </a:lnTo>
                      <a:lnTo>
                        <a:pt x="425" y="108"/>
                      </a:lnTo>
                      <a:lnTo>
                        <a:pt x="428" y="108"/>
                      </a:lnTo>
                      <a:lnTo>
                        <a:pt x="434" y="106"/>
                      </a:lnTo>
                      <a:lnTo>
                        <a:pt x="437" y="106"/>
                      </a:lnTo>
                      <a:lnTo>
                        <a:pt x="437" y="106"/>
                      </a:lnTo>
                      <a:lnTo>
                        <a:pt x="437" y="104"/>
                      </a:lnTo>
                      <a:lnTo>
                        <a:pt x="435" y="102"/>
                      </a:lnTo>
                      <a:lnTo>
                        <a:pt x="434" y="101"/>
                      </a:lnTo>
                      <a:lnTo>
                        <a:pt x="434" y="99"/>
                      </a:lnTo>
                      <a:lnTo>
                        <a:pt x="434" y="99"/>
                      </a:lnTo>
                      <a:lnTo>
                        <a:pt x="437" y="99"/>
                      </a:lnTo>
                      <a:lnTo>
                        <a:pt x="440" y="99"/>
                      </a:lnTo>
                      <a:lnTo>
                        <a:pt x="442" y="99"/>
                      </a:lnTo>
                      <a:lnTo>
                        <a:pt x="442" y="97"/>
                      </a:lnTo>
                      <a:lnTo>
                        <a:pt x="442" y="97"/>
                      </a:lnTo>
                      <a:lnTo>
                        <a:pt x="442" y="95"/>
                      </a:lnTo>
                      <a:lnTo>
                        <a:pt x="446" y="95"/>
                      </a:lnTo>
                      <a:lnTo>
                        <a:pt x="447" y="97"/>
                      </a:lnTo>
                      <a:lnTo>
                        <a:pt x="449" y="95"/>
                      </a:lnTo>
                      <a:lnTo>
                        <a:pt x="449" y="95"/>
                      </a:lnTo>
                      <a:lnTo>
                        <a:pt x="449" y="94"/>
                      </a:lnTo>
                      <a:lnTo>
                        <a:pt x="451" y="95"/>
                      </a:lnTo>
                      <a:lnTo>
                        <a:pt x="453" y="97"/>
                      </a:lnTo>
                      <a:lnTo>
                        <a:pt x="454" y="95"/>
                      </a:lnTo>
                      <a:lnTo>
                        <a:pt x="454" y="95"/>
                      </a:lnTo>
                      <a:lnTo>
                        <a:pt x="456" y="95"/>
                      </a:lnTo>
                      <a:lnTo>
                        <a:pt x="458" y="97"/>
                      </a:lnTo>
                      <a:lnTo>
                        <a:pt x="458" y="99"/>
                      </a:lnTo>
                      <a:lnTo>
                        <a:pt x="460" y="99"/>
                      </a:lnTo>
                      <a:lnTo>
                        <a:pt x="460" y="99"/>
                      </a:lnTo>
                      <a:lnTo>
                        <a:pt x="461" y="99"/>
                      </a:lnTo>
                      <a:lnTo>
                        <a:pt x="461" y="101"/>
                      </a:lnTo>
                      <a:lnTo>
                        <a:pt x="460" y="106"/>
                      </a:lnTo>
                      <a:lnTo>
                        <a:pt x="460" y="106"/>
                      </a:lnTo>
                      <a:lnTo>
                        <a:pt x="460" y="109"/>
                      </a:lnTo>
                      <a:lnTo>
                        <a:pt x="458" y="111"/>
                      </a:lnTo>
                      <a:lnTo>
                        <a:pt x="456" y="113"/>
                      </a:lnTo>
                      <a:lnTo>
                        <a:pt x="456" y="116"/>
                      </a:lnTo>
                      <a:lnTo>
                        <a:pt x="456" y="116"/>
                      </a:lnTo>
                      <a:lnTo>
                        <a:pt x="458" y="120"/>
                      </a:lnTo>
                      <a:lnTo>
                        <a:pt x="458" y="122"/>
                      </a:lnTo>
                      <a:lnTo>
                        <a:pt x="453" y="123"/>
                      </a:lnTo>
                      <a:lnTo>
                        <a:pt x="453" y="123"/>
                      </a:lnTo>
                      <a:close/>
                      <a:moveTo>
                        <a:pt x="477" y="97"/>
                      </a:moveTo>
                      <a:lnTo>
                        <a:pt x="477" y="97"/>
                      </a:lnTo>
                      <a:lnTo>
                        <a:pt x="463" y="97"/>
                      </a:lnTo>
                      <a:lnTo>
                        <a:pt x="461" y="95"/>
                      </a:lnTo>
                      <a:lnTo>
                        <a:pt x="461" y="94"/>
                      </a:lnTo>
                      <a:lnTo>
                        <a:pt x="461" y="94"/>
                      </a:lnTo>
                      <a:lnTo>
                        <a:pt x="463" y="92"/>
                      </a:lnTo>
                      <a:lnTo>
                        <a:pt x="465" y="92"/>
                      </a:lnTo>
                      <a:lnTo>
                        <a:pt x="468" y="92"/>
                      </a:lnTo>
                      <a:lnTo>
                        <a:pt x="470" y="89"/>
                      </a:lnTo>
                      <a:lnTo>
                        <a:pt x="470" y="89"/>
                      </a:lnTo>
                      <a:lnTo>
                        <a:pt x="470" y="85"/>
                      </a:lnTo>
                      <a:lnTo>
                        <a:pt x="472" y="83"/>
                      </a:lnTo>
                      <a:lnTo>
                        <a:pt x="474" y="82"/>
                      </a:lnTo>
                      <a:lnTo>
                        <a:pt x="477" y="83"/>
                      </a:lnTo>
                      <a:lnTo>
                        <a:pt x="477" y="83"/>
                      </a:lnTo>
                      <a:lnTo>
                        <a:pt x="479" y="83"/>
                      </a:lnTo>
                      <a:lnTo>
                        <a:pt x="479" y="83"/>
                      </a:lnTo>
                      <a:lnTo>
                        <a:pt x="481" y="82"/>
                      </a:lnTo>
                      <a:lnTo>
                        <a:pt x="484" y="82"/>
                      </a:lnTo>
                      <a:lnTo>
                        <a:pt x="484" y="82"/>
                      </a:lnTo>
                      <a:lnTo>
                        <a:pt x="486" y="80"/>
                      </a:lnTo>
                      <a:lnTo>
                        <a:pt x="486" y="78"/>
                      </a:lnTo>
                      <a:lnTo>
                        <a:pt x="487" y="76"/>
                      </a:lnTo>
                      <a:lnTo>
                        <a:pt x="493" y="80"/>
                      </a:lnTo>
                      <a:lnTo>
                        <a:pt x="493" y="80"/>
                      </a:lnTo>
                      <a:lnTo>
                        <a:pt x="496" y="82"/>
                      </a:lnTo>
                      <a:lnTo>
                        <a:pt x="496" y="83"/>
                      </a:lnTo>
                      <a:lnTo>
                        <a:pt x="496" y="85"/>
                      </a:lnTo>
                      <a:lnTo>
                        <a:pt x="494" y="87"/>
                      </a:lnTo>
                      <a:lnTo>
                        <a:pt x="489" y="90"/>
                      </a:lnTo>
                      <a:lnTo>
                        <a:pt x="487" y="94"/>
                      </a:lnTo>
                      <a:lnTo>
                        <a:pt x="487" y="94"/>
                      </a:lnTo>
                      <a:lnTo>
                        <a:pt x="486" y="95"/>
                      </a:lnTo>
                      <a:lnTo>
                        <a:pt x="482" y="97"/>
                      </a:lnTo>
                      <a:lnTo>
                        <a:pt x="477" y="97"/>
                      </a:lnTo>
                      <a:lnTo>
                        <a:pt x="477" y="97"/>
                      </a:lnTo>
                      <a:close/>
                      <a:moveTo>
                        <a:pt x="500" y="80"/>
                      </a:moveTo>
                      <a:lnTo>
                        <a:pt x="500" y="80"/>
                      </a:lnTo>
                      <a:lnTo>
                        <a:pt x="494" y="76"/>
                      </a:lnTo>
                      <a:lnTo>
                        <a:pt x="491" y="75"/>
                      </a:lnTo>
                      <a:lnTo>
                        <a:pt x="487" y="75"/>
                      </a:lnTo>
                      <a:lnTo>
                        <a:pt x="489" y="71"/>
                      </a:lnTo>
                      <a:lnTo>
                        <a:pt x="489" y="71"/>
                      </a:lnTo>
                      <a:lnTo>
                        <a:pt x="493" y="69"/>
                      </a:lnTo>
                      <a:lnTo>
                        <a:pt x="493" y="68"/>
                      </a:lnTo>
                      <a:lnTo>
                        <a:pt x="494" y="66"/>
                      </a:lnTo>
                      <a:lnTo>
                        <a:pt x="496" y="66"/>
                      </a:lnTo>
                      <a:lnTo>
                        <a:pt x="496" y="66"/>
                      </a:lnTo>
                      <a:lnTo>
                        <a:pt x="500" y="66"/>
                      </a:lnTo>
                      <a:lnTo>
                        <a:pt x="501" y="64"/>
                      </a:lnTo>
                      <a:lnTo>
                        <a:pt x="503" y="64"/>
                      </a:lnTo>
                      <a:lnTo>
                        <a:pt x="505" y="64"/>
                      </a:lnTo>
                      <a:lnTo>
                        <a:pt x="505" y="64"/>
                      </a:lnTo>
                      <a:lnTo>
                        <a:pt x="508" y="66"/>
                      </a:lnTo>
                      <a:lnTo>
                        <a:pt x="510" y="66"/>
                      </a:lnTo>
                      <a:lnTo>
                        <a:pt x="514" y="66"/>
                      </a:lnTo>
                      <a:lnTo>
                        <a:pt x="517" y="66"/>
                      </a:lnTo>
                      <a:lnTo>
                        <a:pt x="517" y="66"/>
                      </a:lnTo>
                      <a:lnTo>
                        <a:pt x="519" y="68"/>
                      </a:lnTo>
                      <a:lnTo>
                        <a:pt x="521" y="69"/>
                      </a:lnTo>
                      <a:lnTo>
                        <a:pt x="515" y="75"/>
                      </a:lnTo>
                      <a:lnTo>
                        <a:pt x="515" y="75"/>
                      </a:lnTo>
                      <a:lnTo>
                        <a:pt x="507" y="80"/>
                      </a:lnTo>
                      <a:lnTo>
                        <a:pt x="503" y="82"/>
                      </a:lnTo>
                      <a:lnTo>
                        <a:pt x="500" y="80"/>
                      </a:lnTo>
                      <a:lnTo>
                        <a:pt x="500" y="80"/>
                      </a:lnTo>
                      <a:close/>
                      <a:moveTo>
                        <a:pt x="535" y="62"/>
                      </a:moveTo>
                      <a:lnTo>
                        <a:pt x="535" y="62"/>
                      </a:lnTo>
                      <a:lnTo>
                        <a:pt x="528" y="62"/>
                      </a:lnTo>
                      <a:lnTo>
                        <a:pt x="521" y="61"/>
                      </a:lnTo>
                      <a:lnTo>
                        <a:pt x="517" y="57"/>
                      </a:lnTo>
                      <a:lnTo>
                        <a:pt x="517" y="52"/>
                      </a:lnTo>
                      <a:lnTo>
                        <a:pt x="517" y="52"/>
                      </a:lnTo>
                      <a:lnTo>
                        <a:pt x="517" y="50"/>
                      </a:lnTo>
                      <a:lnTo>
                        <a:pt x="521" y="52"/>
                      </a:lnTo>
                      <a:lnTo>
                        <a:pt x="524" y="54"/>
                      </a:lnTo>
                      <a:lnTo>
                        <a:pt x="528" y="55"/>
                      </a:lnTo>
                      <a:lnTo>
                        <a:pt x="528" y="55"/>
                      </a:lnTo>
                      <a:lnTo>
                        <a:pt x="536" y="59"/>
                      </a:lnTo>
                      <a:lnTo>
                        <a:pt x="536" y="61"/>
                      </a:lnTo>
                      <a:lnTo>
                        <a:pt x="535" y="62"/>
                      </a:lnTo>
                      <a:lnTo>
                        <a:pt x="535" y="62"/>
                      </a:lnTo>
                      <a:close/>
                      <a:moveTo>
                        <a:pt x="548" y="55"/>
                      </a:moveTo>
                      <a:lnTo>
                        <a:pt x="548" y="55"/>
                      </a:lnTo>
                      <a:lnTo>
                        <a:pt x="554" y="54"/>
                      </a:lnTo>
                      <a:lnTo>
                        <a:pt x="557" y="54"/>
                      </a:lnTo>
                      <a:lnTo>
                        <a:pt x="559" y="55"/>
                      </a:lnTo>
                      <a:lnTo>
                        <a:pt x="559" y="59"/>
                      </a:lnTo>
                      <a:lnTo>
                        <a:pt x="559" y="59"/>
                      </a:lnTo>
                      <a:lnTo>
                        <a:pt x="557" y="66"/>
                      </a:lnTo>
                      <a:lnTo>
                        <a:pt x="555" y="66"/>
                      </a:lnTo>
                      <a:lnTo>
                        <a:pt x="552" y="66"/>
                      </a:lnTo>
                      <a:lnTo>
                        <a:pt x="552" y="66"/>
                      </a:lnTo>
                      <a:lnTo>
                        <a:pt x="547" y="64"/>
                      </a:lnTo>
                      <a:lnTo>
                        <a:pt x="545" y="62"/>
                      </a:lnTo>
                      <a:lnTo>
                        <a:pt x="545" y="59"/>
                      </a:lnTo>
                      <a:lnTo>
                        <a:pt x="548" y="55"/>
                      </a:lnTo>
                      <a:lnTo>
                        <a:pt x="548" y="55"/>
                      </a:lnTo>
                      <a:close/>
                      <a:moveTo>
                        <a:pt x="613" y="38"/>
                      </a:moveTo>
                      <a:lnTo>
                        <a:pt x="613" y="38"/>
                      </a:lnTo>
                      <a:lnTo>
                        <a:pt x="608" y="38"/>
                      </a:lnTo>
                      <a:lnTo>
                        <a:pt x="608" y="36"/>
                      </a:lnTo>
                      <a:lnTo>
                        <a:pt x="609" y="35"/>
                      </a:lnTo>
                      <a:lnTo>
                        <a:pt x="609" y="35"/>
                      </a:lnTo>
                      <a:lnTo>
                        <a:pt x="606" y="33"/>
                      </a:lnTo>
                      <a:lnTo>
                        <a:pt x="606" y="33"/>
                      </a:lnTo>
                      <a:lnTo>
                        <a:pt x="602" y="31"/>
                      </a:lnTo>
                      <a:lnTo>
                        <a:pt x="606" y="29"/>
                      </a:lnTo>
                      <a:lnTo>
                        <a:pt x="620" y="26"/>
                      </a:lnTo>
                      <a:lnTo>
                        <a:pt x="620" y="26"/>
                      </a:lnTo>
                      <a:lnTo>
                        <a:pt x="623" y="26"/>
                      </a:lnTo>
                      <a:lnTo>
                        <a:pt x="625" y="28"/>
                      </a:lnTo>
                      <a:lnTo>
                        <a:pt x="627" y="28"/>
                      </a:lnTo>
                      <a:lnTo>
                        <a:pt x="629" y="26"/>
                      </a:lnTo>
                      <a:lnTo>
                        <a:pt x="629" y="26"/>
                      </a:lnTo>
                      <a:lnTo>
                        <a:pt x="630" y="22"/>
                      </a:lnTo>
                      <a:lnTo>
                        <a:pt x="632" y="22"/>
                      </a:lnTo>
                      <a:lnTo>
                        <a:pt x="634" y="22"/>
                      </a:lnTo>
                      <a:lnTo>
                        <a:pt x="639" y="22"/>
                      </a:lnTo>
                      <a:lnTo>
                        <a:pt x="639" y="22"/>
                      </a:lnTo>
                      <a:lnTo>
                        <a:pt x="641" y="22"/>
                      </a:lnTo>
                      <a:lnTo>
                        <a:pt x="641" y="21"/>
                      </a:lnTo>
                      <a:lnTo>
                        <a:pt x="641" y="19"/>
                      </a:lnTo>
                      <a:lnTo>
                        <a:pt x="644" y="17"/>
                      </a:lnTo>
                      <a:lnTo>
                        <a:pt x="644" y="17"/>
                      </a:lnTo>
                      <a:lnTo>
                        <a:pt x="649" y="15"/>
                      </a:lnTo>
                      <a:lnTo>
                        <a:pt x="653" y="17"/>
                      </a:lnTo>
                      <a:lnTo>
                        <a:pt x="653" y="17"/>
                      </a:lnTo>
                      <a:lnTo>
                        <a:pt x="653" y="19"/>
                      </a:lnTo>
                      <a:lnTo>
                        <a:pt x="646" y="26"/>
                      </a:lnTo>
                      <a:lnTo>
                        <a:pt x="646" y="26"/>
                      </a:lnTo>
                      <a:lnTo>
                        <a:pt x="634" y="35"/>
                      </a:lnTo>
                      <a:lnTo>
                        <a:pt x="630" y="36"/>
                      </a:lnTo>
                      <a:lnTo>
                        <a:pt x="627" y="35"/>
                      </a:lnTo>
                      <a:lnTo>
                        <a:pt x="627" y="35"/>
                      </a:lnTo>
                      <a:lnTo>
                        <a:pt x="623" y="33"/>
                      </a:lnTo>
                      <a:lnTo>
                        <a:pt x="620" y="35"/>
                      </a:lnTo>
                      <a:lnTo>
                        <a:pt x="616" y="36"/>
                      </a:lnTo>
                      <a:lnTo>
                        <a:pt x="613" y="38"/>
                      </a:lnTo>
                      <a:lnTo>
                        <a:pt x="613" y="38"/>
                      </a:lnTo>
                      <a:close/>
                      <a:moveTo>
                        <a:pt x="616" y="47"/>
                      </a:moveTo>
                      <a:lnTo>
                        <a:pt x="616" y="47"/>
                      </a:lnTo>
                      <a:lnTo>
                        <a:pt x="623" y="45"/>
                      </a:lnTo>
                      <a:lnTo>
                        <a:pt x="629" y="45"/>
                      </a:lnTo>
                      <a:lnTo>
                        <a:pt x="632" y="47"/>
                      </a:lnTo>
                      <a:lnTo>
                        <a:pt x="635" y="48"/>
                      </a:lnTo>
                      <a:lnTo>
                        <a:pt x="635" y="48"/>
                      </a:lnTo>
                      <a:lnTo>
                        <a:pt x="635" y="50"/>
                      </a:lnTo>
                      <a:lnTo>
                        <a:pt x="634" y="52"/>
                      </a:lnTo>
                      <a:lnTo>
                        <a:pt x="625" y="52"/>
                      </a:lnTo>
                      <a:lnTo>
                        <a:pt x="616" y="50"/>
                      </a:lnTo>
                      <a:lnTo>
                        <a:pt x="615" y="48"/>
                      </a:lnTo>
                      <a:lnTo>
                        <a:pt x="616" y="47"/>
                      </a:lnTo>
                      <a:lnTo>
                        <a:pt x="616" y="47"/>
                      </a:lnTo>
                      <a:close/>
                      <a:moveTo>
                        <a:pt x="639" y="48"/>
                      </a:moveTo>
                      <a:lnTo>
                        <a:pt x="639" y="48"/>
                      </a:lnTo>
                      <a:lnTo>
                        <a:pt x="634" y="45"/>
                      </a:lnTo>
                      <a:lnTo>
                        <a:pt x="634" y="43"/>
                      </a:lnTo>
                      <a:lnTo>
                        <a:pt x="634" y="42"/>
                      </a:lnTo>
                      <a:lnTo>
                        <a:pt x="637" y="38"/>
                      </a:lnTo>
                      <a:lnTo>
                        <a:pt x="646" y="35"/>
                      </a:lnTo>
                      <a:lnTo>
                        <a:pt x="646" y="35"/>
                      </a:lnTo>
                      <a:lnTo>
                        <a:pt x="651" y="31"/>
                      </a:lnTo>
                      <a:lnTo>
                        <a:pt x="653" y="29"/>
                      </a:lnTo>
                      <a:lnTo>
                        <a:pt x="653" y="29"/>
                      </a:lnTo>
                      <a:lnTo>
                        <a:pt x="656" y="31"/>
                      </a:lnTo>
                      <a:lnTo>
                        <a:pt x="656" y="31"/>
                      </a:lnTo>
                      <a:lnTo>
                        <a:pt x="660" y="33"/>
                      </a:lnTo>
                      <a:lnTo>
                        <a:pt x="660" y="35"/>
                      </a:lnTo>
                      <a:lnTo>
                        <a:pt x="658" y="38"/>
                      </a:lnTo>
                      <a:lnTo>
                        <a:pt x="651" y="47"/>
                      </a:lnTo>
                      <a:lnTo>
                        <a:pt x="651" y="47"/>
                      </a:lnTo>
                      <a:lnTo>
                        <a:pt x="648" y="50"/>
                      </a:lnTo>
                      <a:lnTo>
                        <a:pt x="646" y="50"/>
                      </a:lnTo>
                      <a:lnTo>
                        <a:pt x="639" y="48"/>
                      </a:lnTo>
                      <a:lnTo>
                        <a:pt x="639" y="48"/>
                      </a:lnTo>
                      <a:close/>
                      <a:moveTo>
                        <a:pt x="667" y="22"/>
                      </a:moveTo>
                      <a:lnTo>
                        <a:pt x="667" y="22"/>
                      </a:lnTo>
                      <a:lnTo>
                        <a:pt x="670" y="24"/>
                      </a:lnTo>
                      <a:lnTo>
                        <a:pt x="674" y="26"/>
                      </a:lnTo>
                      <a:lnTo>
                        <a:pt x="674" y="28"/>
                      </a:lnTo>
                      <a:lnTo>
                        <a:pt x="674" y="31"/>
                      </a:lnTo>
                      <a:lnTo>
                        <a:pt x="672" y="35"/>
                      </a:lnTo>
                      <a:lnTo>
                        <a:pt x="667" y="36"/>
                      </a:lnTo>
                      <a:lnTo>
                        <a:pt x="667" y="36"/>
                      </a:lnTo>
                      <a:lnTo>
                        <a:pt x="665" y="36"/>
                      </a:lnTo>
                      <a:lnTo>
                        <a:pt x="663" y="35"/>
                      </a:lnTo>
                      <a:lnTo>
                        <a:pt x="660" y="28"/>
                      </a:lnTo>
                      <a:lnTo>
                        <a:pt x="660" y="26"/>
                      </a:lnTo>
                      <a:lnTo>
                        <a:pt x="662" y="22"/>
                      </a:lnTo>
                      <a:lnTo>
                        <a:pt x="663" y="22"/>
                      </a:lnTo>
                      <a:lnTo>
                        <a:pt x="667" y="22"/>
                      </a:lnTo>
                      <a:lnTo>
                        <a:pt x="667" y="22"/>
                      </a:lnTo>
                      <a:close/>
                      <a:moveTo>
                        <a:pt x="843" y="130"/>
                      </a:moveTo>
                      <a:lnTo>
                        <a:pt x="843" y="130"/>
                      </a:lnTo>
                      <a:lnTo>
                        <a:pt x="837" y="127"/>
                      </a:lnTo>
                      <a:lnTo>
                        <a:pt x="836" y="122"/>
                      </a:lnTo>
                      <a:lnTo>
                        <a:pt x="837" y="118"/>
                      </a:lnTo>
                      <a:lnTo>
                        <a:pt x="843" y="115"/>
                      </a:lnTo>
                      <a:lnTo>
                        <a:pt x="851" y="106"/>
                      </a:lnTo>
                      <a:lnTo>
                        <a:pt x="853" y="102"/>
                      </a:lnTo>
                      <a:lnTo>
                        <a:pt x="853" y="99"/>
                      </a:lnTo>
                      <a:lnTo>
                        <a:pt x="853" y="99"/>
                      </a:lnTo>
                      <a:lnTo>
                        <a:pt x="850" y="94"/>
                      </a:lnTo>
                      <a:lnTo>
                        <a:pt x="844" y="90"/>
                      </a:lnTo>
                      <a:lnTo>
                        <a:pt x="832" y="85"/>
                      </a:lnTo>
                      <a:lnTo>
                        <a:pt x="820" y="78"/>
                      </a:lnTo>
                      <a:lnTo>
                        <a:pt x="815" y="75"/>
                      </a:lnTo>
                      <a:lnTo>
                        <a:pt x="811" y="71"/>
                      </a:lnTo>
                      <a:lnTo>
                        <a:pt x="811" y="71"/>
                      </a:lnTo>
                      <a:lnTo>
                        <a:pt x="808" y="68"/>
                      </a:lnTo>
                      <a:lnTo>
                        <a:pt x="803" y="66"/>
                      </a:lnTo>
                      <a:lnTo>
                        <a:pt x="797" y="66"/>
                      </a:lnTo>
                      <a:lnTo>
                        <a:pt x="792" y="69"/>
                      </a:lnTo>
                      <a:lnTo>
                        <a:pt x="792" y="69"/>
                      </a:lnTo>
                      <a:lnTo>
                        <a:pt x="782" y="73"/>
                      </a:lnTo>
                      <a:lnTo>
                        <a:pt x="775" y="75"/>
                      </a:lnTo>
                      <a:lnTo>
                        <a:pt x="771" y="75"/>
                      </a:lnTo>
                      <a:lnTo>
                        <a:pt x="766" y="75"/>
                      </a:lnTo>
                      <a:lnTo>
                        <a:pt x="761" y="73"/>
                      </a:lnTo>
                      <a:lnTo>
                        <a:pt x="757" y="73"/>
                      </a:lnTo>
                      <a:lnTo>
                        <a:pt x="754" y="76"/>
                      </a:lnTo>
                      <a:lnTo>
                        <a:pt x="754" y="76"/>
                      </a:lnTo>
                      <a:lnTo>
                        <a:pt x="745" y="83"/>
                      </a:lnTo>
                      <a:lnTo>
                        <a:pt x="738" y="90"/>
                      </a:lnTo>
                      <a:lnTo>
                        <a:pt x="735" y="97"/>
                      </a:lnTo>
                      <a:lnTo>
                        <a:pt x="733" y="104"/>
                      </a:lnTo>
                      <a:lnTo>
                        <a:pt x="733" y="104"/>
                      </a:lnTo>
                      <a:lnTo>
                        <a:pt x="731" y="109"/>
                      </a:lnTo>
                      <a:lnTo>
                        <a:pt x="730" y="115"/>
                      </a:lnTo>
                      <a:lnTo>
                        <a:pt x="730" y="120"/>
                      </a:lnTo>
                      <a:lnTo>
                        <a:pt x="731" y="127"/>
                      </a:lnTo>
                      <a:lnTo>
                        <a:pt x="731" y="127"/>
                      </a:lnTo>
                      <a:lnTo>
                        <a:pt x="733" y="132"/>
                      </a:lnTo>
                      <a:lnTo>
                        <a:pt x="733" y="134"/>
                      </a:lnTo>
                      <a:lnTo>
                        <a:pt x="730" y="136"/>
                      </a:lnTo>
                      <a:lnTo>
                        <a:pt x="726" y="137"/>
                      </a:lnTo>
                      <a:lnTo>
                        <a:pt x="717" y="141"/>
                      </a:lnTo>
                      <a:lnTo>
                        <a:pt x="714" y="142"/>
                      </a:lnTo>
                      <a:lnTo>
                        <a:pt x="710" y="146"/>
                      </a:lnTo>
                      <a:lnTo>
                        <a:pt x="710" y="146"/>
                      </a:lnTo>
                      <a:lnTo>
                        <a:pt x="709" y="153"/>
                      </a:lnTo>
                      <a:lnTo>
                        <a:pt x="705" y="156"/>
                      </a:lnTo>
                      <a:lnTo>
                        <a:pt x="700" y="160"/>
                      </a:lnTo>
                      <a:lnTo>
                        <a:pt x="700" y="160"/>
                      </a:lnTo>
                      <a:lnTo>
                        <a:pt x="691" y="153"/>
                      </a:lnTo>
                      <a:lnTo>
                        <a:pt x="681" y="148"/>
                      </a:lnTo>
                      <a:lnTo>
                        <a:pt x="667" y="144"/>
                      </a:lnTo>
                      <a:lnTo>
                        <a:pt x="667" y="144"/>
                      </a:lnTo>
                      <a:lnTo>
                        <a:pt x="663" y="144"/>
                      </a:lnTo>
                      <a:lnTo>
                        <a:pt x="662" y="146"/>
                      </a:lnTo>
                      <a:lnTo>
                        <a:pt x="656" y="151"/>
                      </a:lnTo>
                      <a:lnTo>
                        <a:pt x="648" y="155"/>
                      </a:lnTo>
                      <a:lnTo>
                        <a:pt x="648" y="155"/>
                      </a:lnTo>
                      <a:lnTo>
                        <a:pt x="641" y="155"/>
                      </a:lnTo>
                      <a:lnTo>
                        <a:pt x="639" y="153"/>
                      </a:lnTo>
                      <a:lnTo>
                        <a:pt x="634" y="151"/>
                      </a:lnTo>
                      <a:lnTo>
                        <a:pt x="623" y="151"/>
                      </a:lnTo>
                      <a:lnTo>
                        <a:pt x="623" y="151"/>
                      </a:lnTo>
                      <a:lnTo>
                        <a:pt x="613" y="149"/>
                      </a:lnTo>
                      <a:lnTo>
                        <a:pt x="611" y="149"/>
                      </a:lnTo>
                      <a:lnTo>
                        <a:pt x="611" y="148"/>
                      </a:lnTo>
                      <a:lnTo>
                        <a:pt x="611" y="142"/>
                      </a:lnTo>
                      <a:lnTo>
                        <a:pt x="609" y="139"/>
                      </a:lnTo>
                      <a:lnTo>
                        <a:pt x="606" y="134"/>
                      </a:lnTo>
                      <a:lnTo>
                        <a:pt x="606" y="134"/>
                      </a:lnTo>
                      <a:lnTo>
                        <a:pt x="594" y="123"/>
                      </a:lnTo>
                      <a:lnTo>
                        <a:pt x="585" y="116"/>
                      </a:lnTo>
                      <a:lnTo>
                        <a:pt x="580" y="115"/>
                      </a:lnTo>
                      <a:lnTo>
                        <a:pt x="576" y="113"/>
                      </a:lnTo>
                      <a:lnTo>
                        <a:pt x="571" y="113"/>
                      </a:lnTo>
                      <a:lnTo>
                        <a:pt x="568" y="116"/>
                      </a:lnTo>
                      <a:lnTo>
                        <a:pt x="568" y="116"/>
                      </a:lnTo>
                      <a:lnTo>
                        <a:pt x="566" y="120"/>
                      </a:lnTo>
                      <a:lnTo>
                        <a:pt x="566" y="123"/>
                      </a:lnTo>
                      <a:lnTo>
                        <a:pt x="568" y="127"/>
                      </a:lnTo>
                      <a:lnTo>
                        <a:pt x="568" y="130"/>
                      </a:lnTo>
                      <a:lnTo>
                        <a:pt x="568" y="130"/>
                      </a:lnTo>
                      <a:lnTo>
                        <a:pt x="564" y="130"/>
                      </a:lnTo>
                      <a:lnTo>
                        <a:pt x="559" y="129"/>
                      </a:lnTo>
                      <a:lnTo>
                        <a:pt x="554" y="127"/>
                      </a:lnTo>
                      <a:lnTo>
                        <a:pt x="552" y="129"/>
                      </a:lnTo>
                      <a:lnTo>
                        <a:pt x="550" y="130"/>
                      </a:lnTo>
                      <a:lnTo>
                        <a:pt x="550" y="130"/>
                      </a:lnTo>
                      <a:lnTo>
                        <a:pt x="536" y="130"/>
                      </a:lnTo>
                      <a:lnTo>
                        <a:pt x="536" y="132"/>
                      </a:lnTo>
                      <a:lnTo>
                        <a:pt x="538" y="136"/>
                      </a:lnTo>
                      <a:lnTo>
                        <a:pt x="540" y="137"/>
                      </a:lnTo>
                      <a:lnTo>
                        <a:pt x="541" y="142"/>
                      </a:lnTo>
                      <a:lnTo>
                        <a:pt x="540" y="146"/>
                      </a:lnTo>
                      <a:lnTo>
                        <a:pt x="535" y="153"/>
                      </a:lnTo>
                      <a:lnTo>
                        <a:pt x="535" y="153"/>
                      </a:lnTo>
                      <a:lnTo>
                        <a:pt x="529" y="158"/>
                      </a:lnTo>
                      <a:lnTo>
                        <a:pt x="529" y="162"/>
                      </a:lnTo>
                      <a:lnTo>
                        <a:pt x="529" y="163"/>
                      </a:lnTo>
                      <a:lnTo>
                        <a:pt x="533" y="163"/>
                      </a:lnTo>
                      <a:lnTo>
                        <a:pt x="535" y="165"/>
                      </a:lnTo>
                      <a:lnTo>
                        <a:pt x="536" y="165"/>
                      </a:lnTo>
                      <a:lnTo>
                        <a:pt x="536" y="169"/>
                      </a:lnTo>
                      <a:lnTo>
                        <a:pt x="531" y="172"/>
                      </a:lnTo>
                      <a:lnTo>
                        <a:pt x="531" y="172"/>
                      </a:lnTo>
                      <a:lnTo>
                        <a:pt x="524" y="174"/>
                      </a:lnTo>
                      <a:lnTo>
                        <a:pt x="515" y="174"/>
                      </a:lnTo>
                      <a:lnTo>
                        <a:pt x="496" y="167"/>
                      </a:lnTo>
                      <a:lnTo>
                        <a:pt x="486" y="163"/>
                      </a:lnTo>
                      <a:lnTo>
                        <a:pt x="477" y="162"/>
                      </a:lnTo>
                      <a:lnTo>
                        <a:pt x="468" y="162"/>
                      </a:lnTo>
                      <a:lnTo>
                        <a:pt x="461" y="163"/>
                      </a:lnTo>
                      <a:lnTo>
                        <a:pt x="461" y="163"/>
                      </a:lnTo>
                      <a:lnTo>
                        <a:pt x="460" y="165"/>
                      </a:lnTo>
                      <a:lnTo>
                        <a:pt x="460" y="169"/>
                      </a:lnTo>
                      <a:lnTo>
                        <a:pt x="461" y="179"/>
                      </a:lnTo>
                      <a:lnTo>
                        <a:pt x="463" y="183"/>
                      </a:lnTo>
                      <a:lnTo>
                        <a:pt x="463" y="188"/>
                      </a:lnTo>
                      <a:lnTo>
                        <a:pt x="461" y="193"/>
                      </a:lnTo>
                      <a:lnTo>
                        <a:pt x="456" y="196"/>
                      </a:lnTo>
                      <a:lnTo>
                        <a:pt x="456" y="196"/>
                      </a:lnTo>
                      <a:lnTo>
                        <a:pt x="454" y="198"/>
                      </a:lnTo>
                      <a:lnTo>
                        <a:pt x="451" y="196"/>
                      </a:lnTo>
                      <a:lnTo>
                        <a:pt x="444" y="193"/>
                      </a:lnTo>
                      <a:lnTo>
                        <a:pt x="437" y="190"/>
                      </a:lnTo>
                      <a:lnTo>
                        <a:pt x="434" y="190"/>
                      </a:lnTo>
                      <a:lnTo>
                        <a:pt x="432" y="190"/>
                      </a:lnTo>
                      <a:lnTo>
                        <a:pt x="432" y="190"/>
                      </a:lnTo>
                      <a:lnTo>
                        <a:pt x="420" y="196"/>
                      </a:lnTo>
                      <a:lnTo>
                        <a:pt x="414" y="200"/>
                      </a:lnTo>
                      <a:lnTo>
                        <a:pt x="411" y="207"/>
                      </a:lnTo>
                      <a:lnTo>
                        <a:pt x="411" y="207"/>
                      </a:lnTo>
                      <a:lnTo>
                        <a:pt x="404" y="219"/>
                      </a:lnTo>
                      <a:lnTo>
                        <a:pt x="397" y="226"/>
                      </a:lnTo>
                      <a:lnTo>
                        <a:pt x="393" y="228"/>
                      </a:lnTo>
                      <a:lnTo>
                        <a:pt x="392" y="231"/>
                      </a:lnTo>
                      <a:lnTo>
                        <a:pt x="392" y="231"/>
                      </a:lnTo>
                      <a:lnTo>
                        <a:pt x="390" y="233"/>
                      </a:lnTo>
                      <a:lnTo>
                        <a:pt x="392" y="235"/>
                      </a:lnTo>
                      <a:lnTo>
                        <a:pt x="397" y="240"/>
                      </a:lnTo>
                      <a:lnTo>
                        <a:pt x="402" y="245"/>
                      </a:lnTo>
                      <a:lnTo>
                        <a:pt x="402" y="249"/>
                      </a:lnTo>
                      <a:lnTo>
                        <a:pt x="402" y="252"/>
                      </a:lnTo>
                      <a:lnTo>
                        <a:pt x="402" y="252"/>
                      </a:lnTo>
                      <a:lnTo>
                        <a:pt x="399" y="257"/>
                      </a:lnTo>
                      <a:lnTo>
                        <a:pt x="393" y="261"/>
                      </a:lnTo>
                      <a:lnTo>
                        <a:pt x="388" y="264"/>
                      </a:lnTo>
                      <a:lnTo>
                        <a:pt x="381" y="273"/>
                      </a:lnTo>
                      <a:lnTo>
                        <a:pt x="381" y="273"/>
                      </a:lnTo>
                      <a:lnTo>
                        <a:pt x="378" y="278"/>
                      </a:lnTo>
                      <a:lnTo>
                        <a:pt x="374" y="282"/>
                      </a:lnTo>
                      <a:lnTo>
                        <a:pt x="369" y="285"/>
                      </a:lnTo>
                      <a:lnTo>
                        <a:pt x="366" y="289"/>
                      </a:lnTo>
                      <a:lnTo>
                        <a:pt x="367" y="294"/>
                      </a:lnTo>
                      <a:lnTo>
                        <a:pt x="367" y="294"/>
                      </a:lnTo>
                      <a:lnTo>
                        <a:pt x="369" y="297"/>
                      </a:lnTo>
                      <a:lnTo>
                        <a:pt x="369" y="299"/>
                      </a:lnTo>
                      <a:lnTo>
                        <a:pt x="366" y="303"/>
                      </a:lnTo>
                      <a:lnTo>
                        <a:pt x="360" y="304"/>
                      </a:lnTo>
                      <a:lnTo>
                        <a:pt x="353" y="306"/>
                      </a:lnTo>
                      <a:lnTo>
                        <a:pt x="339" y="308"/>
                      </a:lnTo>
                      <a:lnTo>
                        <a:pt x="334" y="310"/>
                      </a:lnTo>
                      <a:lnTo>
                        <a:pt x="334" y="311"/>
                      </a:lnTo>
                      <a:lnTo>
                        <a:pt x="334" y="311"/>
                      </a:lnTo>
                      <a:lnTo>
                        <a:pt x="334" y="311"/>
                      </a:lnTo>
                      <a:lnTo>
                        <a:pt x="338" y="320"/>
                      </a:lnTo>
                      <a:lnTo>
                        <a:pt x="338" y="325"/>
                      </a:lnTo>
                      <a:lnTo>
                        <a:pt x="339" y="331"/>
                      </a:lnTo>
                      <a:lnTo>
                        <a:pt x="338" y="334"/>
                      </a:lnTo>
                      <a:lnTo>
                        <a:pt x="336" y="339"/>
                      </a:lnTo>
                      <a:lnTo>
                        <a:pt x="334" y="343"/>
                      </a:lnTo>
                      <a:lnTo>
                        <a:pt x="336" y="348"/>
                      </a:lnTo>
                      <a:lnTo>
                        <a:pt x="336" y="348"/>
                      </a:lnTo>
                      <a:lnTo>
                        <a:pt x="336" y="357"/>
                      </a:lnTo>
                      <a:lnTo>
                        <a:pt x="334" y="358"/>
                      </a:lnTo>
                      <a:lnTo>
                        <a:pt x="331" y="362"/>
                      </a:lnTo>
                      <a:lnTo>
                        <a:pt x="329" y="367"/>
                      </a:lnTo>
                      <a:lnTo>
                        <a:pt x="329" y="367"/>
                      </a:lnTo>
                      <a:lnTo>
                        <a:pt x="327" y="371"/>
                      </a:lnTo>
                      <a:lnTo>
                        <a:pt x="324" y="376"/>
                      </a:lnTo>
                      <a:lnTo>
                        <a:pt x="315" y="386"/>
                      </a:lnTo>
                      <a:lnTo>
                        <a:pt x="308" y="398"/>
                      </a:lnTo>
                      <a:lnTo>
                        <a:pt x="306" y="402"/>
                      </a:lnTo>
                      <a:lnTo>
                        <a:pt x="308" y="404"/>
                      </a:lnTo>
                      <a:lnTo>
                        <a:pt x="308" y="404"/>
                      </a:lnTo>
                      <a:lnTo>
                        <a:pt x="315" y="407"/>
                      </a:lnTo>
                      <a:lnTo>
                        <a:pt x="320" y="409"/>
                      </a:lnTo>
                      <a:lnTo>
                        <a:pt x="322" y="411"/>
                      </a:lnTo>
                      <a:lnTo>
                        <a:pt x="324" y="412"/>
                      </a:lnTo>
                      <a:lnTo>
                        <a:pt x="324" y="416"/>
                      </a:lnTo>
                      <a:lnTo>
                        <a:pt x="324" y="421"/>
                      </a:lnTo>
                      <a:lnTo>
                        <a:pt x="324" y="421"/>
                      </a:lnTo>
                      <a:lnTo>
                        <a:pt x="320" y="428"/>
                      </a:lnTo>
                      <a:lnTo>
                        <a:pt x="317" y="433"/>
                      </a:lnTo>
                      <a:lnTo>
                        <a:pt x="312" y="433"/>
                      </a:lnTo>
                      <a:lnTo>
                        <a:pt x="306" y="433"/>
                      </a:lnTo>
                      <a:lnTo>
                        <a:pt x="296" y="430"/>
                      </a:lnTo>
                      <a:lnTo>
                        <a:pt x="291" y="430"/>
                      </a:lnTo>
                      <a:lnTo>
                        <a:pt x="287" y="432"/>
                      </a:lnTo>
                      <a:lnTo>
                        <a:pt x="287" y="432"/>
                      </a:lnTo>
                      <a:lnTo>
                        <a:pt x="275" y="438"/>
                      </a:lnTo>
                      <a:lnTo>
                        <a:pt x="263" y="447"/>
                      </a:lnTo>
                      <a:lnTo>
                        <a:pt x="254" y="456"/>
                      </a:lnTo>
                      <a:lnTo>
                        <a:pt x="252" y="459"/>
                      </a:lnTo>
                      <a:lnTo>
                        <a:pt x="252" y="463"/>
                      </a:lnTo>
                      <a:lnTo>
                        <a:pt x="252" y="463"/>
                      </a:lnTo>
                      <a:lnTo>
                        <a:pt x="254" y="466"/>
                      </a:lnTo>
                      <a:lnTo>
                        <a:pt x="254" y="468"/>
                      </a:lnTo>
                      <a:lnTo>
                        <a:pt x="249" y="473"/>
                      </a:lnTo>
                      <a:lnTo>
                        <a:pt x="247" y="477"/>
                      </a:lnTo>
                      <a:lnTo>
                        <a:pt x="245" y="480"/>
                      </a:lnTo>
                      <a:lnTo>
                        <a:pt x="247" y="484"/>
                      </a:lnTo>
                      <a:lnTo>
                        <a:pt x="251" y="489"/>
                      </a:lnTo>
                      <a:lnTo>
                        <a:pt x="251" y="489"/>
                      </a:lnTo>
                      <a:lnTo>
                        <a:pt x="252" y="491"/>
                      </a:lnTo>
                      <a:lnTo>
                        <a:pt x="254" y="492"/>
                      </a:lnTo>
                      <a:lnTo>
                        <a:pt x="251" y="498"/>
                      </a:lnTo>
                      <a:lnTo>
                        <a:pt x="249" y="501"/>
                      </a:lnTo>
                      <a:lnTo>
                        <a:pt x="249" y="505"/>
                      </a:lnTo>
                      <a:lnTo>
                        <a:pt x="251" y="506"/>
                      </a:lnTo>
                      <a:lnTo>
                        <a:pt x="251" y="506"/>
                      </a:lnTo>
                      <a:lnTo>
                        <a:pt x="251" y="510"/>
                      </a:lnTo>
                      <a:lnTo>
                        <a:pt x="251" y="512"/>
                      </a:lnTo>
                      <a:lnTo>
                        <a:pt x="249" y="513"/>
                      </a:lnTo>
                      <a:lnTo>
                        <a:pt x="249" y="517"/>
                      </a:lnTo>
                      <a:lnTo>
                        <a:pt x="249" y="519"/>
                      </a:lnTo>
                      <a:lnTo>
                        <a:pt x="251" y="522"/>
                      </a:lnTo>
                      <a:lnTo>
                        <a:pt x="254" y="527"/>
                      </a:lnTo>
                      <a:lnTo>
                        <a:pt x="254" y="527"/>
                      </a:lnTo>
                      <a:lnTo>
                        <a:pt x="258" y="534"/>
                      </a:lnTo>
                      <a:lnTo>
                        <a:pt x="258" y="541"/>
                      </a:lnTo>
                      <a:lnTo>
                        <a:pt x="252" y="553"/>
                      </a:lnTo>
                      <a:lnTo>
                        <a:pt x="252" y="560"/>
                      </a:lnTo>
                      <a:lnTo>
                        <a:pt x="252" y="566"/>
                      </a:lnTo>
                      <a:lnTo>
                        <a:pt x="256" y="573"/>
                      </a:lnTo>
                      <a:lnTo>
                        <a:pt x="265" y="578"/>
                      </a:lnTo>
                      <a:lnTo>
                        <a:pt x="265" y="578"/>
                      </a:lnTo>
                      <a:lnTo>
                        <a:pt x="273" y="585"/>
                      </a:lnTo>
                      <a:lnTo>
                        <a:pt x="277" y="586"/>
                      </a:lnTo>
                      <a:lnTo>
                        <a:pt x="277" y="590"/>
                      </a:lnTo>
                      <a:lnTo>
                        <a:pt x="277" y="595"/>
                      </a:lnTo>
                      <a:lnTo>
                        <a:pt x="273" y="602"/>
                      </a:lnTo>
                      <a:lnTo>
                        <a:pt x="273" y="602"/>
                      </a:lnTo>
                      <a:lnTo>
                        <a:pt x="272" y="604"/>
                      </a:lnTo>
                      <a:lnTo>
                        <a:pt x="268" y="606"/>
                      </a:lnTo>
                      <a:lnTo>
                        <a:pt x="265" y="606"/>
                      </a:lnTo>
                      <a:lnTo>
                        <a:pt x="259" y="607"/>
                      </a:lnTo>
                      <a:lnTo>
                        <a:pt x="258" y="607"/>
                      </a:lnTo>
                      <a:lnTo>
                        <a:pt x="256" y="609"/>
                      </a:lnTo>
                      <a:lnTo>
                        <a:pt x="256" y="609"/>
                      </a:lnTo>
                      <a:lnTo>
                        <a:pt x="256" y="613"/>
                      </a:lnTo>
                      <a:lnTo>
                        <a:pt x="258" y="616"/>
                      </a:lnTo>
                      <a:lnTo>
                        <a:pt x="263" y="627"/>
                      </a:lnTo>
                      <a:lnTo>
                        <a:pt x="268" y="637"/>
                      </a:lnTo>
                      <a:lnTo>
                        <a:pt x="268" y="642"/>
                      </a:lnTo>
                      <a:lnTo>
                        <a:pt x="266" y="646"/>
                      </a:lnTo>
                      <a:lnTo>
                        <a:pt x="266" y="646"/>
                      </a:lnTo>
                      <a:lnTo>
                        <a:pt x="265" y="649"/>
                      </a:lnTo>
                      <a:lnTo>
                        <a:pt x="263" y="651"/>
                      </a:lnTo>
                      <a:lnTo>
                        <a:pt x="265" y="656"/>
                      </a:lnTo>
                      <a:lnTo>
                        <a:pt x="265" y="660"/>
                      </a:lnTo>
                      <a:lnTo>
                        <a:pt x="263" y="663"/>
                      </a:lnTo>
                      <a:lnTo>
                        <a:pt x="259" y="667"/>
                      </a:lnTo>
                      <a:lnTo>
                        <a:pt x="259" y="667"/>
                      </a:lnTo>
                      <a:lnTo>
                        <a:pt x="256" y="670"/>
                      </a:lnTo>
                      <a:lnTo>
                        <a:pt x="252" y="672"/>
                      </a:lnTo>
                      <a:lnTo>
                        <a:pt x="245" y="674"/>
                      </a:lnTo>
                      <a:lnTo>
                        <a:pt x="242" y="674"/>
                      </a:lnTo>
                      <a:lnTo>
                        <a:pt x="242" y="677"/>
                      </a:lnTo>
                      <a:lnTo>
                        <a:pt x="242" y="677"/>
                      </a:lnTo>
                      <a:lnTo>
                        <a:pt x="242" y="680"/>
                      </a:lnTo>
                      <a:lnTo>
                        <a:pt x="242" y="684"/>
                      </a:lnTo>
                      <a:lnTo>
                        <a:pt x="239" y="687"/>
                      </a:lnTo>
                      <a:lnTo>
                        <a:pt x="237" y="689"/>
                      </a:lnTo>
                      <a:lnTo>
                        <a:pt x="235" y="691"/>
                      </a:lnTo>
                      <a:lnTo>
                        <a:pt x="235" y="694"/>
                      </a:lnTo>
                      <a:lnTo>
                        <a:pt x="237" y="700"/>
                      </a:lnTo>
                      <a:lnTo>
                        <a:pt x="237" y="700"/>
                      </a:lnTo>
                      <a:lnTo>
                        <a:pt x="239" y="707"/>
                      </a:lnTo>
                      <a:lnTo>
                        <a:pt x="240" y="714"/>
                      </a:lnTo>
                      <a:lnTo>
                        <a:pt x="239" y="719"/>
                      </a:lnTo>
                      <a:lnTo>
                        <a:pt x="237" y="724"/>
                      </a:lnTo>
                      <a:lnTo>
                        <a:pt x="235" y="728"/>
                      </a:lnTo>
                      <a:lnTo>
                        <a:pt x="232" y="729"/>
                      </a:lnTo>
                      <a:lnTo>
                        <a:pt x="230" y="729"/>
                      </a:lnTo>
                      <a:lnTo>
                        <a:pt x="228" y="728"/>
                      </a:lnTo>
                      <a:lnTo>
                        <a:pt x="228" y="728"/>
                      </a:lnTo>
                      <a:lnTo>
                        <a:pt x="225" y="719"/>
                      </a:lnTo>
                      <a:lnTo>
                        <a:pt x="223" y="717"/>
                      </a:lnTo>
                      <a:lnTo>
                        <a:pt x="221" y="717"/>
                      </a:lnTo>
                      <a:lnTo>
                        <a:pt x="221" y="717"/>
                      </a:lnTo>
                      <a:lnTo>
                        <a:pt x="216" y="715"/>
                      </a:lnTo>
                      <a:lnTo>
                        <a:pt x="212" y="714"/>
                      </a:lnTo>
                      <a:lnTo>
                        <a:pt x="212" y="714"/>
                      </a:lnTo>
                      <a:lnTo>
                        <a:pt x="209" y="714"/>
                      </a:lnTo>
                      <a:lnTo>
                        <a:pt x="209" y="714"/>
                      </a:lnTo>
                      <a:lnTo>
                        <a:pt x="204" y="712"/>
                      </a:lnTo>
                      <a:lnTo>
                        <a:pt x="204" y="710"/>
                      </a:lnTo>
                      <a:lnTo>
                        <a:pt x="204" y="707"/>
                      </a:lnTo>
                      <a:lnTo>
                        <a:pt x="200" y="701"/>
                      </a:lnTo>
                      <a:lnTo>
                        <a:pt x="200" y="701"/>
                      </a:lnTo>
                      <a:lnTo>
                        <a:pt x="198" y="698"/>
                      </a:lnTo>
                      <a:lnTo>
                        <a:pt x="198" y="696"/>
                      </a:lnTo>
                      <a:lnTo>
                        <a:pt x="200" y="694"/>
                      </a:lnTo>
                      <a:lnTo>
                        <a:pt x="200" y="691"/>
                      </a:lnTo>
                      <a:lnTo>
                        <a:pt x="200" y="691"/>
                      </a:lnTo>
                      <a:lnTo>
                        <a:pt x="200" y="689"/>
                      </a:lnTo>
                      <a:lnTo>
                        <a:pt x="198" y="691"/>
                      </a:lnTo>
                      <a:lnTo>
                        <a:pt x="197" y="693"/>
                      </a:lnTo>
                      <a:lnTo>
                        <a:pt x="195" y="693"/>
                      </a:lnTo>
                      <a:lnTo>
                        <a:pt x="193" y="691"/>
                      </a:lnTo>
                      <a:lnTo>
                        <a:pt x="193" y="691"/>
                      </a:lnTo>
                      <a:lnTo>
                        <a:pt x="190" y="689"/>
                      </a:lnTo>
                      <a:lnTo>
                        <a:pt x="188" y="691"/>
                      </a:lnTo>
                      <a:lnTo>
                        <a:pt x="190" y="696"/>
                      </a:lnTo>
                      <a:lnTo>
                        <a:pt x="193" y="700"/>
                      </a:lnTo>
                      <a:lnTo>
                        <a:pt x="193" y="700"/>
                      </a:lnTo>
                      <a:lnTo>
                        <a:pt x="195" y="705"/>
                      </a:lnTo>
                      <a:lnTo>
                        <a:pt x="195" y="707"/>
                      </a:lnTo>
                      <a:lnTo>
                        <a:pt x="193" y="707"/>
                      </a:lnTo>
                      <a:lnTo>
                        <a:pt x="190" y="710"/>
                      </a:lnTo>
                      <a:lnTo>
                        <a:pt x="190" y="712"/>
                      </a:lnTo>
                      <a:lnTo>
                        <a:pt x="188" y="715"/>
                      </a:lnTo>
                      <a:lnTo>
                        <a:pt x="188" y="715"/>
                      </a:lnTo>
                      <a:lnTo>
                        <a:pt x="188" y="721"/>
                      </a:lnTo>
                      <a:lnTo>
                        <a:pt x="185" y="722"/>
                      </a:lnTo>
                      <a:lnTo>
                        <a:pt x="181" y="722"/>
                      </a:lnTo>
                      <a:lnTo>
                        <a:pt x="176" y="724"/>
                      </a:lnTo>
                      <a:lnTo>
                        <a:pt x="176" y="724"/>
                      </a:lnTo>
                      <a:lnTo>
                        <a:pt x="174" y="726"/>
                      </a:lnTo>
                      <a:lnTo>
                        <a:pt x="172" y="724"/>
                      </a:lnTo>
                      <a:lnTo>
                        <a:pt x="169" y="721"/>
                      </a:lnTo>
                      <a:lnTo>
                        <a:pt x="167" y="719"/>
                      </a:lnTo>
                      <a:lnTo>
                        <a:pt x="165" y="722"/>
                      </a:lnTo>
                      <a:lnTo>
                        <a:pt x="165" y="722"/>
                      </a:lnTo>
                      <a:lnTo>
                        <a:pt x="165" y="726"/>
                      </a:lnTo>
                      <a:lnTo>
                        <a:pt x="164" y="728"/>
                      </a:lnTo>
                      <a:lnTo>
                        <a:pt x="158" y="729"/>
                      </a:lnTo>
                      <a:lnTo>
                        <a:pt x="153" y="729"/>
                      </a:lnTo>
                      <a:lnTo>
                        <a:pt x="153" y="731"/>
                      </a:lnTo>
                      <a:lnTo>
                        <a:pt x="157" y="733"/>
                      </a:lnTo>
                      <a:lnTo>
                        <a:pt x="157" y="733"/>
                      </a:lnTo>
                      <a:lnTo>
                        <a:pt x="158" y="734"/>
                      </a:lnTo>
                      <a:lnTo>
                        <a:pt x="158" y="736"/>
                      </a:lnTo>
                      <a:lnTo>
                        <a:pt x="155" y="738"/>
                      </a:lnTo>
                      <a:lnTo>
                        <a:pt x="151" y="738"/>
                      </a:lnTo>
                      <a:lnTo>
                        <a:pt x="150" y="740"/>
                      </a:lnTo>
                      <a:lnTo>
                        <a:pt x="150" y="741"/>
                      </a:lnTo>
                      <a:lnTo>
                        <a:pt x="150" y="741"/>
                      </a:lnTo>
                      <a:lnTo>
                        <a:pt x="150" y="745"/>
                      </a:lnTo>
                      <a:lnTo>
                        <a:pt x="146" y="745"/>
                      </a:lnTo>
                      <a:lnTo>
                        <a:pt x="143" y="747"/>
                      </a:lnTo>
                      <a:lnTo>
                        <a:pt x="139" y="748"/>
                      </a:lnTo>
                      <a:lnTo>
                        <a:pt x="138" y="752"/>
                      </a:lnTo>
                      <a:lnTo>
                        <a:pt x="138" y="752"/>
                      </a:lnTo>
                      <a:lnTo>
                        <a:pt x="132" y="759"/>
                      </a:lnTo>
                      <a:lnTo>
                        <a:pt x="127" y="762"/>
                      </a:lnTo>
                      <a:lnTo>
                        <a:pt x="120" y="766"/>
                      </a:lnTo>
                      <a:lnTo>
                        <a:pt x="117" y="769"/>
                      </a:lnTo>
                      <a:lnTo>
                        <a:pt x="117" y="769"/>
                      </a:lnTo>
                      <a:lnTo>
                        <a:pt x="113" y="771"/>
                      </a:lnTo>
                      <a:lnTo>
                        <a:pt x="108" y="773"/>
                      </a:lnTo>
                      <a:lnTo>
                        <a:pt x="97" y="775"/>
                      </a:lnTo>
                      <a:lnTo>
                        <a:pt x="85" y="776"/>
                      </a:lnTo>
                      <a:lnTo>
                        <a:pt x="77" y="778"/>
                      </a:lnTo>
                      <a:lnTo>
                        <a:pt x="77" y="778"/>
                      </a:lnTo>
                      <a:lnTo>
                        <a:pt x="73" y="780"/>
                      </a:lnTo>
                      <a:lnTo>
                        <a:pt x="73" y="778"/>
                      </a:lnTo>
                      <a:lnTo>
                        <a:pt x="73" y="776"/>
                      </a:lnTo>
                      <a:lnTo>
                        <a:pt x="68" y="775"/>
                      </a:lnTo>
                      <a:lnTo>
                        <a:pt x="68" y="775"/>
                      </a:lnTo>
                      <a:lnTo>
                        <a:pt x="64" y="773"/>
                      </a:lnTo>
                      <a:lnTo>
                        <a:pt x="63" y="775"/>
                      </a:lnTo>
                      <a:lnTo>
                        <a:pt x="61" y="776"/>
                      </a:lnTo>
                      <a:lnTo>
                        <a:pt x="59" y="775"/>
                      </a:lnTo>
                      <a:lnTo>
                        <a:pt x="59" y="775"/>
                      </a:lnTo>
                      <a:lnTo>
                        <a:pt x="57" y="773"/>
                      </a:lnTo>
                      <a:lnTo>
                        <a:pt x="57" y="771"/>
                      </a:lnTo>
                      <a:lnTo>
                        <a:pt x="59" y="769"/>
                      </a:lnTo>
                      <a:lnTo>
                        <a:pt x="59" y="768"/>
                      </a:lnTo>
                      <a:lnTo>
                        <a:pt x="57" y="766"/>
                      </a:lnTo>
                      <a:lnTo>
                        <a:pt x="57" y="766"/>
                      </a:lnTo>
                      <a:lnTo>
                        <a:pt x="45" y="762"/>
                      </a:lnTo>
                      <a:lnTo>
                        <a:pt x="40" y="759"/>
                      </a:lnTo>
                      <a:lnTo>
                        <a:pt x="37" y="754"/>
                      </a:lnTo>
                      <a:lnTo>
                        <a:pt x="37" y="754"/>
                      </a:lnTo>
                      <a:lnTo>
                        <a:pt x="35" y="752"/>
                      </a:lnTo>
                      <a:lnTo>
                        <a:pt x="31" y="752"/>
                      </a:lnTo>
                      <a:lnTo>
                        <a:pt x="28" y="750"/>
                      </a:lnTo>
                      <a:lnTo>
                        <a:pt x="21" y="745"/>
                      </a:lnTo>
                      <a:lnTo>
                        <a:pt x="21" y="745"/>
                      </a:lnTo>
                      <a:lnTo>
                        <a:pt x="17" y="740"/>
                      </a:lnTo>
                      <a:lnTo>
                        <a:pt x="19" y="731"/>
                      </a:lnTo>
                      <a:lnTo>
                        <a:pt x="19" y="731"/>
                      </a:lnTo>
                      <a:lnTo>
                        <a:pt x="21" y="722"/>
                      </a:lnTo>
                      <a:lnTo>
                        <a:pt x="23" y="722"/>
                      </a:lnTo>
                      <a:lnTo>
                        <a:pt x="23" y="722"/>
                      </a:lnTo>
                      <a:lnTo>
                        <a:pt x="26" y="726"/>
                      </a:lnTo>
                      <a:lnTo>
                        <a:pt x="28" y="728"/>
                      </a:lnTo>
                      <a:lnTo>
                        <a:pt x="31" y="726"/>
                      </a:lnTo>
                      <a:lnTo>
                        <a:pt x="31" y="726"/>
                      </a:lnTo>
                      <a:lnTo>
                        <a:pt x="35" y="724"/>
                      </a:lnTo>
                      <a:lnTo>
                        <a:pt x="37" y="722"/>
                      </a:lnTo>
                      <a:lnTo>
                        <a:pt x="35" y="721"/>
                      </a:lnTo>
                      <a:lnTo>
                        <a:pt x="33" y="719"/>
                      </a:lnTo>
                      <a:lnTo>
                        <a:pt x="33" y="717"/>
                      </a:lnTo>
                      <a:lnTo>
                        <a:pt x="35" y="715"/>
                      </a:lnTo>
                      <a:lnTo>
                        <a:pt x="35" y="715"/>
                      </a:lnTo>
                      <a:lnTo>
                        <a:pt x="37" y="712"/>
                      </a:lnTo>
                      <a:lnTo>
                        <a:pt x="35" y="710"/>
                      </a:lnTo>
                      <a:lnTo>
                        <a:pt x="33" y="710"/>
                      </a:lnTo>
                      <a:lnTo>
                        <a:pt x="33" y="708"/>
                      </a:lnTo>
                      <a:lnTo>
                        <a:pt x="35" y="707"/>
                      </a:lnTo>
                      <a:lnTo>
                        <a:pt x="35" y="707"/>
                      </a:lnTo>
                      <a:lnTo>
                        <a:pt x="37" y="705"/>
                      </a:lnTo>
                      <a:lnTo>
                        <a:pt x="38" y="703"/>
                      </a:lnTo>
                      <a:lnTo>
                        <a:pt x="37" y="700"/>
                      </a:lnTo>
                      <a:lnTo>
                        <a:pt x="33" y="700"/>
                      </a:lnTo>
                      <a:lnTo>
                        <a:pt x="31" y="700"/>
                      </a:lnTo>
                      <a:lnTo>
                        <a:pt x="30" y="703"/>
                      </a:lnTo>
                      <a:lnTo>
                        <a:pt x="30" y="703"/>
                      </a:lnTo>
                      <a:lnTo>
                        <a:pt x="28" y="707"/>
                      </a:lnTo>
                      <a:lnTo>
                        <a:pt x="26" y="705"/>
                      </a:lnTo>
                      <a:lnTo>
                        <a:pt x="23" y="703"/>
                      </a:lnTo>
                      <a:lnTo>
                        <a:pt x="21" y="703"/>
                      </a:lnTo>
                      <a:lnTo>
                        <a:pt x="21" y="705"/>
                      </a:lnTo>
                      <a:lnTo>
                        <a:pt x="21" y="705"/>
                      </a:lnTo>
                      <a:lnTo>
                        <a:pt x="19" y="707"/>
                      </a:lnTo>
                      <a:lnTo>
                        <a:pt x="16" y="707"/>
                      </a:lnTo>
                      <a:lnTo>
                        <a:pt x="10" y="703"/>
                      </a:lnTo>
                      <a:lnTo>
                        <a:pt x="9" y="700"/>
                      </a:lnTo>
                      <a:lnTo>
                        <a:pt x="9" y="696"/>
                      </a:lnTo>
                      <a:lnTo>
                        <a:pt x="10" y="691"/>
                      </a:lnTo>
                      <a:lnTo>
                        <a:pt x="12" y="687"/>
                      </a:lnTo>
                      <a:lnTo>
                        <a:pt x="12" y="687"/>
                      </a:lnTo>
                      <a:lnTo>
                        <a:pt x="19" y="682"/>
                      </a:lnTo>
                      <a:lnTo>
                        <a:pt x="23" y="684"/>
                      </a:lnTo>
                      <a:lnTo>
                        <a:pt x="24" y="686"/>
                      </a:lnTo>
                      <a:lnTo>
                        <a:pt x="30" y="684"/>
                      </a:lnTo>
                      <a:lnTo>
                        <a:pt x="30" y="684"/>
                      </a:lnTo>
                      <a:lnTo>
                        <a:pt x="31" y="680"/>
                      </a:lnTo>
                      <a:lnTo>
                        <a:pt x="31" y="679"/>
                      </a:lnTo>
                      <a:lnTo>
                        <a:pt x="28" y="677"/>
                      </a:lnTo>
                      <a:lnTo>
                        <a:pt x="24" y="674"/>
                      </a:lnTo>
                      <a:lnTo>
                        <a:pt x="26" y="674"/>
                      </a:lnTo>
                      <a:lnTo>
                        <a:pt x="28" y="672"/>
                      </a:lnTo>
                      <a:lnTo>
                        <a:pt x="28" y="672"/>
                      </a:lnTo>
                      <a:lnTo>
                        <a:pt x="35" y="668"/>
                      </a:lnTo>
                      <a:lnTo>
                        <a:pt x="38" y="660"/>
                      </a:lnTo>
                      <a:lnTo>
                        <a:pt x="42" y="654"/>
                      </a:lnTo>
                      <a:lnTo>
                        <a:pt x="40" y="653"/>
                      </a:lnTo>
                      <a:lnTo>
                        <a:pt x="38" y="651"/>
                      </a:lnTo>
                      <a:lnTo>
                        <a:pt x="38" y="651"/>
                      </a:lnTo>
                      <a:lnTo>
                        <a:pt x="37" y="653"/>
                      </a:lnTo>
                      <a:lnTo>
                        <a:pt x="35" y="654"/>
                      </a:lnTo>
                      <a:lnTo>
                        <a:pt x="33" y="660"/>
                      </a:lnTo>
                      <a:lnTo>
                        <a:pt x="33" y="663"/>
                      </a:lnTo>
                      <a:lnTo>
                        <a:pt x="31" y="665"/>
                      </a:lnTo>
                      <a:lnTo>
                        <a:pt x="30" y="667"/>
                      </a:lnTo>
                      <a:lnTo>
                        <a:pt x="30" y="667"/>
                      </a:lnTo>
                      <a:lnTo>
                        <a:pt x="28" y="667"/>
                      </a:lnTo>
                      <a:lnTo>
                        <a:pt x="28" y="665"/>
                      </a:lnTo>
                      <a:lnTo>
                        <a:pt x="28" y="661"/>
                      </a:lnTo>
                      <a:lnTo>
                        <a:pt x="28" y="656"/>
                      </a:lnTo>
                      <a:lnTo>
                        <a:pt x="28" y="656"/>
                      </a:lnTo>
                      <a:lnTo>
                        <a:pt x="26" y="658"/>
                      </a:lnTo>
                      <a:lnTo>
                        <a:pt x="26" y="658"/>
                      </a:lnTo>
                      <a:lnTo>
                        <a:pt x="24" y="660"/>
                      </a:lnTo>
                      <a:lnTo>
                        <a:pt x="24" y="660"/>
                      </a:lnTo>
                      <a:lnTo>
                        <a:pt x="23" y="656"/>
                      </a:lnTo>
                      <a:lnTo>
                        <a:pt x="21" y="654"/>
                      </a:lnTo>
                      <a:lnTo>
                        <a:pt x="21" y="654"/>
                      </a:lnTo>
                      <a:lnTo>
                        <a:pt x="19" y="654"/>
                      </a:lnTo>
                      <a:lnTo>
                        <a:pt x="19" y="654"/>
                      </a:lnTo>
                      <a:lnTo>
                        <a:pt x="16" y="658"/>
                      </a:lnTo>
                      <a:lnTo>
                        <a:pt x="12" y="656"/>
                      </a:lnTo>
                      <a:lnTo>
                        <a:pt x="3" y="647"/>
                      </a:lnTo>
                      <a:lnTo>
                        <a:pt x="3" y="647"/>
                      </a:lnTo>
                      <a:lnTo>
                        <a:pt x="3" y="647"/>
                      </a:lnTo>
                      <a:lnTo>
                        <a:pt x="3" y="647"/>
                      </a:lnTo>
                      <a:lnTo>
                        <a:pt x="7" y="646"/>
                      </a:lnTo>
                      <a:lnTo>
                        <a:pt x="12" y="642"/>
                      </a:lnTo>
                      <a:lnTo>
                        <a:pt x="14" y="640"/>
                      </a:lnTo>
                      <a:lnTo>
                        <a:pt x="16" y="637"/>
                      </a:lnTo>
                      <a:lnTo>
                        <a:pt x="16" y="637"/>
                      </a:lnTo>
                      <a:lnTo>
                        <a:pt x="16" y="633"/>
                      </a:lnTo>
                      <a:lnTo>
                        <a:pt x="14" y="632"/>
                      </a:lnTo>
                      <a:lnTo>
                        <a:pt x="10" y="632"/>
                      </a:lnTo>
                      <a:lnTo>
                        <a:pt x="7" y="632"/>
                      </a:lnTo>
                      <a:lnTo>
                        <a:pt x="5" y="630"/>
                      </a:lnTo>
                      <a:lnTo>
                        <a:pt x="3" y="627"/>
                      </a:lnTo>
                      <a:lnTo>
                        <a:pt x="3" y="627"/>
                      </a:lnTo>
                      <a:lnTo>
                        <a:pt x="2" y="625"/>
                      </a:lnTo>
                      <a:lnTo>
                        <a:pt x="3" y="623"/>
                      </a:lnTo>
                      <a:lnTo>
                        <a:pt x="7" y="625"/>
                      </a:lnTo>
                      <a:lnTo>
                        <a:pt x="12" y="627"/>
                      </a:lnTo>
                      <a:lnTo>
                        <a:pt x="14" y="627"/>
                      </a:lnTo>
                      <a:lnTo>
                        <a:pt x="14" y="623"/>
                      </a:lnTo>
                      <a:lnTo>
                        <a:pt x="14" y="623"/>
                      </a:lnTo>
                      <a:lnTo>
                        <a:pt x="14" y="621"/>
                      </a:lnTo>
                      <a:lnTo>
                        <a:pt x="12" y="620"/>
                      </a:lnTo>
                      <a:lnTo>
                        <a:pt x="9" y="620"/>
                      </a:lnTo>
                      <a:lnTo>
                        <a:pt x="5" y="620"/>
                      </a:lnTo>
                      <a:lnTo>
                        <a:pt x="3" y="618"/>
                      </a:lnTo>
                      <a:lnTo>
                        <a:pt x="3" y="614"/>
                      </a:lnTo>
                      <a:lnTo>
                        <a:pt x="3" y="614"/>
                      </a:lnTo>
                      <a:lnTo>
                        <a:pt x="3" y="609"/>
                      </a:lnTo>
                      <a:lnTo>
                        <a:pt x="3" y="607"/>
                      </a:lnTo>
                      <a:lnTo>
                        <a:pt x="12" y="609"/>
                      </a:lnTo>
                      <a:lnTo>
                        <a:pt x="12" y="609"/>
                      </a:lnTo>
                      <a:lnTo>
                        <a:pt x="16" y="609"/>
                      </a:lnTo>
                      <a:lnTo>
                        <a:pt x="21" y="609"/>
                      </a:lnTo>
                      <a:lnTo>
                        <a:pt x="30" y="606"/>
                      </a:lnTo>
                      <a:lnTo>
                        <a:pt x="38" y="604"/>
                      </a:lnTo>
                      <a:lnTo>
                        <a:pt x="43" y="604"/>
                      </a:lnTo>
                      <a:lnTo>
                        <a:pt x="47" y="606"/>
                      </a:lnTo>
                      <a:lnTo>
                        <a:pt x="47" y="606"/>
                      </a:lnTo>
                      <a:lnTo>
                        <a:pt x="50" y="607"/>
                      </a:lnTo>
                      <a:lnTo>
                        <a:pt x="52" y="607"/>
                      </a:lnTo>
                      <a:lnTo>
                        <a:pt x="56" y="604"/>
                      </a:lnTo>
                      <a:lnTo>
                        <a:pt x="57" y="602"/>
                      </a:lnTo>
                      <a:lnTo>
                        <a:pt x="59" y="602"/>
                      </a:lnTo>
                      <a:lnTo>
                        <a:pt x="63" y="602"/>
                      </a:lnTo>
                      <a:lnTo>
                        <a:pt x="68" y="606"/>
                      </a:lnTo>
                      <a:lnTo>
                        <a:pt x="68" y="606"/>
                      </a:lnTo>
                      <a:lnTo>
                        <a:pt x="75" y="613"/>
                      </a:lnTo>
                      <a:lnTo>
                        <a:pt x="75" y="611"/>
                      </a:lnTo>
                      <a:lnTo>
                        <a:pt x="75" y="609"/>
                      </a:lnTo>
                      <a:lnTo>
                        <a:pt x="75" y="607"/>
                      </a:lnTo>
                      <a:lnTo>
                        <a:pt x="77" y="604"/>
                      </a:lnTo>
                      <a:lnTo>
                        <a:pt x="82" y="602"/>
                      </a:lnTo>
                      <a:lnTo>
                        <a:pt x="82" y="602"/>
                      </a:lnTo>
                      <a:lnTo>
                        <a:pt x="89" y="600"/>
                      </a:lnTo>
                      <a:lnTo>
                        <a:pt x="91" y="599"/>
                      </a:lnTo>
                      <a:lnTo>
                        <a:pt x="91" y="599"/>
                      </a:lnTo>
                      <a:lnTo>
                        <a:pt x="85" y="599"/>
                      </a:lnTo>
                      <a:lnTo>
                        <a:pt x="77" y="599"/>
                      </a:lnTo>
                      <a:lnTo>
                        <a:pt x="77" y="599"/>
                      </a:lnTo>
                      <a:lnTo>
                        <a:pt x="71" y="599"/>
                      </a:lnTo>
                      <a:lnTo>
                        <a:pt x="68" y="599"/>
                      </a:lnTo>
                      <a:lnTo>
                        <a:pt x="61" y="595"/>
                      </a:lnTo>
                      <a:lnTo>
                        <a:pt x="57" y="593"/>
                      </a:lnTo>
                      <a:lnTo>
                        <a:pt x="56" y="593"/>
                      </a:lnTo>
                      <a:lnTo>
                        <a:pt x="54" y="597"/>
                      </a:lnTo>
                      <a:lnTo>
                        <a:pt x="54" y="597"/>
                      </a:lnTo>
                      <a:lnTo>
                        <a:pt x="52" y="600"/>
                      </a:lnTo>
                      <a:lnTo>
                        <a:pt x="49" y="602"/>
                      </a:lnTo>
                      <a:lnTo>
                        <a:pt x="42" y="600"/>
                      </a:lnTo>
                      <a:lnTo>
                        <a:pt x="33" y="599"/>
                      </a:lnTo>
                      <a:lnTo>
                        <a:pt x="28" y="599"/>
                      </a:lnTo>
                      <a:lnTo>
                        <a:pt x="23" y="600"/>
                      </a:lnTo>
                      <a:lnTo>
                        <a:pt x="23" y="600"/>
                      </a:lnTo>
                      <a:lnTo>
                        <a:pt x="17" y="604"/>
                      </a:lnTo>
                      <a:lnTo>
                        <a:pt x="12" y="604"/>
                      </a:lnTo>
                      <a:lnTo>
                        <a:pt x="9" y="604"/>
                      </a:lnTo>
                      <a:lnTo>
                        <a:pt x="5" y="602"/>
                      </a:lnTo>
                      <a:lnTo>
                        <a:pt x="3" y="600"/>
                      </a:lnTo>
                      <a:lnTo>
                        <a:pt x="3" y="597"/>
                      </a:lnTo>
                      <a:lnTo>
                        <a:pt x="3" y="595"/>
                      </a:lnTo>
                      <a:lnTo>
                        <a:pt x="5" y="593"/>
                      </a:lnTo>
                      <a:lnTo>
                        <a:pt x="5" y="593"/>
                      </a:lnTo>
                      <a:lnTo>
                        <a:pt x="5" y="592"/>
                      </a:lnTo>
                      <a:lnTo>
                        <a:pt x="5" y="590"/>
                      </a:lnTo>
                      <a:lnTo>
                        <a:pt x="2" y="588"/>
                      </a:lnTo>
                      <a:lnTo>
                        <a:pt x="0" y="588"/>
                      </a:lnTo>
                      <a:lnTo>
                        <a:pt x="0" y="586"/>
                      </a:lnTo>
                      <a:lnTo>
                        <a:pt x="5" y="583"/>
                      </a:lnTo>
                      <a:lnTo>
                        <a:pt x="5" y="583"/>
                      </a:lnTo>
                      <a:lnTo>
                        <a:pt x="9" y="581"/>
                      </a:lnTo>
                      <a:lnTo>
                        <a:pt x="9" y="580"/>
                      </a:lnTo>
                      <a:lnTo>
                        <a:pt x="5" y="576"/>
                      </a:lnTo>
                      <a:lnTo>
                        <a:pt x="2" y="574"/>
                      </a:lnTo>
                      <a:lnTo>
                        <a:pt x="0" y="571"/>
                      </a:lnTo>
                      <a:lnTo>
                        <a:pt x="2" y="567"/>
                      </a:lnTo>
                      <a:lnTo>
                        <a:pt x="7" y="564"/>
                      </a:lnTo>
                      <a:lnTo>
                        <a:pt x="7" y="564"/>
                      </a:lnTo>
                      <a:lnTo>
                        <a:pt x="14" y="560"/>
                      </a:lnTo>
                      <a:lnTo>
                        <a:pt x="19" y="559"/>
                      </a:lnTo>
                      <a:lnTo>
                        <a:pt x="24" y="559"/>
                      </a:lnTo>
                      <a:lnTo>
                        <a:pt x="28" y="560"/>
                      </a:lnTo>
                      <a:lnTo>
                        <a:pt x="33" y="564"/>
                      </a:lnTo>
                      <a:lnTo>
                        <a:pt x="35" y="566"/>
                      </a:lnTo>
                      <a:lnTo>
                        <a:pt x="37" y="566"/>
                      </a:lnTo>
                      <a:lnTo>
                        <a:pt x="37" y="566"/>
                      </a:lnTo>
                      <a:lnTo>
                        <a:pt x="40" y="564"/>
                      </a:lnTo>
                      <a:lnTo>
                        <a:pt x="43" y="564"/>
                      </a:lnTo>
                      <a:lnTo>
                        <a:pt x="50" y="564"/>
                      </a:lnTo>
                      <a:lnTo>
                        <a:pt x="52" y="564"/>
                      </a:lnTo>
                      <a:lnTo>
                        <a:pt x="45" y="560"/>
                      </a:lnTo>
                      <a:lnTo>
                        <a:pt x="45" y="560"/>
                      </a:lnTo>
                      <a:lnTo>
                        <a:pt x="38" y="559"/>
                      </a:lnTo>
                      <a:lnTo>
                        <a:pt x="33" y="557"/>
                      </a:lnTo>
                      <a:lnTo>
                        <a:pt x="21" y="557"/>
                      </a:lnTo>
                      <a:lnTo>
                        <a:pt x="10" y="557"/>
                      </a:lnTo>
                      <a:lnTo>
                        <a:pt x="5" y="555"/>
                      </a:lnTo>
                      <a:lnTo>
                        <a:pt x="2" y="553"/>
                      </a:lnTo>
                      <a:lnTo>
                        <a:pt x="2" y="553"/>
                      </a:lnTo>
                      <a:lnTo>
                        <a:pt x="0" y="552"/>
                      </a:lnTo>
                      <a:lnTo>
                        <a:pt x="0" y="550"/>
                      </a:lnTo>
                      <a:lnTo>
                        <a:pt x="5" y="550"/>
                      </a:lnTo>
                      <a:lnTo>
                        <a:pt x="9" y="550"/>
                      </a:lnTo>
                      <a:lnTo>
                        <a:pt x="9" y="550"/>
                      </a:lnTo>
                      <a:lnTo>
                        <a:pt x="9" y="548"/>
                      </a:lnTo>
                      <a:lnTo>
                        <a:pt x="9" y="548"/>
                      </a:lnTo>
                      <a:lnTo>
                        <a:pt x="5" y="543"/>
                      </a:lnTo>
                      <a:lnTo>
                        <a:pt x="5" y="543"/>
                      </a:lnTo>
                      <a:lnTo>
                        <a:pt x="7" y="543"/>
                      </a:lnTo>
                      <a:lnTo>
                        <a:pt x="21" y="545"/>
                      </a:lnTo>
                      <a:lnTo>
                        <a:pt x="21" y="545"/>
                      </a:lnTo>
                      <a:lnTo>
                        <a:pt x="28" y="545"/>
                      </a:lnTo>
                      <a:lnTo>
                        <a:pt x="28" y="545"/>
                      </a:lnTo>
                      <a:lnTo>
                        <a:pt x="28" y="543"/>
                      </a:lnTo>
                      <a:lnTo>
                        <a:pt x="26" y="541"/>
                      </a:lnTo>
                      <a:lnTo>
                        <a:pt x="28" y="539"/>
                      </a:lnTo>
                      <a:lnTo>
                        <a:pt x="31" y="541"/>
                      </a:lnTo>
                      <a:lnTo>
                        <a:pt x="31" y="541"/>
                      </a:lnTo>
                      <a:lnTo>
                        <a:pt x="37" y="541"/>
                      </a:lnTo>
                      <a:lnTo>
                        <a:pt x="37" y="539"/>
                      </a:lnTo>
                      <a:lnTo>
                        <a:pt x="37" y="538"/>
                      </a:lnTo>
                      <a:lnTo>
                        <a:pt x="37" y="536"/>
                      </a:lnTo>
                      <a:lnTo>
                        <a:pt x="40" y="534"/>
                      </a:lnTo>
                      <a:lnTo>
                        <a:pt x="47" y="531"/>
                      </a:lnTo>
                      <a:lnTo>
                        <a:pt x="47" y="531"/>
                      </a:lnTo>
                      <a:lnTo>
                        <a:pt x="54" y="529"/>
                      </a:lnTo>
                      <a:lnTo>
                        <a:pt x="61" y="529"/>
                      </a:lnTo>
                      <a:lnTo>
                        <a:pt x="66" y="529"/>
                      </a:lnTo>
                      <a:lnTo>
                        <a:pt x="68" y="531"/>
                      </a:lnTo>
                      <a:lnTo>
                        <a:pt x="71" y="533"/>
                      </a:lnTo>
                      <a:lnTo>
                        <a:pt x="70" y="529"/>
                      </a:lnTo>
                      <a:lnTo>
                        <a:pt x="70" y="529"/>
                      </a:lnTo>
                      <a:lnTo>
                        <a:pt x="68" y="526"/>
                      </a:lnTo>
                      <a:lnTo>
                        <a:pt x="63" y="524"/>
                      </a:lnTo>
                      <a:lnTo>
                        <a:pt x="52" y="522"/>
                      </a:lnTo>
                      <a:lnTo>
                        <a:pt x="49" y="522"/>
                      </a:lnTo>
                      <a:lnTo>
                        <a:pt x="47" y="520"/>
                      </a:lnTo>
                      <a:lnTo>
                        <a:pt x="49" y="519"/>
                      </a:lnTo>
                      <a:lnTo>
                        <a:pt x="56" y="517"/>
                      </a:lnTo>
                      <a:lnTo>
                        <a:pt x="56" y="517"/>
                      </a:lnTo>
                      <a:lnTo>
                        <a:pt x="64" y="515"/>
                      </a:lnTo>
                      <a:lnTo>
                        <a:pt x="71" y="515"/>
                      </a:lnTo>
                      <a:lnTo>
                        <a:pt x="84" y="519"/>
                      </a:lnTo>
                      <a:lnTo>
                        <a:pt x="89" y="520"/>
                      </a:lnTo>
                      <a:lnTo>
                        <a:pt x="87" y="519"/>
                      </a:lnTo>
                      <a:lnTo>
                        <a:pt x="87" y="519"/>
                      </a:lnTo>
                      <a:lnTo>
                        <a:pt x="85" y="515"/>
                      </a:lnTo>
                      <a:lnTo>
                        <a:pt x="87" y="512"/>
                      </a:lnTo>
                      <a:lnTo>
                        <a:pt x="89" y="508"/>
                      </a:lnTo>
                      <a:lnTo>
                        <a:pt x="91" y="506"/>
                      </a:lnTo>
                      <a:lnTo>
                        <a:pt x="85" y="508"/>
                      </a:lnTo>
                      <a:lnTo>
                        <a:pt x="85" y="508"/>
                      </a:lnTo>
                      <a:lnTo>
                        <a:pt x="78" y="508"/>
                      </a:lnTo>
                      <a:lnTo>
                        <a:pt x="75" y="506"/>
                      </a:lnTo>
                      <a:lnTo>
                        <a:pt x="71" y="505"/>
                      </a:lnTo>
                      <a:lnTo>
                        <a:pt x="71" y="503"/>
                      </a:lnTo>
                      <a:lnTo>
                        <a:pt x="70" y="499"/>
                      </a:lnTo>
                      <a:lnTo>
                        <a:pt x="71" y="496"/>
                      </a:lnTo>
                      <a:lnTo>
                        <a:pt x="71" y="496"/>
                      </a:lnTo>
                      <a:lnTo>
                        <a:pt x="77" y="496"/>
                      </a:lnTo>
                      <a:lnTo>
                        <a:pt x="84" y="496"/>
                      </a:lnTo>
                      <a:lnTo>
                        <a:pt x="92" y="498"/>
                      </a:lnTo>
                      <a:lnTo>
                        <a:pt x="103" y="498"/>
                      </a:lnTo>
                      <a:lnTo>
                        <a:pt x="103" y="498"/>
                      </a:lnTo>
                      <a:lnTo>
                        <a:pt x="106" y="496"/>
                      </a:lnTo>
                      <a:lnTo>
                        <a:pt x="106" y="494"/>
                      </a:lnTo>
                      <a:lnTo>
                        <a:pt x="104" y="491"/>
                      </a:lnTo>
                      <a:lnTo>
                        <a:pt x="103" y="489"/>
                      </a:lnTo>
                      <a:lnTo>
                        <a:pt x="110" y="491"/>
                      </a:lnTo>
                      <a:lnTo>
                        <a:pt x="110" y="491"/>
                      </a:lnTo>
                      <a:lnTo>
                        <a:pt x="117" y="492"/>
                      </a:lnTo>
                      <a:lnTo>
                        <a:pt x="115" y="491"/>
                      </a:lnTo>
                      <a:lnTo>
                        <a:pt x="113" y="489"/>
                      </a:lnTo>
                      <a:lnTo>
                        <a:pt x="113" y="487"/>
                      </a:lnTo>
                      <a:lnTo>
                        <a:pt x="115" y="487"/>
                      </a:lnTo>
                      <a:lnTo>
                        <a:pt x="120" y="485"/>
                      </a:lnTo>
                      <a:lnTo>
                        <a:pt x="120" y="485"/>
                      </a:lnTo>
                      <a:lnTo>
                        <a:pt x="125" y="485"/>
                      </a:lnTo>
                      <a:lnTo>
                        <a:pt x="129" y="484"/>
                      </a:lnTo>
                      <a:lnTo>
                        <a:pt x="127" y="482"/>
                      </a:lnTo>
                      <a:lnTo>
                        <a:pt x="125" y="480"/>
                      </a:lnTo>
                      <a:lnTo>
                        <a:pt x="120" y="477"/>
                      </a:lnTo>
                      <a:lnTo>
                        <a:pt x="120" y="475"/>
                      </a:lnTo>
                      <a:lnTo>
                        <a:pt x="122" y="473"/>
                      </a:lnTo>
                      <a:lnTo>
                        <a:pt x="122" y="473"/>
                      </a:lnTo>
                      <a:lnTo>
                        <a:pt x="136" y="468"/>
                      </a:lnTo>
                      <a:lnTo>
                        <a:pt x="141" y="466"/>
                      </a:lnTo>
                      <a:lnTo>
                        <a:pt x="146" y="468"/>
                      </a:lnTo>
                      <a:lnTo>
                        <a:pt x="146" y="468"/>
                      </a:lnTo>
                      <a:lnTo>
                        <a:pt x="148" y="470"/>
                      </a:lnTo>
                      <a:lnTo>
                        <a:pt x="148" y="466"/>
                      </a:lnTo>
                      <a:lnTo>
                        <a:pt x="150" y="463"/>
                      </a:lnTo>
                      <a:lnTo>
                        <a:pt x="151" y="463"/>
                      </a:lnTo>
                      <a:lnTo>
                        <a:pt x="155" y="461"/>
                      </a:lnTo>
                      <a:lnTo>
                        <a:pt x="155" y="461"/>
                      </a:lnTo>
                      <a:lnTo>
                        <a:pt x="160" y="461"/>
                      </a:lnTo>
                      <a:lnTo>
                        <a:pt x="164" y="458"/>
                      </a:lnTo>
                      <a:lnTo>
                        <a:pt x="167" y="458"/>
                      </a:lnTo>
                      <a:lnTo>
                        <a:pt x="171" y="463"/>
                      </a:lnTo>
                      <a:lnTo>
                        <a:pt x="171" y="463"/>
                      </a:lnTo>
                      <a:lnTo>
                        <a:pt x="174" y="470"/>
                      </a:lnTo>
                      <a:lnTo>
                        <a:pt x="174" y="473"/>
                      </a:lnTo>
                      <a:lnTo>
                        <a:pt x="174" y="475"/>
                      </a:lnTo>
                      <a:lnTo>
                        <a:pt x="178" y="472"/>
                      </a:lnTo>
                      <a:lnTo>
                        <a:pt x="178" y="472"/>
                      </a:lnTo>
                      <a:lnTo>
                        <a:pt x="181" y="470"/>
                      </a:lnTo>
                      <a:lnTo>
                        <a:pt x="186" y="468"/>
                      </a:lnTo>
                      <a:lnTo>
                        <a:pt x="193" y="468"/>
                      </a:lnTo>
                      <a:lnTo>
                        <a:pt x="202" y="470"/>
                      </a:lnTo>
                      <a:lnTo>
                        <a:pt x="207" y="470"/>
                      </a:lnTo>
                      <a:lnTo>
                        <a:pt x="207" y="470"/>
                      </a:lnTo>
                      <a:lnTo>
                        <a:pt x="209" y="468"/>
                      </a:lnTo>
                      <a:lnTo>
                        <a:pt x="207" y="466"/>
                      </a:lnTo>
                      <a:lnTo>
                        <a:pt x="204" y="465"/>
                      </a:lnTo>
                      <a:lnTo>
                        <a:pt x="204" y="465"/>
                      </a:lnTo>
                      <a:lnTo>
                        <a:pt x="205" y="463"/>
                      </a:lnTo>
                      <a:lnTo>
                        <a:pt x="205" y="463"/>
                      </a:lnTo>
                      <a:lnTo>
                        <a:pt x="205" y="463"/>
                      </a:lnTo>
                      <a:lnTo>
                        <a:pt x="205" y="461"/>
                      </a:lnTo>
                      <a:lnTo>
                        <a:pt x="204" y="461"/>
                      </a:lnTo>
                      <a:lnTo>
                        <a:pt x="202" y="461"/>
                      </a:lnTo>
                      <a:lnTo>
                        <a:pt x="202" y="461"/>
                      </a:lnTo>
                      <a:lnTo>
                        <a:pt x="207" y="458"/>
                      </a:lnTo>
                      <a:lnTo>
                        <a:pt x="207" y="458"/>
                      </a:lnTo>
                      <a:lnTo>
                        <a:pt x="225" y="449"/>
                      </a:lnTo>
                      <a:lnTo>
                        <a:pt x="228" y="447"/>
                      </a:lnTo>
                      <a:lnTo>
                        <a:pt x="225" y="445"/>
                      </a:lnTo>
                      <a:lnTo>
                        <a:pt x="225" y="445"/>
                      </a:lnTo>
                      <a:lnTo>
                        <a:pt x="219" y="444"/>
                      </a:lnTo>
                      <a:lnTo>
                        <a:pt x="218" y="442"/>
                      </a:lnTo>
                      <a:lnTo>
                        <a:pt x="219" y="440"/>
                      </a:lnTo>
                      <a:lnTo>
                        <a:pt x="223" y="438"/>
                      </a:lnTo>
                      <a:lnTo>
                        <a:pt x="228" y="435"/>
                      </a:lnTo>
                      <a:lnTo>
                        <a:pt x="228" y="435"/>
                      </a:lnTo>
                      <a:lnTo>
                        <a:pt x="226" y="433"/>
                      </a:lnTo>
                      <a:lnTo>
                        <a:pt x="226" y="433"/>
                      </a:lnTo>
                      <a:lnTo>
                        <a:pt x="221" y="433"/>
                      </a:lnTo>
                      <a:lnTo>
                        <a:pt x="219" y="433"/>
                      </a:lnTo>
                      <a:lnTo>
                        <a:pt x="216" y="437"/>
                      </a:lnTo>
                      <a:lnTo>
                        <a:pt x="209" y="440"/>
                      </a:lnTo>
                      <a:lnTo>
                        <a:pt x="209" y="440"/>
                      </a:lnTo>
                      <a:lnTo>
                        <a:pt x="205" y="442"/>
                      </a:lnTo>
                      <a:lnTo>
                        <a:pt x="207" y="442"/>
                      </a:lnTo>
                      <a:lnTo>
                        <a:pt x="211" y="442"/>
                      </a:lnTo>
                      <a:lnTo>
                        <a:pt x="214" y="442"/>
                      </a:lnTo>
                      <a:lnTo>
                        <a:pt x="214" y="444"/>
                      </a:lnTo>
                      <a:lnTo>
                        <a:pt x="214" y="445"/>
                      </a:lnTo>
                      <a:lnTo>
                        <a:pt x="209" y="451"/>
                      </a:lnTo>
                      <a:lnTo>
                        <a:pt x="209" y="451"/>
                      </a:lnTo>
                      <a:lnTo>
                        <a:pt x="197" y="459"/>
                      </a:lnTo>
                      <a:lnTo>
                        <a:pt x="186" y="463"/>
                      </a:lnTo>
                      <a:lnTo>
                        <a:pt x="178" y="465"/>
                      </a:lnTo>
                      <a:lnTo>
                        <a:pt x="176" y="465"/>
                      </a:lnTo>
                      <a:lnTo>
                        <a:pt x="174" y="461"/>
                      </a:lnTo>
                      <a:lnTo>
                        <a:pt x="174" y="461"/>
                      </a:lnTo>
                      <a:lnTo>
                        <a:pt x="174" y="459"/>
                      </a:lnTo>
                      <a:lnTo>
                        <a:pt x="172" y="458"/>
                      </a:lnTo>
                      <a:lnTo>
                        <a:pt x="171" y="458"/>
                      </a:lnTo>
                      <a:lnTo>
                        <a:pt x="171" y="454"/>
                      </a:lnTo>
                      <a:lnTo>
                        <a:pt x="171" y="454"/>
                      </a:lnTo>
                      <a:lnTo>
                        <a:pt x="171" y="452"/>
                      </a:lnTo>
                      <a:lnTo>
                        <a:pt x="169" y="452"/>
                      </a:lnTo>
                      <a:lnTo>
                        <a:pt x="165" y="454"/>
                      </a:lnTo>
                      <a:lnTo>
                        <a:pt x="162" y="456"/>
                      </a:lnTo>
                      <a:lnTo>
                        <a:pt x="160" y="454"/>
                      </a:lnTo>
                      <a:lnTo>
                        <a:pt x="162" y="451"/>
                      </a:lnTo>
                      <a:lnTo>
                        <a:pt x="162" y="451"/>
                      </a:lnTo>
                      <a:lnTo>
                        <a:pt x="164" y="449"/>
                      </a:lnTo>
                      <a:lnTo>
                        <a:pt x="165" y="445"/>
                      </a:lnTo>
                      <a:lnTo>
                        <a:pt x="171" y="442"/>
                      </a:lnTo>
                      <a:lnTo>
                        <a:pt x="178" y="437"/>
                      </a:lnTo>
                      <a:lnTo>
                        <a:pt x="179" y="433"/>
                      </a:lnTo>
                      <a:lnTo>
                        <a:pt x="181" y="426"/>
                      </a:lnTo>
                      <a:lnTo>
                        <a:pt x="181" y="426"/>
                      </a:lnTo>
                      <a:lnTo>
                        <a:pt x="183" y="425"/>
                      </a:lnTo>
                      <a:lnTo>
                        <a:pt x="185" y="421"/>
                      </a:lnTo>
                      <a:lnTo>
                        <a:pt x="190" y="421"/>
                      </a:lnTo>
                      <a:lnTo>
                        <a:pt x="193" y="419"/>
                      </a:lnTo>
                      <a:lnTo>
                        <a:pt x="195" y="418"/>
                      </a:lnTo>
                      <a:lnTo>
                        <a:pt x="195" y="414"/>
                      </a:lnTo>
                      <a:lnTo>
                        <a:pt x="195" y="414"/>
                      </a:lnTo>
                      <a:lnTo>
                        <a:pt x="195" y="412"/>
                      </a:lnTo>
                      <a:lnTo>
                        <a:pt x="197" y="409"/>
                      </a:lnTo>
                      <a:lnTo>
                        <a:pt x="200" y="407"/>
                      </a:lnTo>
                      <a:lnTo>
                        <a:pt x="207" y="405"/>
                      </a:lnTo>
                      <a:lnTo>
                        <a:pt x="207" y="405"/>
                      </a:lnTo>
                      <a:lnTo>
                        <a:pt x="209" y="405"/>
                      </a:lnTo>
                      <a:lnTo>
                        <a:pt x="209" y="404"/>
                      </a:lnTo>
                      <a:lnTo>
                        <a:pt x="209" y="402"/>
                      </a:lnTo>
                      <a:lnTo>
                        <a:pt x="211" y="400"/>
                      </a:lnTo>
                      <a:lnTo>
                        <a:pt x="211" y="400"/>
                      </a:lnTo>
                      <a:lnTo>
                        <a:pt x="214" y="402"/>
                      </a:lnTo>
                      <a:lnTo>
                        <a:pt x="214" y="402"/>
                      </a:lnTo>
                      <a:lnTo>
                        <a:pt x="216" y="405"/>
                      </a:lnTo>
                      <a:lnTo>
                        <a:pt x="219" y="409"/>
                      </a:lnTo>
                      <a:lnTo>
                        <a:pt x="221" y="411"/>
                      </a:lnTo>
                      <a:lnTo>
                        <a:pt x="223" y="411"/>
                      </a:lnTo>
                      <a:lnTo>
                        <a:pt x="223" y="411"/>
                      </a:lnTo>
                      <a:lnTo>
                        <a:pt x="228" y="411"/>
                      </a:lnTo>
                      <a:lnTo>
                        <a:pt x="230" y="409"/>
                      </a:lnTo>
                      <a:lnTo>
                        <a:pt x="230" y="407"/>
                      </a:lnTo>
                      <a:lnTo>
                        <a:pt x="233" y="402"/>
                      </a:lnTo>
                      <a:lnTo>
                        <a:pt x="233" y="402"/>
                      </a:lnTo>
                      <a:lnTo>
                        <a:pt x="233" y="402"/>
                      </a:lnTo>
                      <a:lnTo>
                        <a:pt x="233" y="400"/>
                      </a:lnTo>
                      <a:lnTo>
                        <a:pt x="230" y="398"/>
                      </a:lnTo>
                      <a:lnTo>
                        <a:pt x="228" y="397"/>
                      </a:lnTo>
                      <a:lnTo>
                        <a:pt x="228" y="395"/>
                      </a:lnTo>
                      <a:lnTo>
                        <a:pt x="230" y="393"/>
                      </a:lnTo>
                      <a:lnTo>
                        <a:pt x="230" y="393"/>
                      </a:lnTo>
                      <a:lnTo>
                        <a:pt x="235" y="391"/>
                      </a:lnTo>
                      <a:lnTo>
                        <a:pt x="235" y="390"/>
                      </a:lnTo>
                      <a:lnTo>
                        <a:pt x="235" y="388"/>
                      </a:lnTo>
                      <a:lnTo>
                        <a:pt x="230" y="390"/>
                      </a:lnTo>
                      <a:lnTo>
                        <a:pt x="230" y="390"/>
                      </a:lnTo>
                      <a:lnTo>
                        <a:pt x="225" y="393"/>
                      </a:lnTo>
                      <a:lnTo>
                        <a:pt x="223" y="393"/>
                      </a:lnTo>
                      <a:lnTo>
                        <a:pt x="225" y="391"/>
                      </a:lnTo>
                      <a:lnTo>
                        <a:pt x="225" y="390"/>
                      </a:lnTo>
                      <a:lnTo>
                        <a:pt x="223" y="388"/>
                      </a:lnTo>
                      <a:lnTo>
                        <a:pt x="221" y="386"/>
                      </a:lnTo>
                      <a:lnTo>
                        <a:pt x="221" y="386"/>
                      </a:lnTo>
                      <a:lnTo>
                        <a:pt x="214" y="386"/>
                      </a:lnTo>
                      <a:lnTo>
                        <a:pt x="211" y="386"/>
                      </a:lnTo>
                      <a:lnTo>
                        <a:pt x="207" y="386"/>
                      </a:lnTo>
                      <a:lnTo>
                        <a:pt x="207" y="385"/>
                      </a:lnTo>
                      <a:lnTo>
                        <a:pt x="207" y="385"/>
                      </a:lnTo>
                      <a:lnTo>
                        <a:pt x="209" y="383"/>
                      </a:lnTo>
                      <a:lnTo>
                        <a:pt x="212" y="381"/>
                      </a:lnTo>
                      <a:lnTo>
                        <a:pt x="223" y="383"/>
                      </a:lnTo>
                      <a:lnTo>
                        <a:pt x="223" y="383"/>
                      </a:lnTo>
                      <a:lnTo>
                        <a:pt x="225" y="383"/>
                      </a:lnTo>
                      <a:lnTo>
                        <a:pt x="228" y="381"/>
                      </a:lnTo>
                      <a:lnTo>
                        <a:pt x="232" y="379"/>
                      </a:lnTo>
                      <a:lnTo>
                        <a:pt x="235" y="379"/>
                      </a:lnTo>
                      <a:lnTo>
                        <a:pt x="235" y="379"/>
                      </a:lnTo>
                      <a:lnTo>
                        <a:pt x="240" y="378"/>
                      </a:lnTo>
                      <a:lnTo>
                        <a:pt x="244" y="376"/>
                      </a:lnTo>
                      <a:lnTo>
                        <a:pt x="245" y="374"/>
                      </a:lnTo>
                      <a:lnTo>
                        <a:pt x="252" y="374"/>
                      </a:lnTo>
                      <a:lnTo>
                        <a:pt x="252" y="374"/>
                      </a:lnTo>
                      <a:lnTo>
                        <a:pt x="258" y="372"/>
                      </a:lnTo>
                      <a:lnTo>
                        <a:pt x="261" y="369"/>
                      </a:lnTo>
                      <a:lnTo>
                        <a:pt x="261" y="365"/>
                      </a:lnTo>
                      <a:lnTo>
                        <a:pt x="259" y="362"/>
                      </a:lnTo>
                      <a:lnTo>
                        <a:pt x="259" y="362"/>
                      </a:lnTo>
                      <a:lnTo>
                        <a:pt x="258" y="360"/>
                      </a:lnTo>
                      <a:lnTo>
                        <a:pt x="259" y="360"/>
                      </a:lnTo>
                      <a:lnTo>
                        <a:pt x="261" y="357"/>
                      </a:lnTo>
                      <a:lnTo>
                        <a:pt x="266" y="353"/>
                      </a:lnTo>
                      <a:lnTo>
                        <a:pt x="266" y="351"/>
                      </a:lnTo>
                      <a:lnTo>
                        <a:pt x="266" y="348"/>
                      </a:lnTo>
                      <a:lnTo>
                        <a:pt x="266" y="348"/>
                      </a:lnTo>
                      <a:lnTo>
                        <a:pt x="266" y="346"/>
                      </a:lnTo>
                      <a:lnTo>
                        <a:pt x="263" y="346"/>
                      </a:lnTo>
                      <a:lnTo>
                        <a:pt x="261" y="344"/>
                      </a:lnTo>
                      <a:lnTo>
                        <a:pt x="259" y="341"/>
                      </a:lnTo>
                      <a:lnTo>
                        <a:pt x="259" y="341"/>
                      </a:lnTo>
                      <a:lnTo>
                        <a:pt x="259" y="336"/>
                      </a:lnTo>
                      <a:lnTo>
                        <a:pt x="263" y="336"/>
                      </a:lnTo>
                      <a:lnTo>
                        <a:pt x="266" y="334"/>
                      </a:lnTo>
                      <a:lnTo>
                        <a:pt x="268" y="332"/>
                      </a:lnTo>
                      <a:lnTo>
                        <a:pt x="270" y="329"/>
                      </a:lnTo>
                      <a:lnTo>
                        <a:pt x="270" y="329"/>
                      </a:lnTo>
                      <a:lnTo>
                        <a:pt x="273" y="324"/>
                      </a:lnTo>
                      <a:lnTo>
                        <a:pt x="277" y="320"/>
                      </a:lnTo>
                      <a:lnTo>
                        <a:pt x="280" y="320"/>
                      </a:lnTo>
                      <a:lnTo>
                        <a:pt x="282" y="317"/>
                      </a:lnTo>
                      <a:lnTo>
                        <a:pt x="282" y="317"/>
                      </a:lnTo>
                      <a:lnTo>
                        <a:pt x="282" y="315"/>
                      </a:lnTo>
                      <a:lnTo>
                        <a:pt x="279" y="313"/>
                      </a:lnTo>
                      <a:lnTo>
                        <a:pt x="273" y="313"/>
                      </a:lnTo>
                      <a:lnTo>
                        <a:pt x="270" y="313"/>
                      </a:lnTo>
                      <a:lnTo>
                        <a:pt x="275" y="311"/>
                      </a:lnTo>
                      <a:lnTo>
                        <a:pt x="275" y="311"/>
                      </a:lnTo>
                      <a:lnTo>
                        <a:pt x="282" y="308"/>
                      </a:lnTo>
                      <a:lnTo>
                        <a:pt x="289" y="308"/>
                      </a:lnTo>
                      <a:lnTo>
                        <a:pt x="305" y="304"/>
                      </a:lnTo>
                      <a:lnTo>
                        <a:pt x="305" y="304"/>
                      </a:lnTo>
                      <a:lnTo>
                        <a:pt x="313" y="303"/>
                      </a:lnTo>
                      <a:lnTo>
                        <a:pt x="322" y="299"/>
                      </a:lnTo>
                      <a:lnTo>
                        <a:pt x="324" y="297"/>
                      </a:lnTo>
                      <a:lnTo>
                        <a:pt x="320" y="297"/>
                      </a:lnTo>
                      <a:lnTo>
                        <a:pt x="320" y="297"/>
                      </a:lnTo>
                      <a:lnTo>
                        <a:pt x="298" y="303"/>
                      </a:lnTo>
                      <a:lnTo>
                        <a:pt x="289" y="304"/>
                      </a:lnTo>
                      <a:lnTo>
                        <a:pt x="284" y="304"/>
                      </a:lnTo>
                      <a:lnTo>
                        <a:pt x="284" y="304"/>
                      </a:lnTo>
                      <a:lnTo>
                        <a:pt x="284" y="304"/>
                      </a:lnTo>
                      <a:lnTo>
                        <a:pt x="284" y="303"/>
                      </a:lnTo>
                      <a:lnTo>
                        <a:pt x="289" y="301"/>
                      </a:lnTo>
                      <a:lnTo>
                        <a:pt x="292" y="299"/>
                      </a:lnTo>
                      <a:lnTo>
                        <a:pt x="289" y="299"/>
                      </a:lnTo>
                      <a:lnTo>
                        <a:pt x="289" y="299"/>
                      </a:lnTo>
                      <a:lnTo>
                        <a:pt x="284" y="297"/>
                      </a:lnTo>
                      <a:lnTo>
                        <a:pt x="284" y="296"/>
                      </a:lnTo>
                      <a:lnTo>
                        <a:pt x="286" y="292"/>
                      </a:lnTo>
                      <a:lnTo>
                        <a:pt x="286" y="290"/>
                      </a:lnTo>
                      <a:lnTo>
                        <a:pt x="284" y="289"/>
                      </a:lnTo>
                      <a:lnTo>
                        <a:pt x="284" y="289"/>
                      </a:lnTo>
                      <a:lnTo>
                        <a:pt x="282" y="285"/>
                      </a:lnTo>
                      <a:lnTo>
                        <a:pt x="284" y="285"/>
                      </a:lnTo>
                      <a:lnTo>
                        <a:pt x="286" y="285"/>
                      </a:lnTo>
                      <a:lnTo>
                        <a:pt x="289" y="285"/>
                      </a:lnTo>
                      <a:lnTo>
                        <a:pt x="289" y="285"/>
                      </a:lnTo>
                      <a:lnTo>
                        <a:pt x="291" y="285"/>
                      </a:lnTo>
                      <a:lnTo>
                        <a:pt x="291" y="285"/>
                      </a:lnTo>
                      <a:lnTo>
                        <a:pt x="291" y="284"/>
                      </a:lnTo>
                      <a:lnTo>
                        <a:pt x="292" y="282"/>
                      </a:lnTo>
                      <a:lnTo>
                        <a:pt x="292" y="282"/>
                      </a:lnTo>
                      <a:lnTo>
                        <a:pt x="294" y="280"/>
                      </a:lnTo>
                      <a:lnTo>
                        <a:pt x="291" y="278"/>
                      </a:lnTo>
                      <a:lnTo>
                        <a:pt x="289" y="278"/>
                      </a:lnTo>
                      <a:lnTo>
                        <a:pt x="292" y="275"/>
                      </a:lnTo>
                      <a:lnTo>
                        <a:pt x="292" y="275"/>
                      </a:lnTo>
                      <a:lnTo>
                        <a:pt x="296" y="271"/>
                      </a:lnTo>
                      <a:lnTo>
                        <a:pt x="298" y="271"/>
                      </a:lnTo>
                      <a:lnTo>
                        <a:pt x="301" y="271"/>
                      </a:lnTo>
                      <a:lnTo>
                        <a:pt x="305" y="270"/>
                      </a:lnTo>
                      <a:lnTo>
                        <a:pt x="305" y="270"/>
                      </a:lnTo>
                      <a:lnTo>
                        <a:pt x="306" y="268"/>
                      </a:lnTo>
                      <a:lnTo>
                        <a:pt x="306" y="266"/>
                      </a:lnTo>
                      <a:lnTo>
                        <a:pt x="303" y="263"/>
                      </a:lnTo>
                      <a:lnTo>
                        <a:pt x="301" y="259"/>
                      </a:lnTo>
                      <a:lnTo>
                        <a:pt x="308" y="259"/>
                      </a:lnTo>
                      <a:lnTo>
                        <a:pt x="308" y="259"/>
                      </a:lnTo>
                      <a:lnTo>
                        <a:pt x="313" y="257"/>
                      </a:lnTo>
                      <a:lnTo>
                        <a:pt x="317" y="257"/>
                      </a:lnTo>
                      <a:lnTo>
                        <a:pt x="319" y="256"/>
                      </a:lnTo>
                      <a:lnTo>
                        <a:pt x="319" y="254"/>
                      </a:lnTo>
                      <a:lnTo>
                        <a:pt x="319" y="250"/>
                      </a:lnTo>
                      <a:lnTo>
                        <a:pt x="319" y="250"/>
                      </a:lnTo>
                      <a:lnTo>
                        <a:pt x="320" y="249"/>
                      </a:lnTo>
                      <a:lnTo>
                        <a:pt x="320" y="249"/>
                      </a:lnTo>
                      <a:lnTo>
                        <a:pt x="324" y="249"/>
                      </a:lnTo>
                      <a:lnTo>
                        <a:pt x="326" y="247"/>
                      </a:lnTo>
                      <a:lnTo>
                        <a:pt x="327" y="247"/>
                      </a:lnTo>
                      <a:lnTo>
                        <a:pt x="331" y="247"/>
                      </a:lnTo>
                      <a:lnTo>
                        <a:pt x="331" y="247"/>
                      </a:lnTo>
                      <a:lnTo>
                        <a:pt x="336" y="245"/>
                      </a:lnTo>
                      <a:lnTo>
                        <a:pt x="341" y="245"/>
                      </a:lnTo>
                      <a:lnTo>
                        <a:pt x="346" y="243"/>
                      </a:lnTo>
                      <a:lnTo>
                        <a:pt x="353" y="242"/>
                      </a:lnTo>
                      <a:lnTo>
                        <a:pt x="353" y="242"/>
                      </a:lnTo>
                      <a:lnTo>
                        <a:pt x="359" y="243"/>
                      </a:lnTo>
                      <a:lnTo>
                        <a:pt x="362" y="245"/>
                      </a:lnTo>
                      <a:lnTo>
                        <a:pt x="367" y="249"/>
                      </a:lnTo>
                      <a:lnTo>
                        <a:pt x="371" y="250"/>
                      </a:lnTo>
                      <a:lnTo>
                        <a:pt x="369" y="247"/>
                      </a:lnTo>
                      <a:lnTo>
                        <a:pt x="369" y="247"/>
                      </a:lnTo>
                      <a:lnTo>
                        <a:pt x="369" y="245"/>
                      </a:lnTo>
                      <a:lnTo>
                        <a:pt x="371" y="243"/>
                      </a:lnTo>
                      <a:lnTo>
                        <a:pt x="374" y="242"/>
                      </a:lnTo>
                      <a:lnTo>
                        <a:pt x="360" y="240"/>
                      </a:lnTo>
                      <a:lnTo>
                        <a:pt x="360" y="240"/>
                      </a:lnTo>
                      <a:lnTo>
                        <a:pt x="350" y="240"/>
                      </a:lnTo>
                      <a:lnTo>
                        <a:pt x="343" y="240"/>
                      </a:lnTo>
                      <a:lnTo>
                        <a:pt x="339" y="242"/>
                      </a:lnTo>
                      <a:lnTo>
                        <a:pt x="336" y="242"/>
                      </a:lnTo>
                      <a:lnTo>
                        <a:pt x="336" y="242"/>
                      </a:lnTo>
                      <a:lnTo>
                        <a:pt x="333" y="240"/>
                      </a:lnTo>
                      <a:lnTo>
                        <a:pt x="333" y="238"/>
                      </a:lnTo>
                      <a:lnTo>
                        <a:pt x="338" y="233"/>
                      </a:lnTo>
                      <a:lnTo>
                        <a:pt x="338" y="233"/>
                      </a:lnTo>
                      <a:lnTo>
                        <a:pt x="341" y="231"/>
                      </a:lnTo>
                      <a:lnTo>
                        <a:pt x="345" y="231"/>
                      </a:lnTo>
                      <a:lnTo>
                        <a:pt x="346" y="233"/>
                      </a:lnTo>
                      <a:lnTo>
                        <a:pt x="348" y="233"/>
                      </a:lnTo>
                      <a:lnTo>
                        <a:pt x="348" y="233"/>
                      </a:lnTo>
                      <a:lnTo>
                        <a:pt x="348" y="231"/>
                      </a:lnTo>
                      <a:lnTo>
                        <a:pt x="348" y="230"/>
                      </a:lnTo>
                      <a:lnTo>
                        <a:pt x="343" y="228"/>
                      </a:lnTo>
                      <a:lnTo>
                        <a:pt x="343" y="226"/>
                      </a:lnTo>
                      <a:lnTo>
                        <a:pt x="343" y="224"/>
                      </a:lnTo>
                      <a:lnTo>
                        <a:pt x="352" y="223"/>
                      </a:lnTo>
                      <a:lnTo>
                        <a:pt x="352" y="223"/>
                      </a:lnTo>
                      <a:lnTo>
                        <a:pt x="359" y="221"/>
                      </a:lnTo>
                      <a:lnTo>
                        <a:pt x="360" y="221"/>
                      </a:lnTo>
                      <a:lnTo>
                        <a:pt x="360" y="219"/>
                      </a:lnTo>
                      <a:lnTo>
                        <a:pt x="359" y="217"/>
                      </a:lnTo>
                      <a:lnTo>
                        <a:pt x="364" y="214"/>
                      </a:lnTo>
                      <a:lnTo>
                        <a:pt x="364" y="214"/>
                      </a:lnTo>
                      <a:lnTo>
                        <a:pt x="373" y="212"/>
                      </a:lnTo>
                      <a:lnTo>
                        <a:pt x="380" y="212"/>
                      </a:lnTo>
                      <a:lnTo>
                        <a:pt x="381" y="210"/>
                      </a:lnTo>
                      <a:lnTo>
                        <a:pt x="374" y="209"/>
                      </a:lnTo>
                      <a:lnTo>
                        <a:pt x="374" y="209"/>
                      </a:lnTo>
                      <a:lnTo>
                        <a:pt x="371" y="209"/>
                      </a:lnTo>
                      <a:lnTo>
                        <a:pt x="366" y="209"/>
                      </a:lnTo>
                      <a:lnTo>
                        <a:pt x="360" y="212"/>
                      </a:lnTo>
                      <a:lnTo>
                        <a:pt x="355" y="217"/>
                      </a:lnTo>
                      <a:lnTo>
                        <a:pt x="352" y="217"/>
                      </a:lnTo>
                      <a:lnTo>
                        <a:pt x="346" y="217"/>
                      </a:lnTo>
                      <a:lnTo>
                        <a:pt x="346" y="217"/>
                      </a:lnTo>
                      <a:lnTo>
                        <a:pt x="343" y="216"/>
                      </a:lnTo>
                      <a:lnTo>
                        <a:pt x="345" y="214"/>
                      </a:lnTo>
                      <a:lnTo>
                        <a:pt x="348" y="212"/>
                      </a:lnTo>
                      <a:lnTo>
                        <a:pt x="348" y="212"/>
                      </a:lnTo>
                      <a:lnTo>
                        <a:pt x="346" y="210"/>
                      </a:lnTo>
                      <a:lnTo>
                        <a:pt x="346" y="210"/>
                      </a:lnTo>
                      <a:lnTo>
                        <a:pt x="345" y="209"/>
                      </a:lnTo>
                      <a:lnTo>
                        <a:pt x="346" y="205"/>
                      </a:lnTo>
                      <a:lnTo>
                        <a:pt x="357" y="202"/>
                      </a:lnTo>
                      <a:lnTo>
                        <a:pt x="373" y="200"/>
                      </a:lnTo>
                      <a:lnTo>
                        <a:pt x="381" y="198"/>
                      </a:lnTo>
                      <a:lnTo>
                        <a:pt x="381" y="198"/>
                      </a:lnTo>
                      <a:lnTo>
                        <a:pt x="385" y="198"/>
                      </a:lnTo>
                      <a:lnTo>
                        <a:pt x="387" y="196"/>
                      </a:lnTo>
                      <a:lnTo>
                        <a:pt x="383" y="195"/>
                      </a:lnTo>
                      <a:lnTo>
                        <a:pt x="378" y="193"/>
                      </a:lnTo>
                      <a:lnTo>
                        <a:pt x="378" y="193"/>
                      </a:lnTo>
                      <a:lnTo>
                        <a:pt x="371" y="193"/>
                      </a:lnTo>
                      <a:lnTo>
                        <a:pt x="367" y="195"/>
                      </a:lnTo>
                      <a:lnTo>
                        <a:pt x="366" y="195"/>
                      </a:lnTo>
                      <a:lnTo>
                        <a:pt x="364" y="193"/>
                      </a:lnTo>
                      <a:lnTo>
                        <a:pt x="364" y="193"/>
                      </a:lnTo>
                      <a:lnTo>
                        <a:pt x="364" y="191"/>
                      </a:lnTo>
                      <a:lnTo>
                        <a:pt x="366" y="190"/>
                      </a:lnTo>
                      <a:lnTo>
                        <a:pt x="369" y="188"/>
                      </a:lnTo>
                      <a:lnTo>
                        <a:pt x="374" y="186"/>
                      </a:lnTo>
                      <a:lnTo>
                        <a:pt x="378" y="186"/>
                      </a:lnTo>
                      <a:lnTo>
                        <a:pt x="378" y="186"/>
                      </a:lnTo>
                      <a:lnTo>
                        <a:pt x="380" y="190"/>
                      </a:lnTo>
                      <a:lnTo>
                        <a:pt x="380" y="190"/>
                      </a:lnTo>
                      <a:lnTo>
                        <a:pt x="381" y="188"/>
                      </a:lnTo>
                      <a:lnTo>
                        <a:pt x="385" y="184"/>
                      </a:lnTo>
                      <a:lnTo>
                        <a:pt x="385" y="184"/>
                      </a:lnTo>
                      <a:lnTo>
                        <a:pt x="387" y="181"/>
                      </a:lnTo>
                      <a:lnTo>
                        <a:pt x="390" y="181"/>
                      </a:lnTo>
                      <a:lnTo>
                        <a:pt x="390" y="184"/>
                      </a:lnTo>
                      <a:lnTo>
                        <a:pt x="390" y="190"/>
                      </a:lnTo>
                      <a:lnTo>
                        <a:pt x="390" y="190"/>
                      </a:lnTo>
                      <a:lnTo>
                        <a:pt x="392" y="195"/>
                      </a:lnTo>
                      <a:lnTo>
                        <a:pt x="393" y="200"/>
                      </a:lnTo>
                      <a:lnTo>
                        <a:pt x="395" y="202"/>
                      </a:lnTo>
                      <a:lnTo>
                        <a:pt x="397" y="198"/>
                      </a:lnTo>
                      <a:lnTo>
                        <a:pt x="397" y="198"/>
                      </a:lnTo>
                      <a:lnTo>
                        <a:pt x="397" y="195"/>
                      </a:lnTo>
                      <a:lnTo>
                        <a:pt x="399" y="191"/>
                      </a:lnTo>
                      <a:lnTo>
                        <a:pt x="402" y="188"/>
                      </a:lnTo>
                      <a:lnTo>
                        <a:pt x="404" y="184"/>
                      </a:lnTo>
                      <a:lnTo>
                        <a:pt x="399" y="183"/>
                      </a:lnTo>
                      <a:lnTo>
                        <a:pt x="399" y="183"/>
                      </a:lnTo>
                      <a:lnTo>
                        <a:pt x="395" y="183"/>
                      </a:lnTo>
                      <a:lnTo>
                        <a:pt x="395" y="183"/>
                      </a:lnTo>
                      <a:lnTo>
                        <a:pt x="395" y="181"/>
                      </a:lnTo>
                      <a:lnTo>
                        <a:pt x="393" y="179"/>
                      </a:lnTo>
                      <a:lnTo>
                        <a:pt x="393" y="179"/>
                      </a:lnTo>
                      <a:lnTo>
                        <a:pt x="390" y="177"/>
                      </a:lnTo>
                      <a:lnTo>
                        <a:pt x="392" y="176"/>
                      </a:lnTo>
                      <a:lnTo>
                        <a:pt x="399" y="172"/>
                      </a:lnTo>
                      <a:lnTo>
                        <a:pt x="406" y="172"/>
                      </a:lnTo>
                      <a:lnTo>
                        <a:pt x="406" y="172"/>
                      </a:lnTo>
                      <a:lnTo>
                        <a:pt x="413" y="172"/>
                      </a:lnTo>
                      <a:lnTo>
                        <a:pt x="416" y="172"/>
                      </a:lnTo>
                      <a:lnTo>
                        <a:pt x="418" y="174"/>
                      </a:lnTo>
                      <a:lnTo>
                        <a:pt x="425" y="174"/>
                      </a:lnTo>
                      <a:lnTo>
                        <a:pt x="425" y="174"/>
                      </a:lnTo>
                      <a:lnTo>
                        <a:pt x="434" y="170"/>
                      </a:lnTo>
                      <a:lnTo>
                        <a:pt x="440" y="165"/>
                      </a:lnTo>
                      <a:lnTo>
                        <a:pt x="442" y="162"/>
                      </a:lnTo>
                      <a:lnTo>
                        <a:pt x="440" y="162"/>
                      </a:lnTo>
                      <a:lnTo>
                        <a:pt x="437" y="163"/>
                      </a:lnTo>
                      <a:lnTo>
                        <a:pt x="437" y="163"/>
                      </a:lnTo>
                      <a:lnTo>
                        <a:pt x="427" y="169"/>
                      </a:lnTo>
                      <a:lnTo>
                        <a:pt x="425" y="169"/>
                      </a:lnTo>
                      <a:lnTo>
                        <a:pt x="425" y="165"/>
                      </a:lnTo>
                      <a:lnTo>
                        <a:pt x="425" y="165"/>
                      </a:lnTo>
                      <a:lnTo>
                        <a:pt x="423" y="165"/>
                      </a:lnTo>
                      <a:lnTo>
                        <a:pt x="421" y="165"/>
                      </a:lnTo>
                      <a:lnTo>
                        <a:pt x="413" y="167"/>
                      </a:lnTo>
                      <a:lnTo>
                        <a:pt x="409" y="169"/>
                      </a:lnTo>
                      <a:lnTo>
                        <a:pt x="406" y="169"/>
                      </a:lnTo>
                      <a:lnTo>
                        <a:pt x="406" y="165"/>
                      </a:lnTo>
                      <a:lnTo>
                        <a:pt x="407" y="162"/>
                      </a:lnTo>
                      <a:lnTo>
                        <a:pt x="407" y="162"/>
                      </a:lnTo>
                      <a:lnTo>
                        <a:pt x="413" y="155"/>
                      </a:lnTo>
                      <a:lnTo>
                        <a:pt x="418" y="153"/>
                      </a:lnTo>
                      <a:lnTo>
                        <a:pt x="423" y="153"/>
                      </a:lnTo>
                      <a:lnTo>
                        <a:pt x="428" y="151"/>
                      </a:lnTo>
                      <a:lnTo>
                        <a:pt x="428" y="151"/>
                      </a:lnTo>
                      <a:lnTo>
                        <a:pt x="432" y="149"/>
                      </a:lnTo>
                      <a:lnTo>
                        <a:pt x="434" y="148"/>
                      </a:lnTo>
                      <a:lnTo>
                        <a:pt x="437" y="144"/>
                      </a:lnTo>
                      <a:lnTo>
                        <a:pt x="444" y="142"/>
                      </a:lnTo>
                      <a:lnTo>
                        <a:pt x="444" y="142"/>
                      </a:lnTo>
                      <a:lnTo>
                        <a:pt x="449" y="141"/>
                      </a:lnTo>
                      <a:lnTo>
                        <a:pt x="446" y="139"/>
                      </a:lnTo>
                      <a:lnTo>
                        <a:pt x="442" y="137"/>
                      </a:lnTo>
                      <a:lnTo>
                        <a:pt x="440" y="136"/>
                      </a:lnTo>
                      <a:lnTo>
                        <a:pt x="442" y="132"/>
                      </a:lnTo>
                      <a:lnTo>
                        <a:pt x="442" y="132"/>
                      </a:lnTo>
                      <a:lnTo>
                        <a:pt x="446" y="130"/>
                      </a:lnTo>
                      <a:lnTo>
                        <a:pt x="449" y="127"/>
                      </a:lnTo>
                      <a:lnTo>
                        <a:pt x="456" y="125"/>
                      </a:lnTo>
                      <a:lnTo>
                        <a:pt x="461" y="123"/>
                      </a:lnTo>
                      <a:lnTo>
                        <a:pt x="461" y="122"/>
                      </a:lnTo>
                      <a:lnTo>
                        <a:pt x="461" y="118"/>
                      </a:lnTo>
                      <a:lnTo>
                        <a:pt x="461" y="118"/>
                      </a:lnTo>
                      <a:lnTo>
                        <a:pt x="460" y="115"/>
                      </a:lnTo>
                      <a:lnTo>
                        <a:pt x="461" y="111"/>
                      </a:lnTo>
                      <a:lnTo>
                        <a:pt x="463" y="109"/>
                      </a:lnTo>
                      <a:lnTo>
                        <a:pt x="465" y="108"/>
                      </a:lnTo>
                      <a:lnTo>
                        <a:pt x="463" y="104"/>
                      </a:lnTo>
                      <a:lnTo>
                        <a:pt x="463" y="104"/>
                      </a:lnTo>
                      <a:lnTo>
                        <a:pt x="463" y="102"/>
                      </a:lnTo>
                      <a:lnTo>
                        <a:pt x="463" y="102"/>
                      </a:lnTo>
                      <a:lnTo>
                        <a:pt x="467" y="102"/>
                      </a:lnTo>
                      <a:lnTo>
                        <a:pt x="475" y="109"/>
                      </a:lnTo>
                      <a:lnTo>
                        <a:pt x="475" y="109"/>
                      </a:lnTo>
                      <a:lnTo>
                        <a:pt x="479" y="115"/>
                      </a:lnTo>
                      <a:lnTo>
                        <a:pt x="482" y="115"/>
                      </a:lnTo>
                      <a:lnTo>
                        <a:pt x="484" y="113"/>
                      </a:lnTo>
                      <a:lnTo>
                        <a:pt x="481" y="109"/>
                      </a:lnTo>
                      <a:lnTo>
                        <a:pt x="481" y="109"/>
                      </a:lnTo>
                      <a:lnTo>
                        <a:pt x="474" y="104"/>
                      </a:lnTo>
                      <a:lnTo>
                        <a:pt x="474" y="102"/>
                      </a:lnTo>
                      <a:lnTo>
                        <a:pt x="474" y="102"/>
                      </a:lnTo>
                      <a:lnTo>
                        <a:pt x="481" y="99"/>
                      </a:lnTo>
                      <a:lnTo>
                        <a:pt x="481" y="99"/>
                      </a:lnTo>
                      <a:lnTo>
                        <a:pt x="486" y="99"/>
                      </a:lnTo>
                      <a:lnTo>
                        <a:pt x="489" y="102"/>
                      </a:lnTo>
                      <a:lnTo>
                        <a:pt x="491" y="108"/>
                      </a:lnTo>
                      <a:lnTo>
                        <a:pt x="494" y="109"/>
                      </a:lnTo>
                      <a:lnTo>
                        <a:pt x="500" y="111"/>
                      </a:lnTo>
                      <a:lnTo>
                        <a:pt x="500" y="111"/>
                      </a:lnTo>
                      <a:lnTo>
                        <a:pt x="505" y="113"/>
                      </a:lnTo>
                      <a:lnTo>
                        <a:pt x="503" y="115"/>
                      </a:lnTo>
                      <a:lnTo>
                        <a:pt x="503" y="116"/>
                      </a:lnTo>
                      <a:lnTo>
                        <a:pt x="503" y="116"/>
                      </a:lnTo>
                      <a:lnTo>
                        <a:pt x="512" y="122"/>
                      </a:lnTo>
                      <a:lnTo>
                        <a:pt x="512" y="122"/>
                      </a:lnTo>
                      <a:lnTo>
                        <a:pt x="510" y="115"/>
                      </a:lnTo>
                      <a:lnTo>
                        <a:pt x="508" y="111"/>
                      </a:lnTo>
                      <a:lnTo>
                        <a:pt x="505" y="108"/>
                      </a:lnTo>
                      <a:lnTo>
                        <a:pt x="501" y="108"/>
                      </a:lnTo>
                      <a:lnTo>
                        <a:pt x="494" y="106"/>
                      </a:lnTo>
                      <a:lnTo>
                        <a:pt x="493" y="104"/>
                      </a:lnTo>
                      <a:lnTo>
                        <a:pt x="493" y="101"/>
                      </a:lnTo>
                      <a:lnTo>
                        <a:pt x="493" y="101"/>
                      </a:lnTo>
                      <a:lnTo>
                        <a:pt x="493" y="99"/>
                      </a:lnTo>
                      <a:lnTo>
                        <a:pt x="493" y="97"/>
                      </a:lnTo>
                      <a:lnTo>
                        <a:pt x="489" y="95"/>
                      </a:lnTo>
                      <a:lnTo>
                        <a:pt x="489" y="94"/>
                      </a:lnTo>
                      <a:lnTo>
                        <a:pt x="491" y="92"/>
                      </a:lnTo>
                      <a:lnTo>
                        <a:pt x="501" y="85"/>
                      </a:lnTo>
                      <a:lnTo>
                        <a:pt x="501" y="85"/>
                      </a:lnTo>
                      <a:lnTo>
                        <a:pt x="507" y="83"/>
                      </a:lnTo>
                      <a:lnTo>
                        <a:pt x="514" y="82"/>
                      </a:lnTo>
                      <a:lnTo>
                        <a:pt x="517" y="82"/>
                      </a:lnTo>
                      <a:lnTo>
                        <a:pt x="519" y="83"/>
                      </a:lnTo>
                      <a:lnTo>
                        <a:pt x="519" y="85"/>
                      </a:lnTo>
                      <a:lnTo>
                        <a:pt x="517" y="90"/>
                      </a:lnTo>
                      <a:lnTo>
                        <a:pt x="517" y="90"/>
                      </a:lnTo>
                      <a:lnTo>
                        <a:pt x="515" y="94"/>
                      </a:lnTo>
                      <a:lnTo>
                        <a:pt x="515" y="97"/>
                      </a:lnTo>
                      <a:lnTo>
                        <a:pt x="517" y="97"/>
                      </a:lnTo>
                      <a:lnTo>
                        <a:pt x="521" y="95"/>
                      </a:lnTo>
                      <a:lnTo>
                        <a:pt x="521" y="95"/>
                      </a:lnTo>
                      <a:lnTo>
                        <a:pt x="522" y="92"/>
                      </a:lnTo>
                      <a:lnTo>
                        <a:pt x="522" y="92"/>
                      </a:lnTo>
                      <a:lnTo>
                        <a:pt x="522" y="89"/>
                      </a:lnTo>
                      <a:lnTo>
                        <a:pt x="524" y="83"/>
                      </a:lnTo>
                      <a:lnTo>
                        <a:pt x="524" y="83"/>
                      </a:lnTo>
                      <a:lnTo>
                        <a:pt x="531" y="75"/>
                      </a:lnTo>
                      <a:lnTo>
                        <a:pt x="533" y="75"/>
                      </a:lnTo>
                      <a:lnTo>
                        <a:pt x="535" y="76"/>
                      </a:lnTo>
                      <a:lnTo>
                        <a:pt x="535" y="76"/>
                      </a:lnTo>
                      <a:lnTo>
                        <a:pt x="535" y="76"/>
                      </a:lnTo>
                      <a:lnTo>
                        <a:pt x="536" y="76"/>
                      </a:lnTo>
                      <a:lnTo>
                        <a:pt x="538" y="73"/>
                      </a:lnTo>
                      <a:lnTo>
                        <a:pt x="540" y="73"/>
                      </a:lnTo>
                      <a:lnTo>
                        <a:pt x="541" y="76"/>
                      </a:lnTo>
                      <a:lnTo>
                        <a:pt x="541" y="76"/>
                      </a:lnTo>
                      <a:lnTo>
                        <a:pt x="541" y="83"/>
                      </a:lnTo>
                      <a:lnTo>
                        <a:pt x="540" y="92"/>
                      </a:lnTo>
                      <a:lnTo>
                        <a:pt x="536" y="102"/>
                      </a:lnTo>
                      <a:lnTo>
                        <a:pt x="529" y="115"/>
                      </a:lnTo>
                      <a:lnTo>
                        <a:pt x="529" y="115"/>
                      </a:lnTo>
                      <a:lnTo>
                        <a:pt x="536" y="109"/>
                      </a:lnTo>
                      <a:lnTo>
                        <a:pt x="541" y="104"/>
                      </a:lnTo>
                      <a:lnTo>
                        <a:pt x="545" y="99"/>
                      </a:lnTo>
                      <a:lnTo>
                        <a:pt x="547" y="94"/>
                      </a:lnTo>
                      <a:lnTo>
                        <a:pt x="547" y="87"/>
                      </a:lnTo>
                      <a:lnTo>
                        <a:pt x="548" y="85"/>
                      </a:lnTo>
                      <a:lnTo>
                        <a:pt x="550" y="85"/>
                      </a:lnTo>
                      <a:lnTo>
                        <a:pt x="550" y="85"/>
                      </a:lnTo>
                      <a:lnTo>
                        <a:pt x="561" y="76"/>
                      </a:lnTo>
                      <a:lnTo>
                        <a:pt x="566" y="73"/>
                      </a:lnTo>
                      <a:lnTo>
                        <a:pt x="568" y="73"/>
                      </a:lnTo>
                      <a:lnTo>
                        <a:pt x="568" y="75"/>
                      </a:lnTo>
                      <a:lnTo>
                        <a:pt x="568" y="75"/>
                      </a:lnTo>
                      <a:lnTo>
                        <a:pt x="566" y="76"/>
                      </a:lnTo>
                      <a:lnTo>
                        <a:pt x="568" y="78"/>
                      </a:lnTo>
                      <a:lnTo>
                        <a:pt x="569" y="78"/>
                      </a:lnTo>
                      <a:lnTo>
                        <a:pt x="573" y="76"/>
                      </a:lnTo>
                      <a:lnTo>
                        <a:pt x="573" y="75"/>
                      </a:lnTo>
                      <a:lnTo>
                        <a:pt x="573" y="73"/>
                      </a:lnTo>
                      <a:lnTo>
                        <a:pt x="573" y="73"/>
                      </a:lnTo>
                      <a:lnTo>
                        <a:pt x="571" y="71"/>
                      </a:lnTo>
                      <a:lnTo>
                        <a:pt x="573" y="69"/>
                      </a:lnTo>
                      <a:lnTo>
                        <a:pt x="578" y="69"/>
                      </a:lnTo>
                      <a:lnTo>
                        <a:pt x="587" y="75"/>
                      </a:lnTo>
                      <a:lnTo>
                        <a:pt x="587" y="75"/>
                      </a:lnTo>
                      <a:lnTo>
                        <a:pt x="601" y="85"/>
                      </a:lnTo>
                      <a:lnTo>
                        <a:pt x="602" y="87"/>
                      </a:lnTo>
                      <a:lnTo>
                        <a:pt x="601" y="83"/>
                      </a:lnTo>
                      <a:lnTo>
                        <a:pt x="601" y="83"/>
                      </a:lnTo>
                      <a:lnTo>
                        <a:pt x="595" y="76"/>
                      </a:lnTo>
                      <a:lnTo>
                        <a:pt x="595" y="75"/>
                      </a:lnTo>
                      <a:lnTo>
                        <a:pt x="597" y="73"/>
                      </a:lnTo>
                      <a:lnTo>
                        <a:pt x="597" y="73"/>
                      </a:lnTo>
                      <a:lnTo>
                        <a:pt x="599" y="71"/>
                      </a:lnTo>
                      <a:lnTo>
                        <a:pt x="597" y="69"/>
                      </a:lnTo>
                      <a:lnTo>
                        <a:pt x="594" y="69"/>
                      </a:lnTo>
                      <a:lnTo>
                        <a:pt x="592" y="68"/>
                      </a:lnTo>
                      <a:lnTo>
                        <a:pt x="592" y="68"/>
                      </a:lnTo>
                      <a:lnTo>
                        <a:pt x="588" y="66"/>
                      </a:lnTo>
                      <a:lnTo>
                        <a:pt x="585" y="64"/>
                      </a:lnTo>
                      <a:lnTo>
                        <a:pt x="582" y="64"/>
                      </a:lnTo>
                      <a:lnTo>
                        <a:pt x="580" y="62"/>
                      </a:lnTo>
                      <a:lnTo>
                        <a:pt x="580" y="62"/>
                      </a:lnTo>
                      <a:lnTo>
                        <a:pt x="580" y="61"/>
                      </a:lnTo>
                      <a:lnTo>
                        <a:pt x="578" y="61"/>
                      </a:lnTo>
                      <a:lnTo>
                        <a:pt x="573" y="59"/>
                      </a:lnTo>
                      <a:lnTo>
                        <a:pt x="573" y="57"/>
                      </a:lnTo>
                      <a:lnTo>
                        <a:pt x="573" y="57"/>
                      </a:lnTo>
                      <a:lnTo>
                        <a:pt x="576" y="52"/>
                      </a:lnTo>
                      <a:lnTo>
                        <a:pt x="576" y="52"/>
                      </a:lnTo>
                      <a:lnTo>
                        <a:pt x="582" y="52"/>
                      </a:lnTo>
                      <a:lnTo>
                        <a:pt x="585" y="52"/>
                      </a:lnTo>
                      <a:lnTo>
                        <a:pt x="588" y="54"/>
                      </a:lnTo>
                      <a:lnTo>
                        <a:pt x="590" y="57"/>
                      </a:lnTo>
                      <a:lnTo>
                        <a:pt x="594" y="61"/>
                      </a:lnTo>
                      <a:lnTo>
                        <a:pt x="594" y="57"/>
                      </a:lnTo>
                      <a:lnTo>
                        <a:pt x="594" y="57"/>
                      </a:lnTo>
                      <a:lnTo>
                        <a:pt x="595" y="50"/>
                      </a:lnTo>
                      <a:lnTo>
                        <a:pt x="595" y="50"/>
                      </a:lnTo>
                      <a:lnTo>
                        <a:pt x="597" y="50"/>
                      </a:lnTo>
                      <a:lnTo>
                        <a:pt x="602" y="52"/>
                      </a:lnTo>
                      <a:lnTo>
                        <a:pt x="606" y="52"/>
                      </a:lnTo>
                      <a:lnTo>
                        <a:pt x="606" y="52"/>
                      </a:lnTo>
                      <a:lnTo>
                        <a:pt x="608" y="52"/>
                      </a:lnTo>
                      <a:lnTo>
                        <a:pt x="609" y="52"/>
                      </a:lnTo>
                      <a:lnTo>
                        <a:pt x="611" y="54"/>
                      </a:lnTo>
                      <a:lnTo>
                        <a:pt x="615" y="54"/>
                      </a:lnTo>
                      <a:lnTo>
                        <a:pt x="615" y="54"/>
                      </a:lnTo>
                      <a:lnTo>
                        <a:pt x="620" y="54"/>
                      </a:lnTo>
                      <a:lnTo>
                        <a:pt x="629" y="55"/>
                      </a:lnTo>
                      <a:lnTo>
                        <a:pt x="634" y="59"/>
                      </a:lnTo>
                      <a:lnTo>
                        <a:pt x="635" y="61"/>
                      </a:lnTo>
                      <a:lnTo>
                        <a:pt x="634" y="64"/>
                      </a:lnTo>
                      <a:lnTo>
                        <a:pt x="634" y="64"/>
                      </a:lnTo>
                      <a:lnTo>
                        <a:pt x="634" y="66"/>
                      </a:lnTo>
                      <a:lnTo>
                        <a:pt x="634" y="68"/>
                      </a:lnTo>
                      <a:lnTo>
                        <a:pt x="639" y="71"/>
                      </a:lnTo>
                      <a:lnTo>
                        <a:pt x="646" y="71"/>
                      </a:lnTo>
                      <a:lnTo>
                        <a:pt x="649" y="71"/>
                      </a:lnTo>
                      <a:lnTo>
                        <a:pt x="649" y="71"/>
                      </a:lnTo>
                      <a:lnTo>
                        <a:pt x="651" y="71"/>
                      </a:lnTo>
                      <a:lnTo>
                        <a:pt x="649" y="69"/>
                      </a:lnTo>
                      <a:lnTo>
                        <a:pt x="644" y="68"/>
                      </a:lnTo>
                      <a:lnTo>
                        <a:pt x="641" y="66"/>
                      </a:lnTo>
                      <a:lnTo>
                        <a:pt x="641" y="64"/>
                      </a:lnTo>
                      <a:lnTo>
                        <a:pt x="642" y="64"/>
                      </a:lnTo>
                      <a:lnTo>
                        <a:pt x="642" y="64"/>
                      </a:lnTo>
                      <a:lnTo>
                        <a:pt x="644" y="62"/>
                      </a:lnTo>
                      <a:lnTo>
                        <a:pt x="644" y="61"/>
                      </a:lnTo>
                      <a:lnTo>
                        <a:pt x="642" y="59"/>
                      </a:lnTo>
                      <a:lnTo>
                        <a:pt x="642" y="57"/>
                      </a:lnTo>
                      <a:lnTo>
                        <a:pt x="642" y="57"/>
                      </a:lnTo>
                      <a:lnTo>
                        <a:pt x="644" y="55"/>
                      </a:lnTo>
                      <a:lnTo>
                        <a:pt x="648" y="54"/>
                      </a:lnTo>
                      <a:lnTo>
                        <a:pt x="648" y="54"/>
                      </a:lnTo>
                      <a:lnTo>
                        <a:pt x="653" y="50"/>
                      </a:lnTo>
                      <a:lnTo>
                        <a:pt x="653" y="48"/>
                      </a:lnTo>
                      <a:lnTo>
                        <a:pt x="656" y="45"/>
                      </a:lnTo>
                      <a:lnTo>
                        <a:pt x="667" y="40"/>
                      </a:lnTo>
                      <a:lnTo>
                        <a:pt x="667" y="40"/>
                      </a:lnTo>
                      <a:lnTo>
                        <a:pt x="674" y="35"/>
                      </a:lnTo>
                      <a:lnTo>
                        <a:pt x="677" y="31"/>
                      </a:lnTo>
                      <a:lnTo>
                        <a:pt x="679" y="29"/>
                      </a:lnTo>
                      <a:lnTo>
                        <a:pt x="681" y="28"/>
                      </a:lnTo>
                      <a:lnTo>
                        <a:pt x="681" y="26"/>
                      </a:lnTo>
                      <a:lnTo>
                        <a:pt x="686" y="28"/>
                      </a:lnTo>
                      <a:lnTo>
                        <a:pt x="686" y="28"/>
                      </a:lnTo>
                      <a:lnTo>
                        <a:pt x="695" y="29"/>
                      </a:lnTo>
                      <a:lnTo>
                        <a:pt x="696" y="29"/>
                      </a:lnTo>
                      <a:lnTo>
                        <a:pt x="693" y="28"/>
                      </a:lnTo>
                      <a:lnTo>
                        <a:pt x="686" y="24"/>
                      </a:lnTo>
                      <a:lnTo>
                        <a:pt x="686" y="24"/>
                      </a:lnTo>
                      <a:lnTo>
                        <a:pt x="679" y="21"/>
                      </a:lnTo>
                      <a:lnTo>
                        <a:pt x="677" y="17"/>
                      </a:lnTo>
                      <a:lnTo>
                        <a:pt x="681" y="15"/>
                      </a:lnTo>
                      <a:lnTo>
                        <a:pt x="686" y="17"/>
                      </a:lnTo>
                      <a:lnTo>
                        <a:pt x="686" y="17"/>
                      </a:lnTo>
                      <a:lnTo>
                        <a:pt x="689" y="21"/>
                      </a:lnTo>
                      <a:lnTo>
                        <a:pt x="691" y="19"/>
                      </a:lnTo>
                      <a:lnTo>
                        <a:pt x="691" y="15"/>
                      </a:lnTo>
                      <a:lnTo>
                        <a:pt x="689" y="12"/>
                      </a:lnTo>
                      <a:lnTo>
                        <a:pt x="689" y="12"/>
                      </a:lnTo>
                      <a:lnTo>
                        <a:pt x="688" y="10"/>
                      </a:lnTo>
                      <a:lnTo>
                        <a:pt x="689" y="8"/>
                      </a:lnTo>
                      <a:lnTo>
                        <a:pt x="693" y="8"/>
                      </a:lnTo>
                      <a:lnTo>
                        <a:pt x="696" y="10"/>
                      </a:lnTo>
                      <a:lnTo>
                        <a:pt x="696" y="10"/>
                      </a:lnTo>
                      <a:lnTo>
                        <a:pt x="698" y="12"/>
                      </a:lnTo>
                      <a:lnTo>
                        <a:pt x="702" y="10"/>
                      </a:lnTo>
                      <a:lnTo>
                        <a:pt x="703" y="10"/>
                      </a:lnTo>
                      <a:lnTo>
                        <a:pt x="707" y="10"/>
                      </a:lnTo>
                      <a:lnTo>
                        <a:pt x="707" y="10"/>
                      </a:lnTo>
                      <a:lnTo>
                        <a:pt x="710" y="15"/>
                      </a:lnTo>
                      <a:lnTo>
                        <a:pt x="712" y="19"/>
                      </a:lnTo>
                      <a:lnTo>
                        <a:pt x="714" y="19"/>
                      </a:lnTo>
                      <a:lnTo>
                        <a:pt x="714" y="19"/>
                      </a:lnTo>
                      <a:lnTo>
                        <a:pt x="716" y="14"/>
                      </a:lnTo>
                      <a:lnTo>
                        <a:pt x="716" y="14"/>
                      </a:lnTo>
                      <a:lnTo>
                        <a:pt x="717" y="8"/>
                      </a:lnTo>
                      <a:lnTo>
                        <a:pt x="719" y="8"/>
                      </a:lnTo>
                      <a:lnTo>
                        <a:pt x="723" y="12"/>
                      </a:lnTo>
                      <a:lnTo>
                        <a:pt x="724" y="14"/>
                      </a:lnTo>
                      <a:lnTo>
                        <a:pt x="730" y="14"/>
                      </a:lnTo>
                      <a:lnTo>
                        <a:pt x="730" y="14"/>
                      </a:lnTo>
                      <a:lnTo>
                        <a:pt x="735" y="14"/>
                      </a:lnTo>
                      <a:lnTo>
                        <a:pt x="736" y="15"/>
                      </a:lnTo>
                      <a:lnTo>
                        <a:pt x="735" y="15"/>
                      </a:lnTo>
                      <a:lnTo>
                        <a:pt x="719" y="29"/>
                      </a:lnTo>
                      <a:lnTo>
                        <a:pt x="719" y="29"/>
                      </a:lnTo>
                      <a:lnTo>
                        <a:pt x="712" y="36"/>
                      </a:lnTo>
                      <a:lnTo>
                        <a:pt x="712" y="38"/>
                      </a:lnTo>
                      <a:lnTo>
                        <a:pt x="712" y="40"/>
                      </a:lnTo>
                      <a:lnTo>
                        <a:pt x="714" y="42"/>
                      </a:lnTo>
                      <a:lnTo>
                        <a:pt x="710" y="47"/>
                      </a:lnTo>
                      <a:lnTo>
                        <a:pt x="710" y="47"/>
                      </a:lnTo>
                      <a:lnTo>
                        <a:pt x="709" y="48"/>
                      </a:lnTo>
                      <a:lnTo>
                        <a:pt x="709" y="50"/>
                      </a:lnTo>
                      <a:lnTo>
                        <a:pt x="709" y="52"/>
                      </a:lnTo>
                      <a:lnTo>
                        <a:pt x="705" y="57"/>
                      </a:lnTo>
                      <a:lnTo>
                        <a:pt x="705" y="57"/>
                      </a:lnTo>
                      <a:lnTo>
                        <a:pt x="702" y="62"/>
                      </a:lnTo>
                      <a:lnTo>
                        <a:pt x="702" y="64"/>
                      </a:lnTo>
                      <a:lnTo>
                        <a:pt x="702" y="66"/>
                      </a:lnTo>
                      <a:lnTo>
                        <a:pt x="705" y="64"/>
                      </a:lnTo>
                      <a:lnTo>
                        <a:pt x="705" y="64"/>
                      </a:lnTo>
                      <a:lnTo>
                        <a:pt x="707" y="62"/>
                      </a:lnTo>
                      <a:lnTo>
                        <a:pt x="710" y="64"/>
                      </a:lnTo>
                      <a:lnTo>
                        <a:pt x="712" y="64"/>
                      </a:lnTo>
                      <a:lnTo>
                        <a:pt x="717" y="59"/>
                      </a:lnTo>
                      <a:lnTo>
                        <a:pt x="717" y="59"/>
                      </a:lnTo>
                      <a:lnTo>
                        <a:pt x="721" y="54"/>
                      </a:lnTo>
                      <a:lnTo>
                        <a:pt x="721" y="50"/>
                      </a:lnTo>
                      <a:lnTo>
                        <a:pt x="721" y="47"/>
                      </a:lnTo>
                      <a:lnTo>
                        <a:pt x="726" y="42"/>
                      </a:lnTo>
                      <a:lnTo>
                        <a:pt x="726" y="42"/>
                      </a:lnTo>
                      <a:lnTo>
                        <a:pt x="747" y="21"/>
                      </a:lnTo>
                      <a:lnTo>
                        <a:pt x="756" y="14"/>
                      </a:lnTo>
                      <a:lnTo>
                        <a:pt x="759" y="10"/>
                      </a:lnTo>
                      <a:lnTo>
                        <a:pt x="763" y="10"/>
                      </a:lnTo>
                      <a:lnTo>
                        <a:pt x="763" y="10"/>
                      </a:lnTo>
                      <a:lnTo>
                        <a:pt x="764" y="12"/>
                      </a:lnTo>
                      <a:lnTo>
                        <a:pt x="764" y="14"/>
                      </a:lnTo>
                      <a:lnTo>
                        <a:pt x="763" y="21"/>
                      </a:lnTo>
                      <a:lnTo>
                        <a:pt x="761" y="26"/>
                      </a:lnTo>
                      <a:lnTo>
                        <a:pt x="761" y="29"/>
                      </a:lnTo>
                      <a:lnTo>
                        <a:pt x="761" y="29"/>
                      </a:lnTo>
                      <a:lnTo>
                        <a:pt x="761" y="35"/>
                      </a:lnTo>
                      <a:lnTo>
                        <a:pt x="757" y="42"/>
                      </a:lnTo>
                      <a:lnTo>
                        <a:pt x="757" y="47"/>
                      </a:lnTo>
                      <a:lnTo>
                        <a:pt x="757" y="47"/>
                      </a:lnTo>
                      <a:lnTo>
                        <a:pt x="761" y="45"/>
                      </a:lnTo>
                      <a:lnTo>
                        <a:pt x="761" y="45"/>
                      </a:lnTo>
                      <a:lnTo>
                        <a:pt x="770" y="42"/>
                      </a:lnTo>
                      <a:lnTo>
                        <a:pt x="773" y="42"/>
                      </a:lnTo>
                      <a:lnTo>
                        <a:pt x="775" y="40"/>
                      </a:lnTo>
                      <a:lnTo>
                        <a:pt x="773" y="36"/>
                      </a:lnTo>
                      <a:lnTo>
                        <a:pt x="773" y="36"/>
                      </a:lnTo>
                      <a:lnTo>
                        <a:pt x="773" y="33"/>
                      </a:lnTo>
                      <a:lnTo>
                        <a:pt x="775" y="31"/>
                      </a:lnTo>
                      <a:lnTo>
                        <a:pt x="777" y="29"/>
                      </a:lnTo>
                      <a:lnTo>
                        <a:pt x="778" y="28"/>
                      </a:lnTo>
                      <a:lnTo>
                        <a:pt x="778" y="28"/>
                      </a:lnTo>
                      <a:lnTo>
                        <a:pt x="778" y="24"/>
                      </a:lnTo>
                      <a:lnTo>
                        <a:pt x="782" y="24"/>
                      </a:lnTo>
                      <a:lnTo>
                        <a:pt x="785" y="22"/>
                      </a:lnTo>
                      <a:lnTo>
                        <a:pt x="785" y="19"/>
                      </a:lnTo>
                      <a:lnTo>
                        <a:pt x="785" y="19"/>
                      </a:lnTo>
                      <a:lnTo>
                        <a:pt x="789" y="17"/>
                      </a:lnTo>
                      <a:lnTo>
                        <a:pt x="790" y="15"/>
                      </a:lnTo>
                      <a:lnTo>
                        <a:pt x="785" y="14"/>
                      </a:lnTo>
                      <a:lnTo>
                        <a:pt x="785" y="14"/>
                      </a:lnTo>
                      <a:lnTo>
                        <a:pt x="782" y="14"/>
                      </a:lnTo>
                      <a:lnTo>
                        <a:pt x="780" y="12"/>
                      </a:lnTo>
                      <a:lnTo>
                        <a:pt x="780" y="10"/>
                      </a:lnTo>
                      <a:lnTo>
                        <a:pt x="780" y="8"/>
                      </a:lnTo>
                      <a:lnTo>
                        <a:pt x="784" y="5"/>
                      </a:lnTo>
                      <a:lnTo>
                        <a:pt x="785" y="5"/>
                      </a:lnTo>
                      <a:lnTo>
                        <a:pt x="789" y="7"/>
                      </a:lnTo>
                      <a:lnTo>
                        <a:pt x="789" y="7"/>
                      </a:lnTo>
                      <a:lnTo>
                        <a:pt x="790" y="7"/>
                      </a:lnTo>
                      <a:lnTo>
                        <a:pt x="792" y="7"/>
                      </a:lnTo>
                      <a:lnTo>
                        <a:pt x="794" y="3"/>
                      </a:lnTo>
                      <a:lnTo>
                        <a:pt x="796" y="0"/>
                      </a:lnTo>
                      <a:lnTo>
                        <a:pt x="797" y="0"/>
                      </a:lnTo>
                      <a:lnTo>
                        <a:pt x="801" y="1"/>
                      </a:lnTo>
                      <a:lnTo>
                        <a:pt x="801" y="1"/>
                      </a:lnTo>
                      <a:lnTo>
                        <a:pt x="803" y="3"/>
                      </a:lnTo>
                      <a:lnTo>
                        <a:pt x="806" y="5"/>
                      </a:lnTo>
                      <a:lnTo>
                        <a:pt x="811" y="3"/>
                      </a:lnTo>
                      <a:lnTo>
                        <a:pt x="817" y="3"/>
                      </a:lnTo>
                      <a:lnTo>
                        <a:pt x="817" y="3"/>
                      </a:lnTo>
                      <a:lnTo>
                        <a:pt x="817" y="5"/>
                      </a:lnTo>
                      <a:lnTo>
                        <a:pt x="817" y="5"/>
                      </a:lnTo>
                      <a:lnTo>
                        <a:pt x="818" y="7"/>
                      </a:lnTo>
                      <a:lnTo>
                        <a:pt x="818" y="8"/>
                      </a:lnTo>
                      <a:lnTo>
                        <a:pt x="822" y="8"/>
                      </a:lnTo>
                      <a:lnTo>
                        <a:pt x="827" y="7"/>
                      </a:lnTo>
                      <a:lnTo>
                        <a:pt x="829" y="8"/>
                      </a:lnTo>
                      <a:lnTo>
                        <a:pt x="829" y="10"/>
                      </a:lnTo>
                      <a:lnTo>
                        <a:pt x="829" y="10"/>
                      </a:lnTo>
                      <a:lnTo>
                        <a:pt x="829" y="12"/>
                      </a:lnTo>
                      <a:lnTo>
                        <a:pt x="827" y="14"/>
                      </a:lnTo>
                      <a:lnTo>
                        <a:pt x="822" y="17"/>
                      </a:lnTo>
                      <a:lnTo>
                        <a:pt x="815" y="19"/>
                      </a:lnTo>
                      <a:lnTo>
                        <a:pt x="813" y="21"/>
                      </a:lnTo>
                      <a:lnTo>
                        <a:pt x="813" y="21"/>
                      </a:lnTo>
                      <a:lnTo>
                        <a:pt x="811" y="26"/>
                      </a:lnTo>
                      <a:lnTo>
                        <a:pt x="813" y="26"/>
                      </a:lnTo>
                      <a:lnTo>
                        <a:pt x="818" y="24"/>
                      </a:lnTo>
                      <a:lnTo>
                        <a:pt x="818" y="24"/>
                      </a:lnTo>
                      <a:lnTo>
                        <a:pt x="822" y="26"/>
                      </a:lnTo>
                      <a:lnTo>
                        <a:pt x="820" y="28"/>
                      </a:lnTo>
                      <a:lnTo>
                        <a:pt x="817" y="31"/>
                      </a:lnTo>
                      <a:lnTo>
                        <a:pt x="811" y="35"/>
                      </a:lnTo>
                      <a:lnTo>
                        <a:pt x="811" y="35"/>
                      </a:lnTo>
                      <a:lnTo>
                        <a:pt x="806" y="38"/>
                      </a:lnTo>
                      <a:lnTo>
                        <a:pt x="806" y="40"/>
                      </a:lnTo>
                      <a:lnTo>
                        <a:pt x="810" y="42"/>
                      </a:lnTo>
                      <a:lnTo>
                        <a:pt x="815" y="40"/>
                      </a:lnTo>
                      <a:lnTo>
                        <a:pt x="815" y="40"/>
                      </a:lnTo>
                      <a:lnTo>
                        <a:pt x="818" y="40"/>
                      </a:lnTo>
                      <a:lnTo>
                        <a:pt x="820" y="40"/>
                      </a:lnTo>
                      <a:lnTo>
                        <a:pt x="825" y="42"/>
                      </a:lnTo>
                      <a:lnTo>
                        <a:pt x="827" y="43"/>
                      </a:lnTo>
                      <a:lnTo>
                        <a:pt x="825" y="38"/>
                      </a:lnTo>
                      <a:lnTo>
                        <a:pt x="825" y="38"/>
                      </a:lnTo>
                      <a:lnTo>
                        <a:pt x="825" y="29"/>
                      </a:lnTo>
                      <a:lnTo>
                        <a:pt x="827" y="24"/>
                      </a:lnTo>
                      <a:lnTo>
                        <a:pt x="829" y="21"/>
                      </a:lnTo>
                      <a:lnTo>
                        <a:pt x="832" y="17"/>
                      </a:lnTo>
                      <a:lnTo>
                        <a:pt x="837" y="15"/>
                      </a:lnTo>
                      <a:lnTo>
                        <a:pt x="843" y="15"/>
                      </a:lnTo>
                      <a:lnTo>
                        <a:pt x="848" y="15"/>
                      </a:lnTo>
                      <a:lnTo>
                        <a:pt x="848" y="15"/>
                      </a:lnTo>
                      <a:lnTo>
                        <a:pt x="853" y="17"/>
                      </a:lnTo>
                      <a:lnTo>
                        <a:pt x="857" y="21"/>
                      </a:lnTo>
                      <a:lnTo>
                        <a:pt x="857" y="22"/>
                      </a:lnTo>
                      <a:lnTo>
                        <a:pt x="857" y="24"/>
                      </a:lnTo>
                      <a:lnTo>
                        <a:pt x="857" y="26"/>
                      </a:lnTo>
                      <a:lnTo>
                        <a:pt x="864" y="26"/>
                      </a:lnTo>
                      <a:lnTo>
                        <a:pt x="864" y="26"/>
                      </a:lnTo>
                      <a:lnTo>
                        <a:pt x="871" y="24"/>
                      </a:lnTo>
                      <a:lnTo>
                        <a:pt x="872" y="26"/>
                      </a:lnTo>
                      <a:lnTo>
                        <a:pt x="872" y="28"/>
                      </a:lnTo>
                      <a:lnTo>
                        <a:pt x="878" y="26"/>
                      </a:lnTo>
                      <a:lnTo>
                        <a:pt x="878" y="26"/>
                      </a:lnTo>
                      <a:lnTo>
                        <a:pt x="881" y="26"/>
                      </a:lnTo>
                      <a:lnTo>
                        <a:pt x="883" y="26"/>
                      </a:lnTo>
                      <a:lnTo>
                        <a:pt x="888" y="29"/>
                      </a:lnTo>
                      <a:lnTo>
                        <a:pt x="890" y="33"/>
                      </a:lnTo>
                      <a:lnTo>
                        <a:pt x="893" y="35"/>
                      </a:lnTo>
                      <a:lnTo>
                        <a:pt x="897" y="35"/>
                      </a:lnTo>
                      <a:lnTo>
                        <a:pt x="897" y="35"/>
                      </a:lnTo>
                      <a:lnTo>
                        <a:pt x="900" y="36"/>
                      </a:lnTo>
                      <a:lnTo>
                        <a:pt x="902" y="40"/>
                      </a:lnTo>
                      <a:lnTo>
                        <a:pt x="905" y="42"/>
                      </a:lnTo>
                      <a:lnTo>
                        <a:pt x="911" y="43"/>
                      </a:lnTo>
                      <a:lnTo>
                        <a:pt x="911" y="43"/>
                      </a:lnTo>
                      <a:lnTo>
                        <a:pt x="914" y="43"/>
                      </a:lnTo>
                      <a:lnTo>
                        <a:pt x="916" y="45"/>
                      </a:lnTo>
                      <a:lnTo>
                        <a:pt x="918" y="47"/>
                      </a:lnTo>
                      <a:lnTo>
                        <a:pt x="918" y="48"/>
                      </a:lnTo>
                      <a:lnTo>
                        <a:pt x="916" y="52"/>
                      </a:lnTo>
                      <a:lnTo>
                        <a:pt x="914" y="54"/>
                      </a:lnTo>
                      <a:lnTo>
                        <a:pt x="911" y="54"/>
                      </a:lnTo>
                      <a:lnTo>
                        <a:pt x="907" y="54"/>
                      </a:lnTo>
                      <a:lnTo>
                        <a:pt x="907" y="54"/>
                      </a:lnTo>
                      <a:lnTo>
                        <a:pt x="902" y="54"/>
                      </a:lnTo>
                      <a:lnTo>
                        <a:pt x="898" y="55"/>
                      </a:lnTo>
                      <a:lnTo>
                        <a:pt x="891" y="61"/>
                      </a:lnTo>
                      <a:lnTo>
                        <a:pt x="886" y="64"/>
                      </a:lnTo>
                      <a:lnTo>
                        <a:pt x="881" y="66"/>
                      </a:lnTo>
                      <a:lnTo>
                        <a:pt x="872" y="66"/>
                      </a:lnTo>
                      <a:lnTo>
                        <a:pt x="864" y="64"/>
                      </a:lnTo>
                      <a:lnTo>
                        <a:pt x="864" y="64"/>
                      </a:lnTo>
                      <a:lnTo>
                        <a:pt x="844" y="61"/>
                      </a:lnTo>
                      <a:lnTo>
                        <a:pt x="834" y="61"/>
                      </a:lnTo>
                      <a:lnTo>
                        <a:pt x="831" y="62"/>
                      </a:lnTo>
                      <a:lnTo>
                        <a:pt x="834" y="64"/>
                      </a:lnTo>
                      <a:lnTo>
                        <a:pt x="834" y="64"/>
                      </a:lnTo>
                      <a:lnTo>
                        <a:pt x="839" y="64"/>
                      </a:lnTo>
                      <a:lnTo>
                        <a:pt x="844" y="66"/>
                      </a:lnTo>
                      <a:lnTo>
                        <a:pt x="850" y="69"/>
                      </a:lnTo>
                      <a:lnTo>
                        <a:pt x="858" y="71"/>
                      </a:lnTo>
                      <a:lnTo>
                        <a:pt x="858" y="71"/>
                      </a:lnTo>
                      <a:lnTo>
                        <a:pt x="864" y="71"/>
                      </a:lnTo>
                      <a:lnTo>
                        <a:pt x="867" y="73"/>
                      </a:lnTo>
                      <a:lnTo>
                        <a:pt x="869" y="75"/>
                      </a:lnTo>
                      <a:lnTo>
                        <a:pt x="871" y="76"/>
                      </a:lnTo>
                      <a:lnTo>
                        <a:pt x="871" y="82"/>
                      </a:lnTo>
                      <a:lnTo>
                        <a:pt x="869" y="85"/>
                      </a:lnTo>
                      <a:lnTo>
                        <a:pt x="869" y="85"/>
                      </a:lnTo>
                      <a:lnTo>
                        <a:pt x="867" y="87"/>
                      </a:lnTo>
                      <a:lnTo>
                        <a:pt x="869" y="89"/>
                      </a:lnTo>
                      <a:lnTo>
                        <a:pt x="878" y="87"/>
                      </a:lnTo>
                      <a:lnTo>
                        <a:pt x="878" y="87"/>
                      </a:lnTo>
                      <a:lnTo>
                        <a:pt x="883" y="85"/>
                      </a:lnTo>
                      <a:lnTo>
                        <a:pt x="884" y="82"/>
                      </a:lnTo>
                      <a:lnTo>
                        <a:pt x="888" y="78"/>
                      </a:lnTo>
                      <a:lnTo>
                        <a:pt x="890" y="80"/>
                      </a:lnTo>
                      <a:lnTo>
                        <a:pt x="890" y="80"/>
                      </a:lnTo>
                      <a:lnTo>
                        <a:pt x="893" y="83"/>
                      </a:lnTo>
                      <a:lnTo>
                        <a:pt x="897" y="83"/>
                      </a:lnTo>
                      <a:lnTo>
                        <a:pt x="902" y="83"/>
                      </a:lnTo>
                      <a:lnTo>
                        <a:pt x="909" y="83"/>
                      </a:lnTo>
                      <a:lnTo>
                        <a:pt x="909" y="83"/>
                      </a:lnTo>
                      <a:lnTo>
                        <a:pt x="912" y="90"/>
                      </a:lnTo>
                      <a:lnTo>
                        <a:pt x="912" y="90"/>
                      </a:lnTo>
                      <a:lnTo>
                        <a:pt x="912" y="94"/>
                      </a:lnTo>
                      <a:lnTo>
                        <a:pt x="912" y="97"/>
                      </a:lnTo>
                      <a:lnTo>
                        <a:pt x="911" y="99"/>
                      </a:lnTo>
                      <a:lnTo>
                        <a:pt x="909" y="99"/>
                      </a:lnTo>
                      <a:lnTo>
                        <a:pt x="902" y="99"/>
                      </a:lnTo>
                      <a:lnTo>
                        <a:pt x="895" y="97"/>
                      </a:lnTo>
                      <a:lnTo>
                        <a:pt x="895" y="97"/>
                      </a:lnTo>
                      <a:lnTo>
                        <a:pt x="888" y="94"/>
                      </a:lnTo>
                      <a:lnTo>
                        <a:pt x="886" y="95"/>
                      </a:lnTo>
                      <a:lnTo>
                        <a:pt x="884" y="99"/>
                      </a:lnTo>
                      <a:lnTo>
                        <a:pt x="884" y="99"/>
                      </a:lnTo>
                      <a:lnTo>
                        <a:pt x="881" y="102"/>
                      </a:lnTo>
                      <a:lnTo>
                        <a:pt x="878" y="104"/>
                      </a:lnTo>
                      <a:lnTo>
                        <a:pt x="867" y="108"/>
                      </a:lnTo>
                      <a:lnTo>
                        <a:pt x="858" y="111"/>
                      </a:lnTo>
                      <a:lnTo>
                        <a:pt x="855" y="115"/>
                      </a:lnTo>
                      <a:lnTo>
                        <a:pt x="853" y="118"/>
                      </a:lnTo>
                      <a:lnTo>
                        <a:pt x="853" y="118"/>
                      </a:lnTo>
                      <a:lnTo>
                        <a:pt x="853" y="125"/>
                      </a:lnTo>
                      <a:lnTo>
                        <a:pt x="851" y="130"/>
                      </a:lnTo>
                      <a:lnTo>
                        <a:pt x="848" y="130"/>
                      </a:lnTo>
                      <a:lnTo>
                        <a:pt x="843" y="130"/>
                      </a:lnTo>
                      <a:lnTo>
                        <a:pt x="843" y="130"/>
                      </a:lnTo>
                      <a:close/>
                      <a:moveTo>
                        <a:pt x="320" y="176"/>
                      </a:moveTo>
                      <a:lnTo>
                        <a:pt x="320" y="176"/>
                      </a:lnTo>
                      <a:lnTo>
                        <a:pt x="322" y="174"/>
                      </a:lnTo>
                      <a:lnTo>
                        <a:pt x="324" y="174"/>
                      </a:lnTo>
                      <a:lnTo>
                        <a:pt x="326" y="176"/>
                      </a:lnTo>
                      <a:lnTo>
                        <a:pt x="326" y="177"/>
                      </a:lnTo>
                      <a:lnTo>
                        <a:pt x="326" y="177"/>
                      </a:lnTo>
                      <a:lnTo>
                        <a:pt x="324" y="179"/>
                      </a:lnTo>
                      <a:lnTo>
                        <a:pt x="322" y="179"/>
                      </a:lnTo>
                      <a:lnTo>
                        <a:pt x="320" y="177"/>
                      </a:lnTo>
                      <a:lnTo>
                        <a:pt x="320" y="176"/>
                      </a:lnTo>
                      <a:lnTo>
                        <a:pt x="320" y="176"/>
                      </a:lnTo>
                      <a:close/>
                      <a:moveTo>
                        <a:pt x="508" y="59"/>
                      </a:moveTo>
                      <a:lnTo>
                        <a:pt x="508" y="59"/>
                      </a:lnTo>
                      <a:lnTo>
                        <a:pt x="512" y="59"/>
                      </a:lnTo>
                      <a:lnTo>
                        <a:pt x="514" y="59"/>
                      </a:lnTo>
                      <a:lnTo>
                        <a:pt x="517" y="61"/>
                      </a:lnTo>
                      <a:lnTo>
                        <a:pt x="517" y="62"/>
                      </a:lnTo>
                      <a:lnTo>
                        <a:pt x="517" y="62"/>
                      </a:lnTo>
                      <a:lnTo>
                        <a:pt x="515" y="62"/>
                      </a:lnTo>
                      <a:lnTo>
                        <a:pt x="512" y="62"/>
                      </a:lnTo>
                      <a:lnTo>
                        <a:pt x="508" y="61"/>
                      </a:lnTo>
                      <a:lnTo>
                        <a:pt x="508" y="59"/>
                      </a:lnTo>
                      <a:lnTo>
                        <a:pt x="508" y="59"/>
                      </a:lnTo>
                      <a:close/>
                      <a:moveTo>
                        <a:pt x="399" y="134"/>
                      </a:moveTo>
                      <a:lnTo>
                        <a:pt x="399" y="134"/>
                      </a:lnTo>
                      <a:lnTo>
                        <a:pt x="402" y="134"/>
                      </a:lnTo>
                      <a:lnTo>
                        <a:pt x="406" y="134"/>
                      </a:lnTo>
                      <a:lnTo>
                        <a:pt x="409" y="136"/>
                      </a:lnTo>
                      <a:lnTo>
                        <a:pt x="409" y="137"/>
                      </a:lnTo>
                      <a:lnTo>
                        <a:pt x="409" y="137"/>
                      </a:lnTo>
                      <a:lnTo>
                        <a:pt x="409" y="137"/>
                      </a:lnTo>
                      <a:lnTo>
                        <a:pt x="406" y="139"/>
                      </a:lnTo>
                      <a:lnTo>
                        <a:pt x="402" y="137"/>
                      </a:lnTo>
                      <a:lnTo>
                        <a:pt x="399" y="136"/>
                      </a:lnTo>
                      <a:lnTo>
                        <a:pt x="399" y="134"/>
                      </a:lnTo>
                      <a:lnTo>
                        <a:pt x="399" y="134"/>
                      </a:lnTo>
                      <a:close/>
                      <a:moveTo>
                        <a:pt x="355" y="200"/>
                      </a:moveTo>
                      <a:lnTo>
                        <a:pt x="355" y="200"/>
                      </a:lnTo>
                      <a:lnTo>
                        <a:pt x="352" y="200"/>
                      </a:lnTo>
                      <a:lnTo>
                        <a:pt x="352" y="196"/>
                      </a:lnTo>
                      <a:lnTo>
                        <a:pt x="353" y="195"/>
                      </a:lnTo>
                      <a:lnTo>
                        <a:pt x="355" y="195"/>
                      </a:lnTo>
                      <a:lnTo>
                        <a:pt x="355" y="195"/>
                      </a:lnTo>
                      <a:lnTo>
                        <a:pt x="359" y="198"/>
                      </a:lnTo>
                      <a:lnTo>
                        <a:pt x="359" y="198"/>
                      </a:lnTo>
                      <a:lnTo>
                        <a:pt x="355" y="200"/>
                      </a:lnTo>
                      <a:lnTo>
                        <a:pt x="355" y="200"/>
                      </a:lnTo>
                      <a:close/>
                      <a:moveTo>
                        <a:pt x="418" y="146"/>
                      </a:moveTo>
                      <a:lnTo>
                        <a:pt x="418" y="146"/>
                      </a:lnTo>
                      <a:lnTo>
                        <a:pt x="420" y="144"/>
                      </a:lnTo>
                      <a:lnTo>
                        <a:pt x="421" y="144"/>
                      </a:lnTo>
                      <a:lnTo>
                        <a:pt x="427" y="144"/>
                      </a:lnTo>
                      <a:lnTo>
                        <a:pt x="428" y="146"/>
                      </a:lnTo>
                      <a:lnTo>
                        <a:pt x="428" y="148"/>
                      </a:lnTo>
                      <a:lnTo>
                        <a:pt x="427" y="148"/>
                      </a:lnTo>
                      <a:lnTo>
                        <a:pt x="427" y="148"/>
                      </a:lnTo>
                      <a:lnTo>
                        <a:pt x="420" y="149"/>
                      </a:lnTo>
                      <a:lnTo>
                        <a:pt x="418" y="148"/>
                      </a:lnTo>
                      <a:lnTo>
                        <a:pt x="418" y="146"/>
                      </a:lnTo>
                      <a:lnTo>
                        <a:pt x="418" y="146"/>
                      </a:lnTo>
                      <a:close/>
                      <a:moveTo>
                        <a:pt x="430" y="141"/>
                      </a:moveTo>
                      <a:lnTo>
                        <a:pt x="430" y="141"/>
                      </a:lnTo>
                      <a:lnTo>
                        <a:pt x="430" y="139"/>
                      </a:lnTo>
                      <a:lnTo>
                        <a:pt x="430" y="137"/>
                      </a:lnTo>
                      <a:lnTo>
                        <a:pt x="434" y="136"/>
                      </a:lnTo>
                      <a:lnTo>
                        <a:pt x="437" y="137"/>
                      </a:lnTo>
                      <a:lnTo>
                        <a:pt x="437" y="137"/>
                      </a:lnTo>
                      <a:lnTo>
                        <a:pt x="439" y="139"/>
                      </a:lnTo>
                      <a:lnTo>
                        <a:pt x="437" y="141"/>
                      </a:lnTo>
                      <a:lnTo>
                        <a:pt x="434" y="141"/>
                      </a:lnTo>
                      <a:lnTo>
                        <a:pt x="430" y="141"/>
                      </a:lnTo>
                      <a:lnTo>
                        <a:pt x="430" y="141"/>
                      </a:lnTo>
                      <a:close/>
                      <a:moveTo>
                        <a:pt x="484" y="66"/>
                      </a:moveTo>
                      <a:lnTo>
                        <a:pt x="484" y="66"/>
                      </a:lnTo>
                      <a:lnTo>
                        <a:pt x="484" y="64"/>
                      </a:lnTo>
                      <a:lnTo>
                        <a:pt x="486" y="62"/>
                      </a:lnTo>
                      <a:lnTo>
                        <a:pt x="487" y="62"/>
                      </a:lnTo>
                      <a:lnTo>
                        <a:pt x="487" y="62"/>
                      </a:lnTo>
                      <a:lnTo>
                        <a:pt x="489" y="62"/>
                      </a:lnTo>
                      <a:lnTo>
                        <a:pt x="491" y="62"/>
                      </a:lnTo>
                      <a:lnTo>
                        <a:pt x="493" y="61"/>
                      </a:lnTo>
                      <a:lnTo>
                        <a:pt x="494" y="62"/>
                      </a:lnTo>
                      <a:lnTo>
                        <a:pt x="494" y="62"/>
                      </a:lnTo>
                      <a:lnTo>
                        <a:pt x="493" y="64"/>
                      </a:lnTo>
                      <a:lnTo>
                        <a:pt x="489" y="68"/>
                      </a:lnTo>
                      <a:lnTo>
                        <a:pt x="486" y="68"/>
                      </a:lnTo>
                      <a:lnTo>
                        <a:pt x="484" y="68"/>
                      </a:lnTo>
                      <a:lnTo>
                        <a:pt x="484" y="66"/>
                      </a:lnTo>
                      <a:lnTo>
                        <a:pt x="484" y="66"/>
                      </a:lnTo>
                      <a:close/>
                      <a:moveTo>
                        <a:pt x="500" y="61"/>
                      </a:moveTo>
                      <a:lnTo>
                        <a:pt x="500" y="61"/>
                      </a:lnTo>
                      <a:lnTo>
                        <a:pt x="498" y="61"/>
                      </a:lnTo>
                      <a:lnTo>
                        <a:pt x="498" y="59"/>
                      </a:lnTo>
                      <a:lnTo>
                        <a:pt x="500" y="55"/>
                      </a:lnTo>
                      <a:lnTo>
                        <a:pt x="501" y="54"/>
                      </a:lnTo>
                      <a:lnTo>
                        <a:pt x="505" y="54"/>
                      </a:lnTo>
                      <a:lnTo>
                        <a:pt x="505" y="54"/>
                      </a:lnTo>
                      <a:lnTo>
                        <a:pt x="505" y="55"/>
                      </a:lnTo>
                      <a:lnTo>
                        <a:pt x="505" y="57"/>
                      </a:lnTo>
                      <a:lnTo>
                        <a:pt x="503" y="61"/>
                      </a:lnTo>
                      <a:lnTo>
                        <a:pt x="500" y="61"/>
                      </a:lnTo>
                      <a:lnTo>
                        <a:pt x="500" y="61"/>
                      </a:lnTo>
                      <a:close/>
                      <a:moveTo>
                        <a:pt x="515" y="76"/>
                      </a:moveTo>
                      <a:lnTo>
                        <a:pt x="515" y="76"/>
                      </a:lnTo>
                      <a:lnTo>
                        <a:pt x="519" y="73"/>
                      </a:lnTo>
                      <a:lnTo>
                        <a:pt x="522" y="71"/>
                      </a:lnTo>
                      <a:lnTo>
                        <a:pt x="526" y="69"/>
                      </a:lnTo>
                      <a:lnTo>
                        <a:pt x="528" y="71"/>
                      </a:lnTo>
                      <a:lnTo>
                        <a:pt x="528" y="71"/>
                      </a:lnTo>
                      <a:lnTo>
                        <a:pt x="524" y="75"/>
                      </a:lnTo>
                      <a:lnTo>
                        <a:pt x="521" y="76"/>
                      </a:lnTo>
                      <a:lnTo>
                        <a:pt x="517" y="78"/>
                      </a:lnTo>
                      <a:lnTo>
                        <a:pt x="515" y="78"/>
                      </a:lnTo>
                      <a:lnTo>
                        <a:pt x="515" y="76"/>
                      </a:lnTo>
                      <a:lnTo>
                        <a:pt x="515" y="76"/>
                      </a:lnTo>
                      <a:close/>
                      <a:moveTo>
                        <a:pt x="559" y="68"/>
                      </a:moveTo>
                      <a:lnTo>
                        <a:pt x="559" y="68"/>
                      </a:lnTo>
                      <a:lnTo>
                        <a:pt x="562" y="66"/>
                      </a:lnTo>
                      <a:lnTo>
                        <a:pt x="564" y="68"/>
                      </a:lnTo>
                      <a:lnTo>
                        <a:pt x="568" y="69"/>
                      </a:lnTo>
                      <a:lnTo>
                        <a:pt x="566" y="71"/>
                      </a:lnTo>
                      <a:lnTo>
                        <a:pt x="566" y="71"/>
                      </a:lnTo>
                      <a:lnTo>
                        <a:pt x="566" y="71"/>
                      </a:lnTo>
                      <a:lnTo>
                        <a:pt x="561" y="71"/>
                      </a:lnTo>
                      <a:lnTo>
                        <a:pt x="559" y="71"/>
                      </a:lnTo>
                      <a:lnTo>
                        <a:pt x="559" y="68"/>
                      </a:lnTo>
                      <a:lnTo>
                        <a:pt x="559" y="68"/>
                      </a:lnTo>
                      <a:close/>
                      <a:moveTo>
                        <a:pt x="555" y="73"/>
                      </a:moveTo>
                      <a:lnTo>
                        <a:pt x="555" y="73"/>
                      </a:lnTo>
                      <a:lnTo>
                        <a:pt x="557" y="75"/>
                      </a:lnTo>
                      <a:lnTo>
                        <a:pt x="555" y="78"/>
                      </a:lnTo>
                      <a:lnTo>
                        <a:pt x="552" y="82"/>
                      </a:lnTo>
                      <a:lnTo>
                        <a:pt x="552" y="82"/>
                      </a:lnTo>
                      <a:lnTo>
                        <a:pt x="550" y="82"/>
                      </a:lnTo>
                      <a:lnTo>
                        <a:pt x="550" y="80"/>
                      </a:lnTo>
                      <a:lnTo>
                        <a:pt x="552" y="76"/>
                      </a:lnTo>
                      <a:lnTo>
                        <a:pt x="554" y="73"/>
                      </a:lnTo>
                      <a:lnTo>
                        <a:pt x="555" y="73"/>
                      </a:lnTo>
                      <a:lnTo>
                        <a:pt x="555" y="73"/>
                      </a:lnTo>
                      <a:close/>
                      <a:moveTo>
                        <a:pt x="669" y="10"/>
                      </a:moveTo>
                      <a:lnTo>
                        <a:pt x="669" y="10"/>
                      </a:lnTo>
                      <a:lnTo>
                        <a:pt x="669" y="7"/>
                      </a:lnTo>
                      <a:lnTo>
                        <a:pt x="670" y="7"/>
                      </a:lnTo>
                      <a:lnTo>
                        <a:pt x="674" y="7"/>
                      </a:lnTo>
                      <a:lnTo>
                        <a:pt x="677" y="8"/>
                      </a:lnTo>
                      <a:lnTo>
                        <a:pt x="677" y="8"/>
                      </a:lnTo>
                      <a:lnTo>
                        <a:pt x="679" y="10"/>
                      </a:lnTo>
                      <a:lnTo>
                        <a:pt x="676" y="12"/>
                      </a:lnTo>
                      <a:lnTo>
                        <a:pt x="672" y="12"/>
                      </a:lnTo>
                      <a:lnTo>
                        <a:pt x="669" y="10"/>
                      </a:lnTo>
                      <a:lnTo>
                        <a:pt x="669"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2" name="Freeform 1781">
                  <a:extLst>
                    <a:ext uri="{FF2B5EF4-FFF2-40B4-BE49-F238E27FC236}">
                      <a16:creationId xmlns:a16="http://schemas.microsoft.com/office/drawing/2014/main" id="{A35AFCED-5EE4-54A6-0DDA-E54FD726715E}"/>
                    </a:ext>
                  </a:extLst>
                </p:cNvPr>
                <p:cNvSpPr>
                  <a:spLocks/>
                </p:cNvSpPr>
                <p:nvPr/>
              </p:nvSpPr>
              <p:spPr bwMode="auto">
                <a:xfrm>
                  <a:off x="4460725" y="2954163"/>
                  <a:ext cx="354163" cy="299540"/>
                </a:xfrm>
                <a:custGeom>
                  <a:avLst/>
                  <a:gdLst/>
                  <a:ahLst/>
                  <a:cxnLst>
                    <a:cxn ang="0">
                      <a:pos x="37" y="78"/>
                    </a:cxn>
                    <a:cxn ang="0">
                      <a:pos x="40" y="87"/>
                    </a:cxn>
                    <a:cxn ang="0">
                      <a:pos x="40" y="94"/>
                    </a:cxn>
                    <a:cxn ang="0">
                      <a:pos x="59" y="90"/>
                    </a:cxn>
                    <a:cxn ang="0">
                      <a:pos x="73" y="87"/>
                    </a:cxn>
                    <a:cxn ang="0">
                      <a:pos x="94" y="90"/>
                    </a:cxn>
                    <a:cxn ang="0">
                      <a:pos x="103" y="101"/>
                    </a:cxn>
                    <a:cxn ang="0">
                      <a:pos x="101" y="118"/>
                    </a:cxn>
                    <a:cxn ang="0">
                      <a:pos x="87" y="149"/>
                    </a:cxn>
                    <a:cxn ang="0">
                      <a:pos x="82" y="179"/>
                    </a:cxn>
                    <a:cxn ang="0">
                      <a:pos x="70" y="196"/>
                    </a:cxn>
                    <a:cxn ang="0">
                      <a:pos x="68" y="207"/>
                    </a:cxn>
                    <a:cxn ang="0">
                      <a:pos x="80" y="224"/>
                    </a:cxn>
                    <a:cxn ang="0">
                      <a:pos x="72" y="243"/>
                    </a:cxn>
                    <a:cxn ang="0">
                      <a:pos x="72" y="263"/>
                    </a:cxn>
                    <a:cxn ang="0">
                      <a:pos x="80" y="271"/>
                    </a:cxn>
                    <a:cxn ang="0">
                      <a:pos x="65" y="297"/>
                    </a:cxn>
                    <a:cxn ang="0">
                      <a:pos x="77" y="315"/>
                    </a:cxn>
                    <a:cxn ang="0">
                      <a:pos x="99" y="334"/>
                    </a:cxn>
                    <a:cxn ang="0">
                      <a:pos x="117" y="364"/>
                    </a:cxn>
                    <a:cxn ang="0">
                      <a:pos x="134" y="369"/>
                    </a:cxn>
                    <a:cxn ang="0">
                      <a:pos x="143" y="357"/>
                    </a:cxn>
                    <a:cxn ang="0">
                      <a:pos x="167" y="348"/>
                    </a:cxn>
                    <a:cxn ang="0">
                      <a:pos x="188" y="334"/>
                    </a:cxn>
                    <a:cxn ang="0">
                      <a:pos x="213" y="339"/>
                    </a:cxn>
                    <a:cxn ang="0">
                      <a:pos x="247" y="336"/>
                    </a:cxn>
                    <a:cxn ang="0">
                      <a:pos x="268" y="308"/>
                    </a:cxn>
                    <a:cxn ang="0">
                      <a:pos x="300" y="296"/>
                    </a:cxn>
                    <a:cxn ang="0">
                      <a:pos x="308" y="266"/>
                    </a:cxn>
                    <a:cxn ang="0">
                      <a:pos x="333" y="242"/>
                    </a:cxn>
                    <a:cxn ang="0">
                      <a:pos x="315" y="217"/>
                    </a:cxn>
                    <a:cxn ang="0">
                      <a:pos x="328" y="181"/>
                    </a:cxn>
                    <a:cxn ang="0">
                      <a:pos x="359" y="149"/>
                    </a:cxn>
                    <a:cxn ang="0">
                      <a:pos x="354" y="139"/>
                    </a:cxn>
                    <a:cxn ang="0">
                      <a:pos x="395" y="123"/>
                    </a:cxn>
                    <a:cxn ang="0">
                      <a:pos x="411" y="109"/>
                    </a:cxn>
                    <a:cxn ang="0">
                      <a:pos x="439" y="83"/>
                    </a:cxn>
                    <a:cxn ang="0">
                      <a:pos x="442" y="73"/>
                    </a:cxn>
                    <a:cxn ang="0">
                      <a:pos x="436" y="62"/>
                    </a:cxn>
                    <a:cxn ang="0">
                      <a:pos x="416" y="66"/>
                    </a:cxn>
                    <a:cxn ang="0">
                      <a:pos x="399" y="66"/>
                    </a:cxn>
                    <a:cxn ang="0">
                      <a:pos x="378" y="59"/>
                    </a:cxn>
                    <a:cxn ang="0">
                      <a:pos x="354" y="43"/>
                    </a:cxn>
                    <a:cxn ang="0">
                      <a:pos x="345" y="50"/>
                    </a:cxn>
                    <a:cxn ang="0">
                      <a:pos x="324" y="48"/>
                    </a:cxn>
                    <a:cxn ang="0">
                      <a:pos x="307" y="45"/>
                    </a:cxn>
                    <a:cxn ang="0">
                      <a:pos x="288" y="33"/>
                    </a:cxn>
                    <a:cxn ang="0">
                      <a:pos x="279" y="24"/>
                    </a:cxn>
                    <a:cxn ang="0">
                      <a:pos x="265" y="17"/>
                    </a:cxn>
                    <a:cxn ang="0">
                      <a:pos x="232" y="15"/>
                    </a:cxn>
                    <a:cxn ang="0">
                      <a:pos x="200" y="12"/>
                    </a:cxn>
                    <a:cxn ang="0">
                      <a:pos x="138" y="10"/>
                    </a:cxn>
                    <a:cxn ang="0">
                      <a:pos x="93" y="8"/>
                    </a:cxn>
                    <a:cxn ang="0">
                      <a:pos x="54" y="0"/>
                    </a:cxn>
                    <a:cxn ang="0">
                      <a:pos x="35" y="8"/>
                    </a:cxn>
                    <a:cxn ang="0">
                      <a:pos x="26" y="21"/>
                    </a:cxn>
                    <a:cxn ang="0">
                      <a:pos x="0" y="36"/>
                    </a:cxn>
                    <a:cxn ang="0">
                      <a:pos x="7" y="48"/>
                    </a:cxn>
                    <a:cxn ang="0">
                      <a:pos x="14" y="75"/>
                    </a:cxn>
                  </a:cxnLst>
                  <a:rect l="0" t="0" r="r" b="b"/>
                  <a:pathLst>
                    <a:path w="442" h="372">
                      <a:moveTo>
                        <a:pt x="18" y="92"/>
                      </a:moveTo>
                      <a:lnTo>
                        <a:pt x="18" y="92"/>
                      </a:lnTo>
                      <a:lnTo>
                        <a:pt x="26" y="83"/>
                      </a:lnTo>
                      <a:lnTo>
                        <a:pt x="33" y="78"/>
                      </a:lnTo>
                      <a:lnTo>
                        <a:pt x="37" y="78"/>
                      </a:lnTo>
                      <a:lnTo>
                        <a:pt x="40" y="80"/>
                      </a:lnTo>
                      <a:lnTo>
                        <a:pt x="40" y="80"/>
                      </a:lnTo>
                      <a:lnTo>
                        <a:pt x="42" y="82"/>
                      </a:lnTo>
                      <a:lnTo>
                        <a:pt x="42" y="82"/>
                      </a:lnTo>
                      <a:lnTo>
                        <a:pt x="40" y="87"/>
                      </a:lnTo>
                      <a:lnTo>
                        <a:pt x="37" y="90"/>
                      </a:lnTo>
                      <a:lnTo>
                        <a:pt x="37" y="90"/>
                      </a:lnTo>
                      <a:lnTo>
                        <a:pt x="39" y="92"/>
                      </a:lnTo>
                      <a:lnTo>
                        <a:pt x="39" y="92"/>
                      </a:lnTo>
                      <a:lnTo>
                        <a:pt x="40" y="94"/>
                      </a:lnTo>
                      <a:lnTo>
                        <a:pt x="42" y="94"/>
                      </a:lnTo>
                      <a:lnTo>
                        <a:pt x="46" y="90"/>
                      </a:lnTo>
                      <a:lnTo>
                        <a:pt x="51" y="88"/>
                      </a:lnTo>
                      <a:lnTo>
                        <a:pt x="54" y="88"/>
                      </a:lnTo>
                      <a:lnTo>
                        <a:pt x="59" y="90"/>
                      </a:lnTo>
                      <a:lnTo>
                        <a:pt x="59" y="90"/>
                      </a:lnTo>
                      <a:lnTo>
                        <a:pt x="66" y="94"/>
                      </a:lnTo>
                      <a:lnTo>
                        <a:pt x="68" y="92"/>
                      </a:lnTo>
                      <a:lnTo>
                        <a:pt x="70" y="90"/>
                      </a:lnTo>
                      <a:lnTo>
                        <a:pt x="73" y="87"/>
                      </a:lnTo>
                      <a:lnTo>
                        <a:pt x="79" y="87"/>
                      </a:lnTo>
                      <a:lnTo>
                        <a:pt x="86" y="87"/>
                      </a:lnTo>
                      <a:lnTo>
                        <a:pt x="86" y="87"/>
                      </a:lnTo>
                      <a:lnTo>
                        <a:pt x="91" y="88"/>
                      </a:lnTo>
                      <a:lnTo>
                        <a:pt x="94" y="90"/>
                      </a:lnTo>
                      <a:lnTo>
                        <a:pt x="96" y="92"/>
                      </a:lnTo>
                      <a:lnTo>
                        <a:pt x="96" y="94"/>
                      </a:lnTo>
                      <a:lnTo>
                        <a:pt x="96" y="97"/>
                      </a:lnTo>
                      <a:lnTo>
                        <a:pt x="98" y="99"/>
                      </a:lnTo>
                      <a:lnTo>
                        <a:pt x="103" y="101"/>
                      </a:lnTo>
                      <a:lnTo>
                        <a:pt x="103" y="101"/>
                      </a:lnTo>
                      <a:lnTo>
                        <a:pt x="106" y="102"/>
                      </a:lnTo>
                      <a:lnTo>
                        <a:pt x="108" y="108"/>
                      </a:lnTo>
                      <a:lnTo>
                        <a:pt x="105" y="111"/>
                      </a:lnTo>
                      <a:lnTo>
                        <a:pt x="101" y="118"/>
                      </a:lnTo>
                      <a:lnTo>
                        <a:pt x="91" y="129"/>
                      </a:lnTo>
                      <a:lnTo>
                        <a:pt x="87" y="134"/>
                      </a:lnTo>
                      <a:lnTo>
                        <a:pt x="86" y="139"/>
                      </a:lnTo>
                      <a:lnTo>
                        <a:pt x="86" y="139"/>
                      </a:lnTo>
                      <a:lnTo>
                        <a:pt x="87" y="149"/>
                      </a:lnTo>
                      <a:lnTo>
                        <a:pt x="86" y="156"/>
                      </a:lnTo>
                      <a:lnTo>
                        <a:pt x="84" y="165"/>
                      </a:lnTo>
                      <a:lnTo>
                        <a:pt x="80" y="172"/>
                      </a:lnTo>
                      <a:lnTo>
                        <a:pt x="80" y="176"/>
                      </a:lnTo>
                      <a:lnTo>
                        <a:pt x="82" y="179"/>
                      </a:lnTo>
                      <a:lnTo>
                        <a:pt x="82" y="179"/>
                      </a:lnTo>
                      <a:lnTo>
                        <a:pt x="84" y="186"/>
                      </a:lnTo>
                      <a:lnTo>
                        <a:pt x="84" y="191"/>
                      </a:lnTo>
                      <a:lnTo>
                        <a:pt x="79" y="195"/>
                      </a:lnTo>
                      <a:lnTo>
                        <a:pt x="70" y="196"/>
                      </a:lnTo>
                      <a:lnTo>
                        <a:pt x="70" y="196"/>
                      </a:lnTo>
                      <a:lnTo>
                        <a:pt x="65" y="198"/>
                      </a:lnTo>
                      <a:lnTo>
                        <a:pt x="63" y="200"/>
                      </a:lnTo>
                      <a:lnTo>
                        <a:pt x="65" y="202"/>
                      </a:lnTo>
                      <a:lnTo>
                        <a:pt x="68" y="207"/>
                      </a:lnTo>
                      <a:lnTo>
                        <a:pt x="70" y="216"/>
                      </a:lnTo>
                      <a:lnTo>
                        <a:pt x="70" y="216"/>
                      </a:lnTo>
                      <a:lnTo>
                        <a:pt x="72" y="221"/>
                      </a:lnTo>
                      <a:lnTo>
                        <a:pt x="75" y="223"/>
                      </a:lnTo>
                      <a:lnTo>
                        <a:pt x="80" y="224"/>
                      </a:lnTo>
                      <a:lnTo>
                        <a:pt x="82" y="226"/>
                      </a:lnTo>
                      <a:lnTo>
                        <a:pt x="82" y="228"/>
                      </a:lnTo>
                      <a:lnTo>
                        <a:pt x="77" y="236"/>
                      </a:lnTo>
                      <a:lnTo>
                        <a:pt x="77" y="236"/>
                      </a:lnTo>
                      <a:lnTo>
                        <a:pt x="72" y="243"/>
                      </a:lnTo>
                      <a:lnTo>
                        <a:pt x="70" y="249"/>
                      </a:lnTo>
                      <a:lnTo>
                        <a:pt x="68" y="254"/>
                      </a:lnTo>
                      <a:lnTo>
                        <a:pt x="68" y="257"/>
                      </a:lnTo>
                      <a:lnTo>
                        <a:pt x="70" y="261"/>
                      </a:lnTo>
                      <a:lnTo>
                        <a:pt x="72" y="263"/>
                      </a:lnTo>
                      <a:lnTo>
                        <a:pt x="77" y="266"/>
                      </a:lnTo>
                      <a:lnTo>
                        <a:pt x="77" y="266"/>
                      </a:lnTo>
                      <a:lnTo>
                        <a:pt x="80" y="268"/>
                      </a:lnTo>
                      <a:lnTo>
                        <a:pt x="82" y="268"/>
                      </a:lnTo>
                      <a:lnTo>
                        <a:pt x="80" y="271"/>
                      </a:lnTo>
                      <a:lnTo>
                        <a:pt x="73" y="278"/>
                      </a:lnTo>
                      <a:lnTo>
                        <a:pt x="73" y="278"/>
                      </a:lnTo>
                      <a:lnTo>
                        <a:pt x="70" y="282"/>
                      </a:lnTo>
                      <a:lnTo>
                        <a:pt x="66" y="287"/>
                      </a:lnTo>
                      <a:lnTo>
                        <a:pt x="65" y="297"/>
                      </a:lnTo>
                      <a:lnTo>
                        <a:pt x="65" y="308"/>
                      </a:lnTo>
                      <a:lnTo>
                        <a:pt x="66" y="317"/>
                      </a:lnTo>
                      <a:lnTo>
                        <a:pt x="66" y="317"/>
                      </a:lnTo>
                      <a:lnTo>
                        <a:pt x="72" y="315"/>
                      </a:lnTo>
                      <a:lnTo>
                        <a:pt x="77" y="315"/>
                      </a:lnTo>
                      <a:lnTo>
                        <a:pt x="84" y="317"/>
                      </a:lnTo>
                      <a:lnTo>
                        <a:pt x="89" y="318"/>
                      </a:lnTo>
                      <a:lnTo>
                        <a:pt x="96" y="327"/>
                      </a:lnTo>
                      <a:lnTo>
                        <a:pt x="98" y="331"/>
                      </a:lnTo>
                      <a:lnTo>
                        <a:pt x="99" y="334"/>
                      </a:lnTo>
                      <a:lnTo>
                        <a:pt x="99" y="334"/>
                      </a:lnTo>
                      <a:lnTo>
                        <a:pt x="101" y="341"/>
                      </a:lnTo>
                      <a:lnTo>
                        <a:pt x="105" y="348"/>
                      </a:lnTo>
                      <a:lnTo>
                        <a:pt x="110" y="357"/>
                      </a:lnTo>
                      <a:lnTo>
                        <a:pt x="117" y="364"/>
                      </a:lnTo>
                      <a:lnTo>
                        <a:pt x="117" y="364"/>
                      </a:lnTo>
                      <a:lnTo>
                        <a:pt x="124" y="371"/>
                      </a:lnTo>
                      <a:lnTo>
                        <a:pt x="129" y="372"/>
                      </a:lnTo>
                      <a:lnTo>
                        <a:pt x="131" y="372"/>
                      </a:lnTo>
                      <a:lnTo>
                        <a:pt x="134" y="369"/>
                      </a:lnTo>
                      <a:lnTo>
                        <a:pt x="134" y="369"/>
                      </a:lnTo>
                      <a:lnTo>
                        <a:pt x="138" y="365"/>
                      </a:lnTo>
                      <a:lnTo>
                        <a:pt x="140" y="362"/>
                      </a:lnTo>
                      <a:lnTo>
                        <a:pt x="143" y="357"/>
                      </a:lnTo>
                      <a:lnTo>
                        <a:pt x="143" y="357"/>
                      </a:lnTo>
                      <a:lnTo>
                        <a:pt x="146" y="353"/>
                      </a:lnTo>
                      <a:lnTo>
                        <a:pt x="148" y="351"/>
                      </a:lnTo>
                      <a:lnTo>
                        <a:pt x="157" y="350"/>
                      </a:lnTo>
                      <a:lnTo>
                        <a:pt x="164" y="348"/>
                      </a:lnTo>
                      <a:lnTo>
                        <a:pt x="167" y="348"/>
                      </a:lnTo>
                      <a:lnTo>
                        <a:pt x="167" y="344"/>
                      </a:lnTo>
                      <a:lnTo>
                        <a:pt x="167" y="344"/>
                      </a:lnTo>
                      <a:lnTo>
                        <a:pt x="173" y="339"/>
                      </a:lnTo>
                      <a:lnTo>
                        <a:pt x="180" y="336"/>
                      </a:lnTo>
                      <a:lnTo>
                        <a:pt x="188" y="334"/>
                      </a:lnTo>
                      <a:lnTo>
                        <a:pt x="194" y="336"/>
                      </a:lnTo>
                      <a:lnTo>
                        <a:pt x="199" y="337"/>
                      </a:lnTo>
                      <a:lnTo>
                        <a:pt x="199" y="337"/>
                      </a:lnTo>
                      <a:lnTo>
                        <a:pt x="206" y="339"/>
                      </a:lnTo>
                      <a:lnTo>
                        <a:pt x="213" y="339"/>
                      </a:lnTo>
                      <a:lnTo>
                        <a:pt x="228" y="337"/>
                      </a:lnTo>
                      <a:lnTo>
                        <a:pt x="241" y="334"/>
                      </a:lnTo>
                      <a:lnTo>
                        <a:pt x="244" y="334"/>
                      </a:lnTo>
                      <a:lnTo>
                        <a:pt x="247" y="336"/>
                      </a:lnTo>
                      <a:lnTo>
                        <a:pt x="247" y="336"/>
                      </a:lnTo>
                      <a:lnTo>
                        <a:pt x="251" y="337"/>
                      </a:lnTo>
                      <a:lnTo>
                        <a:pt x="254" y="334"/>
                      </a:lnTo>
                      <a:lnTo>
                        <a:pt x="260" y="322"/>
                      </a:lnTo>
                      <a:lnTo>
                        <a:pt x="263" y="315"/>
                      </a:lnTo>
                      <a:lnTo>
                        <a:pt x="268" y="308"/>
                      </a:lnTo>
                      <a:lnTo>
                        <a:pt x="275" y="303"/>
                      </a:lnTo>
                      <a:lnTo>
                        <a:pt x="286" y="299"/>
                      </a:lnTo>
                      <a:lnTo>
                        <a:pt x="286" y="299"/>
                      </a:lnTo>
                      <a:lnTo>
                        <a:pt x="298" y="299"/>
                      </a:lnTo>
                      <a:lnTo>
                        <a:pt x="300" y="296"/>
                      </a:lnTo>
                      <a:lnTo>
                        <a:pt x="300" y="292"/>
                      </a:lnTo>
                      <a:lnTo>
                        <a:pt x="300" y="292"/>
                      </a:lnTo>
                      <a:lnTo>
                        <a:pt x="300" y="282"/>
                      </a:lnTo>
                      <a:lnTo>
                        <a:pt x="303" y="273"/>
                      </a:lnTo>
                      <a:lnTo>
                        <a:pt x="308" y="266"/>
                      </a:lnTo>
                      <a:lnTo>
                        <a:pt x="315" y="259"/>
                      </a:lnTo>
                      <a:lnTo>
                        <a:pt x="328" y="249"/>
                      </a:lnTo>
                      <a:lnTo>
                        <a:pt x="333" y="245"/>
                      </a:lnTo>
                      <a:lnTo>
                        <a:pt x="333" y="242"/>
                      </a:lnTo>
                      <a:lnTo>
                        <a:pt x="333" y="242"/>
                      </a:lnTo>
                      <a:lnTo>
                        <a:pt x="331" y="238"/>
                      </a:lnTo>
                      <a:lnTo>
                        <a:pt x="326" y="235"/>
                      </a:lnTo>
                      <a:lnTo>
                        <a:pt x="321" y="230"/>
                      </a:lnTo>
                      <a:lnTo>
                        <a:pt x="319" y="224"/>
                      </a:lnTo>
                      <a:lnTo>
                        <a:pt x="315" y="217"/>
                      </a:lnTo>
                      <a:lnTo>
                        <a:pt x="315" y="217"/>
                      </a:lnTo>
                      <a:lnTo>
                        <a:pt x="315" y="210"/>
                      </a:lnTo>
                      <a:lnTo>
                        <a:pt x="317" y="202"/>
                      </a:lnTo>
                      <a:lnTo>
                        <a:pt x="322" y="191"/>
                      </a:lnTo>
                      <a:lnTo>
                        <a:pt x="328" y="181"/>
                      </a:lnTo>
                      <a:lnTo>
                        <a:pt x="342" y="163"/>
                      </a:lnTo>
                      <a:lnTo>
                        <a:pt x="347" y="158"/>
                      </a:lnTo>
                      <a:lnTo>
                        <a:pt x="350" y="155"/>
                      </a:lnTo>
                      <a:lnTo>
                        <a:pt x="350" y="155"/>
                      </a:lnTo>
                      <a:lnTo>
                        <a:pt x="359" y="149"/>
                      </a:lnTo>
                      <a:lnTo>
                        <a:pt x="359" y="148"/>
                      </a:lnTo>
                      <a:lnTo>
                        <a:pt x="359" y="148"/>
                      </a:lnTo>
                      <a:lnTo>
                        <a:pt x="355" y="144"/>
                      </a:lnTo>
                      <a:lnTo>
                        <a:pt x="354" y="142"/>
                      </a:lnTo>
                      <a:lnTo>
                        <a:pt x="354" y="139"/>
                      </a:lnTo>
                      <a:lnTo>
                        <a:pt x="354" y="139"/>
                      </a:lnTo>
                      <a:lnTo>
                        <a:pt x="357" y="136"/>
                      </a:lnTo>
                      <a:lnTo>
                        <a:pt x="364" y="132"/>
                      </a:lnTo>
                      <a:lnTo>
                        <a:pt x="380" y="127"/>
                      </a:lnTo>
                      <a:lnTo>
                        <a:pt x="395" y="123"/>
                      </a:lnTo>
                      <a:lnTo>
                        <a:pt x="401" y="120"/>
                      </a:lnTo>
                      <a:lnTo>
                        <a:pt x="404" y="116"/>
                      </a:lnTo>
                      <a:lnTo>
                        <a:pt x="404" y="116"/>
                      </a:lnTo>
                      <a:lnTo>
                        <a:pt x="406" y="113"/>
                      </a:lnTo>
                      <a:lnTo>
                        <a:pt x="411" y="109"/>
                      </a:lnTo>
                      <a:lnTo>
                        <a:pt x="425" y="102"/>
                      </a:lnTo>
                      <a:lnTo>
                        <a:pt x="432" y="97"/>
                      </a:lnTo>
                      <a:lnTo>
                        <a:pt x="437" y="94"/>
                      </a:lnTo>
                      <a:lnTo>
                        <a:pt x="441" y="87"/>
                      </a:lnTo>
                      <a:lnTo>
                        <a:pt x="439" y="83"/>
                      </a:lnTo>
                      <a:lnTo>
                        <a:pt x="439" y="80"/>
                      </a:lnTo>
                      <a:lnTo>
                        <a:pt x="439" y="80"/>
                      </a:lnTo>
                      <a:lnTo>
                        <a:pt x="437" y="78"/>
                      </a:lnTo>
                      <a:lnTo>
                        <a:pt x="439" y="76"/>
                      </a:lnTo>
                      <a:lnTo>
                        <a:pt x="442" y="73"/>
                      </a:lnTo>
                      <a:lnTo>
                        <a:pt x="442" y="71"/>
                      </a:lnTo>
                      <a:lnTo>
                        <a:pt x="442" y="69"/>
                      </a:lnTo>
                      <a:lnTo>
                        <a:pt x="441" y="66"/>
                      </a:lnTo>
                      <a:lnTo>
                        <a:pt x="436" y="62"/>
                      </a:lnTo>
                      <a:lnTo>
                        <a:pt x="436" y="62"/>
                      </a:lnTo>
                      <a:lnTo>
                        <a:pt x="430" y="62"/>
                      </a:lnTo>
                      <a:lnTo>
                        <a:pt x="427" y="64"/>
                      </a:lnTo>
                      <a:lnTo>
                        <a:pt x="423" y="66"/>
                      </a:lnTo>
                      <a:lnTo>
                        <a:pt x="422" y="68"/>
                      </a:lnTo>
                      <a:lnTo>
                        <a:pt x="416" y="66"/>
                      </a:lnTo>
                      <a:lnTo>
                        <a:pt x="416" y="66"/>
                      </a:lnTo>
                      <a:lnTo>
                        <a:pt x="413" y="66"/>
                      </a:lnTo>
                      <a:lnTo>
                        <a:pt x="409" y="64"/>
                      </a:lnTo>
                      <a:lnTo>
                        <a:pt x="406" y="66"/>
                      </a:lnTo>
                      <a:lnTo>
                        <a:pt x="399" y="66"/>
                      </a:lnTo>
                      <a:lnTo>
                        <a:pt x="387" y="61"/>
                      </a:lnTo>
                      <a:lnTo>
                        <a:pt x="387" y="61"/>
                      </a:lnTo>
                      <a:lnTo>
                        <a:pt x="385" y="62"/>
                      </a:lnTo>
                      <a:lnTo>
                        <a:pt x="382" y="62"/>
                      </a:lnTo>
                      <a:lnTo>
                        <a:pt x="378" y="59"/>
                      </a:lnTo>
                      <a:lnTo>
                        <a:pt x="378" y="55"/>
                      </a:lnTo>
                      <a:lnTo>
                        <a:pt x="378" y="55"/>
                      </a:lnTo>
                      <a:lnTo>
                        <a:pt x="366" y="48"/>
                      </a:lnTo>
                      <a:lnTo>
                        <a:pt x="359" y="45"/>
                      </a:lnTo>
                      <a:lnTo>
                        <a:pt x="354" y="43"/>
                      </a:lnTo>
                      <a:lnTo>
                        <a:pt x="352" y="45"/>
                      </a:lnTo>
                      <a:lnTo>
                        <a:pt x="350" y="48"/>
                      </a:lnTo>
                      <a:lnTo>
                        <a:pt x="348" y="50"/>
                      </a:lnTo>
                      <a:lnTo>
                        <a:pt x="345" y="50"/>
                      </a:lnTo>
                      <a:lnTo>
                        <a:pt x="345" y="50"/>
                      </a:lnTo>
                      <a:lnTo>
                        <a:pt x="336" y="48"/>
                      </a:lnTo>
                      <a:lnTo>
                        <a:pt x="331" y="50"/>
                      </a:lnTo>
                      <a:lnTo>
                        <a:pt x="328" y="50"/>
                      </a:lnTo>
                      <a:lnTo>
                        <a:pt x="324" y="48"/>
                      </a:lnTo>
                      <a:lnTo>
                        <a:pt x="324" y="48"/>
                      </a:lnTo>
                      <a:lnTo>
                        <a:pt x="321" y="47"/>
                      </a:lnTo>
                      <a:lnTo>
                        <a:pt x="319" y="45"/>
                      </a:lnTo>
                      <a:lnTo>
                        <a:pt x="314" y="45"/>
                      </a:lnTo>
                      <a:lnTo>
                        <a:pt x="308" y="45"/>
                      </a:lnTo>
                      <a:lnTo>
                        <a:pt x="307" y="45"/>
                      </a:lnTo>
                      <a:lnTo>
                        <a:pt x="305" y="43"/>
                      </a:lnTo>
                      <a:lnTo>
                        <a:pt x="305" y="43"/>
                      </a:lnTo>
                      <a:lnTo>
                        <a:pt x="301" y="38"/>
                      </a:lnTo>
                      <a:lnTo>
                        <a:pt x="298" y="36"/>
                      </a:lnTo>
                      <a:lnTo>
                        <a:pt x="288" y="33"/>
                      </a:lnTo>
                      <a:lnTo>
                        <a:pt x="281" y="31"/>
                      </a:lnTo>
                      <a:lnTo>
                        <a:pt x="279" y="29"/>
                      </a:lnTo>
                      <a:lnTo>
                        <a:pt x="279" y="26"/>
                      </a:lnTo>
                      <a:lnTo>
                        <a:pt x="279" y="26"/>
                      </a:lnTo>
                      <a:lnTo>
                        <a:pt x="279" y="24"/>
                      </a:lnTo>
                      <a:lnTo>
                        <a:pt x="277" y="22"/>
                      </a:lnTo>
                      <a:lnTo>
                        <a:pt x="274" y="21"/>
                      </a:lnTo>
                      <a:lnTo>
                        <a:pt x="270" y="21"/>
                      </a:lnTo>
                      <a:lnTo>
                        <a:pt x="265" y="17"/>
                      </a:lnTo>
                      <a:lnTo>
                        <a:pt x="265" y="17"/>
                      </a:lnTo>
                      <a:lnTo>
                        <a:pt x="256" y="19"/>
                      </a:lnTo>
                      <a:lnTo>
                        <a:pt x="249" y="21"/>
                      </a:lnTo>
                      <a:lnTo>
                        <a:pt x="242" y="17"/>
                      </a:lnTo>
                      <a:lnTo>
                        <a:pt x="242" y="17"/>
                      </a:lnTo>
                      <a:lnTo>
                        <a:pt x="232" y="15"/>
                      </a:lnTo>
                      <a:lnTo>
                        <a:pt x="227" y="15"/>
                      </a:lnTo>
                      <a:lnTo>
                        <a:pt x="220" y="17"/>
                      </a:lnTo>
                      <a:lnTo>
                        <a:pt x="209" y="14"/>
                      </a:lnTo>
                      <a:lnTo>
                        <a:pt x="209" y="14"/>
                      </a:lnTo>
                      <a:lnTo>
                        <a:pt x="200" y="12"/>
                      </a:lnTo>
                      <a:lnTo>
                        <a:pt x="194" y="12"/>
                      </a:lnTo>
                      <a:lnTo>
                        <a:pt x="178" y="14"/>
                      </a:lnTo>
                      <a:lnTo>
                        <a:pt x="160" y="14"/>
                      </a:lnTo>
                      <a:lnTo>
                        <a:pt x="150" y="12"/>
                      </a:lnTo>
                      <a:lnTo>
                        <a:pt x="138" y="10"/>
                      </a:lnTo>
                      <a:lnTo>
                        <a:pt x="138" y="10"/>
                      </a:lnTo>
                      <a:lnTo>
                        <a:pt x="126" y="7"/>
                      </a:lnTo>
                      <a:lnTo>
                        <a:pt x="119" y="7"/>
                      </a:lnTo>
                      <a:lnTo>
                        <a:pt x="108" y="8"/>
                      </a:lnTo>
                      <a:lnTo>
                        <a:pt x="93" y="8"/>
                      </a:lnTo>
                      <a:lnTo>
                        <a:pt x="93" y="8"/>
                      </a:lnTo>
                      <a:lnTo>
                        <a:pt x="82" y="8"/>
                      </a:lnTo>
                      <a:lnTo>
                        <a:pt x="75" y="7"/>
                      </a:lnTo>
                      <a:lnTo>
                        <a:pt x="65" y="3"/>
                      </a:lnTo>
                      <a:lnTo>
                        <a:pt x="54" y="0"/>
                      </a:lnTo>
                      <a:lnTo>
                        <a:pt x="49" y="0"/>
                      </a:lnTo>
                      <a:lnTo>
                        <a:pt x="44" y="3"/>
                      </a:lnTo>
                      <a:lnTo>
                        <a:pt x="44" y="3"/>
                      </a:lnTo>
                      <a:lnTo>
                        <a:pt x="39" y="5"/>
                      </a:lnTo>
                      <a:lnTo>
                        <a:pt x="35" y="8"/>
                      </a:lnTo>
                      <a:lnTo>
                        <a:pt x="35" y="14"/>
                      </a:lnTo>
                      <a:lnTo>
                        <a:pt x="33" y="19"/>
                      </a:lnTo>
                      <a:lnTo>
                        <a:pt x="32" y="19"/>
                      </a:lnTo>
                      <a:lnTo>
                        <a:pt x="26" y="21"/>
                      </a:lnTo>
                      <a:lnTo>
                        <a:pt x="26" y="21"/>
                      </a:lnTo>
                      <a:lnTo>
                        <a:pt x="21" y="21"/>
                      </a:lnTo>
                      <a:lnTo>
                        <a:pt x="16" y="22"/>
                      </a:lnTo>
                      <a:lnTo>
                        <a:pt x="5" y="29"/>
                      </a:lnTo>
                      <a:lnTo>
                        <a:pt x="4" y="33"/>
                      </a:lnTo>
                      <a:lnTo>
                        <a:pt x="0" y="36"/>
                      </a:lnTo>
                      <a:lnTo>
                        <a:pt x="0" y="38"/>
                      </a:lnTo>
                      <a:lnTo>
                        <a:pt x="2" y="41"/>
                      </a:lnTo>
                      <a:lnTo>
                        <a:pt x="2" y="41"/>
                      </a:lnTo>
                      <a:lnTo>
                        <a:pt x="7" y="45"/>
                      </a:lnTo>
                      <a:lnTo>
                        <a:pt x="7" y="48"/>
                      </a:lnTo>
                      <a:lnTo>
                        <a:pt x="9" y="54"/>
                      </a:lnTo>
                      <a:lnTo>
                        <a:pt x="12" y="61"/>
                      </a:lnTo>
                      <a:lnTo>
                        <a:pt x="12" y="61"/>
                      </a:lnTo>
                      <a:lnTo>
                        <a:pt x="14" y="68"/>
                      </a:lnTo>
                      <a:lnTo>
                        <a:pt x="14" y="75"/>
                      </a:lnTo>
                      <a:lnTo>
                        <a:pt x="16" y="83"/>
                      </a:lnTo>
                      <a:lnTo>
                        <a:pt x="18" y="92"/>
                      </a:lnTo>
                      <a:lnTo>
                        <a:pt x="18" y="9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3" name="Freeform 1782">
                  <a:extLst>
                    <a:ext uri="{FF2B5EF4-FFF2-40B4-BE49-F238E27FC236}">
                      <a16:creationId xmlns:a16="http://schemas.microsoft.com/office/drawing/2014/main" id="{8892B596-5926-2547-7775-9D731C9549E7}"/>
                    </a:ext>
                  </a:extLst>
                </p:cNvPr>
                <p:cNvSpPr>
                  <a:spLocks/>
                </p:cNvSpPr>
                <p:nvPr/>
              </p:nvSpPr>
              <p:spPr bwMode="auto">
                <a:xfrm>
                  <a:off x="8661338" y="4598112"/>
                  <a:ext cx="304828" cy="283682"/>
                </a:xfrm>
                <a:custGeom>
                  <a:avLst/>
                  <a:gdLst/>
                  <a:ahLst/>
                  <a:cxnLst>
                    <a:cxn ang="0">
                      <a:pos x="10" y="2"/>
                    </a:cxn>
                    <a:cxn ang="0">
                      <a:pos x="81" y="31"/>
                    </a:cxn>
                    <a:cxn ang="0">
                      <a:pos x="107" y="42"/>
                    </a:cxn>
                    <a:cxn ang="0">
                      <a:pos x="132" y="54"/>
                    </a:cxn>
                    <a:cxn ang="0">
                      <a:pos x="146" y="63"/>
                    </a:cxn>
                    <a:cxn ang="0">
                      <a:pos x="161" y="68"/>
                    </a:cxn>
                    <a:cxn ang="0">
                      <a:pos x="191" y="92"/>
                    </a:cxn>
                    <a:cxn ang="0">
                      <a:pos x="203" y="115"/>
                    </a:cxn>
                    <a:cxn ang="0">
                      <a:pos x="198" y="127"/>
                    </a:cxn>
                    <a:cxn ang="0">
                      <a:pos x="215" y="134"/>
                    </a:cxn>
                    <a:cxn ang="0">
                      <a:pos x="231" y="141"/>
                    </a:cxn>
                    <a:cxn ang="0">
                      <a:pos x="247" y="153"/>
                    </a:cxn>
                    <a:cxn ang="0">
                      <a:pos x="257" y="151"/>
                    </a:cxn>
                    <a:cxn ang="0">
                      <a:pos x="269" y="164"/>
                    </a:cxn>
                    <a:cxn ang="0">
                      <a:pos x="273" y="183"/>
                    </a:cxn>
                    <a:cxn ang="0">
                      <a:pos x="268" y="185"/>
                    </a:cxn>
                    <a:cxn ang="0">
                      <a:pos x="245" y="186"/>
                    </a:cxn>
                    <a:cxn ang="0">
                      <a:pos x="240" y="188"/>
                    </a:cxn>
                    <a:cxn ang="0">
                      <a:pos x="247" y="205"/>
                    </a:cxn>
                    <a:cxn ang="0">
                      <a:pos x="273" y="235"/>
                    </a:cxn>
                    <a:cxn ang="0">
                      <a:pos x="282" y="242"/>
                    </a:cxn>
                    <a:cxn ang="0">
                      <a:pos x="292" y="273"/>
                    </a:cxn>
                    <a:cxn ang="0">
                      <a:pos x="306" y="284"/>
                    </a:cxn>
                    <a:cxn ang="0">
                      <a:pos x="320" y="280"/>
                    </a:cxn>
                    <a:cxn ang="0">
                      <a:pos x="323" y="289"/>
                    </a:cxn>
                    <a:cxn ang="0">
                      <a:pos x="322" y="301"/>
                    </a:cxn>
                    <a:cxn ang="0">
                      <a:pos x="334" y="306"/>
                    </a:cxn>
                    <a:cxn ang="0">
                      <a:pos x="346" y="312"/>
                    </a:cxn>
                    <a:cxn ang="0">
                      <a:pos x="341" y="320"/>
                    </a:cxn>
                    <a:cxn ang="0">
                      <a:pos x="363" y="331"/>
                    </a:cxn>
                    <a:cxn ang="0">
                      <a:pos x="376" y="336"/>
                    </a:cxn>
                    <a:cxn ang="0">
                      <a:pos x="376" y="348"/>
                    </a:cxn>
                    <a:cxn ang="0">
                      <a:pos x="360" y="353"/>
                    </a:cxn>
                    <a:cxn ang="0">
                      <a:pos x="351" y="352"/>
                    </a:cxn>
                    <a:cxn ang="0">
                      <a:pos x="332" y="341"/>
                    </a:cxn>
                    <a:cxn ang="0">
                      <a:pos x="306" y="334"/>
                    </a:cxn>
                    <a:cxn ang="0">
                      <a:pos x="266" y="322"/>
                    </a:cxn>
                    <a:cxn ang="0">
                      <a:pos x="242" y="292"/>
                    </a:cxn>
                    <a:cxn ang="0">
                      <a:pos x="226" y="270"/>
                    </a:cxn>
                    <a:cxn ang="0">
                      <a:pos x="205" y="242"/>
                    </a:cxn>
                    <a:cxn ang="0">
                      <a:pos x="188" y="237"/>
                    </a:cxn>
                    <a:cxn ang="0">
                      <a:pos x="168" y="230"/>
                    </a:cxn>
                    <a:cxn ang="0">
                      <a:pos x="165" y="225"/>
                    </a:cxn>
                    <a:cxn ang="0">
                      <a:pos x="146" y="230"/>
                    </a:cxn>
                    <a:cxn ang="0">
                      <a:pos x="128" y="218"/>
                    </a:cxn>
                    <a:cxn ang="0">
                      <a:pos x="132" y="233"/>
                    </a:cxn>
                    <a:cxn ang="0">
                      <a:pos x="125" y="240"/>
                    </a:cxn>
                    <a:cxn ang="0">
                      <a:pos x="123" y="244"/>
                    </a:cxn>
                    <a:cxn ang="0">
                      <a:pos x="109" y="252"/>
                    </a:cxn>
                    <a:cxn ang="0">
                      <a:pos x="104" y="256"/>
                    </a:cxn>
                    <a:cxn ang="0">
                      <a:pos x="116" y="266"/>
                    </a:cxn>
                    <a:cxn ang="0">
                      <a:pos x="120" y="280"/>
                    </a:cxn>
                    <a:cxn ang="0">
                      <a:pos x="114" y="284"/>
                    </a:cxn>
                    <a:cxn ang="0">
                      <a:pos x="101" y="291"/>
                    </a:cxn>
                    <a:cxn ang="0">
                      <a:pos x="87" y="296"/>
                    </a:cxn>
                    <a:cxn ang="0">
                      <a:pos x="74" y="291"/>
                    </a:cxn>
                    <a:cxn ang="0">
                      <a:pos x="41" y="291"/>
                    </a:cxn>
                    <a:cxn ang="0">
                      <a:pos x="33" y="289"/>
                    </a:cxn>
                    <a:cxn ang="0">
                      <a:pos x="1" y="252"/>
                    </a:cxn>
                  </a:cxnLst>
                  <a:rect l="0" t="0" r="r" b="b"/>
                  <a:pathLst>
                    <a:path w="379" h="353">
                      <a:moveTo>
                        <a:pt x="0" y="0"/>
                      </a:moveTo>
                      <a:lnTo>
                        <a:pt x="0" y="0"/>
                      </a:lnTo>
                      <a:lnTo>
                        <a:pt x="10" y="2"/>
                      </a:lnTo>
                      <a:lnTo>
                        <a:pt x="22" y="5"/>
                      </a:lnTo>
                      <a:lnTo>
                        <a:pt x="52" y="17"/>
                      </a:lnTo>
                      <a:lnTo>
                        <a:pt x="81" y="31"/>
                      </a:lnTo>
                      <a:lnTo>
                        <a:pt x="95" y="38"/>
                      </a:lnTo>
                      <a:lnTo>
                        <a:pt x="107" y="42"/>
                      </a:lnTo>
                      <a:lnTo>
                        <a:pt x="107" y="42"/>
                      </a:lnTo>
                      <a:lnTo>
                        <a:pt x="116" y="43"/>
                      </a:lnTo>
                      <a:lnTo>
                        <a:pt x="123" y="47"/>
                      </a:lnTo>
                      <a:lnTo>
                        <a:pt x="132" y="54"/>
                      </a:lnTo>
                      <a:lnTo>
                        <a:pt x="137" y="59"/>
                      </a:lnTo>
                      <a:lnTo>
                        <a:pt x="142" y="61"/>
                      </a:lnTo>
                      <a:lnTo>
                        <a:pt x="146" y="63"/>
                      </a:lnTo>
                      <a:lnTo>
                        <a:pt x="146" y="63"/>
                      </a:lnTo>
                      <a:lnTo>
                        <a:pt x="153" y="63"/>
                      </a:lnTo>
                      <a:lnTo>
                        <a:pt x="161" y="68"/>
                      </a:lnTo>
                      <a:lnTo>
                        <a:pt x="172" y="75"/>
                      </a:lnTo>
                      <a:lnTo>
                        <a:pt x="181" y="84"/>
                      </a:lnTo>
                      <a:lnTo>
                        <a:pt x="191" y="92"/>
                      </a:lnTo>
                      <a:lnTo>
                        <a:pt x="198" y="101"/>
                      </a:lnTo>
                      <a:lnTo>
                        <a:pt x="202" y="108"/>
                      </a:lnTo>
                      <a:lnTo>
                        <a:pt x="203" y="115"/>
                      </a:lnTo>
                      <a:lnTo>
                        <a:pt x="203" y="115"/>
                      </a:lnTo>
                      <a:lnTo>
                        <a:pt x="200" y="122"/>
                      </a:lnTo>
                      <a:lnTo>
                        <a:pt x="198" y="127"/>
                      </a:lnTo>
                      <a:lnTo>
                        <a:pt x="200" y="129"/>
                      </a:lnTo>
                      <a:lnTo>
                        <a:pt x="202" y="131"/>
                      </a:lnTo>
                      <a:lnTo>
                        <a:pt x="215" y="134"/>
                      </a:lnTo>
                      <a:lnTo>
                        <a:pt x="215" y="134"/>
                      </a:lnTo>
                      <a:lnTo>
                        <a:pt x="224" y="138"/>
                      </a:lnTo>
                      <a:lnTo>
                        <a:pt x="231" y="141"/>
                      </a:lnTo>
                      <a:lnTo>
                        <a:pt x="238" y="148"/>
                      </a:lnTo>
                      <a:lnTo>
                        <a:pt x="243" y="151"/>
                      </a:lnTo>
                      <a:lnTo>
                        <a:pt x="247" y="153"/>
                      </a:lnTo>
                      <a:lnTo>
                        <a:pt x="252" y="151"/>
                      </a:lnTo>
                      <a:lnTo>
                        <a:pt x="252" y="151"/>
                      </a:lnTo>
                      <a:lnTo>
                        <a:pt x="257" y="151"/>
                      </a:lnTo>
                      <a:lnTo>
                        <a:pt x="261" y="155"/>
                      </a:lnTo>
                      <a:lnTo>
                        <a:pt x="266" y="158"/>
                      </a:lnTo>
                      <a:lnTo>
                        <a:pt x="269" y="164"/>
                      </a:lnTo>
                      <a:lnTo>
                        <a:pt x="275" y="174"/>
                      </a:lnTo>
                      <a:lnTo>
                        <a:pt x="275" y="179"/>
                      </a:lnTo>
                      <a:lnTo>
                        <a:pt x="273" y="183"/>
                      </a:lnTo>
                      <a:lnTo>
                        <a:pt x="273" y="183"/>
                      </a:lnTo>
                      <a:lnTo>
                        <a:pt x="271" y="185"/>
                      </a:lnTo>
                      <a:lnTo>
                        <a:pt x="268" y="185"/>
                      </a:lnTo>
                      <a:lnTo>
                        <a:pt x="259" y="185"/>
                      </a:lnTo>
                      <a:lnTo>
                        <a:pt x="249" y="185"/>
                      </a:lnTo>
                      <a:lnTo>
                        <a:pt x="245" y="186"/>
                      </a:lnTo>
                      <a:lnTo>
                        <a:pt x="242" y="186"/>
                      </a:lnTo>
                      <a:lnTo>
                        <a:pt x="242" y="186"/>
                      </a:lnTo>
                      <a:lnTo>
                        <a:pt x="240" y="188"/>
                      </a:lnTo>
                      <a:lnTo>
                        <a:pt x="240" y="191"/>
                      </a:lnTo>
                      <a:lnTo>
                        <a:pt x="242" y="197"/>
                      </a:lnTo>
                      <a:lnTo>
                        <a:pt x="247" y="205"/>
                      </a:lnTo>
                      <a:lnTo>
                        <a:pt x="252" y="214"/>
                      </a:lnTo>
                      <a:lnTo>
                        <a:pt x="268" y="230"/>
                      </a:lnTo>
                      <a:lnTo>
                        <a:pt x="273" y="235"/>
                      </a:lnTo>
                      <a:lnTo>
                        <a:pt x="278" y="238"/>
                      </a:lnTo>
                      <a:lnTo>
                        <a:pt x="278" y="238"/>
                      </a:lnTo>
                      <a:lnTo>
                        <a:pt x="282" y="242"/>
                      </a:lnTo>
                      <a:lnTo>
                        <a:pt x="285" y="249"/>
                      </a:lnTo>
                      <a:lnTo>
                        <a:pt x="290" y="265"/>
                      </a:lnTo>
                      <a:lnTo>
                        <a:pt x="292" y="273"/>
                      </a:lnTo>
                      <a:lnTo>
                        <a:pt x="297" y="279"/>
                      </a:lnTo>
                      <a:lnTo>
                        <a:pt x="303" y="282"/>
                      </a:lnTo>
                      <a:lnTo>
                        <a:pt x="306" y="284"/>
                      </a:lnTo>
                      <a:lnTo>
                        <a:pt x="311" y="282"/>
                      </a:lnTo>
                      <a:lnTo>
                        <a:pt x="311" y="282"/>
                      </a:lnTo>
                      <a:lnTo>
                        <a:pt x="320" y="280"/>
                      </a:lnTo>
                      <a:lnTo>
                        <a:pt x="325" y="282"/>
                      </a:lnTo>
                      <a:lnTo>
                        <a:pt x="325" y="285"/>
                      </a:lnTo>
                      <a:lnTo>
                        <a:pt x="323" y="289"/>
                      </a:lnTo>
                      <a:lnTo>
                        <a:pt x="322" y="294"/>
                      </a:lnTo>
                      <a:lnTo>
                        <a:pt x="322" y="299"/>
                      </a:lnTo>
                      <a:lnTo>
                        <a:pt x="322" y="301"/>
                      </a:lnTo>
                      <a:lnTo>
                        <a:pt x="325" y="303"/>
                      </a:lnTo>
                      <a:lnTo>
                        <a:pt x="334" y="306"/>
                      </a:lnTo>
                      <a:lnTo>
                        <a:pt x="334" y="306"/>
                      </a:lnTo>
                      <a:lnTo>
                        <a:pt x="344" y="306"/>
                      </a:lnTo>
                      <a:lnTo>
                        <a:pt x="348" y="308"/>
                      </a:lnTo>
                      <a:lnTo>
                        <a:pt x="346" y="312"/>
                      </a:lnTo>
                      <a:lnTo>
                        <a:pt x="344" y="315"/>
                      </a:lnTo>
                      <a:lnTo>
                        <a:pt x="341" y="319"/>
                      </a:lnTo>
                      <a:lnTo>
                        <a:pt x="341" y="320"/>
                      </a:lnTo>
                      <a:lnTo>
                        <a:pt x="343" y="322"/>
                      </a:lnTo>
                      <a:lnTo>
                        <a:pt x="350" y="326"/>
                      </a:lnTo>
                      <a:lnTo>
                        <a:pt x="363" y="331"/>
                      </a:lnTo>
                      <a:lnTo>
                        <a:pt x="363" y="331"/>
                      </a:lnTo>
                      <a:lnTo>
                        <a:pt x="372" y="334"/>
                      </a:lnTo>
                      <a:lnTo>
                        <a:pt x="376" y="336"/>
                      </a:lnTo>
                      <a:lnTo>
                        <a:pt x="379" y="341"/>
                      </a:lnTo>
                      <a:lnTo>
                        <a:pt x="377" y="345"/>
                      </a:lnTo>
                      <a:lnTo>
                        <a:pt x="376" y="348"/>
                      </a:lnTo>
                      <a:lnTo>
                        <a:pt x="370" y="350"/>
                      </a:lnTo>
                      <a:lnTo>
                        <a:pt x="365" y="352"/>
                      </a:lnTo>
                      <a:lnTo>
                        <a:pt x="360" y="353"/>
                      </a:lnTo>
                      <a:lnTo>
                        <a:pt x="360" y="353"/>
                      </a:lnTo>
                      <a:lnTo>
                        <a:pt x="355" y="353"/>
                      </a:lnTo>
                      <a:lnTo>
                        <a:pt x="351" y="352"/>
                      </a:lnTo>
                      <a:lnTo>
                        <a:pt x="344" y="346"/>
                      </a:lnTo>
                      <a:lnTo>
                        <a:pt x="339" y="345"/>
                      </a:lnTo>
                      <a:lnTo>
                        <a:pt x="332" y="341"/>
                      </a:lnTo>
                      <a:lnTo>
                        <a:pt x="322" y="338"/>
                      </a:lnTo>
                      <a:lnTo>
                        <a:pt x="306" y="334"/>
                      </a:lnTo>
                      <a:lnTo>
                        <a:pt x="306" y="334"/>
                      </a:lnTo>
                      <a:lnTo>
                        <a:pt x="278" y="329"/>
                      </a:lnTo>
                      <a:lnTo>
                        <a:pt x="271" y="326"/>
                      </a:lnTo>
                      <a:lnTo>
                        <a:pt x="266" y="322"/>
                      </a:lnTo>
                      <a:lnTo>
                        <a:pt x="261" y="319"/>
                      </a:lnTo>
                      <a:lnTo>
                        <a:pt x="255" y="312"/>
                      </a:lnTo>
                      <a:lnTo>
                        <a:pt x="242" y="292"/>
                      </a:lnTo>
                      <a:lnTo>
                        <a:pt x="242" y="292"/>
                      </a:lnTo>
                      <a:lnTo>
                        <a:pt x="233" y="280"/>
                      </a:lnTo>
                      <a:lnTo>
                        <a:pt x="226" y="270"/>
                      </a:lnTo>
                      <a:lnTo>
                        <a:pt x="217" y="254"/>
                      </a:lnTo>
                      <a:lnTo>
                        <a:pt x="212" y="247"/>
                      </a:lnTo>
                      <a:lnTo>
                        <a:pt x="205" y="242"/>
                      </a:lnTo>
                      <a:lnTo>
                        <a:pt x="198" y="238"/>
                      </a:lnTo>
                      <a:lnTo>
                        <a:pt x="188" y="237"/>
                      </a:lnTo>
                      <a:lnTo>
                        <a:pt x="188" y="237"/>
                      </a:lnTo>
                      <a:lnTo>
                        <a:pt x="177" y="235"/>
                      </a:lnTo>
                      <a:lnTo>
                        <a:pt x="172" y="232"/>
                      </a:lnTo>
                      <a:lnTo>
                        <a:pt x="168" y="230"/>
                      </a:lnTo>
                      <a:lnTo>
                        <a:pt x="167" y="228"/>
                      </a:lnTo>
                      <a:lnTo>
                        <a:pt x="167" y="226"/>
                      </a:lnTo>
                      <a:lnTo>
                        <a:pt x="165" y="225"/>
                      </a:lnTo>
                      <a:lnTo>
                        <a:pt x="153" y="228"/>
                      </a:lnTo>
                      <a:lnTo>
                        <a:pt x="153" y="228"/>
                      </a:lnTo>
                      <a:lnTo>
                        <a:pt x="146" y="230"/>
                      </a:lnTo>
                      <a:lnTo>
                        <a:pt x="139" y="228"/>
                      </a:lnTo>
                      <a:lnTo>
                        <a:pt x="134" y="225"/>
                      </a:lnTo>
                      <a:lnTo>
                        <a:pt x="128" y="218"/>
                      </a:lnTo>
                      <a:lnTo>
                        <a:pt x="128" y="218"/>
                      </a:lnTo>
                      <a:lnTo>
                        <a:pt x="132" y="228"/>
                      </a:lnTo>
                      <a:lnTo>
                        <a:pt x="132" y="233"/>
                      </a:lnTo>
                      <a:lnTo>
                        <a:pt x="132" y="237"/>
                      </a:lnTo>
                      <a:lnTo>
                        <a:pt x="130" y="238"/>
                      </a:lnTo>
                      <a:lnTo>
                        <a:pt x="125" y="240"/>
                      </a:lnTo>
                      <a:lnTo>
                        <a:pt x="125" y="240"/>
                      </a:lnTo>
                      <a:lnTo>
                        <a:pt x="123" y="244"/>
                      </a:lnTo>
                      <a:lnTo>
                        <a:pt x="123" y="244"/>
                      </a:lnTo>
                      <a:lnTo>
                        <a:pt x="123" y="247"/>
                      </a:lnTo>
                      <a:lnTo>
                        <a:pt x="120" y="249"/>
                      </a:lnTo>
                      <a:lnTo>
                        <a:pt x="109" y="252"/>
                      </a:lnTo>
                      <a:lnTo>
                        <a:pt x="106" y="252"/>
                      </a:lnTo>
                      <a:lnTo>
                        <a:pt x="102" y="254"/>
                      </a:lnTo>
                      <a:lnTo>
                        <a:pt x="104" y="256"/>
                      </a:lnTo>
                      <a:lnTo>
                        <a:pt x="109" y="259"/>
                      </a:lnTo>
                      <a:lnTo>
                        <a:pt x="109" y="259"/>
                      </a:lnTo>
                      <a:lnTo>
                        <a:pt x="116" y="266"/>
                      </a:lnTo>
                      <a:lnTo>
                        <a:pt x="120" y="273"/>
                      </a:lnTo>
                      <a:lnTo>
                        <a:pt x="120" y="279"/>
                      </a:lnTo>
                      <a:lnTo>
                        <a:pt x="120" y="280"/>
                      </a:lnTo>
                      <a:lnTo>
                        <a:pt x="118" y="282"/>
                      </a:lnTo>
                      <a:lnTo>
                        <a:pt x="114" y="284"/>
                      </a:lnTo>
                      <a:lnTo>
                        <a:pt x="114" y="284"/>
                      </a:lnTo>
                      <a:lnTo>
                        <a:pt x="111" y="284"/>
                      </a:lnTo>
                      <a:lnTo>
                        <a:pt x="107" y="285"/>
                      </a:lnTo>
                      <a:lnTo>
                        <a:pt x="101" y="291"/>
                      </a:lnTo>
                      <a:lnTo>
                        <a:pt x="95" y="294"/>
                      </a:lnTo>
                      <a:lnTo>
                        <a:pt x="92" y="296"/>
                      </a:lnTo>
                      <a:lnTo>
                        <a:pt x="87" y="296"/>
                      </a:lnTo>
                      <a:lnTo>
                        <a:pt x="81" y="294"/>
                      </a:lnTo>
                      <a:lnTo>
                        <a:pt x="81" y="294"/>
                      </a:lnTo>
                      <a:lnTo>
                        <a:pt x="74" y="291"/>
                      </a:lnTo>
                      <a:lnTo>
                        <a:pt x="67" y="291"/>
                      </a:lnTo>
                      <a:lnTo>
                        <a:pt x="54" y="291"/>
                      </a:lnTo>
                      <a:lnTo>
                        <a:pt x="41" y="291"/>
                      </a:lnTo>
                      <a:lnTo>
                        <a:pt x="36" y="291"/>
                      </a:lnTo>
                      <a:lnTo>
                        <a:pt x="33" y="289"/>
                      </a:lnTo>
                      <a:lnTo>
                        <a:pt x="33" y="289"/>
                      </a:lnTo>
                      <a:lnTo>
                        <a:pt x="20" y="272"/>
                      </a:lnTo>
                      <a:lnTo>
                        <a:pt x="12" y="261"/>
                      </a:lnTo>
                      <a:lnTo>
                        <a:pt x="1" y="252"/>
                      </a:lnTo>
                      <a:lnTo>
                        <a:pt x="0"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174" name="Group 734">
                  <a:extLst>
                    <a:ext uri="{FF2B5EF4-FFF2-40B4-BE49-F238E27FC236}">
                      <a16:creationId xmlns:a16="http://schemas.microsoft.com/office/drawing/2014/main" id="{D9670D9F-70B6-A4F1-0898-AEBAADBB9E69}"/>
                    </a:ext>
                  </a:extLst>
                </p:cNvPr>
                <p:cNvGrpSpPr>
                  <a:grpSpLocks/>
                </p:cNvGrpSpPr>
                <p:nvPr/>
              </p:nvGrpSpPr>
              <p:grpSpPr bwMode="auto">
                <a:xfrm>
                  <a:off x="7399754" y="4325008"/>
                  <a:ext cx="1263359" cy="563842"/>
                  <a:chOff x="6496330" y="4095583"/>
                  <a:chExt cx="1138327" cy="508825"/>
                </a:xfrm>
                <a:grpFill/>
              </p:grpSpPr>
              <p:sp>
                <p:nvSpPr>
                  <p:cNvPr id="464" name="Freeform 1784">
                    <a:extLst>
                      <a:ext uri="{FF2B5EF4-FFF2-40B4-BE49-F238E27FC236}">
                        <a16:creationId xmlns:a16="http://schemas.microsoft.com/office/drawing/2014/main" id="{A4BC0B3A-4EF3-5CD0-E1F4-524BB6ED5C2F}"/>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5" name="Freeform 1785">
                    <a:extLst>
                      <a:ext uri="{FF2B5EF4-FFF2-40B4-BE49-F238E27FC236}">
                        <a16:creationId xmlns:a16="http://schemas.microsoft.com/office/drawing/2014/main" id="{0EAF5425-2366-97EF-6E7B-4D24FE9A74A4}"/>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6" name="Freeform 1786">
                    <a:extLst>
                      <a:ext uri="{FF2B5EF4-FFF2-40B4-BE49-F238E27FC236}">
                        <a16:creationId xmlns:a16="http://schemas.microsoft.com/office/drawing/2014/main" id="{02B1D81C-7DAC-8E0C-2296-5405D048EB2C}"/>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lnTo>
                          <a:pt x="305"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7" name="Freeform 1787">
                    <a:extLst>
                      <a:ext uri="{FF2B5EF4-FFF2-40B4-BE49-F238E27FC236}">
                        <a16:creationId xmlns:a16="http://schemas.microsoft.com/office/drawing/2014/main" id="{1BEA7F63-FB9B-18DB-9FCA-42EF10FD46C9}"/>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8" name="Freeform 1788">
                    <a:extLst>
                      <a:ext uri="{FF2B5EF4-FFF2-40B4-BE49-F238E27FC236}">
                        <a16:creationId xmlns:a16="http://schemas.microsoft.com/office/drawing/2014/main" id="{A9F64FD9-351E-06D6-1873-32DCB90CB805}"/>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9" name="Freeform 1789">
                    <a:extLst>
                      <a:ext uri="{FF2B5EF4-FFF2-40B4-BE49-F238E27FC236}">
                        <a16:creationId xmlns:a16="http://schemas.microsoft.com/office/drawing/2014/main" id="{AAE58FE2-BE4C-1BED-75D4-7D0508477899}"/>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0" name="Freeform 1790">
                    <a:extLst>
                      <a:ext uri="{FF2B5EF4-FFF2-40B4-BE49-F238E27FC236}">
                        <a16:creationId xmlns:a16="http://schemas.microsoft.com/office/drawing/2014/main" id="{BBE1FC4A-43B8-DAEB-1A31-1EB1B8DAE920}"/>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1" name="Freeform 1791">
                    <a:extLst>
                      <a:ext uri="{FF2B5EF4-FFF2-40B4-BE49-F238E27FC236}">
                        <a16:creationId xmlns:a16="http://schemas.microsoft.com/office/drawing/2014/main" id="{87E6276A-AABF-44ED-069C-5EE2782BA9BC}"/>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2" name="Freeform 1792">
                    <a:extLst>
                      <a:ext uri="{FF2B5EF4-FFF2-40B4-BE49-F238E27FC236}">
                        <a16:creationId xmlns:a16="http://schemas.microsoft.com/office/drawing/2014/main" id="{B7F58BAC-9D65-8A76-71AC-3067E78AFD0F}"/>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lnTo>
                          <a:pt x="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3" name="Freeform 1793">
                    <a:extLst>
                      <a:ext uri="{FF2B5EF4-FFF2-40B4-BE49-F238E27FC236}">
                        <a16:creationId xmlns:a16="http://schemas.microsoft.com/office/drawing/2014/main" id="{7D3D2C8B-3182-3F03-37A6-2553BAEA5553}"/>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4" name="Freeform 1794">
                    <a:extLst>
                      <a:ext uri="{FF2B5EF4-FFF2-40B4-BE49-F238E27FC236}">
                        <a16:creationId xmlns:a16="http://schemas.microsoft.com/office/drawing/2014/main" id="{DD13B04F-C071-3AA7-9B7A-84DDCF90EA2E}"/>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5" name="Freeform 1795">
                    <a:extLst>
                      <a:ext uri="{FF2B5EF4-FFF2-40B4-BE49-F238E27FC236}">
                        <a16:creationId xmlns:a16="http://schemas.microsoft.com/office/drawing/2014/main" id="{1F2EF26C-3B5C-4B94-E4B0-F9B48B503A70}"/>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lnTo>
                          <a:pt x="3"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6" name="Freeform 1796">
                    <a:extLst>
                      <a:ext uri="{FF2B5EF4-FFF2-40B4-BE49-F238E27FC236}">
                        <a16:creationId xmlns:a16="http://schemas.microsoft.com/office/drawing/2014/main" id="{B77BA26A-1F86-35DB-E6BC-3B529388CB22}"/>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7" name="Freeform 1797">
                    <a:extLst>
                      <a:ext uri="{FF2B5EF4-FFF2-40B4-BE49-F238E27FC236}">
                        <a16:creationId xmlns:a16="http://schemas.microsoft.com/office/drawing/2014/main" id="{B559A89C-8E39-F8A4-62CA-68D45F17B2F3}"/>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8" name="Freeform 1798">
                    <a:extLst>
                      <a:ext uri="{FF2B5EF4-FFF2-40B4-BE49-F238E27FC236}">
                        <a16:creationId xmlns:a16="http://schemas.microsoft.com/office/drawing/2014/main" id="{DFE80FE5-0538-1173-3DFB-DB8DB4595C9E}"/>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9" name="Freeform 1799">
                    <a:extLst>
                      <a:ext uri="{FF2B5EF4-FFF2-40B4-BE49-F238E27FC236}">
                        <a16:creationId xmlns:a16="http://schemas.microsoft.com/office/drawing/2014/main" id="{1489B37B-F08A-8C89-DFAC-7C1B05FF8EB5}"/>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0" name="Freeform 1800">
                    <a:extLst>
                      <a:ext uri="{FF2B5EF4-FFF2-40B4-BE49-F238E27FC236}">
                        <a16:creationId xmlns:a16="http://schemas.microsoft.com/office/drawing/2014/main" id="{DFF22124-E996-E0ED-EF1A-E1577FE8EA6D}"/>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1" name="Freeform 1801">
                    <a:extLst>
                      <a:ext uri="{FF2B5EF4-FFF2-40B4-BE49-F238E27FC236}">
                        <a16:creationId xmlns:a16="http://schemas.microsoft.com/office/drawing/2014/main" id="{7F49C7CB-6DEB-48FE-94F7-273FE06B0152}"/>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2" name="Freeform 1802">
                    <a:extLst>
                      <a:ext uri="{FF2B5EF4-FFF2-40B4-BE49-F238E27FC236}">
                        <a16:creationId xmlns:a16="http://schemas.microsoft.com/office/drawing/2014/main" id="{59B15237-FF05-AE1F-56EF-017165AEEA27}"/>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3" name="Freeform 1803">
                    <a:extLst>
                      <a:ext uri="{FF2B5EF4-FFF2-40B4-BE49-F238E27FC236}">
                        <a16:creationId xmlns:a16="http://schemas.microsoft.com/office/drawing/2014/main" id="{EE843C06-5F62-A790-9B2F-3F1EA6B02F05}"/>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4" name="Freeform 1804">
                    <a:extLst>
                      <a:ext uri="{FF2B5EF4-FFF2-40B4-BE49-F238E27FC236}">
                        <a16:creationId xmlns:a16="http://schemas.microsoft.com/office/drawing/2014/main" id="{16D457E3-3E96-B69D-E3FC-DCCF489F05CC}"/>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lnTo>
                          <a:pt x="0"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5" name="Freeform 1805">
                    <a:extLst>
                      <a:ext uri="{FF2B5EF4-FFF2-40B4-BE49-F238E27FC236}">
                        <a16:creationId xmlns:a16="http://schemas.microsoft.com/office/drawing/2014/main" id="{72B7DE54-231B-33E5-3EE5-008D8E6F09F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6" name="Freeform 1806">
                    <a:extLst>
                      <a:ext uri="{FF2B5EF4-FFF2-40B4-BE49-F238E27FC236}">
                        <a16:creationId xmlns:a16="http://schemas.microsoft.com/office/drawing/2014/main" id="{17A7A98E-63B7-2B55-357B-BCEBD5E1C6AC}"/>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7" name="Freeform 1807">
                    <a:extLst>
                      <a:ext uri="{FF2B5EF4-FFF2-40B4-BE49-F238E27FC236}">
                        <a16:creationId xmlns:a16="http://schemas.microsoft.com/office/drawing/2014/main" id="{00E89DC9-15F5-8EF6-A27A-1974E1A036BF}"/>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lnTo>
                          <a:pt x="2" y="1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8" name="Freeform 1808">
                    <a:extLst>
                      <a:ext uri="{FF2B5EF4-FFF2-40B4-BE49-F238E27FC236}">
                        <a16:creationId xmlns:a16="http://schemas.microsoft.com/office/drawing/2014/main" id="{53BE0E2B-AF22-8448-5CF5-CD8AF75512CE}"/>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9" name="Freeform 1809">
                    <a:extLst>
                      <a:ext uri="{FF2B5EF4-FFF2-40B4-BE49-F238E27FC236}">
                        <a16:creationId xmlns:a16="http://schemas.microsoft.com/office/drawing/2014/main" id="{5E0E3DFC-9426-D456-513B-90FF83AE204F}"/>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0" name="Freeform 1810">
                    <a:extLst>
                      <a:ext uri="{FF2B5EF4-FFF2-40B4-BE49-F238E27FC236}">
                        <a16:creationId xmlns:a16="http://schemas.microsoft.com/office/drawing/2014/main" id="{915F2A66-056A-37AF-546A-30C7966E3233}"/>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1" name="Freeform 1811">
                    <a:extLst>
                      <a:ext uri="{FF2B5EF4-FFF2-40B4-BE49-F238E27FC236}">
                        <a16:creationId xmlns:a16="http://schemas.microsoft.com/office/drawing/2014/main" id="{B4ABB5DE-284B-DB06-208D-5408918BCCA5}"/>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2" name="Freeform 1812">
                    <a:extLst>
                      <a:ext uri="{FF2B5EF4-FFF2-40B4-BE49-F238E27FC236}">
                        <a16:creationId xmlns:a16="http://schemas.microsoft.com/office/drawing/2014/main" id="{4DCE6765-A8D8-89C9-D6AB-537121C1EC61}"/>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3" name="Freeform 1813">
                    <a:extLst>
                      <a:ext uri="{FF2B5EF4-FFF2-40B4-BE49-F238E27FC236}">
                        <a16:creationId xmlns:a16="http://schemas.microsoft.com/office/drawing/2014/main" id="{5DE1E486-ACA7-E69D-4F60-FAC05B392A48}"/>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lnTo>
                          <a:pt x="0" y="3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4" name="Freeform 1814">
                    <a:extLst>
                      <a:ext uri="{FF2B5EF4-FFF2-40B4-BE49-F238E27FC236}">
                        <a16:creationId xmlns:a16="http://schemas.microsoft.com/office/drawing/2014/main" id="{DFD953ED-5986-C7DA-B3BB-8EB463FE0F04}"/>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5" name="Freeform 1815">
                    <a:extLst>
                      <a:ext uri="{FF2B5EF4-FFF2-40B4-BE49-F238E27FC236}">
                        <a16:creationId xmlns:a16="http://schemas.microsoft.com/office/drawing/2014/main" id="{54954228-062B-B94C-0E4B-6E167A249A3F}"/>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6" name="Freeform 1816">
                    <a:extLst>
                      <a:ext uri="{FF2B5EF4-FFF2-40B4-BE49-F238E27FC236}">
                        <a16:creationId xmlns:a16="http://schemas.microsoft.com/office/drawing/2014/main" id="{36AE532C-0C07-725C-AAAD-155D4061ACB1}"/>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lnTo>
                          <a:pt x="6"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7" name="Freeform 1817">
                    <a:extLst>
                      <a:ext uri="{FF2B5EF4-FFF2-40B4-BE49-F238E27FC236}">
                        <a16:creationId xmlns:a16="http://schemas.microsoft.com/office/drawing/2014/main" id="{CD6F5896-86C0-EF73-DCD1-984D7C6CF91A}"/>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8" name="Freeform 1818">
                    <a:extLst>
                      <a:ext uri="{FF2B5EF4-FFF2-40B4-BE49-F238E27FC236}">
                        <a16:creationId xmlns:a16="http://schemas.microsoft.com/office/drawing/2014/main" id="{B3AE451C-09B2-2105-680D-326DB7CB555E}"/>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9" name="Freeform 1819">
                    <a:extLst>
                      <a:ext uri="{FF2B5EF4-FFF2-40B4-BE49-F238E27FC236}">
                        <a16:creationId xmlns:a16="http://schemas.microsoft.com/office/drawing/2014/main" id="{492DFC79-0F39-7D3E-645D-0AA2B21837B9}"/>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0" name="Freeform 1820">
                    <a:extLst>
                      <a:ext uri="{FF2B5EF4-FFF2-40B4-BE49-F238E27FC236}">
                        <a16:creationId xmlns:a16="http://schemas.microsoft.com/office/drawing/2014/main" id="{B92FD795-EFFB-281E-D145-2A00159C8FE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1" name="Freeform 1821">
                    <a:extLst>
                      <a:ext uri="{FF2B5EF4-FFF2-40B4-BE49-F238E27FC236}">
                        <a16:creationId xmlns:a16="http://schemas.microsoft.com/office/drawing/2014/main" id="{7C6FE4B3-41D7-8EEC-3916-3F1D921D8318}"/>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2" name="Freeform 1822">
                    <a:extLst>
                      <a:ext uri="{FF2B5EF4-FFF2-40B4-BE49-F238E27FC236}">
                        <a16:creationId xmlns:a16="http://schemas.microsoft.com/office/drawing/2014/main" id="{348AB06B-016F-1C3E-F209-BB8D59D1C767}"/>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lnTo>
                          <a:pt x="1"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3" name="Freeform 1823">
                    <a:extLst>
                      <a:ext uri="{FF2B5EF4-FFF2-40B4-BE49-F238E27FC236}">
                        <a16:creationId xmlns:a16="http://schemas.microsoft.com/office/drawing/2014/main" id="{8DF03288-8A06-1164-53FC-A6E95DAE2228}"/>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4" name="Freeform 1824">
                    <a:extLst>
                      <a:ext uri="{FF2B5EF4-FFF2-40B4-BE49-F238E27FC236}">
                        <a16:creationId xmlns:a16="http://schemas.microsoft.com/office/drawing/2014/main" id="{A591B4C3-A39B-7555-67CE-7D59170BB39C}"/>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5" name="Freeform 1825">
                    <a:extLst>
                      <a:ext uri="{FF2B5EF4-FFF2-40B4-BE49-F238E27FC236}">
                        <a16:creationId xmlns:a16="http://schemas.microsoft.com/office/drawing/2014/main" id="{D3DAA32B-3D6D-EB42-34E3-6F9FED4B1379}"/>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lnTo>
                          <a:pt x="7"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6" name="Freeform 1826">
                    <a:extLst>
                      <a:ext uri="{FF2B5EF4-FFF2-40B4-BE49-F238E27FC236}">
                        <a16:creationId xmlns:a16="http://schemas.microsoft.com/office/drawing/2014/main" id="{BA9C8520-0C8C-ECE0-7C00-5973F9CF9293}"/>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7" name="Freeform 1827">
                    <a:extLst>
                      <a:ext uri="{FF2B5EF4-FFF2-40B4-BE49-F238E27FC236}">
                        <a16:creationId xmlns:a16="http://schemas.microsoft.com/office/drawing/2014/main" id="{66583214-BE3E-3ECB-CA10-6FAB0FD9C81D}"/>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8" name="Freeform 1828">
                    <a:extLst>
                      <a:ext uri="{FF2B5EF4-FFF2-40B4-BE49-F238E27FC236}">
                        <a16:creationId xmlns:a16="http://schemas.microsoft.com/office/drawing/2014/main" id="{24E877F6-B25F-6D43-D775-604A19600290}"/>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lnTo>
                          <a:pt x="1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9" name="Freeform 1829">
                    <a:extLst>
                      <a:ext uri="{FF2B5EF4-FFF2-40B4-BE49-F238E27FC236}">
                        <a16:creationId xmlns:a16="http://schemas.microsoft.com/office/drawing/2014/main" id="{5E837B27-984E-D728-389E-8F1D32393A39}"/>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0" name="Freeform 1830">
                    <a:extLst>
                      <a:ext uri="{FF2B5EF4-FFF2-40B4-BE49-F238E27FC236}">
                        <a16:creationId xmlns:a16="http://schemas.microsoft.com/office/drawing/2014/main" id="{E290640A-5F82-2C1D-E7C6-57CA6F6F5640}"/>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1" name="Freeform 1831">
                    <a:extLst>
                      <a:ext uri="{FF2B5EF4-FFF2-40B4-BE49-F238E27FC236}">
                        <a16:creationId xmlns:a16="http://schemas.microsoft.com/office/drawing/2014/main" id="{FE4C2033-AD9C-C987-6C8F-3AF6722CFF96}"/>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lnTo>
                          <a:pt x="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2" name="Freeform 1832">
                    <a:extLst>
                      <a:ext uri="{FF2B5EF4-FFF2-40B4-BE49-F238E27FC236}">
                        <a16:creationId xmlns:a16="http://schemas.microsoft.com/office/drawing/2014/main" id="{4C35AE3F-2835-68CE-5ED0-1D75E34234FD}"/>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3" name="Freeform 1833">
                    <a:extLst>
                      <a:ext uri="{FF2B5EF4-FFF2-40B4-BE49-F238E27FC236}">
                        <a16:creationId xmlns:a16="http://schemas.microsoft.com/office/drawing/2014/main" id="{D70CA4F7-5CE6-764D-7446-F27DCAE8BCCB}"/>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4" name="Freeform 1834">
                    <a:extLst>
                      <a:ext uri="{FF2B5EF4-FFF2-40B4-BE49-F238E27FC236}">
                        <a16:creationId xmlns:a16="http://schemas.microsoft.com/office/drawing/2014/main" id="{DDD84FDD-C2DC-5406-9FE1-A330FBD844DF}"/>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5" name="Freeform 1835">
                    <a:extLst>
                      <a:ext uri="{FF2B5EF4-FFF2-40B4-BE49-F238E27FC236}">
                        <a16:creationId xmlns:a16="http://schemas.microsoft.com/office/drawing/2014/main" id="{32D5761B-50F3-9AEA-20CD-46E22A942110}"/>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6" name="Freeform 1836">
                    <a:extLst>
                      <a:ext uri="{FF2B5EF4-FFF2-40B4-BE49-F238E27FC236}">
                        <a16:creationId xmlns:a16="http://schemas.microsoft.com/office/drawing/2014/main" id="{B9F7A0F2-2947-BDED-E95D-D8B876E9AE9A}"/>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7" name="Freeform 1837">
                    <a:extLst>
                      <a:ext uri="{FF2B5EF4-FFF2-40B4-BE49-F238E27FC236}">
                        <a16:creationId xmlns:a16="http://schemas.microsoft.com/office/drawing/2014/main" id="{3325B9E8-2E0B-4FB7-32E8-A5ED534DBD3C}"/>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8" name="Freeform 1838">
                    <a:extLst>
                      <a:ext uri="{FF2B5EF4-FFF2-40B4-BE49-F238E27FC236}">
                        <a16:creationId xmlns:a16="http://schemas.microsoft.com/office/drawing/2014/main" id="{42F0F7EB-FB3E-4F17-6748-E1708001AA4F}"/>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9" name="Freeform 1839">
                    <a:extLst>
                      <a:ext uri="{FF2B5EF4-FFF2-40B4-BE49-F238E27FC236}">
                        <a16:creationId xmlns:a16="http://schemas.microsoft.com/office/drawing/2014/main" id="{500184A7-A867-1813-B077-4E7B20C9D3E1}"/>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0" name="Freeform 1840">
                    <a:extLst>
                      <a:ext uri="{FF2B5EF4-FFF2-40B4-BE49-F238E27FC236}">
                        <a16:creationId xmlns:a16="http://schemas.microsoft.com/office/drawing/2014/main" id="{3CB9EE9B-20F6-0284-6B27-FBF4C2758C26}"/>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lnTo>
                          <a:pt x="5"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1" name="Freeform 1841">
                    <a:extLst>
                      <a:ext uri="{FF2B5EF4-FFF2-40B4-BE49-F238E27FC236}">
                        <a16:creationId xmlns:a16="http://schemas.microsoft.com/office/drawing/2014/main" id="{6C6AB260-4F12-3F93-C873-D6E06158CA82}"/>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2" name="Freeform 1842">
                    <a:extLst>
                      <a:ext uri="{FF2B5EF4-FFF2-40B4-BE49-F238E27FC236}">
                        <a16:creationId xmlns:a16="http://schemas.microsoft.com/office/drawing/2014/main" id="{11FC8D5D-2F92-31EC-980F-9EE25D3E4D4A}"/>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3" name="Freeform 1843">
                    <a:extLst>
                      <a:ext uri="{FF2B5EF4-FFF2-40B4-BE49-F238E27FC236}">
                        <a16:creationId xmlns:a16="http://schemas.microsoft.com/office/drawing/2014/main" id="{CF76CCC5-687A-ADE4-F2F3-E1DA6E7B070B}"/>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lnTo>
                          <a:pt x="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4" name="Freeform 1844">
                    <a:extLst>
                      <a:ext uri="{FF2B5EF4-FFF2-40B4-BE49-F238E27FC236}">
                        <a16:creationId xmlns:a16="http://schemas.microsoft.com/office/drawing/2014/main" id="{73455F89-6A1C-32A9-F36E-DD01C535EAA2}"/>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5" name="Freeform 1845">
                    <a:extLst>
                      <a:ext uri="{FF2B5EF4-FFF2-40B4-BE49-F238E27FC236}">
                        <a16:creationId xmlns:a16="http://schemas.microsoft.com/office/drawing/2014/main" id="{22C13D51-B826-14FF-09EA-B068C46E1F43}"/>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6" name="Freeform 1846">
                    <a:extLst>
                      <a:ext uri="{FF2B5EF4-FFF2-40B4-BE49-F238E27FC236}">
                        <a16:creationId xmlns:a16="http://schemas.microsoft.com/office/drawing/2014/main" id="{3F79AB7D-D0A4-EB03-48A4-7E0371A09202}"/>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7" name="Freeform 1847">
                    <a:extLst>
                      <a:ext uri="{FF2B5EF4-FFF2-40B4-BE49-F238E27FC236}">
                        <a16:creationId xmlns:a16="http://schemas.microsoft.com/office/drawing/2014/main" id="{1C80A06C-ED79-5BDA-6D57-87C659FCF9A0}"/>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8" name="Freeform 1848">
                    <a:extLst>
                      <a:ext uri="{FF2B5EF4-FFF2-40B4-BE49-F238E27FC236}">
                        <a16:creationId xmlns:a16="http://schemas.microsoft.com/office/drawing/2014/main" id="{D16AFF12-E9DB-480B-AEF4-E0602B15D81B}"/>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9" name="Freeform 1849">
                    <a:extLst>
                      <a:ext uri="{FF2B5EF4-FFF2-40B4-BE49-F238E27FC236}">
                        <a16:creationId xmlns:a16="http://schemas.microsoft.com/office/drawing/2014/main" id="{2136110A-5F0D-D37C-03A3-995AE2E02D7E}"/>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0" name="Freeform 1850">
                    <a:extLst>
                      <a:ext uri="{FF2B5EF4-FFF2-40B4-BE49-F238E27FC236}">
                        <a16:creationId xmlns:a16="http://schemas.microsoft.com/office/drawing/2014/main" id="{288BE064-6053-2E00-66C5-2C9DBFE3A319}"/>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1" name="Freeform 1851">
                    <a:extLst>
                      <a:ext uri="{FF2B5EF4-FFF2-40B4-BE49-F238E27FC236}">
                        <a16:creationId xmlns:a16="http://schemas.microsoft.com/office/drawing/2014/main" id="{0ED64CAF-7677-8E5A-D896-24CEA4B2D64D}"/>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2" name="Freeform 1852">
                    <a:extLst>
                      <a:ext uri="{FF2B5EF4-FFF2-40B4-BE49-F238E27FC236}">
                        <a16:creationId xmlns:a16="http://schemas.microsoft.com/office/drawing/2014/main" id="{A9BC648A-6609-31B8-7305-1348C3B9B0C7}"/>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lnTo>
                          <a:pt x="5"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3" name="Freeform 1853">
                    <a:extLst>
                      <a:ext uri="{FF2B5EF4-FFF2-40B4-BE49-F238E27FC236}">
                        <a16:creationId xmlns:a16="http://schemas.microsoft.com/office/drawing/2014/main" id="{F0D15409-169E-5BE9-A203-411E4C3249FB}"/>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4" name="Freeform 1854">
                    <a:extLst>
                      <a:ext uri="{FF2B5EF4-FFF2-40B4-BE49-F238E27FC236}">
                        <a16:creationId xmlns:a16="http://schemas.microsoft.com/office/drawing/2014/main" id="{6BF6E9B7-FCB6-363F-54FB-5D80B7425B20}"/>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5" name="Freeform 1855">
                    <a:extLst>
                      <a:ext uri="{FF2B5EF4-FFF2-40B4-BE49-F238E27FC236}">
                        <a16:creationId xmlns:a16="http://schemas.microsoft.com/office/drawing/2014/main" id="{CBE74647-C59C-A5C0-1DAA-C425B2DEE8A7}"/>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lnTo>
                          <a:pt x="2"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6" name="Freeform 1856">
                    <a:extLst>
                      <a:ext uri="{FF2B5EF4-FFF2-40B4-BE49-F238E27FC236}">
                        <a16:creationId xmlns:a16="http://schemas.microsoft.com/office/drawing/2014/main" id="{8A135195-2B9E-8103-9E0D-A7B24791F286}"/>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7" name="Freeform 1857">
                    <a:extLst>
                      <a:ext uri="{FF2B5EF4-FFF2-40B4-BE49-F238E27FC236}">
                        <a16:creationId xmlns:a16="http://schemas.microsoft.com/office/drawing/2014/main" id="{A4C5DA54-6C91-367B-5372-1D151FBD522D}"/>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8" name="Freeform 1858">
                    <a:extLst>
                      <a:ext uri="{FF2B5EF4-FFF2-40B4-BE49-F238E27FC236}">
                        <a16:creationId xmlns:a16="http://schemas.microsoft.com/office/drawing/2014/main" id="{D294FF0F-9EF0-CF5A-BD11-5706EFC3E1C4}"/>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lnTo>
                          <a:pt x="0"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9" name="Freeform 1859">
                    <a:extLst>
                      <a:ext uri="{FF2B5EF4-FFF2-40B4-BE49-F238E27FC236}">
                        <a16:creationId xmlns:a16="http://schemas.microsoft.com/office/drawing/2014/main" id="{BD3BC46C-82CA-062E-D009-2E8F97CF3F8A}"/>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0" name="Freeform 1860">
                    <a:extLst>
                      <a:ext uri="{FF2B5EF4-FFF2-40B4-BE49-F238E27FC236}">
                        <a16:creationId xmlns:a16="http://schemas.microsoft.com/office/drawing/2014/main" id="{F60D56B4-A15B-D68D-E535-E5CBEA2BC8D0}"/>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1" name="Freeform 1861">
                    <a:extLst>
                      <a:ext uri="{FF2B5EF4-FFF2-40B4-BE49-F238E27FC236}">
                        <a16:creationId xmlns:a16="http://schemas.microsoft.com/office/drawing/2014/main" id="{15345DF3-0CB9-C103-96D3-1502BD9D209A}"/>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lnTo>
                          <a:pt x="2"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2" name="Freeform 1862">
                    <a:extLst>
                      <a:ext uri="{FF2B5EF4-FFF2-40B4-BE49-F238E27FC236}">
                        <a16:creationId xmlns:a16="http://schemas.microsoft.com/office/drawing/2014/main" id="{B1C8DA83-82DD-F7C0-1DBB-54EC5B49F362}"/>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3" name="Freeform 1863">
                    <a:extLst>
                      <a:ext uri="{FF2B5EF4-FFF2-40B4-BE49-F238E27FC236}">
                        <a16:creationId xmlns:a16="http://schemas.microsoft.com/office/drawing/2014/main" id="{1BA81CFD-5B7D-1F54-209C-B7233270608C}"/>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4" name="Freeform 1864">
                    <a:extLst>
                      <a:ext uri="{FF2B5EF4-FFF2-40B4-BE49-F238E27FC236}">
                        <a16:creationId xmlns:a16="http://schemas.microsoft.com/office/drawing/2014/main" id="{A3973C76-594C-2C08-D634-E010B637A4B7}"/>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lnTo>
                          <a:pt x="12" y="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5" name="Freeform 1865">
                    <a:extLst>
                      <a:ext uri="{FF2B5EF4-FFF2-40B4-BE49-F238E27FC236}">
                        <a16:creationId xmlns:a16="http://schemas.microsoft.com/office/drawing/2014/main" id="{9915B1A7-4B17-C380-7399-046C45A7810F}"/>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6" name="Freeform 1866">
                    <a:extLst>
                      <a:ext uri="{FF2B5EF4-FFF2-40B4-BE49-F238E27FC236}">
                        <a16:creationId xmlns:a16="http://schemas.microsoft.com/office/drawing/2014/main" id="{175B2957-CB0B-FB30-0336-1DF28F3C0E96}"/>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7" name="Freeform 1867">
                    <a:extLst>
                      <a:ext uri="{FF2B5EF4-FFF2-40B4-BE49-F238E27FC236}">
                        <a16:creationId xmlns:a16="http://schemas.microsoft.com/office/drawing/2014/main" id="{269AA1D3-B66D-4C30-E88A-AD51A0CEBFC8}"/>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8" name="Freeform 1868">
                    <a:extLst>
                      <a:ext uri="{FF2B5EF4-FFF2-40B4-BE49-F238E27FC236}">
                        <a16:creationId xmlns:a16="http://schemas.microsoft.com/office/drawing/2014/main" id="{6D8C46FF-C605-80D3-0AD5-13D8E4625781}"/>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9" name="Freeform 1869">
                    <a:extLst>
                      <a:ext uri="{FF2B5EF4-FFF2-40B4-BE49-F238E27FC236}">
                        <a16:creationId xmlns:a16="http://schemas.microsoft.com/office/drawing/2014/main" id="{BCE477BD-EC97-B7C0-BC52-017787D82FD4}"/>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0" name="Freeform 1870">
                    <a:extLst>
                      <a:ext uri="{FF2B5EF4-FFF2-40B4-BE49-F238E27FC236}">
                        <a16:creationId xmlns:a16="http://schemas.microsoft.com/office/drawing/2014/main" id="{071C055E-31E0-5F21-D2C4-E36B5C2B23C9}"/>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1" name="Freeform 1871">
                    <a:extLst>
                      <a:ext uri="{FF2B5EF4-FFF2-40B4-BE49-F238E27FC236}">
                        <a16:creationId xmlns:a16="http://schemas.microsoft.com/office/drawing/2014/main" id="{B99066E7-E835-D72A-4135-5B800A1CB111}"/>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2" name="Freeform 1872">
                    <a:extLst>
                      <a:ext uri="{FF2B5EF4-FFF2-40B4-BE49-F238E27FC236}">
                        <a16:creationId xmlns:a16="http://schemas.microsoft.com/office/drawing/2014/main" id="{8B32B9E6-5622-CC55-787D-F8BE1A44FCC7}"/>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3" name="Freeform 1873">
                    <a:extLst>
                      <a:ext uri="{FF2B5EF4-FFF2-40B4-BE49-F238E27FC236}">
                        <a16:creationId xmlns:a16="http://schemas.microsoft.com/office/drawing/2014/main" id="{CA2A5369-C105-9DC2-209E-447A13C8C3C9}"/>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lnTo>
                          <a:pt x="4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4" name="Freeform 1874">
                    <a:extLst>
                      <a:ext uri="{FF2B5EF4-FFF2-40B4-BE49-F238E27FC236}">
                        <a16:creationId xmlns:a16="http://schemas.microsoft.com/office/drawing/2014/main" id="{83A46438-58C9-7465-3FFB-579E01602145}"/>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5" name="Freeform 1875">
                    <a:extLst>
                      <a:ext uri="{FF2B5EF4-FFF2-40B4-BE49-F238E27FC236}">
                        <a16:creationId xmlns:a16="http://schemas.microsoft.com/office/drawing/2014/main" id="{D7E060ED-EB9E-586C-98A5-DE44BF1F87F6}"/>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6" name="Freeform 1876">
                    <a:extLst>
                      <a:ext uri="{FF2B5EF4-FFF2-40B4-BE49-F238E27FC236}">
                        <a16:creationId xmlns:a16="http://schemas.microsoft.com/office/drawing/2014/main" id="{C22184EE-1967-0AEF-94D2-CAC7CB4EF7FF}"/>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7" name="Freeform 1877">
                    <a:extLst>
                      <a:ext uri="{FF2B5EF4-FFF2-40B4-BE49-F238E27FC236}">
                        <a16:creationId xmlns:a16="http://schemas.microsoft.com/office/drawing/2014/main" id="{D815007C-8073-D201-6DA1-838D4C391CC4}"/>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8" name="Freeform 1878">
                    <a:extLst>
                      <a:ext uri="{FF2B5EF4-FFF2-40B4-BE49-F238E27FC236}">
                        <a16:creationId xmlns:a16="http://schemas.microsoft.com/office/drawing/2014/main" id="{CDAA23DD-0193-2625-07ED-E3CCFBAB8940}"/>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9" name="Freeform 1879">
                    <a:extLst>
                      <a:ext uri="{FF2B5EF4-FFF2-40B4-BE49-F238E27FC236}">
                        <a16:creationId xmlns:a16="http://schemas.microsoft.com/office/drawing/2014/main" id="{FAC50255-5BCE-B3C6-F3F6-F8308B7D5CF8}"/>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0" name="Freeform 1880">
                    <a:extLst>
                      <a:ext uri="{FF2B5EF4-FFF2-40B4-BE49-F238E27FC236}">
                        <a16:creationId xmlns:a16="http://schemas.microsoft.com/office/drawing/2014/main" id="{9CD14CB8-79F8-FC01-8365-01CB407294D4}"/>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1" name="Freeform 1881">
                    <a:extLst>
                      <a:ext uri="{FF2B5EF4-FFF2-40B4-BE49-F238E27FC236}">
                        <a16:creationId xmlns:a16="http://schemas.microsoft.com/office/drawing/2014/main" id="{4F2A994D-E117-B2D6-C56E-CB04FD9EF5A2}"/>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2" name="Freeform 1882">
                    <a:extLst>
                      <a:ext uri="{FF2B5EF4-FFF2-40B4-BE49-F238E27FC236}">
                        <a16:creationId xmlns:a16="http://schemas.microsoft.com/office/drawing/2014/main" id="{4A33BBFD-839B-08D1-EE11-AE7BB85AD78C}"/>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lnTo>
                          <a:pt x="2"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3" name="Freeform 1883">
                    <a:extLst>
                      <a:ext uri="{FF2B5EF4-FFF2-40B4-BE49-F238E27FC236}">
                        <a16:creationId xmlns:a16="http://schemas.microsoft.com/office/drawing/2014/main" id="{D607E9FE-2647-7BCD-DCB6-5A6322748751}"/>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4" name="Freeform 1884">
                    <a:extLst>
                      <a:ext uri="{FF2B5EF4-FFF2-40B4-BE49-F238E27FC236}">
                        <a16:creationId xmlns:a16="http://schemas.microsoft.com/office/drawing/2014/main" id="{CB5246F8-BCEC-D70C-13DA-033C68453A29}"/>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5" name="Freeform 1885">
                    <a:extLst>
                      <a:ext uri="{FF2B5EF4-FFF2-40B4-BE49-F238E27FC236}">
                        <a16:creationId xmlns:a16="http://schemas.microsoft.com/office/drawing/2014/main" id="{E0C8E6FD-5728-C3F6-9302-E8B8A30D7440}"/>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lnTo>
                          <a:pt x="25" y="30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6" name="Freeform 1886">
                    <a:extLst>
                      <a:ext uri="{FF2B5EF4-FFF2-40B4-BE49-F238E27FC236}">
                        <a16:creationId xmlns:a16="http://schemas.microsoft.com/office/drawing/2014/main" id="{851B5662-A830-7419-E4F4-0D312F4B809D}"/>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7" name="Freeform 1887">
                    <a:extLst>
                      <a:ext uri="{FF2B5EF4-FFF2-40B4-BE49-F238E27FC236}">
                        <a16:creationId xmlns:a16="http://schemas.microsoft.com/office/drawing/2014/main" id="{1D8D558A-E12A-B650-EBEE-14CCC036A378}"/>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8" name="Freeform 1888">
                    <a:extLst>
                      <a:ext uri="{FF2B5EF4-FFF2-40B4-BE49-F238E27FC236}">
                        <a16:creationId xmlns:a16="http://schemas.microsoft.com/office/drawing/2014/main" id="{C7B75051-6423-AD02-0B0E-D01DF8BC6F54}"/>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9" name="Freeform 1889">
                    <a:extLst>
                      <a:ext uri="{FF2B5EF4-FFF2-40B4-BE49-F238E27FC236}">
                        <a16:creationId xmlns:a16="http://schemas.microsoft.com/office/drawing/2014/main" id="{10752D23-D677-78AF-E935-FDA088E56D50}"/>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0" name="Freeform 1890">
                    <a:extLst>
                      <a:ext uri="{FF2B5EF4-FFF2-40B4-BE49-F238E27FC236}">
                        <a16:creationId xmlns:a16="http://schemas.microsoft.com/office/drawing/2014/main" id="{FAE77E3A-09AD-1E7D-0338-79FA0F27B919}"/>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1" name="Freeform 1891">
                    <a:extLst>
                      <a:ext uri="{FF2B5EF4-FFF2-40B4-BE49-F238E27FC236}">
                        <a16:creationId xmlns:a16="http://schemas.microsoft.com/office/drawing/2014/main" id="{622031F8-4E1D-1F23-35F6-2F01A3D55E62}"/>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lnTo>
                          <a:pt x="0"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2" name="Freeform 1892">
                    <a:extLst>
                      <a:ext uri="{FF2B5EF4-FFF2-40B4-BE49-F238E27FC236}">
                        <a16:creationId xmlns:a16="http://schemas.microsoft.com/office/drawing/2014/main" id="{AD231BA3-B200-71AB-9F6C-887FF2A812B0}"/>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3" name="Freeform 1893">
                    <a:extLst>
                      <a:ext uri="{FF2B5EF4-FFF2-40B4-BE49-F238E27FC236}">
                        <a16:creationId xmlns:a16="http://schemas.microsoft.com/office/drawing/2014/main" id="{0291E8BF-9A23-3AB4-3B5D-657F43B7EB21}"/>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4" name="Freeform 1894">
                    <a:extLst>
                      <a:ext uri="{FF2B5EF4-FFF2-40B4-BE49-F238E27FC236}">
                        <a16:creationId xmlns:a16="http://schemas.microsoft.com/office/drawing/2014/main" id="{F2E67232-5642-E089-D527-676ADFC5575D}"/>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lnTo>
                          <a:pt x="0"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5" name="Freeform 1895">
                    <a:extLst>
                      <a:ext uri="{FF2B5EF4-FFF2-40B4-BE49-F238E27FC236}">
                        <a16:creationId xmlns:a16="http://schemas.microsoft.com/office/drawing/2014/main" id="{501E3C73-CB62-6260-2917-1A8C455EC109}"/>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6" name="Freeform 1896">
                    <a:extLst>
                      <a:ext uri="{FF2B5EF4-FFF2-40B4-BE49-F238E27FC236}">
                        <a16:creationId xmlns:a16="http://schemas.microsoft.com/office/drawing/2014/main" id="{53B9546B-2CF1-7EC1-2196-44BC18F6417A}"/>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7" name="Freeform 1897">
                    <a:extLst>
                      <a:ext uri="{FF2B5EF4-FFF2-40B4-BE49-F238E27FC236}">
                        <a16:creationId xmlns:a16="http://schemas.microsoft.com/office/drawing/2014/main" id="{5CCD5A30-D6EF-4305-BB1F-42C83CBA1CB7}"/>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8" name="Freeform 1898">
                    <a:extLst>
                      <a:ext uri="{FF2B5EF4-FFF2-40B4-BE49-F238E27FC236}">
                        <a16:creationId xmlns:a16="http://schemas.microsoft.com/office/drawing/2014/main" id="{21717E02-1157-EBD3-4965-38DC22AFD6C7}"/>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9" name="Freeform 1899">
                    <a:extLst>
                      <a:ext uri="{FF2B5EF4-FFF2-40B4-BE49-F238E27FC236}">
                        <a16:creationId xmlns:a16="http://schemas.microsoft.com/office/drawing/2014/main" id="{A33967AD-7F5E-6194-171A-2E21B072F197}"/>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0" name="Freeform 1900">
                    <a:extLst>
                      <a:ext uri="{FF2B5EF4-FFF2-40B4-BE49-F238E27FC236}">
                        <a16:creationId xmlns:a16="http://schemas.microsoft.com/office/drawing/2014/main" id="{231348B7-EFE8-BDA7-DBA8-C677CA654D24}"/>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1" name="Freeform 1901">
                    <a:extLst>
                      <a:ext uri="{FF2B5EF4-FFF2-40B4-BE49-F238E27FC236}">
                        <a16:creationId xmlns:a16="http://schemas.microsoft.com/office/drawing/2014/main" id="{5FD6CE5D-C331-E11C-B590-9EEE770A71F5}"/>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2" name="Freeform 1902">
                    <a:extLst>
                      <a:ext uri="{FF2B5EF4-FFF2-40B4-BE49-F238E27FC236}">
                        <a16:creationId xmlns:a16="http://schemas.microsoft.com/office/drawing/2014/main" id="{5430F450-CF4C-D47A-434A-1347150FC99B}"/>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3" name="Freeform 1903">
                    <a:extLst>
                      <a:ext uri="{FF2B5EF4-FFF2-40B4-BE49-F238E27FC236}">
                        <a16:creationId xmlns:a16="http://schemas.microsoft.com/office/drawing/2014/main" id="{4AB73759-5ACC-0370-07F2-7F64026D9E59}"/>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lnTo>
                          <a:pt x="9"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4" name="Freeform 1904">
                    <a:extLst>
                      <a:ext uri="{FF2B5EF4-FFF2-40B4-BE49-F238E27FC236}">
                        <a16:creationId xmlns:a16="http://schemas.microsoft.com/office/drawing/2014/main" id="{41FDBB54-95B5-201D-6BB6-0AAAC3FAADB3}"/>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5" name="Freeform 1905">
                    <a:extLst>
                      <a:ext uri="{FF2B5EF4-FFF2-40B4-BE49-F238E27FC236}">
                        <a16:creationId xmlns:a16="http://schemas.microsoft.com/office/drawing/2014/main" id="{04ABA2DF-6E2C-5B84-426F-741E421200FF}"/>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6" name="Freeform 1906">
                    <a:extLst>
                      <a:ext uri="{FF2B5EF4-FFF2-40B4-BE49-F238E27FC236}">
                        <a16:creationId xmlns:a16="http://schemas.microsoft.com/office/drawing/2014/main" id="{0DE50DDF-CE00-B56F-D662-95A901AC63F2}"/>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lnTo>
                          <a:pt x="8"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7" name="Freeform 1907">
                    <a:extLst>
                      <a:ext uri="{FF2B5EF4-FFF2-40B4-BE49-F238E27FC236}">
                        <a16:creationId xmlns:a16="http://schemas.microsoft.com/office/drawing/2014/main" id="{F0EBDDEB-30A2-0DAB-F933-627D082CE720}"/>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8" name="Freeform 1908">
                    <a:extLst>
                      <a:ext uri="{FF2B5EF4-FFF2-40B4-BE49-F238E27FC236}">
                        <a16:creationId xmlns:a16="http://schemas.microsoft.com/office/drawing/2014/main" id="{8E54C3D6-BFB4-8860-6876-7E57FA90EA1E}"/>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9" name="Freeform 1909">
                    <a:extLst>
                      <a:ext uri="{FF2B5EF4-FFF2-40B4-BE49-F238E27FC236}">
                        <a16:creationId xmlns:a16="http://schemas.microsoft.com/office/drawing/2014/main" id="{69301F87-F003-FDB3-D0C1-2309DDB9FA41}"/>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lnTo>
                          <a:pt x="23"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0" name="Freeform 1910">
                    <a:extLst>
                      <a:ext uri="{FF2B5EF4-FFF2-40B4-BE49-F238E27FC236}">
                        <a16:creationId xmlns:a16="http://schemas.microsoft.com/office/drawing/2014/main" id="{999A4FBA-355A-68C2-CFC3-C2A43AC6D58B}"/>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1" name="Freeform 1911">
                    <a:extLst>
                      <a:ext uri="{FF2B5EF4-FFF2-40B4-BE49-F238E27FC236}">
                        <a16:creationId xmlns:a16="http://schemas.microsoft.com/office/drawing/2014/main" id="{125F74E3-A86E-13F8-0718-0C4D6D30FE1B}"/>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2" name="Freeform 1912">
                    <a:extLst>
                      <a:ext uri="{FF2B5EF4-FFF2-40B4-BE49-F238E27FC236}">
                        <a16:creationId xmlns:a16="http://schemas.microsoft.com/office/drawing/2014/main" id="{C42D5A5B-360D-6F5A-8AB0-3BDDB9D3EB40}"/>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 ang="0">
                        <a:pos x="33"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lnTo>
                          <a:pt x="33" y="13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3" name="Freeform 1913">
                    <a:extLst>
                      <a:ext uri="{FF2B5EF4-FFF2-40B4-BE49-F238E27FC236}">
                        <a16:creationId xmlns:a16="http://schemas.microsoft.com/office/drawing/2014/main" id="{2B281451-05B3-82B9-0034-29CFA6EF50F4}"/>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4" name="Freeform 1914">
                    <a:extLst>
                      <a:ext uri="{FF2B5EF4-FFF2-40B4-BE49-F238E27FC236}">
                        <a16:creationId xmlns:a16="http://schemas.microsoft.com/office/drawing/2014/main" id="{D9131B92-2BC9-20F8-ACD4-DCD1837C8A57}"/>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5" name="Freeform 1915">
                    <a:extLst>
                      <a:ext uri="{FF2B5EF4-FFF2-40B4-BE49-F238E27FC236}">
                        <a16:creationId xmlns:a16="http://schemas.microsoft.com/office/drawing/2014/main" id="{8AC76E3B-D744-4A22-4634-9B8DCCFC2434}"/>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lnTo>
                          <a:pt x="0"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6" name="Freeform 1916">
                    <a:extLst>
                      <a:ext uri="{FF2B5EF4-FFF2-40B4-BE49-F238E27FC236}">
                        <a16:creationId xmlns:a16="http://schemas.microsoft.com/office/drawing/2014/main" id="{CBB74A80-A045-9A89-760C-85D0E8A8C14F}"/>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7" name="Freeform 1917">
                    <a:extLst>
                      <a:ext uri="{FF2B5EF4-FFF2-40B4-BE49-F238E27FC236}">
                        <a16:creationId xmlns:a16="http://schemas.microsoft.com/office/drawing/2014/main" id="{682F1BD4-9F78-547E-9A45-FCB5EB690F2E}"/>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8" name="Freeform 1918">
                    <a:extLst>
                      <a:ext uri="{FF2B5EF4-FFF2-40B4-BE49-F238E27FC236}">
                        <a16:creationId xmlns:a16="http://schemas.microsoft.com/office/drawing/2014/main" id="{EDA734B4-F97A-9568-66BC-EF00E695878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lnTo>
                          <a:pt x="4"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9" name="Freeform 1919">
                    <a:extLst>
                      <a:ext uri="{FF2B5EF4-FFF2-40B4-BE49-F238E27FC236}">
                        <a16:creationId xmlns:a16="http://schemas.microsoft.com/office/drawing/2014/main" id="{BC277083-E5E0-B3F9-B251-5D44F3C52335}"/>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0" name="Freeform 1920">
                    <a:extLst>
                      <a:ext uri="{FF2B5EF4-FFF2-40B4-BE49-F238E27FC236}">
                        <a16:creationId xmlns:a16="http://schemas.microsoft.com/office/drawing/2014/main" id="{E6519C05-68A5-D150-2665-608242BF1D9A}"/>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1" name="Freeform 1921">
                    <a:extLst>
                      <a:ext uri="{FF2B5EF4-FFF2-40B4-BE49-F238E27FC236}">
                        <a16:creationId xmlns:a16="http://schemas.microsoft.com/office/drawing/2014/main" id="{0C51A108-86C4-CFC3-1249-37D599AC5722}"/>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lnTo>
                          <a:pt x="3" y="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2" name="Freeform 1922">
                    <a:extLst>
                      <a:ext uri="{FF2B5EF4-FFF2-40B4-BE49-F238E27FC236}">
                        <a16:creationId xmlns:a16="http://schemas.microsoft.com/office/drawing/2014/main" id="{D1A5651C-0832-1EC5-4E9F-7BFB48246CA1}"/>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3" name="Freeform 1923">
                    <a:extLst>
                      <a:ext uri="{FF2B5EF4-FFF2-40B4-BE49-F238E27FC236}">
                        <a16:creationId xmlns:a16="http://schemas.microsoft.com/office/drawing/2014/main" id="{7DBB6385-6CF2-FBF6-9119-3F0B0FB54433}"/>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4" name="Freeform 1924">
                    <a:extLst>
                      <a:ext uri="{FF2B5EF4-FFF2-40B4-BE49-F238E27FC236}">
                        <a16:creationId xmlns:a16="http://schemas.microsoft.com/office/drawing/2014/main" id="{4B920FC2-6818-3207-7642-075F69973440}"/>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lnTo>
                          <a:pt x="5"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5" name="Freeform 1925">
                    <a:extLst>
                      <a:ext uri="{FF2B5EF4-FFF2-40B4-BE49-F238E27FC236}">
                        <a16:creationId xmlns:a16="http://schemas.microsoft.com/office/drawing/2014/main" id="{EAEF0599-71C7-B8D1-62C3-669F786CAAB6}"/>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6" name="Freeform 1926">
                    <a:extLst>
                      <a:ext uri="{FF2B5EF4-FFF2-40B4-BE49-F238E27FC236}">
                        <a16:creationId xmlns:a16="http://schemas.microsoft.com/office/drawing/2014/main" id="{31416F6D-3DD8-15F7-2C92-F24525E95E18}"/>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7" name="Freeform 1927">
                    <a:extLst>
                      <a:ext uri="{FF2B5EF4-FFF2-40B4-BE49-F238E27FC236}">
                        <a16:creationId xmlns:a16="http://schemas.microsoft.com/office/drawing/2014/main" id="{CCB9DAB7-3BCB-4D5E-7C78-5E690061DB8A}"/>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lnTo>
                          <a:pt x="0"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8" name="Freeform 1928">
                    <a:extLst>
                      <a:ext uri="{FF2B5EF4-FFF2-40B4-BE49-F238E27FC236}">
                        <a16:creationId xmlns:a16="http://schemas.microsoft.com/office/drawing/2014/main" id="{E262D7A9-0651-F373-CD10-43FE7E5DDA0B}"/>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9" name="Freeform 1929">
                    <a:extLst>
                      <a:ext uri="{FF2B5EF4-FFF2-40B4-BE49-F238E27FC236}">
                        <a16:creationId xmlns:a16="http://schemas.microsoft.com/office/drawing/2014/main" id="{893313A3-9C95-9BDD-D8DA-CECCCDF1B477}"/>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0" name="Freeform 1930">
                    <a:extLst>
                      <a:ext uri="{FF2B5EF4-FFF2-40B4-BE49-F238E27FC236}">
                        <a16:creationId xmlns:a16="http://schemas.microsoft.com/office/drawing/2014/main" id="{4B3BD7D8-7C5E-1840-952B-59408CBBC6EA}"/>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lnTo>
                          <a:pt x="1"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1" name="Freeform 1931">
                    <a:extLst>
                      <a:ext uri="{FF2B5EF4-FFF2-40B4-BE49-F238E27FC236}">
                        <a16:creationId xmlns:a16="http://schemas.microsoft.com/office/drawing/2014/main" id="{4F0BA310-75D2-6021-EC2E-39D8A5D60E5A}"/>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2" name="Freeform 1932">
                    <a:extLst>
                      <a:ext uri="{FF2B5EF4-FFF2-40B4-BE49-F238E27FC236}">
                        <a16:creationId xmlns:a16="http://schemas.microsoft.com/office/drawing/2014/main" id="{1F0C02F5-F695-6F29-DEE0-E883A9A74288}"/>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3" name="Freeform 1933">
                    <a:extLst>
                      <a:ext uri="{FF2B5EF4-FFF2-40B4-BE49-F238E27FC236}">
                        <a16:creationId xmlns:a16="http://schemas.microsoft.com/office/drawing/2014/main" id="{C068CEC3-4525-B44B-673F-CCDF66C8CE7D}"/>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lnTo>
                          <a:pt x="3"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4" name="Freeform 1934">
                    <a:extLst>
                      <a:ext uri="{FF2B5EF4-FFF2-40B4-BE49-F238E27FC236}">
                        <a16:creationId xmlns:a16="http://schemas.microsoft.com/office/drawing/2014/main" id="{8244C49B-E7B6-BD90-7952-F7879907F0A0}"/>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5" name="Freeform 1935">
                    <a:extLst>
                      <a:ext uri="{FF2B5EF4-FFF2-40B4-BE49-F238E27FC236}">
                        <a16:creationId xmlns:a16="http://schemas.microsoft.com/office/drawing/2014/main" id="{999DBB74-AB5B-7E5C-4C70-345E026B2ADC}"/>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6" name="Freeform 1936">
                    <a:extLst>
                      <a:ext uri="{FF2B5EF4-FFF2-40B4-BE49-F238E27FC236}">
                        <a16:creationId xmlns:a16="http://schemas.microsoft.com/office/drawing/2014/main" id="{2DFAE5DF-347B-B059-7C6F-B7B780319F69}"/>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lnTo>
                          <a:pt x="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7" name="Freeform 1937">
                    <a:extLst>
                      <a:ext uri="{FF2B5EF4-FFF2-40B4-BE49-F238E27FC236}">
                        <a16:creationId xmlns:a16="http://schemas.microsoft.com/office/drawing/2014/main" id="{408A83BF-EFDF-71A8-499F-9113D4CE64B8}"/>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8" name="Freeform 1938">
                    <a:extLst>
                      <a:ext uri="{FF2B5EF4-FFF2-40B4-BE49-F238E27FC236}">
                        <a16:creationId xmlns:a16="http://schemas.microsoft.com/office/drawing/2014/main" id="{3B912DCF-F1C9-9E21-D062-1AE118E7A983}"/>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9" name="Freeform 1939">
                    <a:extLst>
                      <a:ext uri="{FF2B5EF4-FFF2-40B4-BE49-F238E27FC236}">
                        <a16:creationId xmlns:a16="http://schemas.microsoft.com/office/drawing/2014/main" id="{20D8A8CD-C18A-2934-86F4-A8A6F8C6E02C}"/>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lnTo>
                          <a:pt x="5"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0" name="Freeform 1940">
                    <a:extLst>
                      <a:ext uri="{FF2B5EF4-FFF2-40B4-BE49-F238E27FC236}">
                        <a16:creationId xmlns:a16="http://schemas.microsoft.com/office/drawing/2014/main" id="{E368E42C-5EA7-DFCF-893D-29FC37566904}"/>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1" name="Freeform 1941">
                    <a:extLst>
                      <a:ext uri="{FF2B5EF4-FFF2-40B4-BE49-F238E27FC236}">
                        <a16:creationId xmlns:a16="http://schemas.microsoft.com/office/drawing/2014/main" id="{0D214F6C-5349-4E77-48BE-044961A0A48F}"/>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2" name="Freeform 1942">
                    <a:extLst>
                      <a:ext uri="{FF2B5EF4-FFF2-40B4-BE49-F238E27FC236}">
                        <a16:creationId xmlns:a16="http://schemas.microsoft.com/office/drawing/2014/main" id="{65F694A7-6673-FD50-95E5-5E64346D05AF}"/>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3" name="Freeform 1943">
                    <a:extLst>
                      <a:ext uri="{FF2B5EF4-FFF2-40B4-BE49-F238E27FC236}">
                        <a16:creationId xmlns:a16="http://schemas.microsoft.com/office/drawing/2014/main" id="{983A7B66-F261-32CB-A418-FB9275E2A2FB}"/>
                      </a:ext>
                    </a:extLst>
                  </p:cNvPr>
                  <p:cNvSpPr>
                    <a:spLocks/>
                  </p:cNvSpPr>
                  <p:nvPr/>
                </p:nvSpPr>
                <p:spPr bwMode="auto">
                  <a:xfrm>
                    <a:off x="7207586" y="4520134"/>
                    <a:ext cx="17464" cy="12721"/>
                  </a:xfrm>
                  <a:custGeom>
                    <a:avLst/>
                    <a:gdLst/>
                    <a:ahLst/>
                    <a:cxnLst>
                      <a:cxn ang="0">
                        <a:pos x="2" y="12"/>
                      </a:cxn>
                      <a:cxn ang="0">
                        <a:pos x="2" y="12"/>
                      </a:cxn>
                      <a:cxn ang="0">
                        <a:pos x="7" y="9"/>
                      </a:cxn>
                      <a:cxn ang="0">
                        <a:pos x="7" y="7"/>
                      </a:cxn>
                      <a:cxn ang="0">
                        <a:pos x="7" y="5"/>
                      </a:cxn>
                      <a:cxn ang="0">
                        <a:pos x="7" y="5"/>
                      </a:cxn>
                      <a:cxn ang="0">
                        <a:pos x="7" y="4"/>
                      </a:cxn>
                      <a:cxn ang="0">
                        <a:pos x="10" y="2"/>
                      </a:cxn>
                      <a:cxn ang="0">
                        <a:pos x="19" y="0"/>
                      </a:cxn>
                      <a:cxn ang="0">
                        <a:pos x="19" y="0"/>
                      </a:cxn>
                      <a:cxn ang="0">
                        <a:pos x="23" y="2"/>
                      </a:cxn>
                      <a:cxn ang="0">
                        <a:pos x="24" y="2"/>
                      </a:cxn>
                      <a:cxn ang="0">
                        <a:pos x="21" y="5"/>
                      </a:cxn>
                      <a:cxn ang="0">
                        <a:pos x="21" y="5"/>
                      </a:cxn>
                      <a:cxn ang="0">
                        <a:pos x="19" y="7"/>
                      </a:cxn>
                      <a:cxn ang="0">
                        <a:pos x="17" y="9"/>
                      </a:cxn>
                      <a:cxn ang="0">
                        <a:pos x="16" y="11"/>
                      </a:cxn>
                      <a:cxn ang="0">
                        <a:pos x="14" y="12"/>
                      </a:cxn>
                      <a:cxn ang="0">
                        <a:pos x="14" y="12"/>
                      </a:cxn>
                      <a:cxn ang="0">
                        <a:pos x="12" y="12"/>
                      </a:cxn>
                      <a:cxn ang="0">
                        <a:pos x="12" y="14"/>
                      </a:cxn>
                      <a:cxn ang="0">
                        <a:pos x="12" y="16"/>
                      </a:cxn>
                      <a:cxn ang="0">
                        <a:pos x="10" y="18"/>
                      </a:cxn>
                      <a:cxn ang="0">
                        <a:pos x="10" y="18"/>
                      </a:cxn>
                      <a:cxn ang="0">
                        <a:pos x="0" y="16"/>
                      </a:cxn>
                      <a:cxn ang="0">
                        <a:pos x="0" y="14"/>
                      </a:cxn>
                      <a:cxn ang="0">
                        <a:pos x="2" y="12"/>
                      </a:cxn>
                    </a:cxnLst>
                    <a:rect l="0" t="0" r="r" b="b"/>
                    <a:pathLst>
                      <a:path w="24" h="18">
                        <a:moveTo>
                          <a:pt x="2" y="12"/>
                        </a:moveTo>
                        <a:lnTo>
                          <a:pt x="2" y="12"/>
                        </a:lnTo>
                        <a:lnTo>
                          <a:pt x="7" y="9"/>
                        </a:lnTo>
                        <a:lnTo>
                          <a:pt x="7" y="7"/>
                        </a:lnTo>
                        <a:lnTo>
                          <a:pt x="7" y="5"/>
                        </a:lnTo>
                        <a:lnTo>
                          <a:pt x="7" y="5"/>
                        </a:lnTo>
                        <a:lnTo>
                          <a:pt x="7" y="4"/>
                        </a:lnTo>
                        <a:lnTo>
                          <a:pt x="10" y="2"/>
                        </a:lnTo>
                        <a:lnTo>
                          <a:pt x="19" y="0"/>
                        </a:lnTo>
                        <a:lnTo>
                          <a:pt x="19" y="0"/>
                        </a:lnTo>
                        <a:lnTo>
                          <a:pt x="23" y="2"/>
                        </a:lnTo>
                        <a:lnTo>
                          <a:pt x="24" y="2"/>
                        </a:lnTo>
                        <a:lnTo>
                          <a:pt x="21" y="5"/>
                        </a:lnTo>
                        <a:lnTo>
                          <a:pt x="21" y="5"/>
                        </a:lnTo>
                        <a:lnTo>
                          <a:pt x="19" y="7"/>
                        </a:lnTo>
                        <a:lnTo>
                          <a:pt x="17" y="9"/>
                        </a:lnTo>
                        <a:lnTo>
                          <a:pt x="16" y="11"/>
                        </a:lnTo>
                        <a:lnTo>
                          <a:pt x="14" y="12"/>
                        </a:lnTo>
                        <a:lnTo>
                          <a:pt x="14" y="12"/>
                        </a:lnTo>
                        <a:lnTo>
                          <a:pt x="12" y="12"/>
                        </a:lnTo>
                        <a:lnTo>
                          <a:pt x="12" y="14"/>
                        </a:lnTo>
                        <a:lnTo>
                          <a:pt x="12" y="16"/>
                        </a:lnTo>
                        <a:lnTo>
                          <a:pt x="10" y="18"/>
                        </a:lnTo>
                        <a:lnTo>
                          <a:pt x="10" y="18"/>
                        </a:lnTo>
                        <a:lnTo>
                          <a:pt x="0" y="16"/>
                        </a:lnTo>
                        <a:lnTo>
                          <a:pt x="0"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4" name="Freeform 1944">
                    <a:extLst>
                      <a:ext uri="{FF2B5EF4-FFF2-40B4-BE49-F238E27FC236}">
                        <a16:creationId xmlns:a16="http://schemas.microsoft.com/office/drawing/2014/main" id="{8BFFC274-5962-BF59-2E60-CD2A14C9E1C3}"/>
                      </a:ext>
                    </a:extLst>
                  </p:cNvPr>
                  <p:cNvSpPr>
                    <a:spLocks/>
                  </p:cNvSpPr>
                  <p:nvPr/>
                </p:nvSpPr>
                <p:spPr bwMode="auto">
                  <a:xfrm>
                    <a:off x="6496330" y="4095583"/>
                    <a:ext cx="277835" cy="357768"/>
                  </a:xfrm>
                  <a:custGeom>
                    <a:avLst/>
                    <a:gdLst/>
                    <a:ahLst/>
                    <a:cxnLst>
                      <a:cxn ang="0">
                        <a:pos x="25" y="11"/>
                      </a:cxn>
                      <a:cxn ang="0">
                        <a:pos x="45" y="18"/>
                      </a:cxn>
                      <a:cxn ang="0">
                        <a:pos x="70" y="18"/>
                      </a:cxn>
                      <a:cxn ang="0">
                        <a:pos x="80" y="16"/>
                      </a:cxn>
                      <a:cxn ang="0">
                        <a:pos x="96" y="35"/>
                      </a:cxn>
                      <a:cxn ang="0">
                        <a:pos x="103" y="51"/>
                      </a:cxn>
                      <a:cxn ang="0">
                        <a:pos x="110" y="67"/>
                      </a:cxn>
                      <a:cxn ang="0">
                        <a:pos x="122" y="77"/>
                      </a:cxn>
                      <a:cxn ang="0">
                        <a:pos x="140" y="89"/>
                      </a:cxn>
                      <a:cxn ang="0">
                        <a:pos x="169" y="121"/>
                      </a:cxn>
                      <a:cxn ang="0">
                        <a:pos x="180" y="135"/>
                      </a:cxn>
                      <a:cxn ang="0">
                        <a:pos x="195" y="154"/>
                      </a:cxn>
                      <a:cxn ang="0">
                        <a:pos x="199" y="141"/>
                      </a:cxn>
                      <a:cxn ang="0">
                        <a:pos x="213" y="154"/>
                      </a:cxn>
                      <a:cxn ang="0">
                        <a:pos x="225" y="169"/>
                      </a:cxn>
                      <a:cxn ang="0">
                        <a:pos x="247" y="197"/>
                      </a:cxn>
                      <a:cxn ang="0">
                        <a:pos x="268" y="209"/>
                      </a:cxn>
                      <a:cxn ang="0">
                        <a:pos x="279" y="223"/>
                      </a:cxn>
                      <a:cxn ang="0">
                        <a:pos x="296" y="223"/>
                      </a:cxn>
                      <a:cxn ang="0">
                        <a:pos x="296" y="244"/>
                      </a:cxn>
                      <a:cxn ang="0">
                        <a:pos x="293" y="256"/>
                      </a:cxn>
                      <a:cxn ang="0">
                        <a:pos x="289" y="272"/>
                      </a:cxn>
                      <a:cxn ang="0">
                        <a:pos x="314" y="284"/>
                      </a:cxn>
                      <a:cxn ang="0">
                        <a:pos x="324" y="296"/>
                      </a:cxn>
                      <a:cxn ang="0">
                        <a:pos x="336" y="328"/>
                      </a:cxn>
                      <a:cxn ang="0">
                        <a:pos x="336" y="347"/>
                      </a:cxn>
                      <a:cxn ang="0">
                        <a:pos x="348" y="343"/>
                      </a:cxn>
                      <a:cxn ang="0">
                        <a:pos x="366" y="345"/>
                      </a:cxn>
                      <a:cxn ang="0">
                        <a:pos x="380" y="368"/>
                      </a:cxn>
                      <a:cxn ang="0">
                        <a:pos x="380" y="383"/>
                      </a:cxn>
                      <a:cxn ang="0">
                        <a:pos x="376" y="413"/>
                      </a:cxn>
                      <a:cxn ang="0">
                        <a:pos x="376" y="444"/>
                      </a:cxn>
                      <a:cxn ang="0">
                        <a:pos x="373" y="490"/>
                      </a:cxn>
                      <a:cxn ang="0">
                        <a:pos x="355" y="474"/>
                      </a:cxn>
                      <a:cxn ang="0">
                        <a:pos x="347" y="483"/>
                      </a:cxn>
                      <a:cxn ang="0">
                        <a:pos x="329" y="478"/>
                      </a:cxn>
                      <a:cxn ang="0">
                        <a:pos x="329" y="495"/>
                      </a:cxn>
                      <a:cxn ang="0">
                        <a:pos x="294" y="453"/>
                      </a:cxn>
                      <a:cxn ang="0">
                        <a:pos x="249" y="404"/>
                      </a:cxn>
                      <a:cxn ang="0">
                        <a:pos x="213" y="359"/>
                      </a:cxn>
                      <a:cxn ang="0">
                        <a:pos x="193" y="312"/>
                      </a:cxn>
                      <a:cxn ang="0">
                        <a:pos x="180" y="289"/>
                      </a:cxn>
                      <a:cxn ang="0">
                        <a:pos x="174" y="267"/>
                      </a:cxn>
                      <a:cxn ang="0">
                        <a:pos x="150" y="234"/>
                      </a:cxn>
                      <a:cxn ang="0">
                        <a:pos x="133" y="201"/>
                      </a:cxn>
                      <a:cxn ang="0">
                        <a:pos x="126" y="169"/>
                      </a:cxn>
                      <a:cxn ang="0">
                        <a:pos x="101" y="148"/>
                      </a:cxn>
                      <a:cxn ang="0">
                        <a:pos x="86" y="124"/>
                      </a:cxn>
                      <a:cxn ang="0">
                        <a:pos x="72" y="110"/>
                      </a:cxn>
                      <a:cxn ang="0">
                        <a:pos x="56" y="84"/>
                      </a:cxn>
                      <a:cxn ang="0">
                        <a:pos x="40" y="75"/>
                      </a:cxn>
                      <a:cxn ang="0">
                        <a:pos x="12" y="42"/>
                      </a:cxn>
                      <a:cxn ang="0">
                        <a:pos x="0" y="6"/>
                      </a:cxn>
                    </a:cxnLst>
                    <a:rect l="0" t="0" r="r" b="b"/>
                    <a:pathLst>
                      <a:path w="383" h="497">
                        <a:moveTo>
                          <a:pt x="14" y="2"/>
                        </a:moveTo>
                        <a:lnTo>
                          <a:pt x="14" y="2"/>
                        </a:lnTo>
                        <a:lnTo>
                          <a:pt x="19" y="4"/>
                        </a:lnTo>
                        <a:lnTo>
                          <a:pt x="23" y="6"/>
                        </a:lnTo>
                        <a:lnTo>
                          <a:pt x="25" y="11"/>
                        </a:lnTo>
                        <a:lnTo>
                          <a:pt x="26" y="13"/>
                        </a:lnTo>
                        <a:lnTo>
                          <a:pt x="28" y="14"/>
                        </a:lnTo>
                        <a:lnTo>
                          <a:pt x="39" y="18"/>
                        </a:lnTo>
                        <a:lnTo>
                          <a:pt x="39" y="18"/>
                        </a:lnTo>
                        <a:lnTo>
                          <a:pt x="45" y="18"/>
                        </a:lnTo>
                        <a:lnTo>
                          <a:pt x="51" y="18"/>
                        </a:lnTo>
                        <a:lnTo>
                          <a:pt x="58" y="16"/>
                        </a:lnTo>
                        <a:lnTo>
                          <a:pt x="63" y="14"/>
                        </a:lnTo>
                        <a:lnTo>
                          <a:pt x="66" y="14"/>
                        </a:lnTo>
                        <a:lnTo>
                          <a:pt x="70" y="18"/>
                        </a:lnTo>
                        <a:lnTo>
                          <a:pt x="70" y="18"/>
                        </a:lnTo>
                        <a:lnTo>
                          <a:pt x="73" y="20"/>
                        </a:lnTo>
                        <a:lnTo>
                          <a:pt x="75" y="20"/>
                        </a:lnTo>
                        <a:lnTo>
                          <a:pt x="79" y="16"/>
                        </a:lnTo>
                        <a:lnTo>
                          <a:pt x="80" y="16"/>
                        </a:lnTo>
                        <a:lnTo>
                          <a:pt x="82" y="16"/>
                        </a:lnTo>
                        <a:lnTo>
                          <a:pt x="89" y="23"/>
                        </a:lnTo>
                        <a:lnTo>
                          <a:pt x="89" y="23"/>
                        </a:lnTo>
                        <a:lnTo>
                          <a:pt x="93" y="30"/>
                        </a:lnTo>
                        <a:lnTo>
                          <a:pt x="96" y="35"/>
                        </a:lnTo>
                        <a:lnTo>
                          <a:pt x="98" y="42"/>
                        </a:lnTo>
                        <a:lnTo>
                          <a:pt x="98" y="47"/>
                        </a:lnTo>
                        <a:lnTo>
                          <a:pt x="99" y="49"/>
                        </a:lnTo>
                        <a:lnTo>
                          <a:pt x="103" y="51"/>
                        </a:lnTo>
                        <a:lnTo>
                          <a:pt x="103" y="51"/>
                        </a:lnTo>
                        <a:lnTo>
                          <a:pt x="106" y="53"/>
                        </a:lnTo>
                        <a:lnTo>
                          <a:pt x="108" y="54"/>
                        </a:lnTo>
                        <a:lnTo>
                          <a:pt x="108" y="60"/>
                        </a:lnTo>
                        <a:lnTo>
                          <a:pt x="108" y="65"/>
                        </a:lnTo>
                        <a:lnTo>
                          <a:pt x="110" y="67"/>
                        </a:lnTo>
                        <a:lnTo>
                          <a:pt x="113" y="68"/>
                        </a:lnTo>
                        <a:lnTo>
                          <a:pt x="113" y="68"/>
                        </a:lnTo>
                        <a:lnTo>
                          <a:pt x="117" y="68"/>
                        </a:lnTo>
                        <a:lnTo>
                          <a:pt x="119" y="72"/>
                        </a:lnTo>
                        <a:lnTo>
                          <a:pt x="122" y="77"/>
                        </a:lnTo>
                        <a:lnTo>
                          <a:pt x="126" y="82"/>
                        </a:lnTo>
                        <a:lnTo>
                          <a:pt x="129" y="86"/>
                        </a:lnTo>
                        <a:lnTo>
                          <a:pt x="134" y="88"/>
                        </a:lnTo>
                        <a:lnTo>
                          <a:pt x="134" y="88"/>
                        </a:lnTo>
                        <a:lnTo>
                          <a:pt x="140" y="89"/>
                        </a:lnTo>
                        <a:lnTo>
                          <a:pt x="145" y="91"/>
                        </a:lnTo>
                        <a:lnTo>
                          <a:pt x="155" y="101"/>
                        </a:lnTo>
                        <a:lnTo>
                          <a:pt x="164" y="112"/>
                        </a:lnTo>
                        <a:lnTo>
                          <a:pt x="169" y="121"/>
                        </a:lnTo>
                        <a:lnTo>
                          <a:pt x="169" y="121"/>
                        </a:lnTo>
                        <a:lnTo>
                          <a:pt x="171" y="126"/>
                        </a:lnTo>
                        <a:lnTo>
                          <a:pt x="174" y="126"/>
                        </a:lnTo>
                        <a:lnTo>
                          <a:pt x="176" y="128"/>
                        </a:lnTo>
                        <a:lnTo>
                          <a:pt x="180" y="135"/>
                        </a:lnTo>
                        <a:lnTo>
                          <a:pt x="180" y="135"/>
                        </a:lnTo>
                        <a:lnTo>
                          <a:pt x="183" y="143"/>
                        </a:lnTo>
                        <a:lnTo>
                          <a:pt x="187" y="147"/>
                        </a:lnTo>
                        <a:lnTo>
                          <a:pt x="190" y="148"/>
                        </a:lnTo>
                        <a:lnTo>
                          <a:pt x="195" y="154"/>
                        </a:lnTo>
                        <a:lnTo>
                          <a:pt x="195" y="154"/>
                        </a:lnTo>
                        <a:lnTo>
                          <a:pt x="197" y="154"/>
                        </a:lnTo>
                        <a:lnTo>
                          <a:pt x="199" y="154"/>
                        </a:lnTo>
                        <a:lnTo>
                          <a:pt x="197" y="147"/>
                        </a:lnTo>
                        <a:lnTo>
                          <a:pt x="197" y="143"/>
                        </a:lnTo>
                        <a:lnTo>
                          <a:pt x="199" y="141"/>
                        </a:lnTo>
                        <a:lnTo>
                          <a:pt x="202" y="143"/>
                        </a:lnTo>
                        <a:lnTo>
                          <a:pt x="209" y="148"/>
                        </a:lnTo>
                        <a:lnTo>
                          <a:pt x="209" y="148"/>
                        </a:lnTo>
                        <a:lnTo>
                          <a:pt x="213" y="150"/>
                        </a:lnTo>
                        <a:lnTo>
                          <a:pt x="213" y="154"/>
                        </a:lnTo>
                        <a:lnTo>
                          <a:pt x="214" y="161"/>
                        </a:lnTo>
                        <a:lnTo>
                          <a:pt x="218" y="166"/>
                        </a:lnTo>
                        <a:lnTo>
                          <a:pt x="220" y="168"/>
                        </a:lnTo>
                        <a:lnTo>
                          <a:pt x="225" y="169"/>
                        </a:lnTo>
                        <a:lnTo>
                          <a:pt x="225" y="169"/>
                        </a:lnTo>
                        <a:lnTo>
                          <a:pt x="234" y="173"/>
                        </a:lnTo>
                        <a:lnTo>
                          <a:pt x="241" y="178"/>
                        </a:lnTo>
                        <a:lnTo>
                          <a:pt x="244" y="183"/>
                        </a:lnTo>
                        <a:lnTo>
                          <a:pt x="246" y="190"/>
                        </a:lnTo>
                        <a:lnTo>
                          <a:pt x="247" y="197"/>
                        </a:lnTo>
                        <a:lnTo>
                          <a:pt x="251" y="202"/>
                        </a:lnTo>
                        <a:lnTo>
                          <a:pt x="254" y="206"/>
                        </a:lnTo>
                        <a:lnTo>
                          <a:pt x="261" y="209"/>
                        </a:lnTo>
                        <a:lnTo>
                          <a:pt x="261" y="209"/>
                        </a:lnTo>
                        <a:lnTo>
                          <a:pt x="268" y="209"/>
                        </a:lnTo>
                        <a:lnTo>
                          <a:pt x="274" y="213"/>
                        </a:lnTo>
                        <a:lnTo>
                          <a:pt x="275" y="215"/>
                        </a:lnTo>
                        <a:lnTo>
                          <a:pt x="277" y="218"/>
                        </a:lnTo>
                        <a:lnTo>
                          <a:pt x="277" y="223"/>
                        </a:lnTo>
                        <a:lnTo>
                          <a:pt x="279" y="223"/>
                        </a:lnTo>
                        <a:lnTo>
                          <a:pt x="284" y="222"/>
                        </a:lnTo>
                        <a:lnTo>
                          <a:pt x="284" y="222"/>
                        </a:lnTo>
                        <a:lnTo>
                          <a:pt x="288" y="220"/>
                        </a:lnTo>
                        <a:lnTo>
                          <a:pt x="293" y="222"/>
                        </a:lnTo>
                        <a:lnTo>
                          <a:pt x="296" y="223"/>
                        </a:lnTo>
                        <a:lnTo>
                          <a:pt x="300" y="229"/>
                        </a:lnTo>
                        <a:lnTo>
                          <a:pt x="301" y="232"/>
                        </a:lnTo>
                        <a:lnTo>
                          <a:pt x="301" y="237"/>
                        </a:lnTo>
                        <a:lnTo>
                          <a:pt x="300" y="241"/>
                        </a:lnTo>
                        <a:lnTo>
                          <a:pt x="296" y="244"/>
                        </a:lnTo>
                        <a:lnTo>
                          <a:pt x="296" y="244"/>
                        </a:lnTo>
                        <a:lnTo>
                          <a:pt x="293" y="246"/>
                        </a:lnTo>
                        <a:lnTo>
                          <a:pt x="291" y="248"/>
                        </a:lnTo>
                        <a:lnTo>
                          <a:pt x="291" y="251"/>
                        </a:lnTo>
                        <a:lnTo>
                          <a:pt x="293" y="256"/>
                        </a:lnTo>
                        <a:lnTo>
                          <a:pt x="293" y="260"/>
                        </a:lnTo>
                        <a:lnTo>
                          <a:pt x="291" y="263"/>
                        </a:lnTo>
                        <a:lnTo>
                          <a:pt x="291" y="263"/>
                        </a:lnTo>
                        <a:lnTo>
                          <a:pt x="289" y="269"/>
                        </a:lnTo>
                        <a:lnTo>
                          <a:pt x="289" y="272"/>
                        </a:lnTo>
                        <a:lnTo>
                          <a:pt x="291" y="276"/>
                        </a:lnTo>
                        <a:lnTo>
                          <a:pt x="294" y="279"/>
                        </a:lnTo>
                        <a:lnTo>
                          <a:pt x="303" y="284"/>
                        </a:lnTo>
                        <a:lnTo>
                          <a:pt x="308" y="284"/>
                        </a:lnTo>
                        <a:lnTo>
                          <a:pt x="314" y="284"/>
                        </a:lnTo>
                        <a:lnTo>
                          <a:pt x="314" y="284"/>
                        </a:lnTo>
                        <a:lnTo>
                          <a:pt x="317" y="284"/>
                        </a:lnTo>
                        <a:lnTo>
                          <a:pt x="319" y="286"/>
                        </a:lnTo>
                        <a:lnTo>
                          <a:pt x="322" y="289"/>
                        </a:lnTo>
                        <a:lnTo>
                          <a:pt x="324" y="296"/>
                        </a:lnTo>
                        <a:lnTo>
                          <a:pt x="328" y="305"/>
                        </a:lnTo>
                        <a:lnTo>
                          <a:pt x="331" y="319"/>
                        </a:lnTo>
                        <a:lnTo>
                          <a:pt x="333" y="324"/>
                        </a:lnTo>
                        <a:lnTo>
                          <a:pt x="336" y="328"/>
                        </a:lnTo>
                        <a:lnTo>
                          <a:pt x="336" y="328"/>
                        </a:lnTo>
                        <a:lnTo>
                          <a:pt x="340" y="330"/>
                        </a:lnTo>
                        <a:lnTo>
                          <a:pt x="340" y="333"/>
                        </a:lnTo>
                        <a:lnTo>
                          <a:pt x="336" y="340"/>
                        </a:lnTo>
                        <a:lnTo>
                          <a:pt x="335" y="347"/>
                        </a:lnTo>
                        <a:lnTo>
                          <a:pt x="336" y="347"/>
                        </a:lnTo>
                        <a:lnTo>
                          <a:pt x="340" y="343"/>
                        </a:lnTo>
                        <a:lnTo>
                          <a:pt x="340" y="343"/>
                        </a:lnTo>
                        <a:lnTo>
                          <a:pt x="343" y="340"/>
                        </a:lnTo>
                        <a:lnTo>
                          <a:pt x="347" y="342"/>
                        </a:lnTo>
                        <a:lnTo>
                          <a:pt x="348" y="343"/>
                        </a:lnTo>
                        <a:lnTo>
                          <a:pt x="352" y="342"/>
                        </a:lnTo>
                        <a:lnTo>
                          <a:pt x="352" y="342"/>
                        </a:lnTo>
                        <a:lnTo>
                          <a:pt x="359" y="340"/>
                        </a:lnTo>
                        <a:lnTo>
                          <a:pt x="362" y="340"/>
                        </a:lnTo>
                        <a:lnTo>
                          <a:pt x="366" y="345"/>
                        </a:lnTo>
                        <a:lnTo>
                          <a:pt x="369" y="356"/>
                        </a:lnTo>
                        <a:lnTo>
                          <a:pt x="369" y="356"/>
                        </a:lnTo>
                        <a:lnTo>
                          <a:pt x="373" y="359"/>
                        </a:lnTo>
                        <a:lnTo>
                          <a:pt x="375" y="363"/>
                        </a:lnTo>
                        <a:lnTo>
                          <a:pt x="380" y="368"/>
                        </a:lnTo>
                        <a:lnTo>
                          <a:pt x="382" y="371"/>
                        </a:lnTo>
                        <a:lnTo>
                          <a:pt x="383" y="375"/>
                        </a:lnTo>
                        <a:lnTo>
                          <a:pt x="382" y="378"/>
                        </a:lnTo>
                        <a:lnTo>
                          <a:pt x="380" y="383"/>
                        </a:lnTo>
                        <a:lnTo>
                          <a:pt x="380" y="383"/>
                        </a:lnTo>
                        <a:lnTo>
                          <a:pt x="376" y="392"/>
                        </a:lnTo>
                        <a:lnTo>
                          <a:pt x="376" y="397"/>
                        </a:lnTo>
                        <a:lnTo>
                          <a:pt x="376" y="403"/>
                        </a:lnTo>
                        <a:lnTo>
                          <a:pt x="376" y="413"/>
                        </a:lnTo>
                        <a:lnTo>
                          <a:pt x="376" y="413"/>
                        </a:lnTo>
                        <a:lnTo>
                          <a:pt x="375" y="424"/>
                        </a:lnTo>
                        <a:lnTo>
                          <a:pt x="375" y="427"/>
                        </a:lnTo>
                        <a:lnTo>
                          <a:pt x="376" y="434"/>
                        </a:lnTo>
                        <a:lnTo>
                          <a:pt x="376" y="444"/>
                        </a:lnTo>
                        <a:lnTo>
                          <a:pt x="376" y="444"/>
                        </a:lnTo>
                        <a:lnTo>
                          <a:pt x="376" y="460"/>
                        </a:lnTo>
                        <a:lnTo>
                          <a:pt x="376" y="472"/>
                        </a:lnTo>
                        <a:lnTo>
                          <a:pt x="375" y="483"/>
                        </a:lnTo>
                        <a:lnTo>
                          <a:pt x="375" y="488"/>
                        </a:lnTo>
                        <a:lnTo>
                          <a:pt x="373" y="490"/>
                        </a:lnTo>
                        <a:lnTo>
                          <a:pt x="373" y="490"/>
                        </a:lnTo>
                        <a:lnTo>
                          <a:pt x="369" y="491"/>
                        </a:lnTo>
                        <a:lnTo>
                          <a:pt x="368" y="488"/>
                        </a:lnTo>
                        <a:lnTo>
                          <a:pt x="361" y="479"/>
                        </a:lnTo>
                        <a:lnTo>
                          <a:pt x="355" y="474"/>
                        </a:lnTo>
                        <a:lnTo>
                          <a:pt x="354" y="474"/>
                        </a:lnTo>
                        <a:lnTo>
                          <a:pt x="352" y="478"/>
                        </a:lnTo>
                        <a:lnTo>
                          <a:pt x="352" y="478"/>
                        </a:lnTo>
                        <a:lnTo>
                          <a:pt x="350" y="483"/>
                        </a:lnTo>
                        <a:lnTo>
                          <a:pt x="347" y="483"/>
                        </a:lnTo>
                        <a:lnTo>
                          <a:pt x="343" y="481"/>
                        </a:lnTo>
                        <a:lnTo>
                          <a:pt x="338" y="479"/>
                        </a:lnTo>
                        <a:lnTo>
                          <a:pt x="333" y="476"/>
                        </a:lnTo>
                        <a:lnTo>
                          <a:pt x="329" y="476"/>
                        </a:lnTo>
                        <a:lnTo>
                          <a:pt x="329" y="478"/>
                        </a:lnTo>
                        <a:lnTo>
                          <a:pt x="331" y="484"/>
                        </a:lnTo>
                        <a:lnTo>
                          <a:pt x="331" y="484"/>
                        </a:lnTo>
                        <a:lnTo>
                          <a:pt x="333" y="495"/>
                        </a:lnTo>
                        <a:lnTo>
                          <a:pt x="333" y="497"/>
                        </a:lnTo>
                        <a:lnTo>
                          <a:pt x="329" y="495"/>
                        </a:lnTo>
                        <a:lnTo>
                          <a:pt x="322" y="486"/>
                        </a:lnTo>
                        <a:lnTo>
                          <a:pt x="314" y="472"/>
                        </a:lnTo>
                        <a:lnTo>
                          <a:pt x="314" y="472"/>
                        </a:lnTo>
                        <a:lnTo>
                          <a:pt x="305" y="462"/>
                        </a:lnTo>
                        <a:lnTo>
                          <a:pt x="294" y="453"/>
                        </a:lnTo>
                        <a:lnTo>
                          <a:pt x="282" y="443"/>
                        </a:lnTo>
                        <a:lnTo>
                          <a:pt x="268" y="427"/>
                        </a:lnTo>
                        <a:lnTo>
                          <a:pt x="268" y="427"/>
                        </a:lnTo>
                        <a:lnTo>
                          <a:pt x="256" y="413"/>
                        </a:lnTo>
                        <a:lnTo>
                          <a:pt x="249" y="404"/>
                        </a:lnTo>
                        <a:lnTo>
                          <a:pt x="244" y="396"/>
                        </a:lnTo>
                        <a:lnTo>
                          <a:pt x="235" y="385"/>
                        </a:lnTo>
                        <a:lnTo>
                          <a:pt x="235" y="385"/>
                        </a:lnTo>
                        <a:lnTo>
                          <a:pt x="223" y="373"/>
                        </a:lnTo>
                        <a:lnTo>
                          <a:pt x="213" y="359"/>
                        </a:lnTo>
                        <a:lnTo>
                          <a:pt x="204" y="345"/>
                        </a:lnTo>
                        <a:lnTo>
                          <a:pt x="200" y="333"/>
                        </a:lnTo>
                        <a:lnTo>
                          <a:pt x="200" y="333"/>
                        </a:lnTo>
                        <a:lnTo>
                          <a:pt x="197" y="323"/>
                        </a:lnTo>
                        <a:lnTo>
                          <a:pt x="193" y="312"/>
                        </a:lnTo>
                        <a:lnTo>
                          <a:pt x="190" y="303"/>
                        </a:lnTo>
                        <a:lnTo>
                          <a:pt x="183" y="296"/>
                        </a:lnTo>
                        <a:lnTo>
                          <a:pt x="183" y="296"/>
                        </a:lnTo>
                        <a:lnTo>
                          <a:pt x="181" y="293"/>
                        </a:lnTo>
                        <a:lnTo>
                          <a:pt x="180" y="289"/>
                        </a:lnTo>
                        <a:lnTo>
                          <a:pt x="181" y="284"/>
                        </a:lnTo>
                        <a:lnTo>
                          <a:pt x="181" y="281"/>
                        </a:lnTo>
                        <a:lnTo>
                          <a:pt x="181" y="277"/>
                        </a:lnTo>
                        <a:lnTo>
                          <a:pt x="178" y="272"/>
                        </a:lnTo>
                        <a:lnTo>
                          <a:pt x="174" y="267"/>
                        </a:lnTo>
                        <a:lnTo>
                          <a:pt x="174" y="267"/>
                        </a:lnTo>
                        <a:lnTo>
                          <a:pt x="162" y="253"/>
                        </a:lnTo>
                        <a:lnTo>
                          <a:pt x="157" y="244"/>
                        </a:lnTo>
                        <a:lnTo>
                          <a:pt x="155" y="239"/>
                        </a:lnTo>
                        <a:lnTo>
                          <a:pt x="150" y="234"/>
                        </a:lnTo>
                        <a:lnTo>
                          <a:pt x="150" y="234"/>
                        </a:lnTo>
                        <a:lnTo>
                          <a:pt x="141" y="229"/>
                        </a:lnTo>
                        <a:lnTo>
                          <a:pt x="138" y="223"/>
                        </a:lnTo>
                        <a:lnTo>
                          <a:pt x="133" y="201"/>
                        </a:lnTo>
                        <a:lnTo>
                          <a:pt x="133" y="201"/>
                        </a:lnTo>
                        <a:lnTo>
                          <a:pt x="126" y="180"/>
                        </a:lnTo>
                        <a:lnTo>
                          <a:pt x="124" y="176"/>
                        </a:lnTo>
                        <a:lnTo>
                          <a:pt x="126" y="173"/>
                        </a:lnTo>
                        <a:lnTo>
                          <a:pt x="126" y="173"/>
                        </a:lnTo>
                        <a:lnTo>
                          <a:pt x="126" y="169"/>
                        </a:lnTo>
                        <a:lnTo>
                          <a:pt x="124" y="168"/>
                        </a:lnTo>
                        <a:lnTo>
                          <a:pt x="119" y="161"/>
                        </a:lnTo>
                        <a:lnTo>
                          <a:pt x="110" y="154"/>
                        </a:lnTo>
                        <a:lnTo>
                          <a:pt x="101" y="148"/>
                        </a:lnTo>
                        <a:lnTo>
                          <a:pt x="101" y="148"/>
                        </a:lnTo>
                        <a:lnTo>
                          <a:pt x="93" y="145"/>
                        </a:lnTo>
                        <a:lnTo>
                          <a:pt x="89" y="140"/>
                        </a:lnTo>
                        <a:lnTo>
                          <a:pt x="87" y="136"/>
                        </a:lnTo>
                        <a:lnTo>
                          <a:pt x="86" y="131"/>
                        </a:lnTo>
                        <a:lnTo>
                          <a:pt x="86" y="124"/>
                        </a:lnTo>
                        <a:lnTo>
                          <a:pt x="84" y="121"/>
                        </a:lnTo>
                        <a:lnTo>
                          <a:pt x="79" y="115"/>
                        </a:lnTo>
                        <a:lnTo>
                          <a:pt x="79" y="115"/>
                        </a:lnTo>
                        <a:lnTo>
                          <a:pt x="73" y="112"/>
                        </a:lnTo>
                        <a:lnTo>
                          <a:pt x="72" y="110"/>
                        </a:lnTo>
                        <a:lnTo>
                          <a:pt x="72" y="105"/>
                        </a:lnTo>
                        <a:lnTo>
                          <a:pt x="65" y="94"/>
                        </a:lnTo>
                        <a:lnTo>
                          <a:pt x="65" y="94"/>
                        </a:lnTo>
                        <a:lnTo>
                          <a:pt x="59" y="88"/>
                        </a:lnTo>
                        <a:lnTo>
                          <a:pt x="56" y="84"/>
                        </a:lnTo>
                        <a:lnTo>
                          <a:pt x="52" y="82"/>
                        </a:lnTo>
                        <a:lnTo>
                          <a:pt x="51" y="82"/>
                        </a:lnTo>
                        <a:lnTo>
                          <a:pt x="45" y="81"/>
                        </a:lnTo>
                        <a:lnTo>
                          <a:pt x="44" y="79"/>
                        </a:lnTo>
                        <a:lnTo>
                          <a:pt x="40" y="75"/>
                        </a:lnTo>
                        <a:lnTo>
                          <a:pt x="40" y="75"/>
                        </a:lnTo>
                        <a:lnTo>
                          <a:pt x="33" y="67"/>
                        </a:lnTo>
                        <a:lnTo>
                          <a:pt x="28" y="61"/>
                        </a:lnTo>
                        <a:lnTo>
                          <a:pt x="21" y="54"/>
                        </a:lnTo>
                        <a:lnTo>
                          <a:pt x="12" y="42"/>
                        </a:lnTo>
                        <a:lnTo>
                          <a:pt x="12" y="42"/>
                        </a:lnTo>
                        <a:lnTo>
                          <a:pt x="5" y="25"/>
                        </a:lnTo>
                        <a:lnTo>
                          <a:pt x="2" y="18"/>
                        </a:lnTo>
                        <a:lnTo>
                          <a:pt x="0" y="11"/>
                        </a:lnTo>
                        <a:lnTo>
                          <a:pt x="0" y="6"/>
                        </a:lnTo>
                        <a:lnTo>
                          <a:pt x="2" y="2"/>
                        </a:lnTo>
                        <a:lnTo>
                          <a:pt x="7" y="0"/>
                        </a:lnTo>
                        <a:lnTo>
                          <a:pt x="14" y="2"/>
                        </a:lnTo>
                        <a:lnTo>
                          <a:pt x="14"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5" name="Freeform 1945">
                    <a:extLst>
                      <a:ext uri="{FF2B5EF4-FFF2-40B4-BE49-F238E27FC236}">
                        <a16:creationId xmlns:a16="http://schemas.microsoft.com/office/drawing/2014/main" id="{F6DF37D2-29E2-25C7-1594-0F29811A744B}"/>
                      </a:ext>
                    </a:extLst>
                  </p:cNvPr>
                  <p:cNvSpPr>
                    <a:spLocks/>
                  </p:cNvSpPr>
                  <p:nvPr/>
                </p:nvSpPr>
                <p:spPr bwMode="auto">
                  <a:xfrm>
                    <a:off x="6750350" y="4451761"/>
                    <a:ext cx="238144" cy="87455"/>
                  </a:xfrm>
                  <a:custGeom>
                    <a:avLst/>
                    <a:gdLst/>
                    <a:ahLst/>
                    <a:cxnLst>
                      <a:cxn ang="0">
                        <a:pos x="10" y="30"/>
                      </a:cxn>
                      <a:cxn ang="0">
                        <a:pos x="16" y="23"/>
                      </a:cxn>
                      <a:cxn ang="0">
                        <a:pos x="19" y="18"/>
                      </a:cxn>
                      <a:cxn ang="0">
                        <a:pos x="24" y="4"/>
                      </a:cxn>
                      <a:cxn ang="0">
                        <a:pos x="33" y="0"/>
                      </a:cxn>
                      <a:cxn ang="0">
                        <a:pos x="57" y="7"/>
                      </a:cxn>
                      <a:cxn ang="0">
                        <a:pos x="61" y="4"/>
                      </a:cxn>
                      <a:cxn ang="0">
                        <a:pos x="68" y="0"/>
                      </a:cxn>
                      <a:cxn ang="0">
                        <a:pos x="78" y="9"/>
                      </a:cxn>
                      <a:cxn ang="0">
                        <a:pos x="85" y="11"/>
                      </a:cxn>
                      <a:cxn ang="0">
                        <a:pos x="96" y="13"/>
                      </a:cxn>
                      <a:cxn ang="0">
                        <a:pos x="101" y="14"/>
                      </a:cxn>
                      <a:cxn ang="0">
                        <a:pos x="110" y="14"/>
                      </a:cxn>
                      <a:cxn ang="0">
                        <a:pos x="113" y="21"/>
                      </a:cxn>
                      <a:cxn ang="0">
                        <a:pos x="122" y="37"/>
                      </a:cxn>
                      <a:cxn ang="0">
                        <a:pos x="139" y="40"/>
                      </a:cxn>
                      <a:cxn ang="0">
                        <a:pos x="148" y="40"/>
                      </a:cxn>
                      <a:cxn ang="0">
                        <a:pos x="164" y="39"/>
                      </a:cxn>
                      <a:cxn ang="0">
                        <a:pos x="179" y="46"/>
                      </a:cxn>
                      <a:cxn ang="0">
                        <a:pos x="188" y="32"/>
                      </a:cxn>
                      <a:cxn ang="0">
                        <a:pos x="195" y="21"/>
                      </a:cxn>
                      <a:cxn ang="0">
                        <a:pos x="202" y="20"/>
                      </a:cxn>
                      <a:cxn ang="0">
                        <a:pos x="209" y="30"/>
                      </a:cxn>
                      <a:cxn ang="0">
                        <a:pos x="216" y="32"/>
                      </a:cxn>
                      <a:cxn ang="0">
                        <a:pos x="226" y="34"/>
                      </a:cxn>
                      <a:cxn ang="0">
                        <a:pos x="233" y="35"/>
                      </a:cxn>
                      <a:cxn ang="0">
                        <a:pos x="240" y="40"/>
                      </a:cxn>
                      <a:cxn ang="0">
                        <a:pos x="249" y="40"/>
                      </a:cxn>
                      <a:cxn ang="0">
                        <a:pos x="258" y="42"/>
                      </a:cxn>
                      <a:cxn ang="0">
                        <a:pos x="263" y="54"/>
                      </a:cxn>
                      <a:cxn ang="0">
                        <a:pos x="263" y="68"/>
                      </a:cxn>
                      <a:cxn ang="0">
                        <a:pos x="272" y="74"/>
                      </a:cxn>
                      <a:cxn ang="0">
                        <a:pos x="294" y="75"/>
                      </a:cxn>
                      <a:cxn ang="0">
                        <a:pos x="313" y="72"/>
                      </a:cxn>
                      <a:cxn ang="0">
                        <a:pos x="324" y="86"/>
                      </a:cxn>
                      <a:cxn ang="0">
                        <a:pos x="322" y="110"/>
                      </a:cxn>
                      <a:cxn ang="0">
                        <a:pos x="327" y="117"/>
                      </a:cxn>
                      <a:cxn ang="0">
                        <a:pos x="326" y="122"/>
                      </a:cxn>
                      <a:cxn ang="0">
                        <a:pos x="313" y="115"/>
                      </a:cxn>
                      <a:cxn ang="0">
                        <a:pos x="291" y="107"/>
                      </a:cxn>
                      <a:cxn ang="0">
                        <a:pos x="273" y="100"/>
                      </a:cxn>
                      <a:cxn ang="0">
                        <a:pos x="270" y="105"/>
                      </a:cxn>
                      <a:cxn ang="0">
                        <a:pos x="254" y="105"/>
                      </a:cxn>
                      <a:cxn ang="0">
                        <a:pos x="232" y="101"/>
                      </a:cxn>
                      <a:cxn ang="0">
                        <a:pos x="214" y="101"/>
                      </a:cxn>
                      <a:cxn ang="0">
                        <a:pos x="181" y="93"/>
                      </a:cxn>
                      <a:cxn ang="0">
                        <a:pos x="164" y="81"/>
                      </a:cxn>
                      <a:cxn ang="0">
                        <a:pos x="146" y="77"/>
                      </a:cxn>
                      <a:cxn ang="0">
                        <a:pos x="129" y="75"/>
                      </a:cxn>
                      <a:cxn ang="0">
                        <a:pos x="124" y="74"/>
                      </a:cxn>
                      <a:cxn ang="0">
                        <a:pos x="108" y="81"/>
                      </a:cxn>
                      <a:cxn ang="0">
                        <a:pos x="96" y="77"/>
                      </a:cxn>
                      <a:cxn ang="0">
                        <a:pos x="49" y="63"/>
                      </a:cxn>
                      <a:cxn ang="0">
                        <a:pos x="42" y="58"/>
                      </a:cxn>
                      <a:cxn ang="0">
                        <a:pos x="45" y="46"/>
                      </a:cxn>
                      <a:cxn ang="0">
                        <a:pos x="38" y="46"/>
                      </a:cxn>
                      <a:cxn ang="0">
                        <a:pos x="33" y="42"/>
                      </a:cxn>
                      <a:cxn ang="0">
                        <a:pos x="19" y="39"/>
                      </a:cxn>
                      <a:cxn ang="0">
                        <a:pos x="5" y="40"/>
                      </a:cxn>
                      <a:cxn ang="0">
                        <a:pos x="2" y="34"/>
                      </a:cxn>
                    </a:cxnLst>
                    <a:rect l="0" t="0" r="r" b="b"/>
                    <a:pathLst>
                      <a:path w="329" h="122">
                        <a:moveTo>
                          <a:pt x="5" y="32"/>
                        </a:moveTo>
                        <a:lnTo>
                          <a:pt x="5" y="32"/>
                        </a:lnTo>
                        <a:lnTo>
                          <a:pt x="10" y="30"/>
                        </a:lnTo>
                        <a:lnTo>
                          <a:pt x="12" y="28"/>
                        </a:lnTo>
                        <a:lnTo>
                          <a:pt x="12" y="25"/>
                        </a:lnTo>
                        <a:lnTo>
                          <a:pt x="16" y="23"/>
                        </a:lnTo>
                        <a:lnTo>
                          <a:pt x="16" y="23"/>
                        </a:lnTo>
                        <a:lnTo>
                          <a:pt x="17" y="21"/>
                        </a:lnTo>
                        <a:lnTo>
                          <a:pt x="19" y="18"/>
                        </a:lnTo>
                        <a:lnTo>
                          <a:pt x="21" y="11"/>
                        </a:lnTo>
                        <a:lnTo>
                          <a:pt x="23" y="6"/>
                        </a:lnTo>
                        <a:lnTo>
                          <a:pt x="24" y="4"/>
                        </a:lnTo>
                        <a:lnTo>
                          <a:pt x="28" y="0"/>
                        </a:lnTo>
                        <a:lnTo>
                          <a:pt x="33" y="0"/>
                        </a:lnTo>
                        <a:lnTo>
                          <a:pt x="33" y="0"/>
                        </a:lnTo>
                        <a:lnTo>
                          <a:pt x="45" y="4"/>
                        </a:lnTo>
                        <a:lnTo>
                          <a:pt x="54" y="7"/>
                        </a:lnTo>
                        <a:lnTo>
                          <a:pt x="57" y="7"/>
                        </a:lnTo>
                        <a:lnTo>
                          <a:pt x="59" y="6"/>
                        </a:lnTo>
                        <a:lnTo>
                          <a:pt x="61" y="4"/>
                        </a:lnTo>
                        <a:lnTo>
                          <a:pt x="61" y="4"/>
                        </a:lnTo>
                        <a:lnTo>
                          <a:pt x="61" y="0"/>
                        </a:lnTo>
                        <a:lnTo>
                          <a:pt x="63" y="0"/>
                        </a:lnTo>
                        <a:lnTo>
                          <a:pt x="68" y="0"/>
                        </a:lnTo>
                        <a:lnTo>
                          <a:pt x="73" y="2"/>
                        </a:lnTo>
                        <a:lnTo>
                          <a:pt x="78" y="9"/>
                        </a:lnTo>
                        <a:lnTo>
                          <a:pt x="78" y="9"/>
                        </a:lnTo>
                        <a:lnTo>
                          <a:pt x="80" y="11"/>
                        </a:lnTo>
                        <a:lnTo>
                          <a:pt x="82" y="11"/>
                        </a:lnTo>
                        <a:lnTo>
                          <a:pt x="85" y="11"/>
                        </a:lnTo>
                        <a:lnTo>
                          <a:pt x="90" y="9"/>
                        </a:lnTo>
                        <a:lnTo>
                          <a:pt x="92" y="11"/>
                        </a:lnTo>
                        <a:lnTo>
                          <a:pt x="96" y="13"/>
                        </a:lnTo>
                        <a:lnTo>
                          <a:pt x="96" y="13"/>
                        </a:lnTo>
                        <a:lnTo>
                          <a:pt x="99" y="14"/>
                        </a:lnTo>
                        <a:lnTo>
                          <a:pt x="101" y="14"/>
                        </a:lnTo>
                        <a:lnTo>
                          <a:pt x="106" y="14"/>
                        </a:lnTo>
                        <a:lnTo>
                          <a:pt x="108" y="13"/>
                        </a:lnTo>
                        <a:lnTo>
                          <a:pt x="110" y="14"/>
                        </a:lnTo>
                        <a:lnTo>
                          <a:pt x="111" y="16"/>
                        </a:lnTo>
                        <a:lnTo>
                          <a:pt x="113" y="21"/>
                        </a:lnTo>
                        <a:lnTo>
                          <a:pt x="113" y="21"/>
                        </a:lnTo>
                        <a:lnTo>
                          <a:pt x="117" y="30"/>
                        </a:lnTo>
                        <a:lnTo>
                          <a:pt x="118" y="34"/>
                        </a:lnTo>
                        <a:lnTo>
                          <a:pt x="122" y="37"/>
                        </a:lnTo>
                        <a:lnTo>
                          <a:pt x="125" y="39"/>
                        </a:lnTo>
                        <a:lnTo>
                          <a:pt x="132" y="39"/>
                        </a:lnTo>
                        <a:lnTo>
                          <a:pt x="139" y="40"/>
                        </a:lnTo>
                        <a:lnTo>
                          <a:pt x="139" y="40"/>
                        </a:lnTo>
                        <a:lnTo>
                          <a:pt x="144" y="40"/>
                        </a:lnTo>
                        <a:lnTo>
                          <a:pt x="148" y="40"/>
                        </a:lnTo>
                        <a:lnTo>
                          <a:pt x="153" y="39"/>
                        </a:lnTo>
                        <a:lnTo>
                          <a:pt x="164" y="39"/>
                        </a:lnTo>
                        <a:lnTo>
                          <a:pt x="164" y="39"/>
                        </a:lnTo>
                        <a:lnTo>
                          <a:pt x="169" y="40"/>
                        </a:lnTo>
                        <a:lnTo>
                          <a:pt x="174" y="42"/>
                        </a:lnTo>
                        <a:lnTo>
                          <a:pt x="179" y="46"/>
                        </a:lnTo>
                        <a:lnTo>
                          <a:pt x="181" y="46"/>
                        </a:lnTo>
                        <a:lnTo>
                          <a:pt x="185" y="44"/>
                        </a:lnTo>
                        <a:lnTo>
                          <a:pt x="188" y="32"/>
                        </a:lnTo>
                        <a:lnTo>
                          <a:pt x="188" y="32"/>
                        </a:lnTo>
                        <a:lnTo>
                          <a:pt x="191" y="25"/>
                        </a:lnTo>
                        <a:lnTo>
                          <a:pt x="195" y="21"/>
                        </a:lnTo>
                        <a:lnTo>
                          <a:pt x="197" y="18"/>
                        </a:lnTo>
                        <a:lnTo>
                          <a:pt x="200" y="18"/>
                        </a:lnTo>
                        <a:lnTo>
                          <a:pt x="202" y="20"/>
                        </a:lnTo>
                        <a:lnTo>
                          <a:pt x="204" y="23"/>
                        </a:lnTo>
                        <a:lnTo>
                          <a:pt x="209" y="30"/>
                        </a:lnTo>
                        <a:lnTo>
                          <a:pt x="209" y="30"/>
                        </a:lnTo>
                        <a:lnTo>
                          <a:pt x="211" y="34"/>
                        </a:lnTo>
                        <a:lnTo>
                          <a:pt x="212" y="34"/>
                        </a:lnTo>
                        <a:lnTo>
                          <a:pt x="216" y="32"/>
                        </a:lnTo>
                        <a:lnTo>
                          <a:pt x="221" y="30"/>
                        </a:lnTo>
                        <a:lnTo>
                          <a:pt x="225" y="30"/>
                        </a:lnTo>
                        <a:lnTo>
                          <a:pt x="226" y="34"/>
                        </a:lnTo>
                        <a:lnTo>
                          <a:pt x="226" y="34"/>
                        </a:lnTo>
                        <a:lnTo>
                          <a:pt x="232" y="37"/>
                        </a:lnTo>
                        <a:lnTo>
                          <a:pt x="233" y="35"/>
                        </a:lnTo>
                        <a:lnTo>
                          <a:pt x="235" y="35"/>
                        </a:lnTo>
                        <a:lnTo>
                          <a:pt x="240" y="40"/>
                        </a:lnTo>
                        <a:lnTo>
                          <a:pt x="240" y="40"/>
                        </a:lnTo>
                        <a:lnTo>
                          <a:pt x="242" y="42"/>
                        </a:lnTo>
                        <a:lnTo>
                          <a:pt x="245" y="44"/>
                        </a:lnTo>
                        <a:lnTo>
                          <a:pt x="249" y="40"/>
                        </a:lnTo>
                        <a:lnTo>
                          <a:pt x="251" y="40"/>
                        </a:lnTo>
                        <a:lnTo>
                          <a:pt x="254" y="40"/>
                        </a:lnTo>
                        <a:lnTo>
                          <a:pt x="258" y="42"/>
                        </a:lnTo>
                        <a:lnTo>
                          <a:pt x="261" y="47"/>
                        </a:lnTo>
                        <a:lnTo>
                          <a:pt x="261" y="47"/>
                        </a:lnTo>
                        <a:lnTo>
                          <a:pt x="263" y="54"/>
                        </a:lnTo>
                        <a:lnTo>
                          <a:pt x="265" y="60"/>
                        </a:lnTo>
                        <a:lnTo>
                          <a:pt x="263" y="65"/>
                        </a:lnTo>
                        <a:lnTo>
                          <a:pt x="263" y="68"/>
                        </a:lnTo>
                        <a:lnTo>
                          <a:pt x="263" y="70"/>
                        </a:lnTo>
                        <a:lnTo>
                          <a:pt x="272" y="74"/>
                        </a:lnTo>
                        <a:lnTo>
                          <a:pt x="272" y="74"/>
                        </a:lnTo>
                        <a:lnTo>
                          <a:pt x="279" y="75"/>
                        </a:lnTo>
                        <a:lnTo>
                          <a:pt x="286" y="77"/>
                        </a:lnTo>
                        <a:lnTo>
                          <a:pt x="294" y="75"/>
                        </a:lnTo>
                        <a:lnTo>
                          <a:pt x="303" y="74"/>
                        </a:lnTo>
                        <a:lnTo>
                          <a:pt x="313" y="72"/>
                        </a:lnTo>
                        <a:lnTo>
                          <a:pt x="313" y="72"/>
                        </a:lnTo>
                        <a:lnTo>
                          <a:pt x="320" y="75"/>
                        </a:lnTo>
                        <a:lnTo>
                          <a:pt x="324" y="79"/>
                        </a:lnTo>
                        <a:lnTo>
                          <a:pt x="324" y="86"/>
                        </a:lnTo>
                        <a:lnTo>
                          <a:pt x="324" y="93"/>
                        </a:lnTo>
                        <a:lnTo>
                          <a:pt x="320" y="105"/>
                        </a:lnTo>
                        <a:lnTo>
                          <a:pt x="322" y="110"/>
                        </a:lnTo>
                        <a:lnTo>
                          <a:pt x="326" y="114"/>
                        </a:lnTo>
                        <a:lnTo>
                          <a:pt x="326" y="114"/>
                        </a:lnTo>
                        <a:lnTo>
                          <a:pt x="327" y="117"/>
                        </a:lnTo>
                        <a:lnTo>
                          <a:pt x="329" y="121"/>
                        </a:lnTo>
                        <a:lnTo>
                          <a:pt x="327" y="121"/>
                        </a:lnTo>
                        <a:lnTo>
                          <a:pt x="326" y="122"/>
                        </a:lnTo>
                        <a:lnTo>
                          <a:pt x="320" y="119"/>
                        </a:lnTo>
                        <a:lnTo>
                          <a:pt x="320" y="119"/>
                        </a:lnTo>
                        <a:lnTo>
                          <a:pt x="313" y="115"/>
                        </a:lnTo>
                        <a:lnTo>
                          <a:pt x="308" y="114"/>
                        </a:lnTo>
                        <a:lnTo>
                          <a:pt x="301" y="112"/>
                        </a:lnTo>
                        <a:lnTo>
                          <a:pt x="291" y="107"/>
                        </a:lnTo>
                        <a:lnTo>
                          <a:pt x="291" y="107"/>
                        </a:lnTo>
                        <a:lnTo>
                          <a:pt x="275" y="100"/>
                        </a:lnTo>
                        <a:lnTo>
                          <a:pt x="273" y="100"/>
                        </a:lnTo>
                        <a:lnTo>
                          <a:pt x="273" y="101"/>
                        </a:lnTo>
                        <a:lnTo>
                          <a:pt x="273" y="103"/>
                        </a:lnTo>
                        <a:lnTo>
                          <a:pt x="270" y="105"/>
                        </a:lnTo>
                        <a:lnTo>
                          <a:pt x="265" y="105"/>
                        </a:lnTo>
                        <a:lnTo>
                          <a:pt x="254" y="105"/>
                        </a:lnTo>
                        <a:lnTo>
                          <a:pt x="254" y="105"/>
                        </a:lnTo>
                        <a:lnTo>
                          <a:pt x="237" y="101"/>
                        </a:lnTo>
                        <a:lnTo>
                          <a:pt x="233" y="101"/>
                        </a:lnTo>
                        <a:lnTo>
                          <a:pt x="232" y="101"/>
                        </a:lnTo>
                        <a:lnTo>
                          <a:pt x="228" y="103"/>
                        </a:lnTo>
                        <a:lnTo>
                          <a:pt x="214" y="101"/>
                        </a:lnTo>
                        <a:lnTo>
                          <a:pt x="214" y="101"/>
                        </a:lnTo>
                        <a:lnTo>
                          <a:pt x="200" y="100"/>
                        </a:lnTo>
                        <a:lnTo>
                          <a:pt x="190" y="96"/>
                        </a:lnTo>
                        <a:lnTo>
                          <a:pt x="181" y="93"/>
                        </a:lnTo>
                        <a:lnTo>
                          <a:pt x="176" y="89"/>
                        </a:lnTo>
                        <a:lnTo>
                          <a:pt x="169" y="84"/>
                        </a:lnTo>
                        <a:lnTo>
                          <a:pt x="164" y="81"/>
                        </a:lnTo>
                        <a:lnTo>
                          <a:pt x="158" y="79"/>
                        </a:lnTo>
                        <a:lnTo>
                          <a:pt x="158" y="79"/>
                        </a:lnTo>
                        <a:lnTo>
                          <a:pt x="146" y="77"/>
                        </a:lnTo>
                        <a:lnTo>
                          <a:pt x="139" y="77"/>
                        </a:lnTo>
                        <a:lnTo>
                          <a:pt x="134" y="77"/>
                        </a:lnTo>
                        <a:lnTo>
                          <a:pt x="129" y="75"/>
                        </a:lnTo>
                        <a:lnTo>
                          <a:pt x="129" y="75"/>
                        </a:lnTo>
                        <a:lnTo>
                          <a:pt x="127" y="74"/>
                        </a:lnTo>
                        <a:lnTo>
                          <a:pt x="124" y="74"/>
                        </a:lnTo>
                        <a:lnTo>
                          <a:pt x="117" y="77"/>
                        </a:lnTo>
                        <a:lnTo>
                          <a:pt x="113" y="79"/>
                        </a:lnTo>
                        <a:lnTo>
                          <a:pt x="108" y="81"/>
                        </a:lnTo>
                        <a:lnTo>
                          <a:pt x="101" y="81"/>
                        </a:lnTo>
                        <a:lnTo>
                          <a:pt x="96" y="77"/>
                        </a:lnTo>
                        <a:lnTo>
                          <a:pt x="96" y="77"/>
                        </a:lnTo>
                        <a:lnTo>
                          <a:pt x="80" y="72"/>
                        </a:lnTo>
                        <a:lnTo>
                          <a:pt x="66" y="67"/>
                        </a:lnTo>
                        <a:lnTo>
                          <a:pt x="49" y="63"/>
                        </a:lnTo>
                        <a:lnTo>
                          <a:pt x="43" y="61"/>
                        </a:lnTo>
                        <a:lnTo>
                          <a:pt x="42" y="61"/>
                        </a:lnTo>
                        <a:lnTo>
                          <a:pt x="42" y="58"/>
                        </a:lnTo>
                        <a:lnTo>
                          <a:pt x="43" y="53"/>
                        </a:lnTo>
                        <a:lnTo>
                          <a:pt x="43" y="53"/>
                        </a:lnTo>
                        <a:lnTo>
                          <a:pt x="45" y="46"/>
                        </a:lnTo>
                        <a:lnTo>
                          <a:pt x="45" y="44"/>
                        </a:lnTo>
                        <a:lnTo>
                          <a:pt x="43" y="44"/>
                        </a:lnTo>
                        <a:lnTo>
                          <a:pt x="38" y="46"/>
                        </a:lnTo>
                        <a:lnTo>
                          <a:pt x="35" y="46"/>
                        </a:lnTo>
                        <a:lnTo>
                          <a:pt x="33" y="42"/>
                        </a:lnTo>
                        <a:lnTo>
                          <a:pt x="33" y="42"/>
                        </a:lnTo>
                        <a:lnTo>
                          <a:pt x="30" y="40"/>
                        </a:lnTo>
                        <a:lnTo>
                          <a:pt x="26" y="39"/>
                        </a:lnTo>
                        <a:lnTo>
                          <a:pt x="19" y="39"/>
                        </a:lnTo>
                        <a:lnTo>
                          <a:pt x="12" y="40"/>
                        </a:lnTo>
                        <a:lnTo>
                          <a:pt x="5" y="40"/>
                        </a:lnTo>
                        <a:lnTo>
                          <a:pt x="5" y="40"/>
                        </a:lnTo>
                        <a:lnTo>
                          <a:pt x="0" y="37"/>
                        </a:lnTo>
                        <a:lnTo>
                          <a:pt x="0" y="35"/>
                        </a:lnTo>
                        <a:lnTo>
                          <a:pt x="2" y="34"/>
                        </a:lnTo>
                        <a:lnTo>
                          <a:pt x="5" y="32"/>
                        </a:lnTo>
                        <a:lnTo>
                          <a:pt x="5"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6" name="Freeform 1946">
                    <a:extLst>
                      <a:ext uri="{FF2B5EF4-FFF2-40B4-BE49-F238E27FC236}">
                        <a16:creationId xmlns:a16="http://schemas.microsoft.com/office/drawing/2014/main" id="{7556AAAB-B176-F27C-E879-76668174A979}"/>
                      </a:ext>
                    </a:extLst>
                  </p:cNvPr>
                  <p:cNvSpPr>
                    <a:spLocks/>
                  </p:cNvSpPr>
                  <p:nvPr/>
                </p:nvSpPr>
                <p:spPr bwMode="auto">
                  <a:xfrm>
                    <a:off x="7020246" y="4520134"/>
                    <a:ext cx="23815" cy="22261"/>
                  </a:xfrm>
                  <a:custGeom>
                    <a:avLst/>
                    <a:gdLst/>
                    <a:ahLst/>
                    <a:cxnLst>
                      <a:cxn ang="0">
                        <a:pos x="6" y="21"/>
                      </a:cxn>
                      <a:cxn ang="0">
                        <a:pos x="6" y="21"/>
                      </a:cxn>
                      <a:cxn ang="0">
                        <a:pos x="0" y="23"/>
                      </a:cxn>
                      <a:cxn ang="0">
                        <a:pos x="0" y="24"/>
                      </a:cxn>
                      <a:cxn ang="0">
                        <a:pos x="4" y="28"/>
                      </a:cxn>
                      <a:cxn ang="0">
                        <a:pos x="12" y="30"/>
                      </a:cxn>
                      <a:cxn ang="0">
                        <a:pos x="12" y="30"/>
                      </a:cxn>
                      <a:cxn ang="0">
                        <a:pos x="21" y="30"/>
                      </a:cxn>
                      <a:cxn ang="0">
                        <a:pos x="23" y="28"/>
                      </a:cxn>
                      <a:cxn ang="0">
                        <a:pos x="25" y="26"/>
                      </a:cxn>
                      <a:cxn ang="0">
                        <a:pos x="25" y="23"/>
                      </a:cxn>
                      <a:cxn ang="0">
                        <a:pos x="28" y="14"/>
                      </a:cxn>
                      <a:cxn ang="0">
                        <a:pos x="28" y="14"/>
                      </a:cxn>
                      <a:cxn ang="0">
                        <a:pos x="30" y="7"/>
                      </a:cxn>
                      <a:cxn ang="0">
                        <a:pos x="32" y="3"/>
                      </a:cxn>
                      <a:cxn ang="0">
                        <a:pos x="28" y="2"/>
                      </a:cxn>
                      <a:cxn ang="0">
                        <a:pos x="23" y="0"/>
                      </a:cxn>
                      <a:cxn ang="0">
                        <a:pos x="23" y="0"/>
                      </a:cxn>
                      <a:cxn ang="0">
                        <a:pos x="19" y="0"/>
                      </a:cxn>
                      <a:cxn ang="0">
                        <a:pos x="16" y="0"/>
                      </a:cxn>
                      <a:cxn ang="0">
                        <a:pos x="11" y="3"/>
                      </a:cxn>
                      <a:cxn ang="0">
                        <a:pos x="7" y="7"/>
                      </a:cxn>
                      <a:cxn ang="0">
                        <a:pos x="6" y="10"/>
                      </a:cxn>
                      <a:cxn ang="0">
                        <a:pos x="6" y="10"/>
                      </a:cxn>
                      <a:cxn ang="0">
                        <a:pos x="6" y="17"/>
                      </a:cxn>
                      <a:cxn ang="0">
                        <a:pos x="6" y="21"/>
                      </a:cxn>
                      <a:cxn ang="0">
                        <a:pos x="6" y="21"/>
                      </a:cxn>
                      <a:cxn ang="0">
                        <a:pos x="6" y="21"/>
                      </a:cxn>
                    </a:cxnLst>
                    <a:rect l="0" t="0" r="r" b="b"/>
                    <a:pathLst>
                      <a:path w="32" h="30">
                        <a:moveTo>
                          <a:pt x="6" y="21"/>
                        </a:moveTo>
                        <a:lnTo>
                          <a:pt x="6" y="21"/>
                        </a:lnTo>
                        <a:lnTo>
                          <a:pt x="0" y="23"/>
                        </a:lnTo>
                        <a:lnTo>
                          <a:pt x="0" y="24"/>
                        </a:lnTo>
                        <a:lnTo>
                          <a:pt x="4" y="28"/>
                        </a:lnTo>
                        <a:lnTo>
                          <a:pt x="12" y="30"/>
                        </a:lnTo>
                        <a:lnTo>
                          <a:pt x="12" y="30"/>
                        </a:lnTo>
                        <a:lnTo>
                          <a:pt x="21" y="30"/>
                        </a:lnTo>
                        <a:lnTo>
                          <a:pt x="23" y="28"/>
                        </a:lnTo>
                        <a:lnTo>
                          <a:pt x="25" y="26"/>
                        </a:lnTo>
                        <a:lnTo>
                          <a:pt x="25" y="23"/>
                        </a:lnTo>
                        <a:lnTo>
                          <a:pt x="28" y="14"/>
                        </a:lnTo>
                        <a:lnTo>
                          <a:pt x="28" y="14"/>
                        </a:lnTo>
                        <a:lnTo>
                          <a:pt x="30" y="7"/>
                        </a:lnTo>
                        <a:lnTo>
                          <a:pt x="32" y="3"/>
                        </a:lnTo>
                        <a:lnTo>
                          <a:pt x="28" y="2"/>
                        </a:lnTo>
                        <a:lnTo>
                          <a:pt x="23" y="0"/>
                        </a:lnTo>
                        <a:lnTo>
                          <a:pt x="23" y="0"/>
                        </a:lnTo>
                        <a:lnTo>
                          <a:pt x="19" y="0"/>
                        </a:lnTo>
                        <a:lnTo>
                          <a:pt x="16" y="0"/>
                        </a:lnTo>
                        <a:lnTo>
                          <a:pt x="11" y="3"/>
                        </a:lnTo>
                        <a:lnTo>
                          <a:pt x="7" y="7"/>
                        </a:lnTo>
                        <a:lnTo>
                          <a:pt x="6" y="10"/>
                        </a:lnTo>
                        <a:lnTo>
                          <a:pt x="6" y="10"/>
                        </a:lnTo>
                        <a:lnTo>
                          <a:pt x="6" y="17"/>
                        </a:lnTo>
                        <a:lnTo>
                          <a:pt x="6" y="21"/>
                        </a:lnTo>
                        <a:lnTo>
                          <a:pt x="6" y="21"/>
                        </a:lnTo>
                        <a:lnTo>
                          <a:pt x="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7" name="Freeform 1947">
                    <a:extLst>
                      <a:ext uri="{FF2B5EF4-FFF2-40B4-BE49-F238E27FC236}">
                        <a16:creationId xmlns:a16="http://schemas.microsoft.com/office/drawing/2014/main" id="{4F99D050-F8B1-5636-9D8C-67E2FFB078EA}"/>
                      </a:ext>
                    </a:extLst>
                  </p:cNvPr>
                  <p:cNvSpPr>
                    <a:spLocks/>
                  </p:cNvSpPr>
                  <p:nvPr/>
                </p:nvSpPr>
                <p:spPr bwMode="auto">
                  <a:xfrm>
                    <a:off x="7044061" y="4516954"/>
                    <a:ext cx="60330" cy="30211"/>
                  </a:xfrm>
                  <a:custGeom>
                    <a:avLst/>
                    <a:gdLst/>
                    <a:ahLst/>
                    <a:cxnLst>
                      <a:cxn ang="0">
                        <a:pos x="0" y="26"/>
                      </a:cxn>
                      <a:cxn ang="0">
                        <a:pos x="3" y="19"/>
                      </a:cxn>
                      <a:cxn ang="0">
                        <a:pos x="8" y="14"/>
                      </a:cxn>
                      <a:cxn ang="0">
                        <a:pos x="10" y="12"/>
                      </a:cxn>
                      <a:cxn ang="0">
                        <a:pos x="15" y="12"/>
                      </a:cxn>
                      <a:cxn ang="0">
                        <a:pos x="24" y="14"/>
                      </a:cxn>
                      <a:cxn ang="0">
                        <a:pos x="28" y="14"/>
                      </a:cxn>
                      <a:cxn ang="0">
                        <a:pos x="34" y="22"/>
                      </a:cxn>
                      <a:cxn ang="0">
                        <a:pos x="38" y="26"/>
                      </a:cxn>
                      <a:cxn ang="0">
                        <a:pos x="43" y="22"/>
                      </a:cxn>
                      <a:cxn ang="0">
                        <a:pos x="48" y="22"/>
                      </a:cxn>
                      <a:cxn ang="0">
                        <a:pos x="52" y="21"/>
                      </a:cxn>
                      <a:cxn ang="0">
                        <a:pos x="45" y="15"/>
                      </a:cxn>
                      <a:cxn ang="0">
                        <a:pos x="41" y="14"/>
                      </a:cxn>
                      <a:cxn ang="0">
                        <a:pos x="34" y="8"/>
                      </a:cxn>
                      <a:cxn ang="0">
                        <a:pos x="33" y="1"/>
                      </a:cxn>
                      <a:cxn ang="0">
                        <a:pos x="38" y="0"/>
                      </a:cxn>
                      <a:cxn ang="0">
                        <a:pos x="41" y="0"/>
                      </a:cxn>
                      <a:cxn ang="0">
                        <a:pos x="48" y="5"/>
                      </a:cxn>
                      <a:cxn ang="0">
                        <a:pos x="55" y="8"/>
                      </a:cxn>
                      <a:cxn ang="0">
                        <a:pos x="57" y="7"/>
                      </a:cxn>
                      <a:cxn ang="0">
                        <a:pos x="62" y="5"/>
                      </a:cxn>
                      <a:cxn ang="0">
                        <a:pos x="68" y="8"/>
                      </a:cxn>
                      <a:cxn ang="0">
                        <a:pos x="71" y="8"/>
                      </a:cxn>
                      <a:cxn ang="0">
                        <a:pos x="75" y="7"/>
                      </a:cxn>
                      <a:cxn ang="0">
                        <a:pos x="81" y="14"/>
                      </a:cxn>
                      <a:cxn ang="0">
                        <a:pos x="85" y="26"/>
                      </a:cxn>
                      <a:cxn ang="0">
                        <a:pos x="83" y="28"/>
                      </a:cxn>
                      <a:cxn ang="0">
                        <a:pos x="75" y="26"/>
                      </a:cxn>
                      <a:cxn ang="0">
                        <a:pos x="71" y="24"/>
                      </a:cxn>
                      <a:cxn ang="0">
                        <a:pos x="71" y="28"/>
                      </a:cxn>
                      <a:cxn ang="0">
                        <a:pos x="76" y="29"/>
                      </a:cxn>
                      <a:cxn ang="0">
                        <a:pos x="76" y="33"/>
                      </a:cxn>
                      <a:cxn ang="0">
                        <a:pos x="68" y="31"/>
                      </a:cxn>
                      <a:cxn ang="0">
                        <a:pos x="61" y="31"/>
                      </a:cxn>
                      <a:cxn ang="0">
                        <a:pos x="55" y="29"/>
                      </a:cxn>
                      <a:cxn ang="0">
                        <a:pos x="55" y="28"/>
                      </a:cxn>
                      <a:cxn ang="0">
                        <a:pos x="50" y="31"/>
                      </a:cxn>
                      <a:cxn ang="0">
                        <a:pos x="45" y="33"/>
                      </a:cxn>
                      <a:cxn ang="0">
                        <a:pos x="29" y="36"/>
                      </a:cxn>
                      <a:cxn ang="0">
                        <a:pos x="10" y="41"/>
                      </a:cxn>
                      <a:cxn ang="0">
                        <a:pos x="1" y="40"/>
                      </a:cxn>
                      <a:cxn ang="0">
                        <a:pos x="0" y="35"/>
                      </a:cxn>
                      <a:cxn ang="0">
                        <a:pos x="0" y="26"/>
                      </a:cxn>
                    </a:cxnLst>
                    <a:rect l="0" t="0" r="r" b="b"/>
                    <a:pathLst>
                      <a:path w="85" h="41">
                        <a:moveTo>
                          <a:pt x="0" y="26"/>
                        </a:moveTo>
                        <a:lnTo>
                          <a:pt x="0" y="26"/>
                        </a:lnTo>
                        <a:lnTo>
                          <a:pt x="0" y="21"/>
                        </a:lnTo>
                        <a:lnTo>
                          <a:pt x="3" y="19"/>
                        </a:lnTo>
                        <a:lnTo>
                          <a:pt x="5" y="17"/>
                        </a:lnTo>
                        <a:lnTo>
                          <a:pt x="8" y="14"/>
                        </a:lnTo>
                        <a:lnTo>
                          <a:pt x="8" y="14"/>
                        </a:lnTo>
                        <a:lnTo>
                          <a:pt x="10" y="12"/>
                        </a:lnTo>
                        <a:lnTo>
                          <a:pt x="12" y="10"/>
                        </a:lnTo>
                        <a:lnTo>
                          <a:pt x="15" y="12"/>
                        </a:lnTo>
                        <a:lnTo>
                          <a:pt x="21" y="14"/>
                        </a:lnTo>
                        <a:lnTo>
                          <a:pt x="24" y="14"/>
                        </a:lnTo>
                        <a:lnTo>
                          <a:pt x="24" y="14"/>
                        </a:lnTo>
                        <a:lnTo>
                          <a:pt x="28" y="14"/>
                        </a:lnTo>
                        <a:lnTo>
                          <a:pt x="29" y="15"/>
                        </a:lnTo>
                        <a:lnTo>
                          <a:pt x="34" y="22"/>
                        </a:lnTo>
                        <a:lnTo>
                          <a:pt x="34" y="22"/>
                        </a:lnTo>
                        <a:lnTo>
                          <a:pt x="38" y="26"/>
                        </a:lnTo>
                        <a:lnTo>
                          <a:pt x="41" y="24"/>
                        </a:lnTo>
                        <a:lnTo>
                          <a:pt x="43" y="22"/>
                        </a:lnTo>
                        <a:lnTo>
                          <a:pt x="48" y="22"/>
                        </a:lnTo>
                        <a:lnTo>
                          <a:pt x="48" y="22"/>
                        </a:lnTo>
                        <a:lnTo>
                          <a:pt x="52" y="22"/>
                        </a:lnTo>
                        <a:lnTo>
                          <a:pt x="52" y="21"/>
                        </a:lnTo>
                        <a:lnTo>
                          <a:pt x="50" y="19"/>
                        </a:lnTo>
                        <a:lnTo>
                          <a:pt x="45" y="15"/>
                        </a:lnTo>
                        <a:lnTo>
                          <a:pt x="41" y="14"/>
                        </a:lnTo>
                        <a:lnTo>
                          <a:pt x="41" y="14"/>
                        </a:lnTo>
                        <a:lnTo>
                          <a:pt x="38" y="14"/>
                        </a:lnTo>
                        <a:lnTo>
                          <a:pt x="34" y="8"/>
                        </a:lnTo>
                        <a:lnTo>
                          <a:pt x="33" y="5"/>
                        </a:lnTo>
                        <a:lnTo>
                          <a:pt x="33" y="1"/>
                        </a:lnTo>
                        <a:lnTo>
                          <a:pt x="34" y="0"/>
                        </a:lnTo>
                        <a:lnTo>
                          <a:pt x="38" y="0"/>
                        </a:lnTo>
                        <a:lnTo>
                          <a:pt x="38" y="0"/>
                        </a:lnTo>
                        <a:lnTo>
                          <a:pt x="41" y="0"/>
                        </a:lnTo>
                        <a:lnTo>
                          <a:pt x="45" y="1"/>
                        </a:lnTo>
                        <a:lnTo>
                          <a:pt x="48" y="5"/>
                        </a:lnTo>
                        <a:lnTo>
                          <a:pt x="52" y="8"/>
                        </a:lnTo>
                        <a:lnTo>
                          <a:pt x="55" y="8"/>
                        </a:lnTo>
                        <a:lnTo>
                          <a:pt x="57" y="7"/>
                        </a:lnTo>
                        <a:lnTo>
                          <a:pt x="57" y="7"/>
                        </a:lnTo>
                        <a:lnTo>
                          <a:pt x="61" y="5"/>
                        </a:lnTo>
                        <a:lnTo>
                          <a:pt x="62" y="5"/>
                        </a:lnTo>
                        <a:lnTo>
                          <a:pt x="64" y="7"/>
                        </a:lnTo>
                        <a:lnTo>
                          <a:pt x="68" y="8"/>
                        </a:lnTo>
                        <a:lnTo>
                          <a:pt x="69" y="8"/>
                        </a:lnTo>
                        <a:lnTo>
                          <a:pt x="71" y="8"/>
                        </a:lnTo>
                        <a:lnTo>
                          <a:pt x="71" y="8"/>
                        </a:lnTo>
                        <a:lnTo>
                          <a:pt x="75" y="7"/>
                        </a:lnTo>
                        <a:lnTo>
                          <a:pt x="76" y="8"/>
                        </a:lnTo>
                        <a:lnTo>
                          <a:pt x="81" y="14"/>
                        </a:lnTo>
                        <a:lnTo>
                          <a:pt x="83" y="21"/>
                        </a:lnTo>
                        <a:lnTo>
                          <a:pt x="85" y="26"/>
                        </a:lnTo>
                        <a:lnTo>
                          <a:pt x="85" y="26"/>
                        </a:lnTo>
                        <a:lnTo>
                          <a:pt x="83" y="28"/>
                        </a:lnTo>
                        <a:lnTo>
                          <a:pt x="81" y="28"/>
                        </a:lnTo>
                        <a:lnTo>
                          <a:pt x="75" y="26"/>
                        </a:lnTo>
                        <a:lnTo>
                          <a:pt x="75" y="26"/>
                        </a:lnTo>
                        <a:lnTo>
                          <a:pt x="71" y="24"/>
                        </a:lnTo>
                        <a:lnTo>
                          <a:pt x="69" y="26"/>
                        </a:lnTo>
                        <a:lnTo>
                          <a:pt x="71" y="28"/>
                        </a:lnTo>
                        <a:lnTo>
                          <a:pt x="76" y="29"/>
                        </a:lnTo>
                        <a:lnTo>
                          <a:pt x="76" y="29"/>
                        </a:lnTo>
                        <a:lnTo>
                          <a:pt x="78" y="31"/>
                        </a:lnTo>
                        <a:lnTo>
                          <a:pt x="76" y="33"/>
                        </a:lnTo>
                        <a:lnTo>
                          <a:pt x="68" y="31"/>
                        </a:lnTo>
                        <a:lnTo>
                          <a:pt x="68" y="31"/>
                        </a:lnTo>
                        <a:lnTo>
                          <a:pt x="62" y="29"/>
                        </a:lnTo>
                        <a:lnTo>
                          <a:pt x="61" y="31"/>
                        </a:lnTo>
                        <a:lnTo>
                          <a:pt x="57" y="31"/>
                        </a:lnTo>
                        <a:lnTo>
                          <a:pt x="55" y="29"/>
                        </a:lnTo>
                        <a:lnTo>
                          <a:pt x="55" y="29"/>
                        </a:lnTo>
                        <a:lnTo>
                          <a:pt x="55" y="28"/>
                        </a:lnTo>
                        <a:lnTo>
                          <a:pt x="52" y="29"/>
                        </a:lnTo>
                        <a:lnTo>
                          <a:pt x="50" y="31"/>
                        </a:lnTo>
                        <a:lnTo>
                          <a:pt x="45" y="33"/>
                        </a:lnTo>
                        <a:lnTo>
                          <a:pt x="45" y="33"/>
                        </a:lnTo>
                        <a:lnTo>
                          <a:pt x="40" y="33"/>
                        </a:lnTo>
                        <a:lnTo>
                          <a:pt x="29" y="36"/>
                        </a:lnTo>
                        <a:lnTo>
                          <a:pt x="19" y="40"/>
                        </a:lnTo>
                        <a:lnTo>
                          <a:pt x="10" y="41"/>
                        </a:lnTo>
                        <a:lnTo>
                          <a:pt x="10" y="41"/>
                        </a:lnTo>
                        <a:lnTo>
                          <a:pt x="1" y="40"/>
                        </a:lnTo>
                        <a:lnTo>
                          <a:pt x="0" y="38"/>
                        </a:lnTo>
                        <a:lnTo>
                          <a:pt x="0" y="35"/>
                        </a:lnTo>
                        <a:lnTo>
                          <a:pt x="0" y="31"/>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8" name="Freeform 1948">
                    <a:extLst>
                      <a:ext uri="{FF2B5EF4-FFF2-40B4-BE49-F238E27FC236}">
                        <a16:creationId xmlns:a16="http://schemas.microsoft.com/office/drawing/2014/main" id="{CAEDBBB0-544E-6B14-02ED-CF4D45551D80}"/>
                      </a:ext>
                    </a:extLst>
                  </p:cNvPr>
                  <p:cNvSpPr>
                    <a:spLocks/>
                  </p:cNvSpPr>
                  <p:nvPr/>
                </p:nvSpPr>
                <p:spPr bwMode="auto">
                  <a:xfrm>
                    <a:off x="7120267" y="4516954"/>
                    <a:ext cx="80968" cy="27031"/>
                  </a:xfrm>
                  <a:custGeom>
                    <a:avLst/>
                    <a:gdLst/>
                    <a:ahLst/>
                    <a:cxnLst>
                      <a:cxn ang="0">
                        <a:pos x="0" y="26"/>
                      </a:cxn>
                      <a:cxn ang="0">
                        <a:pos x="3" y="17"/>
                      </a:cxn>
                      <a:cxn ang="0">
                        <a:pos x="10" y="12"/>
                      </a:cxn>
                      <a:cxn ang="0">
                        <a:pos x="14" y="9"/>
                      </a:cxn>
                      <a:cxn ang="0">
                        <a:pos x="26" y="7"/>
                      </a:cxn>
                      <a:cxn ang="0">
                        <a:pos x="38" y="12"/>
                      </a:cxn>
                      <a:cxn ang="0">
                        <a:pos x="50" y="19"/>
                      </a:cxn>
                      <a:cxn ang="0">
                        <a:pos x="57" y="21"/>
                      </a:cxn>
                      <a:cxn ang="0">
                        <a:pos x="61" y="21"/>
                      </a:cxn>
                      <a:cxn ang="0">
                        <a:pos x="66" y="19"/>
                      </a:cxn>
                      <a:cxn ang="0">
                        <a:pos x="73" y="16"/>
                      </a:cxn>
                      <a:cxn ang="0">
                        <a:pos x="76" y="16"/>
                      </a:cxn>
                      <a:cxn ang="0">
                        <a:pos x="82" y="19"/>
                      </a:cxn>
                      <a:cxn ang="0">
                        <a:pos x="87" y="24"/>
                      </a:cxn>
                      <a:cxn ang="0">
                        <a:pos x="90" y="24"/>
                      </a:cxn>
                      <a:cxn ang="0">
                        <a:pos x="94" y="19"/>
                      </a:cxn>
                      <a:cxn ang="0">
                        <a:pos x="99" y="14"/>
                      </a:cxn>
                      <a:cxn ang="0">
                        <a:pos x="104" y="10"/>
                      </a:cxn>
                      <a:cxn ang="0">
                        <a:pos x="106" y="7"/>
                      </a:cxn>
                      <a:cxn ang="0">
                        <a:pos x="104" y="7"/>
                      </a:cxn>
                      <a:cxn ang="0">
                        <a:pos x="103" y="5"/>
                      </a:cxn>
                      <a:cxn ang="0">
                        <a:pos x="108" y="0"/>
                      </a:cxn>
                      <a:cxn ang="0">
                        <a:pos x="111" y="5"/>
                      </a:cxn>
                      <a:cxn ang="0">
                        <a:pos x="111" y="10"/>
                      </a:cxn>
                      <a:cxn ang="0">
                        <a:pos x="106" y="16"/>
                      </a:cxn>
                      <a:cxn ang="0">
                        <a:pos x="106" y="19"/>
                      </a:cxn>
                      <a:cxn ang="0">
                        <a:pos x="103" y="23"/>
                      </a:cxn>
                      <a:cxn ang="0">
                        <a:pos x="89" y="30"/>
                      </a:cxn>
                      <a:cxn ang="0">
                        <a:pos x="83" y="30"/>
                      </a:cxn>
                      <a:cxn ang="0">
                        <a:pos x="75" y="33"/>
                      </a:cxn>
                      <a:cxn ang="0">
                        <a:pos x="66" y="35"/>
                      </a:cxn>
                      <a:cxn ang="0">
                        <a:pos x="63" y="33"/>
                      </a:cxn>
                      <a:cxn ang="0">
                        <a:pos x="54" y="35"/>
                      </a:cxn>
                      <a:cxn ang="0">
                        <a:pos x="50" y="37"/>
                      </a:cxn>
                      <a:cxn ang="0">
                        <a:pos x="47" y="37"/>
                      </a:cxn>
                      <a:cxn ang="0">
                        <a:pos x="42" y="38"/>
                      </a:cxn>
                      <a:cxn ang="0">
                        <a:pos x="38" y="37"/>
                      </a:cxn>
                      <a:cxn ang="0">
                        <a:pos x="26" y="33"/>
                      </a:cxn>
                      <a:cxn ang="0">
                        <a:pos x="12" y="31"/>
                      </a:cxn>
                      <a:cxn ang="0">
                        <a:pos x="3" y="33"/>
                      </a:cxn>
                      <a:cxn ang="0">
                        <a:pos x="2" y="33"/>
                      </a:cxn>
                      <a:cxn ang="0">
                        <a:pos x="0" y="26"/>
                      </a:cxn>
                    </a:cxnLst>
                    <a:rect l="0" t="0" r="r" b="b"/>
                    <a:pathLst>
                      <a:path w="111" h="38">
                        <a:moveTo>
                          <a:pt x="0" y="26"/>
                        </a:moveTo>
                        <a:lnTo>
                          <a:pt x="0" y="26"/>
                        </a:lnTo>
                        <a:lnTo>
                          <a:pt x="0" y="21"/>
                        </a:lnTo>
                        <a:lnTo>
                          <a:pt x="3" y="17"/>
                        </a:lnTo>
                        <a:lnTo>
                          <a:pt x="7" y="14"/>
                        </a:lnTo>
                        <a:lnTo>
                          <a:pt x="10" y="12"/>
                        </a:lnTo>
                        <a:lnTo>
                          <a:pt x="10" y="12"/>
                        </a:lnTo>
                        <a:lnTo>
                          <a:pt x="14" y="9"/>
                        </a:lnTo>
                        <a:lnTo>
                          <a:pt x="17" y="7"/>
                        </a:lnTo>
                        <a:lnTo>
                          <a:pt x="26" y="7"/>
                        </a:lnTo>
                        <a:lnTo>
                          <a:pt x="38" y="12"/>
                        </a:lnTo>
                        <a:lnTo>
                          <a:pt x="38" y="12"/>
                        </a:lnTo>
                        <a:lnTo>
                          <a:pt x="45" y="14"/>
                        </a:lnTo>
                        <a:lnTo>
                          <a:pt x="50" y="19"/>
                        </a:lnTo>
                        <a:lnTo>
                          <a:pt x="56" y="21"/>
                        </a:lnTo>
                        <a:lnTo>
                          <a:pt x="57" y="21"/>
                        </a:lnTo>
                        <a:lnTo>
                          <a:pt x="61" y="21"/>
                        </a:lnTo>
                        <a:lnTo>
                          <a:pt x="61" y="21"/>
                        </a:lnTo>
                        <a:lnTo>
                          <a:pt x="64" y="19"/>
                        </a:lnTo>
                        <a:lnTo>
                          <a:pt x="66" y="19"/>
                        </a:lnTo>
                        <a:lnTo>
                          <a:pt x="70" y="19"/>
                        </a:lnTo>
                        <a:lnTo>
                          <a:pt x="73" y="16"/>
                        </a:lnTo>
                        <a:lnTo>
                          <a:pt x="73" y="16"/>
                        </a:lnTo>
                        <a:lnTo>
                          <a:pt x="76" y="16"/>
                        </a:lnTo>
                        <a:lnTo>
                          <a:pt x="78" y="16"/>
                        </a:lnTo>
                        <a:lnTo>
                          <a:pt x="82" y="19"/>
                        </a:lnTo>
                        <a:lnTo>
                          <a:pt x="85" y="23"/>
                        </a:lnTo>
                        <a:lnTo>
                          <a:pt x="87" y="24"/>
                        </a:lnTo>
                        <a:lnTo>
                          <a:pt x="90" y="24"/>
                        </a:lnTo>
                        <a:lnTo>
                          <a:pt x="90" y="24"/>
                        </a:lnTo>
                        <a:lnTo>
                          <a:pt x="94" y="23"/>
                        </a:lnTo>
                        <a:lnTo>
                          <a:pt x="94" y="19"/>
                        </a:lnTo>
                        <a:lnTo>
                          <a:pt x="94" y="17"/>
                        </a:lnTo>
                        <a:lnTo>
                          <a:pt x="99" y="14"/>
                        </a:lnTo>
                        <a:lnTo>
                          <a:pt x="99" y="14"/>
                        </a:lnTo>
                        <a:lnTo>
                          <a:pt x="104" y="10"/>
                        </a:lnTo>
                        <a:lnTo>
                          <a:pt x="106" y="9"/>
                        </a:lnTo>
                        <a:lnTo>
                          <a:pt x="106" y="7"/>
                        </a:lnTo>
                        <a:lnTo>
                          <a:pt x="104" y="7"/>
                        </a:lnTo>
                        <a:lnTo>
                          <a:pt x="104" y="7"/>
                        </a:lnTo>
                        <a:lnTo>
                          <a:pt x="103" y="5"/>
                        </a:lnTo>
                        <a:lnTo>
                          <a:pt x="103" y="5"/>
                        </a:lnTo>
                        <a:lnTo>
                          <a:pt x="104" y="2"/>
                        </a:lnTo>
                        <a:lnTo>
                          <a:pt x="108" y="0"/>
                        </a:lnTo>
                        <a:lnTo>
                          <a:pt x="110" y="2"/>
                        </a:lnTo>
                        <a:lnTo>
                          <a:pt x="111" y="5"/>
                        </a:lnTo>
                        <a:lnTo>
                          <a:pt x="111" y="5"/>
                        </a:lnTo>
                        <a:lnTo>
                          <a:pt x="111" y="10"/>
                        </a:lnTo>
                        <a:lnTo>
                          <a:pt x="110" y="14"/>
                        </a:lnTo>
                        <a:lnTo>
                          <a:pt x="106" y="16"/>
                        </a:lnTo>
                        <a:lnTo>
                          <a:pt x="106" y="19"/>
                        </a:lnTo>
                        <a:lnTo>
                          <a:pt x="106" y="19"/>
                        </a:lnTo>
                        <a:lnTo>
                          <a:pt x="106" y="21"/>
                        </a:lnTo>
                        <a:lnTo>
                          <a:pt x="103" y="23"/>
                        </a:lnTo>
                        <a:lnTo>
                          <a:pt x="96" y="28"/>
                        </a:lnTo>
                        <a:lnTo>
                          <a:pt x="89" y="30"/>
                        </a:lnTo>
                        <a:lnTo>
                          <a:pt x="83" y="30"/>
                        </a:lnTo>
                        <a:lnTo>
                          <a:pt x="83" y="30"/>
                        </a:lnTo>
                        <a:lnTo>
                          <a:pt x="80" y="30"/>
                        </a:lnTo>
                        <a:lnTo>
                          <a:pt x="75" y="33"/>
                        </a:lnTo>
                        <a:lnTo>
                          <a:pt x="70" y="35"/>
                        </a:lnTo>
                        <a:lnTo>
                          <a:pt x="66" y="35"/>
                        </a:lnTo>
                        <a:lnTo>
                          <a:pt x="63" y="33"/>
                        </a:lnTo>
                        <a:lnTo>
                          <a:pt x="63" y="33"/>
                        </a:lnTo>
                        <a:lnTo>
                          <a:pt x="56" y="33"/>
                        </a:lnTo>
                        <a:lnTo>
                          <a:pt x="54" y="35"/>
                        </a:lnTo>
                        <a:lnTo>
                          <a:pt x="52" y="37"/>
                        </a:lnTo>
                        <a:lnTo>
                          <a:pt x="50" y="37"/>
                        </a:lnTo>
                        <a:lnTo>
                          <a:pt x="50" y="37"/>
                        </a:lnTo>
                        <a:lnTo>
                          <a:pt x="47" y="37"/>
                        </a:lnTo>
                        <a:lnTo>
                          <a:pt x="43" y="38"/>
                        </a:lnTo>
                        <a:lnTo>
                          <a:pt x="42" y="38"/>
                        </a:lnTo>
                        <a:lnTo>
                          <a:pt x="38" y="37"/>
                        </a:lnTo>
                        <a:lnTo>
                          <a:pt x="38" y="37"/>
                        </a:lnTo>
                        <a:lnTo>
                          <a:pt x="33" y="33"/>
                        </a:lnTo>
                        <a:lnTo>
                          <a:pt x="26" y="33"/>
                        </a:lnTo>
                        <a:lnTo>
                          <a:pt x="12" y="31"/>
                        </a:lnTo>
                        <a:lnTo>
                          <a:pt x="12" y="31"/>
                        </a:lnTo>
                        <a:lnTo>
                          <a:pt x="7" y="31"/>
                        </a:lnTo>
                        <a:lnTo>
                          <a:pt x="3" y="33"/>
                        </a:lnTo>
                        <a:lnTo>
                          <a:pt x="2" y="33"/>
                        </a:lnTo>
                        <a:lnTo>
                          <a:pt x="2" y="33"/>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9" name="Freeform 1949">
                    <a:extLst>
                      <a:ext uri="{FF2B5EF4-FFF2-40B4-BE49-F238E27FC236}">
                        <a16:creationId xmlns:a16="http://schemas.microsoft.com/office/drawing/2014/main" id="{4EF959B3-D21D-D0CA-1172-5BD18C481FD1}"/>
                      </a:ext>
                    </a:extLst>
                  </p:cNvPr>
                  <p:cNvSpPr>
                    <a:spLocks/>
                  </p:cNvSpPr>
                  <p:nvPr/>
                </p:nvSpPr>
                <p:spPr bwMode="auto">
                  <a:xfrm>
                    <a:off x="7099627" y="4555116"/>
                    <a:ext cx="44453" cy="30211"/>
                  </a:xfrm>
                  <a:custGeom>
                    <a:avLst/>
                    <a:gdLst/>
                    <a:ahLst/>
                    <a:cxnLst>
                      <a:cxn ang="0">
                        <a:pos x="0" y="10"/>
                      </a:cxn>
                      <a:cxn ang="0">
                        <a:pos x="0" y="10"/>
                      </a:cxn>
                      <a:cxn ang="0">
                        <a:pos x="0" y="5"/>
                      </a:cxn>
                      <a:cxn ang="0">
                        <a:pos x="4" y="3"/>
                      </a:cxn>
                      <a:cxn ang="0">
                        <a:pos x="7" y="2"/>
                      </a:cxn>
                      <a:cxn ang="0">
                        <a:pos x="11" y="0"/>
                      </a:cxn>
                      <a:cxn ang="0">
                        <a:pos x="19" y="0"/>
                      </a:cxn>
                      <a:cxn ang="0">
                        <a:pos x="25" y="2"/>
                      </a:cxn>
                      <a:cxn ang="0">
                        <a:pos x="25" y="2"/>
                      </a:cxn>
                      <a:cxn ang="0">
                        <a:pos x="28" y="2"/>
                      </a:cxn>
                      <a:cxn ang="0">
                        <a:pos x="32" y="0"/>
                      </a:cxn>
                      <a:cxn ang="0">
                        <a:pos x="35" y="0"/>
                      </a:cxn>
                      <a:cxn ang="0">
                        <a:pos x="40" y="3"/>
                      </a:cxn>
                      <a:cxn ang="0">
                        <a:pos x="40" y="3"/>
                      </a:cxn>
                      <a:cxn ang="0">
                        <a:pos x="44" y="7"/>
                      </a:cxn>
                      <a:cxn ang="0">
                        <a:pos x="46" y="10"/>
                      </a:cxn>
                      <a:cxn ang="0">
                        <a:pos x="47" y="12"/>
                      </a:cxn>
                      <a:cxn ang="0">
                        <a:pos x="49" y="12"/>
                      </a:cxn>
                      <a:cxn ang="0">
                        <a:pos x="49" y="12"/>
                      </a:cxn>
                      <a:cxn ang="0">
                        <a:pos x="54" y="16"/>
                      </a:cxn>
                      <a:cxn ang="0">
                        <a:pos x="59" y="21"/>
                      </a:cxn>
                      <a:cxn ang="0">
                        <a:pos x="63" y="28"/>
                      </a:cxn>
                      <a:cxn ang="0">
                        <a:pos x="63" y="31"/>
                      </a:cxn>
                      <a:cxn ang="0">
                        <a:pos x="63" y="33"/>
                      </a:cxn>
                      <a:cxn ang="0">
                        <a:pos x="63" y="33"/>
                      </a:cxn>
                      <a:cxn ang="0">
                        <a:pos x="59" y="37"/>
                      </a:cxn>
                      <a:cxn ang="0">
                        <a:pos x="58" y="37"/>
                      </a:cxn>
                      <a:cxn ang="0">
                        <a:pos x="56" y="38"/>
                      </a:cxn>
                      <a:cxn ang="0">
                        <a:pos x="54" y="40"/>
                      </a:cxn>
                      <a:cxn ang="0">
                        <a:pos x="54" y="40"/>
                      </a:cxn>
                      <a:cxn ang="0">
                        <a:pos x="52" y="42"/>
                      </a:cxn>
                      <a:cxn ang="0">
                        <a:pos x="49" y="40"/>
                      </a:cxn>
                      <a:cxn ang="0">
                        <a:pos x="47" y="40"/>
                      </a:cxn>
                      <a:cxn ang="0">
                        <a:pos x="44" y="38"/>
                      </a:cxn>
                      <a:cxn ang="0">
                        <a:pos x="44" y="38"/>
                      </a:cxn>
                      <a:cxn ang="0">
                        <a:pos x="42" y="38"/>
                      </a:cxn>
                      <a:cxn ang="0">
                        <a:pos x="39" y="35"/>
                      </a:cxn>
                      <a:cxn ang="0">
                        <a:pos x="35" y="30"/>
                      </a:cxn>
                      <a:cxn ang="0">
                        <a:pos x="28" y="24"/>
                      </a:cxn>
                      <a:cxn ang="0">
                        <a:pos x="28" y="24"/>
                      </a:cxn>
                      <a:cxn ang="0">
                        <a:pos x="19" y="21"/>
                      </a:cxn>
                      <a:cxn ang="0">
                        <a:pos x="11" y="17"/>
                      </a:cxn>
                      <a:cxn ang="0">
                        <a:pos x="4" y="16"/>
                      </a:cxn>
                      <a:cxn ang="0">
                        <a:pos x="0" y="12"/>
                      </a:cxn>
                      <a:cxn ang="0">
                        <a:pos x="0" y="10"/>
                      </a:cxn>
                      <a:cxn ang="0">
                        <a:pos x="0" y="10"/>
                      </a:cxn>
                    </a:cxnLst>
                    <a:rect l="0" t="0" r="r" b="b"/>
                    <a:pathLst>
                      <a:path w="63" h="42">
                        <a:moveTo>
                          <a:pt x="0" y="10"/>
                        </a:moveTo>
                        <a:lnTo>
                          <a:pt x="0" y="10"/>
                        </a:lnTo>
                        <a:lnTo>
                          <a:pt x="0" y="5"/>
                        </a:lnTo>
                        <a:lnTo>
                          <a:pt x="4" y="3"/>
                        </a:lnTo>
                        <a:lnTo>
                          <a:pt x="7" y="2"/>
                        </a:lnTo>
                        <a:lnTo>
                          <a:pt x="11" y="0"/>
                        </a:lnTo>
                        <a:lnTo>
                          <a:pt x="19" y="0"/>
                        </a:lnTo>
                        <a:lnTo>
                          <a:pt x="25" y="2"/>
                        </a:lnTo>
                        <a:lnTo>
                          <a:pt x="25" y="2"/>
                        </a:lnTo>
                        <a:lnTo>
                          <a:pt x="28" y="2"/>
                        </a:lnTo>
                        <a:lnTo>
                          <a:pt x="32" y="0"/>
                        </a:lnTo>
                        <a:lnTo>
                          <a:pt x="35" y="0"/>
                        </a:lnTo>
                        <a:lnTo>
                          <a:pt x="40" y="3"/>
                        </a:lnTo>
                        <a:lnTo>
                          <a:pt x="40" y="3"/>
                        </a:lnTo>
                        <a:lnTo>
                          <a:pt x="44" y="7"/>
                        </a:lnTo>
                        <a:lnTo>
                          <a:pt x="46" y="10"/>
                        </a:lnTo>
                        <a:lnTo>
                          <a:pt x="47" y="12"/>
                        </a:lnTo>
                        <a:lnTo>
                          <a:pt x="49" y="12"/>
                        </a:lnTo>
                        <a:lnTo>
                          <a:pt x="49" y="12"/>
                        </a:lnTo>
                        <a:lnTo>
                          <a:pt x="54" y="16"/>
                        </a:lnTo>
                        <a:lnTo>
                          <a:pt x="59" y="21"/>
                        </a:lnTo>
                        <a:lnTo>
                          <a:pt x="63" y="28"/>
                        </a:lnTo>
                        <a:lnTo>
                          <a:pt x="63" y="31"/>
                        </a:lnTo>
                        <a:lnTo>
                          <a:pt x="63" y="33"/>
                        </a:lnTo>
                        <a:lnTo>
                          <a:pt x="63" y="33"/>
                        </a:lnTo>
                        <a:lnTo>
                          <a:pt x="59" y="37"/>
                        </a:lnTo>
                        <a:lnTo>
                          <a:pt x="58" y="37"/>
                        </a:lnTo>
                        <a:lnTo>
                          <a:pt x="56" y="38"/>
                        </a:lnTo>
                        <a:lnTo>
                          <a:pt x="54" y="40"/>
                        </a:lnTo>
                        <a:lnTo>
                          <a:pt x="54" y="40"/>
                        </a:lnTo>
                        <a:lnTo>
                          <a:pt x="52" y="42"/>
                        </a:lnTo>
                        <a:lnTo>
                          <a:pt x="49" y="40"/>
                        </a:lnTo>
                        <a:lnTo>
                          <a:pt x="47" y="40"/>
                        </a:lnTo>
                        <a:lnTo>
                          <a:pt x="44" y="38"/>
                        </a:lnTo>
                        <a:lnTo>
                          <a:pt x="44" y="38"/>
                        </a:lnTo>
                        <a:lnTo>
                          <a:pt x="42" y="38"/>
                        </a:lnTo>
                        <a:lnTo>
                          <a:pt x="39" y="35"/>
                        </a:lnTo>
                        <a:lnTo>
                          <a:pt x="35" y="30"/>
                        </a:lnTo>
                        <a:lnTo>
                          <a:pt x="28" y="24"/>
                        </a:lnTo>
                        <a:lnTo>
                          <a:pt x="28" y="24"/>
                        </a:lnTo>
                        <a:lnTo>
                          <a:pt x="19" y="21"/>
                        </a:lnTo>
                        <a:lnTo>
                          <a:pt x="11" y="17"/>
                        </a:lnTo>
                        <a:lnTo>
                          <a:pt x="4" y="16"/>
                        </a:lnTo>
                        <a:lnTo>
                          <a:pt x="0" y="12"/>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30" name="Freeform 1950">
                    <a:extLst>
                      <a:ext uri="{FF2B5EF4-FFF2-40B4-BE49-F238E27FC236}">
                        <a16:creationId xmlns:a16="http://schemas.microsoft.com/office/drawing/2014/main" id="{2C6FBA72-783B-7491-8F37-C2B9A5D2E46A}"/>
                      </a:ext>
                    </a:extLst>
                  </p:cNvPr>
                  <p:cNvSpPr>
                    <a:spLocks/>
                  </p:cNvSpPr>
                  <p:nvPr/>
                </p:nvSpPr>
                <p:spPr bwMode="auto">
                  <a:xfrm>
                    <a:off x="7212349" y="4523315"/>
                    <a:ext cx="98433" cy="65193"/>
                  </a:xfrm>
                  <a:custGeom>
                    <a:avLst/>
                    <a:gdLst/>
                    <a:ahLst/>
                    <a:cxnLst>
                      <a:cxn ang="0">
                        <a:pos x="7" y="89"/>
                      </a:cxn>
                      <a:cxn ang="0">
                        <a:pos x="0" y="86"/>
                      </a:cxn>
                      <a:cxn ang="0">
                        <a:pos x="3" y="81"/>
                      </a:cxn>
                      <a:cxn ang="0">
                        <a:pos x="7" y="77"/>
                      </a:cxn>
                      <a:cxn ang="0">
                        <a:pos x="9" y="74"/>
                      </a:cxn>
                      <a:cxn ang="0">
                        <a:pos x="5" y="70"/>
                      </a:cxn>
                      <a:cxn ang="0">
                        <a:pos x="5" y="68"/>
                      </a:cxn>
                      <a:cxn ang="0">
                        <a:pos x="10" y="53"/>
                      </a:cxn>
                      <a:cxn ang="0">
                        <a:pos x="19" y="46"/>
                      </a:cxn>
                      <a:cxn ang="0">
                        <a:pos x="35" y="37"/>
                      </a:cxn>
                      <a:cxn ang="0">
                        <a:pos x="49" y="30"/>
                      </a:cxn>
                      <a:cxn ang="0">
                        <a:pos x="54" y="23"/>
                      </a:cxn>
                      <a:cxn ang="0">
                        <a:pos x="59" y="14"/>
                      </a:cxn>
                      <a:cxn ang="0">
                        <a:pos x="66" y="13"/>
                      </a:cxn>
                      <a:cxn ang="0">
                        <a:pos x="85" y="7"/>
                      </a:cxn>
                      <a:cxn ang="0">
                        <a:pos x="89" y="9"/>
                      </a:cxn>
                      <a:cxn ang="0">
                        <a:pos x="97" y="7"/>
                      </a:cxn>
                      <a:cxn ang="0">
                        <a:pos x="106" y="6"/>
                      </a:cxn>
                      <a:cxn ang="0">
                        <a:pos x="111" y="6"/>
                      </a:cxn>
                      <a:cxn ang="0">
                        <a:pos x="125" y="0"/>
                      </a:cxn>
                      <a:cxn ang="0">
                        <a:pos x="131" y="0"/>
                      </a:cxn>
                      <a:cxn ang="0">
                        <a:pos x="136" y="4"/>
                      </a:cxn>
                      <a:cxn ang="0">
                        <a:pos x="127" y="14"/>
                      </a:cxn>
                      <a:cxn ang="0">
                        <a:pos x="122" y="18"/>
                      </a:cxn>
                      <a:cxn ang="0">
                        <a:pos x="113" y="20"/>
                      </a:cxn>
                      <a:cxn ang="0">
                        <a:pos x="108" y="23"/>
                      </a:cxn>
                      <a:cxn ang="0">
                        <a:pos x="99" y="28"/>
                      </a:cxn>
                      <a:cxn ang="0">
                        <a:pos x="92" y="32"/>
                      </a:cxn>
                      <a:cxn ang="0">
                        <a:pos x="87" y="35"/>
                      </a:cxn>
                      <a:cxn ang="0">
                        <a:pos x="75" y="39"/>
                      </a:cxn>
                      <a:cxn ang="0">
                        <a:pos x="64" y="44"/>
                      </a:cxn>
                      <a:cxn ang="0">
                        <a:pos x="54" y="54"/>
                      </a:cxn>
                      <a:cxn ang="0">
                        <a:pos x="45" y="67"/>
                      </a:cxn>
                      <a:cxn ang="0">
                        <a:pos x="35" y="79"/>
                      </a:cxn>
                      <a:cxn ang="0">
                        <a:pos x="28" y="81"/>
                      </a:cxn>
                      <a:cxn ang="0">
                        <a:pos x="26" y="79"/>
                      </a:cxn>
                      <a:cxn ang="0">
                        <a:pos x="19" y="84"/>
                      </a:cxn>
                      <a:cxn ang="0">
                        <a:pos x="10" y="89"/>
                      </a:cxn>
                      <a:cxn ang="0">
                        <a:pos x="7" y="89"/>
                      </a:cxn>
                    </a:cxnLst>
                    <a:rect l="0" t="0" r="r" b="b"/>
                    <a:pathLst>
                      <a:path w="136" h="89">
                        <a:moveTo>
                          <a:pt x="7" y="89"/>
                        </a:moveTo>
                        <a:lnTo>
                          <a:pt x="7" y="89"/>
                        </a:lnTo>
                        <a:lnTo>
                          <a:pt x="0" y="86"/>
                        </a:lnTo>
                        <a:lnTo>
                          <a:pt x="0" y="86"/>
                        </a:lnTo>
                        <a:lnTo>
                          <a:pt x="0" y="84"/>
                        </a:lnTo>
                        <a:lnTo>
                          <a:pt x="3" y="81"/>
                        </a:lnTo>
                        <a:lnTo>
                          <a:pt x="7" y="77"/>
                        </a:lnTo>
                        <a:lnTo>
                          <a:pt x="7" y="77"/>
                        </a:lnTo>
                        <a:lnTo>
                          <a:pt x="10" y="75"/>
                        </a:lnTo>
                        <a:lnTo>
                          <a:pt x="9" y="74"/>
                        </a:lnTo>
                        <a:lnTo>
                          <a:pt x="5" y="72"/>
                        </a:lnTo>
                        <a:lnTo>
                          <a:pt x="5" y="70"/>
                        </a:lnTo>
                        <a:lnTo>
                          <a:pt x="5" y="68"/>
                        </a:lnTo>
                        <a:lnTo>
                          <a:pt x="5" y="68"/>
                        </a:lnTo>
                        <a:lnTo>
                          <a:pt x="7" y="58"/>
                        </a:lnTo>
                        <a:lnTo>
                          <a:pt x="10" y="53"/>
                        </a:lnTo>
                        <a:lnTo>
                          <a:pt x="19" y="46"/>
                        </a:lnTo>
                        <a:lnTo>
                          <a:pt x="19" y="46"/>
                        </a:lnTo>
                        <a:lnTo>
                          <a:pt x="28" y="40"/>
                        </a:lnTo>
                        <a:lnTo>
                          <a:pt x="35" y="37"/>
                        </a:lnTo>
                        <a:lnTo>
                          <a:pt x="40" y="35"/>
                        </a:lnTo>
                        <a:lnTo>
                          <a:pt x="49" y="30"/>
                        </a:lnTo>
                        <a:lnTo>
                          <a:pt x="49" y="30"/>
                        </a:lnTo>
                        <a:lnTo>
                          <a:pt x="54" y="23"/>
                        </a:lnTo>
                        <a:lnTo>
                          <a:pt x="56" y="20"/>
                        </a:lnTo>
                        <a:lnTo>
                          <a:pt x="59" y="14"/>
                        </a:lnTo>
                        <a:lnTo>
                          <a:pt x="66" y="13"/>
                        </a:lnTo>
                        <a:lnTo>
                          <a:pt x="66" y="13"/>
                        </a:lnTo>
                        <a:lnTo>
                          <a:pt x="82" y="7"/>
                        </a:lnTo>
                        <a:lnTo>
                          <a:pt x="85" y="7"/>
                        </a:lnTo>
                        <a:lnTo>
                          <a:pt x="89" y="9"/>
                        </a:lnTo>
                        <a:lnTo>
                          <a:pt x="89" y="9"/>
                        </a:lnTo>
                        <a:lnTo>
                          <a:pt x="92" y="9"/>
                        </a:lnTo>
                        <a:lnTo>
                          <a:pt x="97" y="7"/>
                        </a:lnTo>
                        <a:lnTo>
                          <a:pt x="103" y="6"/>
                        </a:lnTo>
                        <a:lnTo>
                          <a:pt x="106" y="6"/>
                        </a:lnTo>
                        <a:lnTo>
                          <a:pt x="106" y="6"/>
                        </a:lnTo>
                        <a:lnTo>
                          <a:pt x="111" y="6"/>
                        </a:lnTo>
                        <a:lnTo>
                          <a:pt x="118" y="2"/>
                        </a:lnTo>
                        <a:lnTo>
                          <a:pt x="125" y="0"/>
                        </a:lnTo>
                        <a:lnTo>
                          <a:pt x="129" y="0"/>
                        </a:lnTo>
                        <a:lnTo>
                          <a:pt x="131" y="0"/>
                        </a:lnTo>
                        <a:lnTo>
                          <a:pt x="131" y="0"/>
                        </a:lnTo>
                        <a:lnTo>
                          <a:pt x="136" y="4"/>
                        </a:lnTo>
                        <a:lnTo>
                          <a:pt x="134" y="6"/>
                        </a:lnTo>
                        <a:lnTo>
                          <a:pt x="127" y="14"/>
                        </a:lnTo>
                        <a:lnTo>
                          <a:pt x="127" y="14"/>
                        </a:lnTo>
                        <a:lnTo>
                          <a:pt x="122" y="18"/>
                        </a:lnTo>
                        <a:lnTo>
                          <a:pt x="118" y="18"/>
                        </a:lnTo>
                        <a:lnTo>
                          <a:pt x="113" y="20"/>
                        </a:lnTo>
                        <a:lnTo>
                          <a:pt x="108" y="23"/>
                        </a:lnTo>
                        <a:lnTo>
                          <a:pt x="108" y="23"/>
                        </a:lnTo>
                        <a:lnTo>
                          <a:pt x="104" y="28"/>
                        </a:lnTo>
                        <a:lnTo>
                          <a:pt x="99" y="28"/>
                        </a:lnTo>
                        <a:lnTo>
                          <a:pt x="96" y="28"/>
                        </a:lnTo>
                        <a:lnTo>
                          <a:pt x="92" y="32"/>
                        </a:lnTo>
                        <a:lnTo>
                          <a:pt x="92" y="32"/>
                        </a:lnTo>
                        <a:lnTo>
                          <a:pt x="87" y="35"/>
                        </a:lnTo>
                        <a:lnTo>
                          <a:pt x="82" y="37"/>
                        </a:lnTo>
                        <a:lnTo>
                          <a:pt x="75" y="39"/>
                        </a:lnTo>
                        <a:lnTo>
                          <a:pt x="64" y="44"/>
                        </a:lnTo>
                        <a:lnTo>
                          <a:pt x="64" y="44"/>
                        </a:lnTo>
                        <a:lnTo>
                          <a:pt x="57" y="49"/>
                        </a:lnTo>
                        <a:lnTo>
                          <a:pt x="54" y="54"/>
                        </a:lnTo>
                        <a:lnTo>
                          <a:pt x="50" y="60"/>
                        </a:lnTo>
                        <a:lnTo>
                          <a:pt x="45" y="67"/>
                        </a:lnTo>
                        <a:lnTo>
                          <a:pt x="45" y="67"/>
                        </a:lnTo>
                        <a:lnTo>
                          <a:pt x="35" y="79"/>
                        </a:lnTo>
                        <a:lnTo>
                          <a:pt x="31" y="81"/>
                        </a:lnTo>
                        <a:lnTo>
                          <a:pt x="28" y="81"/>
                        </a:lnTo>
                        <a:lnTo>
                          <a:pt x="28" y="81"/>
                        </a:lnTo>
                        <a:lnTo>
                          <a:pt x="26" y="79"/>
                        </a:lnTo>
                        <a:lnTo>
                          <a:pt x="23" y="81"/>
                        </a:lnTo>
                        <a:lnTo>
                          <a:pt x="19" y="84"/>
                        </a:lnTo>
                        <a:lnTo>
                          <a:pt x="14" y="87"/>
                        </a:lnTo>
                        <a:lnTo>
                          <a:pt x="10" y="89"/>
                        </a:lnTo>
                        <a:lnTo>
                          <a:pt x="7" y="89"/>
                        </a:lnTo>
                        <a:lnTo>
                          <a:pt x="7" y="8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31" name="Freeform 1951">
                    <a:extLst>
                      <a:ext uri="{FF2B5EF4-FFF2-40B4-BE49-F238E27FC236}">
                        <a16:creationId xmlns:a16="http://schemas.microsoft.com/office/drawing/2014/main" id="{A85C50E2-CA10-45DE-3178-61F6D69A9A6F}"/>
                      </a:ext>
                    </a:extLst>
                  </p:cNvPr>
                  <p:cNvSpPr>
                    <a:spLocks/>
                  </p:cNvSpPr>
                  <p:nvPr/>
                </p:nvSpPr>
                <p:spPr bwMode="auto">
                  <a:xfrm>
                    <a:off x="7272679" y="4501053"/>
                    <a:ext cx="25402" cy="11130"/>
                  </a:xfrm>
                  <a:custGeom>
                    <a:avLst/>
                    <a:gdLst/>
                    <a:ahLst/>
                    <a:cxnLst>
                      <a:cxn ang="0">
                        <a:pos x="1" y="9"/>
                      </a:cxn>
                      <a:cxn ang="0">
                        <a:pos x="1" y="9"/>
                      </a:cxn>
                      <a:cxn ang="0">
                        <a:pos x="5" y="5"/>
                      </a:cxn>
                      <a:cxn ang="0">
                        <a:pos x="10" y="3"/>
                      </a:cxn>
                      <a:cxn ang="0">
                        <a:pos x="20" y="0"/>
                      </a:cxn>
                      <a:cxn ang="0">
                        <a:pos x="31" y="0"/>
                      </a:cxn>
                      <a:cxn ang="0">
                        <a:pos x="34" y="2"/>
                      </a:cxn>
                      <a:cxn ang="0">
                        <a:pos x="34" y="3"/>
                      </a:cxn>
                      <a:cxn ang="0">
                        <a:pos x="34" y="3"/>
                      </a:cxn>
                      <a:cxn ang="0">
                        <a:pos x="33" y="5"/>
                      </a:cxn>
                      <a:cxn ang="0">
                        <a:pos x="27" y="7"/>
                      </a:cxn>
                      <a:cxn ang="0">
                        <a:pos x="13" y="12"/>
                      </a:cxn>
                      <a:cxn ang="0">
                        <a:pos x="1" y="12"/>
                      </a:cxn>
                      <a:cxn ang="0">
                        <a:pos x="0" y="12"/>
                      </a:cxn>
                      <a:cxn ang="0">
                        <a:pos x="1" y="9"/>
                      </a:cxn>
                      <a:cxn ang="0">
                        <a:pos x="1" y="9"/>
                      </a:cxn>
                    </a:cxnLst>
                    <a:rect l="0" t="0" r="r" b="b"/>
                    <a:pathLst>
                      <a:path w="34" h="12">
                        <a:moveTo>
                          <a:pt x="1" y="9"/>
                        </a:moveTo>
                        <a:lnTo>
                          <a:pt x="1" y="9"/>
                        </a:lnTo>
                        <a:lnTo>
                          <a:pt x="5" y="5"/>
                        </a:lnTo>
                        <a:lnTo>
                          <a:pt x="10" y="3"/>
                        </a:lnTo>
                        <a:lnTo>
                          <a:pt x="20" y="0"/>
                        </a:lnTo>
                        <a:lnTo>
                          <a:pt x="31" y="0"/>
                        </a:lnTo>
                        <a:lnTo>
                          <a:pt x="34" y="2"/>
                        </a:lnTo>
                        <a:lnTo>
                          <a:pt x="34" y="3"/>
                        </a:lnTo>
                        <a:lnTo>
                          <a:pt x="34" y="3"/>
                        </a:lnTo>
                        <a:lnTo>
                          <a:pt x="33" y="5"/>
                        </a:lnTo>
                        <a:lnTo>
                          <a:pt x="27" y="7"/>
                        </a:lnTo>
                        <a:lnTo>
                          <a:pt x="13" y="12"/>
                        </a:lnTo>
                        <a:lnTo>
                          <a:pt x="1" y="12"/>
                        </a:lnTo>
                        <a:lnTo>
                          <a:pt x="0" y="12"/>
                        </a:lnTo>
                        <a:lnTo>
                          <a:pt x="1" y="9"/>
                        </a:lnTo>
                        <a:lnTo>
                          <a:pt x="1"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175" name="Freeform 1952">
                  <a:extLst>
                    <a:ext uri="{FF2B5EF4-FFF2-40B4-BE49-F238E27FC236}">
                      <a16:creationId xmlns:a16="http://schemas.microsoft.com/office/drawing/2014/main" id="{13B879FF-946B-81E9-C432-C8B139FF6D26}"/>
                    </a:ext>
                  </a:extLst>
                </p:cNvPr>
                <p:cNvSpPr>
                  <a:spLocks/>
                </p:cNvSpPr>
                <p:nvPr/>
              </p:nvSpPr>
              <p:spPr bwMode="auto">
                <a:xfrm>
                  <a:off x="8538001" y="4569920"/>
                  <a:ext cx="38764" cy="12334"/>
                </a:xfrm>
                <a:custGeom>
                  <a:avLst/>
                  <a:gdLst/>
                  <a:ahLst/>
                  <a:cxnLst>
                    <a:cxn ang="0">
                      <a:pos x="15" y="10"/>
                    </a:cxn>
                    <a:cxn ang="0">
                      <a:pos x="15" y="10"/>
                    </a:cxn>
                    <a:cxn ang="0">
                      <a:pos x="5" y="3"/>
                    </a:cxn>
                    <a:cxn ang="0">
                      <a:pos x="0" y="0"/>
                    </a:cxn>
                    <a:cxn ang="0">
                      <a:pos x="3" y="0"/>
                    </a:cxn>
                    <a:cxn ang="0">
                      <a:pos x="15" y="2"/>
                    </a:cxn>
                    <a:cxn ang="0">
                      <a:pos x="15" y="2"/>
                    </a:cxn>
                    <a:cxn ang="0">
                      <a:pos x="45" y="5"/>
                    </a:cxn>
                    <a:cxn ang="0">
                      <a:pos x="48" y="5"/>
                    </a:cxn>
                    <a:cxn ang="0">
                      <a:pos x="48" y="7"/>
                    </a:cxn>
                    <a:cxn ang="0">
                      <a:pos x="40" y="10"/>
                    </a:cxn>
                    <a:cxn ang="0">
                      <a:pos x="40" y="10"/>
                    </a:cxn>
                    <a:cxn ang="0">
                      <a:pos x="22" y="14"/>
                    </a:cxn>
                    <a:cxn ang="0">
                      <a:pos x="17" y="12"/>
                    </a:cxn>
                    <a:cxn ang="0">
                      <a:pos x="15" y="10"/>
                    </a:cxn>
                    <a:cxn ang="0">
                      <a:pos x="15" y="10"/>
                    </a:cxn>
                  </a:cxnLst>
                  <a:rect l="0" t="0" r="r" b="b"/>
                  <a:pathLst>
                    <a:path w="48" h="14">
                      <a:moveTo>
                        <a:pt x="15" y="10"/>
                      </a:moveTo>
                      <a:lnTo>
                        <a:pt x="15" y="10"/>
                      </a:lnTo>
                      <a:lnTo>
                        <a:pt x="5" y="3"/>
                      </a:lnTo>
                      <a:lnTo>
                        <a:pt x="0" y="0"/>
                      </a:lnTo>
                      <a:lnTo>
                        <a:pt x="3" y="0"/>
                      </a:lnTo>
                      <a:lnTo>
                        <a:pt x="15" y="2"/>
                      </a:lnTo>
                      <a:lnTo>
                        <a:pt x="15" y="2"/>
                      </a:lnTo>
                      <a:lnTo>
                        <a:pt x="45" y="5"/>
                      </a:lnTo>
                      <a:lnTo>
                        <a:pt x="48" y="5"/>
                      </a:lnTo>
                      <a:lnTo>
                        <a:pt x="48" y="7"/>
                      </a:lnTo>
                      <a:lnTo>
                        <a:pt x="40" y="10"/>
                      </a:lnTo>
                      <a:lnTo>
                        <a:pt x="40" y="10"/>
                      </a:lnTo>
                      <a:lnTo>
                        <a:pt x="22" y="14"/>
                      </a:lnTo>
                      <a:lnTo>
                        <a:pt x="17" y="12"/>
                      </a:lnTo>
                      <a:lnTo>
                        <a:pt x="15" y="10"/>
                      </a:lnTo>
                      <a:lnTo>
                        <a:pt x="15"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6" name="Freeform 1953">
                  <a:extLst>
                    <a:ext uri="{FF2B5EF4-FFF2-40B4-BE49-F238E27FC236}">
                      <a16:creationId xmlns:a16="http://schemas.microsoft.com/office/drawing/2014/main" id="{EBBA76E8-A2BB-DB13-BAA4-6335F848E95E}"/>
                    </a:ext>
                  </a:extLst>
                </p:cNvPr>
                <p:cNvSpPr>
                  <a:spLocks/>
                </p:cNvSpPr>
                <p:nvPr/>
              </p:nvSpPr>
              <p:spPr bwMode="auto">
                <a:xfrm>
                  <a:off x="9122983" y="4740834"/>
                  <a:ext cx="31716" cy="28192"/>
                </a:xfrm>
                <a:custGeom>
                  <a:avLst/>
                  <a:gdLst/>
                  <a:ahLst/>
                  <a:cxnLst>
                    <a:cxn ang="0">
                      <a:pos x="5" y="1"/>
                    </a:cxn>
                    <a:cxn ang="0">
                      <a:pos x="5" y="1"/>
                    </a:cxn>
                    <a:cxn ang="0">
                      <a:pos x="21" y="12"/>
                    </a:cxn>
                    <a:cxn ang="0">
                      <a:pos x="25" y="15"/>
                    </a:cxn>
                    <a:cxn ang="0">
                      <a:pos x="28" y="22"/>
                    </a:cxn>
                    <a:cxn ang="0">
                      <a:pos x="28" y="22"/>
                    </a:cxn>
                    <a:cxn ang="0">
                      <a:pos x="30" y="26"/>
                    </a:cxn>
                    <a:cxn ang="0">
                      <a:pos x="31" y="29"/>
                    </a:cxn>
                    <a:cxn ang="0">
                      <a:pos x="38" y="33"/>
                    </a:cxn>
                    <a:cxn ang="0">
                      <a:pos x="42" y="34"/>
                    </a:cxn>
                    <a:cxn ang="0">
                      <a:pos x="42" y="34"/>
                    </a:cxn>
                    <a:cxn ang="0">
                      <a:pos x="38" y="36"/>
                    </a:cxn>
                    <a:cxn ang="0">
                      <a:pos x="38" y="36"/>
                    </a:cxn>
                    <a:cxn ang="0">
                      <a:pos x="35" y="36"/>
                    </a:cxn>
                    <a:cxn ang="0">
                      <a:pos x="31" y="34"/>
                    </a:cxn>
                    <a:cxn ang="0">
                      <a:pos x="23" y="31"/>
                    </a:cxn>
                    <a:cxn ang="0">
                      <a:pos x="18" y="24"/>
                    </a:cxn>
                    <a:cxn ang="0">
                      <a:pos x="12" y="19"/>
                    </a:cxn>
                    <a:cxn ang="0">
                      <a:pos x="12" y="19"/>
                    </a:cxn>
                    <a:cxn ang="0">
                      <a:pos x="11" y="15"/>
                    </a:cxn>
                    <a:cxn ang="0">
                      <a:pos x="7" y="13"/>
                    </a:cxn>
                    <a:cxn ang="0">
                      <a:pos x="4" y="10"/>
                    </a:cxn>
                    <a:cxn ang="0">
                      <a:pos x="2" y="7"/>
                    </a:cxn>
                    <a:cxn ang="0">
                      <a:pos x="2" y="7"/>
                    </a:cxn>
                    <a:cxn ang="0">
                      <a:pos x="0" y="1"/>
                    </a:cxn>
                    <a:cxn ang="0">
                      <a:pos x="2" y="0"/>
                    </a:cxn>
                    <a:cxn ang="0">
                      <a:pos x="5" y="1"/>
                    </a:cxn>
                    <a:cxn ang="0">
                      <a:pos x="5" y="1"/>
                    </a:cxn>
                  </a:cxnLst>
                  <a:rect l="0" t="0" r="r" b="b"/>
                  <a:pathLst>
                    <a:path w="42" h="36">
                      <a:moveTo>
                        <a:pt x="5" y="1"/>
                      </a:moveTo>
                      <a:lnTo>
                        <a:pt x="5" y="1"/>
                      </a:lnTo>
                      <a:lnTo>
                        <a:pt x="21" y="12"/>
                      </a:lnTo>
                      <a:lnTo>
                        <a:pt x="25" y="15"/>
                      </a:lnTo>
                      <a:lnTo>
                        <a:pt x="28" y="22"/>
                      </a:lnTo>
                      <a:lnTo>
                        <a:pt x="28" y="22"/>
                      </a:lnTo>
                      <a:lnTo>
                        <a:pt x="30" y="26"/>
                      </a:lnTo>
                      <a:lnTo>
                        <a:pt x="31" y="29"/>
                      </a:lnTo>
                      <a:lnTo>
                        <a:pt x="38" y="33"/>
                      </a:lnTo>
                      <a:lnTo>
                        <a:pt x="42" y="34"/>
                      </a:lnTo>
                      <a:lnTo>
                        <a:pt x="42" y="34"/>
                      </a:lnTo>
                      <a:lnTo>
                        <a:pt x="38" y="36"/>
                      </a:lnTo>
                      <a:lnTo>
                        <a:pt x="38" y="36"/>
                      </a:lnTo>
                      <a:lnTo>
                        <a:pt x="35" y="36"/>
                      </a:lnTo>
                      <a:lnTo>
                        <a:pt x="31" y="34"/>
                      </a:lnTo>
                      <a:lnTo>
                        <a:pt x="23" y="31"/>
                      </a:lnTo>
                      <a:lnTo>
                        <a:pt x="18" y="24"/>
                      </a:lnTo>
                      <a:lnTo>
                        <a:pt x="12" y="19"/>
                      </a:lnTo>
                      <a:lnTo>
                        <a:pt x="12" y="19"/>
                      </a:lnTo>
                      <a:lnTo>
                        <a:pt x="11" y="15"/>
                      </a:lnTo>
                      <a:lnTo>
                        <a:pt x="7" y="13"/>
                      </a:lnTo>
                      <a:lnTo>
                        <a:pt x="4" y="10"/>
                      </a:lnTo>
                      <a:lnTo>
                        <a:pt x="2" y="7"/>
                      </a:lnTo>
                      <a:lnTo>
                        <a:pt x="2" y="7"/>
                      </a:lnTo>
                      <a:lnTo>
                        <a:pt x="0" y="1"/>
                      </a:lnTo>
                      <a:lnTo>
                        <a:pt x="2" y="0"/>
                      </a:lnTo>
                      <a:lnTo>
                        <a:pt x="5" y="1"/>
                      </a:lnTo>
                      <a:lnTo>
                        <a:pt x="5"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7" name="Freeform 1954">
                  <a:extLst>
                    <a:ext uri="{FF2B5EF4-FFF2-40B4-BE49-F238E27FC236}">
                      <a16:creationId xmlns:a16="http://schemas.microsoft.com/office/drawing/2014/main" id="{28236A59-28E4-E878-6FB8-17352C961A51}"/>
                    </a:ext>
                  </a:extLst>
                </p:cNvPr>
                <p:cNvSpPr>
                  <a:spLocks/>
                </p:cNvSpPr>
                <p:nvPr/>
              </p:nvSpPr>
              <p:spPr bwMode="auto">
                <a:xfrm>
                  <a:off x="9256895" y="4865935"/>
                  <a:ext cx="31716" cy="21144"/>
                </a:xfrm>
                <a:custGeom>
                  <a:avLst/>
                  <a:gdLst/>
                  <a:ahLst/>
                  <a:cxnLst>
                    <a:cxn ang="0">
                      <a:pos x="2" y="0"/>
                    </a:cxn>
                    <a:cxn ang="0">
                      <a:pos x="2" y="0"/>
                    </a:cxn>
                    <a:cxn ang="0">
                      <a:pos x="4" y="0"/>
                    </a:cxn>
                    <a:cxn ang="0">
                      <a:pos x="7" y="0"/>
                    </a:cxn>
                    <a:cxn ang="0">
                      <a:pos x="14" y="4"/>
                    </a:cxn>
                    <a:cxn ang="0">
                      <a:pos x="21" y="7"/>
                    </a:cxn>
                    <a:cxn ang="0">
                      <a:pos x="28" y="9"/>
                    </a:cxn>
                    <a:cxn ang="0">
                      <a:pos x="28" y="9"/>
                    </a:cxn>
                    <a:cxn ang="0">
                      <a:pos x="31" y="11"/>
                    </a:cxn>
                    <a:cxn ang="0">
                      <a:pos x="33" y="12"/>
                    </a:cxn>
                    <a:cxn ang="0">
                      <a:pos x="37" y="18"/>
                    </a:cxn>
                    <a:cxn ang="0">
                      <a:pos x="38" y="25"/>
                    </a:cxn>
                    <a:cxn ang="0">
                      <a:pos x="38" y="26"/>
                    </a:cxn>
                    <a:cxn ang="0">
                      <a:pos x="35" y="26"/>
                    </a:cxn>
                    <a:cxn ang="0">
                      <a:pos x="35" y="26"/>
                    </a:cxn>
                    <a:cxn ang="0">
                      <a:pos x="30" y="25"/>
                    </a:cxn>
                    <a:cxn ang="0">
                      <a:pos x="21" y="23"/>
                    </a:cxn>
                    <a:cxn ang="0">
                      <a:pos x="12" y="18"/>
                    </a:cxn>
                    <a:cxn ang="0">
                      <a:pos x="10" y="16"/>
                    </a:cxn>
                    <a:cxn ang="0">
                      <a:pos x="9" y="12"/>
                    </a:cxn>
                    <a:cxn ang="0">
                      <a:pos x="9" y="12"/>
                    </a:cxn>
                    <a:cxn ang="0">
                      <a:pos x="9" y="9"/>
                    </a:cxn>
                    <a:cxn ang="0">
                      <a:pos x="7" y="7"/>
                    </a:cxn>
                    <a:cxn ang="0">
                      <a:pos x="4" y="5"/>
                    </a:cxn>
                    <a:cxn ang="0">
                      <a:pos x="2" y="4"/>
                    </a:cxn>
                    <a:cxn ang="0">
                      <a:pos x="0" y="2"/>
                    </a:cxn>
                    <a:cxn ang="0">
                      <a:pos x="2" y="0"/>
                    </a:cxn>
                    <a:cxn ang="0">
                      <a:pos x="2" y="0"/>
                    </a:cxn>
                  </a:cxnLst>
                  <a:rect l="0" t="0" r="r" b="b"/>
                  <a:pathLst>
                    <a:path w="38" h="26">
                      <a:moveTo>
                        <a:pt x="2" y="0"/>
                      </a:moveTo>
                      <a:lnTo>
                        <a:pt x="2" y="0"/>
                      </a:lnTo>
                      <a:lnTo>
                        <a:pt x="4" y="0"/>
                      </a:lnTo>
                      <a:lnTo>
                        <a:pt x="7" y="0"/>
                      </a:lnTo>
                      <a:lnTo>
                        <a:pt x="14" y="4"/>
                      </a:lnTo>
                      <a:lnTo>
                        <a:pt x="21" y="7"/>
                      </a:lnTo>
                      <a:lnTo>
                        <a:pt x="28" y="9"/>
                      </a:lnTo>
                      <a:lnTo>
                        <a:pt x="28" y="9"/>
                      </a:lnTo>
                      <a:lnTo>
                        <a:pt x="31" y="11"/>
                      </a:lnTo>
                      <a:lnTo>
                        <a:pt x="33" y="12"/>
                      </a:lnTo>
                      <a:lnTo>
                        <a:pt x="37" y="18"/>
                      </a:lnTo>
                      <a:lnTo>
                        <a:pt x="38" y="25"/>
                      </a:lnTo>
                      <a:lnTo>
                        <a:pt x="38" y="26"/>
                      </a:lnTo>
                      <a:lnTo>
                        <a:pt x="35" y="26"/>
                      </a:lnTo>
                      <a:lnTo>
                        <a:pt x="35" y="26"/>
                      </a:lnTo>
                      <a:lnTo>
                        <a:pt x="30" y="25"/>
                      </a:lnTo>
                      <a:lnTo>
                        <a:pt x="21" y="23"/>
                      </a:lnTo>
                      <a:lnTo>
                        <a:pt x="12" y="18"/>
                      </a:lnTo>
                      <a:lnTo>
                        <a:pt x="10" y="16"/>
                      </a:lnTo>
                      <a:lnTo>
                        <a:pt x="9" y="12"/>
                      </a:lnTo>
                      <a:lnTo>
                        <a:pt x="9" y="12"/>
                      </a:lnTo>
                      <a:lnTo>
                        <a:pt x="9" y="9"/>
                      </a:lnTo>
                      <a:lnTo>
                        <a:pt x="7" y="7"/>
                      </a:lnTo>
                      <a:lnTo>
                        <a:pt x="4" y="5"/>
                      </a:lnTo>
                      <a:lnTo>
                        <a:pt x="2" y="4"/>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8" name="Freeform 1955">
                  <a:extLst>
                    <a:ext uri="{FF2B5EF4-FFF2-40B4-BE49-F238E27FC236}">
                      <a16:creationId xmlns:a16="http://schemas.microsoft.com/office/drawing/2014/main" id="{5F1D0DF8-A941-A4DB-4B6D-74517310A0DB}"/>
                    </a:ext>
                  </a:extLst>
                </p:cNvPr>
                <p:cNvSpPr>
                  <a:spLocks/>
                </p:cNvSpPr>
                <p:nvPr/>
              </p:nvSpPr>
              <p:spPr bwMode="auto">
                <a:xfrm>
                  <a:off x="5478113" y="1395995"/>
                  <a:ext cx="4561823" cy="1673902"/>
                </a:xfrm>
                <a:custGeom>
                  <a:avLst/>
                  <a:gdLst/>
                  <a:ahLst/>
                  <a:cxnLst>
                    <a:cxn ang="0">
                      <a:pos x="5126" y="514"/>
                    </a:cxn>
                    <a:cxn ang="0">
                      <a:pos x="4928" y="530"/>
                    </a:cxn>
                    <a:cxn ang="0">
                      <a:pos x="4350" y="436"/>
                    </a:cxn>
                    <a:cxn ang="0">
                      <a:pos x="3907" y="409"/>
                    </a:cxn>
                    <a:cxn ang="0">
                      <a:pos x="3498" y="369"/>
                    </a:cxn>
                    <a:cxn ang="0">
                      <a:pos x="2983" y="267"/>
                    </a:cxn>
                    <a:cxn ang="0">
                      <a:pos x="3007" y="99"/>
                    </a:cxn>
                    <a:cxn ang="0">
                      <a:pos x="2760" y="12"/>
                    </a:cxn>
                    <a:cxn ang="0">
                      <a:pos x="2305" y="115"/>
                    </a:cxn>
                    <a:cxn ang="0">
                      <a:pos x="1908" y="274"/>
                    </a:cxn>
                    <a:cxn ang="0">
                      <a:pos x="1964" y="444"/>
                    </a:cxn>
                    <a:cxn ang="0">
                      <a:pos x="1786" y="359"/>
                    </a:cxn>
                    <a:cxn ang="0">
                      <a:pos x="1666" y="326"/>
                    </a:cxn>
                    <a:cxn ang="0">
                      <a:pos x="1757" y="582"/>
                    </a:cxn>
                    <a:cxn ang="0">
                      <a:pos x="1605" y="714"/>
                    </a:cxn>
                    <a:cxn ang="0">
                      <a:pos x="1560" y="418"/>
                    </a:cxn>
                    <a:cxn ang="0">
                      <a:pos x="1389" y="505"/>
                    </a:cxn>
                    <a:cxn ang="0">
                      <a:pos x="1167" y="582"/>
                    </a:cxn>
                    <a:cxn ang="0">
                      <a:pos x="862" y="599"/>
                    </a:cxn>
                    <a:cxn ang="0">
                      <a:pos x="630" y="601"/>
                    </a:cxn>
                    <a:cxn ang="0">
                      <a:pos x="461" y="761"/>
                    </a:cxn>
                    <a:cxn ang="0">
                      <a:pos x="291" y="853"/>
                    </a:cxn>
                    <a:cxn ang="0">
                      <a:pos x="439" y="744"/>
                    </a:cxn>
                    <a:cxn ang="0">
                      <a:pos x="125" y="535"/>
                    </a:cxn>
                    <a:cxn ang="0">
                      <a:pos x="92" y="653"/>
                    </a:cxn>
                    <a:cxn ang="0">
                      <a:pos x="97" y="839"/>
                    </a:cxn>
                    <a:cxn ang="0">
                      <a:pos x="47" y="1068"/>
                    </a:cxn>
                    <a:cxn ang="0">
                      <a:pos x="37" y="1125"/>
                    </a:cxn>
                    <a:cxn ang="0">
                      <a:pos x="16" y="1264"/>
                    </a:cxn>
                    <a:cxn ang="0">
                      <a:pos x="124" y="1360"/>
                    </a:cxn>
                    <a:cxn ang="0">
                      <a:pos x="145" y="1478"/>
                    </a:cxn>
                    <a:cxn ang="0">
                      <a:pos x="249" y="1552"/>
                    </a:cxn>
                    <a:cxn ang="0">
                      <a:pos x="400" y="1651"/>
                    </a:cxn>
                    <a:cxn ang="0">
                      <a:pos x="399" y="1764"/>
                    </a:cxn>
                    <a:cxn ang="0">
                      <a:pos x="367" y="1854"/>
                    </a:cxn>
                    <a:cxn ang="0">
                      <a:pos x="460" y="1971"/>
                    </a:cxn>
                    <a:cxn ang="0">
                      <a:pos x="627" y="2013"/>
                    </a:cxn>
                    <a:cxn ang="0">
                      <a:pos x="712" y="2009"/>
                    </a:cxn>
                    <a:cxn ang="0">
                      <a:pos x="747" y="1788"/>
                    </a:cxn>
                    <a:cxn ang="0">
                      <a:pos x="750" y="1616"/>
                    </a:cxn>
                    <a:cxn ang="0">
                      <a:pos x="1107" y="1606"/>
                    </a:cxn>
                    <a:cxn ang="0">
                      <a:pos x="1212" y="1484"/>
                    </a:cxn>
                    <a:cxn ang="0">
                      <a:pos x="1621" y="1445"/>
                    </a:cxn>
                    <a:cxn ang="0">
                      <a:pos x="1933" y="1600"/>
                    </a:cxn>
                    <a:cxn ang="0">
                      <a:pos x="2300" y="1611"/>
                    </a:cxn>
                    <a:cxn ang="0">
                      <a:pos x="2661" y="1635"/>
                    </a:cxn>
                    <a:cxn ang="0">
                      <a:pos x="3120" y="1647"/>
                    </a:cxn>
                    <a:cxn ang="0">
                      <a:pos x="3441" y="1482"/>
                    </a:cxn>
                    <a:cxn ang="0">
                      <a:pos x="3700" y="1752"/>
                    </a:cxn>
                    <a:cxn ang="0">
                      <a:pos x="3643" y="1994"/>
                    </a:cxn>
                    <a:cxn ang="0">
                      <a:pos x="3716" y="2011"/>
                    </a:cxn>
                    <a:cxn ang="0">
                      <a:pos x="3982" y="1578"/>
                    </a:cxn>
                    <a:cxn ang="0">
                      <a:pos x="3865" y="1449"/>
                    </a:cxn>
                    <a:cxn ang="0">
                      <a:pos x="3900" y="1280"/>
                    </a:cxn>
                    <a:cxn ang="0">
                      <a:pos x="4346" y="1132"/>
                    </a:cxn>
                    <a:cxn ang="0">
                      <a:pos x="4581" y="1010"/>
                    </a:cxn>
                    <a:cxn ang="0">
                      <a:pos x="4790" y="1014"/>
                    </a:cxn>
                    <a:cxn ang="0">
                      <a:pos x="4545" y="1593"/>
                    </a:cxn>
                    <a:cxn ang="0">
                      <a:pos x="4736" y="1320"/>
                    </a:cxn>
                    <a:cxn ang="0">
                      <a:pos x="4816" y="1109"/>
                    </a:cxn>
                    <a:cxn ang="0">
                      <a:pos x="5231" y="968"/>
                    </a:cxn>
                    <a:cxn ang="0">
                      <a:pos x="5370" y="775"/>
                    </a:cxn>
                    <a:cxn ang="0">
                      <a:pos x="5610" y="799"/>
                    </a:cxn>
                  </a:cxnLst>
                  <a:rect l="0" t="0" r="r" b="b"/>
                  <a:pathLst>
                    <a:path w="5689" h="2086">
                      <a:moveTo>
                        <a:pt x="5640" y="712"/>
                      </a:moveTo>
                      <a:lnTo>
                        <a:pt x="5640" y="712"/>
                      </a:lnTo>
                      <a:lnTo>
                        <a:pt x="5633" y="704"/>
                      </a:lnTo>
                      <a:lnTo>
                        <a:pt x="5624" y="697"/>
                      </a:lnTo>
                      <a:lnTo>
                        <a:pt x="5615" y="693"/>
                      </a:lnTo>
                      <a:lnTo>
                        <a:pt x="5605" y="690"/>
                      </a:lnTo>
                      <a:lnTo>
                        <a:pt x="5581" y="688"/>
                      </a:lnTo>
                      <a:lnTo>
                        <a:pt x="5553" y="686"/>
                      </a:lnTo>
                      <a:lnTo>
                        <a:pt x="5553" y="686"/>
                      </a:lnTo>
                      <a:lnTo>
                        <a:pt x="5546" y="686"/>
                      </a:lnTo>
                      <a:lnTo>
                        <a:pt x="5542" y="690"/>
                      </a:lnTo>
                      <a:lnTo>
                        <a:pt x="5541" y="691"/>
                      </a:lnTo>
                      <a:lnTo>
                        <a:pt x="5541" y="697"/>
                      </a:lnTo>
                      <a:lnTo>
                        <a:pt x="5544" y="707"/>
                      </a:lnTo>
                      <a:lnTo>
                        <a:pt x="5549" y="718"/>
                      </a:lnTo>
                      <a:lnTo>
                        <a:pt x="5554" y="726"/>
                      </a:lnTo>
                      <a:lnTo>
                        <a:pt x="5556" y="733"/>
                      </a:lnTo>
                      <a:lnTo>
                        <a:pt x="5556" y="735"/>
                      </a:lnTo>
                      <a:lnTo>
                        <a:pt x="5553" y="735"/>
                      </a:lnTo>
                      <a:lnTo>
                        <a:pt x="5539" y="728"/>
                      </a:lnTo>
                      <a:lnTo>
                        <a:pt x="5539" y="728"/>
                      </a:lnTo>
                      <a:lnTo>
                        <a:pt x="5532" y="723"/>
                      </a:lnTo>
                      <a:lnTo>
                        <a:pt x="5527" y="718"/>
                      </a:lnTo>
                      <a:lnTo>
                        <a:pt x="5523" y="714"/>
                      </a:lnTo>
                      <a:lnTo>
                        <a:pt x="5521" y="709"/>
                      </a:lnTo>
                      <a:lnTo>
                        <a:pt x="5521" y="698"/>
                      </a:lnTo>
                      <a:lnTo>
                        <a:pt x="5523" y="688"/>
                      </a:lnTo>
                      <a:lnTo>
                        <a:pt x="5523" y="678"/>
                      </a:lnTo>
                      <a:lnTo>
                        <a:pt x="5521" y="672"/>
                      </a:lnTo>
                      <a:lnTo>
                        <a:pt x="5520" y="667"/>
                      </a:lnTo>
                      <a:lnTo>
                        <a:pt x="5514" y="660"/>
                      </a:lnTo>
                      <a:lnTo>
                        <a:pt x="5506" y="655"/>
                      </a:lnTo>
                      <a:lnTo>
                        <a:pt x="5495" y="648"/>
                      </a:lnTo>
                      <a:lnTo>
                        <a:pt x="5481" y="641"/>
                      </a:lnTo>
                      <a:lnTo>
                        <a:pt x="5481" y="641"/>
                      </a:lnTo>
                      <a:lnTo>
                        <a:pt x="5450" y="625"/>
                      </a:lnTo>
                      <a:lnTo>
                        <a:pt x="5419" y="610"/>
                      </a:lnTo>
                      <a:lnTo>
                        <a:pt x="5359" y="580"/>
                      </a:lnTo>
                      <a:lnTo>
                        <a:pt x="5359" y="575"/>
                      </a:lnTo>
                      <a:lnTo>
                        <a:pt x="5359" y="575"/>
                      </a:lnTo>
                      <a:lnTo>
                        <a:pt x="5333" y="563"/>
                      </a:lnTo>
                      <a:lnTo>
                        <a:pt x="5307" y="550"/>
                      </a:lnTo>
                      <a:lnTo>
                        <a:pt x="5281" y="542"/>
                      </a:lnTo>
                      <a:lnTo>
                        <a:pt x="5253" y="535"/>
                      </a:lnTo>
                      <a:lnTo>
                        <a:pt x="5253" y="535"/>
                      </a:lnTo>
                      <a:lnTo>
                        <a:pt x="5215" y="524"/>
                      </a:lnTo>
                      <a:lnTo>
                        <a:pt x="5199" y="521"/>
                      </a:lnTo>
                      <a:lnTo>
                        <a:pt x="5178" y="517"/>
                      </a:lnTo>
                      <a:lnTo>
                        <a:pt x="5126" y="514"/>
                      </a:lnTo>
                      <a:lnTo>
                        <a:pt x="5126" y="514"/>
                      </a:lnTo>
                      <a:lnTo>
                        <a:pt x="5091" y="510"/>
                      </a:lnTo>
                      <a:lnTo>
                        <a:pt x="5069" y="505"/>
                      </a:lnTo>
                      <a:lnTo>
                        <a:pt x="5053" y="500"/>
                      </a:lnTo>
                      <a:lnTo>
                        <a:pt x="5044" y="496"/>
                      </a:lnTo>
                      <a:lnTo>
                        <a:pt x="5037" y="495"/>
                      </a:lnTo>
                      <a:lnTo>
                        <a:pt x="5034" y="496"/>
                      </a:lnTo>
                      <a:lnTo>
                        <a:pt x="5027" y="503"/>
                      </a:lnTo>
                      <a:lnTo>
                        <a:pt x="5018" y="517"/>
                      </a:lnTo>
                      <a:lnTo>
                        <a:pt x="5018" y="517"/>
                      </a:lnTo>
                      <a:lnTo>
                        <a:pt x="5013" y="524"/>
                      </a:lnTo>
                      <a:lnTo>
                        <a:pt x="5011" y="531"/>
                      </a:lnTo>
                      <a:lnTo>
                        <a:pt x="5011" y="535"/>
                      </a:lnTo>
                      <a:lnTo>
                        <a:pt x="5013" y="540"/>
                      </a:lnTo>
                      <a:lnTo>
                        <a:pt x="5016" y="542"/>
                      </a:lnTo>
                      <a:lnTo>
                        <a:pt x="5020" y="545"/>
                      </a:lnTo>
                      <a:lnTo>
                        <a:pt x="5030" y="549"/>
                      </a:lnTo>
                      <a:lnTo>
                        <a:pt x="5039" y="552"/>
                      </a:lnTo>
                      <a:lnTo>
                        <a:pt x="5043" y="554"/>
                      </a:lnTo>
                      <a:lnTo>
                        <a:pt x="5044" y="557"/>
                      </a:lnTo>
                      <a:lnTo>
                        <a:pt x="5044" y="561"/>
                      </a:lnTo>
                      <a:lnTo>
                        <a:pt x="5043" y="564"/>
                      </a:lnTo>
                      <a:lnTo>
                        <a:pt x="5039" y="571"/>
                      </a:lnTo>
                      <a:lnTo>
                        <a:pt x="5030" y="578"/>
                      </a:lnTo>
                      <a:lnTo>
                        <a:pt x="5030" y="578"/>
                      </a:lnTo>
                      <a:lnTo>
                        <a:pt x="5016" y="589"/>
                      </a:lnTo>
                      <a:lnTo>
                        <a:pt x="5011" y="592"/>
                      </a:lnTo>
                      <a:lnTo>
                        <a:pt x="5006" y="592"/>
                      </a:lnTo>
                      <a:lnTo>
                        <a:pt x="5002" y="592"/>
                      </a:lnTo>
                      <a:lnTo>
                        <a:pt x="4999" y="590"/>
                      </a:lnTo>
                      <a:lnTo>
                        <a:pt x="4994" y="585"/>
                      </a:lnTo>
                      <a:lnTo>
                        <a:pt x="4989" y="578"/>
                      </a:lnTo>
                      <a:lnTo>
                        <a:pt x="4983" y="570"/>
                      </a:lnTo>
                      <a:lnTo>
                        <a:pt x="4978" y="566"/>
                      </a:lnTo>
                      <a:lnTo>
                        <a:pt x="4973" y="564"/>
                      </a:lnTo>
                      <a:lnTo>
                        <a:pt x="4968" y="563"/>
                      </a:lnTo>
                      <a:lnTo>
                        <a:pt x="4961" y="563"/>
                      </a:lnTo>
                      <a:lnTo>
                        <a:pt x="4961" y="563"/>
                      </a:lnTo>
                      <a:lnTo>
                        <a:pt x="4954" y="563"/>
                      </a:lnTo>
                      <a:lnTo>
                        <a:pt x="4949" y="561"/>
                      </a:lnTo>
                      <a:lnTo>
                        <a:pt x="4947" y="559"/>
                      </a:lnTo>
                      <a:lnTo>
                        <a:pt x="4945" y="556"/>
                      </a:lnTo>
                      <a:lnTo>
                        <a:pt x="4943" y="549"/>
                      </a:lnTo>
                      <a:lnTo>
                        <a:pt x="4943" y="542"/>
                      </a:lnTo>
                      <a:lnTo>
                        <a:pt x="4943" y="535"/>
                      </a:lnTo>
                      <a:lnTo>
                        <a:pt x="4942" y="531"/>
                      </a:lnTo>
                      <a:lnTo>
                        <a:pt x="4938" y="531"/>
                      </a:lnTo>
                      <a:lnTo>
                        <a:pt x="4933" y="530"/>
                      </a:lnTo>
                      <a:lnTo>
                        <a:pt x="4928" y="530"/>
                      </a:lnTo>
                      <a:lnTo>
                        <a:pt x="4907" y="536"/>
                      </a:lnTo>
                      <a:lnTo>
                        <a:pt x="4907" y="536"/>
                      </a:lnTo>
                      <a:lnTo>
                        <a:pt x="4895" y="540"/>
                      </a:lnTo>
                      <a:lnTo>
                        <a:pt x="4884" y="542"/>
                      </a:lnTo>
                      <a:lnTo>
                        <a:pt x="4874" y="543"/>
                      </a:lnTo>
                      <a:lnTo>
                        <a:pt x="4863" y="542"/>
                      </a:lnTo>
                      <a:lnTo>
                        <a:pt x="4848" y="540"/>
                      </a:lnTo>
                      <a:lnTo>
                        <a:pt x="4830" y="535"/>
                      </a:lnTo>
                      <a:lnTo>
                        <a:pt x="4814" y="531"/>
                      </a:lnTo>
                      <a:lnTo>
                        <a:pt x="4794" y="528"/>
                      </a:lnTo>
                      <a:lnTo>
                        <a:pt x="4783" y="526"/>
                      </a:lnTo>
                      <a:lnTo>
                        <a:pt x="4769" y="528"/>
                      </a:lnTo>
                      <a:lnTo>
                        <a:pt x="4755" y="530"/>
                      </a:lnTo>
                      <a:lnTo>
                        <a:pt x="4740" y="531"/>
                      </a:lnTo>
                      <a:lnTo>
                        <a:pt x="4740" y="531"/>
                      </a:lnTo>
                      <a:lnTo>
                        <a:pt x="4710" y="536"/>
                      </a:lnTo>
                      <a:lnTo>
                        <a:pt x="4687" y="538"/>
                      </a:lnTo>
                      <a:lnTo>
                        <a:pt x="4670" y="536"/>
                      </a:lnTo>
                      <a:lnTo>
                        <a:pt x="4659" y="533"/>
                      </a:lnTo>
                      <a:lnTo>
                        <a:pt x="4656" y="530"/>
                      </a:lnTo>
                      <a:lnTo>
                        <a:pt x="4652" y="526"/>
                      </a:lnTo>
                      <a:lnTo>
                        <a:pt x="4651" y="519"/>
                      </a:lnTo>
                      <a:lnTo>
                        <a:pt x="4651" y="510"/>
                      </a:lnTo>
                      <a:lnTo>
                        <a:pt x="4654" y="500"/>
                      </a:lnTo>
                      <a:lnTo>
                        <a:pt x="4654" y="500"/>
                      </a:lnTo>
                      <a:lnTo>
                        <a:pt x="4656" y="496"/>
                      </a:lnTo>
                      <a:lnTo>
                        <a:pt x="4656" y="491"/>
                      </a:lnTo>
                      <a:lnTo>
                        <a:pt x="4654" y="484"/>
                      </a:lnTo>
                      <a:lnTo>
                        <a:pt x="4651" y="479"/>
                      </a:lnTo>
                      <a:lnTo>
                        <a:pt x="4644" y="474"/>
                      </a:lnTo>
                      <a:lnTo>
                        <a:pt x="4637" y="467"/>
                      </a:lnTo>
                      <a:lnTo>
                        <a:pt x="4626" y="462"/>
                      </a:lnTo>
                      <a:lnTo>
                        <a:pt x="4616" y="456"/>
                      </a:lnTo>
                      <a:lnTo>
                        <a:pt x="4602" y="451"/>
                      </a:lnTo>
                      <a:lnTo>
                        <a:pt x="4588" y="448"/>
                      </a:lnTo>
                      <a:lnTo>
                        <a:pt x="4571" y="444"/>
                      </a:lnTo>
                      <a:lnTo>
                        <a:pt x="4553" y="442"/>
                      </a:lnTo>
                      <a:lnTo>
                        <a:pt x="4532" y="442"/>
                      </a:lnTo>
                      <a:lnTo>
                        <a:pt x="4511" y="442"/>
                      </a:lnTo>
                      <a:lnTo>
                        <a:pt x="4487" y="444"/>
                      </a:lnTo>
                      <a:lnTo>
                        <a:pt x="4463" y="449"/>
                      </a:lnTo>
                      <a:lnTo>
                        <a:pt x="4463" y="449"/>
                      </a:lnTo>
                      <a:lnTo>
                        <a:pt x="4438" y="453"/>
                      </a:lnTo>
                      <a:lnTo>
                        <a:pt x="4417" y="453"/>
                      </a:lnTo>
                      <a:lnTo>
                        <a:pt x="4400" y="453"/>
                      </a:lnTo>
                      <a:lnTo>
                        <a:pt x="4384" y="451"/>
                      </a:lnTo>
                      <a:lnTo>
                        <a:pt x="4370" y="446"/>
                      </a:lnTo>
                      <a:lnTo>
                        <a:pt x="4360" y="441"/>
                      </a:lnTo>
                      <a:lnTo>
                        <a:pt x="4350" y="436"/>
                      </a:lnTo>
                      <a:lnTo>
                        <a:pt x="4341" y="427"/>
                      </a:lnTo>
                      <a:lnTo>
                        <a:pt x="4327" y="413"/>
                      </a:lnTo>
                      <a:lnTo>
                        <a:pt x="4316" y="397"/>
                      </a:lnTo>
                      <a:lnTo>
                        <a:pt x="4303" y="383"/>
                      </a:lnTo>
                      <a:lnTo>
                        <a:pt x="4296" y="378"/>
                      </a:lnTo>
                      <a:lnTo>
                        <a:pt x="4289" y="375"/>
                      </a:lnTo>
                      <a:lnTo>
                        <a:pt x="4289" y="375"/>
                      </a:lnTo>
                      <a:lnTo>
                        <a:pt x="4271" y="369"/>
                      </a:lnTo>
                      <a:lnTo>
                        <a:pt x="4259" y="366"/>
                      </a:lnTo>
                      <a:lnTo>
                        <a:pt x="4236" y="364"/>
                      </a:lnTo>
                      <a:lnTo>
                        <a:pt x="4207" y="362"/>
                      </a:lnTo>
                      <a:lnTo>
                        <a:pt x="4186" y="359"/>
                      </a:lnTo>
                      <a:lnTo>
                        <a:pt x="4160" y="354"/>
                      </a:lnTo>
                      <a:lnTo>
                        <a:pt x="4160" y="354"/>
                      </a:lnTo>
                      <a:lnTo>
                        <a:pt x="4134" y="348"/>
                      </a:lnTo>
                      <a:lnTo>
                        <a:pt x="4111" y="345"/>
                      </a:lnTo>
                      <a:lnTo>
                        <a:pt x="4074" y="341"/>
                      </a:lnTo>
                      <a:lnTo>
                        <a:pt x="4043" y="338"/>
                      </a:lnTo>
                      <a:lnTo>
                        <a:pt x="4024" y="336"/>
                      </a:lnTo>
                      <a:lnTo>
                        <a:pt x="4005" y="331"/>
                      </a:lnTo>
                      <a:lnTo>
                        <a:pt x="4005" y="331"/>
                      </a:lnTo>
                      <a:lnTo>
                        <a:pt x="3987" y="328"/>
                      </a:lnTo>
                      <a:lnTo>
                        <a:pt x="3980" y="328"/>
                      </a:lnTo>
                      <a:lnTo>
                        <a:pt x="3979" y="329"/>
                      </a:lnTo>
                      <a:lnTo>
                        <a:pt x="3977" y="331"/>
                      </a:lnTo>
                      <a:lnTo>
                        <a:pt x="3979" y="336"/>
                      </a:lnTo>
                      <a:lnTo>
                        <a:pt x="3979" y="341"/>
                      </a:lnTo>
                      <a:lnTo>
                        <a:pt x="3977" y="343"/>
                      </a:lnTo>
                      <a:lnTo>
                        <a:pt x="3975" y="347"/>
                      </a:lnTo>
                      <a:lnTo>
                        <a:pt x="3972" y="348"/>
                      </a:lnTo>
                      <a:lnTo>
                        <a:pt x="3965" y="350"/>
                      </a:lnTo>
                      <a:lnTo>
                        <a:pt x="3946" y="354"/>
                      </a:lnTo>
                      <a:lnTo>
                        <a:pt x="3946" y="354"/>
                      </a:lnTo>
                      <a:lnTo>
                        <a:pt x="3935" y="354"/>
                      </a:lnTo>
                      <a:lnTo>
                        <a:pt x="3928" y="357"/>
                      </a:lnTo>
                      <a:lnTo>
                        <a:pt x="3926" y="361"/>
                      </a:lnTo>
                      <a:lnTo>
                        <a:pt x="3925" y="366"/>
                      </a:lnTo>
                      <a:lnTo>
                        <a:pt x="3926" y="371"/>
                      </a:lnTo>
                      <a:lnTo>
                        <a:pt x="3930" y="378"/>
                      </a:lnTo>
                      <a:lnTo>
                        <a:pt x="3939" y="392"/>
                      </a:lnTo>
                      <a:lnTo>
                        <a:pt x="3947" y="402"/>
                      </a:lnTo>
                      <a:lnTo>
                        <a:pt x="3951" y="408"/>
                      </a:lnTo>
                      <a:lnTo>
                        <a:pt x="3953" y="413"/>
                      </a:lnTo>
                      <a:lnTo>
                        <a:pt x="3951" y="415"/>
                      </a:lnTo>
                      <a:lnTo>
                        <a:pt x="3947" y="416"/>
                      </a:lnTo>
                      <a:lnTo>
                        <a:pt x="3940" y="416"/>
                      </a:lnTo>
                      <a:lnTo>
                        <a:pt x="3930" y="415"/>
                      </a:lnTo>
                      <a:lnTo>
                        <a:pt x="3930" y="415"/>
                      </a:lnTo>
                      <a:lnTo>
                        <a:pt x="3907" y="409"/>
                      </a:lnTo>
                      <a:lnTo>
                        <a:pt x="3892" y="408"/>
                      </a:lnTo>
                      <a:lnTo>
                        <a:pt x="3881" y="409"/>
                      </a:lnTo>
                      <a:lnTo>
                        <a:pt x="3872" y="411"/>
                      </a:lnTo>
                      <a:lnTo>
                        <a:pt x="3865" y="413"/>
                      </a:lnTo>
                      <a:lnTo>
                        <a:pt x="3857" y="415"/>
                      </a:lnTo>
                      <a:lnTo>
                        <a:pt x="3843" y="415"/>
                      </a:lnTo>
                      <a:lnTo>
                        <a:pt x="3825" y="411"/>
                      </a:lnTo>
                      <a:lnTo>
                        <a:pt x="3825" y="411"/>
                      </a:lnTo>
                      <a:lnTo>
                        <a:pt x="3815" y="409"/>
                      </a:lnTo>
                      <a:lnTo>
                        <a:pt x="3806" y="409"/>
                      </a:lnTo>
                      <a:lnTo>
                        <a:pt x="3799" y="409"/>
                      </a:lnTo>
                      <a:lnTo>
                        <a:pt x="3792" y="411"/>
                      </a:lnTo>
                      <a:lnTo>
                        <a:pt x="3780" y="415"/>
                      </a:lnTo>
                      <a:lnTo>
                        <a:pt x="3768" y="420"/>
                      </a:lnTo>
                      <a:lnTo>
                        <a:pt x="3758" y="425"/>
                      </a:lnTo>
                      <a:lnTo>
                        <a:pt x="3752" y="425"/>
                      </a:lnTo>
                      <a:lnTo>
                        <a:pt x="3745" y="425"/>
                      </a:lnTo>
                      <a:lnTo>
                        <a:pt x="3738" y="423"/>
                      </a:lnTo>
                      <a:lnTo>
                        <a:pt x="3731" y="422"/>
                      </a:lnTo>
                      <a:lnTo>
                        <a:pt x="3723" y="416"/>
                      </a:lnTo>
                      <a:lnTo>
                        <a:pt x="3712" y="409"/>
                      </a:lnTo>
                      <a:lnTo>
                        <a:pt x="3712" y="409"/>
                      </a:lnTo>
                      <a:lnTo>
                        <a:pt x="3704" y="404"/>
                      </a:lnTo>
                      <a:lnTo>
                        <a:pt x="3695" y="402"/>
                      </a:lnTo>
                      <a:lnTo>
                        <a:pt x="3688" y="402"/>
                      </a:lnTo>
                      <a:lnTo>
                        <a:pt x="3683" y="406"/>
                      </a:lnTo>
                      <a:lnTo>
                        <a:pt x="3677" y="411"/>
                      </a:lnTo>
                      <a:lnTo>
                        <a:pt x="3672" y="418"/>
                      </a:lnTo>
                      <a:lnTo>
                        <a:pt x="3663" y="434"/>
                      </a:lnTo>
                      <a:lnTo>
                        <a:pt x="3655" y="449"/>
                      </a:lnTo>
                      <a:lnTo>
                        <a:pt x="3651" y="456"/>
                      </a:lnTo>
                      <a:lnTo>
                        <a:pt x="3644" y="460"/>
                      </a:lnTo>
                      <a:lnTo>
                        <a:pt x="3639" y="462"/>
                      </a:lnTo>
                      <a:lnTo>
                        <a:pt x="3630" y="462"/>
                      </a:lnTo>
                      <a:lnTo>
                        <a:pt x="3622" y="456"/>
                      </a:lnTo>
                      <a:lnTo>
                        <a:pt x="3611" y="448"/>
                      </a:lnTo>
                      <a:lnTo>
                        <a:pt x="3611" y="448"/>
                      </a:lnTo>
                      <a:lnTo>
                        <a:pt x="3575" y="413"/>
                      </a:lnTo>
                      <a:lnTo>
                        <a:pt x="3552" y="388"/>
                      </a:lnTo>
                      <a:lnTo>
                        <a:pt x="3542" y="380"/>
                      </a:lnTo>
                      <a:lnTo>
                        <a:pt x="3533" y="373"/>
                      </a:lnTo>
                      <a:lnTo>
                        <a:pt x="3522" y="366"/>
                      </a:lnTo>
                      <a:lnTo>
                        <a:pt x="3510" y="361"/>
                      </a:lnTo>
                      <a:lnTo>
                        <a:pt x="3510" y="361"/>
                      </a:lnTo>
                      <a:lnTo>
                        <a:pt x="3503" y="359"/>
                      </a:lnTo>
                      <a:lnTo>
                        <a:pt x="3500" y="359"/>
                      </a:lnTo>
                      <a:lnTo>
                        <a:pt x="3496" y="361"/>
                      </a:lnTo>
                      <a:lnTo>
                        <a:pt x="3496" y="362"/>
                      </a:lnTo>
                      <a:lnTo>
                        <a:pt x="3498" y="369"/>
                      </a:lnTo>
                      <a:lnTo>
                        <a:pt x="3502" y="378"/>
                      </a:lnTo>
                      <a:lnTo>
                        <a:pt x="3505" y="387"/>
                      </a:lnTo>
                      <a:lnTo>
                        <a:pt x="3507" y="390"/>
                      </a:lnTo>
                      <a:lnTo>
                        <a:pt x="3507" y="392"/>
                      </a:lnTo>
                      <a:lnTo>
                        <a:pt x="3503" y="390"/>
                      </a:lnTo>
                      <a:lnTo>
                        <a:pt x="3495" y="383"/>
                      </a:lnTo>
                      <a:lnTo>
                        <a:pt x="3495" y="383"/>
                      </a:lnTo>
                      <a:lnTo>
                        <a:pt x="3479" y="373"/>
                      </a:lnTo>
                      <a:lnTo>
                        <a:pt x="3460" y="362"/>
                      </a:lnTo>
                      <a:lnTo>
                        <a:pt x="3437" y="354"/>
                      </a:lnTo>
                      <a:lnTo>
                        <a:pt x="3413" y="345"/>
                      </a:lnTo>
                      <a:lnTo>
                        <a:pt x="3383" y="336"/>
                      </a:lnTo>
                      <a:lnTo>
                        <a:pt x="3350" y="329"/>
                      </a:lnTo>
                      <a:lnTo>
                        <a:pt x="3314" y="324"/>
                      </a:lnTo>
                      <a:lnTo>
                        <a:pt x="3273" y="321"/>
                      </a:lnTo>
                      <a:lnTo>
                        <a:pt x="3273" y="321"/>
                      </a:lnTo>
                      <a:lnTo>
                        <a:pt x="3228" y="315"/>
                      </a:lnTo>
                      <a:lnTo>
                        <a:pt x="3213" y="314"/>
                      </a:lnTo>
                      <a:lnTo>
                        <a:pt x="3204" y="310"/>
                      </a:lnTo>
                      <a:lnTo>
                        <a:pt x="3197" y="307"/>
                      </a:lnTo>
                      <a:lnTo>
                        <a:pt x="3195" y="305"/>
                      </a:lnTo>
                      <a:lnTo>
                        <a:pt x="3195" y="301"/>
                      </a:lnTo>
                      <a:lnTo>
                        <a:pt x="3197" y="298"/>
                      </a:lnTo>
                      <a:lnTo>
                        <a:pt x="3204" y="293"/>
                      </a:lnTo>
                      <a:lnTo>
                        <a:pt x="3209" y="288"/>
                      </a:lnTo>
                      <a:lnTo>
                        <a:pt x="3209" y="284"/>
                      </a:lnTo>
                      <a:lnTo>
                        <a:pt x="3209" y="282"/>
                      </a:lnTo>
                      <a:lnTo>
                        <a:pt x="3204" y="281"/>
                      </a:lnTo>
                      <a:lnTo>
                        <a:pt x="3195" y="281"/>
                      </a:lnTo>
                      <a:lnTo>
                        <a:pt x="3195" y="281"/>
                      </a:lnTo>
                      <a:lnTo>
                        <a:pt x="3155" y="277"/>
                      </a:lnTo>
                      <a:lnTo>
                        <a:pt x="3118" y="275"/>
                      </a:lnTo>
                      <a:lnTo>
                        <a:pt x="3084" y="275"/>
                      </a:lnTo>
                      <a:lnTo>
                        <a:pt x="3066" y="277"/>
                      </a:lnTo>
                      <a:lnTo>
                        <a:pt x="3047" y="279"/>
                      </a:lnTo>
                      <a:lnTo>
                        <a:pt x="3047" y="279"/>
                      </a:lnTo>
                      <a:lnTo>
                        <a:pt x="3040" y="281"/>
                      </a:lnTo>
                      <a:lnTo>
                        <a:pt x="3033" y="281"/>
                      </a:lnTo>
                      <a:lnTo>
                        <a:pt x="3028" y="281"/>
                      </a:lnTo>
                      <a:lnTo>
                        <a:pt x="3024" y="279"/>
                      </a:lnTo>
                      <a:lnTo>
                        <a:pt x="3019" y="274"/>
                      </a:lnTo>
                      <a:lnTo>
                        <a:pt x="3016" y="267"/>
                      </a:lnTo>
                      <a:lnTo>
                        <a:pt x="3014" y="261"/>
                      </a:lnTo>
                      <a:lnTo>
                        <a:pt x="3011" y="256"/>
                      </a:lnTo>
                      <a:lnTo>
                        <a:pt x="3009" y="256"/>
                      </a:lnTo>
                      <a:lnTo>
                        <a:pt x="3005" y="256"/>
                      </a:lnTo>
                      <a:lnTo>
                        <a:pt x="2995" y="261"/>
                      </a:lnTo>
                      <a:lnTo>
                        <a:pt x="2995" y="261"/>
                      </a:lnTo>
                      <a:lnTo>
                        <a:pt x="2983" y="267"/>
                      </a:lnTo>
                      <a:lnTo>
                        <a:pt x="2974" y="267"/>
                      </a:lnTo>
                      <a:lnTo>
                        <a:pt x="2967" y="265"/>
                      </a:lnTo>
                      <a:lnTo>
                        <a:pt x="2960" y="261"/>
                      </a:lnTo>
                      <a:lnTo>
                        <a:pt x="2953" y="256"/>
                      </a:lnTo>
                      <a:lnTo>
                        <a:pt x="2946" y="253"/>
                      </a:lnTo>
                      <a:lnTo>
                        <a:pt x="2934" y="253"/>
                      </a:lnTo>
                      <a:lnTo>
                        <a:pt x="2920" y="254"/>
                      </a:lnTo>
                      <a:lnTo>
                        <a:pt x="2920" y="254"/>
                      </a:lnTo>
                      <a:lnTo>
                        <a:pt x="2906" y="258"/>
                      </a:lnTo>
                      <a:lnTo>
                        <a:pt x="2901" y="263"/>
                      </a:lnTo>
                      <a:lnTo>
                        <a:pt x="2897" y="270"/>
                      </a:lnTo>
                      <a:lnTo>
                        <a:pt x="2896" y="275"/>
                      </a:lnTo>
                      <a:lnTo>
                        <a:pt x="2892" y="282"/>
                      </a:lnTo>
                      <a:lnTo>
                        <a:pt x="2883" y="289"/>
                      </a:lnTo>
                      <a:lnTo>
                        <a:pt x="2868" y="294"/>
                      </a:lnTo>
                      <a:lnTo>
                        <a:pt x="2842" y="300"/>
                      </a:lnTo>
                      <a:lnTo>
                        <a:pt x="2842" y="300"/>
                      </a:lnTo>
                      <a:lnTo>
                        <a:pt x="2814" y="303"/>
                      </a:lnTo>
                      <a:lnTo>
                        <a:pt x="2793" y="305"/>
                      </a:lnTo>
                      <a:lnTo>
                        <a:pt x="2781" y="303"/>
                      </a:lnTo>
                      <a:lnTo>
                        <a:pt x="2779" y="301"/>
                      </a:lnTo>
                      <a:lnTo>
                        <a:pt x="2777" y="300"/>
                      </a:lnTo>
                      <a:lnTo>
                        <a:pt x="2777" y="296"/>
                      </a:lnTo>
                      <a:lnTo>
                        <a:pt x="2781" y="294"/>
                      </a:lnTo>
                      <a:lnTo>
                        <a:pt x="2791" y="286"/>
                      </a:lnTo>
                      <a:lnTo>
                        <a:pt x="2810" y="277"/>
                      </a:lnTo>
                      <a:lnTo>
                        <a:pt x="2836" y="265"/>
                      </a:lnTo>
                      <a:lnTo>
                        <a:pt x="2836" y="265"/>
                      </a:lnTo>
                      <a:lnTo>
                        <a:pt x="2863" y="253"/>
                      </a:lnTo>
                      <a:lnTo>
                        <a:pt x="2882" y="244"/>
                      </a:lnTo>
                      <a:lnTo>
                        <a:pt x="2906" y="227"/>
                      </a:lnTo>
                      <a:lnTo>
                        <a:pt x="2918" y="220"/>
                      </a:lnTo>
                      <a:lnTo>
                        <a:pt x="2930" y="213"/>
                      </a:lnTo>
                      <a:lnTo>
                        <a:pt x="2948" y="206"/>
                      </a:lnTo>
                      <a:lnTo>
                        <a:pt x="2970" y="199"/>
                      </a:lnTo>
                      <a:lnTo>
                        <a:pt x="2970" y="199"/>
                      </a:lnTo>
                      <a:lnTo>
                        <a:pt x="2995" y="190"/>
                      </a:lnTo>
                      <a:lnTo>
                        <a:pt x="3012" y="180"/>
                      </a:lnTo>
                      <a:lnTo>
                        <a:pt x="3019" y="174"/>
                      </a:lnTo>
                      <a:lnTo>
                        <a:pt x="3024" y="167"/>
                      </a:lnTo>
                      <a:lnTo>
                        <a:pt x="3031" y="157"/>
                      </a:lnTo>
                      <a:lnTo>
                        <a:pt x="3033" y="145"/>
                      </a:lnTo>
                      <a:lnTo>
                        <a:pt x="3033" y="134"/>
                      </a:lnTo>
                      <a:lnTo>
                        <a:pt x="3031" y="122"/>
                      </a:lnTo>
                      <a:lnTo>
                        <a:pt x="3026" y="113"/>
                      </a:lnTo>
                      <a:lnTo>
                        <a:pt x="3026" y="113"/>
                      </a:lnTo>
                      <a:lnTo>
                        <a:pt x="3021" y="106"/>
                      </a:lnTo>
                      <a:lnTo>
                        <a:pt x="3014" y="101"/>
                      </a:lnTo>
                      <a:lnTo>
                        <a:pt x="3007" y="99"/>
                      </a:lnTo>
                      <a:lnTo>
                        <a:pt x="3000" y="96"/>
                      </a:lnTo>
                      <a:lnTo>
                        <a:pt x="2983" y="91"/>
                      </a:lnTo>
                      <a:lnTo>
                        <a:pt x="2974" y="87"/>
                      </a:lnTo>
                      <a:lnTo>
                        <a:pt x="2964" y="79"/>
                      </a:lnTo>
                      <a:lnTo>
                        <a:pt x="2964" y="79"/>
                      </a:lnTo>
                      <a:lnTo>
                        <a:pt x="2951" y="72"/>
                      </a:lnTo>
                      <a:lnTo>
                        <a:pt x="2941" y="66"/>
                      </a:lnTo>
                      <a:lnTo>
                        <a:pt x="2929" y="66"/>
                      </a:lnTo>
                      <a:lnTo>
                        <a:pt x="2918" y="66"/>
                      </a:lnTo>
                      <a:lnTo>
                        <a:pt x="2892" y="68"/>
                      </a:lnTo>
                      <a:lnTo>
                        <a:pt x="2878" y="68"/>
                      </a:lnTo>
                      <a:lnTo>
                        <a:pt x="2864" y="66"/>
                      </a:lnTo>
                      <a:lnTo>
                        <a:pt x="2864" y="66"/>
                      </a:lnTo>
                      <a:lnTo>
                        <a:pt x="2852" y="65"/>
                      </a:lnTo>
                      <a:lnTo>
                        <a:pt x="2845" y="65"/>
                      </a:lnTo>
                      <a:lnTo>
                        <a:pt x="2840" y="66"/>
                      </a:lnTo>
                      <a:lnTo>
                        <a:pt x="2835" y="70"/>
                      </a:lnTo>
                      <a:lnTo>
                        <a:pt x="2831" y="73"/>
                      </a:lnTo>
                      <a:lnTo>
                        <a:pt x="2824" y="77"/>
                      </a:lnTo>
                      <a:lnTo>
                        <a:pt x="2814" y="80"/>
                      </a:lnTo>
                      <a:lnTo>
                        <a:pt x="2800" y="82"/>
                      </a:lnTo>
                      <a:lnTo>
                        <a:pt x="2800" y="82"/>
                      </a:lnTo>
                      <a:lnTo>
                        <a:pt x="2781" y="84"/>
                      </a:lnTo>
                      <a:lnTo>
                        <a:pt x="2777" y="84"/>
                      </a:lnTo>
                      <a:lnTo>
                        <a:pt x="2777" y="82"/>
                      </a:lnTo>
                      <a:lnTo>
                        <a:pt x="2782" y="77"/>
                      </a:lnTo>
                      <a:lnTo>
                        <a:pt x="2791" y="70"/>
                      </a:lnTo>
                      <a:lnTo>
                        <a:pt x="2800" y="63"/>
                      </a:lnTo>
                      <a:lnTo>
                        <a:pt x="2803" y="59"/>
                      </a:lnTo>
                      <a:lnTo>
                        <a:pt x="2803" y="56"/>
                      </a:lnTo>
                      <a:lnTo>
                        <a:pt x="2802" y="52"/>
                      </a:lnTo>
                      <a:lnTo>
                        <a:pt x="2796" y="51"/>
                      </a:lnTo>
                      <a:lnTo>
                        <a:pt x="2788" y="49"/>
                      </a:lnTo>
                      <a:lnTo>
                        <a:pt x="2774" y="47"/>
                      </a:lnTo>
                      <a:lnTo>
                        <a:pt x="2774" y="47"/>
                      </a:lnTo>
                      <a:lnTo>
                        <a:pt x="2748" y="46"/>
                      </a:lnTo>
                      <a:lnTo>
                        <a:pt x="2732" y="44"/>
                      </a:lnTo>
                      <a:lnTo>
                        <a:pt x="2721" y="40"/>
                      </a:lnTo>
                      <a:lnTo>
                        <a:pt x="2720" y="39"/>
                      </a:lnTo>
                      <a:lnTo>
                        <a:pt x="2720" y="39"/>
                      </a:lnTo>
                      <a:lnTo>
                        <a:pt x="2723" y="35"/>
                      </a:lnTo>
                      <a:lnTo>
                        <a:pt x="2730" y="32"/>
                      </a:lnTo>
                      <a:lnTo>
                        <a:pt x="2755" y="26"/>
                      </a:lnTo>
                      <a:lnTo>
                        <a:pt x="2755" y="26"/>
                      </a:lnTo>
                      <a:lnTo>
                        <a:pt x="2760" y="25"/>
                      </a:lnTo>
                      <a:lnTo>
                        <a:pt x="2763" y="21"/>
                      </a:lnTo>
                      <a:lnTo>
                        <a:pt x="2763" y="19"/>
                      </a:lnTo>
                      <a:lnTo>
                        <a:pt x="2763" y="16"/>
                      </a:lnTo>
                      <a:lnTo>
                        <a:pt x="2760" y="12"/>
                      </a:lnTo>
                      <a:lnTo>
                        <a:pt x="2755" y="9"/>
                      </a:lnTo>
                      <a:lnTo>
                        <a:pt x="2741" y="4"/>
                      </a:lnTo>
                      <a:lnTo>
                        <a:pt x="2721" y="0"/>
                      </a:lnTo>
                      <a:lnTo>
                        <a:pt x="2699" y="0"/>
                      </a:lnTo>
                      <a:lnTo>
                        <a:pt x="2687" y="0"/>
                      </a:lnTo>
                      <a:lnTo>
                        <a:pt x="2673" y="2"/>
                      </a:lnTo>
                      <a:lnTo>
                        <a:pt x="2661" y="5"/>
                      </a:lnTo>
                      <a:lnTo>
                        <a:pt x="2647" y="11"/>
                      </a:lnTo>
                      <a:lnTo>
                        <a:pt x="2647" y="11"/>
                      </a:lnTo>
                      <a:lnTo>
                        <a:pt x="2629" y="19"/>
                      </a:lnTo>
                      <a:lnTo>
                        <a:pt x="2615" y="26"/>
                      </a:lnTo>
                      <a:lnTo>
                        <a:pt x="2605" y="33"/>
                      </a:lnTo>
                      <a:lnTo>
                        <a:pt x="2596" y="40"/>
                      </a:lnTo>
                      <a:lnTo>
                        <a:pt x="2589" y="47"/>
                      </a:lnTo>
                      <a:lnTo>
                        <a:pt x="2586" y="52"/>
                      </a:lnTo>
                      <a:lnTo>
                        <a:pt x="2580" y="61"/>
                      </a:lnTo>
                      <a:lnTo>
                        <a:pt x="2579" y="70"/>
                      </a:lnTo>
                      <a:lnTo>
                        <a:pt x="2575" y="75"/>
                      </a:lnTo>
                      <a:lnTo>
                        <a:pt x="2572" y="77"/>
                      </a:lnTo>
                      <a:lnTo>
                        <a:pt x="2568" y="79"/>
                      </a:lnTo>
                      <a:lnTo>
                        <a:pt x="2554" y="80"/>
                      </a:lnTo>
                      <a:lnTo>
                        <a:pt x="2554" y="80"/>
                      </a:lnTo>
                      <a:lnTo>
                        <a:pt x="2526" y="82"/>
                      </a:lnTo>
                      <a:lnTo>
                        <a:pt x="2514" y="84"/>
                      </a:lnTo>
                      <a:lnTo>
                        <a:pt x="2511" y="84"/>
                      </a:lnTo>
                      <a:lnTo>
                        <a:pt x="2511" y="86"/>
                      </a:lnTo>
                      <a:lnTo>
                        <a:pt x="2513" y="87"/>
                      </a:lnTo>
                      <a:lnTo>
                        <a:pt x="2514" y="91"/>
                      </a:lnTo>
                      <a:lnTo>
                        <a:pt x="2513" y="93"/>
                      </a:lnTo>
                      <a:lnTo>
                        <a:pt x="2511" y="96"/>
                      </a:lnTo>
                      <a:lnTo>
                        <a:pt x="2499" y="101"/>
                      </a:lnTo>
                      <a:lnTo>
                        <a:pt x="2473" y="108"/>
                      </a:lnTo>
                      <a:lnTo>
                        <a:pt x="2473" y="108"/>
                      </a:lnTo>
                      <a:lnTo>
                        <a:pt x="2446" y="112"/>
                      </a:lnTo>
                      <a:lnTo>
                        <a:pt x="2434" y="112"/>
                      </a:lnTo>
                      <a:lnTo>
                        <a:pt x="2431" y="112"/>
                      </a:lnTo>
                      <a:lnTo>
                        <a:pt x="2429" y="110"/>
                      </a:lnTo>
                      <a:lnTo>
                        <a:pt x="2429" y="106"/>
                      </a:lnTo>
                      <a:lnTo>
                        <a:pt x="2429" y="103"/>
                      </a:lnTo>
                      <a:lnTo>
                        <a:pt x="2427" y="101"/>
                      </a:lnTo>
                      <a:lnTo>
                        <a:pt x="2424" y="99"/>
                      </a:lnTo>
                      <a:lnTo>
                        <a:pt x="2419" y="98"/>
                      </a:lnTo>
                      <a:lnTo>
                        <a:pt x="2398" y="98"/>
                      </a:lnTo>
                      <a:lnTo>
                        <a:pt x="2361" y="101"/>
                      </a:lnTo>
                      <a:lnTo>
                        <a:pt x="2361" y="101"/>
                      </a:lnTo>
                      <a:lnTo>
                        <a:pt x="2326" y="106"/>
                      </a:lnTo>
                      <a:lnTo>
                        <a:pt x="2316" y="110"/>
                      </a:lnTo>
                      <a:lnTo>
                        <a:pt x="2309" y="113"/>
                      </a:lnTo>
                      <a:lnTo>
                        <a:pt x="2305" y="115"/>
                      </a:lnTo>
                      <a:lnTo>
                        <a:pt x="2304" y="119"/>
                      </a:lnTo>
                      <a:lnTo>
                        <a:pt x="2305" y="124"/>
                      </a:lnTo>
                      <a:lnTo>
                        <a:pt x="2305" y="126"/>
                      </a:lnTo>
                      <a:lnTo>
                        <a:pt x="2305" y="129"/>
                      </a:lnTo>
                      <a:lnTo>
                        <a:pt x="2304" y="131"/>
                      </a:lnTo>
                      <a:lnTo>
                        <a:pt x="2300" y="134"/>
                      </a:lnTo>
                      <a:lnTo>
                        <a:pt x="2293" y="136"/>
                      </a:lnTo>
                      <a:lnTo>
                        <a:pt x="2281" y="138"/>
                      </a:lnTo>
                      <a:lnTo>
                        <a:pt x="2243" y="141"/>
                      </a:lnTo>
                      <a:lnTo>
                        <a:pt x="2243" y="141"/>
                      </a:lnTo>
                      <a:lnTo>
                        <a:pt x="2201" y="146"/>
                      </a:lnTo>
                      <a:lnTo>
                        <a:pt x="2175" y="150"/>
                      </a:lnTo>
                      <a:lnTo>
                        <a:pt x="2157" y="155"/>
                      </a:lnTo>
                      <a:lnTo>
                        <a:pt x="2149" y="160"/>
                      </a:lnTo>
                      <a:lnTo>
                        <a:pt x="2143" y="166"/>
                      </a:lnTo>
                      <a:lnTo>
                        <a:pt x="2136" y="169"/>
                      </a:lnTo>
                      <a:lnTo>
                        <a:pt x="2126" y="173"/>
                      </a:lnTo>
                      <a:lnTo>
                        <a:pt x="2107" y="174"/>
                      </a:lnTo>
                      <a:lnTo>
                        <a:pt x="2107" y="174"/>
                      </a:lnTo>
                      <a:lnTo>
                        <a:pt x="2096" y="176"/>
                      </a:lnTo>
                      <a:lnTo>
                        <a:pt x="2086" y="178"/>
                      </a:lnTo>
                      <a:lnTo>
                        <a:pt x="2077" y="181"/>
                      </a:lnTo>
                      <a:lnTo>
                        <a:pt x="2070" y="185"/>
                      </a:lnTo>
                      <a:lnTo>
                        <a:pt x="2063" y="190"/>
                      </a:lnTo>
                      <a:lnTo>
                        <a:pt x="2058" y="195"/>
                      </a:lnTo>
                      <a:lnTo>
                        <a:pt x="2055" y="200"/>
                      </a:lnTo>
                      <a:lnTo>
                        <a:pt x="2053" y="206"/>
                      </a:lnTo>
                      <a:lnTo>
                        <a:pt x="2051" y="211"/>
                      </a:lnTo>
                      <a:lnTo>
                        <a:pt x="2051" y="216"/>
                      </a:lnTo>
                      <a:lnTo>
                        <a:pt x="2053" y="221"/>
                      </a:lnTo>
                      <a:lnTo>
                        <a:pt x="2055" y="225"/>
                      </a:lnTo>
                      <a:lnTo>
                        <a:pt x="2058" y="230"/>
                      </a:lnTo>
                      <a:lnTo>
                        <a:pt x="2063" y="232"/>
                      </a:lnTo>
                      <a:lnTo>
                        <a:pt x="2069" y="235"/>
                      </a:lnTo>
                      <a:lnTo>
                        <a:pt x="2074" y="235"/>
                      </a:lnTo>
                      <a:lnTo>
                        <a:pt x="2074" y="235"/>
                      </a:lnTo>
                      <a:lnTo>
                        <a:pt x="2084" y="239"/>
                      </a:lnTo>
                      <a:lnTo>
                        <a:pt x="2091" y="241"/>
                      </a:lnTo>
                      <a:lnTo>
                        <a:pt x="2093" y="244"/>
                      </a:lnTo>
                      <a:lnTo>
                        <a:pt x="2091" y="247"/>
                      </a:lnTo>
                      <a:lnTo>
                        <a:pt x="2084" y="253"/>
                      </a:lnTo>
                      <a:lnTo>
                        <a:pt x="2076" y="256"/>
                      </a:lnTo>
                      <a:lnTo>
                        <a:pt x="2062" y="261"/>
                      </a:lnTo>
                      <a:lnTo>
                        <a:pt x="2046" y="265"/>
                      </a:lnTo>
                      <a:lnTo>
                        <a:pt x="2046" y="265"/>
                      </a:lnTo>
                      <a:lnTo>
                        <a:pt x="2016" y="270"/>
                      </a:lnTo>
                      <a:lnTo>
                        <a:pt x="1987" y="272"/>
                      </a:lnTo>
                      <a:lnTo>
                        <a:pt x="1933" y="274"/>
                      </a:lnTo>
                      <a:lnTo>
                        <a:pt x="1908" y="274"/>
                      </a:lnTo>
                      <a:lnTo>
                        <a:pt x="1887" y="277"/>
                      </a:lnTo>
                      <a:lnTo>
                        <a:pt x="1879" y="279"/>
                      </a:lnTo>
                      <a:lnTo>
                        <a:pt x="1870" y="282"/>
                      </a:lnTo>
                      <a:lnTo>
                        <a:pt x="1865" y="286"/>
                      </a:lnTo>
                      <a:lnTo>
                        <a:pt x="1860" y="291"/>
                      </a:lnTo>
                      <a:lnTo>
                        <a:pt x="1860" y="291"/>
                      </a:lnTo>
                      <a:lnTo>
                        <a:pt x="1854" y="300"/>
                      </a:lnTo>
                      <a:lnTo>
                        <a:pt x="1853" y="301"/>
                      </a:lnTo>
                      <a:lnTo>
                        <a:pt x="1854" y="305"/>
                      </a:lnTo>
                      <a:lnTo>
                        <a:pt x="1858" y="307"/>
                      </a:lnTo>
                      <a:lnTo>
                        <a:pt x="1865" y="308"/>
                      </a:lnTo>
                      <a:lnTo>
                        <a:pt x="1870" y="312"/>
                      </a:lnTo>
                      <a:lnTo>
                        <a:pt x="1875" y="315"/>
                      </a:lnTo>
                      <a:lnTo>
                        <a:pt x="1877" y="319"/>
                      </a:lnTo>
                      <a:lnTo>
                        <a:pt x="1877" y="322"/>
                      </a:lnTo>
                      <a:lnTo>
                        <a:pt x="1875" y="328"/>
                      </a:lnTo>
                      <a:lnTo>
                        <a:pt x="1872" y="333"/>
                      </a:lnTo>
                      <a:lnTo>
                        <a:pt x="1872" y="333"/>
                      </a:lnTo>
                      <a:lnTo>
                        <a:pt x="1868" y="340"/>
                      </a:lnTo>
                      <a:lnTo>
                        <a:pt x="1868" y="345"/>
                      </a:lnTo>
                      <a:lnTo>
                        <a:pt x="1868" y="348"/>
                      </a:lnTo>
                      <a:lnTo>
                        <a:pt x="1872" y="352"/>
                      </a:lnTo>
                      <a:lnTo>
                        <a:pt x="1879" y="355"/>
                      </a:lnTo>
                      <a:lnTo>
                        <a:pt x="1891" y="357"/>
                      </a:lnTo>
                      <a:lnTo>
                        <a:pt x="1901" y="359"/>
                      </a:lnTo>
                      <a:lnTo>
                        <a:pt x="1914" y="362"/>
                      </a:lnTo>
                      <a:lnTo>
                        <a:pt x="1917" y="364"/>
                      </a:lnTo>
                      <a:lnTo>
                        <a:pt x="1921" y="366"/>
                      </a:lnTo>
                      <a:lnTo>
                        <a:pt x="1924" y="371"/>
                      </a:lnTo>
                      <a:lnTo>
                        <a:pt x="1926" y="375"/>
                      </a:lnTo>
                      <a:lnTo>
                        <a:pt x="1926" y="375"/>
                      </a:lnTo>
                      <a:lnTo>
                        <a:pt x="1926" y="380"/>
                      </a:lnTo>
                      <a:lnTo>
                        <a:pt x="1929" y="383"/>
                      </a:lnTo>
                      <a:lnTo>
                        <a:pt x="1931" y="387"/>
                      </a:lnTo>
                      <a:lnTo>
                        <a:pt x="1936" y="388"/>
                      </a:lnTo>
                      <a:lnTo>
                        <a:pt x="1947" y="390"/>
                      </a:lnTo>
                      <a:lnTo>
                        <a:pt x="1957" y="390"/>
                      </a:lnTo>
                      <a:lnTo>
                        <a:pt x="1966" y="392"/>
                      </a:lnTo>
                      <a:lnTo>
                        <a:pt x="1969" y="394"/>
                      </a:lnTo>
                      <a:lnTo>
                        <a:pt x="1971" y="395"/>
                      </a:lnTo>
                      <a:lnTo>
                        <a:pt x="1973" y="399"/>
                      </a:lnTo>
                      <a:lnTo>
                        <a:pt x="1973" y="404"/>
                      </a:lnTo>
                      <a:lnTo>
                        <a:pt x="1971" y="409"/>
                      </a:lnTo>
                      <a:lnTo>
                        <a:pt x="1968" y="418"/>
                      </a:lnTo>
                      <a:lnTo>
                        <a:pt x="1968" y="418"/>
                      </a:lnTo>
                      <a:lnTo>
                        <a:pt x="1964" y="425"/>
                      </a:lnTo>
                      <a:lnTo>
                        <a:pt x="1962" y="432"/>
                      </a:lnTo>
                      <a:lnTo>
                        <a:pt x="1962" y="439"/>
                      </a:lnTo>
                      <a:lnTo>
                        <a:pt x="1964" y="444"/>
                      </a:lnTo>
                      <a:lnTo>
                        <a:pt x="1968" y="451"/>
                      </a:lnTo>
                      <a:lnTo>
                        <a:pt x="1975" y="458"/>
                      </a:lnTo>
                      <a:lnTo>
                        <a:pt x="1980" y="465"/>
                      </a:lnTo>
                      <a:lnTo>
                        <a:pt x="1981" y="469"/>
                      </a:lnTo>
                      <a:lnTo>
                        <a:pt x="1981" y="472"/>
                      </a:lnTo>
                      <a:lnTo>
                        <a:pt x="1981" y="476"/>
                      </a:lnTo>
                      <a:lnTo>
                        <a:pt x="1980" y="481"/>
                      </a:lnTo>
                      <a:lnTo>
                        <a:pt x="1976" y="486"/>
                      </a:lnTo>
                      <a:lnTo>
                        <a:pt x="1969" y="491"/>
                      </a:lnTo>
                      <a:lnTo>
                        <a:pt x="1969" y="491"/>
                      </a:lnTo>
                      <a:lnTo>
                        <a:pt x="1957" y="500"/>
                      </a:lnTo>
                      <a:lnTo>
                        <a:pt x="1955" y="500"/>
                      </a:lnTo>
                      <a:lnTo>
                        <a:pt x="1954" y="500"/>
                      </a:lnTo>
                      <a:lnTo>
                        <a:pt x="1954" y="491"/>
                      </a:lnTo>
                      <a:lnTo>
                        <a:pt x="1957" y="479"/>
                      </a:lnTo>
                      <a:lnTo>
                        <a:pt x="1959" y="467"/>
                      </a:lnTo>
                      <a:lnTo>
                        <a:pt x="1959" y="460"/>
                      </a:lnTo>
                      <a:lnTo>
                        <a:pt x="1959" y="455"/>
                      </a:lnTo>
                      <a:lnTo>
                        <a:pt x="1957" y="451"/>
                      </a:lnTo>
                      <a:lnTo>
                        <a:pt x="1954" y="449"/>
                      </a:lnTo>
                      <a:lnTo>
                        <a:pt x="1948" y="448"/>
                      </a:lnTo>
                      <a:lnTo>
                        <a:pt x="1941" y="449"/>
                      </a:lnTo>
                      <a:lnTo>
                        <a:pt x="1941" y="449"/>
                      </a:lnTo>
                      <a:lnTo>
                        <a:pt x="1934" y="451"/>
                      </a:lnTo>
                      <a:lnTo>
                        <a:pt x="1929" y="453"/>
                      </a:lnTo>
                      <a:lnTo>
                        <a:pt x="1928" y="451"/>
                      </a:lnTo>
                      <a:lnTo>
                        <a:pt x="1928" y="449"/>
                      </a:lnTo>
                      <a:lnTo>
                        <a:pt x="1933" y="441"/>
                      </a:lnTo>
                      <a:lnTo>
                        <a:pt x="1941" y="430"/>
                      </a:lnTo>
                      <a:lnTo>
                        <a:pt x="1948" y="420"/>
                      </a:lnTo>
                      <a:lnTo>
                        <a:pt x="1950" y="415"/>
                      </a:lnTo>
                      <a:lnTo>
                        <a:pt x="1952" y="411"/>
                      </a:lnTo>
                      <a:lnTo>
                        <a:pt x="1950" y="408"/>
                      </a:lnTo>
                      <a:lnTo>
                        <a:pt x="1947" y="404"/>
                      </a:lnTo>
                      <a:lnTo>
                        <a:pt x="1941" y="402"/>
                      </a:lnTo>
                      <a:lnTo>
                        <a:pt x="1931" y="402"/>
                      </a:lnTo>
                      <a:lnTo>
                        <a:pt x="1931" y="402"/>
                      </a:lnTo>
                      <a:lnTo>
                        <a:pt x="1914" y="401"/>
                      </a:lnTo>
                      <a:lnTo>
                        <a:pt x="1900" y="397"/>
                      </a:lnTo>
                      <a:lnTo>
                        <a:pt x="1889" y="392"/>
                      </a:lnTo>
                      <a:lnTo>
                        <a:pt x="1882" y="385"/>
                      </a:lnTo>
                      <a:lnTo>
                        <a:pt x="1874" y="378"/>
                      </a:lnTo>
                      <a:lnTo>
                        <a:pt x="1861" y="371"/>
                      </a:lnTo>
                      <a:lnTo>
                        <a:pt x="1846" y="364"/>
                      </a:lnTo>
                      <a:lnTo>
                        <a:pt x="1823" y="361"/>
                      </a:lnTo>
                      <a:lnTo>
                        <a:pt x="1823" y="361"/>
                      </a:lnTo>
                      <a:lnTo>
                        <a:pt x="1809" y="359"/>
                      </a:lnTo>
                      <a:lnTo>
                        <a:pt x="1797" y="357"/>
                      </a:lnTo>
                      <a:lnTo>
                        <a:pt x="1786" y="359"/>
                      </a:lnTo>
                      <a:lnTo>
                        <a:pt x="1780" y="361"/>
                      </a:lnTo>
                      <a:lnTo>
                        <a:pt x="1773" y="362"/>
                      </a:lnTo>
                      <a:lnTo>
                        <a:pt x="1767" y="366"/>
                      </a:lnTo>
                      <a:lnTo>
                        <a:pt x="1762" y="371"/>
                      </a:lnTo>
                      <a:lnTo>
                        <a:pt x="1759" y="378"/>
                      </a:lnTo>
                      <a:lnTo>
                        <a:pt x="1757" y="385"/>
                      </a:lnTo>
                      <a:lnTo>
                        <a:pt x="1755" y="387"/>
                      </a:lnTo>
                      <a:lnTo>
                        <a:pt x="1752" y="387"/>
                      </a:lnTo>
                      <a:lnTo>
                        <a:pt x="1748" y="387"/>
                      </a:lnTo>
                      <a:lnTo>
                        <a:pt x="1748" y="387"/>
                      </a:lnTo>
                      <a:lnTo>
                        <a:pt x="1736" y="383"/>
                      </a:lnTo>
                      <a:lnTo>
                        <a:pt x="1724" y="383"/>
                      </a:lnTo>
                      <a:lnTo>
                        <a:pt x="1715" y="385"/>
                      </a:lnTo>
                      <a:lnTo>
                        <a:pt x="1708" y="390"/>
                      </a:lnTo>
                      <a:lnTo>
                        <a:pt x="1706" y="394"/>
                      </a:lnTo>
                      <a:lnTo>
                        <a:pt x="1706" y="397"/>
                      </a:lnTo>
                      <a:lnTo>
                        <a:pt x="1706" y="401"/>
                      </a:lnTo>
                      <a:lnTo>
                        <a:pt x="1708" y="404"/>
                      </a:lnTo>
                      <a:lnTo>
                        <a:pt x="1713" y="408"/>
                      </a:lnTo>
                      <a:lnTo>
                        <a:pt x="1719" y="411"/>
                      </a:lnTo>
                      <a:lnTo>
                        <a:pt x="1734" y="418"/>
                      </a:lnTo>
                      <a:lnTo>
                        <a:pt x="1734" y="418"/>
                      </a:lnTo>
                      <a:lnTo>
                        <a:pt x="1750" y="423"/>
                      </a:lnTo>
                      <a:lnTo>
                        <a:pt x="1759" y="429"/>
                      </a:lnTo>
                      <a:lnTo>
                        <a:pt x="1760" y="430"/>
                      </a:lnTo>
                      <a:lnTo>
                        <a:pt x="1760" y="432"/>
                      </a:lnTo>
                      <a:lnTo>
                        <a:pt x="1759" y="434"/>
                      </a:lnTo>
                      <a:lnTo>
                        <a:pt x="1750" y="436"/>
                      </a:lnTo>
                      <a:lnTo>
                        <a:pt x="1738" y="436"/>
                      </a:lnTo>
                      <a:lnTo>
                        <a:pt x="1705" y="432"/>
                      </a:lnTo>
                      <a:lnTo>
                        <a:pt x="1705" y="432"/>
                      </a:lnTo>
                      <a:lnTo>
                        <a:pt x="1698" y="430"/>
                      </a:lnTo>
                      <a:lnTo>
                        <a:pt x="1691" y="429"/>
                      </a:lnTo>
                      <a:lnTo>
                        <a:pt x="1687" y="425"/>
                      </a:lnTo>
                      <a:lnTo>
                        <a:pt x="1685" y="420"/>
                      </a:lnTo>
                      <a:lnTo>
                        <a:pt x="1684" y="415"/>
                      </a:lnTo>
                      <a:lnTo>
                        <a:pt x="1684" y="409"/>
                      </a:lnTo>
                      <a:lnTo>
                        <a:pt x="1687" y="397"/>
                      </a:lnTo>
                      <a:lnTo>
                        <a:pt x="1691" y="383"/>
                      </a:lnTo>
                      <a:lnTo>
                        <a:pt x="1694" y="369"/>
                      </a:lnTo>
                      <a:lnTo>
                        <a:pt x="1696" y="355"/>
                      </a:lnTo>
                      <a:lnTo>
                        <a:pt x="1694" y="350"/>
                      </a:lnTo>
                      <a:lnTo>
                        <a:pt x="1692" y="345"/>
                      </a:lnTo>
                      <a:lnTo>
                        <a:pt x="1692" y="345"/>
                      </a:lnTo>
                      <a:lnTo>
                        <a:pt x="1685" y="336"/>
                      </a:lnTo>
                      <a:lnTo>
                        <a:pt x="1680" y="329"/>
                      </a:lnTo>
                      <a:lnTo>
                        <a:pt x="1673" y="326"/>
                      </a:lnTo>
                      <a:lnTo>
                        <a:pt x="1670" y="324"/>
                      </a:lnTo>
                      <a:lnTo>
                        <a:pt x="1666" y="326"/>
                      </a:lnTo>
                      <a:lnTo>
                        <a:pt x="1665" y="331"/>
                      </a:lnTo>
                      <a:lnTo>
                        <a:pt x="1665" y="340"/>
                      </a:lnTo>
                      <a:lnTo>
                        <a:pt x="1668" y="352"/>
                      </a:lnTo>
                      <a:lnTo>
                        <a:pt x="1668" y="352"/>
                      </a:lnTo>
                      <a:lnTo>
                        <a:pt x="1670" y="361"/>
                      </a:lnTo>
                      <a:lnTo>
                        <a:pt x="1670" y="368"/>
                      </a:lnTo>
                      <a:lnTo>
                        <a:pt x="1666" y="375"/>
                      </a:lnTo>
                      <a:lnTo>
                        <a:pt x="1661" y="380"/>
                      </a:lnTo>
                      <a:lnTo>
                        <a:pt x="1656" y="383"/>
                      </a:lnTo>
                      <a:lnTo>
                        <a:pt x="1649" y="387"/>
                      </a:lnTo>
                      <a:lnTo>
                        <a:pt x="1633" y="392"/>
                      </a:lnTo>
                      <a:lnTo>
                        <a:pt x="1619" y="397"/>
                      </a:lnTo>
                      <a:lnTo>
                        <a:pt x="1614" y="401"/>
                      </a:lnTo>
                      <a:lnTo>
                        <a:pt x="1611" y="404"/>
                      </a:lnTo>
                      <a:lnTo>
                        <a:pt x="1607" y="409"/>
                      </a:lnTo>
                      <a:lnTo>
                        <a:pt x="1607" y="415"/>
                      </a:lnTo>
                      <a:lnTo>
                        <a:pt x="1611" y="422"/>
                      </a:lnTo>
                      <a:lnTo>
                        <a:pt x="1616" y="430"/>
                      </a:lnTo>
                      <a:lnTo>
                        <a:pt x="1616" y="430"/>
                      </a:lnTo>
                      <a:lnTo>
                        <a:pt x="1637" y="455"/>
                      </a:lnTo>
                      <a:lnTo>
                        <a:pt x="1642" y="462"/>
                      </a:lnTo>
                      <a:lnTo>
                        <a:pt x="1645" y="469"/>
                      </a:lnTo>
                      <a:lnTo>
                        <a:pt x="1645" y="476"/>
                      </a:lnTo>
                      <a:lnTo>
                        <a:pt x="1644" y="483"/>
                      </a:lnTo>
                      <a:lnTo>
                        <a:pt x="1638" y="491"/>
                      </a:lnTo>
                      <a:lnTo>
                        <a:pt x="1630" y="503"/>
                      </a:lnTo>
                      <a:lnTo>
                        <a:pt x="1630" y="503"/>
                      </a:lnTo>
                      <a:lnTo>
                        <a:pt x="1621" y="514"/>
                      </a:lnTo>
                      <a:lnTo>
                        <a:pt x="1618" y="523"/>
                      </a:lnTo>
                      <a:lnTo>
                        <a:pt x="1618" y="530"/>
                      </a:lnTo>
                      <a:lnTo>
                        <a:pt x="1619" y="535"/>
                      </a:lnTo>
                      <a:lnTo>
                        <a:pt x="1626" y="545"/>
                      </a:lnTo>
                      <a:lnTo>
                        <a:pt x="1628" y="550"/>
                      </a:lnTo>
                      <a:lnTo>
                        <a:pt x="1630" y="559"/>
                      </a:lnTo>
                      <a:lnTo>
                        <a:pt x="1630" y="559"/>
                      </a:lnTo>
                      <a:lnTo>
                        <a:pt x="1630" y="564"/>
                      </a:lnTo>
                      <a:lnTo>
                        <a:pt x="1631" y="568"/>
                      </a:lnTo>
                      <a:lnTo>
                        <a:pt x="1635" y="568"/>
                      </a:lnTo>
                      <a:lnTo>
                        <a:pt x="1638" y="570"/>
                      </a:lnTo>
                      <a:lnTo>
                        <a:pt x="1651" y="568"/>
                      </a:lnTo>
                      <a:lnTo>
                        <a:pt x="1665" y="564"/>
                      </a:lnTo>
                      <a:lnTo>
                        <a:pt x="1682" y="561"/>
                      </a:lnTo>
                      <a:lnTo>
                        <a:pt x="1701" y="559"/>
                      </a:lnTo>
                      <a:lnTo>
                        <a:pt x="1712" y="561"/>
                      </a:lnTo>
                      <a:lnTo>
                        <a:pt x="1722" y="563"/>
                      </a:lnTo>
                      <a:lnTo>
                        <a:pt x="1731" y="566"/>
                      </a:lnTo>
                      <a:lnTo>
                        <a:pt x="1741" y="571"/>
                      </a:lnTo>
                      <a:lnTo>
                        <a:pt x="1741" y="571"/>
                      </a:lnTo>
                      <a:lnTo>
                        <a:pt x="1757" y="582"/>
                      </a:lnTo>
                      <a:lnTo>
                        <a:pt x="1767" y="590"/>
                      </a:lnTo>
                      <a:lnTo>
                        <a:pt x="1773" y="599"/>
                      </a:lnTo>
                      <a:lnTo>
                        <a:pt x="1774" y="604"/>
                      </a:lnTo>
                      <a:lnTo>
                        <a:pt x="1774" y="610"/>
                      </a:lnTo>
                      <a:lnTo>
                        <a:pt x="1771" y="615"/>
                      </a:lnTo>
                      <a:lnTo>
                        <a:pt x="1766" y="624"/>
                      </a:lnTo>
                      <a:lnTo>
                        <a:pt x="1766" y="624"/>
                      </a:lnTo>
                      <a:lnTo>
                        <a:pt x="1760" y="636"/>
                      </a:lnTo>
                      <a:lnTo>
                        <a:pt x="1753" y="648"/>
                      </a:lnTo>
                      <a:lnTo>
                        <a:pt x="1750" y="651"/>
                      </a:lnTo>
                      <a:lnTo>
                        <a:pt x="1748" y="651"/>
                      </a:lnTo>
                      <a:lnTo>
                        <a:pt x="1748" y="648"/>
                      </a:lnTo>
                      <a:lnTo>
                        <a:pt x="1750" y="637"/>
                      </a:lnTo>
                      <a:lnTo>
                        <a:pt x="1750" y="637"/>
                      </a:lnTo>
                      <a:lnTo>
                        <a:pt x="1752" y="625"/>
                      </a:lnTo>
                      <a:lnTo>
                        <a:pt x="1752" y="613"/>
                      </a:lnTo>
                      <a:lnTo>
                        <a:pt x="1748" y="601"/>
                      </a:lnTo>
                      <a:lnTo>
                        <a:pt x="1743" y="590"/>
                      </a:lnTo>
                      <a:lnTo>
                        <a:pt x="1738" y="585"/>
                      </a:lnTo>
                      <a:lnTo>
                        <a:pt x="1732" y="582"/>
                      </a:lnTo>
                      <a:lnTo>
                        <a:pt x="1727" y="580"/>
                      </a:lnTo>
                      <a:lnTo>
                        <a:pt x="1720" y="577"/>
                      </a:lnTo>
                      <a:lnTo>
                        <a:pt x="1712" y="577"/>
                      </a:lnTo>
                      <a:lnTo>
                        <a:pt x="1703" y="577"/>
                      </a:lnTo>
                      <a:lnTo>
                        <a:pt x="1692" y="578"/>
                      </a:lnTo>
                      <a:lnTo>
                        <a:pt x="1682" y="582"/>
                      </a:lnTo>
                      <a:lnTo>
                        <a:pt x="1682" y="582"/>
                      </a:lnTo>
                      <a:lnTo>
                        <a:pt x="1672" y="585"/>
                      </a:lnTo>
                      <a:lnTo>
                        <a:pt x="1665" y="590"/>
                      </a:lnTo>
                      <a:lnTo>
                        <a:pt x="1659" y="594"/>
                      </a:lnTo>
                      <a:lnTo>
                        <a:pt x="1656" y="599"/>
                      </a:lnTo>
                      <a:lnTo>
                        <a:pt x="1654" y="604"/>
                      </a:lnTo>
                      <a:lnTo>
                        <a:pt x="1654" y="610"/>
                      </a:lnTo>
                      <a:lnTo>
                        <a:pt x="1658" y="622"/>
                      </a:lnTo>
                      <a:lnTo>
                        <a:pt x="1661" y="632"/>
                      </a:lnTo>
                      <a:lnTo>
                        <a:pt x="1665" y="643"/>
                      </a:lnTo>
                      <a:lnTo>
                        <a:pt x="1665" y="648"/>
                      </a:lnTo>
                      <a:lnTo>
                        <a:pt x="1663" y="651"/>
                      </a:lnTo>
                      <a:lnTo>
                        <a:pt x="1659" y="657"/>
                      </a:lnTo>
                      <a:lnTo>
                        <a:pt x="1654" y="660"/>
                      </a:lnTo>
                      <a:lnTo>
                        <a:pt x="1654" y="660"/>
                      </a:lnTo>
                      <a:lnTo>
                        <a:pt x="1644" y="665"/>
                      </a:lnTo>
                      <a:lnTo>
                        <a:pt x="1637" y="672"/>
                      </a:lnTo>
                      <a:lnTo>
                        <a:pt x="1633" y="679"/>
                      </a:lnTo>
                      <a:lnTo>
                        <a:pt x="1631" y="686"/>
                      </a:lnTo>
                      <a:lnTo>
                        <a:pt x="1630" y="693"/>
                      </a:lnTo>
                      <a:lnTo>
                        <a:pt x="1625" y="700"/>
                      </a:lnTo>
                      <a:lnTo>
                        <a:pt x="1618" y="707"/>
                      </a:lnTo>
                      <a:lnTo>
                        <a:pt x="1605" y="714"/>
                      </a:lnTo>
                      <a:lnTo>
                        <a:pt x="1605" y="714"/>
                      </a:lnTo>
                      <a:lnTo>
                        <a:pt x="1593" y="721"/>
                      </a:lnTo>
                      <a:lnTo>
                        <a:pt x="1586" y="726"/>
                      </a:lnTo>
                      <a:lnTo>
                        <a:pt x="1579" y="738"/>
                      </a:lnTo>
                      <a:lnTo>
                        <a:pt x="1574" y="742"/>
                      </a:lnTo>
                      <a:lnTo>
                        <a:pt x="1564" y="744"/>
                      </a:lnTo>
                      <a:lnTo>
                        <a:pt x="1548" y="742"/>
                      </a:lnTo>
                      <a:lnTo>
                        <a:pt x="1522" y="738"/>
                      </a:lnTo>
                      <a:lnTo>
                        <a:pt x="1522" y="738"/>
                      </a:lnTo>
                      <a:lnTo>
                        <a:pt x="1499" y="733"/>
                      </a:lnTo>
                      <a:lnTo>
                        <a:pt x="1492" y="730"/>
                      </a:lnTo>
                      <a:lnTo>
                        <a:pt x="1492" y="728"/>
                      </a:lnTo>
                      <a:lnTo>
                        <a:pt x="1496" y="728"/>
                      </a:lnTo>
                      <a:lnTo>
                        <a:pt x="1508" y="725"/>
                      </a:lnTo>
                      <a:lnTo>
                        <a:pt x="1524" y="721"/>
                      </a:lnTo>
                      <a:lnTo>
                        <a:pt x="1543" y="714"/>
                      </a:lnTo>
                      <a:lnTo>
                        <a:pt x="1551" y="709"/>
                      </a:lnTo>
                      <a:lnTo>
                        <a:pt x="1560" y="704"/>
                      </a:lnTo>
                      <a:lnTo>
                        <a:pt x="1567" y="697"/>
                      </a:lnTo>
                      <a:lnTo>
                        <a:pt x="1572" y="688"/>
                      </a:lnTo>
                      <a:lnTo>
                        <a:pt x="1572" y="688"/>
                      </a:lnTo>
                      <a:lnTo>
                        <a:pt x="1581" y="674"/>
                      </a:lnTo>
                      <a:lnTo>
                        <a:pt x="1588" y="665"/>
                      </a:lnTo>
                      <a:lnTo>
                        <a:pt x="1595" y="660"/>
                      </a:lnTo>
                      <a:lnTo>
                        <a:pt x="1600" y="657"/>
                      </a:lnTo>
                      <a:lnTo>
                        <a:pt x="1605" y="655"/>
                      </a:lnTo>
                      <a:lnTo>
                        <a:pt x="1609" y="650"/>
                      </a:lnTo>
                      <a:lnTo>
                        <a:pt x="1612" y="643"/>
                      </a:lnTo>
                      <a:lnTo>
                        <a:pt x="1616" y="631"/>
                      </a:lnTo>
                      <a:lnTo>
                        <a:pt x="1616" y="631"/>
                      </a:lnTo>
                      <a:lnTo>
                        <a:pt x="1616" y="617"/>
                      </a:lnTo>
                      <a:lnTo>
                        <a:pt x="1612" y="606"/>
                      </a:lnTo>
                      <a:lnTo>
                        <a:pt x="1607" y="597"/>
                      </a:lnTo>
                      <a:lnTo>
                        <a:pt x="1600" y="589"/>
                      </a:lnTo>
                      <a:lnTo>
                        <a:pt x="1593" y="580"/>
                      </a:lnTo>
                      <a:lnTo>
                        <a:pt x="1588" y="570"/>
                      </a:lnTo>
                      <a:lnTo>
                        <a:pt x="1584" y="557"/>
                      </a:lnTo>
                      <a:lnTo>
                        <a:pt x="1586" y="540"/>
                      </a:lnTo>
                      <a:lnTo>
                        <a:pt x="1586" y="540"/>
                      </a:lnTo>
                      <a:lnTo>
                        <a:pt x="1591" y="503"/>
                      </a:lnTo>
                      <a:lnTo>
                        <a:pt x="1593" y="489"/>
                      </a:lnTo>
                      <a:lnTo>
                        <a:pt x="1595" y="476"/>
                      </a:lnTo>
                      <a:lnTo>
                        <a:pt x="1593" y="463"/>
                      </a:lnTo>
                      <a:lnTo>
                        <a:pt x="1590" y="453"/>
                      </a:lnTo>
                      <a:lnTo>
                        <a:pt x="1583" y="442"/>
                      </a:lnTo>
                      <a:lnTo>
                        <a:pt x="1571" y="430"/>
                      </a:lnTo>
                      <a:lnTo>
                        <a:pt x="1571" y="430"/>
                      </a:lnTo>
                      <a:lnTo>
                        <a:pt x="1562" y="422"/>
                      </a:lnTo>
                      <a:lnTo>
                        <a:pt x="1560" y="418"/>
                      </a:lnTo>
                      <a:lnTo>
                        <a:pt x="1560" y="415"/>
                      </a:lnTo>
                      <a:lnTo>
                        <a:pt x="1560" y="411"/>
                      </a:lnTo>
                      <a:lnTo>
                        <a:pt x="1564" y="409"/>
                      </a:lnTo>
                      <a:lnTo>
                        <a:pt x="1571" y="404"/>
                      </a:lnTo>
                      <a:lnTo>
                        <a:pt x="1579" y="397"/>
                      </a:lnTo>
                      <a:lnTo>
                        <a:pt x="1588" y="388"/>
                      </a:lnTo>
                      <a:lnTo>
                        <a:pt x="1591" y="383"/>
                      </a:lnTo>
                      <a:lnTo>
                        <a:pt x="1595" y="378"/>
                      </a:lnTo>
                      <a:lnTo>
                        <a:pt x="1597" y="371"/>
                      </a:lnTo>
                      <a:lnTo>
                        <a:pt x="1597" y="362"/>
                      </a:lnTo>
                      <a:lnTo>
                        <a:pt x="1597" y="362"/>
                      </a:lnTo>
                      <a:lnTo>
                        <a:pt x="1597" y="354"/>
                      </a:lnTo>
                      <a:lnTo>
                        <a:pt x="1593" y="345"/>
                      </a:lnTo>
                      <a:lnTo>
                        <a:pt x="1590" y="338"/>
                      </a:lnTo>
                      <a:lnTo>
                        <a:pt x="1584" y="335"/>
                      </a:lnTo>
                      <a:lnTo>
                        <a:pt x="1578" y="331"/>
                      </a:lnTo>
                      <a:lnTo>
                        <a:pt x="1571" y="328"/>
                      </a:lnTo>
                      <a:lnTo>
                        <a:pt x="1553" y="326"/>
                      </a:lnTo>
                      <a:lnTo>
                        <a:pt x="1536" y="326"/>
                      </a:lnTo>
                      <a:lnTo>
                        <a:pt x="1517" y="328"/>
                      </a:lnTo>
                      <a:lnTo>
                        <a:pt x="1499" y="328"/>
                      </a:lnTo>
                      <a:lnTo>
                        <a:pt x="1485" y="326"/>
                      </a:lnTo>
                      <a:lnTo>
                        <a:pt x="1485" y="326"/>
                      </a:lnTo>
                      <a:lnTo>
                        <a:pt x="1478" y="324"/>
                      </a:lnTo>
                      <a:lnTo>
                        <a:pt x="1471" y="326"/>
                      </a:lnTo>
                      <a:lnTo>
                        <a:pt x="1468" y="329"/>
                      </a:lnTo>
                      <a:lnTo>
                        <a:pt x="1463" y="335"/>
                      </a:lnTo>
                      <a:lnTo>
                        <a:pt x="1456" y="347"/>
                      </a:lnTo>
                      <a:lnTo>
                        <a:pt x="1450" y="364"/>
                      </a:lnTo>
                      <a:lnTo>
                        <a:pt x="1443" y="382"/>
                      </a:lnTo>
                      <a:lnTo>
                        <a:pt x="1436" y="399"/>
                      </a:lnTo>
                      <a:lnTo>
                        <a:pt x="1430" y="408"/>
                      </a:lnTo>
                      <a:lnTo>
                        <a:pt x="1424" y="415"/>
                      </a:lnTo>
                      <a:lnTo>
                        <a:pt x="1417" y="422"/>
                      </a:lnTo>
                      <a:lnTo>
                        <a:pt x="1407" y="425"/>
                      </a:lnTo>
                      <a:lnTo>
                        <a:pt x="1407" y="425"/>
                      </a:lnTo>
                      <a:lnTo>
                        <a:pt x="1388" y="436"/>
                      </a:lnTo>
                      <a:lnTo>
                        <a:pt x="1383" y="439"/>
                      </a:lnTo>
                      <a:lnTo>
                        <a:pt x="1379" y="444"/>
                      </a:lnTo>
                      <a:lnTo>
                        <a:pt x="1377" y="448"/>
                      </a:lnTo>
                      <a:lnTo>
                        <a:pt x="1379" y="451"/>
                      </a:lnTo>
                      <a:lnTo>
                        <a:pt x="1384" y="458"/>
                      </a:lnTo>
                      <a:lnTo>
                        <a:pt x="1391" y="467"/>
                      </a:lnTo>
                      <a:lnTo>
                        <a:pt x="1395" y="470"/>
                      </a:lnTo>
                      <a:lnTo>
                        <a:pt x="1396" y="476"/>
                      </a:lnTo>
                      <a:lnTo>
                        <a:pt x="1398" y="483"/>
                      </a:lnTo>
                      <a:lnTo>
                        <a:pt x="1396" y="488"/>
                      </a:lnTo>
                      <a:lnTo>
                        <a:pt x="1395" y="496"/>
                      </a:lnTo>
                      <a:lnTo>
                        <a:pt x="1389" y="505"/>
                      </a:lnTo>
                      <a:lnTo>
                        <a:pt x="1389" y="505"/>
                      </a:lnTo>
                      <a:lnTo>
                        <a:pt x="1384" y="514"/>
                      </a:lnTo>
                      <a:lnTo>
                        <a:pt x="1383" y="521"/>
                      </a:lnTo>
                      <a:lnTo>
                        <a:pt x="1384" y="528"/>
                      </a:lnTo>
                      <a:lnTo>
                        <a:pt x="1388" y="535"/>
                      </a:lnTo>
                      <a:lnTo>
                        <a:pt x="1395" y="540"/>
                      </a:lnTo>
                      <a:lnTo>
                        <a:pt x="1402" y="545"/>
                      </a:lnTo>
                      <a:lnTo>
                        <a:pt x="1421" y="554"/>
                      </a:lnTo>
                      <a:lnTo>
                        <a:pt x="1438" y="564"/>
                      </a:lnTo>
                      <a:lnTo>
                        <a:pt x="1447" y="570"/>
                      </a:lnTo>
                      <a:lnTo>
                        <a:pt x="1452" y="575"/>
                      </a:lnTo>
                      <a:lnTo>
                        <a:pt x="1457" y="580"/>
                      </a:lnTo>
                      <a:lnTo>
                        <a:pt x="1459" y="587"/>
                      </a:lnTo>
                      <a:lnTo>
                        <a:pt x="1459" y="594"/>
                      </a:lnTo>
                      <a:lnTo>
                        <a:pt x="1454" y="601"/>
                      </a:lnTo>
                      <a:lnTo>
                        <a:pt x="1454" y="601"/>
                      </a:lnTo>
                      <a:lnTo>
                        <a:pt x="1445" y="615"/>
                      </a:lnTo>
                      <a:lnTo>
                        <a:pt x="1442" y="618"/>
                      </a:lnTo>
                      <a:lnTo>
                        <a:pt x="1438" y="620"/>
                      </a:lnTo>
                      <a:lnTo>
                        <a:pt x="1435" y="620"/>
                      </a:lnTo>
                      <a:lnTo>
                        <a:pt x="1431" y="618"/>
                      </a:lnTo>
                      <a:lnTo>
                        <a:pt x="1423" y="613"/>
                      </a:lnTo>
                      <a:lnTo>
                        <a:pt x="1410" y="603"/>
                      </a:lnTo>
                      <a:lnTo>
                        <a:pt x="1389" y="589"/>
                      </a:lnTo>
                      <a:lnTo>
                        <a:pt x="1360" y="571"/>
                      </a:lnTo>
                      <a:lnTo>
                        <a:pt x="1341" y="563"/>
                      </a:lnTo>
                      <a:lnTo>
                        <a:pt x="1320" y="554"/>
                      </a:lnTo>
                      <a:lnTo>
                        <a:pt x="1320" y="554"/>
                      </a:lnTo>
                      <a:lnTo>
                        <a:pt x="1295" y="545"/>
                      </a:lnTo>
                      <a:lnTo>
                        <a:pt x="1275" y="538"/>
                      </a:lnTo>
                      <a:lnTo>
                        <a:pt x="1255" y="533"/>
                      </a:lnTo>
                      <a:lnTo>
                        <a:pt x="1236" y="530"/>
                      </a:lnTo>
                      <a:lnTo>
                        <a:pt x="1221" y="526"/>
                      </a:lnTo>
                      <a:lnTo>
                        <a:pt x="1205" y="526"/>
                      </a:lnTo>
                      <a:lnTo>
                        <a:pt x="1193" y="526"/>
                      </a:lnTo>
                      <a:lnTo>
                        <a:pt x="1182" y="526"/>
                      </a:lnTo>
                      <a:lnTo>
                        <a:pt x="1172" y="530"/>
                      </a:lnTo>
                      <a:lnTo>
                        <a:pt x="1165" y="531"/>
                      </a:lnTo>
                      <a:lnTo>
                        <a:pt x="1160" y="535"/>
                      </a:lnTo>
                      <a:lnTo>
                        <a:pt x="1158" y="540"/>
                      </a:lnTo>
                      <a:lnTo>
                        <a:pt x="1156" y="545"/>
                      </a:lnTo>
                      <a:lnTo>
                        <a:pt x="1156" y="550"/>
                      </a:lnTo>
                      <a:lnTo>
                        <a:pt x="1160" y="556"/>
                      </a:lnTo>
                      <a:lnTo>
                        <a:pt x="1165" y="563"/>
                      </a:lnTo>
                      <a:lnTo>
                        <a:pt x="1165" y="563"/>
                      </a:lnTo>
                      <a:lnTo>
                        <a:pt x="1168" y="566"/>
                      </a:lnTo>
                      <a:lnTo>
                        <a:pt x="1168" y="571"/>
                      </a:lnTo>
                      <a:lnTo>
                        <a:pt x="1168" y="577"/>
                      </a:lnTo>
                      <a:lnTo>
                        <a:pt x="1167" y="582"/>
                      </a:lnTo>
                      <a:lnTo>
                        <a:pt x="1160" y="592"/>
                      </a:lnTo>
                      <a:lnTo>
                        <a:pt x="1149" y="601"/>
                      </a:lnTo>
                      <a:lnTo>
                        <a:pt x="1139" y="606"/>
                      </a:lnTo>
                      <a:lnTo>
                        <a:pt x="1134" y="608"/>
                      </a:lnTo>
                      <a:lnTo>
                        <a:pt x="1128" y="608"/>
                      </a:lnTo>
                      <a:lnTo>
                        <a:pt x="1123" y="606"/>
                      </a:lnTo>
                      <a:lnTo>
                        <a:pt x="1120" y="604"/>
                      </a:lnTo>
                      <a:lnTo>
                        <a:pt x="1118" y="599"/>
                      </a:lnTo>
                      <a:lnTo>
                        <a:pt x="1118" y="594"/>
                      </a:lnTo>
                      <a:lnTo>
                        <a:pt x="1118" y="594"/>
                      </a:lnTo>
                      <a:lnTo>
                        <a:pt x="1116" y="582"/>
                      </a:lnTo>
                      <a:lnTo>
                        <a:pt x="1114" y="575"/>
                      </a:lnTo>
                      <a:lnTo>
                        <a:pt x="1111" y="573"/>
                      </a:lnTo>
                      <a:lnTo>
                        <a:pt x="1104" y="573"/>
                      </a:lnTo>
                      <a:lnTo>
                        <a:pt x="1097" y="575"/>
                      </a:lnTo>
                      <a:lnTo>
                        <a:pt x="1086" y="582"/>
                      </a:lnTo>
                      <a:lnTo>
                        <a:pt x="1062" y="597"/>
                      </a:lnTo>
                      <a:lnTo>
                        <a:pt x="1062" y="597"/>
                      </a:lnTo>
                      <a:lnTo>
                        <a:pt x="1050" y="604"/>
                      </a:lnTo>
                      <a:lnTo>
                        <a:pt x="1045" y="604"/>
                      </a:lnTo>
                      <a:lnTo>
                        <a:pt x="1039" y="604"/>
                      </a:lnTo>
                      <a:lnTo>
                        <a:pt x="1031" y="603"/>
                      </a:lnTo>
                      <a:lnTo>
                        <a:pt x="1024" y="599"/>
                      </a:lnTo>
                      <a:lnTo>
                        <a:pt x="1017" y="596"/>
                      </a:lnTo>
                      <a:lnTo>
                        <a:pt x="1006" y="594"/>
                      </a:lnTo>
                      <a:lnTo>
                        <a:pt x="999" y="596"/>
                      </a:lnTo>
                      <a:lnTo>
                        <a:pt x="992" y="597"/>
                      </a:lnTo>
                      <a:lnTo>
                        <a:pt x="975" y="608"/>
                      </a:lnTo>
                      <a:lnTo>
                        <a:pt x="975" y="608"/>
                      </a:lnTo>
                      <a:lnTo>
                        <a:pt x="956" y="617"/>
                      </a:lnTo>
                      <a:lnTo>
                        <a:pt x="949" y="618"/>
                      </a:lnTo>
                      <a:lnTo>
                        <a:pt x="944" y="620"/>
                      </a:lnTo>
                      <a:lnTo>
                        <a:pt x="938" y="620"/>
                      </a:lnTo>
                      <a:lnTo>
                        <a:pt x="935" y="618"/>
                      </a:lnTo>
                      <a:lnTo>
                        <a:pt x="932" y="615"/>
                      </a:lnTo>
                      <a:lnTo>
                        <a:pt x="930" y="611"/>
                      </a:lnTo>
                      <a:lnTo>
                        <a:pt x="930" y="603"/>
                      </a:lnTo>
                      <a:lnTo>
                        <a:pt x="932" y="594"/>
                      </a:lnTo>
                      <a:lnTo>
                        <a:pt x="937" y="585"/>
                      </a:lnTo>
                      <a:lnTo>
                        <a:pt x="944" y="578"/>
                      </a:lnTo>
                      <a:lnTo>
                        <a:pt x="944" y="578"/>
                      </a:lnTo>
                      <a:lnTo>
                        <a:pt x="949" y="573"/>
                      </a:lnTo>
                      <a:lnTo>
                        <a:pt x="949" y="571"/>
                      </a:lnTo>
                      <a:lnTo>
                        <a:pt x="947" y="571"/>
                      </a:lnTo>
                      <a:lnTo>
                        <a:pt x="940" y="571"/>
                      </a:lnTo>
                      <a:lnTo>
                        <a:pt x="928" y="573"/>
                      </a:lnTo>
                      <a:lnTo>
                        <a:pt x="911" y="580"/>
                      </a:lnTo>
                      <a:lnTo>
                        <a:pt x="888" y="589"/>
                      </a:lnTo>
                      <a:lnTo>
                        <a:pt x="862" y="599"/>
                      </a:lnTo>
                      <a:lnTo>
                        <a:pt x="831" y="615"/>
                      </a:lnTo>
                      <a:lnTo>
                        <a:pt x="831" y="615"/>
                      </a:lnTo>
                      <a:lnTo>
                        <a:pt x="801" y="629"/>
                      </a:lnTo>
                      <a:lnTo>
                        <a:pt x="778" y="636"/>
                      </a:lnTo>
                      <a:lnTo>
                        <a:pt x="761" y="639"/>
                      </a:lnTo>
                      <a:lnTo>
                        <a:pt x="747" y="643"/>
                      </a:lnTo>
                      <a:lnTo>
                        <a:pt x="737" y="644"/>
                      </a:lnTo>
                      <a:lnTo>
                        <a:pt x="730" y="650"/>
                      </a:lnTo>
                      <a:lnTo>
                        <a:pt x="723" y="658"/>
                      </a:lnTo>
                      <a:lnTo>
                        <a:pt x="717" y="674"/>
                      </a:lnTo>
                      <a:lnTo>
                        <a:pt x="717" y="674"/>
                      </a:lnTo>
                      <a:lnTo>
                        <a:pt x="710" y="691"/>
                      </a:lnTo>
                      <a:lnTo>
                        <a:pt x="705" y="700"/>
                      </a:lnTo>
                      <a:lnTo>
                        <a:pt x="702" y="704"/>
                      </a:lnTo>
                      <a:lnTo>
                        <a:pt x="696" y="705"/>
                      </a:lnTo>
                      <a:lnTo>
                        <a:pt x="684" y="702"/>
                      </a:lnTo>
                      <a:lnTo>
                        <a:pt x="676" y="704"/>
                      </a:lnTo>
                      <a:lnTo>
                        <a:pt x="667" y="707"/>
                      </a:lnTo>
                      <a:lnTo>
                        <a:pt x="667" y="707"/>
                      </a:lnTo>
                      <a:lnTo>
                        <a:pt x="658" y="711"/>
                      </a:lnTo>
                      <a:lnTo>
                        <a:pt x="653" y="711"/>
                      </a:lnTo>
                      <a:lnTo>
                        <a:pt x="649" y="709"/>
                      </a:lnTo>
                      <a:lnTo>
                        <a:pt x="648" y="705"/>
                      </a:lnTo>
                      <a:lnTo>
                        <a:pt x="646" y="700"/>
                      </a:lnTo>
                      <a:lnTo>
                        <a:pt x="642" y="693"/>
                      </a:lnTo>
                      <a:lnTo>
                        <a:pt x="637" y="688"/>
                      </a:lnTo>
                      <a:lnTo>
                        <a:pt x="627" y="681"/>
                      </a:lnTo>
                      <a:lnTo>
                        <a:pt x="627" y="681"/>
                      </a:lnTo>
                      <a:lnTo>
                        <a:pt x="618" y="676"/>
                      </a:lnTo>
                      <a:lnTo>
                        <a:pt x="616" y="674"/>
                      </a:lnTo>
                      <a:lnTo>
                        <a:pt x="616" y="671"/>
                      </a:lnTo>
                      <a:lnTo>
                        <a:pt x="616" y="667"/>
                      </a:lnTo>
                      <a:lnTo>
                        <a:pt x="618" y="665"/>
                      </a:lnTo>
                      <a:lnTo>
                        <a:pt x="623" y="660"/>
                      </a:lnTo>
                      <a:lnTo>
                        <a:pt x="630" y="655"/>
                      </a:lnTo>
                      <a:lnTo>
                        <a:pt x="641" y="651"/>
                      </a:lnTo>
                      <a:lnTo>
                        <a:pt x="651" y="648"/>
                      </a:lnTo>
                      <a:lnTo>
                        <a:pt x="662" y="648"/>
                      </a:lnTo>
                      <a:lnTo>
                        <a:pt x="662" y="648"/>
                      </a:lnTo>
                      <a:lnTo>
                        <a:pt x="667" y="646"/>
                      </a:lnTo>
                      <a:lnTo>
                        <a:pt x="670" y="644"/>
                      </a:lnTo>
                      <a:lnTo>
                        <a:pt x="672" y="643"/>
                      </a:lnTo>
                      <a:lnTo>
                        <a:pt x="674" y="639"/>
                      </a:lnTo>
                      <a:lnTo>
                        <a:pt x="672" y="632"/>
                      </a:lnTo>
                      <a:lnTo>
                        <a:pt x="669" y="624"/>
                      </a:lnTo>
                      <a:lnTo>
                        <a:pt x="660" y="615"/>
                      </a:lnTo>
                      <a:lnTo>
                        <a:pt x="649" y="608"/>
                      </a:lnTo>
                      <a:lnTo>
                        <a:pt x="637" y="603"/>
                      </a:lnTo>
                      <a:lnTo>
                        <a:pt x="630" y="601"/>
                      </a:lnTo>
                      <a:lnTo>
                        <a:pt x="623" y="601"/>
                      </a:lnTo>
                      <a:lnTo>
                        <a:pt x="623" y="601"/>
                      </a:lnTo>
                      <a:lnTo>
                        <a:pt x="609" y="601"/>
                      </a:lnTo>
                      <a:lnTo>
                        <a:pt x="594" y="599"/>
                      </a:lnTo>
                      <a:lnTo>
                        <a:pt x="571" y="594"/>
                      </a:lnTo>
                      <a:lnTo>
                        <a:pt x="564" y="594"/>
                      </a:lnTo>
                      <a:lnTo>
                        <a:pt x="562" y="594"/>
                      </a:lnTo>
                      <a:lnTo>
                        <a:pt x="562" y="594"/>
                      </a:lnTo>
                      <a:lnTo>
                        <a:pt x="566" y="599"/>
                      </a:lnTo>
                      <a:lnTo>
                        <a:pt x="575" y="608"/>
                      </a:lnTo>
                      <a:lnTo>
                        <a:pt x="575" y="608"/>
                      </a:lnTo>
                      <a:lnTo>
                        <a:pt x="580" y="613"/>
                      </a:lnTo>
                      <a:lnTo>
                        <a:pt x="583" y="618"/>
                      </a:lnTo>
                      <a:lnTo>
                        <a:pt x="585" y="624"/>
                      </a:lnTo>
                      <a:lnTo>
                        <a:pt x="587" y="631"/>
                      </a:lnTo>
                      <a:lnTo>
                        <a:pt x="585" y="641"/>
                      </a:lnTo>
                      <a:lnTo>
                        <a:pt x="580" y="651"/>
                      </a:lnTo>
                      <a:lnTo>
                        <a:pt x="576" y="660"/>
                      </a:lnTo>
                      <a:lnTo>
                        <a:pt x="575" y="671"/>
                      </a:lnTo>
                      <a:lnTo>
                        <a:pt x="575" y="676"/>
                      </a:lnTo>
                      <a:lnTo>
                        <a:pt x="578" y="679"/>
                      </a:lnTo>
                      <a:lnTo>
                        <a:pt x="582" y="684"/>
                      </a:lnTo>
                      <a:lnTo>
                        <a:pt x="587" y="690"/>
                      </a:lnTo>
                      <a:lnTo>
                        <a:pt x="587" y="690"/>
                      </a:lnTo>
                      <a:lnTo>
                        <a:pt x="597" y="697"/>
                      </a:lnTo>
                      <a:lnTo>
                        <a:pt x="601" y="700"/>
                      </a:lnTo>
                      <a:lnTo>
                        <a:pt x="602" y="704"/>
                      </a:lnTo>
                      <a:lnTo>
                        <a:pt x="602" y="711"/>
                      </a:lnTo>
                      <a:lnTo>
                        <a:pt x="599" y="718"/>
                      </a:lnTo>
                      <a:lnTo>
                        <a:pt x="594" y="725"/>
                      </a:lnTo>
                      <a:lnTo>
                        <a:pt x="590" y="733"/>
                      </a:lnTo>
                      <a:lnTo>
                        <a:pt x="587" y="742"/>
                      </a:lnTo>
                      <a:lnTo>
                        <a:pt x="589" y="754"/>
                      </a:lnTo>
                      <a:lnTo>
                        <a:pt x="589" y="754"/>
                      </a:lnTo>
                      <a:lnTo>
                        <a:pt x="589" y="763"/>
                      </a:lnTo>
                      <a:lnTo>
                        <a:pt x="589" y="763"/>
                      </a:lnTo>
                      <a:lnTo>
                        <a:pt x="587" y="761"/>
                      </a:lnTo>
                      <a:lnTo>
                        <a:pt x="580" y="754"/>
                      </a:lnTo>
                      <a:lnTo>
                        <a:pt x="569" y="744"/>
                      </a:lnTo>
                      <a:lnTo>
                        <a:pt x="557" y="733"/>
                      </a:lnTo>
                      <a:lnTo>
                        <a:pt x="550" y="730"/>
                      </a:lnTo>
                      <a:lnTo>
                        <a:pt x="542" y="726"/>
                      </a:lnTo>
                      <a:lnTo>
                        <a:pt x="533" y="726"/>
                      </a:lnTo>
                      <a:lnTo>
                        <a:pt x="522" y="728"/>
                      </a:lnTo>
                      <a:lnTo>
                        <a:pt x="512" y="731"/>
                      </a:lnTo>
                      <a:lnTo>
                        <a:pt x="501" y="737"/>
                      </a:lnTo>
                      <a:lnTo>
                        <a:pt x="501" y="737"/>
                      </a:lnTo>
                      <a:lnTo>
                        <a:pt x="481" y="751"/>
                      </a:lnTo>
                      <a:lnTo>
                        <a:pt x="461" y="761"/>
                      </a:lnTo>
                      <a:lnTo>
                        <a:pt x="447" y="770"/>
                      </a:lnTo>
                      <a:lnTo>
                        <a:pt x="437" y="777"/>
                      </a:lnTo>
                      <a:lnTo>
                        <a:pt x="432" y="784"/>
                      </a:lnTo>
                      <a:lnTo>
                        <a:pt x="432" y="787"/>
                      </a:lnTo>
                      <a:lnTo>
                        <a:pt x="432" y="791"/>
                      </a:lnTo>
                      <a:lnTo>
                        <a:pt x="437" y="801"/>
                      </a:lnTo>
                      <a:lnTo>
                        <a:pt x="447" y="813"/>
                      </a:lnTo>
                      <a:lnTo>
                        <a:pt x="447" y="813"/>
                      </a:lnTo>
                      <a:lnTo>
                        <a:pt x="458" y="827"/>
                      </a:lnTo>
                      <a:lnTo>
                        <a:pt x="460" y="832"/>
                      </a:lnTo>
                      <a:lnTo>
                        <a:pt x="460" y="836"/>
                      </a:lnTo>
                      <a:lnTo>
                        <a:pt x="460" y="839"/>
                      </a:lnTo>
                      <a:lnTo>
                        <a:pt x="458" y="843"/>
                      </a:lnTo>
                      <a:lnTo>
                        <a:pt x="454" y="845"/>
                      </a:lnTo>
                      <a:lnTo>
                        <a:pt x="449" y="846"/>
                      </a:lnTo>
                      <a:lnTo>
                        <a:pt x="435" y="846"/>
                      </a:lnTo>
                      <a:lnTo>
                        <a:pt x="418" y="843"/>
                      </a:lnTo>
                      <a:lnTo>
                        <a:pt x="399" y="836"/>
                      </a:lnTo>
                      <a:lnTo>
                        <a:pt x="376" y="827"/>
                      </a:lnTo>
                      <a:lnTo>
                        <a:pt x="376" y="827"/>
                      </a:lnTo>
                      <a:lnTo>
                        <a:pt x="355" y="817"/>
                      </a:lnTo>
                      <a:lnTo>
                        <a:pt x="340" y="813"/>
                      </a:lnTo>
                      <a:lnTo>
                        <a:pt x="327" y="812"/>
                      </a:lnTo>
                      <a:lnTo>
                        <a:pt x="319" y="813"/>
                      </a:lnTo>
                      <a:lnTo>
                        <a:pt x="317" y="815"/>
                      </a:lnTo>
                      <a:lnTo>
                        <a:pt x="315" y="817"/>
                      </a:lnTo>
                      <a:lnTo>
                        <a:pt x="315" y="824"/>
                      </a:lnTo>
                      <a:lnTo>
                        <a:pt x="319" y="832"/>
                      </a:lnTo>
                      <a:lnTo>
                        <a:pt x="326" y="841"/>
                      </a:lnTo>
                      <a:lnTo>
                        <a:pt x="326" y="841"/>
                      </a:lnTo>
                      <a:lnTo>
                        <a:pt x="336" y="850"/>
                      </a:lnTo>
                      <a:lnTo>
                        <a:pt x="346" y="855"/>
                      </a:lnTo>
                      <a:lnTo>
                        <a:pt x="367" y="864"/>
                      </a:lnTo>
                      <a:lnTo>
                        <a:pt x="373" y="867"/>
                      </a:lnTo>
                      <a:lnTo>
                        <a:pt x="374" y="869"/>
                      </a:lnTo>
                      <a:lnTo>
                        <a:pt x="374" y="871"/>
                      </a:lnTo>
                      <a:lnTo>
                        <a:pt x="371" y="876"/>
                      </a:lnTo>
                      <a:lnTo>
                        <a:pt x="360" y="883"/>
                      </a:lnTo>
                      <a:lnTo>
                        <a:pt x="360" y="883"/>
                      </a:lnTo>
                      <a:lnTo>
                        <a:pt x="348" y="888"/>
                      </a:lnTo>
                      <a:lnTo>
                        <a:pt x="343" y="890"/>
                      </a:lnTo>
                      <a:lnTo>
                        <a:pt x="340" y="888"/>
                      </a:lnTo>
                      <a:lnTo>
                        <a:pt x="333" y="885"/>
                      </a:lnTo>
                      <a:lnTo>
                        <a:pt x="327" y="879"/>
                      </a:lnTo>
                      <a:lnTo>
                        <a:pt x="322" y="873"/>
                      </a:lnTo>
                      <a:lnTo>
                        <a:pt x="313" y="864"/>
                      </a:lnTo>
                      <a:lnTo>
                        <a:pt x="305" y="857"/>
                      </a:lnTo>
                      <a:lnTo>
                        <a:pt x="298" y="855"/>
                      </a:lnTo>
                      <a:lnTo>
                        <a:pt x="291" y="853"/>
                      </a:lnTo>
                      <a:lnTo>
                        <a:pt x="291" y="853"/>
                      </a:lnTo>
                      <a:lnTo>
                        <a:pt x="277" y="850"/>
                      </a:lnTo>
                      <a:lnTo>
                        <a:pt x="270" y="845"/>
                      </a:lnTo>
                      <a:lnTo>
                        <a:pt x="266" y="841"/>
                      </a:lnTo>
                      <a:lnTo>
                        <a:pt x="266" y="834"/>
                      </a:lnTo>
                      <a:lnTo>
                        <a:pt x="266" y="829"/>
                      </a:lnTo>
                      <a:lnTo>
                        <a:pt x="265" y="820"/>
                      </a:lnTo>
                      <a:lnTo>
                        <a:pt x="263" y="813"/>
                      </a:lnTo>
                      <a:lnTo>
                        <a:pt x="256" y="806"/>
                      </a:lnTo>
                      <a:lnTo>
                        <a:pt x="256" y="806"/>
                      </a:lnTo>
                      <a:lnTo>
                        <a:pt x="251" y="801"/>
                      </a:lnTo>
                      <a:lnTo>
                        <a:pt x="249" y="798"/>
                      </a:lnTo>
                      <a:lnTo>
                        <a:pt x="249" y="796"/>
                      </a:lnTo>
                      <a:lnTo>
                        <a:pt x="249" y="792"/>
                      </a:lnTo>
                      <a:lnTo>
                        <a:pt x="252" y="787"/>
                      </a:lnTo>
                      <a:lnTo>
                        <a:pt x="258" y="782"/>
                      </a:lnTo>
                      <a:lnTo>
                        <a:pt x="263" y="777"/>
                      </a:lnTo>
                      <a:lnTo>
                        <a:pt x="265" y="770"/>
                      </a:lnTo>
                      <a:lnTo>
                        <a:pt x="263" y="766"/>
                      </a:lnTo>
                      <a:lnTo>
                        <a:pt x="261" y="763"/>
                      </a:lnTo>
                      <a:lnTo>
                        <a:pt x="258" y="758"/>
                      </a:lnTo>
                      <a:lnTo>
                        <a:pt x="252" y="752"/>
                      </a:lnTo>
                      <a:lnTo>
                        <a:pt x="252" y="752"/>
                      </a:lnTo>
                      <a:lnTo>
                        <a:pt x="239" y="744"/>
                      </a:lnTo>
                      <a:lnTo>
                        <a:pt x="226" y="737"/>
                      </a:lnTo>
                      <a:lnTo>
                        <a:pt x="202" y="723"/>
                      </a:lnTo>
                      <a:lnTo>
                        <a:pt x="193" y="718"/>
                      </a:lnTo>
                      <a:lnTo>
                        <a:pt x="185" y="711"/>
                      </a:lnTo>
                      <a:lnTo>
                        <a:pt x="179" y="702"/>
                      </a:lnTo>
                      <a:lnTo>
                        <a:pt x="176" y="693"/>
                      </a:lnTo>
                      <a:lnTo>
                        <a:pt x="176" y="693"/>
                      </a:lnTo>
                      <a:lnTo>
                        <a:pt x="174" y="686"/>
                      </a:lnTo>
                      <a:lnTo>
                        <a:pt x="174" y="684"/>
                      </a:lnTo>
                      <a:lnTo>
                        <a:pt x="183" y="693"/>
                      </a:lnTo>
                      <a:lnTo>
                        <a:pt x="192" y="700"/>
                      </a:lnTo>
                      <a:lnTo>
                        <a:pt x="205" y="709"/>
                      </a:lnTo>
                      <a:lnTo>
                        <a:pt x="223" y="716"/>
                      </a:lnTo>
                      <a:lnTo>
                        <a:pt x="245" y="721"/>
                      </a:lnTo>
                      <a:lnTo>
                        <a:pt x="245" y="721"/>
                      </a:lnTo>
                      <a:lnTo>
                        <a:pt x="270" y="726"/>
                      </a:lnTo>
                      <a:lnTo>
                        <a:pt x="294" y="733"/>
                      </a:lnTo>
                      <a:lnTo>
                        <a:pt x="343" y="749"/>
                      </a:lnTo>
                      <a:lnTo>
                        <a:pt x="367" y="754"/>
                      </a:lnTo>
                      <a:lnTo>
                        <a:pt x="380" y="756"/>
                      </a:lnTo>
                      <a:lnTo>
                        <a:pt x="392" y="756"/>
                      </a:lnTo>
                      <a:lnTo>
                        <a:pt x="404" y="756"/>
                      </a:lnTo>
                      <a:lnTo>
                        <a:pt x="414" y="754"/>
                      </a:lnTo>
                      <a:lnTo>
                        <a:pt x="427" y="749"/>
                      </a:lnTo>
                      <a:lnTo>
                        <a:pt x="439" y="744"/>
                      </a:lnTo>
                      <a:lnTo>
                        <a:pt x="439" y="744"/>
                      </a:lnTo>
                      <a:lnTo>
                        <a:pt x="460" y="731"/>
                      </a:lnTo>
                      <a:lnTo>
                        <a:pt x="475" y="719"/>
                      </a:lnTo>
                      <a:lnTo>
                        <a:pt x="488" y="707"/>
                      </a:lnTo>
                      <a:lnTo>
                        <a:pt x="491" y="702"/>
                      </a:lnTo>
                      <a:lnTo>
                        <a:pt x="493" y="697"/>
                      </a:lnTo>
                      <a:lnTo>
                        <a:pt x="494" y="690"/>
                      </a:lnTo>
                      <a:lnTo>
                        <a:pt x="494" y="684"/>
                      </a:lnTo>
                      <a:lnTo>
                        <a:pt x="491" y="678"/>
                      </a:lnTo>
                      <a:lnTo>
                        <a:pt x="488" y="672"/>
                      </a:lnTo>
                      <a:lnTo>
                        <a:pt x="482" y="665"/>
                      </a:lnTo>
                      <a:lnTo>
                        <a:pt x="475" y="658"/>
                      </a:lnTo>
                      <a:lnTo>
                        <a:pt x="456" y="644"/>
                      </a:lnTo>
                      <a:lnTo>
                        <a:pt x="456" y="644"/>
                      </a:lnTo>
                      <a:lnTo>
                        <a:pt x="421" y="624"/>
                      </a:lnTo>
                      <a:lnTo>
                        <a:pt x="397" y="613"/>
                      </a:lnTo>
                      <a:lnTo>
                        <a:pt x="373" y="601"/>
                      </a:lnTo>
                      <a:lnTo>
                        <a:pt x="334" y="578"/>
                      </a:lnTo>
                      <a:lnTo>
                        <a:pt x="334" y="578"/>
                      </a:lnTo>
                      <a:lnTo>
                        <a:pt x="313" y="566"/>
                      </a:lnTo>
                      <a:lnTo>
                        <a:pt x="298" y="561"/>
                      </a:lnTo>
                      <a:lnTo>
                        <a:pt x="286" y="557"/>
                      </a:lnTo>
                      <a:lnTo>
                        <a:pt x="277" y="557"/>
                      </a:lnTo>
                      <a:lnTo>
                        <a:pt x="268" y="559"/>
                      </a:lnTo>
                      <a:lnTo>
                        <a:pt x="259" y="559"/>
                      </a:lnTo>
                      <a:lnTo>
                        <a:pt x="245" y="557"/>
                      </a:lnTo>
                      <a:lnTo>
                        <a:pt x="228" y="552"/>
                      </a:lnTo>
                      <a:lnTo>
                        <a:pt x="228" y="552"/>
                      </a:lnTo>
                      <a:lnTo>
                        <a:pt x="211" y="547"/>
                      </a:lnTo>
                      <a:lnTo>
                        <a:pt x="202" y="542"/>
                      </a:lnTo>
                      <a:lnTo>
                        <a:pt x="200" y="538"/>
                      </a:lnTo>
                      <a:lnTo>
                        <a:pt x="200" y="536"/>
                      </a:lnTo>
                      <a:lnTo>
                        <a:pt x="202" y="533"/>
                      </a:lnTo>
                      <a:lnTo>
                        <a:pt x="202" y="530"/>
                      </a:lnTo>
                      <a:lnTo>
                        <a:pt x="197" y="526"/>
                      </a:lnTo>
                      <a:lnTo>
                        <a:pt x="186" y="521"/>
                      </a:lnTo>
                      <a:lnTo>
                        <a:pt x="186" y="521"/>
                      </a:lnTo>
                      <a:lnTo>
                        <a:pt x="174" y="516"/>
                      </a:lnTo>
                      <a:lnTo>
                        <a:pt x="167" y="516"/>
                      </a:lnTo>
                      <a:lnTo>
                        <a:pt x="164" y="519"/>
                      </a:lnTo>
                      <a:lnTo>
                        <a:pt x="160" y="523"/>
                      </a:lnTo>
                      <a:lnTo>
                        <a:pt x="157" y="526"/>
                      </a:lnTo>
                      <a:lnTo>
                        <a:pt x="151" y="530"/>
                      </a:lnTo>
                      <a:lnTo>
                        <a:pt x="139" y="530"/>
                      </a:lnTo>
                      <a:lnTo>
                        <a:pt x="122" y="524"/>
                      </a:lnTo>
                      <a:lnTo>
                        <a:pt x="122" y="524"/>
                      </a:lnTo>
                      <a:lnTo>
                        <a:pt x="125" y="531"/>
                      </a:lnTo>
                      <a:lnTo>
                        <a:pt x="125" y="531"/>
                      </a:lnTo>
                      <a:lnTo>
                        <a:pt x="125" y="535"/>
                      </a:lnTo>
                      <a:lnTo>
                        <a:pt x="125" y="538"/>
                      </a:lnTo>
                      <a:lnTo>
                        <a:pt x="124" y="540"/>
                      </a:lnTo>
                      <a:lnTo>
                        <a:pt x="122" y="540"/>
                      </a:lnTo>
                      <a:lnTo>
                        <a:pt x="115" y="540"/>
                      </a:lnTo>
                      <a:lnTo>
                        <a:pt x="108" y="538"/>
                      </a:lnTo>
                      <a:lnTo>
                        <a:pt x="108" y="538"/>
                      </a:lnTo>
                      <a:lnTo>
                        <a:pt x="101" y="535"/>
                      </a:lnTo>
                      <a:lnTo>
                        <a:pt x="99" y="536"/>
                      </a:lnTo>
                      <a:lnTo>
                        <a:pt x="97" y="540"/>
                      </a:lnTo>
                      <a:lnTo>
                        <a:pt x="97" y="540"/>
                      </a:lnTo>
                      <a:lnTo>
                        <a:pt x="94" y="543"/>
                      </a:lnTo>
                      <a:lnTo>
                        <a:pt x="91" y="545"/>
                      </a:lnTo>
                      <a:lnTo>
                        <a:pt x="80" y="549"/>
                      </a:lnTo>
                      <a:lnTo>
                        <a:pt x="71" y="552"/>
                      </a:lnTo>
                      <a:lnTo>
                        <a:pt x="68" y="556"/>
                      </a:lnTo>
                      <a:lnTo>
                        <a:pt x="66" y="559"/>
                      </a:lnTo>
                      <a:lnTo>
                        <a:pt x="66" y="559"/>
                      </a:lnTo>
                      <a:lnTo>
                        <a:pt x="66" y="566"/>
                      </a:lnTo>
                      <a:lnTo>
                        <a:pt x="64" y="571"/>
                      </a:lnTo>
                      <a:lnTo>
                        <a:pt x="61" y="571"/>
                      </a:lnTo>
                      <a:lnTo>
                        <a:pt x="56" y="571"/>
                      </a:lnTo>
                      <a:lnTo>
                        <a:pt x="56" y="571"/>
                      </a:lnTo>
                      <a:lnTo>
                        <a:pt x="40" y="578"/>
                      </a:lnTo>
                      <a:lnTo>
                        <a:pt x="38" y="580"/>
                      </a:lnTo>
                      <a:lnTo>
                        <a:pt x="40" y="582"/>
                      </a:lnTo>
                      <a:lnTo>
                        <a:pt x="45" y="582"/>
                      </a:lnTo>
                      <a:lnTo>
                        <a:pt x="49" y="583"/>
                      </a:lnTo>
                      <a:lnTo>
                        <a:pt x="50" y="585"/>
                      </a:lnTo>
                      <a:lnTo>
                        <a:pt x="50" y="585"/>
                      </a:lnTo>
                      <a:lnTo>
                        <a:pt x="50" y="589"/>
                      </a:lnTo>
                      <a:lnTo>
                        <a:pt x="49" y="590"/>
                      </a:lnTo>
                      <a:lnTo>
                        <a:pt x="45" y="596"/>
                      </a:lnTo>
                      <a:lnTo>
                        <a:pt x="42" y="597"/>
                      </a:lnTo>
                      <a:lnTo>
                        <a:pt x="40" y="601"/>
                      </a:lnTo>
                      <a:lnTo>
                        <a:pt x="40" y="606"/>
                      </a:lnTo>
                      <a:lnTo>
                        <a:pt x="42" y="613"/>
                      </a:lnTo>
                      <a:lnTo>
                        <a:pt x="42" y="613"/>
                      </a:lnTo>
                      <a:lnTo>
                        <a:pt x="45" y="622"/>
                      </a:lnTo>
                      <a:lnTo>
                        <a:pt x="50" y="627"/>
                      </a:lnTo>
                      <a:lnTo>
                        <a:pt x="54" y="629"/>
                      </a:lnTo>
                      <a:lnTo>
                        <a:pt x="57" y="629"/>
                      </a:lnTo>
                      <a:lnTo>
                        <a:pt x="61" y="629"/>
                      </a:lnTo>
                      <a:lnTo>
                        <a:pt x="66" y="629"/>
                      </a:lnTo>
                      <a:lnTo>
                        <a:pt x="70" y="631"/>
                      </a:lnTo>
                      <a:lnTo>
                        <a:pt x="75" y="637"/>
                      </a:lnTo>
                      <a:lnTo>
                        <a:pt x="75" y="637"/>
                      </a:lnTo>
                      <a:lnTo>
                        <a:pt x="80" y="643"/>
                      </a:lnTo>
                      <a:lnTo>
                        <a:pt x="84" y="648"/>
                      </a:lnTo>
                      <a:lnTo>
                        <a:pt x="92" y="653"/>
                      </a:lnTo>
                      <a:lnTo>
                        <a:pt x="94" y="655"/>
                      </a:lnTo>
                      <a:lnTo>
                        <a:pt x="96" y="657"/>
                      </a:lnTo>
                      <a:lnTo>
                        <a:pt x="94" y="660"/>
                      </a:lnTo>
                      <a:lnTo>
                        <a:pt x="91" y="664"/>
                      </a:lnTo>
                      <a:lnTo>
                        <a:pt x="91" y="664"/>
                      </a:lnTo>
                      <a:lnTo>
                        <a:pt x="80" y="674"/>
                      </a:lnTo>
                      <a:lnTo>
                        <a:pt x="68" y="686"/>
                      </a:lnTo>
                      <a:lnTo>
                        <a:pt x="63" y="693"/>
                      </a:lnTo>
                      <a:lnTo>
                        <a:pt x="59" y="698"/>
                      </a:lnTo>
                      <a:lnTo>
                        <a:pt x="59" y="704"/>
                      </a:lnTo>
                      <a:lnTo>
                        <a:pt x="63" y="709"/>
                      </a:lnTo>
                      <a:lnTo>
                        <a:pt x="63" y="709"/>
                      </a:lnTo>
                      <a:lnTo>
                        <a:pt x="68" y="714"/>
                      </a:lnTo>
                      <a:lnTo>
                        <a:pt x="75" y="725"/>
                      </a:lnTo>
                      <a:lnTo>
                        <a:pt x="87" y="747"/>
                      </a:lnTo>
                      <a:lnTo>
                        <a:pt x="96" y="770"/>
                      </a:lnTo>
                      <a:lnTo>
                        <a:pt x="97" y="777"/>
                      </a:lnTo>
                      <a:lnTo>
                        <a:pt x="96" y="778"/>
                      </a:lnTo>
                      <a:lnTo>
                        <a:pt x="94" y="778"/>
                      </a:lnTo>
                      <a:lnTo>
                        <a:pt x="94" y="778"/>
                      </a:lnTo>
                      <a:lnTo>
                        <a:pt x="84" y="777"/>
                      </a:lnTo>
                      <a:lnTo>
                        <a:pt x="84" y="778"/>
                      </a:lnTo>
                      <a:lnTo>
                        <a:pt x="85" y="782"/>
                      </a:lnTo>
                      <a:lnTo>
                        <a:pt x="85" y="782"/>
                      </a:lnTo>
                      <a:lnTo>
                        <a:pt x="89" y="785"/>
                      </a:lnTo>
                      <a:lnTo>
                        <a:pt x="87" y="785"/>
                      </a:lnTo>
                      <a:lnTo>
                        <a:pt x="84" y="787"/>
                      </a:lnTo>
                      <a:lnTo>
                        <a:pt x="84" y="792"/>
                      </a:lnTo>
                      <a:lnTo>
                        <a:pt x="84" y="792"/>
                      </a:lnTo>
                      <a:lnTo>
                        <a:pt x="82" y="798"/>
                      </a:lnTo>
                      <a:lnTo>
                        <a:pt x="80" y="801"/>
                      </a:lnTo>
                      <a:lnTo>
                        <a:pt x="80" y="803"/>
                      </a:lnTo>
                      <a:lnTo>
                        <a:pt x="84" y="805"/>
                      </a:lnTo>
                      <a:lnTo>
                        <a:pt x="84" y="805"/>
                      </a:lnTo>
                      <a:lnTo>
                        <a:pt x="87" y="806"/>
                      </a:lnTo>
                      <a:lnTo>
                        <a:pt x="87" y="808"/>
                      </a:lnTo>
                      <a:lnTo>
                        <a:pt x="87" y="810"/>
                      </a:lnTo>
                      <a:lnTo>
                        <a:pt x="85" y="812"/>
                      </a:lnTo>
                      <a:lnTo>
                        <a:pt x="80" y="815"/>
                      </a:lnTo>
                      <a:lnTo>
                        <a:pt x="78" y="817"/>
                      </a:lnTo>
                      <a:lnTo>
                        <a:pt x="78" y="820"/>
                      </a:lnTo>
                      <a:lnTo>
                        <a:pt x="78" y="820"/>
                      </a:lnTo>
                      <a:lnTo>
                        <a:pt x="80" y="824"/>
                      </a:lnTo>
                      <a:lnTo>
                        <a:pt x="84" y="826"/>
                      </a:lnTo>
                      <a:lnTo>
                        <a:pt x="92" y="831"/>
                      </a:lnTo>
                      <a:lnTo>
                        <a:pt x="99" y="836"/>
                      </a:lnTo>
                      <a:lnTo>
                        <a:pt x="99" y="838"/>
                      </a:lnTo>
                      <a:lnTo>
                        <a:pt x="97" y="839"/>
                      </a:lnTo>
                      <a:lnTo>
                        <a:pt x="97" y="839"/>
                      </a:lnTo>
                      <a:lnTo>
                        <a:pt x="92" y="845"/>
                      </a:lnTo>
                      <a:lnTo>
                        <a:pt x="94" y="846"/>
                      </a:lnTo>
                      <a:lnTo>
                        <a:pt x="96" y="848"/>
                      </a:lnTo>
                      <a:lnTo>
                        <a:pt x="94" y="852"/>
                      </a:lnTo>
                      <a:lnTo>
                        <a:pt x="94" y="852"/>
                      </a:lnTo>
                      <a:lnTo>
                        <a:pt x="94" y="853"/>
                      </a:lnTo>
                      <a:lnTo>
                        <a:pt x="96" y="855"/>
                      </a:lnTo>
                      <a:lnTo>
                        <a:pt x="103" y="859"/>
                      </a:lnTo>
                      <a:lnTo>
                        <a:pt x="110" y="862"/>
                      </a:lnTo>
                      <a:lnTo>
                        <a:pt x="113" y="866"/>
                      </a:lnTo>
                      <a:lnTo>
                        <a:pt x="113" y="869"/>
                      </a:lnTo>
                      <a:lnTo>
                        <a:pt x="113" y="869"/>
                      </a:lnTo>
                      <a:lnTo>
                        <a:pt x="111" y="876"/>
                      </a:lnTo>
                      <a:lnTo>
                        <a:pt x="108" y="879"/>
                      </a:lnTo>
                      <a:lnTo>
                        <a:pt x="99" y="886"/>
                      </a:lnTo>
                      <a:lnTo>
                        <a:pt x="96" y="888"/>
                      </a:lnTo>
                      <a:lnTo>
                        <a:pt x="94" y="890"/>
                      </a:lnTo>
                      <a:lnTo>
                        <a:pt x="94" y="893"/>
                      </a:lnTo>
                      <a:lnTo>
                        <a:pt x="96" y="897"/>
                      </a:lnTo>
                      <a:lnTo>
                        <a:pt x="96" y="897"/>
                      </a:lnTo>
                      <a:lnTo>
                        <a:pt x="108" y="904"/>
                      </a:lnTo>
                      <a:lnTo>
                        <a:pt x="120" y="911"/>
                      </a:lnTo>
                      <a:lnTo>
                        <a:pt x="131" y="918"/>
                      </a:lnTo>
                      <a:lnTo>
                        <a:pt x="134" y="923"/>
                      </a:lnTo>
                      <a:lnTo>
                        <a:pt x="138" y="926"/>
                      </a:lnTo>
                      <a:lnTo>
                        <a:pt x="138" y="926"/>
                      </a:lnTo>
                      <a:lnTo>
                        <a:pt x="139" y="930"/>
                      </a:lnTo>
                      <a:lnTo>
                        <a:pt x="141" y="933"/>
                      </a:lnTo>
                      <a:lnTo>
                        <a:pt x="145" y="937"/>
                      </a:lnTo>
                      <a:lnTo>
                        <a:pt x="146" y="939"/>
                      </a:lnTo>
                      <a:lnTo>
                        <a:pt x="146" y="940"/>
                      </a:lnTo>
                      <a:lnTo>
                        <a:pt x="145" y="947"/>
                      </a:lnTo>
                      <a:lnTo>
                        <a:pt x="145" y="947"/>
                      </a:lnTo>
                      <a:lnTo>
                        <a:pt x="122" y="975"/>
                      </a:lnTo>
                      <a:lnTo>
                        <a:pt x="104" y="996"/>
                      </a:lnTo>
                      <a:lnTo>
                        <a:pt x="78" y="1021"/>
                      </a:lnTo>
                      <a:lnTo>
                        <a:pt x="78" y="1021"/>
                      </a:lnTo>
                      <a:lnTo>
                        <a:pt x="56" y="1043"/>
                      </a:lnTo>
                      <a:lnTo>
                        <a:pt x="38" y="1057"/>
                      </a:lnTo>
                      <a:lnTo>
                        <a:pt x="26" y="1066"/>
                      </a:lnTo>
                      <a:lnTo>
                        <a:pt x="17" y="1076"/>
                      </a:lnTo>
                      <a:lnTo>
                        <a:pt x="17" y="1076"/>
                      </a:lnTo>
                      <a:lnTo>
                        <a:pt x="21" y="1078"/>
                      </a:lnTo>
                      <a:lnTo>
                        <a:pt x="26" y="1078"/>
                      </a:lnTo>
                      <a:lnTo>
                        <a:pt x="35" y="1073"/>
                      </a:lnTo>
                      <a:lnTo>
                        <a:pt x="42" y="1068"/>
                      </a:lnTo>
                      <a:lnTo>
                        <a:pt x="45" y="1066"/>
                      </a:lnTo>
                      <a:lnTo>
                        <a:pt x="47" y="1068"/>
                      </a:lnTo>
                      <a:lnTo>
                        <a:pt x="47" y="1068"/>
                      </a:lnTo>
                      <a:lnTo>
                        <a:pt x="49" y="1068"/>
                      </a:lnTo>
                      <a:lnTo>
                        <a:pt x="45" y="1069"/>
                      </a:lnTo>
                      <a:lnTo>
                        <a:pt x="44" y="1071"/>
                      </a:lnTo>
                      <a:lnTo>
                        <a:pt x="45" y="1076"/>
                      </a:lnTo>
                      <a:lnTo>
                        <a:pt x="45" y="1076"/>
                      </a:lnTo>
                      <a:lnTo>
                        <a:pt x="47" y="1080"/>
                      </a:lnTo>
                      <a:lnTo>
                        <a:pt x="45" y="1080"/>
                      </a:lnTo>
                      <a:lnTo>
                        <a:pt x="42" y="1078"/>
                      </a:lnTo>
                      <a:lnTo>
                        <a:pt x="38" y="1078"/>
                      </a:lnTo>
                      <a:lnTo>
                        <a:pt x="40" y="1083"/>
                      </a:lnTo>
                      <a:lnTo>
                        <a:pt x="40" y="1083"/>
                      </a:lnTo>
                      <a:lnTo>
                        <a:pt x="45" y="1088"/>
                      </a:lnTo>
                      <a:lnTo>
                        <a:pt x="49" y="1088"/>
                      </a:lnTo>
                      <a:lnTo>
                        <a:pt x="50" y="1088"/>
                      </a:lnTo>
                      <a:lnTo>
                        <a:pt x="54" y="1094"/>
                      </a:lnTo>
                      <a:lnTo>
                        <a:pt x="54" y="1094"/>
                      </a:lnTo>
                      <a:lnTo>
                        <a:pt x="57" y="1095"/>
                      </a:lnTo>
                      <a:lnTo>
                        <a:pt x="63" y="1097"/>
                      </a:lnTo>
                      <a:lnTo>
                        <a:pt x="71" y="1097"/>
                      </a:lnTo>
                      <a:lnTo>
                        <a:pt x="80" y="1097"/>
                      </a:lnTo>
                      <a:lnTo>
                        <a:pt x="85" y="1099"/>
                      </a:lnTo>
                      <a:lnTo>
                        <a:pt x="87" y="1101"/>
                      </a:lnTo>
                      <a:lnTo>
                        <a:pt x="87" y="1101"/>
                      </a:lnTo>
                      <a:lnTo>
                        <a:pt x="89" y="1104"/>
                      </a:lnTo>
                      <a:lnTo>
                        <a:pt x="92" y="1106"/>
                      </a:lnTo>
                      <a:lnTo>
                        <a:pt x="97" y="1108"/>
                      </a:lnTo>
                      <a:lnTo>
                        <a:pt x="101" y="1108"/>
                      </a:lnTo>
                      <a:lnTo>
                        <a:pt x="101" y="1109"/>
                      </a:lnTo>
                      <a:lnTo>
                        <a:pt x="101" y="1111"/>
                      </a:lnTo>
                      <a:lnTo>
                        <a:pt x="101" y="1111"/>
                      </a:lnTo>
                      <a:lnTo>
                        <a:pt x="97" y="1115"/>
                      </a:lnTo>
                      <a:lnTo>
                        <a:pt x="94" y="1115"/>
                      </a:lnTo>
                      <a:lnTo>
                        <a:pt x="73" y="1108"/>
                      </a:lnTo>
                      <a:lnTo>
                        <a:pt x="73" y="1108"/>
                      </a:lnTo>
                      <a:lnTo>
                        <a:pt x="66" y="1108"/>
                      </a:lnTo>
                      <a:lnTo>
                        <a:pt x="61" y="1108"/>
                      </a:lnTo>
                      <a:lnTo>
                        <a:pt x="59" y="1111"/>
                      </a:lnTo>
                      <a:lnTo>
                        <a:pt x="57" y="1113"/>
                      </a:lnTo>
                      <a:lnTo>
                        <a:pt x="56" y="1116"/>
                      </a:lnTo>
                      <a:lnTo>
                        <a:pt x="54" y="1118"/>
                      </a:lnTo>
                      <a:lnTo>
                        <a:pt x="50" y="1120"/>
                      </a:lnTo>
                      <a:lnTo>
                        <a:pt x="47" y="1118"/>
                      </a:lnTo>
                      <a:lnTo>
                        <a:pt x="47" y="1118"/>
                      </a:lnTo>
                      <a:lnTo>
                        <a:pt x="42" y="1116"/>
                      </a:lnTo>
                      <a:lnTo>
                        <a:pt x="38" y="1116"/>
                      </a:lnTo>
                      <a:lnTo>
                        <a:pt x="38" y="1120"/>
                      </a:lnTo>
                      <a:lnTo>
                        <a:pt x="38" y="1121"/>
                      </a:lnTo>
                      <a:lnTo>
                        <a:pt x="37" y="1125"/>
                      </a:lnTo>
                      <a:lnTo>
                        <a:pt x="37" y="1125"/>
                      </a:lnTo>
                      <a:lnTo>
                        <a:pt x="35" y="1125"/>
                      </a:lnTo>
                      <a:lnTo>
                        <a:pt x="30" y="1123"/>
                      </a:lnTo>
                      <a:lnTo>
                        <a:pt x="30" y="1123"/>
                      </a:lnTo>
                      <a:lnTo>
                        <a:pt x="26" y="1120"/>
                      </a:lnTo>
                      <a:lnTo>
                        <a:pt x="23" y="1120"/>
                      </a:lnTo>
                      <a:lnTo>
                        <a:pt x="23" y="1121"/>
                      </a:lnTo>
                      <a:lnTo>
                        <a:pt x="23" y="1123"/>
                      </a:lnTo>
                      <a:lnTo>
                        <a:pt x="24" y="1130"/>
                      </a:lnTo>
                      <a:lnTo>
                        <a:pt x="24" y="1134"/>
                      </a:lnTo>
                      <a:lnTo>
                        <a:pt x="23" y="1137"/>
                      </a:lnTo>
                      <a:lnTo>
                        <a:pt x="23" y="1137"/>
                      </a:lnTo>
                      <a:lnTo>
                        <a:pt x="26" y="1141"/>
                      </a:lnTo>
                      <a:lnTo>
                        <a:pt x="26" y="1142"/>
                      </a:lnTo>
                      <a:lnTo>
                        <a:pt x="26" y="1144"/>
                      </a:lnTo>
                      <a:lnTo>
                        <a:pt x="24" y="1146"/>
                      </a:lnTo>
                      <a:lnTo>
                        <a:pt x="17" y="1148"/>
                      </a:lnTo>
                      <a:lnTo>
                        <a:pt x="16" y="1151"/>
                      </a:lnTo>
                      <a:lnTo>
                        <a:pt x="14" y="1156"/>
                      </a:lnTo>
                      <a:lnTo>
                        <a:pt x="14" y="1156"/>
                      </a:lnTo>
                      <a:lnTo>
                        <a:pt x="14" y="1162"/>
                      </a:lnTo>
                      <a:lnTo>
                        <a:pt x="10" y="1165"/>
                      </a:lnTo>
                      <a:lnTo>
                        <a:pt x="5" y="1170"/>
                      </a:lnTo>
                      <a:lnTo>
                        <a:pt x="3" y="1172"/>
                      </a:lnTo>
                      <a:lnTo>
                        <a:pt x="2" y="1175"/>
                      </a:lnTo>
                      <a:lnTo>
                        <a:pt x="2" y="1179"/>
                      </a:lnTo>
                      <a:lnTo>
                        <a:pt x="3" y="1186"/>
                      </a:lnTo>
                      <a:lnTo>
                        <a:pt x="3" y="1186"/>
                      </a:lnTo>
                      <a:lnTo>
                        <a:pt x="7" y="1193"/>
                      </a:lnTo>
                      <a:lnTo>
                        <a:pt x="7" y="1198"/>
                      </a:lnTo>
                      <a:lnTo>
                        <a:pt x="5" y="1200"/>
                      </a:lnTo>
                      <a:lnTo>
                        <a:pt x="5" y="1202"/>
                      </a:lnTo>
                      <a:lnTo>
                        <a:pt x="3" y="1203"/>
                      </a:lnTo>
                      <a:lnTo>
                        <a:pt x="3" y="1205"/>
                      </a:lnTo>
                      <a:lnTo>
                        <a:pt x="3" y="1209"/>
                      </a:lnTo>
                      <a:lnTo>
                        <a:pt x="9" y="1216"/>
                      </a:lnTo>
                      <a:lnTo>
                        <a:pt x="9" y="1216"/>
                      </a:lnTo>
                      <a:lnTo>
                        <a:pt x="14" y="1226"/>
                      </a:lnTo>
                      <a:lnTo>
                        <a:pt x="14" y="1228"/>
                      </a:lnTo>
                      <a:lnTo>
                        <a:pt x="12" y="1229"/>
                      </a:lnTo>
                      <a:lnTo>
                        <a:pt x="5" y="1233"/>
                      </a:lnTo>
                      <a:lnTo>
                        <a:pt x="3" y="1236"/>
                      </a:lnTo>
                      <a:lnTo>
                        <a:pt x="0" y="1243"/>
                      </a:lnTo>
                      <a:lnTo>
                        <a:pt x="0" y="1243"/>
                      </a:lnTo>
                      <a:lnTo>
                        <a:pt x="9" y="1250"/>
                      </a:lnTo>
                      <a:lnTo>
                        <a:pt x="16" y="1256"/>
                      </a:lnTo>
                      <a:lnTo>
                        <a:pt x="17" y="1257"/>
                      </a:lnTo>
                      <a:lnTo>
                        <a:pt x="19" y="1259"/>
                      </a:lnTo>
                      <a:lnTo>
                        <a:pt x="19" y="1263"/>
                      </a:lnTo>
                      <a:lnTo>
                        <a:pt x="16" y="1264"/>
                      </a:lnTo>
                      <a:lnTo>
                        <a:pt x="16" y="1264"/>
                      </a:lnTo>
                      <a:lnTo>
                        <a:pt x="14" y="1269"/>
                      </a:lnTo>
                      <a:lnTo>
                        <a:pt x="12" y="1275"/>
                      </a:lnTo>
                      <a:lnTo>
                        <a:pt x="12" y="1282"/>
                      </a:lnTo>
                      <a:lnTo>
                        <a:pt x="14" y="1282"/>
                      </a:lnTo>
                      <a:lnTo>
                        <a:pt x="16" y="1283"/>
                      </a:lnTo>
                      <a:lnTo>
                        <a:pt x="16" y="1283"/>
                      </a:lnTo>
                      <a:lnTo>
                        <a:pt x="19" y="1283"/>
                      </a:lnTo>
                      <a:lnTo>
                        <a:pt x="19" y="1285"/>
                      </a:lnTo>
                      <a:lnTo>
                        <a:pt x="19" y="1290"/>
                      </a:lnTo>
                      <a:lnTo>
                        <a:pt x="24" y="1297"/>
                      </a:lnTo>
                      <a:lnTo>
                        <a:pt x="24" y="1297"/>
                      </a:lnTo>
                      <a:lnTo>
                        <a:pt x="28" y="1301"/>
                      </a:lnTo>
                      <a:lnTo>
                        <a:pt x="30" y="1306"/>
                      </a:lnTo>
                      <a:lnTo>
                        <a:pt x="30" y="1313"/>
                      </a:lnTo>
                      <a:lnTo>
                        <a:pt x="28" y="1318"/>
                      </a:lnTo>
                      <a:lnTo>
                        <a:pt x="28" y="1322"/>
                      </a:lnTo>
                      <a:lnTo>
                        <a:pt x="28" y="1322"/>
                      </a:lnTo>
                      <a:lnTo>
                        <a:pt x="35" y="1322"/>
                      </a:lnTo>
                      <a:lnTo>
                        <a:pt x="40" y="1322"/>
                      </a:lnTo>
                      <a:lnTo>
                        <a:pt x="42" y="1325"/>
                      </a:lnTo>
                      <a:lnTo>
                        <a:pt x="45" y="1327"/>
                      </a:lnTo>
                      <a:lnTo>
                        <a:pt x="47" y="1329"/>
                      </a:lnTo>
                      <a:lnTo>
                        <a:pt x="49" y="1330"/>
                      </a:lnTo>
                      <a:lnTo>
                        <a:pt x="52" y="1330"/>
                      </a:lnTo>
                      <a:lnTo>
                        <a:pt x="59" y="1329"/>
                      </a:lnTo>
                      <a:lnTo>
                        <a:pt x="59" y="1329"/>
                      </a:lnTo>
                      <a:lnTo>
                        <a:pt x="66" y="1329"/>
                      </a:lnTo>
                      <a:lnTo>
                        <a:pt x="70" y="1330"/>
                      </a:lnTo>
                      <a:lnTo>
                        <a:pt x="71" y="1334"/>
                      </a:lnTo>
                      <a:lnTo>
                        <a:pt x="71" y="1337"/>
                      </a:lnTo>
                      <a:lnTo>
                        <a:pt x="71" y="1341"/>
                      </a:lnTo>
                      <a:lnTo>
                        <a:pt x="73" y="1344"/>
                      </a:lnTo>
                      <a:lnTo>
                        <a:pt x="75" y="1344"/>
                      </a:lnTo>
                      <a:lnTo>
                        <a:pt x="80" y="1343"/>
                      </a:lnTo>
                      <a:lnTo>
                        <a:pt x="80" y="1343"/>
                      </a:lnTo>
                      <a:lnTo>
                        <a:pt x="92" y="1337"/>
                      </a:lnTo>
                      <a:lnTo>
                        <a:pt x="101" y="1337"/>
                      </a:lnTo>
                      <a:lnTo>
                        <a:pt x="108" y="1339"/>
                      </a:lnTo>
                      <a:lnTo>
                        <a:pt x="113" y="1344"/>
                      </a:lnTo>
                      <a:lnTo>
                        <a:pt x="113" y="1344"/>
                      </a:lnTo>
                      <a:lnTo>
                        <a:pt x="115" y="1346"/>
                      </a:lnTo>
                      <a:lnTo>
                        <a:pt x="118" y="1348"/>
                      </a:lnTo>
                      <a:lnTo>
                        <a:pt x="124" y="1350"/>
                      </a:lnTo>
                      <a:lnTo>
                        <a:pt x="125" y="1350"/>
                      </a:lnTo>
                      <a:lnTo>
                        <a:pt x="125" y="1351"/>
                      </a:lnTo>
                      <a:lnTo>
                        <a:pt x="125" y="1355"/>
                      </a:lnTo>
                      <a:lnTo>
                        <a:pt x="124" y="1360"/>
                      </a:lnTo>
                      <a:lnTo>
                        <a:pt x="124" y="1360"/>
                      </a:lnTo>
                      <a:lnTo>
                        <a:pt x="124" y="1365"/>
                      </a:lnTo>
                      <a:lnTo>
                        <a:pt x="124" y="1369"/>
                      </a:lnTo>
                      <a:lnTo>
                        <a:pt x="127" y="1376"/>
                      </a:lnTo>
                      <a:lnTo>
                        <a:pt x="129" y="1377"/>
                      </a:lnTo>
                      <a:lnTo>
                        <a:pt x="129" y="1379"/>
                      </a:lnTo>
                      <a:lnTo>
                        <a:pt x="129" y="1383"/>
                      </a:lnTo>
                      <a:lnTo>
                        <a:pt x="125" y="1386"/>
                      </a:lnTo>
                      <a:lnTo>
                        <a:pt x="125" y="1386"/>
                      </a:lnTo>
                      <a:lnTo>
                        <a:pt x="122" y="1388"/>
                      </a:lnTo>
                      <a:lnTo>
                        <a:pt x="120" y="1391"/>
                      </a:lnTo>
                      <a:lnTo>
                        <a:pt x="120" y="1393"/>
                      </a:lnTo>
                      <a:lnTo>
                        <a:pt x="124" y="1395"/>
                      </a:lnTo>
                      <a:lnTo>
                        <a:pt x="129" y="1400"/>
                      </a:lnTo>
                      <a:lnTo>
                        <a:pt x="132" y="1404"/>
                      </a:lnTo>
                      <a:lnTo>
                        <a:pt x="134" y="1411"/>
                      </a:lnTo>
                      <a:lnTo>
                        <a:pt x="134" y="1411"/>
                      </a:lnTo>
                      <a:lnTo>
                        <a:pt x="136" y="1419"/>
                      </a:lnTo>
                      <a:lnTo>
                        <a:pt x="141" y="1424"/>
                      </a:lnTo>
                      <a:lnTo>
                        <a:pt x="145" y="1428"/>
                      </a:lnTo>
                      <a:lnTo>
                        <a:pt x="150" y="1431"/>
                      </a:lnTo>
                      <a:lnTo>
                        <a:pt x="157" y="1435"/>
                      </a:lnTo>
                      <a:lnTo>
                        <a:pt x="158" y="1437"/>
                      </a:lnTo>
                      <a:lnTo>
                        <a:pt x="157" y="1440"/>
                      </a:lnTo>
                      <a:lnTo>
                        <a:pt x="157" y="1440"/>
                      </a:lnTo>
                      <a:lnTo>
                        <a:pt x="153" y="1445"/>
                      </a:lnTo>
                      <a:lnTo>
                        <a:pt x="155" y="1447"/>
                      </a:lnTo>
                      <a:lnTo>
                        <a:pt x="158" y="1449"/>
                      </a:lnTo>
                      <a:lnTo>
                        <a:pt x="164" y="1449"/>
                      </a:lnTo>
                      <a:lnTo>
                        <a:pt x="172" y="1449"/>
                      </a:lnTo>
                      <a:lnTo>
                        <a:pt x="176" y="1451"/>
                      </a:lnTo>
                      <a:lnTo>
                        <a:pt x="178" y="1456"/>
                      </a:lnTo>
                      <a:lnTo>
                        <a:pt x="178" y="1456"/>
                      </a:lnTo>
                      <a:lnTo>
                        <a:pt x="179" y="1458"/>
                      </a:lnTo>
                      <a:lnTo>
                        <a:pt x="181" y="1461"/>
                      </a:lnTo>
                      <a:lnTo>
                        <a:pt x="186" y="1464"/>
                      </a:lnTo>
                      <a:lnTo>
                        <a:pt x="188" y="1464"/>
                      </a:lnTo>
                      <a:lnTo>
                        <a:pt x="188" y="1468"/>
                      </a:lnTo>
                      <a:lnTo>
                        <a:pt x="186" y="1470"/>
                      </a:lnTo>
                      <a:lnTo>
                        <a:pt x="183" y="1473"/>
                      </a:lnTo>
                      <a:lnTo>
                        <a:pt x="183" y="1473"/>
                      </a:lnTo>
                      <a:lnTo>
                        <a:pt x="176" y="1478"/>
                      </a:lnTo>
                      <a:lnTo>
                        <a:pt x="171" y="1484"/>
                      </a:lnTo>
                      <a:lnTo>
                        <a:pt x="167" y="1485"/>
                      </a:lnTo>
                      <a:lnTo>
                        <a:pt x="164" y="1485"/>
                      </a:lnTo>
                      <a:lnTo>
                        <a:pt x="158" y="1484"/>
                      </a:lnTo>
                      <a:lnTo>
                        <a:pt x="153" y="1480"/>
                      </a:lnTo>
                      <a:lnTo>
                        <a:pt x="153" y="1480"/>
                      </a:lnTo>
                      <a:lnTo>
                        <a:pt x="150" y="1478"/>
                      </a:lnTo>
                      <a:lnTo>
                        <a:pt x="145" y="1478"/>
                      </a:lnTo>
                      <a:lnTo>
                        <a:pt x="143" y="1480"/>
                      </a:lnTo>
                      <a:lnTo>
                        <a:pt x="139" y="1482"/>
                      </a:lnTo>
                      <a:lnTo>
                        <a:pt x="139" y="1485"/>
                      </a:lnTo>
                      <a:lnTo>
                        <a:pt x="139" y="1489"/>
                      </a:lnTo>
                      <a:lnTo>
                        <a:pt x="139" y="1492"/>
                      </a:lnTo>
                      <a:lnTo>
                        <a:pt x="143" y="1496"/>
                      </a:lnTo>
                      <a:lnTo>
                        <a:pt x="143" y="1496"/>
                      </a:lnTo>
                      <a:lnTo>
                        <a:pt x="146" y="1501"/>
                      </a:lnTo>
                      <a:lnTo>
                        <a:pt x="150" y="1506"/>
                      </a:lnTo>
                      <a:lnTo>
                        <a:pt x="150" y="1510"/>
                      </a:lnTo>
                      <a:lnTo>
                        <a:pt x="148" y="1513"/>
                      </a:lnTo>
                      <a:lnTo>
                        <a:pt x="148" y="1518"/>
                      </a:lnTo>
                      <a:lnTo>
                        <a:pt x="148" y="1522"/>
                      </a:lnTo>
                      <a:lnTo>
                        <a:pt x="150" y="1529"/>
                      </a:lnTo>
                      <a:lnTo>
                        <a:pt x="153" y="1536"/>
                      </a:lnTo>
                      <a:lnTo>
                        <a:pt x="153" y="1536"/>
                      </a:lnTo>
                      <a:lnTo>
                        <a:pt x="165" y="1539"/>
                      </a:lnTo>
                      <a:lnTo>
                        <a:pt x="169" y="1539"/>
                      </a:lnTo>
                      <a:lnTo>
                        <a:pt x="171" y="1539"/>
                      </a:lnTo>
                      <a:lnTo>
                        <a:pt x="172" y="1536"/>
                      </a:lnTo>
                      <a:lnTo>
                        <a:pt x="174" y="1532"/>
                      </a:lnTo>
                      <a:lnTo>
                        <a:pt x="174" y="1532"/>
                      </a:lnTo>
                      <a:lnTo>
                        <a:pt x="176" y="1527"/>
                      </a:lnTo>
                      <a:lnTo>
                        <a:pt x="178" y="1525"/>
                      </a:lnTo>
                      <a:lnTo>
                        <a:pt x="181" y="1525"/>
                      </a:lnTo>
                      <a:lnTo>
                        <a:pt x="185" y="1527"/>
                      </a:lnTo>
                      <a:lnTo>
                        <a:pt x="193" y="1529"/>
                      </a:lnTo>
                      <a:lnTo>
                        <a:pt x="198" y="1527"/>
                      </a:lnTo>
                      <a:lnTo>
                        <a:pt x="202" y="1525"/>
                      </a:lnTo>
                      <a:lnTo>
                        <a:pt x="202" y="1525"/>
                      </a:lnTo>
                      <a:lnTo>
                        <a:pt x="207" y="1522"/>
                      </a:lnTo>
                      <a:lnTo>
                        <a:pt x="209" y="1522"/>
                      </a:lnTo>
                      <a:lnTo>
                        <a:pt x="212" y="1522"/>
                      </a:lnTo>
                      <a:lnTo>
                        <a:pt x="214" y="1524"/>
                      </a:lnTo>
                      <a:lnTo>
                        <a:pt x="218" y="1527"/>
                      </a:lnTo>
                      <a:lnTo>
                        <a:pt x="219" y="1527"/>
                      </a:lnTo>
                      <a:lnTo>
                        <a:pt x="223" y="1525"/>
                      </a:lnTo>
                      <a:lnTo>
                        <a:pt x="223" y="1525"/>
                      </a:lnTo>
                      <a:lnTo>
                        <a:pt x="228" y="1524"/>
                      </a:lnTo>
                      <a:lnTo>
                        <a:pt x="232" y="1524"/>
                      </a:lnTo>
                      <a:lnTo>
                        <a:pt x="232" y="1525"/>
                      </a:lnTo>
                      <a:lnTo>
                        <a:pt x="233" y="1529"/>
                      </a:lnTo>
                      <a:lnTo>
                        <a:pt x="233" y="1534"/>
                      </a:lnTo>
                      <a:lnTo>
                        <a:pt x="235" y="1538"/>
                      </a:lnTo>
                      <a:lnTo>
                        <a:pt x="239" y="1543"/>
                      </a:lnTo>
                      <a:lnTo>
                        <a:pt x="245" y="1548"/>
                      </a:lnTo>
                      <a:lnTo>
                        <a:pt x="245" y="1548"/>
                      </a:lnTo>
                      <a:lnTo>
                        <a:pt x="249" y="1550"/>
                      </a:lnTo>
                      <a:lnTo>
                        <a:pt x="249" y="1552"/>
                      </a:lnTo>
                      <a:lnTo>
                        <a:pt x="244" y="1557"/>
                      </a:lnTo>
                      <a:lnTo>
                        <a:pt x="239" y="1562"/>
                      </a:lnTo>
                      <a:lnTo>
                        <a:pt x="239" y="1564"/>
                      </a:lnTo>
                      <a:lnTo>
                        <a:pt x="240" y="1569"/>
                      </a:lnTo>
                      <a:lnTo>
                        <a:pt x="240" y="1569"/>
                      </a:lnTo>
                      <a:lnTo>
                        <a:pt x="244" y="1574"/>
                      </a:lnTo>
                      <a:lnTo>
                        <a:pt x="244" y="1578"/>
                      </a:lnTo>
                      <a:lnTo>
                        <a:pt x="244" y="1579"/>
                      </a:lnTo>
                      <a:lnTo>
                        <a:pt x="251" y="1583"/>
                      </a:lnTo>
                      <a:lnTo>
                        <a:pt x="251" y="1583"/>
                      </a:lnTo>
                      <a:lnTo>
                        <a:pt x="256" y="1585"/>
                      </a:lnTo>
                      <a:lnTo>
                        <a:pt x="259" y="1585"/>
                      </a:lnTo>
                      <a:lnTo>
                        <a:pt x="265" y="1583"/>
                      </a:lnTo>
                      <a:lnTo>
                        <a:pt x="266" y="1583"/>
                      </a:lnTo>
                      <a:lnTo>
                        <a:pt x="270" y="1585"/>
                      </a:lnTo>
                      <a:lnTo>
                        <a:pt x="277" y="1592"/>
                      </a:lnTo>
                      <a:lnTo>
                        <a:pt x="277" y="1592"/>
                      </a:lnTo>
                      <a:lnTo>
                        <a:pt x="280" y="1599"/>
                      </a:lnTo>
                      <a:lnTo>
                        <a:pt x="282" y="1606"/>
                      </a:lnTo>
                      <a:lnTo>
                        <a:pt x="284" y="1618"/>
                      </a:lnTo>
                      <a:lnTo>
                        <a:pt x="284" y="1623"/>
                      </a:lnTo>
                      <a:lnTo>
                        <a:pt x="286" y="1626"/>
                      </a:lnTo>
                      <a:lnTo>
                        <a:pt x="289" y="1626"/>
                      </a:lnTo>
                      <a:lnTo>
                        <a:pt x="294" y="1625"/>
                      </a:lnTo>
                      <a:lnTo>
                        <a:pt x="294" y="1625"/>
                      </a:lnTo>
                      <a:lnTo>
                        <a:pt x="301" y="1625"/>
                      </a:lnTo>
                      <a:lnTo>
                        <a:pt x="305" y="1625"/>
                      </a:lnTo>
                      <a:lnTo>
                        <a:pt x="313" y="1630"/>
                      </a:lnTo>
                      <a:lnTo>
                        <a:pt x="317" y="1632"/>
                      </a:lnTo>
                      <a:lnTo>
                        <a:pt x="322" y="1633"/>
                      </a:lnTo>
                      <a:lnTo>
                        <a:pt x="329" y="1632"/>
                      </a:lnTo>
                      <a:lnTo>
                        <a:pt x="336" y="1628"/>
                      </a:lnTo>
                      <a:lnTo>
                        <a:pt x="336" y="1628"/>
                      </a:lnTo>
                      <a:lnTo>
                        <a:pt x="345" y="1625"/>
                      </a:lnTo>
                      <a:lnTo>
                        <a:pt x="350" y="1625"/>
                      </a:lnTo>
                      <a:lnTo>
                        <a:pt x="353" y="1625"/>
                      </a:lnTo>
                      <a:lnTo>
                        <a:pt x="355" y="1626"/>
                      </a:lnTo>
                      <a:lnTo>
                        <a:pt x="360" y="1635"/>
                      </a:lnTo>
                      <a:lnTo>
                        <a:pt x="362" y="1639"/>
                      </a:lnTo>
                      <a:lnTo>
                        <a:pt x="366" y="1644"/>
                      </a:lnTo>
                      <a:lnTo>
                        <a:pt x="366" y="1644"/>
                      </a:lnTo>
                      <a:lnTo>
                        <a:pt x="371" y="1647"/>
                      </a:lnTo>
                      <a:lnTo>
                        <a:pt x="374" y="1647"/>
                      </a:lnTo>
                      <a:lnTo>
                        <a:pt x="383" y="1646"/>
                      </a:lnTo>
                      <a:lnTo>
                        <a:pt x="387" y="1644"/>
                      </a:lnTo>
                      <a:lnTo>
                        <a:pt x="390" y="1644"/>
                      </a:lnTo>
                      <a:lnTo>
                        <a:pt x="395" y="1646"/>
                      </a:lnTo>
                      <a:lnTo>
                        <a:pt x="400" y="1651"/>
                      </a:lnTo>
                      <a:lnTo>
                        <a:pt x="400" y="1651"/>
                      </a:lnTo>
                      <a:lnTo>
                        <a:pt x="404" y="1653"/>
                      </a:lnTo>
                      <a:lnTo>
                        <a:pt x="407" y="1654"/>
                      </a:lnTo>
                      <a:lnTo>
                        <a:pt x="416" y="1656"/>
                      </a:lnTo>
                      <a:lnTo>
                        <a:pt x="423" y="1658"/>
                      </a:lnTo>
                      <a:lnTo>
                        <a:pt x="427" y="1659"/>
                      </a:lnTo>
                      <a:lnTo>
                        <a:pt x="430" y="1663"/>
                      </a:lnTo>
                      <a:lnTo>
                        <a:pt x="430" y="1663"/>
                      </a:lnTo>
                      <a:lnTo>
                        <a:pt x="432" y="1666"/>
                      </a:lnTo>
                      <a:lnTo>
                        <a:pt x="435" y="1668"/>
                      </a:lnTo>
                      <a:lnTo>
                        <a:pt x="441" y="1668"/>
                      </a:lnTo>
                      <a:lnTo>
                        <a:pt x="446" y="1666"/>
                      </a:lnTo>
                      <a:lnTo>
                        <a:pt x="446" y="1666"/>
                      </a:lnTo>
                      <a:lnTo>
                        <a:pt x="446" y="1670"/>
                      </a:lnTo>
                      <a:lnTo>
                        <a:pt x="446" y="1670"/>
                      </a:lnTo>
                      <a:lnTo>
                        <a:pt x="447" y="1677"/>
                      </a:lnTo>
                      <a:lnTo>
                        <a:pt x="449" y="1680"/>
                      </a:lnTo>
                      <a:lnTo>
                        <a:pt x="449" y="1682"/>
                      </a:lnTo>
                      <a:lnTo>
                        <a:pt x="446" y="1687"/>
                      </a:lnTo>
                      <a:lnTo>
                        <a:pt x="446" y="1687"/>
                      </a:lnTo>
                      <a:lnTo>
                        <a:pt x="439" y="1693"/>
                      </a:lnTo>
                      <a:lnTo>
                        <a:pt x="435" y="1696"/>
                      </a:lnTo>
                      <a:lnTo>
                        <a:pt x="434" y="1700"/>
                      </a:lnTo>
                      <a:lnTo>
                        <a:pt x="439" y="1700"/>
                      </a:lnTo>
                      <a:lnTo>
                        <a:pt x="439" y="1700"/>
                      </a:lnTo>
                      <a:lnTo>
                        <a:pt x="444" y="1701"/>
                      </a:lnTo>
                      <a:lnTo>
                        <a:pt x="446" y="1703"/>
                      </a:lnTo>
                      <a:lnTo>
                        <a:pt x="446" y="1706"/>
                      </a:lnTo>
                      <a:lnTo>
                        <a:pt x="442" y="1708"/>
                      </a:lnTo>
                      <a:lnTo>
                        <a:pt x="442" y="1708"/>
                      </a:lnTo>
                      <a:lnTo>
                        <a:pt x="437" y="1710"/>
                      </a:lnTo>
                      <a:lnTo>
                        <a:pt x="432" y="1713"/>
                      </a:lnTo>
                      <a:lnTo>
                        <a:pt x="430" y="1715"/>
                      </a:lnTo>
                      <a:lnTo>
                        <a:pt x="430" y="1717"/>
                      </a:lnTo>
                      <a:lnTo>
                        <a:pt x="432" y="1719"/>
                      </a:lnTo>
                      <a:lnTo>
                        <a:pt x="434" y="1720"/>
                      </a:lnTo>
                      <a:lnTo>
                        <a:pt x="434" y="1720"/>
                      </a:lnTo>
                      <a:lnTo>
                        <a:pt x="439" y="1726"/>
                      </a:lnTo>
                      <a:lnTo>
                        <a:pt x="442" y="1733"/>
                      </a:lnTo>
                      <a:lnTo>
                        <a:pt x="442" y="1741"/>
                      </a:lnTo>
                      <a:lnTo>
                        <a:pt x="439" y="1752"/>
                      </a:lnTo>
                      <a:lnTo>
                        <a:pt x="439" y="1752"/>
                      </a:lnTo>
                      <a:lnTo>
                        <a:pt x="435" y="1755"/>
                      </a:lnTo>
                      <a:lnTo>
                        <a:pt x="430" y="1757"/>
                      </a:lnTo>
                      <a:lnTo>
                        <a:pt x="418" y="1755"/>
                      </a:lnTo>
                      <a:lnTo>
                        <a:pt x="407" y="1755"/>
                      </a:lnTo>
                      <a:lnTo>
                        <a:pt x="402" y="1757"/>
                      </a:lnTo>
                      <a:lnTo>
                        <a:pt x="400" y="1760"/>
                      </a:lnTo>
                      <a:lnTo>
                        <a:pt x="400" y="1760"/>
                      </a:lnTo>
                      <a:lnTo>
                        <a:pt x="399" y="1764"/>
                      </a:lnTo>
                      <a:lnTo>
                        <a:pt x="395" y="1766"/>
                      </a:lnTo>
                      <a:lnTo>
                        <a:pt x="387" y="1769"/>
                      </a:lnTo>
                      <a:lnTo>
                        <a:pt x="383" y="1771"/>
                      </a:lnTo>
                      <a:lnTo>
                        <a:pt x="381" y="1776"/>
                      </a:lnTo>
                      <a:lnTo>
                        <a:pt x="380" y="1783"/>
                      </a:lnTo>
                      <a:lnTo>
                        <a:pt x="381" y="1795"/>
                      </a:lnTo>
                      <a:lnTo>
                        <a:pt x="381" y="1795"/>
                      </a:lnTo>
                      <a:lnTo>
                        <a:pt x="390" y="1792"/>
                      </a:lnTo>
                      <a:lnTo>
                        <a:pt x="392" y="1792"/>
                      </a:lnTo>
                      <a:lnTo>
                        <a:pt x="392" y="1792"/>
                      </a:lnTo>
                      <a:lnTo>
                        <a:pt x="397" y="1794"/>
                      </a:lnTo>
                      <a:lnTo>
                        <a:pt x="400" y="1792"/>
                      </a:lnTo>
                      <a:lnTo>
                        <a:pt x="406" y="1790"/>
                      </a:lnTo>
                      <a:lnTo>
                        <a:pt x="406" y="1790"/>
                      </a:lnTo>
                      <a:lnTo>
                        <a:pt x="411" y="1788"/>
                      </a:lnTo>
                      <a:lnTo>
                        <a:pt x="414" y="1788"/>
                      </a:lnTo>
                      <a:lnTo>
                        <a:pt x="416" y="1788"/>
                      </a:lnTo>
                      <a:lnTo>
                        <a:pt x="418" y="1790"/>
                      </a:lnTo>
                      <a:lnTo>
                        <a:pt x="416" y="1794"/>
                      </a:lnTo>
                      <a:lnTo>
                        <a:pt x="414" y="1797"/>
                      </a:lnTo>
                      <a:lnTo>
                        <a:pt x="409" y="1799"/>
                      </a:lnTo>
                      <a:lnTo>
                        <a:pt x="404" y="1802"/>
                      </a:lnTo>
                      <a:lnTo>
                        <a:pt x="404" y="1802"/>
                      </a:lnTo>
                      <a:lnTo>
                        <a:pt x="395" y="1804"/>
                      </a:lnTo>
                      <a:lnTo>
                        <a:pt x="390" y="1807"/>
                      </a:lnTo>
                      <a:lnTo>
                        <a:pt x="385" y="1811"/>
                      </a:lnTo>
                      <a:lnTo>
                        <a:pt x="380" y="1814"/>
                      </a:lnTo>
                      <a:lnTo>
                        <a:pt x="367" y="1816"/>
                      </a:lnTo>
                      <a:lnTo>
                        <a:pt x="367" y="1816"/>
                      </a:lnTo>
                      <a:lnTo>
                        <a:pt x="366" y="1818"/>
                      </a:lnTo>
                      <a:lnTo>
                        <a:pt x="364" y="1820"/>
                      </a:lnTo>
                      <a:lnTo>
                        <a:pt x="364" y="1821"/>
                      </a:lnTo>
                      <a:lnTo>
                        <a:pt x="366" y="1825"/>
                      </a:lnTo>
                      <a:lnTo>
                        <a:pt x="371" y="1830"/>
                      </a:lnTo>
                      <a:lnTo>
                        <a:pt x="374" y="1832"/>
                      </a:lnTo>
                      <a:lnTo>
                        <a:pt x="378" y="1832"/>
                      </a:lnTo>
                      <a:lnTo>
                        <a:pt x="378" y="1832"/>
                      </a:lnTo>
                      <a:lnTo>
                        <a:pt x="381" y="1832"/>
                      </a:lnTo>
                      <a:lnTo>
                        <a:pt x="385" y="1834"/>
                      </a:lnTo>
                      <a:lnTo>
                        <a:pt x="392" y="1841"/>
                      </a:lnTo>
                      <a:lnTo>
                        <a:pt x="393" y="1848"/>
                      </a:lnTo>
                      <a:lnTo>
                        <a:pt x="393" y="1848"/>
                      </a:lnTo>
                      <a:lnTo>
                        <a:pt x="390" y="1848"/>
                      </a:lnTo>
                      <a:lnTo>
                        <a:pt x="390" y="1848"/>
                      </a:lnTo>
                      <a:lnTo>
                        <a:pt x="381" y="1846"/>
                      </a:lnTo>
                      <a:lnTo>
                        <a:pt x="376" y="1846"/>
                      </a:lnTo>
                      <a:lnTo>
                        <a:pt x="371" y="1849"/>
                      </a:lnTo>
                      <a:lnTo>
                        <a:pt x="367" y="1854"/>
                      </a:lnTo>
                      <a:lnTo>
                        <a:pt x="367" y="1854"/>
                      </a:lnTo>
                      <a:lnTo>
                        <a:pt x="362" y="1868"/>
                      </a:lnTo>
                      <a:lnTo>
                        <a:pt x="360" y="1872"/>
                      </a:lnTo>
                      <a:lnTo>
                        <a:pt x="362" y="1877"/>
                      </a:lnTo>
                      <a:lnTo>
                        <a:pt x="362" y="1877"/>
                      </a:lnTo>
                      <a:lnTo>
                        <a:pt x="364" y="1884"/>
                      </a:lnTo>
                      <a:lnTo>
                        <a:pt x="364" y="1886"/>
                      </a:lnTo>
                      <a:lnTo>
                        <a:pt x="360" y="1886"/>
                      </a:lnTo>
                      <a:lnTo>
                        <a:pt x="355" y="1882"/>
                      </a:lnTo>
                      <a:lnTo>
                        <a:pt x="352" y="1882"/>
                      </a:lnTo>
                      <a:lnTo>
                        <a:pt x="348" y="1882"/>
                      </a:lnTo>
                      <a:lnTo>
                        <a:pt x="348" y="1882"/>
                      </a:lnTo>
                      <a:lnTo>
                        <a:pt x="345" y="1884"/>
                      </a:lnTo>
                      <a:lnTo>
                        <a:pt x="341" y="1882"/>
                      </a:lnTo>
                      <a:lnTo>
                        <a:pt x="334" y="1881"/>
                      </a:lnTo>
                      <a:lnTo>
                        <a:pt x="331" y="1879"/>
                      </a:lnTo>
                      <a:lnTo>
                        <a:pt x="329" y="1879"/>
                      </a:lnTo>
                      <a:lnTo>
                        <a:pt x="329" y="1882"/>
                      </a:lnTo>
                      <a:lnTo>
                        <a:pt x="329" y="1882"/>
                      </a:lnTo>
                      <a:lnTo>
                        <a:pt x="329" y="1884"/>
                      </a:lnTo>
                      <a:lnTo>
                        <a:pt x="329" y="1888"/>
                      </a:lnTo>
                      <a:lnTo>
                        <a:pt x="326" y="1891"/>
                      </a:lnTo>
                      <a:lnTo>
                        <a:pt x="326" y="1891"/>
                      </a:lnTo>
                      <a:lnTo>
                        <a:pt x="327" y="1893"/>
                      </a:lnTo>
                      <a:lnTo>
                        <a:pt x="336" y="1898"/>
                      </a:lnTo>
                      <a:lnTo>
                        <a:pt x="336" y="1898"/>
                      </a:lnTo>
                      <a:lnTo>
                        <a:pt x="343" y="1902"/>
                      </a:lnTo>
                      <a:lnTo>
                        <a:pt x="346" y="1905"/>
                      </a:lnTo>
                      <a:lnTo>
                        <a:pt x="350" y="1910"/>
                      </a:lnTo>
                      <a:lnTo>
                        <a:pt x="355" y="1915"/>
                      </a:lnTo>
                      <a:lnTo>
                        <a:pt x="359" y="1917"/>
                      </a:lnTo>
                      <a:lnTo>
                        <a:pt x="366" y="1917"/>
                      </a:lnTo>
                      <a:lnTo>
                        <a:pt x="366" y="1917"/>
                      </a:lnTo>
                      <a:lnTo>
                        <a:pt x="371" y="1919"/>
                      </a:lnTo>
                      <a:lnTo>
                        <a:pt x="373" y="1921"/>
                      </a:lnTo>
                      <a:lnTo>
                        <a:pt x="374" y="1924"/>
                      </a:lnTo>
                      <a:lnTo>
                        <a:pt x="376" y="1926"/>
                      </a:lnTo>
                      <a:lnTo>
                        <a:pt x="378" y="1928"/>
                      </a:lnTo>
                      <a:lnTo>
                        <a:pt x="383" y="1931"/>
                      </a:lnTo>
                      <a:lnTo>
                        <a:pt x="392" y="1933"/>
                      </a:lnTo>
                      <a:lnTo>
                        <a:pt x="392" y="1933"/>
                      </a:lnTo>
                      <a:lnTo>
                        <a:pt x="404" y="1938"/>
                      </a:lnTo>
                      <a:lnTo>
                        <a:pt x="407" y="1940"/>
                      </a:lnTo>
                      <a:lnTo>
                        <a:pt x="409" y="1942"/>
                      </a:lnTo>
                      <a:lnTo>
                        <a:pt x="418" y="1954"/>
                      </a:lnTo>
                      <a:lnTo>
                        <a:pt x="442" y="1978"/>
                      </a:lnTo>
                      <a:lnTo>
                        <a:pt x="442" y="1978"/>
                      </a:lnTo>
                      <a:lnTo>
                        <a:pt x="447" y="1975"/>
                      </a:lnTo>
                      <a:lnTo>
                        <a:pt x="453" y="1973"/>
                      </a:lnTo>
                      <a:lnTo>
                        <a:pt x="460" y="1971"/>
                      </a:lnTo>
                      <a:lnTo>
                        <a:pt x="465" y="1971"/>
                      </a:lnTo>
                      <a:lnTo>
                        <a:pt x="465" y="1971"/>
                      </a:lnTo>
                      <a:lnTo>
                        <a:pt x="468" y="1971"/>
                      </a:lnTo>
                      <a:lnTo>
                        <a:pt x="470" y="1971"/>
                      </a:lnTo>
                      <a:lnTo>
                        <a:pt x="475" y="1975"/>
                      </a:lnTo>
                      <a:lnTo>
                        <a:pt x="481" y="1978"/>
                      </a:lnTo>
                      <a:lnTo>
                        <a:pt x="482" y="1980"/>
                      </a:lnTo>
                      <a:lnTo>
                        <a:pt x="488" y="1982"/>
                      </a:lnTo>
                      <a:lnTo>
                        <a:pt x="488" y="1982"/>
                      </a:lnTo>
                      <a:lnTo>
                        <a:pt x="491" y="1982"/>
                      </a:lnTo>
                      <a:lnTo>
                        <a:pt x="493" y="1983"/>
                      </a:lnTo>
                      <a:lnTo>
                        <a:pt x="498" y="1987"/>
                      </a:lnTo>
                      <a:lnTo>
                        <a:pt x="500" y="1989"/>
                      </a:lnTo>
                      <a:lnTo>
                        <a:pt x="503" y="1989"/>
                      </a:lnTo>
                      <a:lnTo>
                        <a:pt x="508" y="1989"/>
                      </a:lnTo>
                      <a:lnTo>
                        <a:pt x="514" y="1987"/>
                      </a:lnTo>
                      <a:lnTo>
                        <a:pt x="514" y="1987"/>
                      </a:lnTo>
                      <a:lnTo>
                        <a:pt x="519" y="1985"/>
                      </a:lnTo>
                      <a:lnTo>
                        <a:pt x="524" y="1985"/>
                      </a:lnTo>
                      <a:lnTo>
                        <a:pt x="529" y="1987"/>
                      </a:lnTo>
                      <a:lnTo>
                        <a:pt x="535" y="1990"/>
                      </a:lnTo>
                      <a:lnTo>
                        <a:pt x="538" y="1990"/>
                      </a:lnTo>
                      <a:lnTo>
                        <a:pt x="540" y="1990"/>
                      </a:lnTo>
                      <a:lnTo>
                        <a:pt x="540" y="1990"/>
                      </a:lnTo>
                      <a:lnTo>
                        <a:pt x="545" y="1990"/>
                      </a:lnTo>
                      <a:lnTo>
                        <a:pt x="548" y="1994"/>
                      </a:lnTo>
                      <a:lnTo>
                        <a:pt x="557" y="1999"/>
                      </a:lnTo>
                      <a:lnTo>
                        <a:pt x="568" y="2006"/>
                      </a:lnTo>
                      <a:lnTo>
                        <a:pt x="568" y="2006"/>
                      </a:lnTo>
                      <a:lnTo>
                        <a:pt x="576" y="2009"/>
                      </a:lnTo>
                      <a:lnTo>
                        <a:pt x="576" y="2011"/>
                      </a:lnTo>
                      <a:lnTo>
                        <a:pt x="576" y="2013"/>
                      </a:lnTo>
                      <a:lnTo>
                        <a:pt x="575" y="2015"/>
                      </a:lnTo>
                      <a:lnTo>
                        <a:pt x="575" y="2016"/>
                      </a:lnTo>
                      <a:lnTo>
                        <a:pt x="578" y="2020"/>
                      </a:lnTo>
                      <a:lnTo>
                        <a:pt x="578" y="2020"/>
                      </a:lnTo>
                      <a:lnTo>
                        <a:pt x="582" y="2020"/>
                      </a:lnTo>
                      <a:lnTo>
                        <a:pt x="585" y="2020"/>
                      </a:lnTo>
                      <a:lnTo>
                        <a:pt x="590" y="2015"/>
                      </a:lnTo>
                      <a:lnTo>
                        <a:pt x="595" y="2009"/>
                      </a:lnTo>
                      <a:lnTo>
                        <a:pt x="599" y="2009"/>
                      </a:lnTo>
                      <a:lnTo>
                        <a:pt x="602" y="2009"/>
                      </a:lnTo>
                      <a:lnTo>
                        <a:pt x="602" y="2009"/>
                      </a:lnTo>
                      <a:lnTo>
                        <a:pt x="611" y="2013"/>
                      </a:lnTo>
                      <a:lnTo>
                        <a:pt x="615" y="2011"/>
                      </a:lnTo>
                      <a:lnTo>
                        <a:pt x="618" y="2009"/>
                      </a:lnTo>
                      <a:lnTo>
                        <a:pt x="623" y="2011"/>
                      </a:lnTo>
                      <a:lnTo>
                        <a:pt x="623" y="2011"/>
                      </a:lnTo>
                      <a:lnTo>
                        <a:pt x="627" y="2013"/>
                      </a:lnTo>
                      <a:lnTo>
                        <a:pt x="629" y="2016"/>
                      </a:lnTo>
                      <a:lnTo>
                        <a:pt x="632" y="2020"/>
                      </a:lnTo>
                      <a:lnTo>
                        <a:pt x="639" y="2020"/>
                      </a:lnTo>
                      <a:lnTo>
                        <a:pt x="639" y="2020"/>
                      </a:lnTo>
                      <a:lnTo>
                        <a:pt x="644" y="2020"/>
                      </a:lnTo>
                      <a:lnTo>
                        <a:pt x="646" y="2022"/>
                      </a:lnTo>
                      <a:lnTo>
                        <a:pt x="646" y="2025"/>
                      </a:lnTo>
                      <a:lnTo>
                        <a:pt x="644" y="2027"/>
                      </a:lnTo>
                      <a:lnTo>
                        <a:pt x="642" y="2034"/>
                      </a:lnTo>
                      <a:lnTo>
                        <a:pt x="642" y="2036"/>
                      </a:lnTo>
                      <a:lnTo>
                        <a:pt x="644" y="2039"/>
                      </a:lnTo>
                      <a:lnTo>
                        <a:pt x="644" y="2039"/>
                      </a:lnTo>
                      <a:lnTo>
                        <a:pt x="651" y="2044"/>
                      </a:lnTo>
                      <a:lnTo>
                        <a:pt x="658" y="2046"/>
                      </a:lnTo>
                      <a:lnTo>
                        <a:pt x="669" y="2049"/>
                      </a:lnTo>
                      <a:lnTo>
                        <a:pt x="669" y="2049"/>
                      </a:lnTo>
                      <a:lnTo>
                        <a:pt x="672" y="2053"/>
                      </a:lnTo>
                      <a:lnTo>
                        <a:pt x="674" y="2055"/>
                      </a:lnTo>
                      <a:lnTo>
                        <a:pt x="676" y="2055"/>
                      </a:lnTo>
                      <a:lnTo>
                        <a:pt x="677" y="2055"/>
                      </a:lnTo>
                      <a:lnTo>
                        <a:pt x="681" y="2053"/>
                      </a:lnTo>
                      <a:lnTo>
                        <a:pt x="683" y="2055"/>
                      </a:lnTo>
                      <a:lnTo>
                        <a:pt x="683" y="2058"/>
                      </a:lnTo>
                      <a:lnTo>
                        <a:pt x="683" y="2058"/>
                      </a:lnTo>
                      <a:lnTo>
                        <a:pt x="684" y="2062"/>
                      </a:lnTo>
                      <a:lnTo>
                        <a:pt x="686" y="2063"/>
                      </a:lnTo>
                      <a:lnTo>
                        <a:pt x="691" y="2065"/>
                      </a:lnTo>
                      <a:lnTo>
                        <a:pt x="695" y="2069"/>
                      </a:lnTo>
                      <a:lnTo>
                        <a:pt x="696" y="2070"/>
                      </a:lnTo>
                      <a:lnTo>
                        <a:pt x="698" y="2076"/>
                      </a:lnTo>
                      <a:lnTo>
                        <a:pt x="698" y="2076"/>
                      </a:lnTo>
                      <a:lnTo>
                        <a:pt x="700" y="2079"/>
                      </a:lnTo>
                      <a:lnTo>
                        <a:pt x="703" y="2083"/>
                      </a:lnTo>
                      <a:lnTo>
                        <a:pt x="707" y="2084"/>
                      </a:lnTo>
                      <a:lnTo>
                        <a:pt x="712" y="2086"/>
                      </a:lnTo>
                      <a:lnTo>
                        <a:pt x="716" y="2086"/>
                      </a:lnTo>
                      <a:lnTo>
                        <a:pt x="719" y="2084"/>
                      </a:lnTo>
                      <a:lnTo>
                        <a:pt x="723" y="2083"/>
                      </a:lnTo>
                      <a:lnTo>
                        <a:pt x="724" y="2079"/>
                      </a:lnTo>
                      <a:lnTo>
                        <a:pt x="724" y="2079"/>
                      </a:lnTo>
                      <a:lnTo>
                        <a:pt x="728" y="2072"/>
                      </a:lnTo>
                      <a:lnTo>
                        <a:pt x="733" y="2069"/>
                      </a:lnTo>
                      <a:lnTo>
                        <a:pt x="740" y="2063"/>
                      </a:lnTo>
                      <a:lnTo>
                        <a:pt x="745" y="2055"/>
                      </a:lnTo>
                      <a:lnTo>
                        <a:pt x="745" y="2055"/>
                      </a:lnTo>
                      <a:lnTo>
                        <a:pt x="737" y="2041"/>
                      </a:lnTo>
                      <a:lnTo>
                        <a:pt x="728" y="2032"/>
                      </a:lnTo>
                      <a:lnTo>
                        <a:pt x="716" y="2016"/>
                      </a:lnTo>
                      <a:lnTo>
                        <a:pt x="712" y="2009"/>
                      </a:lnTo>
                      <a:lnTo>
                        <a:pt x="709" y="2001"/>
                      </a:lnTo>
                      <a:lnTo>
                        <a:pt x="709" y="1989"/>
                      </a:lnTo>
                      <a:lnTo>
                        <a:pt x="710" y="1975"/>
                      </a:lnTo>
                      <a:lnTo>
                        <a:pt x="710" y="1975"/>
                      </a:lnTo>
                      <a:lnTo>
                        <a:pt x="712" y="1955"/>
                      </a:lnTo>
                      <a:lnTo>
                        <a:pt x="712" y="1954"/>
                      </a:lnTo>
                      <a:lnTo>
                        <a:pt x="710" y="1955"/>
                      </a:lnTo>
                      <a:lnTo>
                        <a:pt x="709" y="1959"/>
                      </a:lnTo>
                      <a:lnTo>
                        <a:pt x="705" y="1961"/>
                      </a:lnTo>
                      <a:lnTo>
                        <a:pt x="703" y="1959"/>
                      </a:lnTo>
                      <a:lnTo>
                        <a:pt x="702" y="1952"/>
                      </a:lnTo>
                      <a:lnTo>
                        <a:pt x="702" y="1952"/>
                      </a:lnTo>
                      <a:lnTo>
                        <a:pt x="700" y="1943"/>
                      </a:lnTo>
                      <a:lnTo>
                        <a:pt x="695" y="1936"/>
                      </a:lnTo>
                      <a:lnTo>
                        <a:pt x="690" y="1931"/>
                      </a:lnTo>
                      <a:lnTo>
                        <a:pt x="684" y="1928"/>
                      </a:lnTo>
                      <a:lnTo>
                        <a:pt x="679" y="1926"/>
                      </a:lnTo>
                      <a:lnTo>
                        <a:pt x="676" y="1924"/>
                      </a:lnTo>
                      <a:lnTo>
                        <a:pt x="677" y="1921"/>
                      </a:lnTo>
                      <a:lnTo>
                        <a:pt x="681" y="1915"/>
                      </a:lnTo>
                      <a:lnTo>
                        <a:pt x="681" y="1915"/>
                      </a:lnTo>
                      <a:lnTo>
                        <a:pt x="686" y="1910"/>
                      </a:lnTo>
                      <a:lnTo>
                        <a:pt x="691" y="1905"/>
                      </a:lnTo>
                      <a:lnTo>
                        <a:pt x="700" y="1893"/>
                      </a:lnTo>
                      <a:lnTo>
                        <a:pt x="709" y="1879"/>
                      </a:lnTo>
                      <a:lnTo>
                        <a:pt x="721" y="1865"/>
                      </a:lnTo>
                      <a:lnTo>
                        <a:pt x="721" y="1865"/>
                      </a:lnTo>
                      <a:lnTo>
                        <a:pt x="730" y="1860"/>
                      </a:lnTo>
                      <a:lnTo>
                        <a:pt x="735" y="1856"/>
                      </a:lnTo>
                      <a:lnTo>
                        <a:pt x="740" y="1856"/>
                      </a:lnTo>
                      <a:lnTo>
                        <a:pt x="743" y="1856"/>
                      </a:lnTo>
                      <a:lnTo>
                        <a:pt x="749" y="1856"/>
                      </a:lnTo>
                      <a:lnTo>
                        <a:pt x="749" y="1854"/>
                      </a:lnTo>
                      <a:lnTo>
                        <a:pt x="749" y="1853"/>
                      </a:lnTo>
                      <a:lnTo>
                        <a:pt x="749" y="1853"/>
                      </a:lnTo>
                      <a:lnTo>
                        <a:pt x="749" y="1846"/>
                      </a:lnTo>
                      <a:lnTo>
                        <a:pt x="750" y="1842"/>
                      </a:lnTo>
                      <a:lnTo>
                        <a:pt x="754" y="1839"/>
                      </a:lnTo>
                      <a:lnTo>
                        <a:pt x="757" y="1828"/>
                      </a:lnTo>
                      <a:lnTo>
                        <a:pt x="757" y="1828"/>
                      </a:lnTo>
                      <a:lnTo>
                        <a:pt x="747" y="1823"/>
                      </a:lnTo>
                      <a:lnTo>
                        <a:pt x="743" y="1820"/>
                      </a:lnTo>
                      <a:lnTo>
                        <a:pt x="745" y="1818"/>
                      </a:lnTo>
                      <a:lnTo>
                        <a:pt x="749" y="1814"/>
                      </a:lnTo>
                      <a:lnTo>
                        <a:pt x="752" y="1813"/>
                      </a:lnTo>
                      <a:lnTo>
                        <a:pt x="756" y="1807"/>
                      </a:lnTo>
                      <a:lnTo>
                        <a:pt x="756" y="1804"/>
                      </a:lnTo>
                      <a:lnTo>
                        <a:pt x="754" y="1801"/>
                      </a:lnTo>
                      <a:lnTo>
                        <a:pt x="747" y="1788"/>
                      </a:lnTo>
                      <a:lnTo>
                        <a:pt x="747" y="1788"/>
                      </a:lnTo>
                      <a:lnTo>
                        <a:pt x="730" y="1769"/>
                      </a:lnTo>
                      <a:lnTo>
                        <a:pt x="719" y="1760"/>
                      </a:lnTo>
                      <a:lnTo>
                        <a:pt x="716" y="1759"/>
                      </a:lnTo>
                      <a:lnTo>
                        <a:pt x="712" y="1759"/>
                      </a:lnTo>
                      <a:lnTo>
                        <a:pt x="705" y="1760"/>
                      </a:lnTo>
                      <a:lnTo>
                        <a:pt x="705" y="1760"/>
                      </a:lnTo>
                      <a:lnTo>
                        <a:pt x="700" y="1760"/>
                      </a:lnTo>
                      <a:lnTo>
                        <a:pt x="698" y="1759"/>
                      </a:lnTo>
                      <a:lnTo>
                        <a:pt x="696" y="1750"/>
                      </a:lnTo>
                      <a:lnTo>
                        <a:pt x="696" y="1745"/>
                      </a:lnTo>
                      <a:lnTo>
                        <a:pt x="693" y="1740"/>
                      </a:lnTo>
                      <a:lnTo>
                        <a:pt x="690" y="1734"/>
                      </a:lnTo>
                      <a:lnTo>
                        <a:pt x="683" y="1731"/>
                      </a:lnTo>
                      <a:lnTo>
                        <a:pt x="683" y="1731"/>
                      </a:lnTo>
                      <a:lnTo>
                        <a:pt x="679" y="1729"/>
                      </a:lnTo>
                      <a:lnTo>
                        <a:pt x="676" y="1727"/>
                      </a:lnTo>
                      <a:lnTo>
                        <a:pt x="674" y="1724"/>
                      </a:lnTo>
                      <a:lnTo>
                        <a:pt x="674" y="1722"/>
                      </a:lnTo>
                      <a:lnTo>
                        <a:pt x="676" y="1715"/>
                      </a:lnTo>
                      <a:lnTo>
                        <a:pt x="679" y="1706"/>
                      </a:lnTo>
                      <a:lnTo>
                        <a:pt x="684" y="1698"/>
                      </a:lnTo>
                      <a:lnTo>
                        <a:pt x="686" y="1691"/>
                      </a:lnTo>
                      <a:lnTo>
                        <a:pt x="688" y="1684"/>
                      </a:lnTo>
                      <a:lnTo>
                        <a:pt x="686" y="1680"/>
                      </a:lnTo>
                      <a:lnTo>
                        <a:pt x="684" y="1677"/>
                      </a:lnTo>
                      <a:lnTo>
                        <a:pt x="684" y="1677"/>
                      </a:lnTo>
                      <a:lnTo>
                        <a:pt x="683" y="1673"/>
                      </a:lnTo>
                      <a:lnTo>
                        <a:pt x="683" y="1670"/>
                      </a:lnTo>
                      <a:lnTo>
                        <a:pt x="683" y="1661"/>
                      </a:lnTo>
                      <a:lnTo>
                        <a:pt x="686" y="1651"/>
                      </a:lnTo>
                      <a:lnTo>
                        <a:pt x="691" y="1642"/>
                      </a:lnTo>
                      <a:lnTo>
                        <a:pt x="698" y="1633"/>
                      </a:lnTo>
                      <a:lnTo>
                        <a:pt x="705" y="1628"/>
                      </a:lnTo>
                      <a:lnTo>
                        <a:pt x="710" y="1625"/>
                      </a:lnTo>
                      <a:lnTo>
                        <a:pt x="714" y="1626"/>
                      </a:lnTo>
                      <a:lnTo>
                        <a:pt x="716" y="1628"/>
                      </a:lnTo>
                      <a:lnTo>
                        <a:pt x="716" y="1628"/>
                      </a:lnTo>
                      <a:lnTo>
                        <a:pt x="724" y="1640"/>
                      </a:lnTo>
                      <a:lnTo>
                        <a:pt x="733" y="1649"/>
                      </a:lnTo>
                      <a:lnTo>
                        <a:pt x="738" y="1653"/>
                      </a:lnTo>
                      <a:lnTo>
                        <a:pt x="743" y="1654"/>
                      </a:lnTo>
                      <a:lnTo>
                        <a:pt x="747" y="1651"/>
                      </a:lnTo>
                      <a:lnTo>
                        <a:pt x="749" y="1646"/>
                      </a:lnTo>
                      <a:lnTo>
                        <a:pt x="750" y="1637"/>
                      </a:lnTo>
                      <a:lnTo>
                        <a:pt x="750" y="1626"/>
                      </a:lnTo>
                      <a:lnTo>
                        <a:pt x="750" y="1626"/>
                      </a:lnTo>
                      <a:lnTo>
                        <a:pt x="750" y="1621"/>
                      </a:lnTo>
                      <a:lnTo>
                        <a:pt x="750" y="1616"/>
                      </a:lnTo>
                      <a:lnTo>
                        <a:pt x="756" y="1607"/>
                      </a:lnTo>
                      <a:lnTo>
                        <a:pt x="764" y="1600"/>
                      </a:lnTo>
                      <a:lnTo>
                        <a:pt x="775" y="1593"/>
                      </a:lnTo>
                      <a:lnTo>
                        <a:pt x="796" y="1581"/>
                      </a:lnTo>
                      <a:lnTo>
                        <a:pt x="806" y="1572"/>
                      </a:lnTo>
                      <a:lnTo>
                        <a:pt x="815" y="1564"/>
                      </a:lnTo>
                      <a:lnTo>
                        <a:pt x="815" y="1564"/>
                      </a:lnTo>
                      <a:lnTo>
                        <a:pt x="820" y="1559"/>
                      </a:lnTo>
                      <a:lnTo>
                        <a:pt x="825" y="1557"/>
                      </a:lnTo>
                      <a:lnTo>
                        <a:pt x="831" y="1559"/>
                      </a:lnTo>
                      <a:lnTo>
                        <a:pt x="834" y="1562"/>
                      </a:lnTo>
                      <a:lnTo>
                        <a:pt x="839" y="1565"/>
                      </a:lnTo>
                      <a:lnTo>
                        <a:pt x="844" y="1567"/>
                      </a:lnTo>
                      <a:lnTo>
                        <a:pt x="851" y="1567"/>
                      </a:lnTo>
                      <a:lnTo>
                        <a:pt x="858" y="1562"/>
                      </a:lnTo>
                      <a:lnTo>
                        <a:pt x="858" y="1562"/>
                      </a:lnTo>
                      <a:lnTo>
                        <a:pt x="867" y="1557"/>
                      </a:lnTo>
                      <a:lnTo>
                        <a:pt x="872" y="1555"/>
                      </a:lnTo>
                      <a:lnTo>
                        <a:pt x="876" y="1555"/>
                      </a:lnTo>
                      <a:lnTo>
                        <a:pt x="879" y="1557"/>
                      </a:lnTo>
                      <a:lnTo>
                        <a:pt x="891" y="1564"/>
                      </a:lnTo>
                      <a:lnTo>
                        <a:pt x="900" y="1567"/>
                      </a:lnTo>
                      <a:lnTo>
                        <a:pt x="911" y="1569"/>
                      </a:lnTo>
                      <a:lnTo>
                        <a:pt x="911" y="1569"/>
                      </a:lnTo>
                      <a:lnTo>
                        <a:pt x="918" y="1571"/>
                      </a:lnTo>
                      <a:lnTo>
                        <a:pt x="925" y="1574"/>
                      </a:lnTo>
                      <a:lnTo>
                        <a:pt x="937" y="1581"/>
                      </a:lnTo>
                      <a:lnTo>
                        <a:pt x="963" y="1600"/>
                      </a:lnTo>
                      <a:lnTo>
                        <a:pt x="973" y="1609"/>
                      </a:lnTo>
                      <a:lnTo>
                        <a:pt x="984" y="1616"/>
                      </a:lnTo>
                      <a:lnTo>
                        <a:pt x="989" y="1616"/>
                      </a:lnTo>
                      <a:lnTo>
                        <a:pt x="994" y="1616"/>
                      </a:lnTo>
                      <a:lnTo>
                        <a:pt x="999" y="1614"/>
                      </a:lnTo>
                      <a:lnTo>
                        <a:pt x="1003" y="1612"/>
                      </a:lnTo>
                      <a:lnTo>
                        <a:pt x="1003" y="1612"/>
                      </a:lnTo>
                      <a:lnTo>
                        <a:pt x="1013" y="1600"/>
                      </a:lnTo>
                      <a:lnTo>
                        <a:pt x="1024" y="1593"/>
                      </a:lnTo>
                      <a:lnTo>
                        <a:pt x="1029" y="1592"/>
                      </a:lnTo>
                      <a:lnTo>
                        <a:pt x="1036" y="1590"/>
                      </a:lnTo>
                      <a:lnTo>
                        <a:pt x="1041" y="1592"/>
                      </a:lnTo>
                      <a:lnTo>
                        <a:pt x="1048" y="1595"/>
                      </a:lnTo>
                      <a:lnTo>
                        <a:pt x="1048" y="1595"/>
                      </a:lnTo>
                      <a:lnTo>
                        <a:pt x="1055" y="1597"/>
                      </a:lnTo>
                      <a:lnTo>
                        <a:pt x="1060" y="1597"/>
                      </a:lnTo>
                      <a:lnTo>
                        <a:pt x="1069" y="1593"/>
                      </a:lnTo>
                      <a:lnTo>
                        <a:pt x="1074" y="1592"/>
                      </a:lnTo>
                      <a:lnTo>
                        <a:pt x="1083" y="1592"/>
                      </a:lnTo>
                      <a:lnTo>
                        <a:pt x="1093" y="1595"/>
                      </a:lnTo>
                      <a:lnTo>
                        <a:pt x="1107" y="1606"/>
                      </a:lnTo>
                      <a:lnTo>
                        <a:pt x="1107" y="1606"/>
                      </a:lnTo>
                      <a:lnTo>
                        <a:pt x="1121" y="1612"/>
                      </a:lnTo>
                      <a:lnTo>
                        <a:pt x="1130" y="1616"/>
                      </a:lnTo>
                      <a:lnTo>
                        <a:pt x="1135" y="1614"/>
                      </a:lnTo>
                      <a:lnTo>
                        <a:pt x="1139" y="1611"/>
                      </a:lnTo>
                      <a:lnTo>
                        <a:pt x="1140" y="1606"/>
                      </a:lnTo>
                      <a:lnTo>
                        <a:pt x="1144" y="1602"/>
                      </a:lnTo>
                      <a:lnTo>
                        <a:pt x="1146" y="1602"/>
                      </a:lnTo>
                      <a:lnTo>
                        <a:pt x="1149" y="1602"/>
                      </a:lnTo>
                      <a:lnTo>
                        <a:pt x="1158" y="1606"/>
                      </a:lnTo>
                      <a:lnTo>
                        <a:pt x="1158" y="1606"/>
                      </a:lnTo>
                      <a:lnTo>
                        <a:pt x="1163" y="1609"/>
                      </a:lnTo>
                      <a:lnTo>
                        <a:pt x="1168" y="1611"/>
                      </a:lnTo>
                      <a:lnTo>
                        <a:pt x="1174" y="1611"/>
                      </a:lnTo>
                      <a:lnTo>
                        <a:pt x="1179" y="1611"/>
                      </a:lnTo>
                      <a:lnTo>
                        <a:pt x="1189" y="1606"/>
                      </a:lnTo>
                      <a:lnTo>
                        <a:pt x="1196" y="1599"/>
                      </a:lnTo>
                      <a:lnTo>
                        <a:pt x="1200" y="1592"/>
                      </a:lnTo>
                      <a:lnTo>
                        <a:pt x="1201" y="1586"/>
                      </a:lnTo>
                      <a:lnTo>
                        <a:pt x="1200" y="1581"/>
                      </a:lnTo>
                      <a:lnTo>
                        <a:pt x="1198" y="1578"/>
                      </a:lnTo>
                      <a:lnTo>
                        <a:pt x="1194" y="1572"/>
                      </a:lnTo>
                      <a:lnTo>
                        <a:pt x="1189" y="1569"/>
                      </a:lnTo>
                      <a:lnTo>
                        <a:pt x="1182" y="1565"/>
                      </a:lnTo>
                      <a:lnTo>
                        <a:pt x="1182" y="1565"/>
                      </a:lnTo>
                      <a:lnTo>
                        <a:pt x="1161" y="1557"/>
                      </a:lnTo>
                      <a:lnTo>
                        <a:pt x="1156" y="1552"/>
                      </a:lnTo>
                      <a:lnTo>
                        <a:pt x="1154" y="1548"/>
                      </a:lnTo>
                      <a:lnTo>
                        <a:pt x="1153" y="1546"/>
                      </a:lnTo>
                      <a:lnTo>
                        <a:pt x="1154" y="1543"/>
                      </a:lnTo>
                      <a:lnTo>
                        <a:pt x="1161" y="1538"/>
                      </a:lnTo>
                      <a:lnTo>
                        <a:pt x="1170" y="1534"/>
                      </a:lnTo>
                      <a:lnTo>
                        <a:pt x="1177" y="1529"/>
                      </a:lnTo>
                      <a:lnTo>
                        <a:pt x="1179" y="1525"/>
                      </a:lnTo>
                      <a:lnTo>
                        <a:pt x="1179" y="1522"/>
                      </a:lnTo>
                      <a:lnTo>
                        <a:pt x="1177" y="1517"/>
                      </a:lnTo>
                      <a:lnTo>
                        <a:pt x="1172" y="1511"/>
                      </a:lnTo>
                      <a:lnTo>
                        <a:pt x="1172" y="1511"/>
                      </a:lnTo>
                      <a:lnTo>
                        <a:pt x="1168" y="1508"/>
                      </a:lnTo>
                      <a:lnTo>
                        <a:pt x="1168" y="1505"/>
                      </a:lnTo>
                      <a:lnTo>
                        <a:pt x="1170" y="1503"/>
                      </a:lnTo>
                      <a:lnTo>
                        <a:pt x="1172" y="1499"/>
                      </a:lnTo>
                      <a:lnTo>
                        <a:pt x="1181" y="1496"/>
                      </a:lnTo>
                      <a:lnTo>
                        <a:pt x="1193" y="1494"/>
                      </a:lnTo>
                      <a:lnTo>
                        <a:pt x="1203" y="1491"/>
                      </a:lnTo>
                      <a:lnTo>
                        <a:pt x="1212" y="1489"/>
                      </a:lnTo>
                      <a:lnTo>
                        <a:pt x="1214" y="1487"/>
                      </a:lnTo>
                      <a:lnTo>
                        <a:pt x="1214" y="1485"/>
                      </a:lnTo>
                      <a:lnTo>
                        <a:pt x="1212" y="1484"/>
                      </a:lnTo>
                      <a:lnTo>
                        <a:pt x="1207" y="1480"/>
                      </a:lnTo>
                      <a:lnTo>
                        <a:pt x="1207" y="1480"/>
                      </a:lnTo>
                      <a:lnTo>
                        <a:pt x="1196" y="1475"/>
                      </a:lnTo>
                      <a:lnTo>
                        <a:pt x="1187" y="1468"/>
                      </a:lnTo>
                      <a:lnTo>
                        <a:pt x="1182" y="1459"/>
                      </a:lnTo>
                      <a:lnTo>
                        <a:pt x="1179" y="1451"/>
                      </a:lnTo>
                      <a:lnTo>
                        <a:pt x="1179" y="1444"/>
                      </a:lnTo>
                      <a:lnTo>
                        <a:pt x="1181" y="1440"/>
                      </a:lnTo>
                      <a:lnTo>
                        <a:pt x="1182" y="1437"/>
                      </a:lnTo>
                      <a:lnTo>
                        <a:pt x="1186" y="1435"/>
                      </a:lnTo>
                      <a:lnTo>
                        <a:pt x="1191" y="1433"/>
                      </a:lnTo>
                      <a:lnTo>
                        <a:pt x="1203" y="1431"/>
                      </a:lnTo>
                      <a:lnTo>
                        <a:pt x="1203" y="1431"/>
                      </a:lnTo>
                      <a:lnTo>
                        <a:pt x="1222" y="1431"/>
                      </a:lnTo>
                      <a:lnTo>
                        <a:pt x="1247" y="1428"/>
                      </a:lnTo>
                      <a:lnTo>
                        <a:pt x="1308" y="1416"/>
                      </a:lnTo>
                      <a:lnTo>
                        <a:pt x="1370" y="1400"/>
                      </a:lnTo>
                      <a:lnTo>
                        <a:pt x="1412" y="1388"/>
                      </a:lnTo>
                      <a:lnTo>
                        <a:pt x="1412" y="1388"/>
                      </a:lnTo>
                      <a:lnTo>
                        <a:pt x="1426" y="1381"/>
                      </a:lnTo>
                      <a:lnTo>
                        <a:pt x="1436" y="1376"/>
                      </a:lnTo>
                      <a:lnTo>
                        <a:pt x="1452" y="1364"/>
                      </a:lnTo>
                      <a:lnTo>
                        <a:pt x="1459" y="1360"/>
                      </a:lnTo>
                      <a:lnTo>
                        <a:pt x="1466" y="1357"/>
                      </a:lnTo>
                      <a:lnTo>
                        <a:pt x="1473" y="1358"/>
                      </a:lnTo>
                      <a:lnTo>
                        <a:pt x="1482" y="1362"/>
                      </a:lnTo>
                      <a:lnTo>
                        <a:pt x="1482" y="1362"/>
                      </a:lnTo>
                      <a:lnTo>
                        <a:pt x="1489" y="1367"/>
                      </a:lnTo>
                      <a:lnTo>
                        <a:pt x="1497" y="1367"/>
                      </a:lnTo>
                      <a:lnTo>
                        <a:pt x="1511" y="1365"/>
                      </a:lnTo>
                      <a:lnTo>
                        <a:pt x="1517" y="1365"/>
                      </a:lnTo>
                      <a:lnTo>
                        <a:pt x="1522" y="1369"/>
                      </a:lnTo>
                      <a:lnTo>
                        <a:pt x="1527" y="1376"/>
                      </a:lnTo>
                      <a:lnTo>
                        <a:pt x="1531" y="1388"/>
                      </a:lnTo>
                      <a:lnTo>
                        <a:pt x="1531" y="1388"/>
                      </a:lnTo>
                      <a:lnTo>
                        <a:pt x="1536" y="1405"/>
                      </a:lnTo>
                      <a:lnTo>
                        <a:pt x="1541" y="1416"/>
                      </a:lnTo>
                      <a:lnTo>
                        <a:pt x="1548" y="1421"/>
                      </a:lnTo>
                      <a:lnTo>
                        <a:pt x="1555" y="1423"/>
                      </a:lnTo>
                      <a:lnTo>
                        <a:pt x="1572" y="1421"/>
                      </a:lnTo>
                      <a:lnTo>
                        <a:pt x="1581" y="1423"/>
                      </a:lnTo>
                      <a:lnTo>
                        <a:pt x="1591" y="1426"/>
                      </a:lnTo>
                      <a:lnTo>
                        <a:pt x="1591" y="1426"/>
                      </a:lnTo>
                      <a:lnTo>
                        <a:pt x="1602" y="1430"/>
                      </a:lnTo>
                      <a:lnTo>
                        <a:pt x="1611" y="1433"/>
                      </a:lnTo>
                      <a:lnTo>
                        <a:pt x="1625" y="1433"/>
                      </a:lnTo>
                      <a:lnTo>
                        <a:pt x="1628" y="1435"/>
                      </a:lnTo>
                      <a:lnTo>
                        <a:pt x="1628" y="1437"/>
                      </a:lnTo>
                      <a:lnTo>
                        <a:pt x="1621" y="1445"/>
                      </a:lnTo>
                      <a:lnTo>
                        <a:pt x="1621" y="1445"/>
                      </a:lnTo>
                      <a:lnTo>
                        <a:pt x="1616" y="1451"/>
                      </a:lnTo>
                      <a:lnTo>
                        <a:pt x="1616" y="1454"/>
                      </a:lnTo>
                      <a:lnTo>
                        <a:pt x="1616" y="1456"/>
                      </a:lnTo>
                      <a:lnTo>
                        <a:pt x="1619" y="1458"/>
                      </a:lnTo>
                      <a:lnTo>
                        <a:pt x="1628" y="1458"/>
                      </a:lnTo>
                      <a:lnTo>
                        <a:pt x="1640" y="1456"/>
                      </a:lnTo>
                      <a:lnTo>
                        <a:pt x="1654" y="1449"/>
                      </a:lnTo>
                      <a:lnTo>
                        <a:pt x="1672" y="1442"/>
                      </a:lnTo>
                      <a:lnTo>
                        <a:pt x="1692" y="1430"/>
                      </a:lnTo>
                      <a:lnTo>
                        <a:pt x="1692" y="1430"/>
                      </a:lnTo>
                      <a:lnTo>
                        <a:pt x="1712" y="1419"/>
                      </a:lnTo>
                      <a:lnTo>
                        <a:pt x="1724" y="1414"/>
                      </a:lnTo>
                      <a:lnTo>
                        <a:pt x="1732" y="1412"/>
                      </a:lnTo>
                      <a:lnTo>
                        <a:pt x="1738" y="1414"/>
                      </a:lnTo>
                      <a:lnTo>
                        <a:pt x="1738" y="1417"/>
                      </a:lnTo>
                      <a:lnTo>
                        <a:pt x="1738" y="1423"/>
                      </a:lnTo>
                      <a:lnTo>
                        <a:pt x="1732" y="1428"/>
                      </a:lnTo>
                      <a:lnTo>
                        <a:pt x="1727" y="1433"/>
                      </a:lnTo>
                      <a:lnTo>
                        <a:pt x="1727" y="1433"/>
                      </a:lnTo>
                      <a:lnTo>
                        <a:pt x="1726" y="1435"/>
                      </a:lnTo>
                      <a:lnTo>
                        <a:pt x="1726" y="1437"/>
                      </a:lnTo>
                      <a:lnTo>
                        <a:pt x="1729" y="1442"/>
                      </a:lnTo>
                      <a:lnTo>
                        <a:pt x="1748" y="1458"/>
                      </a:lnTo>
                      <a:lnTo>
                        <a:pt x="1762" y="1470"/>
                      </a:lnTo>
                      <a:lnTo>
                        <a:pt x="1780" y="1489"/>
                      </a:lnTo>
                      <a:lnTo>
                        <a:pt x="1797" y="1511"/>
                      </a:lnTo>
                      <a:lnTo>
                        <a:pt x="1806" y="1525"/>
                      </a:lnTo>
                      <a:lnTo>
                        <a:pt x="1813" y="1543"/>
                      </a:lnTo>
                      <a:lnTo>
                        <a:pt x="1813" y="1543"/>
                      </a:lnTo>
                      <a:lnTo>
                        <a:pt x="1832" y="1578"/>
                      </a:lnTo>
                      <a:lnTo>
                        <a:pt x="1839" y="1590"/>
                      </a:lnTo>
                      <a:lnTo>
                        <a:pt x="1844" y="1597"/>
                      </a:lnTo>
                      <a:lnTo>
                        <a:pt x="1849" y="1600"/>
                      </a:lnTo>
                      <a:lnTo>
                        <a:pt x="1853" y="1600"/>
                      </a:lnTo>
                      <a:lnTo>
                        <a:pt x="1856" y="1600"/>
                      </a:lnTo>
                      <a:lnTo>
                        <a:pt x="1858" y="1597"/>
                      </a:lnTo>
                      <a:lnTo>
                        <a:pt x="1863" y="1590"/>
                      </a:lnTo>
                      <a:lnTo>
                        <a:pt x="1868" y="1583"/>
                      </a:lnTo>
                      <a:lnTo>
                        <a:pt x="1872" y="1581"/>
                      </a:lnTo>
                      <a:lnTo>
                        <a:pt x="1877" y="1581"/>
                      </a:lnTo>
                      <a:lnTo>
                        <a:pt x="1884" y="1583"/>
                      </a:lnTo>
                      <a:lnTo>
                        <a:pt x="1891" y="1588"/>
                      </a:lnTo>
                      <a:lnTo>
                        <a:pt x="1891" y="1588"/>
                      </a:lnTo>
                      <a:lnTo>
                        <a:pt x="1898" y="1593"/>
                      </a:lnTo>
                      <a:lnTo>
                        <a:pt x="1907" y="1599"/>
                      </a:lnTo>
                      <a:lnTo>
                        <a:pt x="1914" y="1600"/>
                      </a:lnTo>
                      <a:lnTo>
                        <a:pt x="1921" y="1602"/>
                      </a:lnTo>
                      <a:lnTo>
                        <a:pt x="1933" y="1600"/>
                      </a:lnTo>
                      <a:lnTo>
                        <a:pt x="1945" y="1599"/>
                      </a:lnTo>
                      <a:lnTo>
                        <a:pt x="1955" y="1597"/>
                      </a:lnTo>
                      <a:lnTo>
                        <a:pt x="1968" y="1597"/>
                      </a:lnTo>
                      <a:lnTo>
                        <a:pt x="1975" y="1599"/>
                      </a:lnTo>
                      <a:lnTo>
                        <a:pt x="1980" y="1602"/>
                      </a:lnTo>
                      <a:lnTo>
                        <a:pt x="1987" y="1607"/>
                      </a:lnTo>
                      <a:lnTo>
                        <a:pt x="1994" y="1614"/>
                      </a:lnTo>
                      <a:lnTo>
                        <a:pt x="1994" y="1614"/>
                      </a:lnTo>
                      <a:lnTo>
                        <a:pt x="2018" y="1644"/>
                      </a:lnTo>
                      <a:lnTo>
                        <a:pt x="2027" y="1654"/>
                      </a:lnTo>
                      <a:lnTo>
                        <a:pt x="2037" y="1663"/>
                      </a:lnTo>
                      <a:lnTo>
                        <a:pt x="2046" y="1668"/>
                      </a:lnTo>
                      <a:lnTo>
                        <a:pt x="2055" y="1672"/>
                      </a:lnTo>
                      <a:lnTo>
                        <a:pt x="2063" y="1668"/>
                      </a:lnTo>
                      <a:lnTo>
                        <a:pt x="2074" y="1663"/>
                      </a:lnTo>
                      <a:lnTo>
                        <a:pt x="2074" y="1663"/>
                      </a:lnTo>
                      <a:lnTo>
                        <a:pt x="2086" y="1653"/>
                      </a:lnTo>
                      <a:lnTo>
                        <a:pt x="2088" y="1654"/>
                      </a:lnTo>
                      <a:lnTo>
                        <a:pt x="2088" y="1658"/>
                      </a:lnTo>
                      <a:lnTo>
                        <a:pt x="2088" y="1665"/>
                      </a:lnTo>
                      <a:lnTo>
                        <a:pt x="2089" y="1673"/>
                      </a:lnTo>
                      <a:lnTo>
                        <a:pt x="2095" y="1684"/>
                      </a:lnTo>
                      <a:lnTo>
                        <a:pt x="2105" y="1694"/>
                      </a:lnTo>
                      <a:lnTo>
                        <a:pt x="2123" y="1689"/>
                      </a:lnTo>
                      <a:lnTo>
                        <a:pt x="2123" y="1689"/>
                      </a:lnTo>
                      <a:lnTo>
                        <a:pt x="2131" y="1680"/>
                      </a:lnTo>
                      <a:lnTo>
                        <a:pt x="2136" y="1675"/>
                      </a:lnTo>
                      <a:lnTo>
                        <a:pt x="2140" y="1672"/>
                      </a:lnTo>
                      <a:lnTo>
                        <a:pt x="2145" y="1672"/>
                      </a:lnTo>
                      <a:lnTo>
                        <a:pt x="2154" y="1673"/>
                      </a:lnTo>
                      <a:lnTo>
                        <a:pt x="2159" y="1672"/>
                      </a:lnTo>
                      <a:lnTo>
                        <a:pt x="2168" y="1670"/>
                      </a:lnTo>
                      <a:lnTo>
                        <a:pt x="2168" y="1670"/>
                      </a:lnTo>
                      <a:lnTo>
                        <a:pt x="2176" y="1666"/>
                      </a:lnTo>
                      <a:lnTo>
                        <a:pt x="2182" y="1663"/>
                      </a:lnTo>
                      <a:lnTo>
                        <a:pt x="2183" y="1658"/>
                      </a:lnTo>
                      <a:lnTo>
                        <a:pt x="2185" y="1654"/>
                      </a:lnTo>
                      <a:lnTo>
                        <a:pt x="2187" y="1651"/>
                      </a:lnTo>
                      <a:lnTo>
                        <a:pt x="2192" y="1646"/>
                      </a:lnTo>
                      <a:lnTo>
                        <a:pt x="2199" y="1640"/>
                      </a:lnTo>
                      <a:lnTo>
                        <a:pt x="2211" y="1633"/>
                      </a:lnTo>
                      <a:lnTo>
                        <a:pt x="2211" y="1633"/>
                      </a:lnTo>
                      <a:lnTo>
                        <a:pt x="2241" y="1621"/>
                      </a:lnTo>
                      <a:lnTo>
                        <a:pt x="2265" y="1611"/>
                      </a:lnTo>
                      <a:lnTo>
                        <a:pt x="2274" y="1607"/>
                      </a:lnTo>
                      <a:lnTo>
                        <a:pt x="2284" y="1607"/>
                      </a:lnTo>
                      <a:lnTo>
                        <a:pt x="2291" y="1607"/>
                      </a:lnTo>
                      <a:lnTo>
                        <a:pt x="2300" y="1611"/>
                      </a:lnTo>
                      <a:lnTo>
                        <a:pt x="2300" y="1611"/>
                      </a:lnTo>
                      <a:lnTo>
                        <a:pt x="2307" y="1614"/>
                      </a:lnTo>
                      <a:lnTo>
                        <a:pt x="2314" y="1616"/>
                      </a:lnTo>
                      <a:lnTo>
                        <a:pt x="2330" y="1614"/>
                      </a:lnTo>
                      <a:lnTo>
                        <a:pt x="2337" y="1614"/>
                      </a:lnTo>
                      <a:lnTo>
                        <a:pt x="2344" y="1616"/>
                      </a:lnTo>
                      <a:lnTo>
                        <a:pt x="2349" y="1621"/>
                      </a:lnTo>
                      <a:lnTo>
                        <a:pt x="2352" y="1630"/>
                      </a:lnTo>
                      <a:lnTo>
                        <a:pt x="2352" y="1630"/>
                      </a:lnTo>
                      <a:lnTo>
                        <a:pt x="2356" y="1633"/>
                      </a:lnTo>
                      <a:lnTo>
                        <a:pt x="2359" y="1637"/>
                      </a:lnTo>
                      <a:lnTo>
                        <a:pt x="2375" y="1642"/>
                      </a:lnTo>
                      <a:lnTo>
                        <a:pt x="2396" y="1647"/>
                      </a:lnTo>
                      <a:lnTo>
                        <a:pt x="2419" y="1651"/>
                      </a:lnTo>
                      <a:lnTo>
                        <a:pt x="2441" y="1651"/>
                      </a:lnTo>
                      <a:lnTo>
                        <a:pt x="2462" y="1649"/>
                      </a:lnTo>
                      <a:lnTo>
                        <a:pt x="2471" y="1647"/>
                      </a:lnTo>
                      <a:lnTo>
                        <a:pt x="2479" y="1646"/>
                      </a:lnTo>
                      <a:lnTo>
                        <a:pt x="2485" y="1642"/>
                      </a:lnTo>
                      <a:lnTo>
                        <a:pt x="2486" y="1637"/>
                      </a:lnTo>
                      <a:lnTo>
                        <a:pt x="2486" y="1637"/>
                      </a:lnTo>
                      <a:lnTo>
                        <a:pt x="2488" y="1628"/>
                      </a:lnTo>
                      <a:lnTo>
                        <a:pt x="2486" y="1619"/>
                      </a:lnTo>
                      <a:lnTo>
                        <a:pt x="2481" y="1614"/>
                      </a:lnTo>
                      <a:lnTo>
                        <a:pt x="2478" y="1607"/>
                      </a:lnTo>
                      <a:lnTo>
                        <a:pt x="2474" y="1600"/>
                      </a:lnTo>
                      <a:lnTo>
                        <a:pt x="2473" y="1593"/>
                      </a:lnTo>
                      <a:lnTo>
                        <a:pt x="2474" y="1583"/>
                      </a:lnTo>
                      <a:lnTo>
                        <a:pt x="2483" y="1571"/>
                      </a:lnTo>
                      <a:lnTo>
                        <a:pt x="2483" y="1571"/>
                      </a:lnTo>
                      <a:lnTo>
                        <a:pt x="2497" y="1550"/>
                      </a:lnTo>
                      <a:lnTo>
                        <a:pt x="2502" y="1543"/>
                      </a:lnTo>
                      <a:lnTo>
                        <a:pt x="2507" y="1539"/>
                      </a:lnTo>
                      <a:lnTo>
                        <a:pt x="2514" y="1539"/>
                      </a:lnTo>
                      <a:lnTo>
                        <a:pt x="2523" y="1541"/>
                      </a:lnTo>
                      <a:lnTo>
                        <a:pt x="2553" y="1555"/>
                      </a:lnTo>
                      <a:lnTo>
                        <a:pt x="2553" y="1555"/>
                      </a:lnTo>
                      <a:lnTo>
                        <a:pt x="2572" y="1562"/>
                      </a:lnTo>
                      <a:lnTo>
                        <a:pt x="2587" y="1565"/>
                      </a:lnTo>
                      <a:lnTo>
                        <a:pt x="2612" y="1567"/>
                      </a:lnTo>
                      <a:lnTo>
                        <a:pt x="2619" y="1569"/>
                      </a:lnTo>
                      <a:lnTo>
                        <a:pt x="2624" y="1572"/>
                      </a:lnTo>
                      <a:lnTo>
                        <a:pt x="2627" y="1578"/>
                      </a:lnTo>
                      <a:lnTo>
                        <a:pt x="2627" y="1588"/>
                      </a:lnTo>
                      <a:lnTo>
                        <a:pt x="2627" y="1588"/>
                      </a:lnTo>
                      <a:lnTo>
                        <a:pt x="2629" y="1600"/>
                      </a:lnTo>
                      <a:lnTo>
                        <a:pt x="2634" y="1611"/>
                      </a:lnTo>
                      <a:lnTo>
                        <a:pt x="2640" y="1621"/>
                      </a:lnTo>
                      <a:lnTo>
                        <a:pt x="2648" y="1628"/>
                      </a:lnTo>
                      <a:lnTo>
                        <a:pt x="2661" y="1635"/>
                      </a:lnTo>
                      <a:lnTo>
                        <a:pt x="2673" y="1637"/>
                      </a:lnTo>
                      <a:lnTo>
                        <a:pt x="2685" y="1639"/>
                      </a:lnTo>
                      <a:lnTo>
                        <a:pt x="2701" y="1635"/>
                      </a:lnTo>
                      <a:lnTo>
                        <a:pt x="2701" y="1635"/>
                      </a:lnTo>
                      <a:lnTo>
                        <a:pt x="2725" y="1628"/>
                      </a:lnTo>
                      <a:lnTo>
                        <a:pt x="2734" y="1626"/>
                      </a:lnTo>
                      <a:lnTo>
                        <a:pt x="2744" y="1625"/>
                      </a:lnTo>
                      <a:lnTo>
                        <a:pt x="2755" y="1626"/>
                      </a:lnTo>
                      <a:lnTo>
                        <a:pt x="2765" y="1628"/>
                      </a:lnTo>
                      <a:lnTo>
                        <a:pt x="2793" y="1639"/>
                      </a:lnTo>
                      <a:lnTo>
                        <a:pt x="2793" y="1639"/>
                      </a:lnTo>
                      <a:lnTo>
                        <a:pt x="2807" y="1646"/>
                      </a:lnTo>
                      <a:lnTo>
                        <a:pt x="2817" y="1651"/>
                      </a:lnTo>
                      <a:lnTo>
                        <a:pt x="2822" y="1656"/>
                      </a:lnTo>
                      <a:lnTo>
                        <a:pt x="2828" y="1663"/>
                      </a:lnTo>
                      <a:lnTo>
                        <a:pt x="2833" y="1668"/>
                      </a:lnTo>
                      <a:lnTo>
                        <a:pt x="2840" y="1673"/>
                      </a:lnTo>
                      <a:lnTo>
                        <a:pt x="2852" y="1677"/>
                      </a:lnTo>
                      <a:lnTo>
                        <a:pt x="2869" y="1682"/>
                      </a:lnTo>
                      <a:lnTo>
                        <a:pt x="2869" y="1682"/>
                      </a:lnTo>
                      <a:lnTo>
                        <a:pt x="2897" y="1687"/>
                      </a:lnTo>
                      <a:lnTo>
                        <a:pt x="2917" y="1687"/>
                      </a:lnTo>
                      <a:lnTo>
                        <a:pt x="2929" y="1686"/>
                      </a:lnTo>
                      <a:lnTo>
                        <a:pt x="2937" y="1682"/>
                      </a:lnTo>
                      <a:lnTo>
                        <a:pt x="2944" y="1679"/>
                      </a:lnTo>
                      <a:lnTo>
                        <a:pt x="2953" y="1675"/>
                      </a:lnTo>
                      <a:lnTo>
                        <a:pt x="2964" y="1672"/>
                      </a:lnTo>
                      <a:lnTo>
                        <a:pt x="2981" y="1672"/>
                      </a:lnTo>
                      <a:lnTo>
                        <a:pt x="2981" y="1672"/>
                      </a:lnTo>
                      <a:lnTo>
                        <a:pt x="2991" y="1672"/>
                      </a:lnTo>
                      <a:lnTo>
                        <a:pt x="2998" y="1670"/>
                      </a:lnTo>
                      <a:lnTo>
                        <a:pt x="3005" y="1666"/>
                      </a:lnTo>
                      <a:lnTo>
                        <a:pt x="3011" y="1663"/>
                      </a:lnTo>
                      <a:lnTo>
                        <a:pt x="3019" y="1654"/>
                      </a:lnTo>
                      <a:lnTo>
                        <a:pt x="3026" y="1646"/>
                      </a:lnTo>
                      <a:lnTo>
                        <a:pt x="3033" y="1637"/>
                      </a:lnTo>
                      <a:lnTo>
                        <a:pt x="3037" y="1633"/>
                      </a:lnTo>
                      <a:lnTo>
                        <a:pt x="3040" y="1630"/>
                      </a:lnTo>
                      <a:lnTo>
                        <a:pt x="3045" y="1630"/>
                      </a:lnTo>
                      <a:lnTo>
                        <a:pt x="3051" y="1630"/>
                      </a:lnTo>
                      <a:lnTo>
                        <a:pt x="3058" y="1632"/>
                      </a:lnTo>
                      <a:lnTo>
                        <a:pt x="3065" y="1635"/>
                      </a:lnTo>
                      <a:lnTo>
                        <a:pt x="3065" y="1635"/>
                      </a:lnTo>
                      <a:lnTo>
                        <a:pt x="3080" y="1642"/>
                      </a:lnTo>
                      <a:lnTo>
                        <a:pt x="3091" y="1646"/>
                      </a:lnTo>
                      <a:lnTo>
                        <a:pt x="3101" y="1647"/>
                      </a:lnTo>
                      <a:lnTo>
                        <a:pt x="3108" y="1647"/>
                      </a:lnTo>
                      <a:lnTo>
                        <a:pt x="3115" y="1646"/>
                      </a:lnTo>
                      <a:lnTo>
                        <a:pt x="3120" y="1647"/>
                      </a:lnTo>
                      <a:lnTo>
                        <a:pt x="3127" y="1649"/>
                      </a:lnTo>
                      <a:lnTo>
                        <a:pt x="3136" y="1654"/>
                      </a:lnTo>
                      <a:lnTo>
                        <a:pt x="3136" y="1654"/>
                      </a:lnTo>
                      <a:lnTo>
                        <a:pt x="3148" y="1661"/>
                      </a:lnTo>
                      <a:lnTo>
                        <a:pt x="3159" y="1666"/>
                      </a:lnTo>
                      <a:lnTo>
                        <a:pt x="3167" y="1668"/>
                      </a:lnTo>
                      <a:lnTo>
                        <a:pt x="3176" y="1668"/>
                      </a:lnTo>
                      <a:lnTo>
                        <a:pt x="3185" y="1666"/>
                      </a:lnTo>
                      <a:lnTo>
                        <a:pt x="3193" y="1663"/>
                      </a:lnTo>
                      <a:lnTo>
                        <a:pt x="3200" y="1656"/>
                      </a:lnTo>
                      <a:lnTo>
                        <a:pt x="3209" y="1647"/>
                      </a:lnTo>
                      <a:lnTo>
                        <a:pt x="3209" y="1647"/>
                      </a:lnTo>
                      <a:lnTo>
                        <a:pt x="3218" y="1639"/>
                      </a:lnTo>
                      <a:lnTo>
                        <a:pt x="3225" y="1630"/>
                      </a:lnTo>
                      <a:lnTo>
                        <a:pt x="3233" y="1611"/>
                      </a:lnTo>
                      <a:lnTo>
                        <a:pt x="3244" y="1588"/>
                      </a:lnTo>
                      <a:lnTo>
                        <a:pt x="3251" y="1576"/>
                      </a:lnTo>
                      <a:lnTo>
                        <a:pt x="3260" y="1564"/>
                      </a:lnTo>
                      <a:lnTo>
                        <a:pt x="3260" y="1564"/>
                      </a:lnTo>
                      <a:lnTo>
                        <a:pt x="3270" y="1550"/>
                      </a:lnTo>
                      <a:lnTo>
                        <a:pt x="3275" y="1539"/>
                      </a:lnTo>
                      <a:lnTo>
                        <a:pt x="3277" y="1531"/>
                      </a:lnTo>
                      <a:lnTo>
                        <a:pt x="3277" y="1524"/>
                      </a:lnTo>
                      <a:lnTo>
                        <a:pt x="3273" y="1518"/>
                      </a:lnTo>
                      <a:lnTo>
                        <a:pt x="3268" y="1515"/>
                      </a:lnTo>
                      <a:lnTo>
                        <a:pt x="3263" y="1513"/>
                      </a:lnTo>
                      <a:lnTo>
                        <a:pt x="3256" y="1513"/>
                      </a:lnTo>
                      <a:lnTo>
                        <a:pt x="3256" y="1513"/>
                      </a:lnTo>
                      <a:lnTo>
                        <a:pt x="3253" y="1513"/>
                      </a:lnTo>
                      <a:lnTo>
                        <a:pt x="3251" y="1511"/>
                      </a:lnTo>
                      <a:lnTo>
                        <a:pt x="3251" y="1510"/>
                      </a:lnTo>
                      <a:lnTo>
                        <a:pt x="3251" y="1506"/>
                      </a:lnTo>
                      <a:lnTo>
                        <a:pt x="3253" y="1501"/>
                      </a:lnTo>
                      <a:lnTo>
                        <a:pt x="3260" y="1492"/>
                      </a:lnTo>
                      <a:lnTo>
                        <a:pt x="3272" y="1484"/>
                      </a:lnTo>
                      <a:lnTo>
                        <a:pt x="3286" y="1477"/>
                      </a:lnTo>
                      <a:lnTo>
                        <a:pt x="3305" y="1470"/>
                      </a:lnTo>
                      <a:lnTo>
                        <a:pt x="3327" y="1464"/>
                      </a:lnTo>
                      <a:lnTo>
                        <a:pt x="3327" y="1464"/>
                      </a:lnTo>
                      <a:lnTo>
                        <a:pt x="3350" y="1463"/>
                      </a:lnTo>
                      <a:lnTo>
                        <a:pt x="3367" y="1463"/>
                      </a:lnTo>
                      <a:lnTo>
                        <a:pt x="3383" y="1464"/>
                      </a:lnTo>
                      <a:lnTo>
                        <a:pt x="3395" y="1468"/>
                      </a:lnTo>
                      <a:lnTo>
                        <a:pt x="3416" y="1477"/>
                      </a:lnTo>
                      <a:lnTo>
                        <a:pt x="3423" y="1478"/>
                      </a:lnTo>
                      <a:lnTo>
                        <a:pt x="3432" y="1480"/>
                      </a:lnTo>
                      <a:lnTo>
                        <a:pt x="3432" y="1480"/>
                      </a:lnTo>
                      <a:lnTo>
                        <a:pt x="3435" y="1480"/>
                      </a:lnTo>
                      <a:lnTo>
                        <a:pt x="3441" y="1482"/>
                      </a:lnTo>
                      <a:lnTo>
                        <a:pt x="3449" y="1489"/>
                      </a:lnTo>
                      <a:lnTo>
                        <a:pt x="3460" y="1501"/>
                      </a:lnTo>
                      <a:lnTo>
                        <a:pt x="3470" y="1515"/>
                      </a:lnTo>
                      <a:lnTo>
                        <a:pt x="3481" y="1534"/>
                      </a:lnTo>
                      <a:lnTo>
                        <a:pt x="3489" y="1555"/>
                      </a:lnTo>
                      <a:lnTo>
                        <a:pt x="3496" y="1578"/>
                      </a:lnTo>
                      <a:lnTo>
                        <a:pt x="3503" y="1602"/>
                      </a:lnTo>
                      <a:lnTo>
                        <a:pt x="3503" y="1602"/>
                      </a:lnTo>
                      <a:lnTo>
                        <a:pt x="3507" y="1625"/>
                      </a:lnTo>
                      <a:lnTo>
                        <a:pt x="3512" y="1642"/>
                      </a:lnTo>
                      <a:lnTo>
                        <a:pt x="3517" y="1654"/>
                      </a:lnTo>
                      <a:lnTo>
                        <a:pt x="3524" y="1663"/>
                      </a:lnTo>
                      <a:lnTo>
                        <a:pt x="3533" y="1668"/>
                      </a:lnTo>
                      <a:lnTo>
                        <a:pt x="3542" y="1670"/>
                      </a:lnTo>
                      <a:lnTo>
                        <a:pt x="3568" y="1675"/>
                      </a:lnTo>
                      <a:lnTo>
                        <a:pt x="3568" y="1675"/>
                      </a:lnTo>
                      <a:lnTo>
                        <a:pt x="3580" y="1677"/>
                      </a:lnTo>
                      <a:lnTo>
                        <a:pt x="3589" y="1680"/>
                      </a:lnTo>
                      <a:lnTo>
                        <a:pt x="3596" y="1686"/>
                      </a:lnTo>
                      <a:lnTo>
                        <a:pt x="3599" y="1691"/>
                      </a:lnTo>
                      <a:lnTo>
                        <a:pt x="3606" y="1700"/>
                      </a:lnTo>
                      <a:lnTo>
                        <a:pt x="3610" y="1703"/>
                      </a:lnTo>
                      <a:lnTo>
                        <a:pt x="3616" y="1705"/>
                      </a:lnTo>
                      <a:lnTo>
                        <a:pt x="3616" y="1705"/>
                      </a:lnTo>
                      <a:lnTo>
                        <a:pt x="3622" y="1705"/>
                      </a:lnTo>
                      <a:lnTo>
                        <a:pt x="3623" y="1706"/>
                      </a:lnTo>
                      <a:lnTo>
                        <a:pt x="3623" y="1710"/>
                      </a:lnTo>
                      <a:lnTo>
                        <a:pt x="3623" y="1713"/>
                      </a:lnTo>
                      <a:lnTo>
                        <a:pt x="3622" y="1720"/>
                      </a:lnTo>
                      <a:lnTo>
                        <a:pt x="3623" y="1724"/>
                      </a:lnTo>
                      <a:lnTo>
                        <a:pt x="3627" y="1727"/>
                      </a:lnTo>
                      <a:lnTo>
                        <a:pt x="3627" y="1727"/>
                      </a:lnTo>
                      <a:lnTo>
                        <a:pt x="3630" y="1731"/>
                      </a:lnTo>
                      <a:lnTo>
                        <a:pt x="3630" y="1734"/>
                      </a:lnTo>
                      <a:lnTo>
                        <a:pt x="3627" y="1740"/>
                      </a:lnTo>
                      <a:lnTo>
                        <a:pt x="3625" y="1743"/>
                      </a:lnTo>
                      <a:lnTo>
                        <a:pt x="3625" y="1747"/>
                      </a:lnTo>
                      <a:lnTo>
                        <a:pt x="3627" y="1750"/>
                      </a:lnTo>
                      <a:lnTo>
                        <a:pt x="3634" y="1755"/>
                      </a:lnTo>
                      <a:lnTo>
                        <a:pt x="3634" y="1755"/>
                      </a:lnTo>
                      <a:lnTo>
                        <a:pt x="3641" y="1760"/>
                      </a:lnTo>
                      <a:lnTo>
                        <a:pt x="3650" y="1764"/>
                      </a:lnTo>
                      <a:lnTo>
                        <a:pt x="3658" y="1767"/>
                      </a:lnTo>
                      <a:lnTo>
                        <a:pt x="3667" y="1767"/>
                      </a:lnTo>
                      <a:lnTo>
                        <a:pt x="3676" y="1766"/>
                      </a:lnTo>
                      <a:lnTo>
                        <a:pt x="3683" y="1762"/>
                      </a:lnTo>
                      <a:lnTo>
                        <a:pt x="3691" y="1759"/>
                      </a:lnTo>
                      <a:lnTo>
                        <a:pt x="3700" y="1752"/>
                      </a:lnTo>
                      <a:lnTo>
                        <a:pt x="3700" y="1752"/>
                      </a:lnTo>
                      <a:lnTo>
                        <a:pt x="3707" y="1747"/>
                      </a:lnTo>
                      <a:lnTo>
                        <a:pt x="3712" y="1743"/>
                      </a:lnTo>
                      <a:lnTo>
                        <a:pt x="3716" y="1743"/>
                      </a:lnTo>
                      <a:lnTo>
                        <a:pt x="3721" y="1743"/>
                      </a:lnTo>
                      <a:lnTo>
                        <a:pt x="3724" y="1743"/>
                      </a:lnTo>
                      <a:lnTo>
                        <a:pt x="3728" y="1743"/>
                      </a:lnTo>
                      <a:lnTo>
                        <a:pt x="3733" y="1740"/>
                      </a:lnTo>
                      <a:lnTo>
                        <a:pt x="3740" y="1734"/>
                      </a:lnTo>
                      <a:lnTo>
                        <a:pt x="3740" y="1734"/>
                      </a:lnTo>
                      <a:lnTo>
                        <a:pt x="3749" y="1729"/>
                      </a:lnTo>
                      <a:lnTo>
                        <a:pt x="3756" y="1727"/>
                      </a:lnTo>
                      <a:lnTo>
                        <a:pt x="3763" y="1731"/>
                      </a:lnTo>
                      <a:lnTo>
                        <a:pt x="3766" y="1736"/>
                      </a:lnTo>
                      <a:lnTo>
                        <a:pt x="3770" y="1745"/>
                      </a:lnTo>
                      <a:lnTo>
                        <a:pt x="3770" y="1754"/>
                      </a:lnTo>
                      <a:lnTo>
                        <a:pt x="3766" y="1764"/>
                      </a:lnTo>
                      <a:lnTo>
                        <a:pt x="3761" y="1776"/>
                      </a:lnTo>
                      <a:lnTo>
                        <a:pt x="3761" y="1776"/>
                      </a:lnTo>
                      <a:lnTo>
                        <a:pt x="3752" y="1790"/>
                      </a:lnTo>
                      <a:lnTo>
                        <a:pt x="3745" y="1809"/>
                      </a:lnTo>
                      <a:lnTo>
                        <a:pt x="3731" y="1851"/>
                      </a:lnTo>
                      <a:lnTo>
                        <a:pt x="3724" y="1872"/>
                      </a:lnTo>
                      <a:lnTo>
                        <a:pt x="3716" y="1886"/>
                      </a:lnTo>
                      <a:lnTo>
                        <a:pt x="3712" y="1893"/>
                      </a:lnTo>
                      <a:lnTo>
                        <a:pt x="3709" y="1896"/>
                      </a:lnTo>
                      <a:lnTo>
                        <a:pt x="3704" y="1898"/>
                      </a:lnTo>
                      <a:lnTo>
                        <a:pt x="3700" y="1896"/>
                      </a:lnTo>
                      <a:lnTo>
                        <a:pt x="3700" y="1896"/>
                      </a:lnTo>
                      <a:lnTo>
                        <a:pt x="3684" y="1889"/>
                      </a:lnTo>
                      <a:lnTo>
                        <a:pt x="3672" y="1884"/>
                      </a:lnTo>
                      <a:lnTo>
                        <a:pt x="3669" y="1884"/>
                      </a:lnTo>
                      <a:lnTo>
                        <a:pt x="3665" y="1884"/>
                      </a:lnTo>
                      <a:lnTo>
                        <a:pt x="3662" y="1888"/>
                      </a:lnTo>
                      <a:lnTo>
                        <a:pt x="3660" y="1893"/>
                      </a:lnTo>
                      <a:lnTo>
                        <a:pt x="3660" y="1893"/>
                      </a:lnTo>
                      <a:lnTo>
                        <a:pt x="3657" y="1898"/>
                      </a:lnTo>
                      <a:lnTo>
                        <a:pt x="3651" y="1900"/>
                      </a:lnTo>
                      <a:lnTo>
                        <a:pt x="3643" y="1902"/>
                      </a:lnTo>
                      <a:lnTo>
                        <a:pt x="3637" y="1903"/>
                      </a:lnTo>
                      <a:lnTo>
                        <a:pt x="3636" y="1905"/>
                      </a:lnTo>
                      <a:lnTo>
                        <a:pt x="3636" y="1910"/>
                      </a:lnTo>
                      <a:lnTo>
                        <a:pt x="3637" y="1917"/>
                      </a:lnTo>
                      <a:lnTo>
                        <a:pt x="3637" y="1917"/>
                      </a:lnTo>
                      <a:lnTo>
                        <a:pt x="3643" y="1936"/>
                      </a:lnTo>
                      <a:lnTo>
                        <a:pt x="3646" y="1957"/>
                      </a:lnTo>
                      <a:lnTo>
                        <a:pt x="3648" y="1966"/>
                      </a:lnTo>
                      <a:lnTo>
                        <a:pt x="3648" y="1976"/>
                      </a:lnTo>
                      <a:lnTo>
                        <a:pt x="3646" y="1985"/>
                      </a:lnTo>
                      <a:lnTo>
                        <a:pt x="3643" y="1994"/>
                      </a:lnTo>
                      <a:lnTo>
                        <a:pt x="3643" y="1994"/>
                      </a:lnTo>
                      <a:lnTo>
                        <a:pt x="3639" y="1999"/>
                      </a:lnTo>
                      <a:lnTo>
                        <a:pt x="3636" y="2002"/>
                      </a:lnTo>
                      <a:lnTo>
                        <a:pt x="3632" y="2004"/>
                      </a:lnTo>
                      <a:lnTo>
                        <a:pt x="3629" y="2004"/>
                      </a:lnTo>
                      <a:lnTo>
                        <a:pt x="3625" y="2004"/>
                      </a:lnTo>
                      <a:lnTo>
                        <a:pt x="3623" y="2006"/>
                      </a:lnTo>
                      <a:lnTo>
                        <a:pt x="3622" y="2009"/>
                      </a:lnTo>
                      <a:lnTo>
                        <a:pt x="3618" y="2018"/>
                      </a:lnTo>
                      <a:lnTo>
                        <a:pt x="3627" y="2032"/>
                      </a:lnTo>
                      <a:lnTo>
                        <a:pt x="3627" y="2032"/>
                      </a:lnTo>
                      <a:lnTo>
                        <a:pt x="3630" y="2029"/>
                      </a:lnTo>
                      <a:lnTo>
                        <a:pt x="3632" y="2023"/>
                      </a:lnTo>
                      <a:lnTo>
                        <a:pt x="3630" y="2018"/>
                      </a:lnTo>
                      <a:lnTo>
                        <a:pt x="3630" y="2015"/>
                      </a:lnTo>
                      <a:lnTo>
                        <a:pt x="3636" y="2016"/>
                      </a:lnTo>
                      <a:lnTo>
                        <a:pt x="3636" y="2016"/>
                      </a:lnTo>
                      <a:lnTo>
                        <a:pt x="3644" y="2018"/>
                      </a:lnTo>
                      <a:lnTo>
                        <a:pt x="3646" y="2015"/>
                      </a:lnTo>
                      <a:lnTo>
                        <a:pt x="3650" y="2011"/>
                      </a:lnTo>
                      <a:lnTo>
                        <a:pt x="3655" y="2002"/>
                      </a:lnTo>
                      <a:lnTo>
                        <a:pt x="3655" y="2002"/>
                      </a:lnTo>
                      <a:lnTo>
                        <a:pt x="3658" y="1996"/>
                      </a:lnTo>
                      <a:lnTo>
                        <a:pt x="3660" y="1989"/>
                      </a:lnTo>
                      <a:lnTo>
                        <a:pt x="3660" y="1985"/>
                      </a:lnTo>
                      <a:lnTo>
                        <a:pt x="3662" y="1983"/>
                      </a:lnTo>
                      <a:lnTo>
                        <a:pt x="3665" y="1983"/>
                      </a:lnTo>
                      <a:lnTo>
                        <a:pt x="3665" y="1983"/>
                      </a:lnTo>
                      <a:lnTo>
                        <a:pt x="3669" y="1983"/>
                      </a:lnTo>
                      <a:lnTo>
                        <a:pt x="3669" y="1985"/>
                      </a:lnTo>
                      <a:lnTo>
                        <a:pt x="3669" y="1990"/>
                      </a:lnTo>
                      <a:lnTo>
                        <a:pt x="3667" y="1992"/>
                      </a:lnTo>
                      <a:lnTo>
                        <a:pt x="3669" y="1994"/>
                      </a:lnTo>
                      <a:lnTo>
                        <a:pt x="3670" y="1994"/>
                      </a:lnTo>
                      <a:lnTo>
                        <a:pt x="3674" y="1992"/>
                      </a:lnTo>
                      <a:lnTo>
                        <a:pt x="3674" y="1992"/>
                      </a:lnTo>
                      <a:lnTo>
                        <a:pt x="3679" y="1989"/>
                      </a:lnTo>
                      <a:lnTo>
                        <a:pt x="3681" y="1989"/>
                      </a:lnTo>
                      <a:lnTo>
                        <a:pt x="3683" y="1990"/>
                      </a:lnTo>
                      <a:lnTo>
                        <a:pt x="3683" y="1992"/>
                      </a:lnTo>
                      <a:lnTo>
                        <a:pt x="3683" y="1999"/>
                      </a:lnTo>
                      <a:lnTo>
                        <a:pt x="3684" y="2002"/>
                      </a:lnTo>
                      <a:lnTo>
                        <a:pt x="3686" y="2004"/>
                      </a:lnTo>
                      <a:lnTo>
                        <a:pt x="3686" y="2004"/>
                      </a:lnTo>
                      <a:lnTo>
                        <a:pt x="3698" y="2008"/>
                      </a:lnTo>
                      <a:lnTo>
                        <a:pt x="3707" y="2013"/>
                      </a:lnTo>
                      <a:lnTo>
                        <a:pt x="3707" y="2013"/>
                      </a:lnTo>
                      <a:lnTo>
                        <a:pt x="3712" y="2013"/>
                      </a:lnTo>
                      <a:lnTo>
                        <a:pt x="3716" y="2011"/>
                      </a:lnTo>
                      <a:lnTo>
                        <a:pt x="3723" y="2008"/>
                      </a:lnTo>
                      <a:lnTo>
                        <a:pt x="3731" y="2006"/>
                      </a:lnTo>
                      <a:lnTo>
                        <a:pt x="3731" y="2006"/>
                      </a:lnTo>
                      <a:lnTo>
                        <a:pt x="3740" y="2002"/>
                      </a:lnTo>
                      <a:lnTo>
                        <a:pt x="3745" y="1999"/>
                      </a:lnTo>
                      <a:lnTo>
                        <a:pt x="3752" y="1992"/>
                      </a:lnTo>
                      <a:lnTo>
                        <a:pt x="3766" y="1985"/>
                      </a:lnTo>
                      <a:lnTo>
                        <a:pt x="3766" y="1985"/>
                      </a:lnTo>
                      <a:lnTo>
                        <a:pt x="3775" y="1978"/>
                      </a:lnTo>
                      <a:lnTo>
                        <a:pt x="3782" y="1969"/>
                      </a:lnTo>
                      <a:lnTo>
                        <a:pt x="3799" y="1947"/>
                      </a:lnTo>
                      <a:lnTo>
                        <a:pt x="3822" y="1915"/>
                      </a:lnTo>
                      <a:lnTo>
                        <a:pt x="3836" y="1898"/>
                      </a:lnTo>
                      <a:lnTo>
                        <a:pt x="3855" y="1881"/>
                      </a:lnTo>
                      <a:lnTo>
                        <a:pt x="3855" y="1881"/>
                      </a:lnTo>
                      <a:lnTo>
                        <a:pt x="3871" y="1861"/>
                      </a:lnTo>
                      <a:lnTo>
                        <a:pt x="3881" y="1846"/>
                      </a:lnTo>
                      <a:lnTo>
                        <a:pt x="3890" y="1832"/>
                      </a:lnTo>
                      <a:lnTo>
                        <a:pt x="3895" y="1820"/>
                      </a:lnTo>
                      <a:lnTo>
                        <a:pt x="3902" y="1801"/>
                      </a:lnTo>
                      <a:lnTo>
                        <a:pt x="3906" y="1794"/>
                      </a:lnTo>
                      <a:lnTo>
                        <a:pt x="3912" y="1787"/>
                      </a:lnTo>
                      <a:lnTo>
                        <a:pt x="3912" y="1787"/>
                      </a:lnTo>
                      <a:lnTo>
                        <a:pt x="3919" y="1780"/>
                      </a:lnTo>
                      <a:lnTo>
                        <a:pt x="3923" y="1774"/>
                      </a:lnTo>
                      <a:lnTo>
                        <a:pt x="3926" y="1766"/>
                      </a:lnTo>
                      <a:lnTo>
                        <a:pt x="3928" y="1762"/>
                      </a:lnTo>
                      <a:lnTo>
                        <a:pt x="3932" y="1755"/>
                      </a:lnTo>
                      <a:lnTo>
                        <a:pt x="3937" y="1748"/>
                      </a:lnTo>
                      <a:lnTo>
                        <a:pt x="3946" y="1740"/>
                      </a:lnTo>
                      <a:lnTo>
                        <a:pt x="3946" y="1740"/>
                      </a:lnTo>
                      <a:lnTo>
                        <a:pt x="3951" y="1734"/>
                      </a:lnTo>
                      <a:lnTo>
                        <a:pt x="3956" y="1727"/>
                      </a:lnTo>
                      <a:lnTo>
                        <a:pt x="3963" y="1713"/>
                      </a:lnTo>
                      <a:lnTo>
                        <a:pt x="3968" y="1696"/>
                      </a:lnTo>
                      <a:lnTo>
                        <a:pt x="3972" y="1679"/>
                      </a:lnTo>
                      <a:lnTo>
                        <a:pt x="3972" y="1661"/>
                      </a:lnTo>
                      <a:lnTo>
                        <a:pt x="3972" y="1646"/>
                      </a:lnTo>
                      <a:lnTo>
                        <a:pt x="3970" y="1632"/>
                      </a:lnTo>
                      <a:lnTo>
                        <a:pt x="3968" y="1623"/>
                      </a:lnTo>
                      <a:lnTo>
                        <a:pt x="3968" y="1623"/>
                      </a:lnTo>
                      <a:lnTo>
                        <a:pt x="3968" y="1616"/>
                      </a:lnTo>
                      <a:lnTo>
                        <a:pt x="3968" y="1611"/>
                      </a:lnTo>
                      <a:lnTo>
                        <a:pt x="3968" y="1606"/>
                      </a:lnTo>
                      <a:lnTo>
                        <a:pt x="3970" y="1602"/>
                      </a:lnTo>
                      <a:lnTo>
                        <a:pt x="3977" y="1592"/>
                      </a:lnTo>
                      <a:lnTo>
                        <a:pt x="3979" y="1586"/>
                      </a:lnTo>
                      <a:lnTo>
                        <a:pt x="3982" y="1578"/>
                      </a:lnTo>
                      <a:lnTo>
                        <a:pt x="3982" y="1578"/>
                      </a:lnTo>
                      <a:lnTo>
                        <a:pt x="3986" y="1569"/>
                      </a:lnTo>
                      <a:lnTo>
                        <a:pt x="3989" y="1562"/>
                      </a:lnTo>
                      <a:lnTo>
                        <a:pt x="4000" y="1550"/>
                      </a:lnTo>
                      <a:lnTo>
                        <a:pt x="4003" y="1545"/>
                      </a:lnTo>
                      <a:lnTo>
                        <a:pt x="4005" y="1539"/>
                      </a:lnTo>
                      <a:lnTo>
                        <a:pt x="4005" y="1534"/>
                      </a:lnTo>
                      <a:lnTo>
                        <a:pt x="4000" y="1529"/>
                      </a:lnTo>
                      <a:lnTo>
                        <a:pt x="4000" y="1529"/>
                      </a:lnTo>
                      <a:lnTo>
                        <a:pt x="3996" y="1524"/>
                      </a:lnTo>
                      <a:lnTo>
                        <a:pt x="3994" y="1518"/>
                      </a:lnTo>
                      <a:lnTo>
                        <a:pt x="3993" y="1515"/>
                      </a:lnTo>
                      <a:lnTo>
                        <a:pt x="3994" y="1511"/>
                      </a:lnTo>
                      <a:lnTo>
                        <a:pt x="3994" y="1505"/>
                      </a:lnTo>
                      <a:lnTo>
                        <a:pt x="3994" y="1501"/>
                      </a:lnTo>
                      <a:lnTo>
                        <a:pt x="3991" y="1496"/>
                      </a:lnTo>
                      <a:lnTo>
                        <a:pt x="3991" y="1496"/>
                      </a:lnTo>
                      <a:lnTo>
                        <a:pt x="3989" y="1492"/>
                      </a:lnTo>
                      <a:lnTo>
                        <a:pt x="3991" y="1489"/>
                      </a:lnTo>
                      <a:lnTo>
                        <a:pt x="4000" y="1484"/>
                      </a:lnTo>
                      <a:lnTo>
                        <a:pt x="4001" y="1482"/>
                      </a:lnTo>
                      <a:lnTo>
                        <a:pt x="4003" y="1478"/>
                      </a:lnTo>
                      <a:lnTo>
                        <a:pt x="4001" y="1473"/>
                      </a:lnTo>
                      <a:lnTo>
                        <a:pt x="3994" y="1468"/>
                      </a:lnTo>
                      <a:lnTo>
                        <a:pt x="3994" y="1468"/>
                      </a:lnTo>
                      <a:lnTo>
                        <a:pt x="3979" y="1456"/>
                      </a:lnTo>
                      <a:lnTo>
                        <a:pt x="3968" y="1445"/>
                      </a:lnTo>
                      <a:lnTo>
                        <a:pt x="3954" y="1428"/>
                      </a:lnTo>
                      <a:lnTo>
                        <a:pt x="3954" y="1428"/>
                      </a:lnTo>
                      <a:lnTo>
                        <a:pt x="3949" y="1426"/>
                      </a:lnTo>
                      <a:lnTo>
                        <a:pt x="3946" y="1424"/>
                      </a:lnTo>
                      <a:lnTo>
                        <a:pt x="3937" y="1424"/>
                      </a:lnTo>
                      <a:lnTo>
                        <a:pt x="3926" y="1426"/>
                      </a:lnTo>
                      <a:lnTo>
                        <a:pt x="3921" y="1426"/>
                      </a:lnTo>
                      <a:lnTo>
                        <a:pt x="3916" y="1423"/>
                      </a:lnTo>
                      <a:lnTo>
                        <a:pt x="3916" y="1423"/>
                      </a:lnTo>
                      <a:lnTo>
                        <a:pt x="3911" y="1423"/>
                      </a:lnTo>
                      <a:lnTo>
                        <a:pt x="3909" y="1424"/>
                      </a:lnTo>
                      <a:lnTo>
                        <a:pt x="3906" y="1435"/>
                      </a:lnTo>
                      <a:lnTo>
                        <a:pt x="3902" y="1442"/>
                      </a:lnTo>
                      <a:lnTo>
                        <a:pt x="3899" y="1447"/>
                      </a:lnTo>
                      <a:lnTo>
                        <a:pt x="3892" y="1454"/>
                      </a:lnTo>
                      <a:lnTo>
                        <a:pt x="3883" y="1458"/>
                      </a:lnTo>
                      <a:lnTo>
                        <a:pt x="3883" y="1458"/>
                      </a:lnTo>
                      <a:lnTo>
                        <a:pt x="3874" y="1459"/>
                      </a:lnTo>
                      <a:lnTo>
                        <a:pt x="3871" y="1459"/>
                      </a:lnTo>
                      <a:lnTo>
                        <a:pt x="3867" y="1459"/>
                      </a:lnTo>
                      <a:lnTo>
                        <a:pt x="3865" y="1456"/>
                      </a:lnTo>
                      <a:lnTo>
                        <a:pt x="3865" y="1452"/>
                      </a:lnTo>
                      <a:lnTo>
                        <a:pt x="3865" y="1449"/>
                      </a:lnTo>
                      <a:lnTo>
                        <a:pt x="3869" y="1440"/>
                      </a:lnTo>
                      <a:lnTo>
                        <a:pt x="3872" y="1431"/>
                      </a:lnTo>
                      <a:lnTo>
                        <a:pt x="3874" y="1424"/>
                      </a:lnTo>
                      <a:lnTo>
                        <a:pt x="3874" y="1423"/>
                      </a:lnTo>
                      <a:lnTo>
                        <a:pt x="3872" y="1421"/>
                      </a:lnTo>
                      <a:lnTo>
                        <a:pt x="3869" y="1421"/>
                      </a:lnTo>
                      <a:lnTo>
                        <a:pt x="3864" y="1423"/>
                      </a:lnTo>
                      <a:lnTo>
                        <a:pt x="3864" y="1423"/>
                      </a:lnTo>
                      <a:lnTo>
                        <a:pt x="3855" y="1426"/>
                      </a:lnTo>
                      <a:lnTo>
                        <a:pt x="3852" y="1430"/>
                      </a:lnTo>
                      <a:lnTo>
                        <a:pt x="3852" y="1433"/>
                      </a:lnTo>
                      <a:lnTo>
                        <a:pt x="3853" y="1437"/>
                      </a:lnTo>
                      <a:lnTo>
                        <a:pt x="3855" y="1440"/>
                      </a:lnTo>
                      <a:lnTo>
                        <a:pt x="3855" y="1442"/>
                      </a:lnTo>
                      <a:lnTo>
                        <a:pt x="3852" y="1444"/>
                      </a:lnTo>
                      <a:lnTo>
                        <a:pt x="3845" y="1445"/>
                      </a:lnTo>
                      <a:lnTo>
                        <a:pt x="3845" y="1445"/>
                      </a:lnTo>
                      <a:lnTo>
                        <a:pt x="3841" y="1445"/>
                      </a:lnTo>
                      <a:lnTo>
                        <a:pt x="3838" y="1445"/>
                      </a:lnTo>
                      <a:lnTo>
                        <a:pt x="3836" y="1442"/>
                      </a:lnTo>
                      <a:lnTo>
                        <a:pt x="3836" y="1440"/>
                      </a:lnTo>
                      <a:lnTo>
                        <a:pt x="3838" y="1433"/>
                      </a:lnTo>
                      <a:lnTo>
                        <a:pt x="3841" y="1426"/>
                      </a:lnTo>
                      <a:lnTo>
                        <a:pt x="3843" y="1417"/>
                      </a:lnTo>
                      <a:lnTo>
                        <a:pt x="3843" y="1414"/>
                      </a:lnTo>
                      <a:lnTo>
                        <a:pt x="3841" y="1411"/>
                      </a:lnTo>
                      <a:lnTo>
                        <a:pt x="3839" y="1407"/>
                      </a:lnTo>
                      <a:lnTo>
                        <a:pt x="3836" y="1405"/>
                      </a:lnTo>
                      <a:lnTo>
                        <a:pt x="3831" y="1404"/>
                      </a:lnTo>
                      <a:lnTo>
                        <a:pt x="3824" y="1404"/>
                      </a:lnTo>
                      <a:lnTo>
                        <a:pt x="3824" y="1404"/>
                      </a:lnTo>
                      <a:lnTo>
                        <a:pt x="3808" y="1404"/>
                      </a:lnTo>
                      <a:lnTo>
                        <a:pt x="3796" y="1404"/>
                      </a:lnTo>
                      <a:lnTo>
                        <a:pt x="3787" y="1402"/>
                      </a:lnTo>
                      <a:lnTo>
                        <a:pt x="3784" y="1398"/>
                      </a:lnTo>
                      <a:lnTo>
                        <a:pt x="3782" y="1395"/>
                      </a:lnTo>
                      <a:lnTo>
                        <a:pt x="3784" y="1393"/>
                      </a:lnTo>
                      <a:lnTo>
                        <a:pt x="3789" y="1384"/>
                      </a:lnTo>
                      <a:lnTo>
                        <a:pt x="3799" y="1374"/>
                      </a:lnTo>
                      <a:lnTo>
                        <a:pt x="3817" y="1362"/>
                      </a:lnTo>
                      <a:lnTo>
                        <a:pt x="3817" y="1362"/>
                      </a:lnTo>
                      <a:lnTo>
                        <a:pt x="3852" y="1339"/>
                      </a:lnTo>
                      <a:lnTo>
                        <a:pt x="3872" y="1323"/>
                      </a:lnTo>
                      <a:lnTo>
                        <a:pt x="3879" y="1316"/>
                      </a:lnTo>
                      <a:lnTo>
                        <a:pt x="3885" y="1310"/>
                      </a:lnTo>
                      <a:lnTo>
                        <a:pt x="3888" y="1301"/>
                      </a:lnTo>
                      <a:lnTo>
                        <a:pt x="3893" y="1290"/>
                      </a:lnTo>
                      <a:lnTo>
                        <a:pt x="3893" y="1290"/>
                      </a:lnTo>
                      <a:lnTo>
                        <a:pt x="3900" y="1280"/>
                      </a:lnTo>
                      <a:lnTo>
                        <a:pt x="3909" y="1271"/>
                      </a:lnTo>
                      <a:lnTo>
                        <a:pt x="3921" y="1263"/>
                      </a:lnTo>
                      <a:lnTo>
                        <a:pt x="3933" y="1256"/>
                      </a:lnTo>
                      <a:lnTo>
                        <a:pt x="3946" y="1249"/>
                      </a:lnTo>
                      <a:lnTo>
                        <a:pt x="3956" y="1240"/>
                      </a:lnTo>
                      <a:lnTo>
                        <a:pt x="3966" y="1229"/>
                      </a:lnTo>
                      <a:lnTo>
                        <a:pt x="3970" y="1222"/>
                      </a:lnTo>
                      <a:lnTo>
                        <a:pt x="3973" y="1216"/>
                      </a:lnTo>
                      <a:lnTo>
                        <a:pt x="3973" y="1216"/>
                      </a:lnTo>
                      <a:lnTo>
                        <a:pt x="3980" y="1202"/>
                      </a:lnTo>
                      <a:lnTo>
                        <a:pt x="3993" y="1188"/>
                      </a:lnTo>
                      <a:lnTo>
                        <a:pt x="4008" y="1174"/>
                      </a:lnTo>
                      <a:lnTo>
                        <a:pt x="4026" y="1162"/>
                      </a:lnTo>
                      <a:lnTo>
                        <a:pt x="4043" y="1151"/>
                      </a:lnTo>
                      <a:lnTo>
                        <a:pt x="4060" y="1146"/>
                      </a:lnTo>
                      <a:lnTo>
                        <a:pt x="4078" y="1142"/>
                      </a:lnTo>
                      <a:lnTo>
                        <a:pt x="4085" y="1142"/>
                      </a:lnTo>
                      <a:lnTo>
                        <a:pt x="4092" y="1144"/>
                      </a:lnTo>
                      <a:lnTo>
                        <a:pt x="4092" y="1144"/>
                      </a:lnTo>
                      <a:lnTo>
                        <a:pt x="4106" y="1146"/>
                      </a:lnTo>
                      <a:lnTo>
                        <a:pt x="4114" y="1148"/>
                      </a:lnTo>
                      <a:lnTo>
                        <a:pt x="4132" y="1146"/>
                      </a:lnTo>
                      <a:lnTo>
                        <a:pt x="4144" y="1146"/>
                      </a:lnTo>
                      <a:lnTo>
                        <a:pt x="4151" y="1148"/>
                      </a:lnTo>
                      <a:lnTo>
                        <a:pt x="4158" y="1151"/>
                      </a:lnTo>
                      <a:lnTo>
                        <a:pt x="4158" y="1151"/>
                      </a:lnTo>
                      <a:lnTo>
                        <a:pt x="4165" y="1153"/>
                      </a:lnTo>
                      <a:lnTo>
                        <a:pt x="4167" y="1153"/>
                      </a:lnTo>
                      <a:lnTo>
                        <a:pt x="4168" y="1151"/>
                      </a:lnTo>
                      <a:lnTo>
                        <a:pt x="4172" y="1148"/>
                      </a:lnTo>
                      <a:lnTo>
                        <a:pt x="4175" y="1144"/>
                      </a:lnTo>
                      <a:lnTo>
                        <a:pt x="4181" y="1141"/>
                      </a:lnTo>
                      <a:lnTo>
                        <a:pt x="4191" y="1141"/>
                      </a:lnTo>
                      <a:lnTo>
                        <a:pt x="4207" y="1142"/>
                      </a:lnTo>
                      <a:lnTo>
                        <a:pt x="4207" y="1142"/>
                      </a:lnTo>
                      <a:lnTo>
                        <a:pt x="4236" y="1149"/>
                      </a:lnTo>
                      <a:lnTo>
                        <a:pt x="4247" y="1151"/>
                      </a:lnTo>
                      <a:lnTo>
                        <a:pt x="4254" y="1151"/>
                      </a:lnTo>
                      <a:lnTo>
                        <a:pt x="4261" y="1151"/>
                      </a:lnTo>
                      <a:lnTo>
                        <a:pt x="4264" y="1148"/>
                      </a:lnTo>
                      <a:lnTo>
                        <a:pt x="4268" y="1141"/>
                      </a:lnTo>
                      <a:lnTo>
                        <a:pt x="4271" y="1132"/>
                      </a:lnTo>
                      <a:lnTo>
                        <a:pt x="4271" y="1132"/>
                      </a:lnTo>
                      <a:lnTo>
                        <a:pt x="4273" y="1130"/>
                      </a:lnTo>
                      <a:lnTo>
                        <a:pt x="4278" y="1128"/>
                      </a:lnTo>
                      <a:lnTo>
                        <a:pt x="4292" y="1127"/>
                      </a:lnTo>
                      <a:lnTo>
                        <a:pt x="4309" y="1127"/>
                      </a:lnTo>
                      <a:lnTo>
                        <a:pt x="4329" y="1128"/>
                      </a:lnTo>
                      <a:lnTo>
                        <a:pt x="4346" y="1132"/>
                      </a:lnTo>
                      <a:lnTo>
                        <a:pt x="4353" y="1135"/>
                      </a:lnTo>
                      <a:lnTo>
                        <a:pt x="4358" y="1137"/>
                      </a:lnTo>
                      <a:lnTo>
                        <a:pt x="4360" y="1142"/>
                      </a:lnTo>
                      <a:lnTo>
                        <a:pt x="4362" y="1146"/>
                      </a:lnTo>
                      <a:lnTo>
                        <a:pt x="4358" y="1151"/>
                      </a:lnTo>
                      <a:lnTo>
                        <a:pt x="4351" y="1156"/>
                      </a:lnTo>
                      <a:lnTo>
                        <a:pt x="4351" y="1156"/>
                      </a:lnTo>
                      <a:lnTo>
                        <a:pt x="4346" y="1162"/>
                      </a:lnTo>
                      <a:lnTo>
                        <a:pt x="4344" y="1163"/>
                      </a:lnTo>
                      <a:lnTo>
                        <a:pt x="4344" y="1167"/>
                      </a:lnTo>
                      <a:lnTo>
                        <a:pt x="4346" y="1169"/>
                      </a:lnTo>
                      <a:lnTo>
                        <a:pt x="4356" y="1169"/>
                      </a:lnTo>
                      <a:lnTo>
                        <a:pt x="4369" y="1169"/>
                      </a:lnTo>
                      <a:lnTo>
                        <a:pt x="4384" y="1167"/>
                      </a:lnTo>
                      <a:lnTo>
                        <a:pt x="4398" y="1163"/>
                      </a:lnTo>
                      <a:lnTo>
                        <a:pt x="4410" y="1160"/>
                      </a:lnTo>
                      <a:lnTo>
                        <a:pt x="4416" y="1156"/>
                      </a:lnTo>
                      <a:lnTo>
                        <a:pt x="4416" y="1156"/>
                      </a:lnTo>
                      <a:lnTo>
                        <a:pt x="4419" y="1151"/>
                      </a:lnTo>
                      <a:lnTo>
                        <a:pt x="4424" y="1151"/>
                      </a:lnTo>
                      <a:lnTo>
                        <a:pt x="4430" y="1153"/>
                      </a:lnTo>
                      <a:lnTo>
                        <a:pt x="4437" y="1158"/>
                      </a:lnTo>
                      <a:lnTo>
                        <a:pt x="4445" y="1162"/>
                      </a:lnTo>
                      <a:lnTo>
                        <a:pt x="4454" y="1163"/>
                      </a:lnTo>
                      <a:lnTo>
                        <a:pt x="4463" y="1162"/>
                      </a:lnTo>
                      <a:lnTo>
                        <a:pt x="4470" y="1160"/>
                      </a:lnTo>
                      <a:lnTo>
                        <a:pt x="4475" y="1156"/>
                      </a:lnTo>
                      <a:lnTo>
                        <a:pt x="4475" y="1156"/>
                      </a:lnTo>
                      <a:lnTo>
                        <a:pt x="4478" y="1151"/>
                      </a:lnTo>
                      <a:lnTo>
                        <a:pt x="4480" y="1148"/>
                      </a:lnTo>
                      <a:lnTo>
                        <a:pt x="4480" y="1144"/>
                      </a:lnTo>
                      <a:lnTo>
                        <a:pt x="4478" y="1142"/>
                      </a:lnTo>
                      <a:lnTo>
                        <a:pt x="4471" y="1135"/>
                      </a:lnTo>
                      <a:lnTo>
                        <a:pt x="4463" y="1128"/>
                      </a:lnTo>
                      <a:lnTo>
                        <a:pt x="4459" y="1125"/>
                      </a:lnTo>
                      <a:lnTo>
                        <a:pt x="4456" y="1121"/>
                      </a:lnTo>
                      <a:lnTo>
                        <a:pt x="4454" y="1116"/>
                      </a:lnTo>
                      <a:lnTo>
                        <a:pt x="4454" y="1113"/>
                      </a:lnTo>
                      <a:lnTo>
                        <a:pt x="4456" y="1106"/>
                      </a:lnTo>
                      <a:lnTo>
                        <a:pt x="4461" y="1099"/>
                      </a:lnTo>
                      <a:lnTo>
                        <a:pt x="4470" y="1092"/>
                      </a:lnTo>
                      <a:lnTo>
                        <a:pt x="4482" y="1083"/>
                      </a:lnTo>
                      <a:lnTo>
                        <a:pt x="4482" y="1083"/>
                      </a:lnTo>
                      <a:lnTo>
                        <a:pt x="4504" y="1066"/>
                      </a:lnTo>
                      <a:lnTo>
                        <a:pt x="4520" y="1052"/>
                      </a:lnTo>
                      <a:lnTo>
                        <a:pt x="4539" y="1029"/>
                      </a:lnTo>
                      <a:lnTo>
                        <a:pt x="4548" y="1021"/>
                      </a:lnTo>
                      <a:lnTo>
                        <a:pt x="4562" y="1015"/>
                      </a:lnTo>
                      <a:lnTo>
                        <a:pt x="4581" y="1010"/>
                      </a:lnTo>
                      <a:lnTo>
                        <a:pt x="4609" y="1005"/>
                      </a:lnTo>
                      <a:lnTo>
                        <a:pt x="4609" y="1005"/>
                      </a:lnTo>
                      <a:lnTo>
                        <a:pt x="4623" y="1005"/>
                      </a:lnTo>
                      <a:lnTo>
                        <a:pt x="4632" y="1005"/>
                      </a:lnTo>
                      <a:lnTo>
                        <a:pt x="4640" y="1008"/>
                      </a:lnTo>
                      <a:lnTo>
                        <a:pt x="4646" y="1014"/>
                      </a:lnTo>
                      <a:lnTo>
                        <a:pt x="4649" y="1021"/>
                      </a:lnTo>
                      <a:lnTo>
                        <a:pt x="4651" y="1027"/>
                      </a:lnTo>
                      <a:lnTo>
                        <a:pt x="4652" y="1043"/>
                      </a:lnTo>
                      <a:lnTo>
                        <a:pt x="4652" y="1057"/>
                      </a:lnTo>
                      <a:lnTo>
                        <a:pt x="4652" y="1062"/>
                      </a:lnTo>
                      <a:lnTo>
                        <a:pt x="4654" y="1068"/>
                      </a:lnTo>
                      <a:lnTo>
                        <a:pt x="4658" y="1071"/>
                      </a:lnTo>
                      <a:lnTo>
                        <a:pt x="4661" y="1071"/>
                      </a:lnTo>
                      <a:lnTo>
                        <a:pt x="4668" y="1071"/>
                      </a:lnTo>
                      <a:lnTo>
                        <a:pt x="4677" y="1068"/>
                      </a:lnTo>
                      <a:lnTo>
                        <a:pt x="4677" y="1068"/>
                      </a:lnTo>
                      <a:lnTo>
                        <a:pt x="4696" y="1057"/>
                      </a:lnTo>
                      <a:lnTo>
                        <a:pt x="4708" y="1047"/>
                      </a:lnTo>
                      <a:lnTo>
                        <a:pt x="4715" y="1038"/>
                      </a:lnTo>
                      <a:lnTo>
                        <a:pt x="4722" y="1029"/>
                      </a:lnTo>
                      <a:lnTo>
                        <a:pt x="4727" y="1024"/>
                      </a:lnTo>
                      <a:lnTo>
                        <a:pt x="4733" y="1021"/>
                      </a:lnTo>
                      <a:lnTo>
                        <a:pt x="4740" y="1019"/>
                      </a:lnTo>
                      <a:lnTo>
                        <a:pt x="4750" y="1021"/>
                      </a:lnTo>
                      <a:lnTo>
                        <a:pt x="4750" y="1021"/>
                      </a:lnTo>
                      <a:lnTo>
                        <a:pt x="4755" y="1021"/>
                      </a:lnTo>
                      <a:lnTo>
                        <a:pt x="4759" y="1021"/>
                      </a:lnTo>
                      <a:lnTo>
                        <a:pt x="4760" y="1019"/>
                      </a:lnTo>
                      <a:lnTo>
                        <a:pt x="4762" y="1014"/>
                      </a:lnTo>
                      <a:lnTo>
                        <a:pt x="4762" y="1003"/>
                      </a:lnTo>
                      <a:lnTo>
                        <a:pt x="4760" y="991"/>
                      </a:lnTo>
                      <a:lnTo>
                        <a:pt x="4759" y="977"/>
                      </a:lnTo>
                      <a:lnTo>
                        <a:pt x="4760" y="972"/>
                      </a:lnTo>
                      <a:lnTo>
                        <a:pt x="4762" y="967"/>
                      </a:lnTo>
                      <a:lnTo>
                        <a:pt x="4766" y="961"/>
                      </a:lnTo>
                      <a:lnTo>
                        <a:pt x="4773" y="958"/>
                      </a:lnTo>
                      <a:lnTo>
                        <a:pt x="4780" y="956"/>
                      </a:lnTo>
                      <a:lnTo>
                        <a:pt x="4790" y="954"/>
                      </a:lnTo>
                      <a:lnTo>
                        <a:pt x="4790" y="954"/>
                      </a:lnTo>
                      <a:lnTo>
                        <a:pt x="4816" y="956"/>
                      </a:lnTo>
                      <a:lnTo>
                        <a:pt x="4820" y="956"/>
                      </a:lnTo>
                      <a:lnTo>
                        <a:pt x="4820" y="958"/>
                      </a:lnTo>
                      <a:lnTo>
                        <a:pt x="4816" y="961"/>
                      </a:lnTo>
                      <a:lnTo>
                        <a:pt x="4811" y="968"/>
                      </a:lnTo>
                      <a:lnTo>
                        <a:pt x="4804" y="979"/>
                      </a:lnTo>
                      <a:lnTo>
                        <a:pt x="4795" y="993"/>
                      </a:lnTo>
                      <a:lnTo>
                        <a:pt x="4794" y="1003"/>
                      </a:lnTo>
                      <a:lnTo>
                        <a:pt x="4790" y="1014"/>
                      </a:lnTo>
                      <a:lnTo>
                        <a:pt x="4790" y="1014"/>
                      </a:lnTo>
                      <a:lnTo>
                        <a:pt x="4788" y="1024"/>
                      </a:lnTo>
                      <a:lnTo>
                        <a:pt x="4785" y="1034"/>
                      </a:lnTo>
                      <a:lnTo>
                        <a:pt x="4781" y="1041"/>
                      </a:lnTo>
                      <a:lnTo>
                        <a:pt x="4778" y="1048"/>
                      </a:lnTo>
                      <a:lnTo>
                        <a:pt x="4767" y="1057"/>
                      </a:lnTo>
                      <a:lnTo>
                        <a:pt x="4755" y="1066"/>
                      </a:lnTo>
                      <a:lnTo>
                        <a:pt x="4740" y="1074"/>
                      </a:lnTo>
                      <a:lnTo>
                        <a:pt x="4724" y="1085"/>
                      </a:lnTo>
                      <a:lnTo>
                        <a:pt x="4706" y="1099"/>
                      </a:lnTo>
                      <a:lnTo>
                        <a:pt x="4696" y="1109"/>
                      </a:lnTo>
                      <a:lnTo>
                        <a:pt x="4687" y="1121"/>
                      </a:lnTo>
                      <a:lnTo>
                        <a:pt x="4687" y="1121"/>
                      </a:lnTo>
                      <a:lnTo>
                        <a:pt x="4651" y="1165"/>
                      </a:lnTo>
                      <a:lnTo>
                        <a:pt x="4635" y="1181"/>
                      </a:lnTo>
                      <a:lnTo>
                        <a:pt x="4621" y="1195"/>
                      </a:lnTo>
                      <a:lnTo>
                        <a:pt x="4607" y="1207"/>
                      </a:lnTo>
                      <a:lnTo>
                        <a:pt x="4595" y="1216"/>
                      </a:lnTo>
                      <a:lnTo>
                        <a:pt x="4581" y="1221"/>
                      </a:lnTo>
                      <a:lnTo>
                        <a:pt x="4567" y="1226"/>
                      </a:lnTo>
                      <a:lnTo>
                        <a:pt x="4567" y="1226"/>
                      </a:lnTo>
                      <a:lnTo>
                        <a:pt x="4555" y="1229"/>
                      </a:lnTo>
                      <a:lnTo>
                        <a:pt x="4550" y="1233"/>
                      </a:lnTo>
                      <a:lnTo>
                        <a:pt x="4546" y="1238"/>
                      </a:lnTo>
                      <a:lnTo>
                        <a:pt x="4546" y="1243"/>
                      </a:lnTo>
                      <a:lnTo>
                        <a:pt x="4545" y="1249"/>
                      </a:lnTo>
                      <a:lnTo>
                        <a:pt x="4543" y="1257"/>
                      </a:lnTo>
                      <a:lnTo>
                        <a:pt x="4538" y="1264"/>
                      </a:lnTo>
                      <a:lnTo>
                        <a:pt x="4525" y="1275"/>
                      </a:lnTo>
                      <a:lnTo>
                        <a:pt x="4525" y="1275"/>
                      </a:lnTo>
                      <a:lnTo>
                        <a:pt x="4520" y="1282"/>
                      </a:lnTo>
                      <a:lnTo>
                        <a:pt x="4515" y="1289"/>
                      </a:lnTo>
                      <a:lnTo>
                        <a:pt x="4510" y="1299"/>
                      </a:lnTo>
                      <a:lnTo>
                        <a:pt x="4506" y="1311"/>
                      </a:lnTo>
                      <a:lnTo>
                        <a:pt x="4504" y="1323"/>
                      </a:lnTo>
                      <a:lnTo>
                        <a:pt x="4503" y="1337"/>
                      </a:lnTo>
                      <a:lnTo>
                        <a:pt x="4503" y="1370"/>
                      </a:lnTo>
                      <a:lnTo>
                        <a:pt x="4504" y="1405"/>
                      </a:lnTo>
                      <a:lnTo>
                        <a:pt x="4510" y="1442"/>
                      </a:lnTo>
                      <a:lnTo>
                        <a:pt x="4517" y="1480"/>
                      </a:lnTo>
                      <a:lnTo>
                        <a:pt x="4524" y="1518"/>
                      </a:lnTo>
                      <a:lnTo>
                        <a:pt x="4524" y="1518"/>
                      </a:lnTo>
                      <a:lnTo>
                        <a:pt x="4525" y="1534"/>
                      </a:lnTo>
                      <a:lnTo>
                        <a:pt x="4529" y="1552"/>
                      </a:lnTo>
                      <a:lnTo>
                        <a:pt x="4531" y="1569"/>
                      </a:lnTo>
                      <a:lnTo>
                        <a:pt x="4534" y="1583"/>
                      </a:lnTo>
                      <a:lnTo>
                        <a:pt x="4538" y="1588"/>
                      </a:lnTo>
                      <a:lnTo>
                        <a:pt x="4541" y="1592"/>
                      </a:lnTo>
                      <a:lnTo>
                        <a:pt x="4545" y="1593"/>
                      </a:lnTo>
                      <a:lnTo>
                        <a:pt x="4550" y="1592"/>
                      </a:lnTo>
                      <a:lnTo>
                        <a:pt x="4557" y="1588"/>
                      </a:lnTo>
                      <a:lnTo>
                        <a:pt x="4564" y="1581"/>
                      </a:lnTo>
                      <a:lnTo>
                        <a:pt x="4574" y="1571"/>
                      </a:lnTo>
                      <a:lnTo>
                        <a:pt x="4585" y="1557"/>
                      </a:lnTo>
                      <a:lnTo>
                        <a:pt x="4585" y="1557"/>
                      </a:lnTo>
                      <a:lnTo>
                        <a:pt x="4592" y="1546"/>
                      </a:lnTo>
                      <a:lnTo>
                        <a:pt x="4597" y="1536"/>
                      </a:lnTo>
                      <a:lnTo>
                        <a:pt x="4602" y="1520"/>
                      </a:lnTo>
                      <a:lnTo>
                        <a:pt x="4604" y="1508"/>
                      </a:lnTo>
                      <a:lnTo>
                        <a:pt x="4605" y="1498"/>
                      </a:lnTo>
                      <a:lnTo>
                        <a:pt x="4607" y="1489"/>
                      </a:lnTo>
                      <a:lnTo>
                        <a:pt x="4607" y="1487"/>
                      </a:lnTo>
                      <a:lnTo>
                        <a:pt x="4611" y="1485"/>
                      </a:lnTo>
                      <a:lnTo>
                        <a:pt x="4619" y="1482"/>
                      </a:lnTo>
                      <a:lnTo>
                        <a:pt x="4633" y="1480"/>
                      </a:lnTo>
                      <a:lnTo>
                        <a:pt x="4633" y="1480"/>
                      </a:lnTo>
                      <a:lnTo>
                        <a:pt x="4642" y="1480"/>
                      </a:lnTo>
                      <a:lnTo>
                        <a:pt x="4647" y="1478"/>
                      </a:lnTo>
                      <a:lnTo>
                        <a:pt x="4651" y="1475"/>
                      </a:lnTo>
                      <a:lnTo>
                        <a:pt x="4654" y="1470"/>
                      </a:lnTo>
                      <a:lnTo>
                        <a:pt x="4656" y="1459"/>
                      </a:lnTo>
                      <a:lnTo>
                        <a:pt x="4656" y="1447"/>
                      </a:lnTo>
                      <a:lnTo>
                        <a:pt x="4658" y="1433"/>
                      </a:lnTo>
                      <a:lnTo>
                        <a:pt x="4658" y="1428"/>
                      </a:lnTo>
                      <a:lnTo>
                        <a:pt x="4661" y="1423"/>
                      </a:lnTo>
                      <a:lnTo>
                        <a:pt x="4665" y="1417"/>
                      </a:lnTo>
                      <a:lnTo>
                        <a:pt x="4670" y="1414"/>
                      </a:lnTo>
                      <a:lnTo>
                        <a:pt x="4677" y="1411"/>
                      </a:lnTo>
                      <a:lnTo>
                        <a:pt x="4687" y="1409"/>
                      </a:lnTo>
                      <a:lnTo>
                        <a:pt x="4687" y="1409"/>
                      </a:lnTo>
                      <a:lnTo>
                        <a:pt x="4710" y="1405"/>
                      </a:lnTo>
                      <a:lnTo>
                        <a:pt x="4717" y="1404"/>
                      </a:lnTo>
                      <a:lnTo>
                        <a:pt x="4722" y="1400"/>
                      </a:lnTo>
                      <a:lnTo>
                        <a:pt x="4724" y="1397"/>
                      </a:lnTo>
                      <a:lnTo>
                        <a:pt x="4726" y="1393"/>
                      </a:lnTo>
                      <a:lnTo>
                        <a:pt x="4726" y="1388"/>
                      </a:lnTo>
                      <a:lnTo>
                        <a:pt x="4724" y="1384"/>
                      </a:lnTo>
                      <a:lnTo>
                        <a:pt x="4720" y="1372"/>
                      </a:lnTo>
                      <a:lnTo>
                        <a:pt x="4717" y="1360"/>
                      </a:lnTo>
                      <a:lnTo>
                        <a:pt x="4717" y="1355"/>
                      </a:lnTo>
                      <a:lnTo>
                        <a:pt x="4717" y="1348"/>
                      </a:lnTo>
                      <a:lnTo>
                        <a:pt x="4717" y="1341"/>
                      </a:lnTo>
                      <a:lnTo>
                        <a:pt x="4720" y="1334"/>
                      </a:lnTo>
                      <a:lnTo>
                        <a:pt x="4720" y="1334"/>
                      </a:lnTo>
                      <a:lnTo>
                        <a:pt x="4724" y="1329"/>
                      </a:lnTo>
                      <a:lnTo>
                        <a:pt x="4727" y="1323"/>
                      </a:lnTo>
                      <a:lnTo>
                        <a:pt x="4731" y="1322"/>
                      </a:lnTo>
                      <a:lnTo>
                        <a:pt x="4736" y="1320"/>
                      </a:lnTo>
                      <a:lnTo>
                        <a:pt x="4743" y="1322"/>
                      </a:lnTo>
                      <a:lnTo>
                        <a:pt x="4750" y="1323"/>
                      </a:lnTo>
                      <a:lnTo>
                        <a:pt x="4757" y="1327"/>
                      </a:lnTo>
                      <a:lnTo>
                        <a:pt x="4762" y="1329"/>
                      </a:lnTo>
                      <a:lnTo>
                        <a:pt x="4764" y="1329"/>
                      </a:lnTo>
                      <a:lnTo>
                        <a:pt x="4766" y="1325"/>
                      </a:lnTo>
                      <a:lnTo>
                        <a:pt x="4769" y="1316"/>
                      </a:lnTo>
                      <a:lnTo>
                        <a:pt x="4769" y="1316"/>
                      </a:lnTo>
                      <a:lnTo>
                        <a:pt x="4771" y="1310"/>
                      </a:lnTo>
                      <a:lnTo>
                        <a:pt x="4769" y="1304"/>
                      </a:lnTo>
                      <a:lnTo>
                        <a:pt x="4767" y="1299"/>
                      </a:lnTo>
                      <a:lnTo>
                        <a:pt x="4766" y="1294"/>
                      </a:lnTo>
                      <a:lnTo>
                        <a:pt x="4760" y="1289"/>
                      </a:lnTo>
                      <a:lnTo>
                        <a:pt x="4753" y="1283"/>
                      </a:lnTo>
                      <a:lnTo>
                        <a:pt x="4748" y="1278"/>
                      </a:lnTo>
                      <a:lnTo>
                        <a:pt x="4747" y="1276"/>
                      </a:lnTo>
                      <a:lnTo>
                        <a:pt x="4745" y="1273"/>
                      </a:lnTo>
                      <a:lnTo>
                        <a:pt x="4745" y="1269"/>
                      </a:lnTo>
                      <a:lnTo>
                        <a:pt x="4747" y="1266"/>
                      </a:lnTo>
                      <a:lnTo>
                        <a:pt x="4755" y="1254"/>
                      </a:lnTo>
                      <a:lnTo>
                        <a:pt x="4755" y="1254"/>
                      </a:lnTo>
                      <a:lnTo>
                        <a:pt x="4760" y="1247"/>
                      </a:lnTo>
                      <a:lnTo>
                        <a:pt x="4764" y="1240"/>
                      </a:lnTo>
                      <a:lnTo>
                        <a:pt x="4766" y="1233"/>
                      </a:lnTo>
                      <a:lnTo>
                        <a:pt x="4764" y="1229"/>
                      </a:lnTo>
                      <a:lnTo>
                        <a:pt x="4759" y="1226"/>
                      </a:lnTo>
                      <a:lnTo>
                        <a:pt x="4753" y="1222"/>
                      </a:lnTo>
                      <a:lnTo>
                        <a:pt x="4741" y="1219"/>
                      </a:lnTo>
                      <a:lnTo>
                        <a:pt x="4731" y="1214"/>
                      </a:lnTo>
                      <a:lnTo>
                        <a:pt x="4726" y="1212"/>
                      </a:lnTo>
                      <a:lnTo>
                        <a:pt x="4722" y="1209"/>
                      </a:lnTo>
                      <a:lnTo>
                        <a:pt x="4722" y="1205"/>
                      </a:lnTo>
                      <a:lnTo>
                        <a:pt x="4724" y="1200"/>
                      </a:lnTo>
                      <a:lnTo>
                        <a:pt x="4729" y="1195"/>
                      </a:lnTo>
                      <a:lnTo>
                        <a:pt x="4736" y="1188"/>
                      </a:lnTo>
                      <a:lnTo>
                        <a:pt x="4736" y="1188"/>
                      </a:lnTo>
                      <a:lnTo>
                        <a:pt x="4753" y="1172"/>
                      </a:lnTo>
                      <a:lnTo>
                        <a:pt x="4764" y="1158"/>
                      </a:lnTo>
                      <a:lnTo>
                        <a:pt x="4771" y="1146"/>
                      </a:lnTo>
                      <a:lnTo>
                        <a:pt x="4773" y="1135"/>
                      </a:lnTo>
                      <a:lnTo>
                        <a:pt x="4774" y="1127"/>
                      </a:lnTo>
                      <a:lnTo>
                        <a:pt x="4778" y="1120"/>
                      </a:lnTo>
                      <a:lnTo>
                        <a:pt x="4783" y="1113"/>
                      </a:lnTo>
                      <a:lnTo>
                        <a:pt x="4794" y="1108"/>
                      </a:lnTo>
                      <a:lnTo>
                        <a:pt x="4794" y="1108"/>
                      </a:lnTo>
                      <a:lnTo>
                        <a:pt x="4804" y="1106"/>
                      </a:lnTo>
                      <a:lnTo>
                        <a:pt x="4811" y="1106"/>
                      </a:lnTo>
                      <a:lnTo>
                        <a:pt x="4814" y="1108"/>
                      </a:lnTo>
                      <a:lnTo>
                        <a:pt x="4816" y="1109"/>
                      </a:lnTo>
                      <a:lnTo>
                        <a:pt x="4818" y="1111"/>
                      </a:lnTo>
                      <a:lnTo>
                        <a:pt x="4823" y="1109"/>
                      </a:lnTo>
                      <a:lnTo>
                        <a:pt x="4832" y="1104"/>
                      </a:lnTo>
                      <a:lnTo>
                        <a:pt x="4846" y="1094"/>
                      </a:lnTo>
                      <a:lnTo>
                        <a:pt x="4846" y="1094"/>
                      </a:lnTo>
                      <a:lnTo>
                        <a:pt x="4856" y="1087"/>
                      </a:lnTo>
                      <a:lnTo>
                        <a:pt x="4863" y="1083"/>
                      </a:lnTo>
                      <a:lnTo>
                        <a:pt x="4868" y="1081"/>
                      </a:lnTo>
                      <a:lnTo>
                        <a:pt x="4870" y="1083"/>
                      </a:lnTo>
                      <a:lnTo>
                        <a:pt x="4872" y="1087"/>
                      </a:lnTo>
                      <a:lnTo>
                        <a:pt x="4872" y="1090"/>
                      </a:lnTo>
                      <a:lnTo>
                        <a:pt x="4868" y="1101"/>
                      </a:lnTo>
                      <a:lnTo>
                        <a:pt x="4865" y="1111"/>
                      </a:lnTo>
                      <a:lnTo>
                        <a:pt x="4865" y="1115"/>
                      </a:lnTo>
                      <a:lnTo>
                        <a:pt x="4865" y="1118"/>
                      </a:lnTo>
                      <a:lnTo>
                        <a:pt x="4867" y="1118"/>
                      </a:lnTo>
                      <a:lnTo>
                        <a:pt x="4872" y="1116"/>
                      </a:lnTo>
                      <a:lnTo>
                        <a:pt x="4888" y="1106"/>
                      </a:lnTo>
                      <a:lnTo>
                        <a:pt x="4888" y="1106"/>
                      </a:lnTo>
                      <a:lnTo>
                        <a:pt x="4907" y="1090"/>
                      </a:lnTo>
                      <a:lnTo>
                        <a:pt x="4926" y="1080"/>
                      </a:lnTo>
                      <a:lnTo>
                        <a:pt x="4935" y="1078"/>
                      </a:lnTo>
                      <a:lnTo>
                        <a:pt x="4943" y="1076"/>
                      </a:lnTo>
                      <a:lnTo>
                        <a:pt x="4959" y="1076"/>
                      </a:lnTo>
                      <a:lnTo>
                        <a:pt x="4973" y="1080"/>
                      </a:lnTo>
                      <a:lnTo>
                        <a:pt x="4985" y="1085"/>
                      </a:lnTo>
                      <a:lnTo>
                        <a:pt x="4996" y="1095"/>
                      </a:lnTo>
                      <a:lnTo>
                        <a:pt x="5006" y="1106"/>
                      </a:lnTo>
                      <a:lnTo>
                        <a:pt x="5006" y="1106"/>
                      </a:lnTo>
                      <a:lnTo>
                        <a:pt x="5013" y="1113"/>
                      </a:lnTo>
                      <a:lnTo>
                        <a:pt x="5016" y="1116"/>
                      </a:lnTo>
                      <a:lnTo>
                        <a:pt x="5016" y="1115"/>
                      </a:lnTo>
                      <a:lnTo>
                        <a:pt x="5020" y="1108"/>
                      </a:lnTo>
                      <a:lnTo>
                        <a:pt x="5025" y="1097"/>
                      </a:lnTo>
                      <a:lnTo>
                        <a:pt x="5037" y="1083"/>
                      </a:lnTo>
                      <a:lnTo>
                        <a:pt x="5046" y="1074"/>
                      </a:lnTo>
                      <a:lnTo>
                        <a:pt x="5058" y="1066"/>
                      </a:lnTo>
                      <a:lnTo>
                        <a:pt x="5072" y="1057"/>
                      </a:lnTo>
                      <a:lnTo>
                        <a:pt x="5090" y="1048"/>
                      </a:lnTo>
                      <a:lnTo>
                        <a:pt x="5090" y="1048"/>
                      </a:lnTo>
                      <a:lnTo>
                        <a:pt x="5105" y="1040"/>
                      </a:lnTo>
                      <a:lnTo>
                        <a:pt x="5119" y="1029"/>
                      </a:lnTo>
                      <a:lnTo>
                        <a:pt x="5149" y="1008"/>
                      </a:lnTo>
                      <a:lnTo>
                        <a:pt x="5164" y="998"/>
                      </a:lnTo>
                      <a:lnTo>
                        <a:pt x="5180" y="989"/>
                      </a:lnTo>
                      <a:lnTo>
                        <a:pt x="5196" y="980"/>
                      </a:lnTo>
                      <a:lnTo>
                        <a:pt x="5215" y="974"/>
                      </a:lnTo>
                      <a:lnTo>
                        <a:pt x="5215" y="974"/>
                      </a:lnTo>
                      <a:lnTo>
                        <a:pt x="5231" y="968"/>
                      </a:lnTo>
                      <a:lnTo>
                        <a:pt x="5246" y="965"/>
                      </a:lnTo>
                      <a:lnTo>
                        <a:pt x="5258" y="963"/>
                      </a:lnTo>
                      <a:lnTo>
                        <a:pt x="5271" y="963"/>
                      </a:lnTo>
                      <a:lnTo>
                        <a:pt x="5288" y="963"/>
                      </a:lnTo>
                      <a:lnTo>
                        <a:pt x="5300" y="967"/>
                      </a:lnTo>
                      <a:lnTo>
                        <a:pt x="5311" y="970"/>
                      </a:lnTo>
                      <a:lnTo>
                        <a:pt x="5318" y="974"/>
                      </a:lnTo>
                      <a:lnTo>
                        <a:pt x="5321" y="974"/>
                      </a:lnTo>
                      <a:lnTo>
                        <a:pt x="5325" y="972"/>
                      </a:lnTo>
                      <a:lnTo>
                        <a:pt x="5333" y="967"/>
                      </a:lnTo>
                      <a:lnTo>
                        <a:pt x="5333" y="967"/>
                      </a:lnTo>
                      <a:lnTo>
                        <a:pt x="5340" y="958"/>
                      </a:lnTo>
                      <a:lnTo>
                        <a:pt x="5342" y="951"/>
                      </a:lnTo>
                      <a:lnTo>
                        <a:pt x="5340" y="942"/>
                      </a:lnTo>
                      <a:lnTo>
                        <a:pt x="5337" y="935"/>
                      </a:lnTo>
                      <a:lnTo>
                        <a:pt x="5323" y="916"/>
                      </a:lnTo>
                      <a:lnTo>
                        <a:pt x="5316" y="904"/>
                      </a:lnTo>
                      <a:lnTo>
                        <a:pt x="5309" y="888"/>
                      </a:lnTo>
                      <a:lnTo>
                        <a:pt x="5309" y="888"/>
                      </a:lnTo>
                      <a:lnTo>
                        <a:pt x="5302" y="871"/>
                      </a:lnTo>
                      <a:lnTo>
                        <a:pt x="5295" y="862"/>
                      </a:lnTo>
                      <a:lnTo>
                        <a:pt x="5292" y="860"/>
                      </a:lnTo>
                      <a:lnTo>
                        <a:pt x="5288" y="860"/>
                      </a:lnTo>
                      <a:lnTo>
                        <a:pt x="5283" y="860"/>
                      </a:lnTo>
                      <a:lnTo>
                        <a:pt x="5278" y="862"/>
                      </a:lnTo>
                      <a:lnTo>
                        <a:pt x="5274" y="862"/>
                      </a:lnTo>
                      <a:lnTo>
                        <a:pt x="5271" y="860"/>
                      </a:lnTo>
                      <a:lnTo>
                        <a:pt x="5269" y="859"/>
                      </a:lnTo>
                      <a:lnTo>
                        <a:pt x="5265" y="846"/>
                      </a:lnTo>
                      <a:lnTo>
                        <a:pt x="5265" y="846"/>
                      </a:lnTo>
                      <a:lnTo>
                        <a:pt x="5264" y="843"/>
                      </a:lnTo>
                      <a:lnTo>
                        <a:pt x="5265" y="839"/>
                      </a:lnTo>
                      <a:lnTo>
                        <a:pt x="5267" y="838"/>
                      </a:lnTo>
                      <a:lnTo>
                        <a:pt x="5271" y="836"/>
                      </a:lnTo>
                      <a:lnTo>
                        <a:pt x="5279" y="836"/>
                      </a:lnTo>
                      <a:lnTo>
                        <a:pt x="5292" y="838"/>
                      </a:lnTo>
                      <a:lnTo>
                        <a:pt x="5304" y="839"/>
                      </a:lnTo>
                      <a:lnTo>
                        <a:pt x="5319" y="838"/>
                      </a:lnTo>
                      <a:lnTo>
                        <a:pt x="5326" y="836"/>
                      </a:lnTo>
                      <a:lnTo>
                        <a:pt x="5333" y="832"/>
                      </a:lnTo>
                      <a:lnTo>
                        <a:pt x="5340" y="827"/>
                      </a:lnTo>
                      <a:lnTo>
                        <a:pt x="5345" y="820"/>
                      </a:lnTo>
                      <a:lnTo>
                        <a:pt x="5345" y="820"/>
                      </a:lnTo>
                      <a:lnTo>
                        <a:pt x="5359" y="805"/>
                      </a:lnTo>
                      <a:lnTo>
                        <a:pt x="5359" y="792"/>
                      </a:lnTo>
                      <a:lnTo>
                        <a:pt x="5359" y="792"/>
                      </a:lnTo>
                      <a:lnTo>
                        <a:pt x="5368" y="782"/>
                      </a:lnTo>
                      <a:lnTo>
                        <a:pt x="5370" y="778"/>
                      </a:lnTo>
                      <a:lnTo>
                        <a:pt x="5370" y="775"/>
                      </a:lnTo>
                      <a:lnTo>
                        <a:pt x="5370" y="773"/>
                      </a:lnTo>
                      <a:lnTo>
                        <a:pt x="5368" y="770"/>
                      </a:lnTo>
                      <a:lnTo>
                        <a:pt x="5361" y="759"/>
                      </a:lnTo>
                      <a:lnTo>
                        <a:pt x="5361" y="759"/>
                      </a:lnTo>
                      <a:lnTo>
                        <a:pt x="5359" y="754"/>
                      </a:lnTo>
                      <a:lnTo>
                        <a:pt x="5359" y="744"/>
                      </a:lnTo>
                      <a:lnTo>
                        <a:pt x="5359" y="744"/>
                      </a:lnTo>
                      <a:lnTo>
                        <a:pt x="5361" y="742"/>
                      </a:lnTo>
                      <a:lnTo>
                        <a:pt x="5366" y="740"/>
                      </a:lnTo>
                      <a:lnTo>
                        <a:pt x="5370" y="740"/>
                      </a:lnTo>
                      <a:lnTo>
                        <a:pt x="5375" y="742"/>
                      </a:lnTo>
                      <a:lnTo>
                        <a:pt x="5382" y="745"/>
                      </a:lnTo>
                      <a:lnTo>
                        <a:pt x="5387" y="751"/>
                      </a:lnTo>
                      <a:lnTo>
                        <a:pt x="5393" y="759"/>
                      </a:lnTo>
                      <a:lnTo>
                        <a:pt x="5398" y="768"/>
                      </a:lnTo>
                      <a:lnTo>
                        <a:pt x="5398" y="768"/>
                      </a:lnTo>
                      <a:lnTo>
                        <a:pt x="5401" y="773"/>
                      </a:lnTo>
                      <a:lnTo>
                        <a:pt x="5405" y="778"/>
                      </a:lnTo>
                      <a:lnTo>
                        <a:pt x="5410" y="780"/>
                      </a:lnTo>
                      <a:lnTo>
                        <a:pt x="5415" y="782"/>
                      </a:lnTo>
                      <a:lnTo>
                        <a:pt x="5429" y="780"/>
                      </a:lnTo>
                      <a:lnTo>
                        <a:pt x="5441" y="777"/>
                      </a:lnTo>
                      <a:lnTo>
                        <a:pt x="5455" y="775"/>
                      </a:lnTo>
                      <a:lnTo>
                        <a:pt x="5462" y="775"/>
                      </a:lnTo>
                      <a:lnTo>
                        <a:pt x="5469" y="775"/>
                      </a:lnTo>
                      <a:lnTo>
                        <a:pt x="5476" y="777"/>
                      </a:lnTo>
                      <a:lnTo>
                        <a:pt x="5481" y="782"/>
                      </a:lnTo>
                      <a:lnTo>
                        <a:pt x="5487" y="787"/>
                      </a:lnTo>
                      <a:lnTo>
                        <a:pt x="5490" y="794"/>
                      </a:lnTo>
                      <a:lnTo>
                        <a:pt x="5490" y="794"/>
                      </a:lnTo>
                      <a:lnTo>
                        <a:pt x="5499" y="810"/>
                      </a:lnTo>
                      <a:lnTo>
                        <a:pt x="5507" y="819"/>
                      </a:lnTo>
                      <a:lnTo>
                        <a:pt x="5514" y="824"/>
                      </a:lnTo>
                      <a:lnTo>
                        <a:pt x="5523" y="826"/>
                      </a:lnTo>
                      <a:lnTo>
                        <a:pt x="5530" y="826"/>
                      </a:lnTo>
                      <a:lnTo>
                        <a:pt x="5537" y="827"/>
                      </a:lnTo>
                      <a:lnTo>
                        <a:pt x="5544" y="831"/>
                      </a:lnTo>
                      <a:lnTo>
                        <a:pt x="5551" y="838"/>
                      </a:lnTo>
                      <a:lnTo>
                        <a:pt x="5551" y="838"/>
                      </a:lnTo>
                      <a:lnTo>
                        <a:pt x="5553" y="841"/>
                      </a:lnTo>
                      <a:lnTo>
                        <a:pt x="5558" y="845"/>
                      </a:lnTo>
                      <a:lnTo>
                        <a:pt x="5561" y="846"/>
                      </a:lnTo>
                      <a:lnTo>
                        <a:pt x="5567" y="848"/>
                      </a:lnTo>
                      <a:lnTo>
                        <a:pt x="5575" y="848"/>
                      </a:lnTo>
                      <a:lnTo>
                        <a:pt x="5586" y="843"/>
                      </a:lnTo>
                      <a:lnTo>
                        <a:pt x="5594" y="836"/>
                      </a:lnTo>
                      <a:lnTo>
                        <a:pt x="5603" y="827"/>
                      </a:lnTo>
                      <a:lnTo>
                        <a:pt x="5608" y="815"/>
                      </a:lnTo>
                      <a:lnTo>
                        <a:pt x="5610" y="799"/>
                      </a:lnTo>
                      <a:lnTo>
                        <a:pt x="5610" y="799"/>
                      </a:lnTo>
                      <a:lnTo>
                        <a:pt x="5612" y="787"/>
                      </a:lnTo>
                      <a:lnTo>
                        <a:pt x="5614" y="784"/>
                      </a:lnTo>
                      <a:lnTo>
                        <a:pt x="5617" y="780"/>
                      </a:lnTo>
                      <a:lnTo>
                        <a:pt x="5624" y="777"/>
                      </a:lnTo>
                      <a:lnTo>
                        <a:pt x="5633" y="775"/>
                      </a:lnTo>
                      <a:lnTo>
                        <a:pt x="5642" y="773"/>
                      </a:lnTo>
                      <a:lnTo>
                        <a:pt x="5654" y="772"/>
                      </a:lnTo>
                      <a:lnTo>
                        <a:pt x="5666" y="765"/>
                      </a:lnTo>
                      <a:lnTo>
                        <a:pt x="5671" y="761"/>
                      </a:lnTo>
                      <a:lnTo>
                        <a:pt x="5678" y="754"/>
                      </a:lnTo>
                      <a:lnTo>
                        <a:pt x="5678" y="754"/>
                      </a:lnTo>
                      <a:lnTo>
                        <a:pt x="5687" y="745"/>
                      </a:lnTo>
                      <a:lnTo>
                        <a:pt x="5689" y="738"/>
                      </a:lnTo>
                      <a:lnTo>
                        <a:pt x="5689" y="738"/>
                      </a:lnTo>
                      <a:lnTo>
                        <a:pt x="5687" y="737"/>
                      </a:lnTo>
                      <a:lnTo>
                        <a:pt x="5680" y="735"/>
                      </a:lnTo>
                      <a:lnTo>
                        <a:pt x="5671" y="735"/>
                      </a:lnTo>
                      <a:lnTo>
                        <a:pt x="5661" y="731"/>
                      </a:lnTo>
                      <a:lnTo>
                        <a:pt x="5655" y="728"/>
                      </a:lnTo>
                      <a:lnTo>
                        <a:pt x="5648" y="725"/>
                      </a:lnTo>
                      <a:lnTo>
                        <a:pt x="5643" y="719"/>
                      </a:lnTo>
                      <a:lnTo>
                        <a:pt x="5640" y="712"/>
                      </a:lnTo>
                      <a:lnTo>
                        <a:pt x="5640" y="7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9" name="Freeform 1956">
                  <a:extLst>
                    <a:ext uri="{FF2B5EF4-FFF2-40B4-BE49-F238E27FC236}">
                      <a16:creationId xmlns:a16="http://schemas.microsoft.com/office/drawing/2014/main" id="{9139A7AA-9F6C-4A46-56E6-9253F5EC658D}"/>
                    </a:ext>
                  </a:extLst>
                </p:cNvPr>
                <p:cNvSpPr>
                  <a:spLocks/>
                </p:cNvSpPr>
                <p:nvPr/>
              </p:nvSpPr>
              <p:spPr bwMode="auto">
                <a:xfrm>
                  <a:off x="6032431" y="1199207"/>
                  <a:ext cx="146247" cy="45812"/>
                </a:xfrm>
                <a:custGeom>
                  <a:avLst/>
                  <a:gdLst/>
                  <a:ahLst/>
                  <a:cxnLst>
                    <a:cxn ang="0">
                      <a:pos x="12" y="51"/>
                    </a:cxn>
                    <a:cxn ang="0">
                      <a:pos x="2" y="44"/>
                    </a:cxn>
                    <a:cxn ang="0">
                      <a:pos x="3" y="40"/>
                    </a:cxn>
                    <a:cxn ang="0">
                      <a:pos x="24" y="40"/>
                    </a:cxn>
                    <a:cxn ang="0">
                      <a:pos x="42" y="42"/>
                    </a:cxn>
                    <a:cxn ang="0">
                      <a:pos x="45" y="40"/>
                    </a:cxn>
                    <a:cxn ang="0">
                      <a:pos x="38" y="35"/>
                    </a:cxn>
                    <a:cxn ang="0">
                      <a:pos x="31" y="30"/>
                    </a:cxn>
                    <a:cxn ang="0">
                      <a:pos x="35" y="28"/>
                    </a:cxn>
                    <a:cxn ang="0">
                      <a:pos x="73" y="26"/>
                    </a:cxn>
                    <a:cxn ang="0">
                      <a:pos x="92" y="25"/>
                    </a:cxn>
                    <a:cxn ang="0">
                      <a:pos x="99" y="21"/>
                    </a:cxn>
                    <a:cxn ang="0">
                      <a:pos x="99" y="18"/>
                    </a:cxn>
                    <a:cxn ang="0">
                      <a:pos x="92" y="12"/>
                    </a:cxn>
                    <a:cxn ang="0">
                      <a:pos x="90" y="7"/>
                    </a:cxn>
                    <a:cxn ang="0">
                      <a:pos x="99" y="4"/>
                    </a:cxn>
                    <a:cxn ang="0">
                      <a:pos x="134" y="2"/>
                    </a:cxn>
                    <a:cxn ang="0">
                      <a:pos x="143" y="2"/>
                    </a:cxn>
                    <a:cxn ang="0">
                      <a:pos x="144" y="7"/>
                    </a:cxn>
                    <a:cxn ang="0">
                      <a:pos x="141" y="9"/>
                    </a:cxn>
                    <a:cxn ang="0">
                      <a:pos x="151" y="9"/>
                    </a:cxn>
                    <a:cxn ang="0">
                      <a:pos x="162" y="9"/>
                    </a:cxn>
                    <a:cxn ang="0">
                      <a:pos x="177" y="11"/>
                    </a:cxn>
                    <a:cxn ang="0">
                      <a:pos x="183" y="16"/>
                    </a:cxn>
                    <a:cxn ang="0">
                      <a:pos x="176" y="21"/>
                    </a:cxn>
                    <a:cxn ang="0">
                      <a:pos x="165" y="25"/>
                    </a:cxn>
                    <a:cxn ang="0">
                      <a:pos x="130" y="28"/>
                    </a:cxn>
                    <a:cxn ang="0">
                      <a:pos x="116" y="30"/>
                    </a:cxn>
                    <a:cxn ang="0">
                      <a:pos x="113" y="31"/>
                    </a:cxn>
                    <a:cxn ang="0">
                      <a:pos x="104" y="37"/>
                    </a:cxn>
                    <a:cxn ang="0">
                      <a:pos x="87" y="38"/>
                    </a:cxn>
                    <a:cxn ang="0">
                      <a:pos x="78" y="40"/>
                    </a:cxn>
                    <a:cxn ang="0">
                      <a:pos x="76" y="45"/>
                    </a:cxn>
                    <a:cxn ang="0">
                      <a:pos x="90" y="49"/>
                    </a:cxn>
                    <a:cxn ang="0">
                      <a:pos x="89" y="52"/>
                    </a:cxn>
                    <a:cxn ang="0">
                      <a:pos x="85" y="56"/>
                    </a:cxn>
                    <a:cxn ang="0">
                      <a:pos x="78" y="54"/>
                    </a:cxn>
                    <a:cxn ang="0">
                      <a:pos x="64" y="52"/>
                    </a:cxn>
                    <a:cxn ang="0">
                      <a:pos x="56" y="56"/>
                    </a:cxn>
                    <a:cxn ang="0">
                      <a:pos x="43" y="58"/>
                    </a:cxn>
                    <a:cxn ang="0">
                      <a:pos x="43" y="52"/>
                    </a:cxn>
                    <a:cxn ang="0">
                      <a:pos x="43" y="45"/>
                    </a:cxn>
                    <a:cxn ang="0">
                      <a:pos x="38" y="47"/>
                    </a:cxn>
                    <a:cxn ang="0">
                      <a:pos x="22" y="52"/>
                    </a:cxn>
                    <a:cxn ang="0">
                      <a:pos x="12" y="51"/>
                    </a:cxn>
                  </a:cxnLst>
                  <a:rect l="0" t="0" r="r" b="b"/>
                  <a:pathLst>
                    <a:path w="183" h="58">
                      <a:moveTo>
                        <a:pt x="12" y="51"/>
                      </a:moveTo>
                      <a:lnTo>
                        <a:pt x="12" y="51"/>
                      </a:lnTo>
                      <a:lnTo>
                        <a:pt x="3" y="45"/>
                      </a:lnTo>
                      <a:lnTo>
                        <a:pt x="2" y="44"/>
                      </a:lnTo>
                      <a:lnTo>
                        <a:pt x="0" y="40"/>
                      </a:lnTo>
                      <a:lnTo>
                        <a:pt x="3" y="40"/>
                      </a:lnTo>
                      <a:lnTo>
                        <a:pt x="14" y="38"/>
                      </a:lnTo>
                      <a:lnTo>
                        <a:pt x="24" y="40"/>
                      </a:lnTo>
                      <a:lnTo>
                        <a:pt x="24" y="40"/>
                      </a:lnTo>
                      <a:lnTo>
                        <a:pt x="42" y="42"/>
                      </a:lnTo>
                      <a:lnTo>
                        <a:pt x="43" y="40"/>
                      </a:lnTo>
                      <a:lnTo>
                        <a:pt x="45" y="40"/>
                      </a:lnTo>
                      <a:lnTo>
                        <a:pt x="38" y="35"/>
                      </a:lnTo>
                      <a:lnTo>
                        <a:pt x="38" y="35"/>
                      </a:lnTo>
                      <a:lnTo>
                        <a:pt x="33" y="31"/>
                      </a:lnTo>
                      <a:lnTo>
                        <a:pt x="31" y="30"/>
                      </a:lnTo>
                      <a:lnTo>
                        <a:pt x="31" y="28"/>
                      </a:lnTo>
                      <a:lnTo>
                        <a:pt x="35" y="28"/>
                      </a:lnTo>
                      <a:lnTo>
                        <a:pt x="49" y="26"/>
                      </a:lnTo>
                      <a:lnTo>
                        <a:pt x="73" y="26"/>
                      </a:lnTo>
                      <a:lnTo>
                        <a:pt x="73" y="26"/>
                      </a:lnTo>
                      <a:lnTo>
                        <a:pt x="92" y="25"/>
                      </a:lnTo>
                      <a:lnTo>
                        <a:pt x="97" y="25"/>
                      </a:lnTo>
                      <a:lnTo>
                        <a:pt x="99" y="21"/>
                      </a:lnTo>
                      <a:lnTo>
                        <a:pt x="101" y="19"/>
                      </a:lnTo>
                      <a:lnTo>
                        <a:pt x="99" y="18"/>
                      </a:lnTo>
                      <a:lnTo>
                        <a:pt x="92" y="12"/>
                      </a:lnTo>
                      <a:lnTo>
                        <a:pt x="92" y="12"/>
                      </a:lnTo>
                      <a:lnTo>
                        <a:pt x="89" y="11"/>
                      </a:lnTo>
                      <a:lnTo>
                        <a:pt x="90" y="7"/>
                      </a:lnTo>
                      <a:lnTo>
                        <a:pt x="94" y="5"/>
                      </a:lnTo>
                      <a:lnTo>
                        <a:pt x="99" y="4"/>
                      </a:lnTo>
                      <a:lnTo>
                        <a:pt x="115" y="0"/>
                      </a:lnTo>
                      <a:lnTo>
                        <a:pt x="134" y="2"/>
                      </a:lnTo>
                      <a:lnTo>
                        <a:pt x="134" y="2"/>
                      </a:lnTo>
                      <a:lnTo>
                        <a:pt x="143" y="2"/>
                      </a:lnTo>
                      <a:lnTo>
                        <a:pt x="144" y="4"/>
                      </a:lnTo>
                      <a:lnTo>
                        <a:pt x="144" y="7"/>
                      </a:lnTo>
                      <a:lnTo>
                        <a:pt x="143" y="9"/>
                      </a:lnTo>
                      <a:lnTo>
                        <a:pt x="141" y="9"/>
                      </a:lnTo>
                      <a:lnTo>
                        <a:pt x="141" y="11"/>
                      </a:lnTo>
                      <a:lnTo>
                        <a:pt x="151" y="9"/>
                      </a:lnTo>
                      <a:lnTo>
                        <a:pt x="151" y="9"/>
                      </a:lnTo>
                      <a:lnTo>
                        <a:pt x="162" y="9"/>
                      </a:lnTo>
                      <a:lnTo>
                        <a:pt x="170" y="9"/>
                      </a:lnTo>
                      <a:lnTo>
                        <a:pt x="177" y="11"/>
                      </a:lnTo>
                      <a:lnTo>
                        <a:pt x="181" y="12"/>
                      </a:lnTo>
                      <a:lnTo>
                        <a:pt x="183" y="16"/>
                      </a:lnTo>
                      <a:lnTo>
                        <a:pt x="181" y="19"/>
                      </a:lnTo>
                      <a:lnTo>
                        <a:pt x="176" y="21"/>
                      </a:lnTo>
                      <a:lnTo>
                        <a:pt x="165" y="25"/>
                      </a:lnTo>
                      <a:lnTo>
                        <a:pt x="165" y="25"/>
                      </a:lnTo>
                      <a:lnTo>
                        <a:pt x="144" y="28"/>
                      </a:lnTo>
                      <a:lnTo>
                        <a:pt x="130" y="28"/>
                      </a:lnTo>
                      <a:lnTo>
                        <a:pt x="122" y="28"/>
                      </a:lnTo>
                      <a:lnTo>
                        <a:pt x="116" y="30"/>
                      </a:lnTo>
                      <a:lnTo>
                        <a:pt x="113" y="31"/>
                      </a:lnTo>
                      <a:lnTo>
                        <a:pt x="113" y="31"/>
                      </a:lnTo>
                      <a:lnTo>
                        <a:pt x="108" y="35"/>
                      </a:lnTo>
                      <a:lnTo>
                        <a:pt x="104" y="37"/>
                      </a:lnTo>
                      <a:lnTo>
                        <a:pt x="96" y="37"/>
                      </a:lnTo>
                      <a:lnTo>
                        <a:pt x="87" y="38"/>
                      </a:lnTo>
                      <a:lnTo>
                        <a:pt x="78" y="40"/>
                      </a:lnTo>
                      <a:lnTo>
                        <a:pt x="78" y="40"/>
                      </a:lnTo>
                      <a:lnTo>
                        <a:pt x="76" y="44"/>
                      </a:lnTo>
                      <a:lnTo>
                        <a:pt x="76" y="45"/>
                      </a:lnTo>
                      <a:lnTo>
                        <a:pt x="83" y="47"/>
                      </a:lnTo>
                      <a:lnTo>
                        <a:pt x="90" y="49"/>
                      </a:lnTo>
                      <a:lnTo>
                        <a:pt x="90" y="51"/>
                      </a:lnTo>
                      <a:lnTo>
                        <a:pt x="89" y="52"/>
                      </a:lnTo>
                      <a:lnTo>
                        <a:pt x="89" y="52"/>
                      </a:lnTo>
                      <a:lnTo>
                        <a:pt x="85" y="56"/>
                      </a:lnTo>
                      <a:lnTo>
                        <a:pt x="82" y="56"/>
                      </a:lnTo>
                      <a:lnTo>
                        <a:pt x="78" y="54"/>
                      </a:lnTo>
                      <a:lnTo>
                        <a:pt x="69" y="52"/>
                      </a:lnTo>
                      <a:lnTo>
                        <a:pt x="64" y="52"/>
                      </a:lnTo>
                      <a:lnTo>
                        <a:pt x="56" y="56"/>
                      </a:lnTo>
                      <a:lnTo>
                        <a:pt x="56" y="56"/>
                      </a:lnTo>
                      <a:lnTo>
                        <a:pt x="47" y="58"/>
                      </a:lnTo>
                      <a:lnTo>
                        <a:pt x="43" y="58"/>
                      </a:lnTo>
                      <a:lnTo>
                        <a:pt x="43" y="56"/>
                      </a:lnTo>
                      <a:lnTo>
                        <a:pt x="43" y="52"/>
                      </a:lnTo>
                      <a:lnTo>
                        <a:pt x="45" y="47"/>
                      </a:lnTo>
                      <a:lnTo>
                        <a:pt x="43" y="45"/>
                      </a:lnTo>
                      <a:lnTo>
                        <a:pt x="38" y="47"/>
                      </a:lnTo>
                      <a:lnTo>
                        <a:pt x="38" y="47"/>
                      </a:lnTo>
                      <a:lnTo>
                        <a:pt x="28" y="51"/>
                      </a:lnTo>
                      <a:lnTo>
                        <a:pt x="22" y="52"/>
                      </a:lnTo>
                      <a:lnTo>
                        <a:pt x="19" y="54"/>
                      </a:lnTo>
                      <a:lnTo>
                        <a:pt x="12" y="51"/>
                      </a:lnTo>
                      <a:lnTo>
                        <a:pt x="12" y="5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0" name="Freeform 1957">
                  <a:extLst>
                    <a:ext uri="{FF2B5EF4-FFF2-40B4-BE49-F238E27FC236}">
                      <a16:creationId xmlns:a16="http://schemas.microsoft.com/office/drawing/2014/main" id="{C5CB2EC3-D379-BCE9-3924-294B3374F96E}"/>
                    </a:ext>
                  </a:extLst>
                </p:cNvPr>
                <p:cNvSpPr>
                  <a:spLocks/>
                </p:cNvSpPr>
                <p:nvPr/>
              </p:nvSpPr>
              <p:spPr bwMode="auto">
                <a:xfrm>
                  <a:off x="6134628" y="1179828"/>
                  <a:ext cx="24669" cy="14097"/>
                </a:xfrm>
                <a:custGeom>
                  <a:avLst/>
                  <a:gdLst/>
                  <a:ahLst/>
                  <a:cxnLst>
                    <a:cxn ang="0">
                      <a:pos x="7" y="7"/>
                    </a:cxn>
                    <a:cxn ang="0">
                      <a:pos x="7" y="7"/>
                    </a:cxn>
                    <a:cxn ang="0">
                      <a:pos x="12" y="3"/>
                    </a:cxn>
                    <a:cxn ang="0">
                      <a:pos x="17" y="2"/>
                    </a:cxn>
                    <a:cxn ang="0">
                      <a:pos x="21" y="0"/>
                    </a:cxn>
                    <a:cxn ang="0">
                      <a:pos x="26" y="2"/>
                    </a:cxn>
                    <a:cxn ang="0">
                      <a:pos x="28" y="2"/>
                    </a:cxn>
                    <a:cxn ang="0">
                      <a:pos x="29" y="5"/>
                    </a:cxn>
                    <a:cxn ang="0">
                      <a:pos x="28" y="7"/>
                    </a:cxn>
                    <a:cxn ang="0">
                      <a:pos x="24" y="8"/>
                    </a:cxn>
                    <a:cxn ang="0">
                      <a:pos x="24" y="8"/>
                    </a:cxn>
                    <a:cxn ang="0">
                      <a:pos x="12" y="14"/>
                    </a:cxn>
                    <a:cxn ang="0">
                      <a:pos x="3" y="17"/>
                    </a:cxn>
                    <a:cxn ang="0">
                      <a:pos x="0" y="15"/>
                    </a:cxn>
                    <a:cxn ang="0">
                      <a:pos x="0" y="15"/>
                    </a:cxn>
                    <a:cxn ang="0">
                      <a:pos x="1" y="12"/>
                    </a:cxn>
                    <a:cxn ang="0">
                      <a:pos x="7" y="7"/>
                    </a:cxn>
                    <a:cxn ang="0">
                      <a:pos x="7" y="7"/>
                    </a:cxn>
                  </a:cxnLst>
                  <a:rect l="0" t="0" r="r" b="b"/>
                  <a:pathLst>
                    <a:path w="29" h="17">
                      <a:moveTo>
                        <a:pt x="7" y="7"/>
                      </a:moveTo>
                      <a:lnTo>
                        <a:pt x="7" y="7"/>
                      </a:lnTo>
                      <a:lnTo>
                        <a:pt x="12" y="3"/>
                      </a:lnTo>
                      <a:lnTo>
                        <a:pt x="17" y="2"/>
                      </a:lnTo>
                      <a:lnTo>
                        <a:pt x="21" y="0"/>
                      </a:lnTo>
                      <a:lnTo>
                        <a:pt x="26" y="2"/>
                      </a:lnTo>
                      <a:lnTo>
                        <a:pt x="28" y="2"/>
                      </a:lnTo>
                      <a:lnTo>
                        <a:pt x="29" y="5"/>
                      </a:lnTo>
                      <a:lnTo>
                        <a:pt x="28" y="7"/>
                      </a:lnTo>
                      <a:lnTo>
                        <a:pt x="24" y="8"/>
                      </a:lnTo>
                      <a:lnTo>
                        <a:pt x="24" y="8"/>
                      </a:lnTo>
                      <a:lnTo>
                        <a:pt x="12" y="14"/>
                      </a:lnTo>
                      <a:lnTo>
                        <a:pt x="3" y="17"/>
                      </a:lnTo>
                      <a:lnTo>
                        <a:pt x="0" y="15"/>
                      </a:lnTo>
                      <a:lnTo>
                        <a:pt x="0" y="15"/>
                      </a:lnTo>
                      <a:lnTo>
                        <a:pt x="1" y="12"/>
                      </a:lnTo>
                      <a:lnTo>
                        <a:pt x="7" y="7"/>
                      </a:lnTo>
                      <a:lnTo>
                        <a:pt x="7"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1" name="Freeform 1958">
                  <a:extLst>
                    <a:ext uri="{FF2B5EF4-FFF2-40B4-BE49-F238E27FC236}">
                      <a16:creationId xmlns:a16="http://schemas.microsoft.com/office/drawing/2014/main" id="{434434E8-6508-D93C-E566-B24E27865552}"/>
                    </a:ext>
                  </a:extLst>
                </p:cNvPr>
                <p:cNvSpPr>
                  <a:spLocks/>
                </p:cNvSpPr>
                <p:nvPr/>
              </p:nvSpPr>
              <p:spPr bwMode="auto">
                <a:xfrm>
                  <a:off x="6388357" y="1197448"/>
                  <a:ext cx="86339" cy="28192"/>
                </a:xfrm>
                <a:custGeom>
                  <a:avLst/>
                  <a:gdLst/>
                  <a:ahLst/>
                  <a:cxnLst>
                    <a:cxn ang="0">
                      <a:pos x="2" y="18"/>
                    </a:cxn>
                    <a:cxn ang="0">
                      <a:pos x="2" y="18"/>
                    </a:cxn>
                    <a:cxn ang="0">
                      <a:pos x="7" y="9"/>
                    </a:cxn>
                    <a:cxn ang="0">
                      <a:pos x="12" y="6"/>
                    </a:cxn>
                    <a:cxn ang="0">
                      <a:pos x="17" y="4"/>
                    </a:cxn>
                    <a:cxn ang="0">
                      <a:pos x="24" y="6"/>
                    </a:cxn>
                    <a:cxn ang="0">
                      <a:pos x="33" y="7"/>
                    </a:cxn>
                    <a:cxn ang="0">
                      <a:pos x="43" y="9"/>
                    </a:cxn>
                    <a:cxn ang="0">
                      <a:pos x="56" y="9"/>
                    </a:cxn>
                    <a:cxn ang="0">
                      <a:pos x="71" y="4"/>
                    </a:cxn>
                    <a:cxn ang="0">
                      <a:pos x="71" y="4"/>
                    </a:cxn>
                    <a:cxn ang="0">
                      <a:pos x="85" y="0"/>
                    </a:cxn>
                    <a:cxn ang="0">
                      <a:pos x="96" y="0"/>
                    </a:cxn>
                    <a:cxn ang="0">
                      <a:pos x="103" y="4"/>
                    </a:cxn>
                    <a:cxn ang="0">
                      <a:pos x="108" y="7"/>
                    </a:cxn>
                    <a:cxn ang="0">
                      <a:pos x="108" y="14"/>
                    </a:cxn>
                    <a:cxn ang="0">
                      <a:pos x="108" y="20"/>
                    </a:cxn>
                    <a:cxn ang="0">
                      <a:pos x="104" y="23"/>
                    </a:cxn>
                    <a:cxn ang="0">
                      <a:pos x="97" y="25"/>
                    </a:cxn>
                    <a:cxn ang="0">
                      <a:pos x="97" y="25"/>
                    </a:cxn>
                    <a:cxn ang="0">
                      <a:pos x="92" y="25"/>
                    </a:cxn>
                    <a:cxn ang="0">
                      <a:pos x="87" y="27"/>
                    </a:cxn>
                    <a:cxn ang="0">
                      <a:pos x="80" y="32"/>
                    </a:cxn>
                    <a:cxn ang="0">
                      <a:pos x="76" y="33"/>
                    </a:cxn>
                    <a:cxn ang="0">
                      <a:pos x="73" y="35"/>
                    </a:cxn>
                    <a:cxn ang="0">
                      <a:pos x="66" y="35"/>
                    </a:cxn>
                    <a:cxn ang="0">
                      <a:pos x="57" y="33"/>
                    </a:cxn>
                    <a:cxn ang="0">
                      <a:pos x="57" y="33"/>
                    </a:cxn>
                    <a:cxn ang="0">
                      <a:pos x="47" y="32"/>
                    </a:cxn>
                    <a:cxn ang="0">
                      <a:pos x="35" y="32"/>
                    </a:cxn>
                    <a:cxn ang="0">
                      <a:pos x="16" y="35"/>
                    </a:cxn>
                    <a:cxn ang="0">
                      <a:pos x="7" y="35"/>
                    </a:cxn>
                    <a:cxn ang="0">
                      <a:pos x="2" y="32"/>
                    </a:cxn>
                    <a:cxn ang="0">
                      <a:pos x="0" y="30"/>
                    </a:cxn>
                    <a:cxn ang="0">
                      <a:pos x="0" y="27"/>
                    </a:cxn>
                    <a:cxn ang="0">
                      <a:pos x="2" y="18"/>
                    </a:cxn>
                    <a:cxn ang="0">
                      <a:pos x="2" y="18"/>
                    </a:cxn>
                  </a:cxnLst>
                  <a:rect l="0" t="0" r="r" b="b"/>
                  <a:pathLst>
                    <a:path w="108" h="35">
                      <a:moveTo>
                        <a:pt x="2" y="18"/>
                      </a:moveTo>
                      <a:lnTo>
                        <a:pt x="2" y="18"/>
                      </a:lnTo>
                      <a:lnTo>
                        <a:pt x="7" y="9"/>
                      </a:lnTo>
                      <a:lnTo>
                        <a:pt x="12" y="6"/>
                      </a:lnTo>
                      <a:lnTo>
                        <a:pt x="17" y="4"/>
                      </a:lnTo>
                      <a:lnTo>
                        <a:pt x="24" y="6"/>
                      </a:lnTo>
                      <a:lnTo>
                        <a:pt x="33" y="7"/>
                      </a:lnTo>
                      <a:lnTo>
                        <a:pt x="43" y="9"/>
                      </a:lnTo>
                      <a:lnTo>
                        <a:pt x="56" y="9"/>
                      </a:lnTo>
                      <a:lnTo>
                        <a:pt x="71" y="4"/>
                      </a:lnTo>
                      <a:lnTo>
                        <a:pt x="71" y="4"/>
                      </a:lnTo>
                      <a:lnTo>
                        <a:pt x="85" y="0"/>
                      </a:lnTo>
                      <a:lnTo>
                        <a:pt x="96" y="0"/>
                      </a:lnTo>
                      <a:lnTo>
                        <a:pt x="103" y="4"/>
                      </a:lnTo>
                      <a:lnTo>
                        <a:pt x="108" y="7"/>
                      </a:lnTo>
                      <a:lnTo>
                        <a:pt x="108" y="14"/>
                      </a:lnTo>
                      <a:lnTo>
                        <a:pt x="108" y="20"/>
                      </a:lnTo>
                      <a:lnTo>
                        <a:pt x="104" y="23"/>
                      </a:lnTo>
                      <a:lnTo>
                        <a:pt x="97" y="25"/>
                      </a:lnTo>
                      <a:lnTo>
                        <a:pt x="97" y="25"/>
                      </a:lnTo>
                      <a:lnTo>
                        <a:pt x="92" y="25"/>
                      </a:lnTo>
                      <a:lnTo>
                        <a:pt x="87" y="27"/>
                      </a:lnTo>
                      <a:lnTo>
                        <a:pt x="80" y="32"/>
                      </a:lnTo>
                      <a:lnTo>
                        <a:pt x="76" y="33"/>
                      </a:lnTo>
                      <a:lnTo>
                        <a:pt x="73" y="35"/>
                      </a:lnTo>
                      <a:lnTo>
                        <a:pt x="66" y="35"/>
                      </a:lnTo>
                      <a:lnTo>
                        <a:pt x="57" y="33"/>
                      </a:lnTo>
                      <a:lnTo>
                        <a:pt x="57" y="33"/>
                      </a:lnTo>
                      <a:lnTo>
                        <a:pt x="47" y="32"/>
                      </a:lnTo>
                      <a:lnTo>
                        <a:pt x="35" y="32"/>
                      </a:lnTo>
                      <a:lnTo>
                        <a:pt x="16" y="35"/>
                      </a:lnTo>
                      <a:lnTo>
                        <a:pt x="7" y="35"/>
                      </a:lnTo>
                      <a:lnTo>
                        <a:pt x="2" y="32"/>
                      </a:lnTo>
                      <a:lnTo>
                        <a:pt x="0" y="30"/>
                      </a:lnTo>
                      <a:lnTo>
                        <a:pt x="0" y="27"/>
                      </a:lnTo>
                      <a:lnTo>
                        <a:pt x="2" y="18"/>
                      </a:lnTo>
                      <a:lnTo>
                        <a:pt x="2" y="1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2" name="Freeform 1959">
                  <a:extLst>
                    <a:ext uri="{FF2B5EF4-FFF2-40B4-BE49-F238E27FC236}">
                      <a16:creationId xmlns:a16="http://schemas.microsoft.com/office/drawing/2014/main" id="{6E3397D3-52F3-38B2-A378-E1B202093A39}"/>
                    </a:ext>
                  </a:extLst>
                </p:cNvPr>
                <p:cNvSpPr>
                  <a:spLocks/>
                </p:cNvSpPr>
                <p:nvPr/>
              </p:nvSpPr>
              <p:spPr bwMode="auto">
                <a:xfrm>
                  <a:off x="6284398" y="1206258"/>
                  <a:ext cx="40526" cy="8811"/>
                </a:xfrm>
                <a:custGeom>
                  <a:avLst/>
                  <a:gdLst/>
                  <a:ahLst/>
                  <a:cxnLst>
                    <a:cxn ang="0">
                      <a:pos x="3" y="7"/>
                    </a:cxn>
                    <a:cxn ang="0">
                      <a:pos x="3" y="7"/>
                    </a:cxn>
                    <a:cxn ang="0">
                      <a:pos x="0" y="3"/>
                    </a:cxn>
                    <a:cxn ang="0">
                      <a:pos x="3" y="1"/>
                    </a:cxn>
                    <a:cxn ang="0">
                      <a:pos x="21" y="0"/>
                    </a:cxn>
                    <a:cxn ang="0">
                      <a:pos x="21" y="0"/>
                    </a:cxn>
                    <a:cxn ang="0">
                      <a:pos x="33" y="0"/>
                    </a:cxn>
                    <a:cxn ang="0">
                      <a:pos x="45" y="1"/>
                    </a:cxn>
                    <a:cxn ang="0">
                      <a:pos x="50" y="5"/>
                    </a:cxn>
                    <a:cxn ang="0">
                      <a:pos x="49" y="5"/>
                    </a:cxn>
                    <a:cxn ang="0">
                      <a:pos x="45" y="7"/>
                    </a:cxn>
                    <a:cxn ang="0">
                      <a:pos x="45" y="7"/>
                    </a:cxn>
                    <a:cxn ang="0">
                      <a:pos x="23" y="8"/>
                    </a:cxn>
                    <a:cxn ang="0">
                      <a:pos x="10" y="8"/>
                    </a:cxn>
                    <a:cxn ang="0">
                      <a:pos x="3" y="7"/>
                    </a:cxn>
                  </a:cxnLst>
                  <a:rect l="0" t="0" r="r" b="b"/>
                  <a:pathLst>
                    <a:path w="50" h="8">
                      <a:moveTo>
                        <a:pt x="3" y="7"/>
                      </a:moveTo>
                      <a:lnTo>
                        <a:pt x="3" y="7"/>
                      </a:lnTo>
                      <a:lnTo>
                        <a:pt x="0" y="3"/>
                      </a:lnTo>
                      <a:lnTo>
                        <a:pt x="3" y="1"/>
                      </a:lnTo>
                      <a:lnTo>
                        <a:pt x="21" y="0"/>
                      </a:lnTo>
                      <a:lnTo>
                        <a:pt x="21" y="0"/>
                      </a:lnTo>
                      <a:lnTo>
                        <a:pt x="33" y="0"/>
                      </a:lnTo>
                      <a:lnTo>
                        <a:pt x="45" y="1"/>
                      </a:lnTo>
                      <a:lnTo>
                        <a:pt x="50" y="5"/>
                      </a:lnTo>
                      <a:lnTo>
                        <a:pt x="49" y="5"/>
                      </a:lnTo>
                      <a:lnTo>
                        <a:pt x="45" y="7"/>
                      </a:lnTo>
                      <a:lnTo>
                        <a:pt x="45" y="7"/>
                      </a:lnTo>
                      <a:lnTo>
                        <a:pt x="23" y="8"/>
                      </a:lnTo>
                      <a:lnTo>
                        <a:pt x="10" y="8"/>
                      </a:lnTo>
                      <a:lnTo>
                        <a:pt x="3"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3" name="Freeform 1960">
                  <a:extLst>
                    <a:ext uri="{FF2B5EF4-FFF2-40B4-BE49-F238E27FC236}">
                      <a16:creationId xmlns:a16="http://schemas.microsoft.com/office/drawing/2014/main" id="{85C5287D-4565-92DF-C837-C9D8B01DD559}"/>
                    </a:ext>
                  </a:extLst>
                </p:cNvPr>
                <p:cNvSpPr>
                  <a:spLocks/>
                </p:cNvSpPr>
                <p:nvPr/>
              </p:nvSpPr>
              <p:spPr bwMode="auto">
                <a:xfrm>
                  <a:off x="8789965" y="5960139"/>
                  <a:ext cx="107483" cy="114531"/>
                </a:xfrm>
                <a:custGeom>
                  <a:avLst/>
                  <a:gdLst/>
                  <a:ahLst/>
                  <a:cxnLst>
                    <a:cxn ang="0">
                      <a:pos x="1" y="12"/>
                    </a:cxn>
                    <a:cxn ang="0">
                      <a:pos x="7" y="0"/>
                    </a:cxn>
                    <a:cxn ang="0">
                      <a:pos x="15" y="5"/>
                    </a:cxn>
                    <a:cxn ang="0">
                      <a:pos x="28" y="8"/>
                    </a:cxn>
                    <a:cxn ang="0">
                      <a:pos x="35" y="10"/>
                    </a:cxn>
                    <a:cxn ang="0">
                      <a:pos x="48" y="20"/>
                    </a:cxn>
                    <a:cxn ang="0">
                      <a:pos x="59" y="24"/>
                    </a:cxn>
                    <a:cxn ang="0">
                      <a:pos x="76" y="20"/>
                    </a:cxn>
                    <a:cxn ang="0">
                      <a:pos x="92" y="15"/>
                    </a:cxn>
                    <a:cxn ang="0">
                      <a:pos x="101" y="15"/>
                    </a:cxn>
                    <a:cxn ang="0">
                      <a:pos x="104" y="13"/>
                    </a:cxn>
                    <a:cxn ang="0">
                      <a:pos x="108" y="10"/>
                    </a:cxn>
                    <a:cxn ang="0">
                      <a:pos x="116" y="12"/>
                    </a:cxn>
                    <a:cxn ang="0">
                      <a:pos x="120" y="8"/>
                    </a:cxn>
                    <a:cxn ang="0">
                      <a:pos x="122" y="6"/>
                    </a:cxn>
                    <a:cxn ang="0">
                      <a:pos x="125" y="10"/>
                    </a:cxn>
                    <a:cxn ang="0">
                      <a:pos x="130" y="20"/>
                    </a:cxn>
                    <a:cxn ang="0">
                      <a:pos x="132" y="36"/>
                    </a:cxn>
                    <a:cxn ang="0">
                      <a:pos x="130" y="45"/>
                    </a:cxn>
                    <a:cxn ang="0">
                      <a:pos x="129" y="57"/>
                    </a:cxn>
                    <a:cxn ang="0">
                      <a:pos x="132" y="71"/>
                    </a:cxn>
                    <a:cxn ang="0">
                      <a:pos x="132" y="76"/>
                    </a:cxn>
                    <a:cxn ang="0">
                      <a:pos x="130" y="78"/>
                    </a:cxn>
                    <a:cxn ang="0">
                      <a:pos x="129" y="74"/>
                    </a:cxn>
                    <a:cxn ang="0">
                      <a:pos x="125" y="69"/>
                    </a:cxn>
                    <a:cxn ang="0">
                      <a:pos x="123" y="71"/>
                    </a:cxn>
                    <a:cxn ang="0">
                      <a:pos x="120" y="76"/>
                    </a:cxn>
                    <a:cxn ang="0">
                      <a:pos x="122" y="87"/>
                    </a:cxn>
                    <a:cxn ang="0">
                      <a:pos x="120" y="92"/>
                    </a:cxn>
                    <a:cxn ang="0">
                      <a:pos x="118" y="95"/>
                    </a:cxn>
                    <a:cxn ang="0">
                      <a:pos x="120" y="111"/>
                    </a:cxn>
                    <a:cxn ang="0">
                      <a:pos x="120" y="125"/>
                    </a:cxn>
                    <a:cxn ang="0">
                      <a:pos x="116" y="125"/>
                    </a:cxn>
                    <a:cxn ang="0">
                      <a:pos x="108" y="120"/>
                    </a:cxn>
                    <a:cxn ang="0">
                      <a:pos x="111" y="114"/>
                    </a:cxn>
                    <a:cxn ang="0">
                      <a:pos x="113" y="114"/>
                    </a:cxn>
                    <a:cxn ang="0">
                      <a:pos x="111" y="109"/>
                    </a:cxn>
                    <a:cxn ang="0">
                      <a:pos x="109" y="107"/>
                    </a:cxn>
                    <a:cxn ang="0">
                      <a:pos x="106" y="107"/>
                    </a:cxn>
                    <a:cxn ang="0">
                      <a:pos x="102" y="116"/>
                    </a:cxn>
                    <a:cxn ang="0">
                      <a:pos x="101" y="113"/>
                    </a:cxn>
                    <a:cxn ang="0">
                      <a:pos x="99" y="111"/>
                    </a:cxn>
                    <a:cxn ang="0">
                      <a:pos x="97" y="116"/>
                    </a:cxn>
                    <a:cxn ang="0">
                      <a:pos x="92" y="127"/>
                    </a:cxn>
                    <a:cxn ang="0">
                      <a:pos x="90" y="130"/>
                    </a:cxn>
                    <a:cxn ang="0">
                      <a:pos x="83" y="139"/>
                    </a:cxn>
                    <a:cxn ang="0">
                      <a:pos x="80" y="144"/>
                    </a:cxn>
                    <a:cxn ang="0">
                      <a:pos x="76" y="144"/>
                    </a:cxn>
                    <a:cxn ang="0">
                      <a:pos x="61" y="139"/>
                    </a:cxn>
                    <a:cxn ang="0">
                      <a:pos x="55" y="141"/>
                    </a:cxn>
                    <a:cxn ang="0">
                      <a:pos x="50" y="139"/>
                    </a:cxn>
                    <a:cxn ang="0">
                      <a:pos x="43" y="123"/>
                    </a:cxn>
                    <a:cxn ang="0">
                      <a:pos x="36" y="114"/>
                    </a:cxn>
                    <a:cxn ang="0">
                      <a:pos x="31" y="111"/>
                    </a:cxn>
                    <a:cxn ang="0">
                      <a:pos x="24" y="94"/>
                    </a:cxn>
                    <a:cxn ang="0">
                      <a:pos x="21" y="69"/>
                    </a:cxn>
                    <a:cxn ang="0">
                      <a:pos x="21" y="62"/>
                    </a:cxn>
                    <a:cxn ang="0">
                      <a:pos x="14" y="55"/>
                    </a:cxn>
                    <a:cxn ang="0">
                      <a:pos x="10" y="47"/>
                    </a:cxn>
                    <a:cxn ang="0">
                      <a:pos x="0" y="19"/>
                    </a:cxn>
                    <a:cxn ang="0">
                      <a:pos x="1" y="12"/>
                    </a:cxn>
                  </a:cxnLst>
                  <a:rect l="0" t="0" r="r" b="b"/>
                  <a:pathLst>
                    <a:path w="132" h="144">
                      <a:moveTo>
                        <a:pt x="1" y="12"/>
                      </a:moveTo>
                      <a:lnTo>
                        <a:pt x="1" y="12"/>
                      </a:lnTo>
                      <a:lnTo>
                        <a:pt x="5" y="0"/>
                      </a:lnTo>
                      <a:lnTo>
                        <a:pt x="7" y="0"/>
                      </a:lnTo>
                      <a:lnTo>
                        <a:pt x="8" y="0"/>
                      </a:lnTo>
                      <a:lnTo>
                        <a:pt x="15" y="5"/>
                      </a:lnTo>
                      <a:lnTo>
                        <a:pt x="21" y="8"/>
                      </a:lnTo>
                      <a:lnTo>
                        <a:pt x="28" y="8"/>
                      </a:lnTo>
                      <a:lnTo>
                        <a:pt x="28" y="8"/>
                      </a:lnTo>
                      <a:lnTo>
                        <a:pt x="35" y="10"/>
                      </a:lnTo>
                      <a:lnTo>
                        <a:pt x="40" y="13"/>
                      </a:lnTo>
                      <a:lnTo>
                        <a:pt x="48" y="20"/>
                      </a:lnTo>
                      <a:lnTo>
                        <a:pt x="54" y="22"/>
                      </a:lnTo>
                      <a:lnTo>
                        <a:pt x="59" y="24"/>
                      </a:lnTo>
                      <a:lnTo>
                        <a:pt x="66" y="24"/>
                      </a:lnTo>
                      <a:lnTo>
                        <a:pt x="76" y="20"/>
                      </a:lnTo>
                      <a:lnTo>
                        <a:pt x="76" y="20"/>
                      </a:lnTo>
                      <a:lnTo>
                        <a:pt x="92" y="15"/>
                      </a:lnTo>
                      <a:lnTo>
                        <a:pt x="99" y="15"/>
                      </a:lnTo>
                      <a:lnTo>
                        <a:pt x="101" y="15"/>
                      </a:lnTo>
                      <a:lnTo>
                        <a:pt x="104" y="13"/>
                      </a:lnTo>
                      <a:lnTo>
                        <a:pt x="104" y="13"/>
                      </a:lnTo>
                      <a:lnTo>
                        <a:pt x="106" y="10"/>
                      </a:lnTo>
                      <a:lnTo>
                        <a:pt x="108" y="10"/>
                      </a:lnTo>
                      <a:lnTo>
                        <a:pt x="111" y="10"/>
                      </a:lnTo>
                      <a:lnTo>
                        <a:pt x="116" y="12"/>
                      </a:lnTo>
                      <a:lnTo>
                        <a:pt x="118" y="10"/>
                      </a:lnTo>
                      <a:lnTo>
                        <a:pt x="120" y="8"/>
                      </a:lnTo>
                      <a:lnTo>
                        <a:pt x="120" y="8"/>
                      </a:lnTo>
                      <a:lnTo>
                        <a:pt x="122" y="6"/>
                      </a:lnTo>
                      <a:lnTo>
                        <a:pt x="123" y="6"/>
                      </a:lnTo>
                      <a:lnTo>
                        <a:pt x="125" y="10"/>
                      </a:lnTo>
                      <a:lnTo>
                        <a:pt x="129" y="13"/>
                      </a:lnTo>
                      <a:lnTo>
                        <a:pt x="130" y="20"/>
                      </a:lnTo>
                      <a:lnTo>
                        <a:pt x="132" y="27"/>
                      </a:lnTo>
                      <a:lnTo>
                        <a:pt x="132" y="36"/>
                      </a:lnTo>
                      <a:lnTo>
                        <a:pt x="130" y="45"/>
                      </a:lnTo>
                      <a:lnTo>
                        <a:pt x="130" y="45"/>
                      </a:lnTo>
                      <a:lnTo>
                        <a:pt x="129" y="52"/>
                      </a:lnTo>
                      <a:lnTo>
                        <a:pt x="129" y="57"/>
                      </a:lnTo>
                      <a:lnTo>
                        <a:pt x="130" y="66"/>
                      </a:lnTo>
                      <a:lnTo>
                        <a:pt x="132" y="71"/>
                      </a:lnTo>
                      <a:lnTo>
                        <a:pt x="132" y="73"/>
                      </a:lnTo>
                      <a:lnTo>
                        <a:pt x="132" y="76"/>
                      </a:lnTo>
                      <a:lnTo>
                        <a:pt x="132" y="76"/>
                      </a:lnTo>
                      <a:lnTo>
                        <a:pt x="130" y="78"/>
                      </a:lnTo>
                      <a:lnTo>
                        <a:pt x="129" y="78"/>
                      </a:lnTo>
                      <a:lnTo>
                        <a:pt x="129" y="74"/>
                      </a:lnTo>
                      <a:lnTo>
                        <a:pt x="127" y="69"/>
                      </a:lnTo>
                      <a:lnTo>
                        <a:pt x="125" y="69"/>
                      </a:lnTo>
                      <a:lnTo>
                        <a:pt x="123" y="71"/>
                      </a:lnTo>
                      <a:lnTo>
                        <a:pt x="123" y="71"/>
                      </a:lnTo>
                      <a:lnTo>
                        <a:pt x="120" y="73"/>
                      </a:lnTo>
                      <a:lnTo>
                        <a:pt x="120" y="76"/>
                      </a:lnTo>
                      <a:lnTo>
                        <a:pt x="122" y="81"/>
                      </a:lnTo>
                      <a:lnTo>
                        <a:pt x="122" y="87"/>
                      </a:lnTo>
                      <a:lnTo>
                        <a:pt x="122" y="90"/>
                      </a:lnTo>
                      <a:lnTo>
                        <a:pt x="120" y="92"/>
                      </a:lnTo>
                      <a:lnTo>
                        <a:pt x="120" y="92"/>
                      </a:lnTo>
                      <a:lnTo>
                        <a:pt x="118" y="95"/>
                      </a:lnTo>
                      <a:lnTo>
                        <a:pt x="118" y="99"/>
                      </a:lnTo>
                      <a:lnTo>
                        <a:pt x="120" y="111"/>
                      </a:lnTo>
                      <a:lnTo>
                        <a:pt x="122" y="121"/>
                      </a:lnTo>
                      <a:lnTo>
                        <a:pt x="120" y="125"/>
                      </a:lnTo>
                      <a:lnTo>
                        <a:pt x="116" y="125"/>
                      </a:lnTo>
                      <a:lnTo>
                        <a:pt x="116" y="125"/>
                      </a:lnTo>
                      <a:lnTo>
                        <a:pt x="109" y="123"/>
                      </a:lnTo>
                      <a:lnTo>
                        <a:pt x="108" y="120"/>
                      </a:lnTo>
                      <a:lnTo>
                        <a:pt x="108" y="116"/>
                      </a:lnTo>
                      <a:lnTo>
                        <a:pt x="111" y="114"/>
                      </a:lnTo>
                      <a:lnTo>
                        <a:pt x="111" y="114"/>
                      </a:lnTo>
                      <a:lnTo>
                        <a:pt x="113" y="114"/>
                      </a:lnTo>
                      <a:lnTo>
                        <a:pt x="113" y="113"/>
                      </a:lnTo>
                      <a:lnTo>
                        <a:pt x="111" y="109"/>
                      </a:lnTo>
                      <a:lnTo>
                        <a:pt x="109" y="107"/>
                      </a:lnTo>
                      <a:lnTo>
                        <a:pt x="109" y="107"/>
                      </a:lnTo>
                      <a:lnTo>
                        <a:pt x="106" y="107"/>
                      </a:lnTo>
                      <a:lnTo>
                        <a:pt x="106" y="107"/>
                      </a:lnTo>
                      <a:lnTo>
                        <a:pt x="104" y="113"/>
                      </a:lnTo>
                      <a:lnTo>
                        <a:pt x="102" y="116"/>
                      </a:lnTo>
                      <a:lnTo>
                        <a:pt x="101" y="116"/>
                      </a:lnTo>
                      <a:lnTo>
                        <a:pt x="101" y="113"/>
                      </a:lnTo>
                      <a:lnTo>
                        <a:pt x="101" y="113"/>
                      </a:lnTo>
                      <a:lnTo>
                        <a:pt x="99" y="111"/>
                      </a:lnTo>
                      <a:lnTo>
                        <a:pt x="97" y="113"/>
                      </a:lnTo>
                      <a:lnTo>
                        <a:pt x="97" y="116"/>
                      </a:lnTo>
                      <a:lnTo>
                        <a:pt x="94" y="123"/>
                      </a:lnTo>
                      <a:lnTo>
                        <a:pt x="92" y="127"/>
                      </a:lnTo>
                      <a:lnTo>
                        <a:pt x="90" y="130"/>
                      </a:lnTo>
                      <a:lnTo>
                        <a:pt x="90" y="130"/>
                      </a:lnTo>
                      <a:lnTo>
                        <a:pt x="85" y="134"/>
                      </a:lnTo>
                      <a:lnTo>
                        <a:pt x="83" y="139"/>
                      </a:lnTo>
                      <a:lnTo>
                        <a:pt x="82" y="144"/>
                      </a:lnTo>
                      <a:lnTo>
                        <a:pt x="80" y="144"/>
                      </a:lnTo>
                      <a:lnTo>
                        <a:pt x="76" y="144"/>
                      </a:lnTo>
                      <a:lnTo>
                        <a:pt x="76" y="144"/>
                      </a:lnTo>
                      <a:lnTo>
                        <a:pt x="64" y="141"/>
                      </a:lnTo>
                      <a:lnTo>
                        <a:pt x="61" y="139"/>
                      </a:lnTo>
                      <a:lnTo>
                        <a:pt x="55" y="141"/>
                      </a:lnTo>
                      <a:lnTo>
                        <a:pt x="55" y="141"/>
                      </a:lnTo>
                      <a:lnTo>
                        <a:pt x="52" y="141"/>
                      </a:lnTo>
                      <a:lnTo>
                        <a:pt x="50" y="139"/>
                      </a:lnTo>
                      <a:lnTo>
                        <a:pt x="47" y="132"/>
                      </a:lnTo>
                      <a:lnTo>
                        <a:pt x="43" y="123"/>
                      </a:lnTo>
                      <a:lnTo>
                        <a:pt x="40" y="120"/>
                      </a:lnTo>
                      <a:lnTo>
                        <a:pt x="36" y="114"/>
                      </a:lnTo>
                      <a:lnTo>
                        <a:pt x="36" y="114"/>
                      </a:lnTo>
                      <a:lnTo>
                        <a:pt x="31" y="111"/>
                      </a:lnTo>
                      <a:lnTo>
                        <a:pt x="28" y="106"/>
                      </a:lnTo>
                      <a:lnTo>
                        <a:pt x="24" y="94"/>
                      </a:lnTo>
                      <a:lnTo>
                        <a:pt x="22" y="81"/>
                      </a:lnTo>
                      <a:lnTo>
                        <a:pt x="21" y="69"/>
                      </a:lnTo>
                      <a:lnTo>
                        <a:pt x="21" y="69"/>
                      </a:lnTo>
                      <a:lnTo>
                        <a:pt x="21" y="62"/>
                      </a:lnTo>
                      <a:lnTo>
                        <a:pt x="17" y="59"/>
                      </a:lnTo>
                      <a:lnTo>
                        <a:pt x="14" y="55"/>
                      </a:lnTo>
                      <a:lnTo>
                        <a:pt x="10" y="47"/>
                      </a:lnTo>
                      <a:lnTo>
                        <a:pt x="10" y="47"/>
                      </a:lnTo>
                      <a:lnTo>
                        <a:pt x="3" y="26"/>
                      </a:lnTo>
                      <a:lnTo>
                        <a:pt x="0" y="19"/>
                      </a:lnTo>
                      <a:lnTo>
                        <a:pt x="1" y="12"/>
                      </a:lnTo>
                      <a:lnTo>
                        <a:pt x="1"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4" name="Freeform 1961">
                  <a:extLst>
                    <a:ext uri="{FF2B5EF4-FFF2-40B4-BE49-F238E27FC236}">
                      <a16:creationId xmlns:a16="http://schemas.microsoft.com/office/drawing/2014/main" id="{6C953CBE-49D7-A0AF-1024-C58DC3A51581}"/>
                    </a:ext>
                  </a:extLst>
                </p:cNvPr>
                <p:cNvSpPr>
                  <a:spLocks/>
                </p:cNvSpPr>
                <p:nvPr/>
              </p:nvSpPr>
              <p:spPr bwMode="auto">
                <a:xfrm>
                  <a:off x="7907202" y="4881794"/>
                  <a:ext cx="1138254" cy="1025485"/>
                </a:xfrm>
                <a:custGeom>
                  <a:avLst/>
                  <a:gdLst/>
                  <a:ahLst/>
                  <a:cxnLst>
                    <a:cxn ang="0">
                      <a:pos x="345" y="253"/>
                    </a:cxn>
                    <a:cxn ang="0">
                      <a:pos x="383" y="242"/>
                    </a:cxn>
                    <a:cxn ang="0">
                      <a:pos x="434" y="155"/>
                    </a:cxn>
                    <a:cxn ang="0">
                      <a:pos x="474" y="134"/>
                    </a:cxn>
                    <a:cxn ang="0">
                      <a:pos x="557" y="180"/>
                    </a:cxn>
                    <a:cxn ang="0">
                      <a:pos x="587" y="114"/>
                    </a:cxn>
                    <a:cxn ang="0">
                      <a:pos x="664" y="65"/>
                    </a:cxn>
                    <a:cxn ang="0">
                      <a:pos x="653" y="25"/>
                    </a:cxn>
                    <a:cxn ang="0">
                      <a:pos x="699" y="35"/>
                    </a:cxn>
                    <a:cxn ang="0">
                      <a:pos x="758" y="56"/>
                    </a:cxn>
                    <a:cxn ang="0">
                      <a:pos x="799" y="61"/>
                    </a:cxn>
                    <a:cxn ang="0">
                      <a:pos x="820" y="51"/>
                    </a:cxn>
                    <a:cxn ang="0">
                      <a:pos x="817" y="110"/>
                    </a:cxn>
                    <a:cxn ang="0">
                      <a:pos x="798" y="143"/>
                    </a:cxn>
                    <a:cxn ang="0">
                      <a:pos x="845" y="228"/>
                    </a:cxn>
                    <a:cxn ang="0">
                      <a:pos x="930" y="296"/>
                    </a:cxn>
                    <a:cxn ang="0">
                      <a:pos x="991" y="216"/>
                    </a:cxn>
                    <a:cxn ang="0">
                      <a:pos x="1003" y="86"/>
                    </a:cxn>
                    <a:cxn ang="0">
                      <a:pos x="1024" y="0"/>
                    </a:cxn>
                    <a:cxn ang="0">
                      <a:pos x="1050" y="67"/>
                    </a:cxn>
                    <a:cxn ang="0">
                      <a:pos x="1083" y="159"/>
                    </a:cxn>
                    <a:cxn ang="0">
                      <a:pos x="1129" y="213"/>
                    </a:cxn>
                    <a:cxn ang="0">
                      <a:pos x="1160" y="338"/>
                    </a:cxn>
                    <a:cxn ang="0">
                      <a:pos x="1228" y="399"/>
                    </a:cxn>
                    <a:cxn ang="0">
                      <a:pos x="1270" y="458"/>
                    </a:cxn>
                    <a:cxn ang="0">
                      <a:pos x="1289" y="498"/>
                    </a:cxn>
                    <a:cxn ang="0">
                      <a:pos x="1318" y="528"/>
                    </a:cxn>
                    <a:cxn ang="0">
                      <a:pos x="1378" y="613"/>
                    </a:cxn>
                    <a:cxn ang="0">
                      <a:pos x="1404" y="700"/>
                    </a:cxn>
                    <a:cxn ang="0">
                      <a:pos x="1409" y="815"/>
                    </a:cxn>
                    <a:cxn ang="0">
                      <a:pos x="1385" y="942"/>
                    </a:cxn>
                    <a:cxn ang="0">
                      <a:pos x="1315" y="1085"/>
                    </a:cxn>
                    <a:cxn ang="0">
                      <a:pos x="1292" y="1188"/>
                    </a:cxn>
                    <a:cxn ang="0">
                      <a:pos x="1172" y="1254"/>
                    </a:cxn>
                    <a:cxn ang="0">
                      <a:pos x="1129" y="1238"/>
                    </a:cxn>
                    <a:cxn ang="0">
                      <a:pos x="1116" y="1217"/>
                    </a:cxn>
                    <a:cxn ang="0">
                      <a:pos x="1054" y="1256"/>
                    </a:cxn>
                    <a:cxn ang="0">
                      <a:pos x="970" y="1221"/>
                    </a:cxn>
                    <a:cxn ang="0">
                      <a:pos x="920" y="1120"/>
                    </a:cxn>
                    <a:cxn ang="0">
                      <a:pos x="887" y="1075"/>
                    </a:cxn>
                    <a:cxn ang="0">
                      <a:pos x="840" y="1089"/>
                    </a:cxn>
                    <a:cxn ang="0">
                      <a:pos x="852" y="1043"/>
                    </a:cxn>
                    <a:cxn ang="0">
                      <a:pos x="847" y="998"/>
                    </a:cxn>
                    <a:cxn ang="0">
                      <a:pos x="798" y="1076"/>
                    </a:cxn>
                    <a:cxn ang="0">
                      <a:pos x="740" y="989"/>
                    </a:cxn>
                    <a:cxn ang="0">
                      <a:pos x="655" y="928"/>
                    </a:cxn>
                    <a:cxn ang="0">
                      <a:pos x="521" y="942"/>
                    </a:cxn>
                    <a:cxn ang="0">
                      <a:pos x="389" y="982"/>
                    </a:cxn>
                    <a:cxn ang="0">
                      <a:pos x="319" y="1029"/>
                    </a:cxn>
                    <a:cxn ang="0">
                      <a:pos x="227" y="1035"/>
                    </a:cxn>
                    <a:cxn ang="0">
                      <a:pos x="120" y="1078"/>
                    </a:cxn>
                    <a:cxn ang="0">
                      <a:pos x="65" y="1012"/>
                    </a:cxn>
                    <a:cxn ang="0">
                      <a:pos x="87" y="939"/>
                    </a:cxn>
                    <a:cxn ang="0">
                      <a:pos x="32" y="744"/>
                    </a:cxn>
                    <a:cxn ang="0">
                      <a:pos x="18" y="693"/>
                    </a:cxn>
                    <a:cxn ang="0">
                      <a:pos x="28" y="678"/>
                    </a:cxn>
                    <a:cxn ang="0">
                      <a:pos x="11" y="566"/>
                    </a:cxn>
                    <a:cxn ang="0">
                      <a:pos x="35" y="498"/>
                    </a:cxn>
                    <a:cxn ang="0">
                      <a:pos x="98" y="448"/>
                    </a:cxn>
                    <a:cxn ang="0">
                      <a:pos x="206" y="401"/>
                    </a:cxn>
                    <a:cxn ang="0">
                      <a:pos x="305" y="333"/>
                    </a:cxn>
                  </a:cxnLst>
                  <a:rect l="0" t="0" r="r" b="b"/>
                  <a:pathLst>
                    <a:path w="1419" h="1278">
                      <a:moveTo>
                        <a:pt x="305" y="333"/>
                      </a:moveTo>
                      <a:lnTo>
                        <a:pt x="305" y="333"/>
                      </a:lnTo>
                      <a:lnTo>
                        <a:pt x="314" y="326"/>
                      </a:lnTo>
                      <a:lnTo>
                        <a:pt x="315" y="319"/>
                      </a:lnTo>
                      <a:lnTo>
                        <a:pt x="317" y="312"/>
                      </a:lnTo>
                      <a:lnTo>
                        <a:pt x="315" y="307"/>
                      </a:lnTo>
                      <a:lnTo>
                        <a:pt x="314" y="298"/>
                      </a:lnTo>
                      <a:lnTo>
                        <a:pt x="315" y="289"/>
                      </a:lnTo>
                      <a:lnTo>
                        <a:pt x="319" y="279"/>
                      </a:lnTo>
                      <a:lnTo>
                        <a:pt x="328" y="263"/>
                      </a:lnTo>
                      <a:lnTo>
                        <a:pt x="328" y="263"/>
                      </a:lnTo>
                      <a:lnTo>
                        <a:pt x="333" y="256"/>
                      </a:lnTo>
                      <a:lnTo>
                        <a:pt x="338" y="253"/>
                      </a:lnTo>
                      <a:lnTo>
                        <a:pt x="342" y="251"/>
                      </a:lnTo>
                      <a:lnTo>
                        <a:pt x="345" y="253"/>
                      </a:lnTo>
                      <a:lnTo>
                        <a:pt x="349" y="255"/>
                      </a:lnTo>
                      <a:lnTo>
                        <a:pt x="352" y="258"/>
                      </a:lnTo>
                      <a:lnTo>
                        <a:pt x="355" y="267"/>
                      </a:lnTo>
                      <a:lnTo>
                        <a:pt x="361" y="281"/>
                      </a:lnTo>
                      <a:lnTo>
                        <a:pt x="361" y="281"/>
                      </a:lnTo>
                      <a:lnTo>
                        <a:pt x="361" y="277"/>
                      </a:lnTo>
                      <a:lnTo>
                        <a:pt x="362" y="265"/>
                      </a:lnTo>
                      <a:lnTo>
                        <a:pt x="362" y="265"/>
                      </a:lnTo>
                      <a:lnTo>
                        <a:pt x="364" y="248"/>
                      </a:lnTo>
                      <a:lnTo>
                        <a:pt x="366" y="242"/>
                      </a:lnTo>
                      <a:lnTo>
                        <a:pt x="369" y="239"/>
                      </a:lnTo>
                      <a:lnTo>
                        <a:pt x="371" y="237"/>
                      </a:lnTo>
                      <a:lnTo>
                        <a:pt x="373" y="237"/>
                      </a:lnTo>
                      <a:lnTo>
                        <a:pt x="378" y="239"/>
                      </a:lnTo>
                      <a:lnTo>
                        <a:pt x="383" y="242"/>
                      </a:lnTo>
                      <a:lnTo>
                        <a:pt x="387" y="242"/>
                      </a:lnTo>
                      <a:lnTo>
                        <a:pt x="389" y="242"/>
                      </a:lnTo>
                      <a:lnTo>
                        <a:pt x="390" y="239"/>
                      </a:lnTo>
                      <a:lnTo>
                        <a:pt x="392" y="227"/>
                      </a:lnTo>
                      <a:lnTo>
                        <a:pt x="392" y="227"/>
                      </a:lnTo>
                      <a:lnTo>
                        <a:pt x="392" y="216"/>
                      </a:lnTo>
                      <a:lnTo>
                        <a:pt x="394" y="209"/>
                      </a:lnTo>
                      <a:lnTo>
                        <a:pt x="396" y="206"/>
                      </a:lnTo>
                      <a:lnTo>
                        <a:pt x="399" y="202"/>
                      </a:lnTo>
                      <a:lnTo>
                        <a:pt x="408" y="192"/>
                      </a:lnTo>
                      <a:lnTo>
                        <a:pt x="415" y="185"/>
                      </a:lnTo>
                      <a:lnTo>
                        <a:pt x="422" y="171"/>
                      </a:lnTo>
                      <a:lnTo>
                        <a:pt x="422" y="171"/>
                      </a:lnTo>
                      <a:lnTo>
                        <a:pt x="429" y="161"/>
                      </a:lnTo>
                      <a:lnTo>
                        <a:pt x="434" y="155"/>
                      </a:lnTo>
                      <a:lnTo>
                        <a:pt x="439" y="154"/>
                      </a:lnTo>
                      <a:lnTo>
                        <a:pt x="443" y="155"/>
                      </a:lnTo>
                      <a:lnTo>
                        <a:pt x="444" y="157"/>
                      </a:lnTo>
                      <a:lnTo>
                        <a:pt x="448" y="157"/>
                      </a:lnTo>
                      <a:lnTo>
                        <a:pt x="450" y="155"/>
                      </a:lnTo>
                      <a:lnTo>
                        <a:pt x="450" y="148"/>
                      </a:lnTo>
                      <a:lnTo>
                        <a:pt x="450" y="148"/>
                      </a:lnTo>
                      <a:lnTo>
                        <a:pt x="451" y="140"/>
                      </a:lnTo>
                      <a:lnTo>
                        <a:pt x="455" y="138"/>
                      </a:lnTo>
                      <a:lnTo>
                        <a:pt x="458" y="138"/>
                      </a:lnTo>
                      <a:lnTo>
                        <a:pt x="463" y="140"/>
                      </a:lnTo>
                      <a:lnTo>
                        <a:pt x="467" y="143"/>
                      </a:lnTo>
                      <a:lnTo>
                        <a:pt x="470" y="143"/>
                      </a:lnTo>
                      <a:lnTo>
                        <a:pt x="474" y="141"/>
                      </a:lnTo>
                      <a:lnTo>
                        <a:pt x="474" y="134"/>
                      </a:lnTo>
                      <a:lnTo>
                        <a:pt x="474" y="134"/>
                      </a:lnTo>
                      <a:lnTo>
                        <a:pt x="476" y="131"/>
                      </a:lnTo>
                      <a:lnTo>
                        <a:pt x="477" y="129"/>
                      </a:lnTo>
                      <a:lnTo>
                        <a:pt x="479" y="129"/>
                      </a:lnTo>
                      <a:lnTo>
                        <a:pt x="483" y="129"/>
                      </a:lnTo>
                      <a:lnTo>
                        <a:pt x="490" y="136"/>
                      </a:lnTo>
                      <a:lnTo>
                        <a:pt x="500" y="147"/>
                      </a:lnTo>
                      <a:lnTo>
                        <a:pt x="521" y="166"/>
                      </a:lnTo>
                      <a:lnTo>
                        <a:pt x="530" y="173"/>
                      </a:lnTo>
                      <a:lnTo>
                        <a:pt x="535" y="175"/>
                      </a:lnTo>
                      <a:lnTo>
                        <a:pt x="538" y="175"/>
                      </a:lnTo>
                      <a:lnTo>
                        <a:pt x="538" y="175"/>
                      </a:lnTo>
                      <a:lnTo>
                        <a:pt x="545" y="175"/>
                      </a:lnTo>
                      <a:lnTo>
                        <a:pt x="551" y="176"/>
                      </a:lnTo>
                      <a:lnTo>
                        <a:pt x="557" y="180"/>
                      </a:lnTo>
                      <a:lnTo>
                        <a:pt x="561" y="181"/>
                      </a:lnTo>
                      <a:lnTo>
                        <a:pt x="564" y="183"/>
                      </a:lnTo>
                      <a:lnTo>
                        <a:pt x="568" y="181"/>
                      </a:lnTo>
                      <a:lnTo>
                        <a:pt x="573" y="178"/>
                      </a:lnTo>
                      <a:lnTo>
                        <a:pt x="573" y="178"/>
                      </a:lnTo>
                      <a:lnTo>
                        <a:pt x="577" y="175"/>
                      </a:lnTo>
                      <a:lnTo>
                        <a:pt x="577" y="171"/>
                      </a:lnTo>
                      <a:lnTo>
                        <a:pt x="570" y="166"/>
                      </a:lnTo>
                      <a:lnTo>
                        <a:pt x="568" y="161"/>
                      </a:lnTo>
                      <a:lnTo>
                        <a:pt x="566" y="155"/>
                      </a:lnTo>
                      <a:lnTo>
                        <a:pt x="570" y="147"/>
                      </a:lnTo>
                      <a:lnTo>
                        <a:pt x="577" y="134"/>
                      </a:lnTo>
                      <a:lnTo>
                        <a:pt x="577" y="134"/>
                      </a:lnTo>
                      <a:lnTo>
                        <a:pt x="584" y="122"/>
                      </a:lnTo>
                      <a:lnTo>
                        <a:pt x="587" y="114"/>
                      </a:lnTo>
                      <a:lnTo>
                        <a:pt x="589" y="108"/>
                      </a:lnTo>
                      <a:lnTo>
                        <a:pt x="589" y="103"/>
                      </a:lnTo>
                      <a:lnTo>
                        <a:pt x="591" y="98"/>
                      </a:lnTo>
                      <a:lnTo>
                        <a:pt x="592" y="93"/>
                      </a:lnTo>
                      <a:lnTo>
                        <a:pt x="599" y="86"/>
                      </a:lnTo>
                      <a:lnTo>
                        <a:pt x="610" y="77"/>
                      </a:lnTo>
                      <a:lnTo>
                        <a:pt x="610" y="77"/>
                      </a:lnTo>
                      <a:lnTo>
                        <a:pt x="627" y="65"/>
                      </a:lnTo>
                      <a:lnTo>
                        <a:pt x="632" y="63"/>
                      </a:lnTo>
                      <a:lnTo>
                        <a:pt x="636" y="63"/>
                      </a:lnTo>
                      <a:lnTo>
                        <a:pt x="641" y="67"/>
                      </a:lnTo>
                      <a:lnTo>
                        <a:pt x="646" y="67"/>
                      </a:lnTo>
                      <a:lnTo>
                        <a:pt x="655" y="65"/>
                      </a:lnTo>
                      <a:lnTo>
                        <a:pt x="655" y="65"/>
                      </a:lnTo>
                      <a:lnTo>
                        <a:pt x="664" y="65"/>
                      </a:lnTo>
                      <a:lnTo>
                        <a:pt x="669" y="65"/>
                      </a:lnTo>
                      <a:lnTo>
                        <a:pt x="676" y="67"/>
                      </a:lnTo>
                      <a:lnTo>
                        <a:pt x="678" y="67"/>
                      </a:lnTo>
                      <a:lnTo>
                        <a:pt x="678" y="65"/>
                      </a:lnTo>
                      <a:lnTo>
                        <a:pt x="681" y="51"/>
                      </a:lnTo>
                      <a:lnTo>
                        <a:pt x="681" y="51"/>
                      </a:lnTo>
                      <a:lnTo>
                        <a:pt x="683" y="42"/>
                      </a:lnTo>
                      <a:lnTo>
                        <a:pt x="681" y="39"/>
                      </a:lnTo>
                      <a:lnTo>
                        <a:pt x="678" y="35"/>
                      </a:lnTo>
                      <a:lnTo>
                        <a:pt x="674" y="35"/>
                      </a:lnTo>
                      <a:lnTo>
                        <a:pt x="664" y="35"/>
                      </a:lnTo>
                      <a:lnTo>
                        <a:pt x="660" y="33"/>
                      </a:lnTo>
                      <a:lnTo>
                        <a:pt x="657" y="32"/>
                      </a:lnTo>
                      <a:lnTo>
                        <a:pt x="657" y="32"/>
                      </a:lnTo>
                      <a:lnTo>
                        <a:pt x="653" y="25"/>
                      </a:lnTo>
                      <a:lnTo>
                        <a:pt x="653" y="23"/>
                      </a:lnTo>
                      <a:lnTo>
                        <a:pt x="655" y="21"/>
                      </a:lnTo>
                      <a:lnTo>
                        <a:pt x="660" y="20"/>
                      </a:lnTo>
                      <a:lnTo>
                        <a:pt x="669" y="20"/>
                      </a:lnTo>
                      <a:lnTo>
                        <a:pt x="669" y="20"/>
                      </a:lnTo>
                      <a:lnTo>
                        <a:pt x="674" y="21"/>
                      </a:lnTo>
                      <a:lnTo>
                        <a:pt x="678" y="23"/>
                      </a:lnTo>
                      <a:lnTo>
                        <a:pt x="681" y="27"/>
                      </a:lnTo>
                      <a:lnTo>
                        <a:pt x="683" y="30"/>
                      </a:lnTo>
                      <a:lnTo>
                        <a:pt x="686" y="30"/>
                      </a:lnTo>
                      <a:lnTo>
                        <a:pt x="690" y="30"/>
                      </a:lnTo>
                      <a:lnTo>
                        <a:pt x="690" y="30"/>
                      </a:lnTo>
                      <a:lnTo>
                        <a:pt x="693" y="28"/>
                      </a:lnTo>
                      <a:lnTo>
                        <a:pt x="695" y="30"/>
                      </a:lnTo>
                      <a:lnTo>
                        <a:pt x="699" y="35"/>
                      </a:lnTo>
                      <a:lnTo>
                        <a:pt x="700" y="39"/>
                      </a:lnTo>
                      <a:lnTo>
                        <a:pt x="704" y="40"/>
                      </a:lnTo>
                      <a:lnTo>
                        <a:pt x="709" y="42"/>
                      </a:lnTo>
                      <a:lnTo>
                        <a:pt x="716" y="42"/>
                      </a:lnTo>
                      <a:lnTo>
                        <a:pt x="716" y="42"/>
                      </a:lnTo>
                      <a:lnTo>
                        <a:pt x="723" y="44"/>
                      </a:lnTo>
                      <a:lnTo>
                        <a:pt x="728" y="46"/>
                      </a:lnTo>
                      <a:lnTo>
                        <a:pt x="733" y="51"/>
                      </a:lnTo>
                      <a:lnTo>
                        <a:pt x="735" y="54"/>
                      </a:lnTo>
                      <a:lnTo>
                        <a:pt x="739" y="58"/>
                      </a:lnTo>
                      <a:lnTo>
                        <a:pt x="744" y="58"/>
                      </a:lnTo>
                      <a:lnTo>
                        <a:pt x="749" y="56"/>
                      </a:lnTo>
                      <a:lnTo>
                        <a:pt x="749" y="56"/>
                      </a:lnTo>
                      <a:lnTo>
                        <a:pt x="754" y="54"/>
                      </a:lnTo>
                      <a:lnTo>
                        <a:pt x="758" y="56"/>
                      </a:lnTo>
                      <a:lnTo>
                        <a:pt x="761" y="61"/>
                      </a:lnTo>
                      <a:lnTo>
                        <a:pt x="765" y="63"/>
                      </a:lnTo>
                      <a:lnTo>
                        <a:pt x="768" y="65"/>
                      </a:lnTo>
                      <a:lnTo>
                        <a:pt x="773" y="61"/>
                      </a:lnTo>
                      <a:lnTo>
                        <a:pt x="782" y="56"/>
                      </a:lnTo>
                      <a:lnTo>
                        <a:pt x="782" y="56"/>
                      </a:lnTo>
                      <a:lnTo>
                        <a:pt x="789" y="49"/>
                      </a:lnTo>
                      <a:lnTo>
                        <a:pt x="794" y="47"/>
                      </a:lnTo>
                      <a:lnTo>
                        <a:pt x="796" y="47"/>
                      </a:lnTo>
                      <a:lnTo>
                        <a:pt x="796" y="49"/>
                      </a:lnTo>
                      <a:lnTo>
                        <a:pt x="796" y="56"/>
                      </a:lnTo>
                      <a:lnTo>
                        <a:pt x="796" y="60"/>
                      </a:lnTo>
                      <a:lnTo>
                        <a:pt x="798" y="60"/>
                      </a:lnTo>
                      <a:lnTo>
                        <a:pt x="798" y="60"/>
                      </a:lnTo>
                      <a:lnTo>
                        <a:pt x="799" y="61"/>
                      </a:lnTo>
                      <a:lnTo>
                        <a:pt x="799" y="63"/>
                      </a:lnTo>
                      <a:lnTo>
                        <a:pt x="799" y="68"/>
                      </a:lnTo>
                      <a:lnTo>
                        <a:pt x="801" y="72"/>
                      </a:lnTo>
                      <a:lnTo>
                        <a:pt x="803" y="74"/>
                      </a:lnTo>
                      <a:lnTo>
                        <a:pt x="806" y="72"/>
                      </a:lnTo>
                      <a:lnTo>
                        <a:pt x="806" y="72"/>
                      </a:lnTo>
                      <a:lnTo>
                        <a:pt x="808" y="70"/>
                      </a:lnTo>
                      <a:lnTo>
                        <a:pt x="810" y="68"/>
                      </a:lnTo>
                      <a:lnTo>
                        <a:pt x="808" y="63"/>
                      </a:lnTo>
                      <a:lnTo>
                        <a:pt x="808" y="60"/>
                      </a:lnTo>
                      <a:lnTo>
                        <a:pt x="810" y="56"/>
                      </a:lnTo>
                      <a:lnTo>
                        <a:pt x="813" y="53"/>
                      </a:lnTo>
                      <a:lnTo>
                        <a:pt x="813" y="53"/>
                      </a:lnTo>
                      <a:lnTo>
                        <a:pt x="819" y="49"/>
                      </a:lnTo>
                      <a:lnTo>
                        <a:pt x="820" y="51"/>
                      </a:lnTo>
                      <a:lnTo>
                        <a:pt x="822" y="53"/>
                      </a:lnTo>
                      <a:lnTo>
                        <a:pt x="824" y="58"/>
                      </a:lnTo>
                      <a:lnTo>
                        <a:pt x="827" y="61"/>
                      </a:lnTo>
                      <a:lnTo>
                        <a:pt x="833" y="65"/>
                      </a:lnTo>
                      <a:lnTo>
                        <a:pt x="833" y="65"/>
                      </a:lnTo>
                      <a:lnTo>
                        <a:pt x="836" y="68"/>
                      </a:lnTo>
                      <a:lnTo>
                        <a:pt x="836" y="70"/>
                      </a:lnTo>
                      <a:lnTo>
                        <a:pt x="836" y="74"/>
                      </a:lnTo>
                      <a:lnTo>
                        <a:pt x="833" y="75"/>
                      </a:lnTo>
                      <a:lnTo>
                        <a:pt x="827" y="79"/>
                      </a:lnTo>
                      <a:lnTo>
                        <a:pt x="824" y="84"/>
                      </a:lnTo>
                      <a:lnTo>
                        <a:pt x="820" y="93"/>
                      </a:lnTo>
                      <a:lnTo>
                        <a:pt x="819" y="101"/>
                      </a:lnTo>
                      <a:lnTo>
                        <a:pt x="819" y="101"/>
                      </a:lnTo>
                      <a:lnTo>
                        <a:pt x="817" y="110"/>
                      </a:lnTo>
                      <a:lnTo>
                        <a:pt x="817" y="114"/>
                      </a:lnTo>
                      <a:lnTo>
                        <a:pt x="815" y="112"/>
                      </a:lnTo>
                      <a:lnTo>
                        <a:pt x="813" y="108"/>
                      </a:lnTo>
                      <a:lnTo>
                        <a:pt x="812" y="107"/>
                      </a:lnTo>
                      <a:lnTo>
                        <a:pt x="808" y="105"/>
                      </a:lnTo>
                      <a:lnTo>
                        <a:pt x="805" y="107"/>
                      </a:lnTo>
                      <a:lnTo>
                        <a:pt x="799" y="115"/>
                      </a:lnTo>
                      <a:lnTo>
                        <a:pt x="799" y="115"/>
                      </a:lnTo>
                      <a:lnTo>
                        <a:pt x="796" y="124"/>
                      </a:lnTo>
                      <a:lnTo>
                        <a:pt x="796" y="127"/>
                      </a:lnTo>
                      <a:lnTo>
                        <a:pt x="798" y="129"/>
                      </a:lnTo>
                      <a:lnTo>
                        <a:pt x="799" y="129"/>
                      </a:lnTo>
                      <a:lnTo>
                        <a:pt x="801" y="131"/>
                      </a:lnTo>
                      <a:lnTo>
                        <a:pt x="801" y="134"/>
                      </a:lnTo>
                      <a:lnTo>
                        <a:pt x="798" y="143"/>
                      </a:lnTo>
                      <a:lnTo>
                        <a:pt x="791" y="155"/>
                      </a:lnTo>
                      <a:lnTo>
                        <a:pt x="791" y="155"/>
                      </a:lnTo>
                      <a:lnTo>
                        <a:pt x="784" y="168"/>
                      </a:lnTo>
                      <a:lnTo>
                        <a:pt x="782" y="175"/>
                      </a:lnTo>
                      <a:lnTo>
                        <a:pt x="780" y="180"/>
                      </a:lnTo>
                      <a:lnTo>
                        <a:pt x="784" y="185"/>
                      </a:lnTo>
                      <a:lnTo>
                        <a:pt x="794" y="195"/>
                      </a:lnTo>
                      <a:lnTo>
                        <a:pt x="803" y="202"/>
                      </a:lnTo>
                      <a:lnTo>
                        <a:pt x="813" y="213"/>
                      </a:lnTo>
                      <a:lnTo>
                        <a:pt x="813" y="213"/>
                      </a:lnTo>
                      <a:lnTo>
                        <a:pt x="820" y="220"/>
                      </a:lnTo>
                      <a:lnTo>
                        <a:pt x="826" y="222"/>
                      </a:lnTo>
                      <a:lnTo>
                        <a:pt x="833" y="225"/>
                      </a:lnTo>
                      <a:lnTo>
                        <a:pt x="838" y="225"/>
                      </a:lnTo>
                      <a:lnTo>
                        <a:pt x="845" y="228"/>
                      </a:lnTo>
                      <a:lnTo>
                        <a:pt x="852" y="234"/>
                      </a:lnTo>
                      <a:lnTo>
                        <a:pt x="864" y="244"/>
                      </a:lnTo>
                      <a:lnTo>
                        <a:pt x="864" y="244"/>
                      </a:lnTo>
                      <a:lnTo>
                        <a:pt x="874" y="253"/>
                      </a:lnTo>
                      <a:lnTo>
                        <a:pt x="883" y="260"/>
                      </a:lnTo>
                      <a:lnTo>
                        <a:pt x="890" y="263"/>
                      </a:lnTo>
                      <a:lnTo>
                        <a:pt x="895" y="265"/>
                      </a:lnTo>
                      <a:lnTo>
                        <a:pt x="904" y="267"/>
                      </a:lnTo>
                      <a:lnTo>
                        <a:pt x="906" y="270"/>
                      </a:lnTo>
                      <a:lnTo>
                        <a:pt x="909" y="275"/>
                      </a:lnTo>
                      <a:lnTo>
                        <a:pt x="909" y="275"/>
                      </a:lnTo>
                      <a:lnTo>
                        <a:pt x="911" y="281"/>
                      </a:lnTo>
                      <a:lnTo>
                        <a:pt x="916" y="286"/>
                      </a:lnTo>
                      <a:lnTo>
                        <a:pt x="923" y="291"/>
                      </a:lnTo>
                      <a:lnTo>
                        <a:pt x="930" y="296"/>
                      </a:lnTo>
                      <a:lnTo>
                        <a:pt x="939" y="300"/>
                      </a:lnTo>
                      <a:lnTo>
                        <a:pt x="947" y="302"/>
                      </a:lnTo>
                      <a:lnTo>
                        <a:pt x="954" y="302"/>
                      </a:lnTo>
                      <a:lnTo>
                        <a:pt x="961" y="298"/>
                      </a:lnTo>
                      <a:lnTo>
                        <a:pt x="961" y="298"/>
                      </a:lnTo>
                      <a:lnTo>
                        <a:pt x="967" y="293"/>
                      </a:lnTo>
                      <a:lnTo>
                        <a:pt x="970" y="288"/>
                      </a:lnTo>
                      <a:lnTo>
                        <a:pt x="974" y="277"/>
                      </a:lnTo>
                      <a:lnTo>
                        <a:pt x="975" y="265"/>
                      </a:lnTo>
                      <a:lnTo>
                        <a:pt x="979" y="258"/>
                      </a:lnTo>
                      <a:lnTo>
                        <a:pt x="984" y="248"/>
                      </a:lnTo>
                      <a:lnTo>
                        <a:pt x="984" y="248"/>
                      </a:lnTo>
                      <a:lnTo>
                        <a:pt x="989" y="235"/>
                      </a:lnTo>
                      <a:lnTo>
                        <a:pt x="989" y="227"/>
                      </a:lnTo>
                      <a:lnTo>
                        <a:pt x="991" y="216"/>
                      </a:lnTo>
                      <a:lnTo>
                        <a:pt x="995" y="199"/>
                      </a:lnTo>
                      <a:lnTo>
                        <a:pt x="995" y="199"/>
                      </a:lnTo>
                      <a:lnTo>
                        <a:pt x="996" y="188"/>
                      </a:lnTo>
                      <a:lnTo>
                        <a:pt x="996" y="176"/>
                      </a:lnTo>
                      <a:lnTo>
                        <a:pt x="993" y="155"/>
                      </a:lnTo>
                      <a:lnTo>
                        <a:pt x="991" y="136"/>
                      </a:lnTo>
                      <a:lnTo>
                        <a:pt x="991" y="127"/>
                      </a:lnTo>
                      <a:lnTo>
                        <a:pt x="993" y="121"/>
                      </a:lnTo>
                      <a:lnTo>
                        <a:pt x="993" y="121"/>
                      </a:lnTo>
                      <a:lnTo>
                        <a:pt x="996" y="108"/>
                      </a:lnTo>
                      <a:lnTo>
                        <a:pt x="996" y="101"/>
                      </a:lnTo>
                      <a:lnTo>
                        <a:pt x="996" y="94"/>
                      </a:lnTo>
                      <a:lnTo>
                        <a:pt x="1001" y="87"/>
                      </a:lnTo>
                      <a:lnTo>
                        <a:pt x="1001" y="87"/>
                      </a:lnTo>
                      <a:lnTo>
                        <a:pt x="1003" y="86"/>
                      </a:lnTo>
                      <a:lnTo>
                        <a:pt x="1003" y="84"/>
                      </a:lnTo>
                      <a:lnTo>
                        <a:pt x="1001" y="80"/>
                      </a:lnTo>
                      <a:lnTo>
                        <a:pt x="1000" y="79"/>
                      </a:lnTo>
                      <a:lnTo>
                        <a:pt x="998" y="77"/>
                      </a:lnTo>
                      <a:lnTo>
                        <a:pt x="998" y="72"/>
                      </a:lnTo>
                      <a:lnTo>
                        <a:pt x="1001" y="65"/>
                      </a:lnTo>
                      <a:lnTo>
                        <a:pt x="1001" y="65"/>
                      </a:lnTo>
                      <a:lnTo>
                        <a:pt x="1012" y="37"/>
                      </a:lnTo>
                      <a:lnTo>
                        <a:pt x="1014" y="28"/>
                      </a:lnTo>
                      <a:lnTo>
                        <a:pt x="1015" y="16"/>
                      </a:lnTo>
                      <a:lnTo>
                        <a:pt x="1015" y="16"/>
                      </a:lnTo>
                      <a:lnTo>
                        <a:pt x="1017" y="9"/>
                      </a:lnTo>
                      <a:lnTo>
                        <a:pt x="1019" y="6"/>
                      </a:lnTo>
                      <a:lnTo>
                        <a:pt x="1021" y="2"/>
                      </a:lnTo>
                      <a:lnTo>
                        <a:pt x="1024" y="0"/>
                      </a:lnTo>
                      <a:lnTo>
                        <a:pt x="1028" y="0"/>
                      </a:lnTo>
                      <a:lnTo>
                        <a:pt x="1031" y="2"/>
                      </a:lnTo>
                      <a:lnTo>
                        <a:pt x="1035" y="6"/>
                      </a:lnTo>
                      <a:lnTo>
                        <a:pt x="1036" y="13"/>
                      </a:lnTo>
                      <a:lnTo>
                        <a:pt x="1036" y="13"/>
                      </a:lnTo>
                      <a:lnTo>
                        <a:pt x="1038" y="25"/>
                      </a:lnTo>
                      <a:lnTo>
                        <a:pt x="1040" y="37"/>
                      </a:lnTo>
                      <a:lnTo>
                        <a:pt x="1042" y="46"/>
                      </a:lnTo>
                      <a:lnTo>
                        <a:pt x="1045" y="49"/>
                      </a:lnTo>
                      <a:lnTo>
                        <a:pt x="1048" y="51"/>
                      </a:lnTo>
                      <a:lnTo>
                        <a:pt x="1048" y="51"/>
                      </a:lnTo>
                      <a:lnTo>
                        <a:pt x="1052" y="53"/>
                      </a:lnTo>
                      <a:lnTo>
                        <a:pt x="1052" y="54"/>
                      </a:lnTo>
                      <a:lnTo>
                        <a:pt x="1052" y="60"/>
                      </a:lnTo>
                      <a:lnTo>
                        <a:pt x="1050" y="67"/>
                      </a:lnTo>
                      <a:lnTo>
                        <a:pt x="1052" y="70"/>
                      </a:lnTo>
                      <a:lnTo>
                        <a:pt x="1055" y="75"/>
                      </a:lnTo>
                      <a:lnTo>
                        <a:pt x="1055" y="75"/>
                      </a:lnTo>
                      <a:lnTo>
                        <a:pt x="1059" y="80"/>
                      </a:lnTo>
                      <a:lnTo>
                        <a:pt x="1062" y="87"/>
                      </a:lnTo>
                      <a:lnTo>
                        <a:pt x="1066" y="100"/>
                      </a:lnTo>
                      <a:lnTo>
                        <a:pt x="1066" y="114"/>
                      </a:lnTo>
                      <a:lnTo>
                        <a:pt x="1066" y="126"/>
                      </a:lnTo>
                      <a:lnTo>
                        <a:pt x="1066" y="126"/>
                      </a:lnTo>
                      <a:lnTo>
                        <a:pt x="1068" y="140"/>
                      </a:lnTo>
                      <a:lnTo>
                        <a:pt x="1069" y="147"/>
                      </a:lnTo>
                      <a:lnTo>
                        <a:pt x="1073" y="154"/>
                      </a:lnTo>
                      <a:lnTo>
                        <a:pt x="1076" y="157"/>
                      </a:lnTo>
                      <a:lnTo>
                        <a:pt x="1080" y="161"/>
                      </a:lnTo>
                      <a:lnTo>
                        <a:pt x="1083" y="159"/>
                      </a:lnTo>
                      <a:lnTo>
                        <a:pt x="1089" y="154"/>
                      </a:lnTo>
                      <a:lnTo>
                        <a:pt x="1089" y="154"/>
                      </a:lnTo>
                      <a:lnTo>
                        <a:pt x="1092" y="148"/>
                      </a:lnTo>
                      <a:lnTo>
                        <a:pt x="1095" y="147"/>
                      </a:lnTo>
                      <a:lnTo>
                        <a:pt x="1097" y="147"/>
                      </a:lnTo>
                      <a:lnTo>
                        <a:pt x="1099" y="150"/>
                      </a:lnTo>
                      <a:lnTo>
                        <a:pt x="1104" y="161"/>
                      </a:lnTo>
                      <a:lnTo>
                        <a:pt x="1109" y="166"/>
                      </a:lnTo>
                      <a:lnTo>
                        <a:pt x="1116" y="173"/>
                      </a:lnTo>
                      <a:lnTo>
                        <a:pt x="1116" y="173"/>
                      </a:lnTo>
                      <a:lnTo>
                        <a:pt x="1120" y="175"/>
                      </a:lnTo>
                      <a:lnTo>
                        <a:pt x="1123" y="180"/>
                      </a:lnTo>
                      <a:lnTo>
                        <a:pt x="1127" y="188"/>
                      </a:lnTo>
                      <a:lnTo>
                        <a:pt x="1129" y="201"/>
                      </a:lnTo>
                      <a:lnTo>
                        <a:pt x="1129" y="213"/>
                      </a:lnTo>
                      <a:lnTo>
                        <a:pt x="1130" y="225"/>
                      </a:lnTo>
                      <a:lnTo>
                        <a:pt x="1130" y="239"/>
                      </a:lnTo>
                      <a:lnTo>
                        <a:pt x="1134" y="249"/>
                      </a:lnTo>
                      <a:lnTo>
                        <a:pt x="1136" y="255"/>
                      </a:lnTo>
                      <a:lnTo>
                        <a:pt x="1139" y="258"/>
                      </a:lnTo>
                      <a:lnTo>
                        <a:pt x="1139" y="258"/>
                      </a:lnTo>
                      <a:lnTo>
                        <a:pt x="1146" y="269"/>
                      </a:lnTo>
                      <a:lnTo>
                        <a:pt x="1149" y="279"/>
                      </a:lnTo>
                      <a:lnTo>
                        <a:pt x="1151" y="289"/>
                      </a:lnTo>
                      <a:lnTo>
                        <a:pt x="1153" y="300"/>
                      </a:lnTo>
                      <a:lnTo>
                        <a:pt x="1153" y="319"/>
                      </a:lnTo>
                      <a:lnTo>
                        <a:pt x="1153" y="326"/>
                      </a:lnTo>
                      <a:lnTo>
                        <a:pt x="1156" y="333"/>
                      </a:lnTo>
                      <a:lnTo>
                        <a:pt x="1156" y="333"/>
                      </a:lnTo>
                      <a:lnTo>
                        <a:pt x="1160" y="338"/>
                      </a:lnTo>
                      <a:lnTo>
                        <a:pt x="1162" y="343"/>
                      </a:lnTo>
                      <a:lnTo>
                        <a:pt x="1165" y="356"/>
                      </a:lnTo>
                      <a:lnTo>
                        <a:pt x="1169" y="359"/>
                      </a:lnTo>
                      <a:lnTo>
                        <a:pt x="1172" y="364"/>
                      </a:lnTo>
                      <a:lnTo>
                        <a:pt x="1179" y="368"/>
                      </a:lnTo>
                      <a:lnTo>
                        <a:pt x="1188" y="371"/>
                      </a:lnTo>
                      <a:lnTo>
                        <a:pt x="1188" y="371"/>
                      </a:lnTo>
                      <a:lnTo>
                        <a:pt x="1196" y="373"/>
                      </a:lnTo>
                      <a:lnTo>
                        <a:pt x="1202" y="376"/>
                      </a:lnTo>
                      <a:lnTo>
                        <a:pt x="1205" y="380"/>
                      </a:lnTo>
                      <a:lnTo>
                        <a:pt x="1207" y="383"/>
                      </a:lnTo>
                      <a:lnTo>
                        <a:pt x="1209" y="387"/>
                      </a:lnTo>
                      <a:lnTo>
                        <a:pt x="1212" y="390"/>
                      </a:lnTo>
                      <a:lnTo>
                        <a:pt x="1219" y="394"/>
                      </a:lnTo>
                      <a:lnTo>
                        <a:pt x="1228" y="399"/>
                      </a:lnTo>
                      <a:lnTo>
                        <a:pt x="1228" y="399"/>
                      </a:lnTo>
                      <a:lnTo>
                        <a:pt x="1238" y="403"/>
                      </a:lnTo>
                      <a:lnTo>
                        <a:pt x="1245" y="408"/>
                      </a:lnTo>
                      <a:lnTo>
                        <a:pt x="1250" y="413"/>
                      </a:lnTo>
                      <a:lnTo>
                        <a:pt x="1254" y="417"/>
                      </a:lnTo>
                      <a:lnTo>
                        <a:pt x="1254" y="420"/>
                      </a:lnTo>
                      <a:lnTo>
                        <a:pt x="1252" y="423"/>
                      </a:lnTo>
                      <a:lnTo>
                        <a:pt x="1250" y="423"/>
                      </a:lnTo>
                      <a:lnTo>
                        <a:pt x="1247" y="423"/>
                      </a:lnTo>
                      <a:lnTo>
                        <a:pt x="1247" y="423"/>
                      </a:lnTo>
                      <a:lnTo>
                        <a:pt x="1245" y="425"/>
                      </a:lnTo>
                      <a:lnTo>
                        <a:pt x="1245" y="427"/>
                      </a:lnTo>
                      <a:lnTo>
                        <a:pt x="1254" y="437"/>
                      </a:lnTo>
                      <a:lnTo>
                        <a:pt x="1264" y="451"/>
                      </a:lnTo>
                      <a:lnTo>
                        <a:pt x="1270" y="458"/>
                      </a:lnTo>
                      <a:lnTo>
                        <a:pt x="1273" y="464"/>
                      </a:lnTo>
                      <a:lnTo>
                        <a:pt x="1273" y="464"/>
                      </a:lnTo>
                      <a:lnTo>
                        <a:pt x="1275" y="470"/>
                      </a:lnTo>
                      <a:lnTo>
                        <a:pt x="1275" y="474"/>
                      </a:lnTo>
                      <a:lnTo>
                        <a:pt x="1273" y="484"/>
                      </a:lnTo>
                      <a:lnTo>
                        <a:pt x="1273" y="488"/>
                      </a:lnTo>
                      <a:lnTo>
                        <a:pt x="1273" y="493"/>
                      </a:lnTo>
                      <a:lnTo>
                        <a:pt x="1275" y="498"/>
                      </a:lnTo>
                      <a:lnTo>
                        <a:pt x="1280" y="505"/>
                      </a:lnTo>
                      <a:lnTo>
                        <a:pt x="1280" y="505"/>
                      </a:lnTo>
                      <a:lnTo>
                        <a:pt x="1285" y="509"/>
                      </a:lnTo>
                      <a:lnTo>
                        <a:pt x="1287" y="509"/>
                      </a:lnTo>
                      <a:lnTo>
                        <a:pt x="1289" y="507"/>
                      </a:lnTo>
                      <a:lnTo>
                        <a:pt x="1289" y="502"/>
                      </a:lnTo>
                      <a:lnTo>
                        <a:pt x="1289" y="498"/>
                      </a:lnTo>
                      <a:lnTo>
                        <a:pt x="1291" y="497"/>
                      </a:lnTo>
                      <a:lnTo>
                        <a:pt x="1292" y="497"/>
                      </a:lnTo>
                      <a:lnTo>
                        <a:pt x="1297" y="500"/>
                      </a:lnTo>
                      <a:lnTo>
                        <a:pt x="1297" y="500"/>
                      </a:lnTo>
                      <a:lnTo>
                        <a:pt x="1303" y="507"/>
                      </a:lnTo>
                      <a:lnTo>
                        <a:pt x="1306" y="509"/>
                      </a:lnTo>
                      <a:lnTo>
                        <a:pt x="1308" y="507"/>
                      </a:lnTo>
                      <a:lnTo>
                        <a:pt x="1308" y="505"/>
                      </a:lnTo>
                      <a:lnTo>
                        <a:pt x="1311" y="502"/>
                      </a:lnTo>
                      <a:lnTo>
                        <a:pt x="1313" y="502"/>
                      </a:lnTo>
                      <a:lnTo>
                        <a:pt x="1317" y="504"/>
                      </a:lnTo>
                      <a:lnTo>
                        <a:pt x="1317" y="504"/>
                      </a:lnTo>
                      <a:lnTo>
                        <a:pt x="1318" y="509"/>
                      </a:lnTo>
                      <a:lnTo>
                        <a:pt x="1318" y="514"/>
                      </a:lnTo>
                      <a:lnTo>
                        <a:pt x="1318" y="528"/>
                      </a:lnTo>
                      <a:lnTo>
                        <a:pt x="1318" y="535"/>
                      </a:lnTo>
                      <a:lnTo>
                        <a:pt x="1320" y="544"/>
                      </a:lnTo>
                      <a:lnTo>
                        <a:pt x="1322" y="554"/>
                      </a:lnTo>
                      <a:lnTo>
                        <a:pt x="1329" y="563"/>
                      </a:lnTo>
                      <a:lnTo>
                        <a:pt x="1329" y="563"/>
                      </a:lnTo>
                      <a:lnTo>
                        <a:pt x="1336" y="570"/>
                      </a:lnTo>
                      <a:lnTo>
                        <a:pt x="1341" y="575"/>
                      </a:lnTo>
                      <a:lnTo>
                        <a:pt x="1344" y="577"/>
                      </a:lnTo>
                      <a:lnTo>
                        <a:pt x="1346" y="577"/>
                      </a:lnTo>
                      <a:lnTo>
                        <a:pt x="1348" y="577"/>
                      </a:lnTo>
                      <a:lnTo>
                        <a:pt x="1351" y="578"/>
                      </a:lnTo>
                      <a:lnTo>
                        <a:pt x="1358" y="589"/>
                      </a:lnTo>
                      <a:lnTo>
                        <a:pt x="1358" y="589"/>
                      </a:lnTo>
                      <a:lnTo>
                        <a:pt x="1369" y="605"/>
                      </a:lnTo>
                      <a:lnTo>
                        <a:pt x="1378" y="613"/>
                      </a:lnTo>
                      <a:lnTo>
                        <a:pt x="1385" y="624"/>
                      </a:lnTo>
                      <a:lnTo>
                        <a:pt x="1388" y="632"/>
                      </a:lnTo>
                      <a:lnTo>
                        <a:pt x="1390" y="641"/>
                      </a:lnTo>
                      <a:lnTo>
                        <a:pt x="1390" y="641"/>
                      </a:lnTo>
                      <a:lnTo>
                        <a:pt x="1392" y="648"/>
                      </a:lnTo>
                      <a:lnTo>
                        <a:pt x="1395" y="653"/>
                      </a:lnTo>
                      <a:lnTo>
                        <a:pt x="1397" y="655"/>
                      </a:lnTo>
                      <a:lnTo>
                        <a:pt x="1398" y="657"/>
                      </a:lnTo>
                      <a:lnTo>
                        <a:pt x="1400" y="659"/>
                      </a:lnTo>
                      <a:lnTo>
                        <a:pt x="1402" y="660"/>
                      </a:lnTo>
                      <a:lnTo>
                        <a:pt x="1402" y="674"/>
                      </a:lnTo>
                      <a:lnTo>
                        <a:pt x="1402" y="674"/>
                      </a:lnTo>
                      <a:lnTo>
                        <a:pt x="1402" y="683"/>
                      </a:lnTo>
                      <a:lnTo>
                        <a:pt x="1402" y="690"/>
                      </a:lnTo>
                      <a:lnTo>
                        <a:pt x="1404" y="700"/>
                      </a:lnTo>
                      <a:lnTo>
                        <a:pt x="1405" y="707"/>
                      </a:lnTo>
                      <a:lnTo>
                        <a:pt x="1405" y="713"/>
                      </a:lnTo>
                      <a:lnTo>
                        <a:pt x="1402" y="716"/>
                      </a:lnTo>
                      <a:lnTo>
                        <a:pt x="1402" y="716"/>
                      </a:lnTo>
                      <a:lnTo>
                        <a:pt x="1402" y="721"/>
                      </a:lnTo>
                      <a:lnTo>
                        <a:pt x="1404" y="730"/>
                      </a:lnTo>
                      <a:lnTo>
                        <a:pt x="1412" y="753"/>
                      </a:lnTo>
                      <a:lnTo>
                        <a:pt x="1416" y="765"/>
                      </a:lnTo>
                      <a:lnTo>
                        <a:pt x="1419" y="777"/>
                      </a:lnTo>
                      <a:lnTo>
                        <a:pt x="1419" y="789"/>
                      </a:lnTo>
                      <a:lnTo>
                        <a:pt x="1418" y="794"/>
                      </a:lnTo>
                      <a:lnTo>
                        <a:pt x="1416" y="798"/>
                      </a:lnTo>
                      <a:lnTo>
                        <a:pt x="1416" y="798"/>
                      </a:lnTo>
                      <a:lnTo>
                        <a:pt x="1412" y="808"/>
                      </a:lnTo>
                      <a:lnTo>
                        <a:pt x="1409" y="815"/>
                      </a:lnTo>
                      <a:lnTo>
                        <a:pt x="1407" y="831"/>
                      </a:lnTo>
                      <a:lnTo>
                        <a:pt x="1405" y="848"/>
                      </a:lnTo>
                      <a:lnTo>
                        <a:pt x="1404" y="857"/>
                      </a:lnTo>
                      <a:lnTo>
                        <a:pt x="1398" y="866"/>
                      </a:lnTo>
                      <a:lnTo>
                        <a:pt x="1398" y="866"/>
                      </a:lnTo>
                      <a:lnTo>
                        <a:pt x="1397" y="873"/>
                      </a:lnTo>
                      <a:lnTo>
                        <a:pt x="1395" y="880"/>
                      </a:lnTo>
                      <a:lnTo>
                        <a:pt x="1395" y="894"/>
                      </a:lnTo>
                      <a:lnTo>
                        <a:pt x="1397" y="902"/>
                      </a:lnTo>
                      <a:lnTo>
                        <a:pt x="1395" y="909"/>
                      </a:lnTo>
                      <a:lnTo>
                        <a:pt x="1393" y="920"/>
                      </a:lnTo>
                      <a:lnTo>
                        <a:pt x="1388" y="930"/>
                      </a:lnTo>
                      <a:lnTo>
                        <a:pt x="1388" y="930"/>
                      </a:lnTo>
                      <a:lnTo>
                        <a:pt x="1385" y="937"/>
                      </a:lnTo>
                      <a:lnTo>
                        <a:pt x="1385" y="942"/>
                      </a:lnTo>
                      <a:lnTo>
                        <a:pt x="1383" y="951"/>
                      </a:lnTo>
                      <a:lnTo>
                        <a:pt x="1381" y="956"/>
                      </a:lnTo>
                      <a:lnTo>
                        <a:pt x="1378" y="961"/>
                      </a:lnTo>
                      <a:lnTo>
                        <a:pt x="1371" y="970"/>
                      </a:lnTo>
                      <a:lnTo>
                        <a:pt x="1360" y="981"/>
                      </a:lnTo>
                      <a:lnTo>
                        <a:pt x="1360" y="981"/>
                      </a:lnTo>
                      <a:lnTo>
                        <a:pt x="1353" y="988"/>
                      </a:lnTo>
                      <a:lnTo>
                        <a:pt x="1348" y="995"/>
                      </a:lnTo>
                      <a:lnTo>
                        <a:pt x="1339" y="1010"/>
                      </a:lnTo>
                      <a:lnTo>
                        <a:pt x="1332" y="1028"/>
                      </a:lnTo>
                      <a:lnTo>
                        <a:pt x="1329" y="1043"/>
                      </a:lnTo>
                      <a:lnTo>
                        <a:pt x="1322" y="1071"/>
                      </a:lnTo>
                      <a:lnTo>
                        <a:pt x="1320" y="1080"/>
                      </a:lnTo>
                      <a:lnTo>
                        <a:pt x="1315" y="1085"/>
                      </a:lnTo>
                      <a:lnTo>
                        <a:pt x="1315" y="1085"/>
                      </a:lnTo>
                      <a:lnTo>
                        <a:pt x="1311" y="1089"/>
                      </a:lnTo>
                      <a:lnTo>
                        <a:pt x="1308" y="1094"/>
                      </a:lnTo>
                      <a:lnTo>
                        <a:pt x="1301" y="1108"/>
                      </a:lnTo>
                      <a:lnTo>
                        <a:pt x="1297" y="1125"/>
                      </a:lnTo>
                      <a:lnTo>
                        <a:pt x="1296" y="1139"/>
                      </a:lnTo>
                      <a:lnTo>
                        <a:pt x="1296" y="1139"/>
                      </a:lnTo>
                      <a:lnTo>
                        <a:pt x="1296" y="1146"/>
                      </a:lnTo>
                      <a:lnTo>
                        <a:pt x="1294" y="1151"/>
                      </a:lnTo>
                      <a:lnTo>
                        <a:pt x="1289" y="1162"/>
                      </a:lnTo>
                      <a:lnTo>
                        <a:pt x="1285" y="1172"/>
                      </a:lnTo>
                      <a:lnTo>
                        <a:pt x="1285" y="1176"/>
                      </a:lnTo>
                      <a:lnTo>
                        <a:pt x="1287" y="1179"/>
                      </a:lnTo>
                      <a:lnTo>
                        <a:pt x="1287" y="1179"/>
                      </a:lnTo>
                      <a:lnTo>
                        <a:pt x="1291" y="1183"/>
                      </a:lnTo>
                      <a:lnTo>
                        <a:pt x="1292" y="1188"/>
                      </a:lnTo>
                      <a:lnTo>
                        <a:pt x="1291" y="1193"/>
                      </a:lnTo>
                      <a:lnTo>
                        <a:pt x="1289" y="1198"/>
                      </a:lnTo>
                      <a:lnTo>
                        <a:pt x="1284" y="1203"/>
                      </a:lnTo>
                      <a:lnTo>
                        <a:pt x="1277" y="1207"/>
                      </a:lnTo>
                      <a:lnTo>
                        <a:pt x="1268" y="1209"/>
                      </a:lnTo>
                      <a:lnTo>
                        <a:pt x="1256" y="1209"/>
                      </a:lnTo>
                      <a:lnTo>
                        <a:pt x="1256" y="1209"/>
                      </a:lnTo>
                      <a:lnTo>
                        <a:pt x="1249" y="1209"/>
                      </a:lnTo>
                      <a:lnTo>
                        <a:pt x="1244" y="1209"/>
                      </a:lnTo>
                      <a:lnTo>
                        <a:pt x="1231" y="1212"/>
                      </a:lnTo>
                      <a:lnTo>
                        <a:pt x="1219" y="1219"/>
                      </a:lnTo>
                      <a:lnTo>
                        <a:pt x="1207" y="1228"/>
                      </a:lnTo>
                      <a:lnTo>
                        <a:pt x="1188" y="1244"/>
                      </a:lnTo>
                      <a:lnTo>
                        <a:pt x="1179" y="1251"/>
                      </a:lnTo>
                      <a:lnTo>
                        <a:pt x="1172" y="1254"/>
                      </a:lnTo>
                      <a:lnTo>
                        <a:pt x="1172" y="1254"/>
                      </a:lnTo>
                      <a:lnTo>
                        <a:pt x="1169" y="1256"/>
                      </a:lnTo>
                      <a:lnTo>
                        <a:pt x="1167" y="1261"/>
                      </a:lnTo>
                      <a:lnTo>
                        <a:pt x="1167" y="1266"/>
                      </a:lnTo>
                      <a:lnTo>
                        <a:pt x="1167" y="1271"/>
                      </a:lnTo>
                      <a:lnTo>
                        <a:pt x="1167" y="1278"/>
                      </a:lnTo>
                      <a:lnTo>
                        <a:pt x="1165" y="1277"/>
                      </a:lnTo>
                      <a:lnTo>
                        <a:pt x="1162" y="1271"/>
                      </a:lnTo>
                      <a:lnTo>
                        <a:pt x="1162" y="1271"/>
                      </a:lnTo>
                      <a:lnTo>
                        <a:pt x="1153" y="1263"/>
                      </a:lnTo>
                      <a:lnTo>
                        <a:pt x="1148" y="1257"/>
                      </a:lnTo>
                      <a:lnTo>
                        <a:pt x="1137" y="1251"/>
                      </a:lnTo>
                      <a:lnTo>
                        <a:pt x="1132" y="1245"/>
                      </a:lnTo>
                      <a:lnTo>
                        <a:pt x="1130" y="1244"/>
                      </a:lnTo>
                      <a:lnTo>
                        <a:pt x="1129" y="1238"/>
                      </a:lnTo>
                      <a:lnTo>
                        <a:pt x="1129" y="1238"/>
                      </a:lnTo>
                      <a:lnTo>
                        <a:pt x="1129" y="1233"/>
                      </a:lnTo>
                      <a:lnTo>
                        <a:pt x="1127" y="1237"/>
                      </a:lnTo>
                      <a:lnTo>
                        <a:pt x="1123" y="1240"/>
                      </a:lnTo>
                      <a:lnTo>
                        <a:pt x="1122" y="1242"/>
                      </a:lnTo>
                      <a:lnTo>
                        <a:pt x="1118" y="1244"/>
                      </a:lnTo>
                      <a:lnTo>
                        <a:pt x="1113" y="1242"/>
                      </a:lnTo>
                      <a:lnTo>
                        <a:pt x="1113" y="1242"/>
                      </a:lnTo>
                      <a:lnTo>
                        <a:pt x="1109" y="1238"/>
                      </a:lnTo>
                      <a:lnTo>
                        <a:pt x="1109" y="1237"/>
                      </a:lnTo>
                      <a:lnTo>
                        <a:pt x="1116" y="1231"/>
                      </a:lnTo>
                      <a:lnTo>
                        <a:pt x="1120" y="1228"/>
                      </a:lnTo>
                      <a:lnTo>
                        <a:pt x="1122" y="1224"/>
                      </a:lnTo>
                      <a:lnTo>
                        <a:pt x="1122" y="1221"/>
                      </a:lnTo>
                      <a:lnTo>
                        <a:pt x="1116" y="1217"/>
                      </a:lnTo>
                      <a:lnTo>
                        <a:pt x="1116" y="1217"/>
                      </a:lnTo>
                      <a:lnTo>
                        <a:pt x="1111" y="1216"/>
                      </a:lnTo>
                      <a:lnTo>
                        <a:pt x="1109" y="1214"/>
                      </a:lnTo>
                      <a:lnTo>
                        <a:pt x="1108" y="1216"/>
                      </a:lnTo>
                      <a:lnTo>
                        <a:pt x="1106" y="1219"/>
                      </a:lnTo>
                      <a:lnTo>
                        <a:pt x="1102" y="1228"/>
                      </a:lnTo>
                      <a:lnTo>
                        <a:pt x="1097" y="1233"/>
                      </a:lnTo>
                      <a:lnTo>
                        <a:pt x="1090" y="1237"/>
                      </a:lnTo>
                      <a:lnTo>
                        <a:pt x="1090" y="1237"/>
                      </a:lnTo>
                      <a:lnTo>
                        <a:pt x="1083" y="1242"/>
                      </a:lnTo>
                      <a:lnTo>
                        <a:pt x="1078" y="1245"/>
                      </a:lnTo>
                      <a:lnTo>
                        <a:pt x="1071" y="1254"/>
                      </a:lnTo>
                      <a:lnTo>
                        <a:pt x="1068" y="1257"/>
                      </a:lnTo>
                      <a:lnTo>
                        <a:pt x="1062" y="1257"/>
                      </a:lnTo>
                      <a:lnTo>
                        <a:pt x="1054" y="1256"/>
                      </a:lnTo>
                      <a:lnTo>
                        <a:pt x="1043" y="1249"/>
                      </a:lnTo>
                      <a:lnTo>
                        <a:pt x="1043" y="1249"/>
                      </a:lnTo>
                      <a:lnTo>
                        <a:pt x="1024" y="1238"/>
                      </a:lnTo>
                      <a:lnTo>
                        <a:pt x="1012" y="1233"/>
                      </a:lnTo>
                      <a:lnTo>
                        <a:pt x="1007" y="1233"/>
                      </a:lnTo>
                      <a:lnTo>
                        <a:pt x="1003" y="1233"/>
                      </a:lnTo>
                      <a:lnTo>
                        <a:pt x="998" y="1237"/>
                      </a:lnTo>
                      <a:lnTo>
                        <a:pt x="998" y="1237"/>
                      </a:lnTo>
                      <a:lnTo>
                        <a:pt x="995" y="1240"/>
                      </a:lnTo>
                      <a:lnTo>
                        <a:pt x="993" y="1240"/>
                      </a:lnTo>
                      <a:lnTo>
                        <a:pt x="988" y="1235"/>
                      </a:lnTo>
                      <a:lnTo>
                        <a:pt x="981" y="1228"/>
                      </a:lnTo>
                      <a:lnTo>
                        <a:pt x="977" y="1224"/>
                      </a:lnTo>
                      <a:lnTo>
                        <a:pt x="970" y="1221"/>
                      </a:lnTo>
                      <a:lnTo>
                        <a:pt x="970" y="1221"/>
                      </a:lnTo>
                      <a:lnTo>
                        <a:pt x="963" y="1217"/>
                      </a:lnTo>
                      <a:lnTo>
                        <a:pt x="956" y="1212"/>
                      </a:lnTo>
                      <a:lnTo>
                        <a:pt x="947" y="1205"/>
                      </a:lnTo>
                      <a:lnTo>
                        <a:pt x="941" y="1197"/>
                      </a:lnTo>
                      <a:lnTo>
                        <a:pt x="935" y="1188"/>
                      </a:lnTo>
                      <a:lnTo>
                        <a:pt x="932" y="1179"/>
                      </a:lnTo>
                      <a:lnTo>
                        <a:pt x="930" y="1172"/>
                      </a:lnTo>
                      <a:lnTo>
                        <a:pt x="932" y="1165"/>
                      </a:lnTo>
                      <a:lnTo>
                        <a:pt x="932" y="1165"/>
                      </a:lnTo>
                      <a:lnTo>
                        <a:pt x="934" y="1158"/>
                      </a:lnTo>
                      <a:lnTo>
                        <a:pt x="934" y="1151"/>
                      </a:lnTo>
                      <a:lnTo>
                        <a:pt x="932" y="1143"/>
                      </a:lnTo>
                      <a:lnTo>
                        <a:pt x="928" y="1134"/>
                      </a:lnTo>
                      <a:lnTo>
                        <a:pt x="925" y="1127"/>
                      </a:lnTo>
                      <a:lnTo>
                        <a:pt x="920" y="1120"/>
                      </a:lnTo>
                      <a:lnTo>
                        <a:pt x="913" y="1115"/>
                      </a:lnTo>
                      <a:lnTo>
                        <a:pt x="907" y="1109"/>
                      </a:lnTo>
                      <a:lnTo>
                        <a:pt x="907" y="1109"/>
                      </a:lnTo>
                      <a:lnTo>
                        <a:pt x="902" y="1108"/>
                      </a:lnTo>
                      <a:lnTo>
                        <a:pt x="897" y="1106"/>
                      </a:lnTo>
                      <a:lnTo>
                        <a:pt x="888" y="1108"/>
                      </a:lnTo>
                      <a:lnTo>
                        <a:pt x="881" y="1109"/>
                      </a:lnTo>
                      <a:lnTo>
                        <a:pt x="878" y="1109"/>
                      </a:lnTo>
                      <a:lnTo>
                        <a:pt x="876" y="1108"/>
                      </a:lnTo>
                      <a:lnTo>
                        <a:pt x="876" y="1108"/>
                      </a:lnTo>
                      <a:lnTo>
                        <a:pt x="874" y="1104"/>
                      </a:lnTo>
                      <a:lnTo>
                        <a:pt x="876" y="1099"/>
                      </a:lnTo>
                      <a:lnTo>
                        <a:pt x="883" y="1089"/>
                      </a:lnTo>
                      <a:lnTo>
                        <a:pt x="887" y="1082"/>
                      </a:lnTo>
                      <a:lnTo>
                        <a:pt x="887" y="1075"/>
                      </a:lnTo>
                      <a:lnTo>
                        <a:pt x="887" y="1066"/>
                      </a:lnTo>
                      <a:lnTo>
                        <a:pt x="881" y="1055"/>
                      </a:lnTo>
                      <a:lnTo>
                        <a:pt x="881" y="1055"/>
                      </a:lnTo>
                      <a:lnTo>
                        <a:pt x="876" y="1050"/>
                      </a:lnTo>
                      <a:lnTo>
                        <a:pt x="874" y="1049"/>
                      </a:lnTo>
                      <a:lnTo>
                        <a:pt x="873" y="1050"/>
                      </a:lnTo>
                      <a:lnTo>
                        <a:pt x="871" y="1054"/>
                      </a:lnTo>
                      <a:lnTo>
                        <a:pt x="869" y="1061"/>
                      </a:lnTo>
                      <a:lnTo>
                        <a:pt x="866" y="1069"/>
                      </a:lnTo>
                      <a:lnTo>
                        <a:pt x="862" y="1078"/>
                      </a:lnTo>
                      <a:lnTo>
                        <a:pt x="855" y="1085"/>
                      </a:lnTo>
                      <a:lnTo>
                        <a:pt x="852" y="1087"/>
                      </a:lnTo>
                      <a:lnTo>
                        <a:pt x="847" y="1089"/>
                      </a:lnTo>
                      <a:lnTo>
                        <a:pt x="847" y="1089"/>
                      </a:lnTo>
                      <a:lnTo>
                        <a:pt x="840" y="1089"/>
                      </a:lnTo>
                      <a:lnTo>
                        <a:pt x="834" y="1087"/>
                      </a:lnTo>
                      <a:lnTo>
                        <a:pt x="831" y="1085"/>
                      </a:lnTo>
                      <a:lnTo>
                        <a:pt x="831" y="1082"/>
                      </a:lnTo>
                      <a:lnTo>
                        <a:pt x="833" y="1078"/>
                      </a:lnTo>
                      <a:lnTo>
                        <a:pt x="836" y="1075"/>
                      </a:lnTo>
                      <a:lnTo>
                        <a:pt x="840" y="1073"/>
                      </a:lnTo>
                      <a:lnTo>
                        <a:pt x="843" y="1073"/>
                      </a:lnTo>
                      <a:lnTo>
                        <a:pt x="843" y="1073"/>
                      </a:lnTo>
                      <a:lnTo>
                        <a:pt x="847" y="1073"/>
                      </a:lnTo>
                      <a:lnTo>
                        <a:pt x="850" y="1071"/>
                      </a:lnTo>
                      <a:lnTo>
                        <a:pt x="853" y="1066"/>
                      </a:lnTo>
                      <a:lnTo>
                        <a:pt x="855" y="1059"/>
                      </a:lnTo>
                      <a:lnTo>
                        <a:pt x="852" y="1050"/>
                      </a:lnTo>
                      <a:lnTo>
                        <a:pt x="852" y="1050"/>
                      </a:lnTo>
                      <a:lnTo>
                        <a:pt x="852" y="1043"/>
                      </a:lnTo>
                      <a:lnTo>
                        <a:pt x="853" y="1035"/>
                      </a:lnTo>
                      <a:lnTo>
                        <a:pt x="860" y="1015"/>
                      </a:lnTo>
                      <a:lnTo>
                        <a:pt x="867" y="995"/>
                      </a:lnTo>
                      <a:lnTo>
                        <a:pt x="869" y="988"/>
                      </a:lnTo>
                      <a:lnTo>
                        <a:pt x="869" y="981"/>
                      </a:lnTo>
                      <a:lnTo>
                        <a:pt x="869" y="981"/>
                      </a:lnTo>
                      <a:lnTo>
                        <a:pt x="862" y="967"/>
                      </a:lnTo>
                      <a:lnTo>
                        <a:pt x="862" y="967"/>
                      </a:lnTo>
                      <a:lnTo>
                        <a:pt x="862" y="967"/>
                      </a:lnTo>
                      <a:lnTo>
                        <a:pt x="862" y="975"/>
                      </a:lnTo>
                      <a:lnTo>
                        <a:pt x="862" y="975"/>
                      </a:lnTo>
                      <a:lnTo>
                        <a:pt x="860" y="981"/>
                      </a:lnTo>
                      <a:lnTo>
                        <a:pt x="859" y="984"/>
                      </a:lnTo>
                      <a:lnTo>
                        <a:pt x="853" y="991"/>
                      </a:lnTo>
                      <a:lnTo>
                        <a:pt x="847" y="998"/>
                      </a:lnTo>
                      <a:lnTo>
                        <a:pt x="845" y="1003"/>
                      </a:lnTo>
                      <a:lnTo>
                        <a:pt x="841" y="1010"/>
                      </a:lnTo>
                      <a:lnTo>
                        <a:pt x="841" y="1010"/>
                      </a:lnTo>
                      <a:lnTo>
                        <a:pt x="840" y="1019"/>
                      </a:lnTo>
                      <a:lnTo>
                        <a:pt x="838" y="1019"/>
                      </a:lnTo>
                      <a:lnTo>
                        <a:pt x="834" y="1019"/>
                      </a:lnTo>
                      <a:lnTo>
                        <a:pt x="829" y="1022"/>
                      </a:lnTo>
                      <a:lnTo>
                        <a:pt x="822" y="1028"/>
                      </a:lnTo>
                      <a:lnTo>
                        <a:pt x="812" y="1040"/>
                      </a:lnTo>
                      <a:lnTo>
                        <a:pt x="812" y="1040"/>
                      </a:lnTo>
                      <a:lnTo>
                        <a:pt x="803" y="1054"/>
                      </a:lnTo>
                      <a:lnTo>
                        <a:pt x="798" y="1064"/>
                      </a:lnTo>
                      <a:lnTo>
                        <a:pt x="796" y="1071"/>
                      </a:lnTo>
                      <a:lnTo>
                        <a:pt x="796" y="1075"/>
                      </a:lnTo>
                      <a:lnTo>
                        <a:pt x="798" y="1076"/>
                      </a:lnTo>
                      <a:lnTo>
                        <a:pt x="796" y="1076"/>
                      </a:lnTo>
                      <a:lnTo>
                        <a:pt x="784" y="1069"/>
                      </a:lnTo>
                      <a:lnTo>
                        <a:pt x="784" y="1069"/>
                      </a:lnTo>
                      <a:lnTo>
                        <a:pt x="780" y="1068"/>
                      </a:lnTo>
                      <a:lnTo>
                        <a:pt x="777" y="1064"/>
                      </a:lnTo>
                      <a:lnTo>
                        <a:pt x="773" y="1055"/>
                      </a:lnTo>
                      <a:lnTo>
                        <a:pt x="770" y="1045"/>
                      </a:lnTo>
                      <a:lnTo>
                        <a:pt x="768" y="1035"/>
                      </a:lnTo>
                      <a:lnTo>
                        <a:pt x="766" y="1022"/>
                      </a:lnTo>
                      <a:lnTo>
                        <a:pt x="763" y="1012"/>
                      </a:lnTo>
                      <a:lnTo>
                        <a:pt x="758" y="1002"/>
                      </a:lnTo>
                      <a:lnTo>
                        <a:pt x="754" y="998"/>
                      </a:lnTo>
                      <a:lnTo>
                        <a:pt x="749" y="995"/>
                      </a:lnTo>
                      <a:lnTo>
                        <a:pt x="749" y="995"/>
                      </a:lnTo>
                      <a:lnTo>
                        <a:pt x="740" y="989"/>
                      </a:lnTo>
                      <a:lnTo>
                        <a:pt x="735" y="984"/>
                      </a:lnTo>
                      <a:lnTo>
                        <a:pt x="735" y="979"/>
                      </a:lnTo>
                      <a:lnTo>
                        <a:pt x="737" y="975"/>
                      </a:lnTo>
                      <a:lnTo>
                        <a:pt x="739" y="972"/>
                      </a:lnTo>
                      <a:lnTo>
                        <a:pt x="739" y="968"/>
                      </a:lnTo>
                      <a:lnTo>
                        <a:pt x="737" y="963"/>
                      </a:lnTo>
                      <a:lnTo>
                        <a:pt x="730" y="956"/>
                      </a:lnTo>
                      <a:lnTo>
                        <a:pt x="730" y="956"/>
                      </a:lnTo>
                      <a:lnTo>
                        <a:pt x="723" y="951"/>
                      </a:lnTo>
                      <a:lnTo>
                        <a:pt x="716" y="948"/>
                      </a:lnTo>
                      <a:lnTo>
                        <a:pt x="702" y="946"/>
                      </a:lnTo>
                      <a:lnTo>
                        <a:pt x="695" y="944"/>
                      </a:lnTo>
                      <a:lnTo>
                        <a:pt x="685" y="942"/>
                      </a:lnTo>
                      <a:lnTo>
                        <a:pt x="672" y="937"/>
                      </a:lnTo>
                      <a:lnTo>
                        <a:pt x="655" y="928"/>
                      </a:lnTo>
                      <a:lnTo>
                        <a:pt x="655" y="928"/>
                      </a:lnTo>
                      <a:lnTo>
                        <a:pt x="631" y="916"/>
                      </a:lnTo>
                      <a:lnTo>
                        <a:pt x="627" y="914"/>
                      </a:lnTo>
                      <a:lnTo>
                        <a:pt x="624" y="916"/>
                      </a:lnTo>
                      <a:lnTo>
                        <a:pt x="622" y="918"/>
                      </a:lnTo>
                      <a:lnTo>
                        <a:pt x="617" y="920"/>
                      </a:lnTo>
                      <a:lnTo>
                        <a:pt x="606" y="920"/>
                      </a:lnTo>
                      <a:lnTo>
                        <a:pt x="589" y="918"/>
                      </a:lnTo>
                      <a:lnTo>
                        <a:pt x="589" y="918"/>
                      </a:lnTo>
                      <a:lnTo>
                        <a:pt x="582" y="918"/>
                      </a:lnTo>
                      <a:lnTo>
                        <a:pt x="575" y="918"/>
                      </a:lnTo>
                      <a:lnTo>
                        <a:pt x="563" y="921"/>
                      </a:lnTo>
                      <a:lnTo>
                        <a:pt x="549" y="928"/>
                      </a:lnTo>
                      <a:lnTo>
                        <a:pt x="535" y="935"/>
                      </a:lnTo>
                      <a:lnTo>
                        <a:pt x="521" y="942"/>
                      </a:lnTo>
                      <a:lnTo>
                        <a:pt x="503" y="949"/>
                      </a:lnTo>
                      <a:lnTo>
                        <a:pt x="484" y="953"/>
                      </a:lnTo>
                      <a:lnTo>
                        <a:pt x="474" y="953"/>
                      </a:lnTo>
                      <a:lnTo>
                        <a:pt x="462" y="953"/>
                      </a:lnTo>
                      <a:lnTo>
                        <a:pt x="462" y="953"/>
                      </a:lnTo>
                      <a:lnTo>
                        <a:pt x="448" y="953"/>
                      </a:lnTo>
                      <a:lnTo>
                        <a:pt x="437" y="955"/>
                      </a:lnTo>
                      <a:lnTo>
                        <a:pt x="429" y="958"/>
                      </a:lnTo>
                      <a:lnTo>
                        <a:pt x="423" y="965"/>
                      </a:lnTo>
                      <a:lnTo>
                        <a:pt x="411" y="975"/>
                      </a:lnTo>
                      <a:lnTo>
                        <a:pt x="406" y="979"/>
                      </a:lnTo>
                      <a:lnTo>
                        <a:pt x="397" y="981"/>
                      </a:lnTo>
                      <a:lnTo>
                        <a:pt x="397" y="981"/>
                      </a:lnTo>
                      <a:lnTo>
                        <a:pt x="392" y="981"/>
                      </a:lnTo>
                      <a:lnTo>
                        <a:pt x="389" y="982"/>
                      </a:lnTo>
                      <a:lnTo>
                        <a:pt x="383" y="989"/>
                      </a:lnTo>
                      <a:lnTo>
                        <a:pt x="378" y="998"/>
                      </a:lnTo>
                      <a:lnTo>
                        <a:pt x="375" y="1008"/>
                      </a:lnTo>
                      <a:lnTo>
                        <a:pt x="371" y="1019"/>
                      </a:lnTo>
                      <a:lnTo>
                        <a:pt x="366" y="1026"/>
                      </a:lnTo>
                      <a:lnTo>
                        <a:pt x="362" y="1028"/>
                      </a:lnTo>
                      <a:lnTo>
                        <a:pt x="359" y="1029"/>
                      </a:lnTo>
                      <a:lnTo>
                        <a:pt x="354" y="1029"/>
                      </a:lnTo>
                      <a:lnTo>
                        <a:pt x="347" y="1028"/>
                      </a:lnTo>
                      <a:lnTo>
                        <a:pt x="347" y="1028"/>
                      </a:lnTo>
                      <a:lnTo>
                        <a:pt x="336" y="1026"/>
                      </a:lnTo>
                      <a:lnTo>
                        <a:pt x="329" y="1024"/>
                      </a:lnTo>
                      <a:lnTo>
                        <a:pt x="324" y="1026"/>
                      </a:lnTo>
                      <a:lnTo>
                        <a:pt x="321" y="1028"/>
                      </a:lnTo>
                      <a:lnTo>
                        <a:pt x="319" y="1029"/>
                      </a:lnTo>
                      <a:lnTo>
                        <a:pt x="314" y="1031"/>
                      </a:lnTo>
                      <a:lnTo>
                        <a:pt x="308" y="1029"/>
                      </a:lnTo>
                      <a:lnTo>
                        <a:pt x="300" y="1026"/>
                      </a:lnTo>
                      <a:lnTo>
                        <a:pt x="300" y="1026"/>
                      </a:lnTo>
                      <a:lnTo>
                        <a:pt x="293" y="1022"/>
                      </a:lnTo>
                      <a:lnTo>
                        <a:pt x="288" y="1022"/>
                      </a:lnTo>
                      <a:lnTo>
                        <a:pt x="281" y="1022"/>
                      </a:lnTo>
                      <a:lnTo>
                        <a:pt x="275" y="1024"/>
                      </a:lnTo>
                      <a:lnTo>
                        <a:pt x="263" y="1026"/>
                      </a:lnTo>
                      <a:lnTo>
                        <a:pt x="253" y="1028"/>
                      </a:lnTo>
                      <a:lnTo>
                        <a:pt x="242" y="1028"/>
                      </a:lnTo>
                      <a:lnTo>
                        <a:pt x="242" y="1028"/>
                      </a:lnTo>
                      <a:lnTo>
                        <a:pt x="235" y="1028"/>
                      </a:lnTo>
                      <a:lnTo>
                        <a:pt x="230" y="1031"/>
                      </a:lnTo>
                      <a:lnTo>
                        <a:pt x="227" y="1035"/>
                      </a:lnTo>
                      <a:lnTo>
                        <a:pt x="225" y="1040"/>
                      </a:lnTo>
                      <a:lnTo>
                        <a:pt x="223" y="1045"/>
                      </a:lnTo>
                      <a:lnTo>
                        <a:pt x="220" y="1049"/>
                      </a:lnTo>
                      <a:lnTo>
                        <a:pt x="214" y="1052"/>
                      </a:lnTo>
                      <a:lnTo>
                        <a:pt x="207" y="1054"/>
                      </a:lnTo>
                      <a:lnTo>
                        <a:pt x="207" y="1054"/>
                      </a:lnTo>
                      <a:lnTo>
                        <a:pt x="201" y="1055"/>
                      </a:lnTo>
                      <a:lnTo>
                        <a:pt x="195" y="1059"/>
                      </a:lnTo>
                      <a:lnTo>
                        <a:pt x="181" y="1069"/>
                      </a:lnTo>
                      <a:lnTo>
                        <a:pt x="174" y="1076"/>
                      </a:lnTo>
                      <a:lnTo>
                        <a:pt x="164" y="1080"/>
                      </a:lnTo>
                      <a:lnTo>
                        <a:pt x="152" y="1082"/>
                      </a:lnTo>
                      <a:lnTo>
                        <a:pt x="136" y="1082"/>
                      </a:lnTo>
                      <a:lnTo>
                        <a:pt x="136" y="1082"/>
                      </a:lnTo>
                      <a:lnTo>
                        <a:pt x="120" y="1078"/>
                      </a:lnTo>
                      <a:lnTo>
                        <a:pt x="108" y="1073"/>
                      </a:lnTo>
                      <a:lnTo>
                        <a:pt x="100" y="1068"/>
                      </a:lnTo>
                      <a:lnTo>
                        <a:pt x="93" y="1061"/>
                      </a:lnTo>
                      <a:lnTo>
                        <a:pt x="82" y="1050"/>
                      </a:lnTo>
                      <a:lnTo>
                        <a:pt x="77" y="1047"/>
                      </a:lnTo>
                      <a:lnTo>
                        <a:pt x="72" y="1047"/>
                      </a:lnTo>
                      <a:lnTo>
                        <a:pt x="72" y="1047"/>
                      </a:lnTo>
                      <a:lnTo>
                        <a:pt x="66" y="1045"/>
                      </a:lnTo>
                      <a:lnTo>
                        <a:pt x="63" y="1042"/>
                      </a:lnTo>
                      <a:lnTo>
                        <a:pt x="59" y="1036"/>
                      </a:lnTo>
                      <a:lnTo>
                        <a:pt x="58" y="1029"/>
                      </a:lnTo>
                      <a:lnTo>
                        <a:pt x="58" y="1022"/>
                      </a:lnTo>
                      <a:lnTo>
                        <a:pt x="59" y="1015"/>
                      </a:lnTo>
                      <a:lnTo>
                        <a:pt x="61" y="1012"/>
                      </a:lnTo>
                      <a:lnTo>
                        <a:pt x="65" y="1012"/>
                      </a:lnTo>
                      <a:lnTo>
                        <a:pt x="65" y="1012"/>
                      </a:lnTo>
                      <a:lnTo>
                        <a:pt x="70" y="1014"/>
                      </a:lnTo>
                      <a:lnTo>
                        <a:pt x="73" y="1014"/>
                      </a:lnTo>
                      <a:lnTo>
                        <a:pt x="77" y="1010"/>
                      </a:lnTo>
                      <a:lnTo>
                        <a:pt x="80" y="1007"/>
                      </a:lnTo>
                      <a:lnTo>
                        <a:pt x="82" y="1003"/>
                      </a:lnTo>
                      <a:lnTo>
                        <a:pt x="84" y="996"/>
                      </a:lnTo>
                      <a:lnTo>
                        <a:pt x="84" y="989"/>
                      </a:lnTo>
                      <a:lnTo>
                        <a:pt x="84" y="981"/>
                      </a:lnTo>
                      <a:lnTo>
                        <a:pt x="84" y="981"/>
                      </a:lnTo>
                      <a:lnTo>
                        <a:pt x="82" y="972"/>
                      </a:lnTo>
                      <a:lnTo>
                        <a:pt x="84" y="967"/>
                      </a:lnTo>
                      <a:lnTo>
                        <a:pt x="89" y="956"/>
                      </a:lnTo>
                      <a:lnTo>
                        <a:pt x="89" y="949"/>
                      </a:lnTo>
                      <a:lnTo>
                        <a:pt x="87" y="939"/>
                      </a:lnTo>
                      <a:lnTo>
                        <a:pt x="84" y="923"/>
                      </a:lnTo>
                      <a:lnTo>
                        <a:pt x="75" y="901"/>
                      </a:lnTo>
                      <a:lnTo>
                        <a:pt x="75" y="901"/>
                      </a:lnTo>
                      <a:lnTo>
                        <a:pt x="66" y="880"/>
                      </a:lnTo>
                      <a:lnTo>
                        <a:pt x="63" y="862"/>
                      </a:lnTo>
                      <a:lnTo>
                        <a:pt x="61" y="848"/>
                      </a:lnTo>
                      <a:lnTo>
                        <a:pt x="61" y="838"/>
                      </a:lnTo>
                      <a:lnTo>
                        <a:pt x="59" y="820"/>
                      </a:lnTo>
                      <a:lnTo>
                        <a:pt x="58" y="810"/>
                      </a:lnTo>
                      <a:lnTo>
                        <a:pt x="54" y="800"/>
                      </a:lnTo>
                      <a:lnTo>
                        <a:pt x="54" y="800"/>
                      </a:lnTo>
                      <a:lnTo>
                        <a:pt x="42" y="779"/>
                      </a:lnTo>
                      <a:lnTo>
                        <a:pt x="35" y="766"/>
                      </a:lnTo>
                      <a:lnTo>
                        <a:pt x="32" y="758"/>
                      </a:lnTo>
                      <a:lnTo>
                        <a:pt x="32" y="744"/>
                      </a:lnTo>
                      <a:lnTo>
                        <a:pt x="32" y="744"/>
                      </a:lnTo>
                      <a:lnTo>
                        <a:pt x="30" y="735"/>
                      </a:lnTo>
                      <a:lnTo>
                        <a:pt x="26" y="726"/>
                      </a:lnTo>
                      <a:lnTo>
                        <a:pt x="16" y="709"/>
                      </a:lnTo>
                      <a:lnTo>
                        <a:pt x="6" y="693"/>
                      </a:lnTo>
                      <a:lnTo>
                        <a:pt x="2" y="685"/>
                      </a:lnTo>
                      <a:lnTo>
                        <a:pt x="0" y="676"/>
                      </a:lnTo>
                      <a:lnTo>
                        <a:pt x="0" y="676"/>
                      </a:lnTo>
                      <a:lnTo>
                        <a:pt x="2" y="669"/>
                      </a:lnTo>
                      <a:lnTo>
                        <a:pt x="2" y="669"/>
                      </a:lnTo>
                      <a:lnTo>
                        <a:pt x="4" y="669"/>
                      </a:lnTo>
                      <a:lnTo>
                        <a:pt x="6" y="672"/>
                      </a:lnTo>
                      <a:lnTo>
                        <a:pt x="9" y="678"/>
                      </a:lnTo>
                      <a:lnTo>
                        <a:pt x="14" y="690"/>
                      </a:lnTo>
                      <a:lnTo>
                        <a:pt x="18" y="693"/>
                      </a:lnTo>
                      <a:lnTo>
                        <a:pt x="19" y="693"/>
                      </a:lnTo>
                      <a:lnTo>
                        <a:pt x="19" y="692"/>
                      </a:lnTo>
                      <a:lnTo>
                        <a:pt x="19" y="692"/>
                      </a:lnTo>
                      <a:lnTo>
                        <a:pt x="19" y="688"/>
                      </a:lnTo>
                      <a:lnTo>
                        <a:pt x="19" y="683"/>
                      </a:lnTo>
                      <a:lnTo>
                        <a:pt x="12" y="671"/>
                      </a:lnTo>
                      <a:lnTo>
                        <a:pt x="7" y="659"/>
                      </a:lnTo>
                      <a:lnTo>
                        <a:pt x="6" y="653"/>
                      </a:lnTo>
                      <a:lnTo>
                        <a:pt x="7" y="648"/>
                      </a:lnTo>
                      <a:lnTo>
                        <a:pt x="7" y="648"/>
                      </a:lnTo>
                      <a:lnTo>
                        <a:pt x="9" y="646"/>
                      </a:lnTo>
                      <a:lnTo>
                        <a:pt x="9" y="648"/>
                      </a:lnTo>
                      <a:lnTo>
                        <a:pt x="14" y="652"/>
                      </a:lnTo>
                      <a:lnTo>
                        <a:pt x="23" y="669"/>
                      </a:lnTo>
                      <a:lnTo>
                        <a:pt x="28" y="678"/>
                      </a:lnTo>
                      <a:lnTo>
                        <a:pt x="32" y="681"/>
                      </a:lnTo>
                      <a:lnTo>
                        <a:pt x="33" y="683"/>
                      </a:lnTo>
                      <a:lnTo>
                        <a:pt x="35" y="681"/>
                      </a:lnTo>
                      <a:lnTo>
                        <a:pt x="37" y="674"/>
                      </a:lnTo>
                      <a:lnTo>
                        <a:pt x="37" y="674"/>
                      </a:lnTo>
                      <a:lnTo>
                        <a:pt x="37" y="667"/>
                      </a:lnTo>
                      <a:lnTo>
                        <a:pt x="35" y="662"/>
                      </a:lnTo>
                      <a:lnTo>
                        <a:pt x="30" y="650"/>
                      </a:lnTo>
                      <a:lnTo>
                        <a:pt x="14" y="624"/>
                      </a:lnTo>
                      <a:lnTo>
                        <a:pt x="9" y="610"/>
                      </a:lnTo>
                      <a:lnTo>
                        <a:pt x="4" y="596"/>
                      </a:lnTo>
                      <a:lnTo>
                        <a:pt x="4" y="589"/>
                      </a:lnTo>
                      <a:lnTo>
                        <a:pt x="6" y="582"/>
                      </a:lnTo>
                      <a:lnTo>
                        <a:pt x="7" y="573"/>
                      </a:lnTo>
                      <a:lnTo>
                        <a:pt x="11" y="566"/>
                      </a:lnTo>
                      <a:lnTo>
                        <a:pt x="11" y="566"/>
                      </a:lnTo>
                      <a:lnTo>
                        <a:pt x="18" y="552"/>
                      </a:lnTo>
                      <a:lnTo>
                        <a:pt x="19" y="542"/>
                      </a:lnTo>
                      <a:lnTo>
                        <a:pt x="19" y="535"/>
                      </a:lnTo>
                      <a:lnTo>
                        <a:pt x="18" y="528"/>
                      </a:lnTo>
                      <a:lnTo>
                        <a:pt x="16" y="521"/>
                      </a:lnTo>
                      <a:lnTo>
                        <a:pt x="14" y="514"/>
                      </a:lnTo>
                      <a:lnTo>
                        <a:pt x="16" y="505"/>
                      </a:lnTo>
                      <a:lnTo>
                        <a:pt x="21" y="495"/>
                      </a:lnTo>
                      <a:lnTo>
                        <a:pt x="21" y="495"/>
                      </a:lnTo>
                      <a:lnTo>
                        <a:pt x="28" y="486"/>
                      </a:lnTo>
                      <a:lnTo>
                        <a:pt x="30" y="486"/>
                      </a:lnTo>
                      <a:lnTo>
                        <a:pt x="32" y="486"/>
                      </a:lnTo>
                      <a:lnTo>
                        <a:pt x="33" y="491"/>
                      </a:lnTo>
                      <a:lnTo>
                        <a:pt x="35" y="498"/>
                      </a:lnTo>
                      <a:lnTo>
                        <a:pt x="35" y="505"/>
                      </a:lnTo>
                      <a:lnTo>
                        <a:pt x="37" y="509"/>
                      </a:lnTo>
                      <a:lnTo>
                        <a:pt x="37" y="509"/>
                      </a:lnTo>
                      <a:lnTo>
                        <a:pt x="39" y="509"/>
                      </a:lnTo>
                      <a:lnTo>
                        <a:pt x="44" y="500"/>
                      </a:lnTo>
                      <a:lnTo>
                        <a:pt x="44" y="500"/>
                      </a:lnTo>
                      <a:lnTo>
                        <a:pt x="49" y="488"/>
                      </a:lnTo>
                      <a:lnTo>
                        <a:pt x="53" y="481"/>
                      </a:lnTo>
                      <a:lnTo>
                        <a:pt x="58" y="477"/>
                      </a:lnTo>
                      <a:lnTo>
                        <a:pt x="63" y="476"/>
                      </a:lnTo>
                      <a:lnTo>
                        <a:pt x="68" y="472"/>
                      </a:lnTo>
                      <a:lnTo>
                        <a:pt x="77" y="467"/>
                      </a:lnTo>
                      <a:lnTo>
                        <a:pt x="86" y="460"/>
                      </a:lnTo>
                      <a:lnTo>
                        <a:pt x="98" y="448"/>
                      </a:lnTo>
                      <a:lnTo>
                        <a:pt x="98" y="448"/>
                      </a:lnTo>
                      <a:lnTo>
                        <a:pt x="108" y="436"/>
                      </a:lnTo>
                      <a:lnTo>
                        <a:pt x="117" y="429"/>
                      </a:lnTo>
                      <a:lnTo>
                        <a:pt x="124" y="427"/>
                      </a:lnTo>
                      <a:lnTo>
                        <a:pt x="131" y="429"/>
                      </a:lnTo>
                      <a:lnTo>
                        <a:pt x="141" y="432"/>
                      </a:lnTo>
                      <a:lnTo>
                        <a:pt x="148" y="432"/>
                      </a:lnTo>
                      <a:lnTo>
                        <a:pt x="157" y="429"/>
                      </a:lnTo>
                      <a:lnTo>
                        <a:pt x="157" y="429"/>
                      </a:lnTo>
                      <a:lnTo>
                        <a:pt x="173" y="420"/>
                      </a:lnTo>
                      <a:lnTo>
                        <a:pt x="187" y="417"/>
                      </a:lnTo>
                      <a:lnTo>
                        <a:pt x="195" y="411"/>
                      </a:lnTo>
                      <a:lnTo>
                        <a:pt x="199" y="410"/>
                      </a:lnTo>
                      <a:lnTo>
                        <a:pt x="202" y="404"/>
                      </a:lnTo>
                      <a:lnTo>
                        <a:pt x="202" y="404"/>
                      </a:lnTo>
                      <a:lnTo>
                        <a:pt x="206" y="401"/>
                      </a:lnTo>
                      <a:lnTo>
                        <a:pt x="209" y="401"/>
                      </a:lnTo>
                      <a:lnTo>
                        <a:pt x="223" y="401"/>
                      </a:lnTo>
                      <a:lnTo>
                        <a:pt x="232" y="401"/>
                      </a:lnTo>
                      <a:lnTo>
                        <a:pt x="242" y="401"/>
                      </a:lnTo>
                      <a:lnTo>
                        <a:pt x="253" y="397"/>
                      </a:lnTo>
                      <a:lnTo>
                        <a:pt x="265" y="390"/>
                      </a:lnTo>
                      <a:lnTo>
                        <a:pt x="265" y="390"/>
                      </a:lnTo>
                      <a:lnTo>
                        <a:pt x="275" y="382"/>
                      </a:lnTo>
                      <a:lnTo>
                        <a:pt x="282" y="373"/>
                      </a:lnTo>
                      <a:lnTo>
                        <a:pt x="288" y="364"/>
                      </a:lnTo>
                      <a:lnTo>
                        <a:pt x="291" y="357"/>
                      </a:lnTo>
                      <a:lnTo>
                        <a:pt x="296" y="343"/>
                      </a:lnTo>
                      <a:lnTo>
                        <a:pt x="300" y="338"/>
                      </a:lnTo>
                      <a:lnTo>
                        <a:pt x="305" y="333"/>
                      </a:lnTo>
                      <a:lnTo>
                        <a:pt x="305" y="3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5" name="Freeform 1962">
                  <a:extLst>
                    <a:ext uri="{FF2B5EF4-FFF2-40B4-BE49-F238E27FC236}">
                      <a16:creationId xmlns:a16="http://schemas.microsoft.com/office/drawing/2014/main" id="{28E3F2DA-AAE9-1775-D518-A64BFECD8C75}"/>
                    </a:ext>
                  </a:extLst>
                </p:cNvPr>
                <p:cNvSpPr>
                  <a:spLocks/>
                </p:cNvSpPr>
                <p:nvPr/>
              </p:nvSpPr>
              <p:spPr bwMode="auto">
                <a:xfrm>
                  <a:off x="6791857" y="2554189"/>
                  <a:ext cx="1723238" cy="1268641"/>
                </a:xfrm>
                <a:custGeom>
                  <a:avLst/>
                  <a:gdLst/>
                  <a:ahLst/>
                  <a:cxnLst>
                    <a:cxn ang="0">
                      <a:pos x="2000" y="247"/>
                    </a:cxn>
                    <a:cxn ang="0">
                      <a:pos x="1793" y="14"/>
                    </a:cxn>
                    <a:cxn ang="0">
                      <a:pos x="1586" y="184"/>
                    </a:cxn>
                    <a:cxn ang="0">
                      <a:pos x="1529" y="297"/>
                    </a:cxn>
                    <a:cxn ang="0">
                      <a:pos x="1579" y="353"/>
                    </a:cxn>
                    <a:cxn ang="0">
                      <a:pos x="1412" y="444"/>
                    </a:cxn>
                    <a:cxn ang="0">
                      <a:pos x="1266" y="559"/>
                    </a:cxn>
                    <a:cxn ang="0">
                      <a:pos x="1086" y="599"/>
                    </a:cxn>
                    <a:cxn ang="0">
                      <a:pos x="797" y="543"/>
                    </a:cxn>
                    <a:cxn ang="0">
                      <a:pos x="602" y="398"/>
                    </a:cxn>
                    <a:cxn ang="0">
                      <a:pos x="505" y="249"/>
                    </a:cxn>
                    <a:cxn ang="0">
                      <a:pos x="388" y="339"/>
                    </a:cxn>
                    <a:cxn ang="0">
                      <a:pos x="287" y="423"/>
                    </a:cxn>
                    <a:cxn ang="0">
                      <a:pos x="238" y="543"/>
                    </a:cxn>
                    <a:cxn ang="0">
                      <a:pos x="109" y="639"/>
                    </a:cxn>
                    <a:cxn ang="0">
                      <a:pos x="10" y="693"/>
                    </a:cxn>
                    <a:cxn ang="0">
                      <a:pos x="43" y="771"/>
                    </a:cxn>
                    <a:cxn ang="0">
                      <a:pos x="75" y="835"/>
                    </a:cxn>
                    <a:cxn ang="0">
                      <a:pos x="191" y="872"/>
                    </a:cxn>
                    <a:cxn ang="0">
                      <a:pos x="209" y="950"/>
                    </a:cxn>
                    <a:cxn ang="0">
                      <a:pos x="191" y="1037"/>
                    </a:cxn>
                    <a:cxn ang="0">
                      <a:pos x="221" y="1104"/>
                    </a:cxn>
                    <a:cxn ang="0">
                      <a:pos x="334" y="1163"/>
                    </a:cxn>
                    <a:cxn ang="0">
                      <a:pos x="425" y="1225"/>
                    </a:cxn>
                    <a:cxn ang="0">
                      <a:pos x="510" y="1243"/>
                    </a:cxn>
                    <a:cxn ang="0">
                      <a:pos x="595" y="1234"/>
                    </a:cxn>
                    <a:cxn ang="0">
                      <a:pos x="715" y="1196"/>
                    </a:cxn>
                    <a:cxn ang="0">
                      <a:pos x="806" y="1196"/>
                    </a:cxn>
                    <a:cxn ang="0">
                      <a:pos x="881" y="1255"/>
                    </a:cxn>
                    <a:cxn ang="0">
                      <a:pos x="851" y="1360"/>
                    </a:cxn>
                    <a:cxn ang="0">
                      <a:pos x="881" y="1422"/>
                    </a:cxn>
                    <a:cxn ang="0">
                      <a:pos x="924" y="1513"/>
                    </a:cxn>
                    <a:cxn ang="0">
                      <a:pos x="989" y="1539"/>
                    </a:cxn>
                    <a:cxn ang="0">
                      <a:pos x="1043" y="1469"/>
                    </a:cxn>
                    <a:cxn ang="0">
                      <a:pos x="1111" y="1443"/>
                    </a:cxn>
                    <a:cxn ang="0">
                      <a:pos x="1182" y="1516"/>
                    </a:cxn>
                    <a:cxn ang="0">
                      <a:pos x="1243" y="1521"/>
                    </a:cxn>
                    <a:cxn ang="0">
                      <a:pos x="1271" y="1568"/>
                    </a:cxn>
                    <a:cxn ang="0">
                      <a:pos x="1349" y="1511"/>
                    </a:cxn>
                    <a:cxn ang="0">
                      <a:pos x="1400" y="1476"/>
                    </a:cxn>
                    <a:cxn ang="0">
                      <a:pos x="1471" y="1474"/>
                    </a:cxn>
                    <a:cxn ang="0">
                      <a:pos x="1530" y="1431"/>
                    </a:cxn>
                    <a:cxn ang="0">
                      <a:pos x="1595" y="1375"/>
                    </a:cxn>
                    <a:cxn ang="0">
                      <a:pos x="1616" y="1332"/>
                    </a:cxn>
                    <a:cxn ang="0">
                      <a:pos x="1631" y="1288"/>
                    </a:cxn>
                    <a:cxn ang="0">
                      <a:pos x="1684" y="1205"/>
                    </a:cxn>
                    <a:cxn ang="0">
                      <a:pos x="1673" y="1131"/>
                    </a:cxn>
                    <a:cxn ang="0">
                      <a:pos x="1666" y="1071"/>
                    </a:cxn>
                    <a:cxn ang="0">
                      <a:pos x="1652" y="1051"/>
                    </a:cxn>
                    <a:cxn ang="0">
                      <a:pos x="1643" y="966"/>
                    </a:cxn>
                    <a:cxn ang="0">
                      <a:pos x="1633" y="860"/>
                    </a:cxn>
                    <a:cxn ang="0">
                      <a:pos x="1703" y="825"/>
                    </a:cxn>
                    <a:cxn ang="0">
                      <a:pos x="1673" y="795"/>
                    </a:cxn>
                    <a:cxn ang="0">
                      <a:pos x="1595" y="785"/>
                    </a:cxn>
                    <a:cxn ang="0">
                      <a:pos x="1583" y="721"/>
                    </a:cxn>
                    <a:cxn ang="0">
                      <a:pos x="1694" y="640"/>
                    </a:cxn>
                    <a:cxn ang="0">
                      <a:pos x="1675" y="726"/>
                    </a:cxn>
                    <a:cxn ang="0">
                      <a:pos x="1732" y="698"/>
                    </a:cxn>
                    <a:cxn ang="0">
                      <a:pos x="1825" y="644"/>
                    </a:cxn>
                    <a:cxn ang="0">
                      <a:pos x="1906" y="611"/>
                    </a:cxn>
                    <a:cxn ang="0">
                      <a:pos x="1969" y="559"/>
                    </a:cxn>
                    <a:cxn ang="0">
                      <a:pos x="2013" y="442"/>
                    </a:cxn>
                    <a:cxn ang="0">
                      <a:pos x="2117" y="271"/>
                    </a:cxn>
                  </a:cxnLst>
                  <a:rect l="0" t="0" r="r" b="b"/>
                  <a:pathLst>
                    <a:path w="2147" h="1581">
                      <a:moveTo>
                        <a:pt x="2117" y="271"/>
                      </a:moveTo>
                      <a:lnTo>
                        <a:pt x="2117" y="271"/>
                      </a:lnTo>
                      <a:lnTo>
                        <a:pt x="2110" y="277"/>
                      </a:lnTo>
                      <a:lnTo>
                        <a:pt x="2105" y="280"/>
                      </a:lnTo>
                      <a:lnTo>
                        <a:pt x="2101" y="280"/>
                      </a:lnTo>
                      <a:lnTo>
                        <a:pt x="2098" y="280"/>
                      </a:lnTo>
                      <a:lnTo>
                        <a:pt x="2093" y="280"/>
                      </a:lnTo>
                      <a:lnTo>
                        <a:pt x="2089" y="280"/>
                      </a:lnTo>
                      <a:lnTo>
                        <a:pt x="2084" y="284"/>
                      </a:lnTo>
                      <a:lnTo>
                        <a:pt x="2077" y="289"/>
                      </a:lnTo>
                      <a:lnTo>
                        <a:pt x="2077" y="289"/>
                      </a:lnTo>
                      <a:lnTo>
                        <a:pt x="2068" y="296"/>
                      </a:lnTo>
                      <a:lnTo>
                        <a:pt x="2060" y="299"/>
                      </a:lnTo>
                      <a:lnTo>
                        <a:pt x="2053" y="303"/>
                      </a:lnTo>
                      <a:lnTo>
                        <a:pt x="2044" y="304"/>
                      </a:lnTo>
                      <a:lnTo>
                        <a:pt x="2035" y="304"/>
                      </a:lnTo>
                      <a:lnTo>
                        <a:pt x="2027" y="301"/>
                      </a:lnTo>
                      <a:lnTo>
                        <a:pt x="2018" y="297"/>
                      </a:lnTo>
                      <a:lnTo>
                        <a:pt x="2011" y="292"/>
                      </a:lnTo>
                      <a:lnTo>
                        <a:pt x="2011" y="292"/>
                      </a:lnTo>
                      <a:lnTo>
                        <a:pt x="2004" y="287"/>
                      </a:lnTo>
                      <a:lnTo>
                        <a:pt x="2002" y="284"/>
                      </a:lnTo>
                      <a:lnTo>
                        <a:pt x="2002" y="280"/>
                      </a:lnTo>
                      <a:lnTo>
                        <a:pt x="2004" y="277"/>
                      </a:lnTo>
                      <a:lnTo>
                        <a:pt x="2007" y="271"/>
                      </a:lnTo>
                      <a:lnTo>
                        <a:pt x="2007" y="268"/>
                      </a:lnTo>
                      <a:lnTo>
                        <a:pt x="2004" y="264"/>
                      </a:lnTo>
                      <a:lnTo>
                        <a:pt x="2004" y="264"/>
                      </a:lnTo>
                      <a:lnTo>
                        <a:pt x="2000" y="261"/>
                      </a:lnTo>
                      <a:lnTo>
                        <a:pt x="1999" y="257"/>
                      </a:lnTo>
                      <a:lnTo>
                        <a:pt x="2000" y="250"/>
                      </a:lnTo>
                      <a:lnTo>
                        <a:pt x="2000" y="247"/>
                      </a:lnTo>
                      <a:lnTo>
                        <a:pt x="2000" y="243"/>
                      </a:lnTo>
                      <a:lnTo>
                        <a:pt x="1999" y="242"/>
                      </a:lnTo>
                      <a:lnTo>
                        <a:pt x="1993" y="242"/>
                      </a:lnTo>
                      <a:lnTo>
                        <a:pt x="1993" y="242"/>
                      </a:lnTo>
                      <a:lnTo>
                        <a:pt x="1987" y="240"/>
                      </a:lnTo>
                      <a:lnTo>
                        <a:pt x="1983" y="237"/>
                      </a:lnTo>
                      <a:lnTo>
                        <a:pt x="1976" y="228"/>
                      </a:lnTo>
                      <a:lnTo>
                        <a:pt x="1973" y="223"/>
                      </a:lnTo>
                      <a:lnTo>
                        <a:pt x="1966" y="217"/>
                      </a:lnTo>
                      <a:lnTo>
                        <a:pt x="1957" y="214"/>
                      </a:lnTo>
                      <a:lnTo>
                        <a:pt x="1945" y="212"/>
                      </a:lnTo>
                      <a:lnTo>
                        <a:pt x="1945" y="212"/>
                      </a:lnTo>
                      <a:lnTo>
                        <a:pt x="1919" y="207"/>
                      </a:lnTo>
                      <a:lnTo>
                        <a:pt x="1910" y="205"/>
                      </a:lnTo>
                      <a:lnTo>
                        <a:pt x="1901" y="200"/>
                      </a:lnTo>
                      <a:lnTo>
                        <a:pt x="1894" y="191"/>
                      </a:lnTo>
                      <a:lnTo>
                        <a:pt x="1889" y="179"/>
                      </a:lnTo>
                      <a:lnTo>
                        <a:pt x="1884" y="162"/>
                      </a:lnTo>
                      <a:lnTo>
                        <a:pt x="1880" y="139"/>
                      </a:lnTo>
                      <a:lnTo>
                        <a:pt x="1880" y="139"/>
                      </a:lnTo>
                      <a:lnTo>
                        <a:pt x="1873" y="115"/>
                      </a:lnTo>
                      <a:lnTo>
                        <a:pt x="1866" y="92"/>
                      </a:lnTo>
                      <a:lnTo>
                        <a:pt x="1858" y="71"/>
                      </a:lnTo>
                      <a:lnTo>
                        <a:pt x="1847" y="52"/>
                      </a:lnTo>
                      <a:lnTo>
                        <a:pt x="1837" y="38"/>
                      </a:lnTo>
                      <a:lnTo>
                        <a:pt x="1826" y="26"/>
                      </a:lnTo>
                      <a:lnTo>
                        <a:pt x="1818" y="19"/>
                      </a:lnTo>
                      <a:lnTo>
                        <a:pt x="1812" y="17"/>
                      </a:lnTo>
                      <a:lnTo>
                        <a:pt x="1809" y="17"/>
                      </a:lnTo>
                      <a:lnTo>
                        <a:pt x="1809" y="17"/>
                      </a:lnTo>
                      <a:lnTo>
                        <a:pt x="1800" y="15"/>
                      </a:lnTo>
                      <a:lnTo>
                        <a:pt x="1793" y="14"/>
                      </a:lnTo>
                      <a:lnTo>
                        <a:pt x="1772" y="5"/>
                      </a:lnTo>
                      <a:lnTo>
                        <a:pt x="1760" y="1"/>
                      </a:lnTo>
                      <a:lnTo>
                        <a:pt x="1744" y="0"/>
                      </a:lnTo>
                      <a:lnTo>
                        <a:pt x="1727" y="0"/>
                      </a:lnTo>
                      <a:lnTo>
                        <a:pt x="1704" y="1"/>
                      </a:lnTo>
                      <a:lnTo>
                        <a:pt x="1704" y="1"/>
                      </a:lnTo>
                      <a:lnTo>
                        <a:pt x="1682" y="7"/>
                      </a:lnTo>
                      <a:lnTo>
                        <a:pt x="1663" y="14"/>
                      </a:lnTo>
                      <a:lnTo>
                        <a:pt x="1649" y="21"/>
                      </a:lnTo>
                      <a:lnTo>
                        <a:pt x="1637" y="29"/>
                      </a:lnTo>
                      <a:lnTo>
                        <a:pt x="1630" y="38"/>
                      </a:lnTo>
                      <a:lnTo>
                        <a:pt x="1628" y="43"/>
                      </a:lnTo>
                      <a:lnTo>
                        <a:pt x="1628" y="47"/>
                      </a:lnTo>
                      <a:lnTo>
                        <a:pt x="1628" y="48"/>
                      </a:lnTo>
                      <a:lnTo>
                        <a:pt x="1630" y="50"/>
                      </a:lnTo>
                      <a:lnTo>
                        <a:pt x="1633" y="50"/>
                      </a:lnTo>
                      <a:lnTo>
                        <a:pt x="1633" y="50"/>
                      </a:lnTo>
                      <a:lnTo>
                        <a:pt x="1640" y="50"/>
                      </a:lnTo>
                      <a:lnTo>
                        <a:pt x="1645" y="52"/>
                      </a:lnTo>
                      <a:lnTo>
                        <a:pt x="1650" y="55"/>
                      </a:lnTo>
                      <a:lnTo>
                        <a:pt x="1654" y="61"/>
                      </a:lnTo>
                      <a:lnTo>
                        <a:pt x="1654" y="68"/>
                      </a:lnTo>
                      <a:lnTo>
                        <a:pt x="1652" y="76"/>
                      </a:lnTo>
                      <a:lnTo>
                        <a:pt x="1647" y="87"/>
                      </a:lnTo>
                      <a:lnTo>
                        <a:pt x="1637" y="101"/>
                      </a:lnTo>
                      <a:lnTo>
                        <a:pt x="1637" y="101"/>
                      </a:lnTo>
                      <a:lnTo>
                        <a:pt x="1628" y="113"/>
                      </a:lnTo>
                      <a:lnTo>
                        <a:pt x="1621" y="125"/>
                      </a:lnTo>
                      <a:lnTo>
                        <a:pt x="1610" y="148"/>
                      </a:lnTo>
                      <a:lnTo>
                        <a:pt x="1602" y="167"/>
                      </a:lnTo>
                      <a:lnTo>
                        <a:pt x="1595" y="176"/>
                      </a:lnTo>
                      <a:lnTo>
                        <a:pt x="1586" y="184"/>
                      </a:lnTo>
                      <a:lnTo>
                        <a:pt x="1586" y="184"/>
                      </a:lnTo>
                      <a:lnTo>
                        <a:pt x="1577" y="193"/>
                      </a:lnTo>
                      <a:lnTo>
                        <a:pt x="1570" y="200"/>
                      </a:lnTo>
                      <a:lnTo>
                        <a:pt x="1562" y="203"/>
                      </a:lnTo>
                      <a:lnTo>
                        <a:pt x="1553" y="205"/>
                      </a:lnTo>
                      <a:lnTo>
                        <a:pt x="1544" y="205"/>
                      </a:lnTo>
                      <a:lnTo>
                        <a:pt x="1536" y="203"/>
                      </a:lnTo>
                      <a:lnTo>
                        <a:pt x="1525" y="198"/>
                      </a:lnTo>
                      <a:lnTo>
                        <a:pt x="1513" y="191"/>
                      </a:lnTo>
                      <a:lnTo>
                        <a:pt x="1513" y="191"/>
                      </a:lnTo>
                      <a:lnTo>
                        <a:pt x="1499" y="221"/>
                      </a:lnTo>
                      <a:lnTo>
                        <a:pt x="1489" y="242"/>
                      </a:lnTo>
                      <a:lnTo>
                        <a:pt x="1485" y="256"/>
                      </a:lnTo>
                      <a:lnTo>
                        <a:pt x="1482" y="264"/>
                      </a:lnTo>
                      <a:lnTo>
                        <a:pt x="1482" y="271"/>
                      </a:lnTo>
                      <a:lnTo>
                        <a:pt x="1475" y="278"/>
                      </a:lnTo>
                      <a:lnTo>
                        <a:pt x="1475" y="278"/>
                      </a:lnTo>
                      <a:lnTo>
                        <a:pt x="1473" y="282"/>
                      </a:lnTo>
                      <a:lnTo>
                        <a:pt x="1471" y="285"/>
                      </a:lnTo>
                      <a:lnTo>
                        <a:pt x="1473" y="291"/>
                      </a:lnTo>
                      <a:lnTo>
                        <a:pt x="1475" y="294"/>
                      </a:lnTo>
                      <a:lnTo>
                        <a:pt x="1478" y="297"/>
                      </a:lnTo>
                      <a:lnTo>
                        <a:pt x="1482" y="299"/>
                      </a:lnTo>
                      <a:lnTo>
                        <a:pt x="1487" y="299"/>
                      </a:lnTo>
                      <a:lnTo>
                        <a:pt x="1489" y="297"/>
                      </a:lnTo>
                      <a:lnTo>
                        <a:pt x="1489" y="297"/>
                      </a:lnTo>
                      <a:lnTo>
                        <a:pt x="1497" y="294"/>
                      </a:lnTo>
                      <a:lnTo>
                        <a:pt x="1508" y="292"/>
                      </a:lnTo>
                      <a:lnTo>
                        <a:pt x="1520" y="292"/>
                      </a:lnTo>
                      <a:lnTo>
                        <a:pt x="1525" y="294"/>
                      </a:lnTo>
                      <a:lnTo>
                        <a:pt x="1529" y="297"/>
                      </a:lnTo>
                      <a:lnTo>
                        <a:pt x="1529" y="297"/>
                      </a:lnTo>
                      <a:lnTo>
                        <a:pt x="1534" y="301"/>
                      </a:lnTo>
                      <a:lnTo>
                        <a:pt x="1537" y="301"/>
                      </a:lnTo>
                      <a:lnTo>
                        <a:pt x="1539" y="299"/>
                      </a:lnTo>
                      <a:lnTo>
                        <a:pt x="1541" y="296"/>
                      </a:lnTo>
                      <a:lnTo>
                        <a:pt x="1543" y="292"/>
                      </a:lnTo>
                      <a:lnTo>
                        <a:pt x="1548" y="289"/>
                      </a:lnTo>
                      <a:lnTo>
                        <a:pt x="1553" y="287"/>
                      </a:lnTo>
                      <a:lnTo>
                        <a:pt x="1562" y="285"/>
                      </a:lnTo>
                      <a:lnTo>
                        <a:pt x="1562" y="285"/>
                      </a:lnTo>
                      <a:lnTo>
                        <a:pt x="1570" y="285"/>
                      </a:lnTo>
                      <a:lnTo>
                        <a:pt x="1577" y="289"/>
                      </a:lnTo>
                      <a:lnTo>
                        <a:pt x="1584" y="291"/>
                      </a:lnTo>
                      <a:lnTo>
                        <a:pt x="1588" y="296"/>
                      </a:lnTo>
                      <a:lnTo>
                        <a:pt x="1596" y="304"/>
                      </a:lnTo>
                      <a:lnTo>
                        <a:pt x="1605" y="315"/>
                      </a:lnTo>
                      <a:lnTo>
                        <a:pt x="1605" y="315"/>
                      </a:lnTo>
                      <a:lnTo>
                        <a:pt x="1614" y="325"/>
                      </a:lnTo>
                      <a:lnTo>
                        <a:pt x="1623" y="334"/>
                      </a:lnTo>
                      <a:lnTo>
                        <a:pt x="1624" y="339"/>
                      </a:lnTo>
                      <a:lnTo>
                        <a:pt x="1626" y="344"/>
                      </a:lnTo>
                      <a:lnTo>
                        <a:pt x="1626" y="348"/>
                      </a:lnTo>
                      <a:lnTo>
                        <a:pt x="1623" y="351"/>
                      </a:lnTo>
                      <a:lnTo>
                        <a:pt x="1623" y="351"/>
                      </a:lnTo>
                      <a:lnTo>
                        <a:pt x="1619" y="355"/>
                      </a:lnTo>
                      <a:lnTo>
                        <a:pt x="1614" y="355"/>
                      </a:lnTo>
                      <a:lnTo>
                        <a:pt x="1602" y="353"/>
                      </a:lnTo>
                      <a:lnTo>
                        <a:pt x="1591" y="350"/>
                      </a:lnTo>
                      <a:lnTo>
                        <a:pt x="1586" y="350"/>
                      </a:lnTo>
                      <a:lnTo>
                        <a:pt x="1584" y="351"/>
                      </a:lnTo>
                      <a:lnTo>
                        <a:pt x="1584" y="351"/>
                      </a:lnTo>
                      <a:lnTo>
                        <a:pt x="1581" y="353"/>
                      </a:lnTo>
                      <a:lnTo>
                        <a:pt x="1579" y="353"/>
                      </a:lnTo>
                      <a:lnTo>
                        <a:pt x="1572" y="351"/>
                      </a:lnTo>
                      <a:lnTo>
                        <a:pt x="1565" y="351"/>
                      </a:lnTo>
                      <a:lnTo>
                        <a:pt x="1560" y="353"/>
                      </a:lnTo>
                      <a:lnTo>
                        <a:pt x="1555" y="357"/>
                      </a:lnTo>
                      <a:lnTo>
                        <a:pt x="1555" y="357"/>
                      </a:lnTo>
                      <a:lnTo>
                        <a:pt x="1549" y="360"/>
                      </a:lnTo>
                      <a:lnTo>
                        <a:pt x="1543" y="362"/>
                      </a:lnTo>
                      <a:lnTo>
                        <a:pt x="1530" y="364"/>
                      </a:lnTo>
                      <a:lnTo>
                        <a:pt x="1516" y="367"/>
                      </a:lnTo>
                      <a:lnTo>
                        <a:pt x="1511" y="371"/>
                      </a:lnTo>
                      <a:lnTo>
                        <a:pt x="1504" y="376"/>
                      </a:lnTo>
                      <a:lnTo>
                        <a:pt x="1504" y="376"/>
                      </a:lnTo>
                      <a:lnTo>
                        <a:pt x="1499" y="381"/>
                      </a:lnTo>
                      <a:lnTo>
                        <a:pt x="1497" y="385"/>
                      </a:lnTo>
                      <a:lnTo>
                        <a:pt x="1497" y="390"/>
                      </a:lnTo>
                      <a:lnTo>
                        <a:pt x="1495" y="395"/>
                      </a:lnTo>
                      <a:lnTo>
                        <a:pt x="1494" y="398"/>
                      </a:lnTo>
                      <a:lnTo>
                        <a:pt x="1490" y="402"/>
                      </a:lnTo>
                      <a:lnTo>
                        <a:pt x="1490" y="402"/>
                      </a:lnTo>
                      <a:lnTo>
                        <a:pt x="1480" y="411"/>
                      </a:lnTo>
                      <a:lnTo>
                        <a:pt x="1471" y="416"/>
                      </a:lnTo>
                      <a:lnTo>
                        <a:pt x="1461" y="418"/>
                      </a:lnTo>
                      <a:lnTo>
                        <a:pt x="1448" y="416"/>
                      </a:lnTo>
                      <a:lnTo>
                        <a:pt x="1448" y="416"/>
                      </a:lnTo>
                      <a:lnTo>
                        <a:pt x="1442" y="416"/>
                      </a:lnTo>
                      <a:lnTo>
                        <a:pt x="1438" y="418"/>
                      </a:lnTo>
                      <a:lnTo>
                        <a:pt x="1436" y="421"/>
                      </a:lnTo>
                      <a:lnTo>
                        <a:pt x="1433" y="425"/>
                      </a:lnTo>
                      <a:lnTo>
                        <a:pt x="1431" y="430"/>
                      </a:lnTo>
                      <a:lnTo>
                        <a:pt x="1426" y="435"/>
                      </a:lnTo>
                      <a:lnTo>
                        <a:pt x="1421" y="440"/>
                      </a:lnTo>
                      <a:lnTo>
                        <a:pt x="1412" y="444"/>
                      </a:lnTo>
                      <a:lnTo>
                        <a:pt x="1412" y="444"/>
                      </a:lnTo>
                      <a:lnTo>
                        <a:pt x="1400" y="447"/>
                      </a:lnTo>
                      <a:lnTo>
                        <a:pt x="1391" y="447"/>
                      </a:lnTo>
                      <a:lnTo>
                        <a:pt x="1382" y="445"/>
                      </a:lnTo>
                      <a:lnTo>
                        <a:pt x="1374" y="442"/>
                      </a:lnTo>
                      <a:lnTo>
                        <a:pt x="1360" y="433"/>
                      </a:lnTo>
                      <a:lnTo>
                        <a:pt x="1353" y="432"/>
                      </a:lnTo>
                      <a:lnTo>
                        <a:pt x="1346" y="432"/>
                      </a:lnTo>
                      <a:lnTo>
                        <a:pt x="1346" y="432"/>
                      </a:lnTo>
                      <a:lnTo>
                        <a:pt x="1341" y="435"/>
                      </a:lnTo>
                      <a:lnTo>
                        <a:pt x="1337" y="437"/>
                      </a:lnTo>
                      <a:lnTo>
                        <a:pt x="1334" y="444"/>
                      </a:lnTo>
                      <a:lnTo>
                        <a:pt x="1332" y="454"/>
                      </a:lnTo>
                      <a:lnTo>
                        <a:pt x="1330" y="466"/>
                      </a:lnTo>
                      <a:lnTo>
                        <a:pt x="1330" y="466"/>
                      </a:lnTo>
                      <a:lnTo>
                        <a:pt x="1330" y="472"/>
                      </a:lnTo>
                      <a:lnTo>
                        <a:pt x="1332" y="477"/>
                      </a:lnTo>
                      <a:lnTo>
                        <a:pt x="1341" y="487"/>
                      </a:lnTo>
                      <a:lnTo>
                        <a:pt x="1344" y="491"/>
                      </a:lnTo>
                      <a:lnTo>
                        <a:pt x="1346" y="496"/>
                      </a:lnTo>
                      <a:lnTo>
                        <a:pt x="1346" y="499"/>
                      </a:lnTo>
                      <a:lnTo>
                        <a:pt x="1341" y="505"/>
                      </a:lnTo>
                      <a:lnTo>
                        <a:pt x="1341" y="505"/>
                      </a:lnTo>
                      <a:lnTo>
                        <a:pt x="1328" y="510"/>
                      </a:lnTo>
                      <a:lnTo>
                        <a:pt x="1320" y="515"/>
                      </a:lnTo>
                      <a:lnTo>
                        <a:pt x="1309" y="522"/>
                      </a:lnTo>
                      <a:lnTo>
                        <a:pt x="1299" y="534"/>
                      </a:lnTo>
                      <a:lnTo>
                        <a:pt x="1299" y="534"/>
                      </a:lnTo>
                      <a:lnTo>
                        <a:pt x="1287" y="546"/>
                      </a:lnTo>
                      <a:lnTo>
                        <a:pt x="1278" y="552"/>
                      </a:lnTo>
                      <a:lnTo>
                        <a:pt x="1271" y="553"/>
                      </a:lnTo>
                      <a:lnTo>
                        <a:pt x="1266" y="559"/>
                      </a:lnTo>
                      <a:lnTo>
                        <a:pt x="1266" y="559"/>
                      </a:lnTo>
                      <a:lnTo>
                        <a:pt x="1262" y="560"/>
                      </a:lnTo>
                      <a:lnTo>
                        <a:pt x="1260" y="562"/>
                      </a:lnTo>
                      <a:lnTo>
                        <a:pt x="1253" y="562"/>
                      </a:lnTo>
                      <a:lnTo>
                        <a:pt x="1246" y="560"/>
                      </a:lnTo>
                      <a:lnTo>
                        <a:pt x="1240" y="562"/>
                      </a:lnTo>
                      <a:lnTo>
                        <a:pt x="1240" y="562"/>
                      </a:lnTo>
                      <a:lnTo>
                        <a:pt x="1233" y="564"/>
                      </a:lnTo>
                      <a:lnTo>
                        <a:pt x="1227" y="564"/>
                      </a:lnTo>
                      <a:lnTo>
                        <a:pt x="1219" y="562"/>
                      </a:lnTo>
                      <a:lnTo>
                        <a:pt x="1205" y="562"/>
                      </a:lnTo>
                      <a:lnTo>
                        <a:pt x="1205" y="562"/>
                      </a:lnTo>
                      <a:lnTo>
                        <a:pt x="1193" y="562"/>
                      </a:lnTo>
                      <a:lnTo>
                        <a:pt x="1187" y="560"/>
                      </a:lnTo>
                      <a:lnTo>
                        <a:pt x="1184" y="562"/>
                      </a:lnTo>
                      <a:lnTo>
                        <a:pt x="1175" y="567"/>
                      </a:lnTo>
                      <a:lnTo>
                        <a:pt x="1175" y="567"/>
                      </a:lnTo>
                      <a:lnTo>
                        <a:pt x="1170" y="571"/>
                      </a:lnTo>
                      <a:lnTo>
                        <a:pt x="1165" y="573"/>
                      </a:lnTo>
                      <a:lnTo>
                        <a:pt x="1154" y="574"/>
                      </a:lnTo>
                      <a:lnTo>
                        <a:pt x="1146" y="578"/>
                      </a:lnTo>
                      <a:lnTo>
                        <a:pt x="1137" y="583"/>
                      </a:lnTo>
                      <a:lnTo>
                        <a:pt x="1123" y="590"/>
                      </a:lnTo>
                      <a:lnTo>
                        <a:pt x="1104" y="602"/>
                      </a:lnTo>
                      <a:lnTo>
                        <a:pt x="1104" y="602"/>
                      </a:lnTo>
                      <a:lnTo>
                        <a:pt x="1100" y="604"/>
                      </a:lnTo>
                      <a:lnTo>
                        <a:pt x="1098" y="602"/>
                      </a:lnTo>
                      <a:lnTo>
                        <a:pt x="1095" y="599"/>
                      </a:lnTo>
                      <a:lnTo>
                        <a:pt x="1090" y="600"/>
                      </a:lnTo>
                      <a:lnTo>
                        <a:pt x="1090" y="600"/>
                      </a:lnTo>
                      <a:lnTo>
                        <a:pt x="1086" y="600"/>
                      </a:lnTo>
                      <a:lnTo>
                        <a:pt x="1086" y="599"/>
                      </a:lnTo>
                      <a:lnTo>
                        <a:pt x="1085" y="593"/>
                      </a:lnTo>
                      <a:lnTo>
                        <a:pt x="1085" y="592"/>
                      </a:lnTo>
                      <a:lnTo>
                        <a:pt x="1083" y="590"/>
                      </a:lnTo>
                      <a:lnTo>
                        <a:pt x="1078" y="590"/>
                      </a:lnTo>
                      <a:lnTo>
                        <a:pt x="1072" y="592"/>
                      </a:lnTo>
                      <a:lnTo>
                        <a:pt x="1072" y="592"/>
                      </a:lnTo>
                      <a:lnTo>
                        <a:pt x="1064" y="593"/>
                      </a:lnTo>
                      <a:lnTo>
                        <a:pt x="1057" y="592"/>
                      </a:lnTo>
                      <a:lnTo>
                        <a:pt x="1048" y="588"/>
                      </a:lnTo>
                      <a:lnTo>
                        <a:pt x="1041" y="585"/>
                      </a:lnTo>
                      <a:lnTo>
                        <a:pt x="1027" y="578"/>
                      </a:lnTo>
                      <a:lnTo>
                        <a:pt x="1020" y="576"/>
                      </a:lnTo>
                      <a:lnTo>
                        <a:pt x="1013" y="576"/>
                      </a:lnTo>
                      <a:lnTo>
                        <a:pt x="1013" y="576"/>
                      </a:lnTo>
                      <a:lnTo>
                        <a:pt x="1008" y="574"/>
                      </a:lnTo>
                      <a:lnTo>
                        <a:pt x="1003" y="571"/>
                      </a:lnTo>
                      <a:lnTo>
                        <a:pt x="991" y="562"/>
                      </a:lnTo>
                      <a:lnTo>
                        <a:pt x="982" y="557"/>
                      </a:lnTo>
                      <a:lnTo>
                        <a:pt x="970" y="552"/>
                      </a:lnTo>
                      <a:lnTo>
                        <a:pt x="957" y="550"/>
                      </a:lnTo>
                      <a:lnTo>
                        <a:pt x="942" y="550"/>
                      </a:lnTo>
                      <a:lnTo>
                        <a:pt x="942" y="550"/>
                      </a:lnTo>
                      <a:lnTo>
                        <a:pt x="912" y="553"/>
                      </a:lnTo>
                      <a:lnTo>
                        <a:pt x="890" y="555"/>
                      </a:lnTo>
                      <a:lnTo>
                        <a:pt x="863" y="552"/>
                      </a:lnTo>
                      <a:lnTo>
                        <a:pt x="829" y="546"/>
                      </a:lnTo>
                      <a:lnTo>
                        <a:pt x="829" y="546"/>
                      </a:lnTo>
                      <a:lnTo>
                        <a:pt x="816" y="545"/>
                      </a:lnTo>
                      <a:lnTo>
                        <a:pt x="808" y="546"/>
                      </a:lnTo>
                      <a:lnTo>
                        <a:pt x="804" y="546"/>
                      </a:lnTo>
                      <a:lnTo>
                        <a:pt x="801" y="545"/>
                      </a:lnTo>
                      <a:lnTo>
                        <a:pt x="797" y="543"/>
                      </a:lnTo>
                      <a:lnTo>
                        <a:pt x="794" y="538"/>
                      </a:lnTo>
                      <a:lnTo>
                        <a:pt x="794" y="538"/>
                      </a:lnTo>
                      <a:lnTo>
                        <a:pt x="790" y="531"/>
                      </a:lnTo>
                      <a:lnTo>
                        <a:pt x="785" y="527"/>
                      </a:lnTo>
                      <a:lnTo>
                        <a:pt x="780" y="520"/>
                      </a:lnTo>
                      <a:lnTo>
                        <a:pt x="775" y="503"/>
                      </a:lnTo>
                      <a:lnTo>
                        <a:pt x="775" y="503"/>
                      </a:lnTo>
                      <a:lnTo>
                        <a:pt x="771" y="489"/>
                      </a:lnTo>
                      <a:lnTo>
                        <a:pt x="771" y="487"/>
                      </a:lnTo>
                      <a:lnTo>
                        <a:pt x="769" y="486"/>
                      </a:lnTo>
                      <a:lnTo>
                        <a:pt x="759" y="480"/>
                      </a:lnTo>
                      <a:lnTo>
                        <a:pt x="752" y="475"/>
                      </a:lnTo>
                      <a:lnTo>
                        <a:pt x="740" y="466"/>
                      </a:lnTo>
                      <a:lnTo>
                        <a:pt x="740" y="466"/>
                      </a:lnTo>
                      <a:lnTo>
                        <a:pt x="726" y="456"/>
                      </a:lnTo>
                      <a:lnTo>
                        <a:pt x="714" y="449"/>
                      </a:lnTo>
                      <a:lnTo>
                        <a:pt x="703" y="442"/>
                      </a:lnTo>
                      <a:lnTo>
                        <a:pt x="695" y="439"/>
                      </a:lnTo>
                      <a:lnTo>
                        <a:pt x="686" y="437"/>
                      </a:lnTo>
                      <a:lnTo>
                        <a:pt x="677" y="437"/>
                      </a:lnTo>
                      <a:lnTo>
                        <a:pt x="661" y="435"/>
                      </a:lnTo>
                      <a:lnTo>
                        <a:pt x="661" y="435"/>
                      </a:lnTo>
                      <a:lnTo>
                        <a:pt x="648" y="435"/>
                      </a:lnTo>
                      <a:lnTo>
                        <a:pt x="637" y="432"/>
                      </a:lnTo>
                      <a:lnTo>
                        <a:pt x="614" y="426"/>
                      </a:lnTo>
                      <a:lnTo>
                        <a:pt x="614" y="426"/>
                      </a:lnTo>
                      <a:lnTo>
                        <a:pt x="609" y="425"/>
                      </a:lnTo>
                      <a:lnTo>
                        <a:pt x="604" y="423"/>
                      </a:lnTo>
                      <a:lnTo>
                        <a:pt x="602" y="419"/>
                      </a:lnTo>
                      <a:lnTo>
                        <a:pt x="601" y="416"/>
                      </a:lnTo>
                      <a:lnTo>
                        <a:pt x="599" y="407"/>
                      </a:lnTo>
                      <a:lnTo>
                        <a:pt x="602" y="398"/>
                      </a:lnTo>
                      <a:lnTo>
                        <a:pt x="602" y="398"/>
                      </a:lnTo>
                      <a:lnTo>
                        <a:pt x="607" y="386"/>
                      </a:lnTo>
                      <a:lnTo>
                        <a:pt x="607" y="379"/>
                      </a:lnTo>
                      <a:lnTo>
                        <a:pt x="606" y="372"/>
                      </a:lnTo>
                      <a:lnTo>
                        <a:pt x="607" y="358"/>
                      </a:lnTo>
                      <a:lnTo>
                        <a:pt x="607" y="358"/>
                      </a:lnTo>
                      <a:lnTo>
                        <a:pt x="607" y="350"/>
                      </a:lnTo>
                      <a:lnTo>
                        <a:pt x="606" y="339"/>
                      </a:lnTo>
                      <a:lnTo>
                        <a:pt x="601" y="331"/>
                      </a:lnTo>
                      <a:lnTo>
                        <a:pt x="595" y="322"/>
                      </a:lnTo>
                      <a:lnTo>
                        <a:pt x="585" y="304"/>
                      </a:lnTo>
                      <a:lnTo>
                        <a:pt x="580" y="299"/>
                      </a:lnTo>
                      <a:lnTo>
                        <a:pt x="578" y="294"/>
                      </a:lnTo>
                      <a:lnTo>
                        <a:pt x="578" y="294"/>
                      </a:lnTo>
                      <a:lnTo>
                        <a:pt x="576" y="291"/>
                      </a:lnTo>
                      <a:lnTo>
                        <a:pt x="574" y="291"/>
                      </a:lnTo>
                      <a:lnTo>
                        <a:pt x="571" y="292"/>
                      </a:lnTo>
                      <a:lnTo>
                        <a:pt x="567" y="292"/>
                      </a:lnTo>
                      <a:lnTo>
                        <a:pt x="566" y="294"/>
                      </a:lnTo>
                      <a:lnTo>
                        <a:pt x="562" y="292"/>
                      </a:lnTo>
                      <a:lnTo>
                        <a:pt x="560" y="289"/>
                      </a:lnTo>
                      <a:lnTo>
                        <a:pt x="560" y="289"/>
                      </a:lnTo>
                      <a:lnTo>
                        <a:pt x="559" y="284"/>
                      </a:lnTo>
                      <a:lnTo>
                        <a:pt x="557" y="284"/>
                      </a:lnTo>
                      <a:lnTo>
                        <a:pt x="552" y="284"/>
                      </a:lnTo>
                      <a:lnTo>
                        <a:pt x="545" y="285"/>
                      </a:lnTo>
                      <a:lnTo>
                        <a:pt x="540" y="284"/>
                      </a:lnTo>
                      <a:lnTo>
                        <a:pt x="534" y="282"/>
                      </a:lnTo>
                      <a:lnTo>
                        <a:pt x="534" y="282"/>
                      </a:lnTo>
                      <a:lnTo>
                        <a:pt x="522" y="270"/>
                      </a:lnTo>
                      <a:lnTo>
                        <a:pt x="508" y="257"/>
                      </a:lnTo>
                      <a:lnTo>
                        <a:pt x="505" y="249"/>
                      </a:lnTo>
                      <a:lnTo>
                        <a:pt x="501" y="242"/>
                      </a:lnTo>
                      <a:lnTo>
                        <a:pt x="500" y="233"/>
                      </a:lnTo>
                      <a:lnTo>
                        <a:pt x="500" y="226"/>
                      </a:lnTo>
                      <a:lnTo>
                        <a:pt x="482" y="231"/>
                      </a:lnTo>
                      <a:lnTo>
                        <a:pt x="482" y="231"/>
                      </a:lnTo>
                      <a:lnTo>
                        <a:pt x="470" y="231"/>
                      </a:lnTo>
                      <a:lnTo>
                        <a:pt x="465" y="233"/>
                      </a:lnTo>
                      <a:lnTo>
                        <a:pt x="461" y="237"/>
                      </a:lnTo>
                      <a:lnTo>
                        <a:pt x="461" y="242"/>
                      </a:lnTo>
                      <a:lnTo>
                        <a:pt x="461" y="247"/>
                      </a:lnTo>
                      <a:lnTo>
                        <a:pt x="459" y="252"/>
                      </a:lnTo>
                      <a:lnTo>
                        <a:pt x="454" y="257"/>
                      </a:lnTo>
                      <a:lnTo>
                        <a:pt x="444" y="261"/>
                      </a:lnTo>
                      <a:lnTo>
                        <a:pt x="444" y="261"/>
                      </a:lnTo>
                      <a:lnTo>
                        <a:pt x="433" y="266"/>
                      </a:lnTo>
                      <a:lnTo>
                        <a:pt x="425" y="271"/>
                      </a:lnTo>
                      <a:lnTo>
                        <a:pt x="421" y="277"/>
                      </a:lnTo>
                      <a:lnTo>
                        <a:pt x="418" y="285"/>
                      </a:lnTo>
                      <a:lnTo>
                        <a:pt x="418" y="292"/>
                      </a:lnTo>
                      <a:lnTo>
                        <a:pt x="418" y="299"/>
                      </a:lnTo>
                      <a:lnTo>
                        <a:pt x="421" y="313"/>
                      </a:lnTo>
                      <a:lnTo>
                        <a:pt x="421" y="313"/>
                      </a:lnTo>
                      <a:lnTo>
                        <a:pt x="423" y="322"/>
                      </a:lnTo>
                      <a:lnTo>
                        <a:pt x="423" y="327"/>
                      </a:lnTo>
                      <a:lnTo>
                        <a:pt x="419" y="331"/>
                      </a:lnTo>
                      <a:lnTo>
                        <a:pt x="412" y="336"/>
                      </a:lnTo>
                      <a:lnTo>
                        <a:pt x="402" y="341"/>
                      </a:lnTo>
                      <a:lnTo>
                        <a:pt x="402" y="341"/>
                      </a:lnTo>
                      <a:lnTo>
                        <a:pt x="397" y="343"/>
                      </a:lnTo>
                      <a:lnTo>
                        <a:pt x="393" y="343"/>
                      </a:lnTo>
                      <a:lnTo>
                        <a:pt x="390" y="341"/>
                      </a:lnTo>
                      <a:lnTo>
                        <a:pt x="388" y="339"/>
                      </a:lnTo>
                      <a:lnTo>
                        <a:pt x="386" y="338"/>
                      </a:lnTo>
                      <a:lnTo>
                        <a:pt x="383" y="336"/>
                      </a:lnTo>
                      <a:lnTo>
                        <a:pt x="379" y="336"/>
                      </a:lnTo>
                      <a:lnTo>
                        <a:pt x="374" y="336"/>
                      </a:lnTo>
                      <a:lnTo>
                        <a:pt x="374" y="336"/>
                      </a:lnTo>
                      <a:lnTo>
                        <a:pt x="365" y="338"/>
                      </a:lnTo>
                      <a:lnTo>
                        <a:pt x="358" y="336"/>
                      </a:lnTo>
                      <a:lnTo>
                        <a:pt x="345" y="329"/>
                      </a:lnTo>
                      <a:lnTo>
                        <a:pt x="339" y="327"/>
                      </a:lnTo>
                      <a:lnTo>
                        <a:pt x="334" y="325"/>
                      </a:lnTo>
                      <a:lnTo>
                        <a:pt x="331" y="327"/>
                      </a:lnTo>
                      <a:lnTo>
                        <a:pt x="329" y="331"/>
                      </a:lnTo>
                      <a:lnTo>
                        <a:pt x="329" y="331"/>
                      </a:lnTo>
                      <a:lnTo>
                        <a:pt x="325" y="348"/>
                      </a:lnTo>
                      <a:lnTo>
                        <a:pt x="320" y="365"/>
                      </a:lnTo>
                      <a:lnTo>
                        <a:pt x="315" y="385"/>
                      </a:lnTo>
                      <a:lnTo>
                        <a:pt x="308" y="398"/>
                      </a:lnTo>
                      <a:lnTo>
                        <a:pt x="308" y="398"/>
                      </a:lnTo>
                      <a:lnTo>
                        <a:pt x="306" y="404"/>
                      </a:lnTo>
                      <a:lnTo>
                        <a:pt x="306" y="407"/>
                      </a:lnTo>
                      <a:lnTo>
                        <a:pt x="308" y="409"/>
                      </a:lnTo>
                      <a:lnTo>
                        <a:pt x="311" y="411"/>
                      </a:lnTo>
                      <a:lnTo>
                        <a:pt x="315" y="414"/>
                      </a:lnTo>
                      <a:lnTo>
                        <a:pt x="317" y="418"/>
                      </a:lnTo>
                      <a:lnTo>
                        <a:pt x="317" y="421"/>
                      </a:lnTo>
                      <a:lnTo>
                        <a:pt x="317" y="421"/>
                      </a:lnTo>
                      <a:lnTo>
                        <a:pt x="315" y="426"/>
                      </a:lnTo>
                      <a:lnTo>
                        <a:pt x="311" y="428"/>
                      </a:lnTo>
                      <a:lnTo>
                        <a:pt x="308" y="430"/>
                      </a:lnTo>
                      <a:lnTo>
                        <a:pt x="305" y="430"/>
                      </a:lnTo>
                      <a:lnTo>
                        <a:pt x="296" y="426"/>
                      </a:lnTo>
                      <a:lnTo>
                        <a:pt x="287" y="423"/>
                      </a:lnTo>
                      <a:lnTo>
                        <a:pt x="287" y="423"/>
                      </a:lnTo>
                      <a:lnTo>
                        <a:pt x="282" y="421"/>
                      </a:lnTo>
                      <a:lnTo>
                        <a:pt x="277" y="421"/>
                      </a:lnTo>
                      <a:lnTo>
                        <a:pt x="263" y="425"/>
                      </a:lnTo>
                      <a:lnTo>
                        <a:pt x="231" y="435"/>
                      </a:lnTo>
                      <a:lnTo>
                        <a:pt x="231" y="435"/>
                      </a:lnTo>
                      <a:lnTo>
                        <a:pt x="223" y="437"/>
                      </a:lnTo>
                      <a:lnTo>
                        <a:pt x="219" y="440"/>
                      </a:lnTo>
                      <a:lnTo>
                        <a:pt x="223" y="442"/>
                      </a:lnTo>
                      <a:lnTo>
                        <a:pt x="226" y="444"/>
                      </a:lnTo>
                      <a:lnTo>
                        <a:pt x="237" y="449"/>
                      </a:lnTo>
                      <a:lnTo>
                        <a:pt x="240" y="452"/>
                      </a:lnTo>
                      <a:lnTo>
                        <a:pt x="240" y="454"/>
                      </a:lnTo>
                      <a:lnTo>
                        <a:pt x="238" y="456"/>
                      </a:lnTo>
                      <a:lnTo>
                        <a:pt x="238" y="456"/>
                      </a:lnTo>
                      <a:lnTo>
                        <a:pt x="237" y="459"/>
                      </a:lnTo>
                      <a:lnTo>
                        <a:pt x="237" y="463"/>
                      </a:lnTo>
                      <a:lnTo>
                        <a:pt x="238" y="472"/>
                      </a:lnTo>
                      <a:lnTo>
                        <a:pt x="245" y="494"/>
                      </a:lnTo>
                      <a:lnTo>
                        <a:pt x="249" y="505"/>
                      </a:lnTo>
                      <a:lnTo>
                        <a:pt x="251" y="513"/>
                      </a:lnTo>
                      <a:lnTo>
                        <a:pt x="251" y="522"/>
                      </a:lnTo>
                      <a:lnTo>
                        <a:pt x="249" y="524"/>
                      </a:lnTo>
                      <a:lnTo>
                        <a:pt x="247" y="526"/>
                      </a:lnTo>
                      <a:lnTo>
                        <a:pt x="247" y="526"/>
                      </a:lnTo>
                      <a:lnTo>
                        <a:pt x="244" y="529"/>
                      </a:lnTo>
                      <a:lnTo>
                        <a:pt x="242" y="531"/>
                      </a:lnTo>
                      <a:lnTo>
                        <a:pt x="242" y="534"/>
                      </a:lnTo>
                      <a:lnTo>
                        <a:pt x="242" y="536"/>
                      </a:lnTo>
                      <a:lnTo>
                        <a:pt x="244" y="539"/>
                      </a:lnTo>
                      <a:lnTo>
                        <a:pt x="242" y="541"/>
                      </a:lnTo>
                      <a:lnTo>
                        <a:pt x="238" y="543"/>
                      </a:lnTo>
                      <a:lnTo>
                        <a:pt x="238" y="543"/>
                      </a:lnTo>
                      <a:lnTo>
                        <a:pt x="235" y="545"/>
                      </a:lnTo>
                      <a:lnTo>
                        <a:pt x="233" y="548"/>
                      </a:lnTo>
                      <a:lnTo>
                        <a:pt x="235" y="559"/>
                      </a:lnTo>
                      <a:lnTo>
                        <a:pt x="237" y="567"/>
                      </a:lnTo>
                      <a:lnTo>
                        <a:pt x="237" y="573"/>
                      </a:lnTo>
                      <a:lnTo>
                        <a:pt x="235" y="576"/>
                      </a:lnTo>
                      <a:lnTo>
                        <a:pt x="235" y="576"/>
                      </a:lnTo>
                      <a:lnTo>
                        <a:pt x="230" y="581"/>
                      </a:lnTo>
                      <a:lnTo>
                        <a:pt x="226" y="583"/>
                      </a:lnTo>
                      <a:lnTo>
                        <a:pt x="223" y="585"/>
                      </a:lnTo>
                      <a:lnTo>
                        <a:pt x="216" y="588"/>
                      </a:lnTo>
                      <a:lnTo>
                        <a:pt x="216" y="588"/>
                      </a:lnTo>
                      <a:lnTo>
                        <a:pt x="212" y="592"/>
                      </a:lnTo>
                      <a:lnTo>
                        <a:pt x="205" y="593"/>
                      </a:lnTo>
                      <a:lnTo>
                        <a:pt x="190" y="600"/>
                      </a:lnTo>
                      <a:lnTo>
                        <a:pt x="183" y="602"/>
                      </a:lnTo>
                      <a:lnTo>
                        <a:pt x="176" y="607"/>
                      </a:lnTo>
                      <a:lnTo>
                        <a:pt x="170" y="613"/>
                      </a:lnTo>
                      <a:lnTo>
                        <a:pt x="167" y="618"/>
                      </a:lnTo>
                      <a:lnTo>
                        <a:pt x="167" y="618"/>
                      </a:lnTo>
                      <a:lnTo>
                        <a:pt x="165" y="623"/>
                      </a:lnTo>
                      <a:lnTo>
                        <a:pt x="162" y="627"/>
                      </a:lnTo>
                      <a:lnTo>
                        <a:pt x="155" y="630"/>
                      </a:lnTo>
                      <a:lnTo>
                        <a:pt x="148" y="632"/>
                      </a:lnTo>
                      <a:lnTo>
                        <a:pt x="139" y="632"/>
                      </a:lnTo>
                      <a:lnTo>
                        <a:pt x="130" y="630"/>
                      </a:lnTo>
                      <a:lnTo>
                        <a:pt x="122" y="630"/>
                      </a:lnTo>
                      <a:lnTo>
                        <a:pt x="115" y="634"/>
                      </a:lnTo>
                      <a:lnTo>
                        <a:pt x="111" y="635"/>
                      </a:lnTo>
                      <a:lnTo>
                        <a:pt x="109" y="639"/>
                      </a:lnTo>
                      <a:lnTo>
                        <a:pt x="109" y="639"/>
                      </a:lnTo>
                      <a:lnTo>
                        <a:pt x="101" y="658"/>
                      </a:lnTo>
                      <a:lnTo>
                        <a:pt x="99" y="663"/>
                      </a:lnTo>
                      <a:lnTo>
                        <a:pt x="96" y="663"/>
                      </a:lnTo>
                      <a:lnTo>
                        <a:pt x="94" y="663"/>
                      </a:lnTo>
                      <a:lnTo>
                        <a:pt x="94" y="663"/>
                      </a:lnTo>
                      <a:lnTo>
                        <a:pt x="90" y="661"/>
                      </a:lnTo>
                      <a:lnTo>
                        <a:pt x="89" y="663"/>
                      </a:lnTo>
                      <a:lnTo>
                        <a:pt x="82" y="665"/>
                      </a:lnTo>
                      <a:lnTo>
                        <a:pt x="80" y="667"/>
                      </a:lnTo>
                      <a:lnTo>
                        <a:pt x="76" y="667"/>
                      </a:lnTo>
                      <a:lnTo>
                        <a:pt x="75" y="663"/>
                      </a:lnTo>
                      <a:lnTo>
                        <a:pt x="73" y="658"/>
                      </a:lnTo>
                      <a:lnTo>
                        <a:pt x="73" y="658"/>
                      </a:lnTo>
                      <a:lnTo>
                        <a:pt x="69" y="651"/>
                      </a:lnTo>
                      <a:lnTo>
                        <a:pt x="68" y="651"/>
                      </a:lnTo>
                      <a:lnTo>
                        <a:pt x="66" y="653"/>
                      </a:lnTo>
                      <a:lnTo>
                        <a:pt x="61" y="656"/>
                      </a:lnTo>
                      <a:lnTo>
                        <a:pt x="57" y="658"/>
                      </a:lnTo>
                      <a:lnTo>
                        <a:pt x="52" y="658"/>
                      </a:lnTo>
                      <a:lnTo>
                        <a:pt x="52" y="658"/>
                      </a:lnTo>
                      <a:lnTo>
                        <a:pt x="47" y="656"/>
                      </a:lnTo>
                      <a:lnTo>
                        <a:pt x="45" y="658"/>
                      </a:lnTo>
                      <a:lnTo>
                        <a:pt x="43" y="661"/>
                      </a:lnTo>
                      <a:lnTo>
                        <a:pt x="42" y="665"/>
                      </a:lnTo>
                      <a:lnTo>
                        <a:pt x="38" y="668"/>
                      </a:lnTo>
                      <a:lnTo>
                        <a:pt x="33" y="672"/>
                      </a:lnTo>
                      <a:lnTo>
                        <a:pt x="26" y="675"/>
                      </a:lnTo>
                      <a:lnTo>
                        <a:pt x="26" y="675"/>
                      </a:lnTo>
                      <a:lnTo>
                        <a:pt x="15" y="679"/>
                      </a:lnTo>
                      <a:lnTo>
                        <a:pt x="10" y="684"/>
                      </a:lnTo>
                      <a:lnTo>
                        <a:pt x="10" y="687"/>
                      </a:lnTo>
                      <a:lnTo>
                        <a:pt x="10" y="693"/>
                      </a:lnTo>
                      <a:lnTo>
                        <a:pt x="12" y="696"/>
                      </a:lnTo>
                      <a:lnTo>
                        <a:pt x="12" y="700"/>
                      </a:lnTo>
                      <a:lnTo>
                        <a:pt x="8" y="703"/>
                      </a:lnTo>
                      <a:lnTo>
                        <a:pt x="2" y="707"/>
                      </a:lnTo>
                      <a:lnTo>
                        <a:pt x="2" y="707"/>
                      </a:lnTo>
                      <a:lnTo>
                        <a:pt x="0" y="712"/>
                      </a:lnTo>
                      <a:lnTo>
                        <a:pt x="2" y="717"/>
                      </a:lnTo>
                      <a:lnTo>
                        <a:pt x="3" y="722"/>
                      </a:lnTo>
                      <a:lnTo>
                        <a:pt x="7" y="728"/>
                      </a:lnTo>
                      <a:lnTo>
                        <a:pt x="7" y="729"/>
                      </a:lnTo>
                      <a:lnTo>
                        <a:pt x="7" y="733"/>
                      </a:lnTo>
                      <a:lnTo>
                        <a:pt x="7" y="733"/>
                      </a:lnTo>
                      <a:lnTo>
                        <a:pt x="5" y="736"/>
                      </a:lnTo>
                      <a:lnTo>
                        <a:pt x="5" y="740"/>
                      </a:lnTo>
                      <a:lnTo>
                        <a:pt x="8" y="747"/>
                      </a:lnTo>
                      <a:lnTo>
                        <a:pt x="10" y="748"/>
                      </a:lnTo>
                      <a:lnTo>
                        <a:pt x="12" y="750"/>
                      </a:lnTo>
                      <a:lnTo>
                        <a:pt x="15" y="750"/>
                      </a:lnTo>
                      <a:lnTo>
                        <a:pt x="15" y="747"/>
                      </a:lnTo>
                      <a:lnTo>
                        <a:pt x="15" y="747"/>
                      </a:lnTo>
                      <a:lnTo>
                        <a:pt x="17" y="743"/>
                      </a:lnTo>
                      <a:lnTo>
                        <a:pt x="21" y="743"/>
                      </a:lnTo>
                      <a:lnTo>
                        <a:pt x="28" y="743"/>
                      </a:lnTo>
                      <a:lnTo>
                        <a:pt x="35" y="747"/>
                      </a:lnTo>
                      <a:lnTo>
                        <a:pt x="40" y="750"/>
                      </a:lnTo>
                      <a:lnTo>
                        <a:pt x="40" y="750"/>
                      </a:lnTo>
                      <a:lnTo>
                        <a:pt x="42" y="754"/>
                      </a:lnTo>
                      <a:lnTo>
                        <a:pt x="42" y="755"/>
                      </a:lnTo>
                      <a:lnTo>
                        <a:pt x="42" y="761"/>
                      </a:lnTo>
                      <a:lnTo>
                        <a:pt x="42" y="768"/>
                      </a:lnTo>
                      <a:lnTo>
                        <a:pt x="42" y="769"/>
                      </a:lnTo>
                      <a:lnTo>
                        <a:pt x="43" y="771"/>
                      </a:lnTo>
                      <a:lnTo>
                        <a:pt x="43" y="771"/>
                      </a:lnTo>
                      <a:lnTo>
                        <a:pt x="45" y="775"/>
                      </a:lnTo>
                      <a:lnTo>
                        <a:pt x="47" y="778"/>
                      </a:lnTo>
                      <a:lnTo>
                        <a:pt x="45" y="785"/>
                      </a:lnTo>
                      <a:lnTo>
                        <a:pt x="45" y="792"/>
                      </a:lnTo>
                      <a:lnTo>
                        <a:pt x="45" y="795"/>
                      </a:lnTo>
                      <a:lnTo>
                        <a:pt x="49" y="799"/>
                      </a:lnTo>
                      <a:lnTo>
                        <a:pt x="49" y="799"/>
                      </a:lnTo>
                      <a:lnTo>
                        <a:pt x="52" y="804"/>
                      </a:lnTo>
                      <a:lnTo>
                        <a:pt x="52" y="806"/>
                      </a:lnTo>
                      <a:lnTo>
                        <a:pt x="52" y="809"/>
                      </a:lnTo>
                      <a:lnTo>
                        <a:pt x="47" y="811"/>
                      </a:lnTo>
                      <a:lnTo>
                        <a:pt x="40" y="811"/>
                      </a:lnTo>
                      <a:lnTo>
                        <a:pt x="40" y="811"/>
                      </a:lnTo>
                      <a:lnTo>
                        <a:pt x="31" y="811"/>
                      </a:lnTo>
                      <a:lnTo>
                        <a:pt x="29" y="811"/>
                      </a:lnTo>
                      <a:lnTo>
                        <a:pt x="28" y="813"/>
                      </a:lnTo>
                      <a:lnTo>
                        <a:pt x="29" y="816"/>
                      </a:lnTo>
                      <a:lnTo>
                        <a:pt x="31" y="820"/>
                      </a:lnTo>
                      <a:lnTo>
                        <a:pt x="31" y="820"/>
                      </a:lnTo>
                      <a:lnTo>
                        <a:pt x="36" y="822"/>
                      </a:lnTo>
                      <a:lnTo>
                        <a:pt x="42" y="823"/>
                      </a:lnTo>
                      <a:lnTo>
                        <a:pt x="50" y="823"/>
                      </a:lnTo>
                      <a:lnTo>
                        <a:pt x="57" y="823"/>
                      </a:lnTo>
                      <a:lnTo>
                        <a:pt x="61" y="827"/>
                      </a:lnTo>
                      <a:lnTo>
                        <a:pt x="62" y="830"/>
                      </a:lnTo>
                      <a:lnTo>
                        <a:pt x="62" y="830"/>
                      </a:lnTo>
                      <a:lnTo>
                        <a:pt x="64" y="832"/>
                      </a:lnTo>
                      <a:lnTo>
                        <a:pt x="66" y="834"/>
                      </a:lnTo>
                      <a:lnTo>
                        <a:pt x="69" y="834"/>
                      </a:lnTo>
                      <a:lnTo>
                        <a:pt x="71" y="834"/>
                      </a:lnTo>
                      <a:lnTo>
                        <a:pt x="75" y="835"/>
                      </a:lnTo>
                      <a:lnTo>
                        <a:pt x="76" y="839"/>
                      </a:lnTo>
                      <a:lnTo>
                        <a:pt x="82" y="844"/>
                      </a:lnTo>
                      <a:lnTo>
                        <a:pt x="82" y="844"/>
                      </a:lnTo>
                      <a:lnTo>
                        <a:pt x="83" y="849"/>
                      </a:lnTo>
                      <a:lnTo>
                        <a:pt x="85" y="855"/>
                      </a:lnTo>
                      <a:lnTo>
                        <a:pt x="85" y="856"/>
                      </a:lnTo>
                      <a:lnTo>
                        <a:pt x="83" y="858"/>
                      </a:lnTo>
                      <a:lnTo>
                        <a:pt x="82" y="862"/>
                      </a:lnTo>
                      <a:lnTo>
                        <a:pt x="82" y="865"/>
                      </a:lnTo>
                      <a:lnTo>
                        <a:pt x="83" y="869"/>
                      </a:lnTo>
                      <a:lnTo>
                        <a:pt x="83" y="869"/>
                      </a:lnTo>
                      <a:lnTo>
                        <a:pt x="87" y="874"/>
                      </a:lnTo>
                      <a:lnTo>
                        <a:pt x="90" y="877"/>
                      </a:lnTo>
                      <a:lnTo>
                        <a:pt x="94" y="877"/>
                      </a:lnTo>
                      <a:lnTo>
                        <a:pt x="97" y="877"/>
                      </a:lnTo>
                      <a:lnTo>
                        <a:pt x="101" y="876"/>
                      </a:lnTo>
                      <a:lnTo>
                        <a:pt x="103" y="876"/>
                      </a:lnTo>
                      <a:lnTo>
                        <a:pt x="104" y="877"/>
                      </a:lnTo>
                      <a:lnTo>
                        <a:pt x="104" y="877"/>
                      </a:lnTo>
                      <a:lnTo>
                        <a:pt x="108" y="881"/>
                      </a:lnTo>
                      <a:lnTo>
                        <a:pt x="111" y="884"/>
                      </a:lnTo>
                      <a:lnTo>
                        <a:pt x="120" y="888"/>
                      </a:lnTo>
                      <a:lnTo>
                        <a:pt x="144" y="895"/>
                      </a:lnTo>
                      <a:lnTo>
                        <a:pt x="150" y="893"/>
                      </a:lnTo>
                      <a:lnTo>
                        <a:pt x="150" y="893"/>
                      </a:lnTo>
                      <a:lnTo>
                        <a:pt x="157" y="889"/>
                      </a:lnTo>
                      <a:lnTo>
                        <a:pt x="162" y="888"/>
                      </a:lnTo>
                      <a:lnTo>
                        <a:pt x="169" y="882"/>
                      </a:lnTo>
                      <a:lnTo>
                        <a:pt x="176" y="877"/>
                      </a:lnTo>
                      <a:lnTo>
                        <a:pt x="183" y="876"/>
                      </a:lnTo>
                      <a:lnTo>
                        <a:pt x="191" y="872"/>
                      </a:lnTo>
                      <a:lnTo>
                        <a:pt x="191" y="872"/>
                      </a:lnTo>
                      <a:lnTo>
                        <a:pt x="200" y="872"/>
                      </a:lnTo>
                      <a:lnTo>
                        <a:pt x="205" y="874"/>
                      </a:lnTo>
                      <a:lnTo>
                        <a:pt x="209" y="877"/>
                      </a:lnTo>
                      <a:lnTo>
                        <a:pt x="212" y="881"/>
                      </a:lnTo>
                      <a:lnTo>
                        <a:pt x="216" y="888"/>
                      </a:lnTo>
                      <a:lnTo>
                        <a:pt x="217" y="889"/>
                      </a:lnTo>
                      <a:lnTo>
                        <a:pt x="221" y="888"/>
                      </a:lnTo>
                      <a:lnTo>
                        <a:pt x="221" y="888"/>
                      </a:lnTo>
                      <a:lnTo>
                        <a:pt x="223" y="889"/>
                      </a:lnTo>
                      <a:lnTo>
                        <a:pt x="224" y="893"/>
                      </a:lnTo>
                      <a:lnTo>
                        <a:pt x="226" y="896"/>
                      </a:lnTo>
                      <a:lnTo>
                        <a:pt x="228" y="896"/>
                      </a:lnTo>
                      <a:lnTo>
                        <a:pt x="230" y="895"/>
                      </a:lnTo>
                      <a:lnTo>
                        <a:pt x="230" y="895"/>
                      </a:lnTo>
                      <a:lnTo>
                        <a:pt x="233" y="891"/>
                      </a:lnTo>
                      <a:lnTo>
                        <a:pt x="237" y="891"/>
                      </a:lnTo>
                      <a:lnTo>
                        <a:pt x="237" y="893"/>
                      </a:lnTo>
                      <a:lnTo>
                        <a:pt x="238" y="896"/>
                      </a:lnTo>
                      <a:lnTo>
                        <a:pt x="237" y="900"/>
                      </a:lnTo>
                      <a:lnTo>
                        <a:pt x="235" y="905"/>
                      </a:lnTo>
                      <a:lnTo>
                        <a:pt x="235" y="905"/>
                      </a:lnTo>
                      <a:lnTo>
                        <a:pt x="233" y="910"/>
                      </a:lnTo>
                      <a:lnTo>
                        <a:pt x="231" y="914"/>
                      </a:lnTo>
                      <a:lnTo>
                        <a:pt x="233" y="919"/>
                      </a:lnTo>
                      <a:lnTo>
                        <a:pt x="231" y="923"/>
                      </a:lnTo>
                      <a:lnTo>
                        <a:pt x="231" y="926"/>
                      </a:lnTo>
                      <a:lnTo>
                        <a:pt x="228" y="929"/>
                      </a:lnTo>
                      <a:lnTo>
                        <a:pt x="223" y="933"/>
                      </a:lnTo>
                      <a:lnTo>
                        <a:pt x="223" y="933"/>
                      </a:lnTo>
                      <a:lnTo>
                        <a:pt x="216" y="940"/>
                      </a:lnTo>
                      <a:lnTo>
                        <a:pt x="210" y="945"/>
                      </a:lnTo>
                      <a:lnTo>
                        <a:pt x="209" y="950"/>
                      </a:lnTo>
                      <a:lnTo>
                        <a:pt x="209" y="954"/>
                      </a:lnTo>
                      <a:lnTo>
                        <a:pt x="209" y="957"/>
                      </a:lnTo>
                      <a:lnTo>
                        <a:pt x="207" y="959"/>
                      </a:lnTo>
                      <a:lnTo>
                        <a:pt x="204" y="961"/>
                      </a:lnTo>
                      <a:lnTo>
                        <a:pt x="197" y="963"/>
                      </a:lnTo>
                      <a:lnTo>
                        <a:pt x="197" y="963"/>
                      </a:lnTo>
                      <a:lnTo>
                        <a:pt x="190" y="963"/>
                      </a:lnTo>
                      <a:lnTo>
                        <a:pt x="186" y="964"/>
                      </a:lnTo>
                      <a:lnTo>
                        <a:pt x="184" y="966"/>
                      </a:lnTo>
                      <a:lnTo>
                        <a:pt x="186" y="968"/>
                      </a:lnTo>
                      <a:lnTo>
                        <a:pt x="188" y="975"/>
                      </a:lnTo>
                      <a:lnTo>
                        <a:pt x="190" y="978"/>
                      </a:lnTo>
                      <a:lnTo>
                        <a:pt x="188" y="982"/>
                      </a:lnTo>
                      <a:lnTo>
                        <a:pt x="188" y="982"/>
                      </a:lnTo>
                      <a:lnTo>
                        <a:pt x="186" y="989"/>
                      </a:lnTo>
                      <a:lnTo>
                        <a:pt x="186" y="992"/>
                      </a:lnTo>
                      <a:lnTo>
                        <a:pt x="188" y="996"/>
                      </a:lnTo>
                      <a:lnTo>
                        <a:pt x="191" y="997"/>
                      </a:lnTo>
                      <a:lnTo>
                        <a:pt x="198" y="1001"/>
                      </a:lnTo>
                      <a:lnTo>
                        <a:pt x="202" y="1003"/>
                      </a:lnTo>
                      <a:lnTo>
                        <a:pt x="202" y="1004"/>
                      </a:lnTo>
                      <a:lnTo>
                        <a:pt x="202" y="1004"/>
                      </a:lnTo>
                      <a:lnTo>
                        <a:pt x="202" y="1008"/>
                      </a:lnTo>
                      <a:lnTo>
                        <a:pt x="204" y="1011"/>
                      </a:lnTo>
                      <a:lnTo>
                        <a:pt x="207" y="1018"/>
                      </a:lnTo>
                      <a:lnTo>
                        <a:pt x="207" y="1022"/>
                      </a:lnTo>
                      <a:lnTo>
                        <a:pt x="207" y="1025"/>
                      </a:lnTo>
                      <a:lnTo>
                        <a:pt x="205" y="1029"/>
                      </a:lnTo>
                      <a:lnTo>
                        <a:pt x="200" y="1032"/>
                      </a:lnTo>
                      <a:lnTo>
                        <a:pt x="200" y="1032"/>
                      </a:lnTo>
                      <a:lnTo>
                        <a:pt x="195" y="1036"/>
                      </a:lnTo>
                      <a:lnTo>
                        <a:pt x="191" y="1037"/>
                      </a:lnTo>
                      <a:lnTo>
                        <a:pt x="190" y="1039"/>
                      </a:lnTo>
                      <a:lnTo>
                        <a:pt x="188" y="1039"/>
                      </a:lnTo>
                      <a:lnTo>
                        <a:pt x="183" y="1032"/>
                      </a:lnTo>
                      <a:lnTo>
                        <a:pt x="183" y="1032"/>
                      </a:lnTo>
                      <a:lnTo>
                        <a:pt x="181" y="1030"/>
                      </a:lnTo>
                      <a:lnTo>
                        <a:pt x="177" y="1029"/>
                      </a:lnTo>
                      <a:lnTo>
                        <a:pt x="172" y="1029"/>
                      </a:lnTo>
                      <a:lnTo>
                        <a:pt x="170" y="1029"/>
                      </a:lnTo>
                      <a:lnTo>
                        <a:pt x="169" y="1030"/>
                      </a:lnTo>
                      <a:lnTo>
                        <a:pt x="169" y="1034"/>
                      </a:lnTo>
                      <a:lnTo>
                        <a:pt x="170" y="1037"/>
                      </a:lnTo>
                      <a:lnTo>
                        <a:pt x="170" y="1037"/>
                      </a:lnTo>
                      <a:lnTo>
                        <a:pt x="176" y="1046"/>
                      </a:lnTo>
                      <a:lnTo>
                        <a:pt x="179" y="1057"/>
                      </a:lnTo>
                      <a:lnTo>
                        <a:pt x="181" y="1067"/>
                      </a:lnTo>
                      <a:lnTo>
                        <a:pt x="181" y="1079"/>
                      </a:lnTo>
                      <a:lnTo>
                        <a:pt x="181" y="1079"/>
                      </a:lnTo>
                      <a:lnTo>
                        <a:pt x="181" y="1084"/>
                      </a:lnTo>
                      <a:lnTo>
                        <a:pt x="181" y="1086"/>
                      </a:lnTo>
                      <a:lnTo>
                        <a:pt x="183" y="1086"/>
                      </a:lnTo>
                      <a:lnTo>
                        <a:pt x="186" y="1084"/>
                      </a:lnTo>
                      <a:lnTo>
                        <a:pt x="188" y="1084"/>
                      </a:lnTo>
                      <a:lnTo>
                        <a:pt x="191" y="1083"/>
                      </a:lnTo>
                      <a:lnTo>
                        <a:pt x="195" y="1084"/>
                      </a:lnTo>
                      <a:lnTo>
                        <a:pt x="198" y="1090"/>
                      </a:lnTo>
                      <a:lnTo>
                        <a:pt x="198" y="1090"/>
                      </a:lnTo>
                      <a:lnTo>
                        <a:pt x="204" y="1097"/>
                      </a:lnTo>
                      <a:lnTo>
                        <a:pt x="207" y="1102"/>
                      </a:lnTo>
                      <a:lnTo>
                        <a:pt x="210" y="1104"/>
                      </a:lnTo>
                      <a:lnTo>
                        <a:pt x="214" y="1104"/>
                      </a:lnTo>
                      <a:lnTo>
                        <a:pt x="217" y="1102"/>
                      </a:lnTo>
                      <a:lnTo>
                        <a:pt x="221" y="1104"/>
                      </a:lnTo>
                      <a:lnTo>
                        <a:pt x="226" y="1107"/>
                      </a:lnTo>
                      <a:lnTo>
                        <a:pt x="226" y="1107"/>
                      </a:lnTo>
                      <a:lnTo>
                        <a:pt x="237" y="1118"/>
                      </a:lnTo>
                      <a:lnTo>
                        <a:pt x="247" y="1124"/>
                      </a:lnTo>
                      <a:lnTo>
                        <a:pt x="256" y="1131"/>
                      </a:lnTo>
                      <a:lnTo>
                        <a:pt x="259" y="1137"/>
                      </a:lnTo>
                      <a:lnTo>
                        <a:pt x="259" y="1137"/>
                      </a:lnTo>
                      <a:lnTo>
                        <a:pt x="263" y="1144"/>
                      </a:lnTo>
                      <a:lnTo>
                        <a:pt x="266" y="1145"/>
                      </a:lnTo>
                      <a:lnTo>
                        <a:pt x="268" y="1144"/>
                      </a:lnTo>
                      <a:lnTo>
                        <a:pt x="270" y="1140"/>
                      </a:lnTo>
                      <a:lnTo>
                        <a:pt x="271" y="1135"/>
                      </a:lnTo>
                      <a:lnTo>
                        <a:pt x="275" y="1131"/>
                      </a:lnTo>
                      <a:lnTo>
                        <a:pt x="280" y="1128"/>
                      </a:lnTo>
                      <a:lnTo>
                        <a:pt x="289" y="1128"/>
                      </a:lnTo>
                      <a:lnTo>
                        <a:pt x="289" y="1128"/>
                      </a:lnTo>
                      <a:lnTo>
                        <a:pt x="294" y="1130"/>
                      </a:lnTo>
                      <a:lnTo>
                        <a:pt x="298" y="1131"/>
                      </a:lnTo>
                      <a:lnTo>
                        <a:pt x="299" y="1135"/>
                      </a:lnTo>
                      <a:lnTo>
                        <a:pt x="299" y="1137"/>
                      </a:lnTo>
                      <a:lnTo>
                        <a:pt x="299" y="1142"/>
                      </a:lnTo>
                      <a:lnTo>
                        <a:pt x="301" y="1144"/>
                      </a:lnTo>
                      <a:lnTo>
                        <a:pt x="306" y="1145"/>
                      </a:lnTo>
                      <a:lnTo>
                        <a:pt x="306" y="1145"/>
                      </a:lnTo>
                      <a:lnTo>
                        <a:pt x="310" y="1147"/>
                      </a:lnTo>
                      <a:lnTo>
                        <a:pt x="313" y="1151"/>
                      </a:lnTo>
                      <a:lnTo>
                        <a:pt x="318" y="1156"/>
                      </a:lnTo>
                      <a:lnTo>
                        <a:pt x="322" y="1159"/>
                      </a:lnTo>
                      <a:lnTo>
                        <a:pt x="325" y="1161"/>
                      </a:lnTo>
                      <a:lnTo>
                        <a:pt x="331" y="1163"/>
                      </a:lnTo>
                      <a:lnTo>
                        <a:pt x="331" y="1163"/>
                      </a:lnTo>
                      <a:lnTo>
                        <a:pt x="334" y="1163"/>
                      </a:lnTo>
                      <a:lnTo>
                        <a:pt x="338" y="1166"/>
                      </a:lnTo>
                      <a:lnTo>
                        <a:pt x="345" y="1173"/>
                      </a:lnTo>
                      <a:lnTo>
                        <a:pt x="350" y="1180"/>
                      </a:lnTo>
                      <a:lnTo>
                        <a:pt x="352" y="1182"/>
                      </a:lnTo>
                      <a:lnTo>
                        <a:pt x="355" y="1182"/>
                      </a:lnTo>
                      <a:lnTo>
                        <a:pt x="355" y="1182"/>
                      </a:lnTo>
                      <a:lnTo>
                        <a:pt x="362" y="1180"/>
                      </a:lnTo>
                      <a:lnTo>
                        <a:pt x="367" y="1178"/>
                      </a:lnTo>
                      <a:lnTo>
                        <a:pt x="369" y="1180"/>
                      </a:lnTo>
                      <a:lnTo>
                        <a:pt x="371" y="1182"/>
                      </a:lnTo>
                      <a:lnTo>
                        <a:pt x="372" y="1187"/>
                      </a:lnTo>
                      <a:lnTo>
                        <a:pt x="372" y="1187"/>
                      </a:lnTo>
                      <a:lnTo>
                        <a:pt x="372" y="1192"/>
                      </a:lnTo>
                      <a:lnTo>
                        <a:pt x="376" y="1198"/>
                      </a:lnTo>
                      <a:lnTo>
                        <a:pt x="385" y="1206"/>
                      </a:lnTo>
                      <a:lnTo>
                        <a:pt x="393" y="1212"/>
                      </a:lnTo>
                      <a:lnTo>
                        <a:pt x="397" y="1212"/>
                      </a:lnTo>
                      <a:lnTo>
                        <a:pt x="400" y="1212"/>
                      </a:lnTo>
                      <a:lnTo>
                        <a:pt x="400" y="1212"/>
                      </a:lnTo>
                      <a:lnTo>
                        <a:pt x="404" y="1208"/>
                      </a:lnTo>
                      <a:lnTo>
                        <a:pt x="405" y="1208"/>
                      </a:lnTo>
                      <a:lnTo>
                        <a:pt x="405" y="1210"/>
                      </a:lnTo>
                      <a:lnTo>
                        <a:pt x="404" y="1217"/>
                      </a:lnTo>
                      <a:lnTo>
                        <a:pt x="404" y="1217"/>
                      </a:lnTo>
                      <a:lnTo>
                        <a:pt x="402" y="1222"/>
                      </a:lnTo>
                      <a:lnTo>
                        <a:pt x="404" y="1224"/>
                      </a:lnTo>
                      <a:lnTo>
                        <a:pt x="405" y="1224"/>
                      </a:lnTo>
                      <a:lnTo>
                        <a:pt x="411" y="1224"/>
                      </a:lnTo>
                      <a:lnTo>
                        <a:pt x="418" y="1222"/>
                      </a:lnTo>
                      <a:lnTo>
                        <a:pt x="418" y="1222"/>
                      </a:lnTo>
                      <a:lnTo>
                        <a:pt x="421" y="1224"/>
                      </a:lnTo>
                      <a:lnTo>
                        <a:pt x="425" y="1225"/>
                      </a:lnTo>
                      <a:lnTo>
                        <a:pt x="428" y="1232"/>
                      </a:lnTo>
                      <a:lnTo>
                        <a:pt x="432" y="1239"/>
                      </a:lnTo>
                      <a:lnTo>
                        <a:pt x="433" y="1241"/>
                      </a:lnTo>
                      <a:lnTo>
                        <a:pt x="435" y="1241"/>
                      </a:lnTo>
                      <a:lnTo>
                        <a:pt x="435" y="1241"/>
                      </a:lnTo>
                      <a:lnTo>
                        <a:pt x="437" y="1241"/>
                      </a:lnTo>
                      <a:lnTo>
                        <a:pt x="439" y="1239"/>
                      </a:lnTo>
                      <a:lnTo>
                        <a:pt x="439" y="1232"/>
                      </a:lnTo>
                      <a:lnTo>
                        <a:pt x="439" y="1229"/>
                      </a:lnTo>
                      <a:lnTo>
                        <a:pt x="439" y="1229"/>
                      </a:lnTo>
                      <a:lnTo>
                        <a:pt x="442" y="1232"/>
                      </a:lnTo>
                      <a:lnTo>
                        <a:pt x="442" y="1232"/>
                      </a:lnTo>
                      <a:lnTo>
                        <a:pt x="446" y="1239"/>
                      </a:lnTo>
                      <a:lnTo>
                        <a:pt x="449" y="1241"/>
                      </a:lnTo>
                      <a:lnTo>
                        <a:pt x="453" y="1239"/>
                      </a:lnTo>
                      <a:lnTo>
                        <a:pt x="454" y="1234"/>
                      </a:lnTo>
                      <a:lnTo>
                        <a:pt x="454" y="1234"/>
                      </a:lnTo>
                      <a:lnTo>
                        <a:pt x="456" y="1232"/>
                      </a:lnTo>
                      <a:lnTo>
                        <a:pt x="459" y="1232"/>
                      </a:lnTo>
                      <a:lnTo>
                        <a:pt x="466" y="1238"/>
                      </a:lnTo>
                      <a:lnTo>
                        <a:pt x="475" y="1243"/>
                      </a:lnTo>
                      <a:lnTo>
                        <a:pt x="479" y="1245"/>
                      </a:lnTo>
                      <a:lnTo>
                        <a:pt x="482" y="1245"/>
                      </a:lnTo>
                      <a:lnTo>
                        <a:pt x="482" y="1245"/>
                      </a:lnTo>
                      <a:lnTo>
                        <a:pt x="489" y="1243"/>
                      </a:lnTo>
                      <a:lnTo>
                        <a:pt x="493" y="1245"/>
                      </a:lnTo>
                      <a:lnTo>
                        <a:pt x="494" y="1246"/>
                      </a:lnTo>
                      <a:lnTo>
                        <a:pt x="498" y="1245"/>
                      </a:lnTo>
                      <a:lnTo>
                        <a:pt x="498" y="1245"/>
                      </a:lnTo>
                      <a:lnTo>
                        <a:pt x="501" y="1241"/>
                      </a:lnTo>
                      <a:lnTo>
                        <a:pt x="505" y="1241"/>
                      </a:lnTo>
                      <a:lnTo>
                        <a:pt x="510" y="1243"/>
                      </a:lnTo>
                      <a:lnTo>
                        <a:pt x="510" y="1243"/>
                      </a:lnTo>
                      <a:lnTo>
                        <a:pt x="522" y="1236"/>
                      </a:lnTo>
                      <a:lnTo>
                        <a:pt x="531" y="1234"/>
                      </a:lnTo>
                      <a:lnTo>
                        <a:pt x="533" y="1234"/>
                      </a:lnTo>
                      <a:lnTo>
                        <a:pt x="534" y="1236"/>
                      </a:lnTo>
                      <a:lnTo>
                        <a:pt x="536" y="1239"/>
                      </a:lnTo>
                      <a:lnTo>
                        <a:pt x="534" y="1253"/>
                      </a:lnTo>
                      <a:lnTo>
                        <a:pt x="534" y="1260"/>
                      </a:lnTo>
                      <a:lnTo>
                        <a:pt x="536" y="1267"/>
                      </a:lnTo>
                      <a:lnTo>
                        <a:pt x="536" y="1267"/>
                      </a:lnTo>
                      <a:lnTo>
                        <a:pt x="540" y="1260"/>
                      </a:lnTo>
                      <a:lnTo>
                        <a:pt x="541" y="1259"/>
                      </a:lnTo>
                      <a:lnTo>
                        <a:pt x="545" y="1257"/>
                      </a:lnTo>
                      <a:lnTo>
                        <a:pt x="547" y="1250"/>
                      </a:lnTo>
                      <a:lnTo>
                        <a:pt x="547" y="1250"/>
                      </a:lnTo>
                      <a:lnTo>
                        <a:pt x="548" y="1245"/>
                      </a:lnTo>
                      <a:lnTo>
                        <a:pt x="552" y="1241"/>
                      </a:lnTo>
                      <a:lnTo>
                        <a:pt x="555" y="1239"/>
                      </a:lnTo>
                      <a:lnTo>
                        <a:pt x="560" y="1232"/>
                      </a:lnTo>
                      <a:lnTo>
                        <a:pt x="560" y="1232"/>
                      </a:lnTo>
                      <a:lnTo>
                        <a:pt x="564" y="1227"/>
                      </a:lnTo>
                      <a:lnTo>
                        <a:pt x="569" y="1224"/>
                      </a:lnTo>
                      <a:lnTo>
                        <a:pt x="574" y="1224"/>
                      </a:lnTo>
                      <a:lnTo>
                        <a:pt x="580" y="1222"/>
                      </a:lnTo>
                      <a:lnTo>
                        <a:pt x="585" y="1224"/>
                      </a:lnTo>
                      <a:lnTo>
                        <a:pt x="588" y="1225"/>
                      </a:lnTo>
                      <a:lnTo>
                        <a:pt x="590" y="1227"/>
                      </a:lnTo>
                      <a:lnTo>
                        <a:pt x="590" y="1231"/>
                      </a:lnTo>
                      <a:lnTo>
                        <a:pt x="590" y="1231"/>
                      </a:lnTo>
                      <a:lnTo>
                        <a:pt x="588" y="1232"/>
                      </a:lnTo>
                      <a:lnTo>
                        <a:pt x="590" y="1234"/>
                      </a:lnTo>
                      <a:lnTo>
                        <a:pt x="595" y="1234"/>
                      </a:lnTo>
                      <a:lnTo>
                        <a:pt x="604" y="1234"/>
                      </a:lnTo>
                      <a:lnTo>
                        <a:pt x="609" y="1236"/>
                      </a:lnTo>
                      <a:lnTo>
                        <a:pt x="609" y="1236"/>
                      </a:lnTo>
                      <a:lnTo>
                        <a:pt x="613" y="1236"/>
                      </a:lnTo>
                      <a:lnTo>
                        <a:pt x="616" y="1234"/>
                      </a:lnTo>
                      <a:lnTo>
                        <a:pt x="618" y="1232"/>
                      </a:lnTo>
                      <a:lnTo>
                        <a:pt x="621" y="1232"/>
                      </a:lnTo>
                      <a:lnTo>
                        <a:pt x="621" y="1232"/>
                      </a:lnTo>
                      <a:lnTo>
                        <a:pt x="630" y="1238"/>
                      </a:lnTo>
                      <a:lnTo>
                        <a:pt x="634" y="1241"/>
                      </a:lnTo>
                      <a:lnTo>
                        <a:pt x="632" y="1246"/>
                      </a:lnTo>
                      <a:lnTo>
                        <a:pt x="632" y="1246"/>
                      </a:lnTo>
                      <a:lnTo>
                        <a:pt x="648" y="1248"/>
                      </a:lnTo>
                      <a:lnTo>
                        <a:pt x="660" y="1245"/>
                      </a:lnTo>
                      <a:lnTo>
                        <a:pt x="665" y="1243"/>
                      </a:lnTo>
                      <a:lnTo>
                        <a:pt x="668" y="1241"/>
                      </a:lnTo>
                      <a:lnTo>
                        <a:pt x="670" y="1238"/>
                      </a:lnTo>
                      <a:lnTo>
                        <a:pt x="670" y="1234"/>
                      </a:lnTo>
                      <a:lnTo>
                        <a:pt x="670" y="1234"/>
                      </a:lnTo>
                      <a:lnTo>
                        <a:pt x="670" y="1231"/>
                      </a:lnTo>
                      <a:lnTo>
                        <a:pt x="672" y="1229"/>
                      </a:lnTo>
                      <a:lnTo>
                        <a:pt x="677" y="1225"/>
                      </a:lnTo>
                      <a:lnTo>
                        <a:pt x="682" y="1222"/>
                      </a:lnTo>
                      <a:lnTo>
                        <a:pt x="684" y="1219"/>
                      </a:lnTo>
                      <a:lnTo>
                        <a:pt x="686" y="1215"/>
                      </a:lnTo>
                      <a:lnTo>
                        <a:pt x="686" y="1215"/>
                      </a:lnTo>
                      <a:lnTo>
                        <a:pt x="688" y="1210"/>
                      </a:lnTo>
                      <a:lnTo>
                        <a:pt x="691" y="1208"/>
                      </a:lnTo>
                      <a:lnTo>
                        <a:pt x="698" y="1206"/>
                      </a:lnTo>
                      <a:lnTo>
                        <a:pt x="707" y="1203"/>
                      </a:lnTo>
                      <a:lnTo>
                        <a:pt x="712" y="1201"/>
                      </a:lnTo>
                      <a:lnTo>
                        <a:pt x="715" y="1196"/>
                      </a:lnTo>
                      <a:lnTo>
                        <a:pt x="715" y="1196"/>
                      </a:lnTo>
                      <a:lnTo>
                        <a:pt x="724" y="1187"/>
                      </a:lnTo>
                      <a:lnTo>
                        <a:pt x="731" y="1180"/>
                      </a:lnTo>
                      <a:lnTo>
                        <a:pt x="735" y="1180"/>
                      </a:lnTo>
                      <a:lnTo>
                        <a:pt x="738" y="1178"/>
                      </a:lnTo>
                      <a:lnTo>
                        <a:pt x="742" y="1180"/>
                      </a:lnTo>
                      <a:lnTo>
                        <a:pt x="745" y="1182"/>
                      </a:lnTo>
                      <a:lnTo>
                        <a:pt x="745" y="1182"/>
                      </a:lnTo>
                      <a:lnTo>
                        <a:pt x="754" y="1187"/>
                      </a:lnTo>
                      <a:lnTo>
                        <a:pt x="761" y="1189"/>
                      </a:lnTo>
                      <a:lnTo>
                        <a:pt x="766" y="1187"/>
                      </a:lnTo>
                      <a:lnTo>
                        <a:pt x="769" y="1184"/>
                      </a:lnTo>
                      <a:lnTo>
                        <a:pt x="769" y="1184"/>
                      </a:lnTo>
                      <a:lnTo>
                        <a:pt x="775" y="1177"/>
                      </a:lnTo>
                      <a:lnTo>
                        <a:pt x="780" y="1173"/>
                      </a:lnTo>
                      <a:lnTo>
                        <a:pt x="787" y="1171"/>
                      </a:lnTo>
                      <a:lnTo>
                        <a:pt x="790" y="1173"/>
                      </a:lnTo>
                      <a:lnTo>
                        <a:pt x="792" y="1175"/>
                      </a:lnTo>
                      <a:lnTo>
                        <a:pt x="792" y="1175"/>
                      </a:lnTo>
                      <a:lnTo>
                        <a:pt x="794" y="1178"/>
                      </a:lnTo>
                      <a:lnTo>
                        <a:pt x="796" y="1178"/>
                      </a:lnTo>
                      <a:lnTo>
                        <a:pt x="797" y="1178"/>
                      </a:lnTo>
                      <a:lnTo>
                        <a:pt x="799" y="1178"/>
                      </a:lnTo>
                      <a:lnTo>
                        <a:pt x="799" y="1180"/>
                      </a:lnTo>
                      <a:lnTo>
                        <a:pt x="796" y="1185"/>
                      </a:lnTo>
                      <a:lnTo>
                        <a:pt x="796" y="1185"/>
                      </a:lnTo>
                      <a:lnTo>
                        <a:pt x="792" y="1192"/>
                      </a:lnTo>
                      <a:lnTo>
                        <a:pt x="792" y="1192"/>
                      </a:lnTo>
                      <a:lnTo>
                        <a:pt x="794" y="1192"/>
                      </a:lnTo>
                      <a:lnTo>
                        <a:pt x="801" y="1192"/>
                      </a:lnTo>
                      <a:lnTo>
                        <a:pt x="804" y="1192"/>
                      </a:lnTo>
                      <a:lnTo>
                        <a:pt x="806" y="1196"/>
                      </a:lnTo>
                      <a:lnTo>
                        <a:pt x="806" y="1196"/>
                      </a:lnTo>
                      <a:lnTo>
                        <a:pt x="806" y="1203"/>
                      </a:lnTo>
                      <a:lnTo>
                        <a:pt x="804" y="1208"/>
                      </a:lnTo>
                      <a:lnTo>
                        <a:pt x="797" y="1215"/>
                      </a:lnTo>
                      <a:lnTo>
                        <a:pt x="794" y="1217"/>
                      </a:lnTo>
                      <a:lnTo>
                        <a:pt x="794" y="1219"/>
                      </a:lnTo>
                      <a:lnTo>
                        <a:pt x="802" y="1219"/>
                      </a:lnTo>
                      <a:lnTo>
                        <a:pt x="802" y="1219"/>
                      </a:lnTo>
                      <a:lnTo>
                        <a:pt x="816" y="1219"/>
                      </a:lnTo>
                      <a:lnTo>
                        <a:pt x="823" y="1220"/>
                      </a:lnTo>
                      <a:lnTo>
                        <a:pt x="829" y="1224"/>
                      </a:lnTo>
                      <a:lnTo>
                        <a:pt x="832" y="1227"/>
                      </a:lnTo>
                      <a:lnTo>
                        <a:pt x="832" y="1227"/>
                      </a:lnTo>
                      <a:lnTo>
                        <a:pt x="836" y="1220"/>
                      </a:lnTo>
                      <a:lnTo>
                        <a:pt x="837" y="1215"/>
                      </a:lnTo>
                      <a:lnTo>
                        <a:pt x="839" y="1213"/>
                      </a:lnTo>
                      <a:lnTo>
                        <a:pt x="843" y="1213"/>
                      </a:lnTo>
                      <a:lnTo>
                        <a:pt x="846" y="1215"/>
                      </a:lnTo>
                      <a:lnTo>
                        <a:pt x="851" y="1219"/>
                      </a:lnTo>
                      <a:lnTo>
                        <a:pt x="851" y="1219"/>
                      </a:lnTo>
                      <a:lnTo>
                        <a:pt x="856" y="1225"/>
                      </a:lnTo>
                      <a:lnTo>
                        <a:pt x="860" y="1232"/>
                      </a:lnTo>
                      <a:lnTo>
                        <a:pt x="862" y="1238"/>
                      </a:lnTo>
                      <a:lnTo>
                        <a:pt x="863" y="1245"/>
                      </a:lnTo>
                      <a:lnTo>
                        <a:pt x="865" y="1253"/>
                      </a:lnTo>
                      <a:lnTo>
                        <a:pt x="867" y="1253"/>
                      </a:lnTo>
                      <a:lnTo>
                        <a:pt x="869" y="1253"/>
                      </a:lnTo>
                      <a:lnTo>
                        <a:pt x="869" y="1253"/>
                      </a:lnTo>
                      <a:lnTo>
                        <a:pt x="872" y="1252"/>
                      </a:lnTo>
                      <a:lnTo>
                        <a:pt x="876" y="1252"/>
                      </a:lnTo>
                      <a:lnTo>
                        <a:pt x="877" y="1253"/>
                      </a:lnTo>
                      <a:lnTo>
                        <a:pt x="881" y="1255"/>
                      </a:lnTo>
                      <a:lnTo>
                        <a:pt x="883" y="1264"/>
                      </a:lnTo>
                      <a:lnTo>
                        <a:pt x="881" y="1267"/>
                      </a:lnTo>
                      <a:lnTo>
                        <a:pt x="879" y="1271"/>
                      </a:lnTo>
                      <a:lnTo>
                        <a:pt x="879" y="1271"/>
                      </a:lnTo>
                      <a:lnTo>
                        <a:pt x="879" y="1274"/>
                      </a:lnTo>
                      <a:lnTo>
                        <a:pt x="879" y="1276"/>
                      </a:lnTo>
                      <a:lnTo>
                        <a:pt x="881" y="1281"/>
                      </a:lnTo>
                      <a:lnTo>
                        <a:pt x="883" y="1290"/>
                      </a:lnTo>
                      <a:lnTo>
                        <a:pt x="883" y="1297"/>
                      </a:lnTo>
                      <a:lnTo>
                        <a:pt x="881" y="1304"/>
                      </a:lnTo>
                      <a:lnTo>
                        <a:pt x="881" y="1304"/>
                      </a:lnTo>
                      <a:lnTo>
                        <a:pt x="879" y="1311"/>
                      </a:lnTo>
                      <a:lnTo>
                        <a:pt x="879" y="1318"/>
                      </a:lnTo>
                      <a:lnTo>
                        <a:pt x="881" y="1326"/>
                      </a:lnTo>
                      <a:lnTo>
                        <a:pt x="881" y="1332"/>
                      </a:lnTo>
                      <a:lnTo>
                        <a:pt x="881" y="1333"/>
                      </a:lnTo>
                      <a:lnTo>
                        <a:pt x="877" y="1335"/>
                      </a:lnTo>
                      <a:lnTo>
                        <a:pt x="877" y="1335"/>
                      </a:lnTo>
                      <a:lnTo>
                        <a:pt x="874" y="1335"/>
                      </a:lnTo>
                      <a:lnTo>
                        <a:pt x="872" y="1337"/>
                      </a:lnTo>
                      <a:lnTo>
                        <a:pt x="872" y="1342"/>
                      </a:lnTo>
                      <a:lnTo>
                        <a:pt x="870" y="1346"/>
                      </a:lnTo>
                      <a:lnTo>
                        <a:pt x="869" y="1346"/>
                      </a:lnTo>
                      <a:lnTo>
                        <a:pt x="865" y="1346"/>
                      </a:lnTo>
                      <a:lnTo>
                        <a:pt x="865" y="1346"/>
                      </a:lnTo>
                      <a:lnTo>
                        <a:pt x="863" y="1346"/>
                      </a:lnTo>
                      <a:lnTo>
                        <a:pt x="862" y="1346"/>
                      </a:lnTo>
                      <a:lnTo>
                        <a:pt x="860" y="1351"/>
                      </a:lnTo>
                      <a:lnTo>
                        <a:pt x="856" y="1356"/>
                      </a:lnTo>
                      <a:lnTo>
                        <a:pt x="855" y="1358"/>
                      </a:lnTo>
                      <a:lnTo>
                        <a:pt x="851" y="1360"/>
                      </a:lnTo>
                      <a:lnTo>
                        <a:pt x="851" y="1360"/>
                      </a:lnTo>
                      <a:lnTo>
                        <a:pt x="848" y="1361"/>
                      </a:lnTo>
                      <a:lnTo>
                        <a:pt x="846" y="1363"/>
                      </a:lnTo>
                      <a:lnTo>
                        <a:pt x="846" y="1370"/>
                      </a:lnTo>
                      <a:lnTo>
                        <a:pt x="848" y="1375"/>
                      </a:lnTo>
                      <a:lnTo>
                        <a:pt x="846" y="1379"/>
                      </a:lnTo>
                      <a:lnTo>
                        <a:pt x="844" y="1380"/>
                      </a:lnTo>
                      <a:lnTo>
                        <a:pt x="844" y="1380"/>
                      </a:lnTo>
                      <a:lnTo>
                        <a:pt x="839" y="1382"/>
                      </a:lnTo>
                      <a:lnTo>
                        <a:pt x="837" y="1386"/>
                      </a:lnTo>
                      <a:lnTo>
                        <a:pt x="839" y="1389"/>
                      </a:lnTo>
                      <a:lnTo>
                        <a:pt x="841" y="1394"/>
                      </a:lnTo>
                      <a:lnTo>
                        <a:pt x="846" y="1401"/>
                      </a:lnTo>
                      <a:lnTo>
                        <a:pt x="846" y="1405"/>
                      </a:lnTo>
                      <a:lnTo>
                        <a:pt x="846" y="1408"/>
                      </a:lnTo>
                      <a:lnTo>
                        <a:pt x="846" y="1408"/>
                      </a:lnTo>
                      <a:lnTo>
                        <a:pt x="841" y="1415"/>
                      </a:lnTo>
                      <a:lnTo>
                        <a:pt x="841" y="1419"/>
                      </a:lnTo>
                      <a:lnTo>
                        <a:pt x="843" y="1420"/>
                      </a:lnTo>
                      <a:lnTo>
                        <a:pt x="844" y="1420"/>
                      </a:lnTo>
                      <a:lnTo>
                        <a:pt x="851" y="1415"/>
                      </a:lnTo>
                      <a:lnTo>
                        <a:pt x="851" y="1415"/>
                      </a:lnTo>
                      <a:lnTo>
                        <a:pt x="856" y="1412"/>
                      </a:lnTo>
                      <a:lnTo>
                        <a:pt x="860" y="1410"/>
                      </a:lnTo>
                      <a:lnTo>
                        <a:pt x="867" y="1410"/>
                      </a:lnTo>
                      <a:lnTo>
                        <a:pt x="874" y="1412"/>
                      </a:lnTo>
                      <a:lnTo>
                        <a:pt x="877" y="1412"/>
                      </a:lnTo>
                      <a:lnTo>
                        <a:pt x="881" y="1410"/>
                      </a:lnTo>
                      <a:lnTo>
                        <a:pt x="881" y="1410"/>
                      </a:lnTo>
                      <a:lnTo>
                        <a:pt x="884" y="1408"/>
                      </a:lnTo>
                      <a:lnTo>
                        <a:pt x="884" y="1410"/>
                      </a:lnTo>
                      <a:lnTo>
                        <a:pt x="883" y="1414"/>
                      </a:lnTo>
                      <a:lnTo>
                        <a:pt x="881" y="1422"/>
                      </a:lnTo>
                      <a:lnTo>
                        <a:pt x="881" y="1426"/>
                      </a:lnTo>
                      <a:lnTo>
                        <a:pt x="881" y="1431"/>
                      </a:lnTo>
                      <a:lnTo>
                        <a:pt x="881" y="1431"/>
                      </a:lnTo>
                      <a:lnTo>
                        <a:pt x="884" y="1440"/>
                      </a:lnTo>
                      <a:lnTo>
                        <a:pt x="886" y="1447"/>
                      </a:lnTo>
                      <a:lnTo>
                        <a:pt x="886" y="1450"/>
                      </a:lnTo>
                      <a:lnTo>
                        <a:pt x="890" y="1452"/>
                      </a:lnTo>
                      <a:lnTo>
                        <a:pt x="893" y="1454"/>
                      </a:lnTo>
                      <a:lnTo>
                        <a:pt x="898" y="1454"/>
                      </a:lnTo>
                      <a:lnTo>
                        <a:pt x="898" y="1454"/>
                      </a:lnTo>
                      <a:lnTo>
                        <a:pt x="909" y="1455"/>
                      </a:lnTo>
                      <a:lnTo>
                        <a:pt x="910" y="1455"/>
                      </a:lnTo>
                      <a:lnTo>
                        <a:pt x="910" y="1457"/>
                      </a:lnTo>
                      <a:lnTo>
                        <a:pt x="905" y="1462"/>
                      </a:lnTo>
                      <a:lnTo>
                        <a:pt x="903" y="1464"/>
                      </a:lnTo>
                      <a:lnTo>
                        <a:pt x="902" y="1467"/>
                      </a:lnTo>
                      <a:lnTo>
                        <a:pt x="902" y="1467"/>
                      </a:lnTo>
                      <a:lnTo>
                        <a:pt x="902" y="1473"/>
                      </a:lnTo>
                      <a:lnTo>
                        <a:pt x="903" y="1476"/>
                      </a:lnTo>
                      <a:lnTo>
                        <a:pt x="903" y="1480"/>
                      </a:lnTo>
                      <a:lnTo>
                        <a:pt x="898" y="1488"/>
                      </a:lnTo>
                      <a:lnTo>
                        <a:pt x="898" y="1488"/>
                      </a:lnTo>
                      <a:lnTo>
                        <a:pt x="897" y="1492"/>
                      </a:lnTo>
                      <a:lnTo>
                        <a:pt x="897" y="1495"/>
                      </a:lnTo>
                      <a:lnTo>
                        <a:pt x="898" y="1497"/>
                      </a:lnTo>
                      <a:lnTo>
                        <a:pt x="902" y="1497"/>
                      </a:lnTo>
                      <a:lnTo>
                        <a:pt x="910" y="1499"/>
                      </a:lnTo>
                      <a:lnTo>
                        <a:pt x="919" y="1501"/>
                      </a:lnTo>
                      <a:lnTo>
                        <a:pt x="919" y="1501"/>
                      </a:lnTo>
                      <a:lnTo>
                        <a:pt x="924" y="1504"/>
                      </a:lnTo>
                      <a:lnTo>
                        <a:pt x="924" y="1509"/>
                      </a:lnTo>
                      <a:lnTo>
                        <a:pt x="924" y="1513"/>
                      </a:lnTo>
                      <a:lnTo>
                        <a:pt x="926" y="1516"/>
                      </a:lnTo>
                      <a:lnTo>
                        <a:pt x="926" y="1516"/>
                      </a:lnTo>
                      <a:lnTo>
                        <a:pt x="930" y="1520"/>
                      </a:lnTo>
                      <a:lnTo>
                        <a:pt x="930" y="1525"/>
                      </a:lnTo>
                      <a:lnTo>
                        <a:pt x="931" y="1528"/>
                      </a:lnTo>
                      <a:lnTo>
                        <a:pt x="933" y="1528"/>
                      </a:lnTo>
                      <a:lnTo>
                        <a:pt x="935" y="1527"/>
                      </a:lnTo>
                      <a:lnTo>
                        <a:pt x="935" y="1527"/>
                      </a:lnTo>
                      <a:lnTo>
                        <a:pt x="937" y="1527"/>
                      </a:lnTo>
                      <a:lnTo>
                        <a:pt x="938" y="1527"/>
                      </a:lnTo>
                      <a:lnTo>
                        <a:pt x="942" y="1528"/>
                      </a:lnTo>
                      <a:lnTo>
                        <a:pt x="944" y="1528"/>
                      </a:lnTo>
                      <a:lnTo>
                        <a:pt x="945" y="1527"/>
                      </a:lnTo>
                      <a:lnTo>
                        <a:pt x="949" y="1525"/>
                      </a:lnTo>
                      <a:lnTo>
                        <a:pt x="952" y="1521"/>
                      </a:lnTo>
                      <a:lnTo>
                        <a:pt x="952" y="1521"/>
                      </a:lnTo>
                      <a:lnTo>
                        <a:pt x="959" y="1514"/>
                      </a:lnTo>
                      <a:lnTo>
                        <a:pt x="963" y="1513"/>
                      </a:lnTo>
                      <a:lnTo>
                        <a:pt x="964" y="1514"/>
                      </a:lnTo>
                      <a:lnTo>
                        <a:pt x="966" y="1518"/>
                      </a:lnTo>
                      <a:lnTo>
                        <a:pt x="966" y="1525"/>
                      </a:lnTo>
                      <a:lnTo>
                        <a:pt x="966" y="1525"/>
                      </a:lnTo>
                      <a:lnTo>
                        <a:pt x="968" y="1532"/>
                      </a:lnTo>
                      <a:lnTo>
                        <a:pt x="970" y="1537"/>
                      </a:lnTo>
                      <a:lnTo>
                        <a:pt x="971" y="1539"/>
                      </a:lnTo>
                      <a:lnTo>
                        <a:pt x="973" y="1539"/>
                      </a:lnTo>
                      <a:lnTo>
                        <a:pt x="978" y="1537"/>
                      </a:lnTo>
                      <a:lnTo>
                        <a:pt x="980" y="1535"/>
                      </a:lnTo>
                      <a:lnTo>
                        <a:pt x="984" y="1537"/>
                      </a:lnTo>
                      <a:lnTo>
                        <a:pt x="984" y="1537"/>
                      </a:lnTo>
                      <a:lnTo>
                        <a:pt x="987" y="1541"/>
                      </a:lnTo>
                      <a:lnTo>
                        <a:pt x="989" y="1539"/>
                      </a:lnTo>
                      <a:lnTo>
                        <a:pt x="991" y="1537"/>
                      </a:lnTo>
                      <a:lnTo>
                        <a:pt x="987" y="1530"/>
                      </a:lnTo>
                      <a:lnTo>
                        <a:pt x="987" y="1530"/>
                      </a:lnTo>
                      <a:lnTo>
                        <a:pt x="987" y="1527"/>
                      </a:lnTo>
                      <a:lnTo>
                        <a:pt x="989" y="1523"/>
                      </a:lnTo>
                      <a:lnTo>
                        <a:pt x="989" y="1516"/>
                      </a:lnTo>
                      <a:lnTo>
                        <a:pt x="984" y="1502"/>
                      </a:lnTo>
                      <a:lnTo>
                        <a:pt x="984" y="1502"/>
                      </a:lnTo>
                      <a:lnTo>
                        <a:pt x="982" y="1495"/>
                      </a:lnTo>
                      <a:lnTo>
                        <a:pt x="982" y="1492"/>
                      </a:lnTo>
                      <a:lnTo>
                        <a:pt x="982" y="1488"/>
                      </a:lnTo>
                      <a:lnTo>
                        <a:pt x="985" y="1485"/>
                      </a:lnTo>
                      <a:lnTo>
                        <a:pt x="989" y="1485"/>
                      </a:lnTo>
                      <a:lnTo>
                        <a:pt x="992" y="1483"/>
                      </a:lnTo>
                      <a:lnTo>
                        <a:pt x="1001" y="1487"/>
                      </a:lnTo>
                      <a:lnTo>
                        <a:pt x="1001" y="1487"/>
                      </a:lnTo>
                      <a:lnTo>
                        <a:pt x="1004" y="1485"/>
                      </a:lnTo>
                      <a:lnTo>
                        <a:pt x="1006" y="1483"/>
                      </a:lnTo>
                      <a:lnTo>
                        <a:pt x="1010" y="1476"/>
                      </a:lnTo>
                      <a:lnTo>
                        <a:pt x="1013" y="1473"/>
                      </a:lnTo>
                      <a:lnTo>
                        <a:pt x="1017" y="1471"/>
                      </a:lnTo>
                      <a:lnTo>
                        <a:pt x="1020" y="1473"/>
                      </a:lnTo>
                      <a:lnTo>
                        <a:pt x="1020" y="1473"/>
                      </a:lnTo>
                      <a:lnTo>
                        <a:pt x="1025" y="1476"/>
                      </a:lnTo>
                      <a:lnTo>
                        <a:pt x="1027" y="1480"/>
                      </a:lnTo>
                      <a:lnTo>
                        <a:pt x="1029" y="1483"/>
                      </a:lnTo>
                      <a:lnTo>
                        <a:pt x="1031" y="1485"/>
                      </a:lnTo>
                      <a:lnTo>
                        <a:pt x="1031" y="1485"/>
                      </a:lnTo>
                      <a:lnTo>
                        <a:pt x="1034" y="1483"/>
                      </a:lnTo>
                      <a:lnTo>
                        <a:pt x="1036" y="1481"/>
                      </a:lnTo>
                      <a:lnTo>
                        <a:pt x="1039" y="1474"/>
                      </a:lnTo>
                      <a:lnTo>
                        <a:pt x="1043" y="1469"/>
                      </a:lnTo>
                      <a:lnTo>
                        <a:pt x="1045" y="1469"/>
                      </a:lnTo>
                      <a:lnTo>
                        <a:pt x="1046" y="1471"/>
                      </a:lnTo>
                      <a:lnTo>
                        <a:pt x="1046" y="1471"/>
                      </a:lnTo>
                      <a:lnTo>
                        <a:pt x="1050" y="1474"/>
                      </a:lnTo>
                      <a:lnTo>
                        <a:pt x="1051" y="1474"/>
                      </a:lnTo>
                      <a:lnTo>
                        <a:pt x="1053" y="1471"/>
                      </a:lnTo>
                      <a:lnTo>
                        <a:pt x="1055" y="1471"/>
                      </a:lnTo>
                      <a:lnTo>
                        <a:pt x="1055" y="1471"/>
                      </a:lnTo>
                      <a:lnTo>
                        <a:pt x="1055" y="1471"/>
                      </a:lnTo>
                      <a:lnTo>
                        <a:pt x="1060" y="1476"/>
                      </a:lnTo>
                      <a:lnTo>
                        <a:pt x="1064" y="1480"/>
                      </a:lnTo>
                      <a:lnTo>
                        <a:pt x="1064" y="1481"/>
                      </a:lnTo>
                      <a:lnTo>
                        <a:pt x="1065" y="1481"/>
                      </a:lnTo>
                      <a:lnTo>
                        <a:pt x="1067" y="1474"/>
                      </a:lnTo>
                      <a:lnTo>
                        <a:pt x="1067" y="1474"/>
                      </a:lnTo>
                      <a:lnTo>
                        <a:pt x="1069" y="1467"/>
                      </a:lnTo>
                      <a:lnTo>
                        <a:pt x="1071" y="1466"/>
                      </a:lnTo>
                      <a:lnTo>
                        <a:pt x="1074" y="1467"/>
                      </a:lnTo>
                      <a:lnTo>
                        <a:pt x="1076" y="1471"/>
                      </a:lnTo>
                      <a:lnTo>
                        <a:pt x="1076" y="1471"/>
                      </a:lnTo>
                      <a:lnTo>
                        <a:pt x="1079" y="1473"/>
                      </a:lnTo>
                      <a:lnTo>
                        <a:pt x="1081" y="1473"/>
                      </a:lnTo>
                      <a:lnTo>
                        <a:pt x="1088" y="1469"/>
                      </a:lnTo>
                      <a:lnTo>
                        <a:pt x="1093" y="1464"/>
                      </a:lnTo>
                      <a:lnTo>
                        <a:pt x="1095" y="1462"/>
                      </a:lnTo>
                      <a:lnTo>
                        <a:pt x="1095" y="1459"/>
                      </a:lnTo>
                      <a:lnTo>
                        <a:pt x="1095" y="1459"/>
                      </a:lnTo>
                      <a:lnTo>
                        <a:pt x="1093" y="1455"/>
                      </a:lnTo>
                      <a:lnTo>
                        <a:pt x="1097" y="1454"/>
                      </a:lnTo>
                      <a:lnTo>
                        <a:pt x="1102" y="1450"/>
                      </a:lnTo>
                      <a:lnTo>
                        <a:pt x="1111" y="1443"/>
                      </a:lnTo>
                      <a:lnTo>
                        <a:pt x="1111" y="1443"/>
                      </a:lnTo>
                      <a:lnTo>
                        <a:pt x="1112" y="1443"/>
                      </a:lnTo>
                      <a:lnTo>
                        <a:pt x="1114" y="1445"/>
                      </a:lnTo>
                      <a:lnTo>
                        <a:pt x="1119" y="1452"/>
                      </a:lnTo>
                      <a:lnTo>
                        <a:pt x="1126" y="1461"/>
                      </a:lnTo>
                      <a:lnTo>
                        <a:pt x="1132" y="1462"/>
                      </a:lnTo>
                      <a:lnTo>
                        <a:pt x="1137" y="1462"/>
                      </a:lnTo>
                      <a:lnTo>
                        <a:pt x="1137" y="1462"/>
                      </a:lnTo>
                      <a:lnTo>
                        <a:pt x="1142" y="1461"/>
                      </a:lnTo>
                      <a:lnTo>
                        <a:pt x="1146" y="1462"/>
                      </a:lnTo>
                      <a:lnTo>
                        <a:pt x="1147" y="1466"/>
                      </a:lnTo>
                      <a:lnTo>
                        <a:pt x="1152" y="1466"/>
                      </a:lnTo>
                      <a:lnTo>
                        <a:pt x="1152" y="1466"/>
                      </a:lnTo>
                      <a:lnTo>
                        <a:pt x="1159" y="1464"/>
                      </a:lnTo>
                      <a:lnTo>
                        <a:pt x="1163" y="1466"/>
                      </a:lnTo>
                      <a:lnTo>
                        <a:pt x="1165" y="1467"/>
                      </a:lnTo>
                      <a:lnTo>
                        <a:pt x="1165" y="1469"/>
                      </a:lnTo>
                      <a:lnTo>
                        <a:pt x="1161" y="1476"/>
                      </a:lnTo>
                      <a:lnTo>
                        <a:pt x="1161" y="1476"/>
                      </a:lnTo>
                      <a:lnTo>
                        <a:pt x="1156" y="1483"/>
                      </a:lnTo>
                      <a:lnTo>
                        <a:pt x="1156" y="1488"/>
                      </a:lnTo>
                      <a:lnTo>
                        <a:pt x="1159" y="1492"/>
                      </a:lnTo>
                      <a:lnTo>
                        <a:pt x="1159" y="1497"/>
                      </a:lnTo>
                      <a:lnTo>
                        <a:pt x="1159" y="1497"/>
                      </a:lnTo>
                      <a:lnTo>
                        <a:pt x="1161" y="1501"/>
                      </a:lnTo>
                      <a:lnTo>
                        <a:pt x="1161" y="1502"/>
                      </a:lnTo>
                      <a:lnTo>
                        <a:pt x="1165" y="1504"/>
                      </a:lnTo>
                      <a:lnTo>
                        <a:pt x="1170" y="1506"/>
                      </a:lnTo>
                      <a:lnTo>
                        <a:pt x="1173" y="1509"/>
                      </a:lnTo>
                      <a:lnTo>
                        <a:pt x="1173" y="1509"/>
                      </a:lnTo>
                      <a:lnTo>
                        <a:pt x="1175" y="1514"/>
                      </a:lnTo>
                      <a:lnTo>
                        <a:pt x="1179" y="1516"/>
                      </a:lnTo>
                      <a:lnTo>
                        <a:pt x="1182" y="1516"/>
                      </a:lnTo>
                      <a:lnTo>
                        <a:pt x="1186" y="1518"/>
                      </a:lnTo>
                      <a:lnTo>
                        <a:pt x="1186" y="1518"/>
                      </a:lnTo>
                      <a:lnTo>
                        <a:pt x="1187" y="1520"/>
                      </a:lnTo>
                      <a:lnTo>
                        <a:pt x="1189" y="1521"/>
                      </a:lnTo>
                      <a:lnTo>
                        <a:pt x="1194" y="1520"/>
                      </a:lnTo>
                      <a:lnTo>
                        <a:pt x="1199" y="1520"/>
                      </a:lnTo>
                      <a:lnTo>
                        <a:pt x="1203" y="1521"/>
                      </a:lnTo>
                      <a:lnTo>
                        <a:pt x="1208" y="1523"/>
                      </a:lnTo>
                      <a:lnTo>
                        <a:pt x="1208" y="1523"/>
                      </a:lnTo>
                      <a:lnTo>
                        <a:pt x="1210" y="1525"/>
                      </a:lnTo>
                      <a:lnTo>
                        <a:pt x="1213" y="1525"/>
                      </a:lnTo>
                      <a:lnTo>
                        <a:pt x="1215" y="1525"/>
                      </a:lnTo>
                      <a:lnTo>
                        <a:pt x="1217" y="1521"/>
                      </a:lnTo>
                      <a:lnTo>
                        <a:pt x="1217" y="1521"/>
                      </a:lnTo>
                      <a:lnTo>
                        <a:pt x="1219" y="1520"/>
                      </a:lnTo>
                      <a:lnTo>
                        <a:pt x="1220" y="1520"/>
                      </a:lnTo>
                      <a:lnTo>
                        <a:pt x="1222" y="1523"/>
                      </a:lnTo>
                      <a:lnTo>
                        <a:pt x="1224" y="1521"/>
                      </a:lnTo>
                      <a:lnTo>
                        <a:pt x="1224" y="1521"/>
                      </a:lnTo>
                      <a:lnTo>
                        <a:pt x="1226" y="1520"/>
                      </a:lnTo>
                      <a:lnTo>
                        <a:pt x="1226" y="1516"/>
                      </a:lnTo>
                      <a:lnTo>
                        <a:pt x="1224" y="1514"/>
                      </a:lnTo>
                      <a:lnTo>
                        <a:pt x="1224" y="1509"/>
                      </a:lnTo>
                      <a:lnTo>
                        <a:pt x="1224" y="1509"/>
                      </a:lnTo>
                      <a:lnTo>
                        <a:pt x="1224" y="1508"/>
                      </a:lnTo>
                      <a:lnTo>
                        <a:pt x="1226" y="1508"/>
                      </a:lnTo>
                      <a:lnTo>
                        <a:pt x="1227" y="1513"/>
                      </a:lnTo>
                      <a:lnTo>
                        <a:pt x="1233" y="1518"/>
                      </a:lnTo>
                      <a:lnTo>
                        <a:pt x="1236" y="1520"/>
                      </a:lnTo>
                      <a:lnTo>
                        <a:pt x="1240" y="1521"/>
                      </a:lnTo>
                      <a:lnTo>
                        <a:pt x="1240" y="1521"/>
                      </a:lnTo>
                      <a:lnTo>
                        <a:pt x="1243" y="1521"/>
                      </a:lnTo>
                      <a:lnTo>
                        <a:pt x="1245" y="1521"/>
                      </a:lnTo>
                      <a:lnTo>
                        <a:pt x="1243" y="1525"/>
                      </a:lnTo>
                      <a:lnTo>
                        <a:pt x="1243" y="1528"/>
                      </a:lnTo>
                      <a:lnTo>
                        <a:pt x="1245" y="1530"/>
                      </a:lnTo>
                      <a:lnTo>
                        <a:pt x="1248" y="1528"/>
                      </a:lnTo>
                      <a:lnTo>
                        <a:pt x="1248" y="1528"/>
                      </a:lnTo>
                      <a:lnTo>
                        <a:pt x="1257" y="1528"/>
                      </a:lnTo>
                      <a:lnTo>
                        <a:pt x="1260" y="1527"/>
                      </a:lnTo>
                      <a:lnTo>
                        <a:pt x="1260" y="1523"/>
                      </a:lnTo>
                      <a:lnTo>
                        <a:pt x="1260" y="1523"/>
                      </a:lnTo>
                      <a:lnTo>
                        <a:pt x="1259" y="1516"/>
                      </a:lnTo>
                      <a:lnTo>
                        <a:pt x="1260" y="1518"/>
                      </a:lnTo>
                      <a:lnTo>
                        <a:pt x="1264" y="1521"/>
                      </a:lnTo>
                      <a:lnTo>
                        <a:pt x="1264" y="1521"/>
                      </a:lnTo>
                      <a:lnTo>
                        <a:pt x="1266" y="1527"/>
                      </a:lnTo>
                      <a:lnTo>
                        <a:pt x="1267" y="1527"/>
                      </a:lnTo>
                      <a:lnTo>
                        <a:pt x="1271" y="1527"/>
                      </a:lnTo>
                      <a:lnTo>
                        <a:pt x="1273" y="1527"/>
                      </a:lnTo>
                      <a:lnTo>
                        <a:pt x="1273" y="1527"/>
                      </a:lnTo>
                      <a:lnTo>
                        <a:pt x="1274" y="1530"/>
                      </a:lnTo>
                      <a:lnTo>
                        <a:pt x="1271" y="1532"/>
                      </a:lnTo>
                      <a:lnTo>
                        <a:pt x="1267" y="1537"/>
                      </a:lnTo>
                      <a:lnTo>
                        <a:pt x="1266" y="1544"/>
                      </a:lnTo>
                      <a:lnTo>
                        <a:pt x="1266" y="1544"/>
                      </a:lnTo>
                      <a:lnTo>
                        <a:pt x="1266" y="1551"/>
                      </a:lnTo>
                      <a:lnTo>
                        <a:pt x="1266" y="1555"/>
                      </a:lnTo>
                      <a:lnTo>
                        <a:pt x="1267" y="1558"/>
                      </a:lnTo>
                      <a:lnTo>
                        <a:pt x="1267" y="1560"/>
                      </a:lnTo>
                      <a:lnTo>
                        <a:pt x="1267" y="1560"/>
                      </a:lnTo>
                      <a:lnTo>
                        <a:pt x="1267" y="1563"/>
                      </a:lnTo>
                      <a:lnTo>
                        <a:pt x="1269" y="1567"/>
                      </a:lnTo>
                      <a:lnTo>
                        <a:pt x="1271" y="1568"/>
                      </a:lnTo>
                      <a:lnTo>
                        <a:pt x="1273" y="1572"/>
                      </a:lnTo>
                      <a:lnTo>
                        <a:pt x="1273" y="1572"/>
                      </a:lnTo>
                      <a:lnTo>
                        <a:pt x="1273" y="1575"/>
                      </a:lnTo>
                      <a:lnTo>
                        <a:pt x="1273" y="1579"/>
                      </a:lnTo>
                      <a:lnTo>
                        <a:pt x="1276" y="1581"/>
                      </a:lnTo>
                      <a:lnTo>
                        <a:pt x="1287" y="1579"/>
                      </a:lnTo>
                      <a:lnTo>
                        <a:pt x="1287" y="1579"/>
                      </a:lnTo>
                      <a:lnTo>
                        <a:pt x="1294" y="1575"/>
                      </a:lnTo>
                      <a:lnTo>
                        <a:pt x="1295" y="1574"/>
                      </a:lnTo>
                      <a:lnTo>
                        <a:pt x="1295" y="1572"/>
                      </a:lnTo>
                      <a:lnTo>
                        <a:pt x="1294" y="1565"/>
                      </a:lnTo>
                      <a:lnTo>
                        <a:pt x="1290" y="1558"/>
                      </a:lnTo>
                      <a:lnTo>
                        <a:pt x="1290" y="1558"/>
                      </a:lnTo>
                      <a:lnTo>
                        <a:pt x="1288" y="1553"/>
                      </a:lnTo>
                      <a:lnTo>
                        <a:pt x="1285" y="1553"/>
                      </a:lnTo>
                      <a:lnTo>
                        <a:pt x="1283" y="1553"/>
                      </a:lnTo>
                      <a:lnTo>
                        <a:pt x="1281" y="1551"/>
                      </a:lnTo>
                      <a:lnTo>
                        <a:pt x="1281" y="1551"/>
                      </a:lnTo>
                      <a:lnTo>
                        <a:pt x="1283" y="1546"/>
                      </a:lnTo>
                      <a:lnTo>
                        <a:pt x="1288" y="1542"/>
                      </a:lnTo>
                      <a:lnTo>
                        <a:pt x="1304" y="1532"/>
                      </a:lnTo>
                      <a:lnTo>
                        <a:pt x="1304" y="1532"/>
                      </a:lnTo>
                      <a:lnTo>
                        <a:pt x="1311" y="1527"/>
                      </a:lnTo>
                      <a:lnTo>
                        <a:pt x="1316" y="1527"/>
                      </a:lnTo>
                      <a:lnTo>
                        <a:pt x="1321" y="1527"/>
                      </a:lnTo>
                      <a:lnTo>
                        <a:pt x="1332" y="1525"/>
                      </a:lnTo>
                      <a:lnTo>
                        <a:pt x="1332" y="1525"/>
                      </a:lnTo>
                      <a:lnTo>
                        <a:pt x="1337" y="1521"/>
                      </a:lnTo>
                      <a:lnTo>
                        <a:pt x="1341" y="1520"/>
                      </a:lnTo>
                      <a:lnTo>
                        <a:pt x="1344" y="1514"/>
                      </a:lnTo>
                      <a:lnTo>
                        <a:pt x="1346" y="1511"/>
                      </a:lnTo>
                      <a:lnTo>
                        <a:pt x="1349" y="1511"/>
                      </a:lnTo>
                      <a:lnTo>
                        <a:pt x="1349" y="1511"/>
                      </a:lnTo>
                      <a:lnTo>
                        <a:pt x="1354" y="1514"/>
                      </a:lnTo>
                      <a:lnTo>
                        <a:pt x="1354" y="1518"/>
                      </a:lnTo>
                      <a:lnTo>
                        <a:pt x="1356" y="1518"/>
                      </a:lnTo>
                      <a:lnTo>
                        <a:pt x="1358" y="1513"/>
                      </a:lnTo>
                      <a:lnTo>
                        <a:pt x="1358" y="1513"/>
                      </a:lnTo>
                      <a:lnTo>
                        <a:pt x="1361" y="1511"/>
                      </a:lnTo>
                      <a:lnTo>
                        <a:pt x="1363" y="1513"/>
                      </a:lnTo>
                      <a:lnTo>
                        <a:pt x="1365" y="1513"/>
                      </a:lnTo>
                      <a:lnTo>
                        <a:pt x="1368" y="1509"/>
                      </a:lnTo>
                      <a:lnTo>
                        <a:pt x="1368" y="1509"/>
                      </a:lnTo>
                      <a:lnTo>
                        <a:pt x="1372" y="1508"/>
                      </a:lnTo>
                      <a:lnTo>
                        <a:pt x="1374" y="1506"/>
                      </a:lnTo>
                      <a:lnTo>
                        <a:pt x="1379" y="1508"/>
                      </a:lnTo>
                      <a:lnTo>
                        <a:pt x="1381" y="1509"/>
                      </a:lnTo>
                      <a:lnTo>
                        <a:pt x="1382" y="1508"/>
                      </a:lnTo>
                      <a:lnTo>
                        <a:pt x="1382" y="1504"/>
                      </a:lnTo>
                      <a:lnTo>
                        <a:pt x="1382" y="1504"/>
                      </a:lnTo>
                      <a:lnTo>
                        <a:pt x="1384" y="1499"/>
                      </a:lnTo>
                      <a:lnTo>
                        <a:pt x="1386" y="1499"/>
                      </a:lnTo>
                      <a:lnTo>
                        <a:pt x="1389" y="1502"/>
                      </a:lnTo>
                      <a:lnTo>
                        <a:pt x="1389" y="1502"/>
                      </a:lnTo>
                      <a:lnTo>
                        <a:pt x="1391" y="1499"/>
                      </a:lnTo>
                      <a:lnTo>
                        <a:pt x="1391" y="1499"/>
                      </a:lnTo>
                      <a:lnTo>
                        <a:pt x="1395" y="1497"/>
                      </a:lnTo>
                      <a:lnTo>
                        <a:pt x="1396" y="1497"/>
                      </a:lnTo>
                      <a:lnTo>
                        <a:pt x="1400" y="1497"/>
                      </a:lnTo>
                      <a:lnTo>
                        <a:pt x="1401" y="1494"/>
                      </a:lnTo>
                      <a:lnTo>
                        <a:pt x="1401" y="1494"/>
                      </a:lnTo>
                      <a:lnTo>
                        <a:pt x="1403" y="1490"/>
                      </a:lnTo>
                      <a:lnTo>
                        <a:pt x="1403" y="1485"/>
                      </a:lnTo>
                      <a:lnTo>
                        <a:pt x="1400" y="1476"/>
                      </a:lnTo>
                      <a:lnTo>
                        <a:pt x="1398" y="1467"/>
                      </a:lnTo>
                      <a:lnTo>
                        <a:pt x="1398" y="1464"/>
                      </a:lnTo>
                      <a:lnTo>
                        <a:pt x="1398" y="1462"/>
                      </a:lnTo>
                      <a:lnTo>
                        <a:pt x="1398" y="1462"/>
                      </a:lnTo>
                      <a:lnTo>
                        <a:pt x="1400" y="1461"/>
                      </a:lnTo>
                      <a:lnTo>
                        <a:pt x="1403" y="1462"/>
                      </a:lnTo>
                      <a:lnTo>
                        <a:pt x="1408" y="1471"/>
                      </a:lnTo>
                      <a:lnTo>
                        <a:pt x="1408" y="1471"/>
                      </a:lnTo>
                      <a:lnTo>
                        <a:pt x="1415" y="1467"/>
                      </a:lnTo>
                      <a:lnTo>
                        <a:pt x="1421" y="1467"/>
                      </a:lnTo>
                      <a:lnTo>
                        <a:pt x="1421" y="1467"/>
                      </a:lnTo>
                      <a:lnTo>
                        <a:pt x="1428" y="1467"/>
                      </a:lnTo>
                      <a:lnTo>
                        <a:pt x="1431" y="1467"/>
                      </a:lnTo>
                      <a:lnTo>
                        <a:pt x="1438" y="1476"/>
                      </a:lnTo>
                      <a:lnTo>
                        <a:pt x="1438" y="1476"/>
                      </a:lnTo>
                      <a:lnTo>
                        <a:pt x="1438" y="1473"/>
                      </a:lnTo>
                      <a:lnTo>
                        <a:pt x="1438" y="1471"/>
                      </a:lnTo>
                      <a:lnTo>
                        <a:pt x="1440" y="1469"/>
                      </a:lnTo>
                      <a:lnTo>
                        <a:pt x="1440" y="1469"/>
                      </a:lnTo>
                      <a:lnTo>
                        <a:pt x="1442" y="1469"/>
                      </a:lnTo>
                      <a:lnTo>
                        <a:pt x="1443" y="1471"/>
                      </a:lnTo>
                      <a:lnTo>
                        <a:pt x="1445" y="1476"/>
                      </a:lnTo>
                      <a:lnTo>
                        <a:pt x="1447" y="1478"/>
                      </a:lnTo>
                      <a:lnTo>
                        <a:pt x="1447" y="1480"/>
                      </a:lnTo>
                      <a:lnTo>
                        <a:pt x="1448" y="1478"/>
                      </a:lnTo>
                      <a:lnTo>
                        <a:pt x="1452" y="1476"/>
                      </a:lnTo>
                      <a:lnTo>
                        <a:pt x="1452" y="1476"/>
                      </a:lnTo>
                      <a:lnTo>
                        <a:pt x="1457" y="1469"/>
                      </a:lnTo>
                      <a:lnTo>
                        <a:pt x="1461" y="1469"/>
                      </a:lnTo>
                      <a:lnTo>
                        <a:pt x="1469" y="1474"/>
                      </a:lnTo>
                      <a:lnTo>
                        <a:pt x="1469" y="1474"/>
                      </a:lnTo>
                      <a:lnTo>
                        <a:pt x="1471" y="1474"/>
                      </a:lnTo>
                      <a:lnTo>
                        <a:pt x="1473" y="1474"/>
                      </a:lnTo>
                      <a:lnTo>
                        <a:pt x="1473" y="1471"/>
                      </a:lnTo>
                      <a:lnTo>
                        <a:pt x="1473" y="1467"/>
                      </a:lnTo>
                      <a:lnTo>
                        <a:pt x="1473" y="1466"/>
                      </a:lnTo>
                      <a:lnTo>
                        <a:pt x="1475" y="1466"/>
                      </a:lnTo>
                      <a:lnTo>
                        <a:pt x="1475" y="1466"/>
                      </a:lnTo>
                      <a:lnTo>
                        <a:pt x="1476" y="1466"/>
                      </a:lnTo>
                      <a:lnTo>
                        <a:pt x="1476" y="1466"/>
                      </a:lnTo>
                      <a:lnTo>
                        <a:pt x="1478" y="1469"/>
                      </a:lnTo>
                      <a:lnTo>
                        <a:pt x="1480" y="1471"/>
                      </a:lnTo>
                      <a:lnTo>
                        <a:pt x="1487" y="1469"/>
                      </a:lnTo>
                      <a:lnTo>
                        <a:pt x="1487" y="1469"/>
                      </a:lnTo>
                      <a:lnTo>
                        <a:pt x="1495" y="1464"/>
                      </a:lnTo>
                      <a:lnTo>
                        <a:pt x="1501" y="1462"/>
                      </a:lnTo>
                      <a:lnTo>
                        <a:pt x="1506" y="1461"/>
                      </a:lnTo>
                      <a:lnTo>
                        <a:pt x="1508" y="1455"/>
                      </a:lnTo>
                      <a:lnTo>
                        <a:pt x="1508" y="1455"/>
                      </a:lnTo>
                      <a:lnTo>
                        <a:pt x="1508" y="1454"/>
                      </a:lnTo>
                      <a:lnTo>
                        <a:pt x="1509" y="1452"/>
                      </a:lnTo>
                      <a:lnTo>
                        <a:pt x="1513" y="1450"/>
                      </a:lnTo>
                      <a:lnTo>
                        <a:pt x="1515" y="1448"/>
                      </a:lnTo>
                      <a:lnTo>
                        <a:pt x="1513" y="1447"/>
                      </a:lnTo>
                      <a:lnTo>
                        <a:pt x="1513" y="1447"/>
                      </a:lnTo>
                      <a:lnTo>
                        <a:pt x="1511" y="1445"/>
                      </a:lnTo>
                      <a:lnTo>
                        <a:pt x="1513" y="1443"/>
                      </a:lnTo>
                      <a:lnTo>
                        <a:pt x="1515" y="1441"/>
                      </a:lnTo>
                      <a:lnTo>
                        <a:pt x="1518" y="1436"/>
                      </a:lnTo>
                      <a:lnTo>
                        <a:pt x="1518" y="1436"/>
                      </a:lnTo>
                      <a:lnTo>
                        <a:pt x="1522" y="1433"/>
                      </a:lnTo>
                      <a:lnTo>
                        <a:pt x="1523" y="1433"/>
                      </a:lnTo>
                      <a:lnTo>
                        <a:pt x="1529" y="1433"/>
                      </a:lnTo>
                      <a:lnTo>
                        <a:pt x="1530" y="1431"/>
                      </a:lnTo>
                      <a:lnTo>
                        <a:pt x="1534" y="1427"/>
                      </a:lnTo>
                      <a:lnTo>
                        <a:pt x="1534" y="1427"/>
                      </a:lnTo>
                      <a:lnTo>
                        <a:pt x="1539" y="1422"/>
                      </a:lnTo>
                      <a:lnTo>
                        <a:pt x="1541" y="1422"/>
                      </a:lnTo>
                      <a:lnTo>
                        <a:pt x="1543" y="1424"/>
                      </a:lnTo>
                      <a:lnTo>
                        <a:pt x="1543" y="1426"/>
                      </a:lnTo>
                      <a:lnTo>
                        <a:pt x="1546" y="1422"/>
                      </a:lnTo>
                      <a:lnTo>
                        <a:pt x="1546" y="1422"/>
                      </a:lnTo>
                      <a:lnTo>
                        <a:pt x="1556" y="1410"/>
                      </a:lnTo>
                      <a:lnTo>
                        <a:pt x="1562" y="1403"/>
                      </a:lnTo>
                      <a:lnTo>
                        <a:pt x="1562" y="1401"/>
                      </a:lnTo>
                      <a:lnTo>
                        <a:pt x="1562" y="1400"/>
                      </a:lnTo>
                      <a:lnTo>
                        <a:pt x="1562" y="1400"/>
                      </a:lnTo>
                      <a:lnTo>
                        <a:pt x="1558" y="1396"/>
                      </a:lnTo>
                      <a:lnTo>
                        <a:pt x="1560" y="1391"/>
                      </a:lnTo>
                      <a:lnTo>
                        <a:pt x="1562" y="1387"/>
                      </a:lnTo>
                      <a:lnTo>
                        <a:pt x="1563" y="1387"/>
                      </a:lnTo>
                      <a:lnTo>
                        <a:pt x="1565" y="1389"/>
                      </a:lnTo>
                      <a:lnTo>
                        <a:pt x="1565" y="1389"/>
                      </a:lnTo>
                      <a:lnTo>
                        <a:pt x="1567" y="1393"/>
                      </a:lnTo>
                      <a:lnTo>
                        <a:pt x="1569" y="1391"/>
                      </a:lnTo>
                      <a:lnTo>
                        <a:pt x="1570" y="1389"/>
                      </a:lnTo>
                      <a:lnTo>
                        <a:pt x="1576" y="1393"/>
                      </a:lnTo>
                      <a:lnTo>
                        <a:pt x="1576" y="1393"/>
                      </a:lnTo>
                      <a:lnTo>
                        <a:pt x="1577" y="1393"/>
                      </a:lnTo>
                      <a:lnTo>
                        <a:pt x="1579" y="1393"/>
                      </a:lnTo>
                      <a:lnTo>
                        <a:pt x="1581" y="1389"/>
                      </a:lnTo>
                      <a:lnTo>
                        <a:pt x="1583" y="1382"/>
                      </a:lnTo>
                      <a:lnTo>
                        <a:pt x="1586" y="1379"/>
                      </a:lnTo>
                      <a:lnTo>
                        <a:pt x="1590" y="1377"/>
                      </a:lnTo>
                      <a:lnTo>
                        <a:pt x="1590" y="1377"/>
                      </a:lnTo>
                      <a:lnTo>
                        <a:pt x="1595" y="1375"/>
                      </a:lnTo>
                      <a:lnTo>
                        <a:pt x="1593" y="1372"/>
                      </a:lnTo>
                      <a:lnTo>
                        <a:pt x="1590" y="1368"/>
                      </a:lnTo>
                      <a:lnTo>
                        <a:pt x="1590" y="1367"/>
                      </a:lnTo>
                      <a:lnTo>
                        <a:pt x="1590" y="1363"/>
                      </a:lnTo>
                      <a:lnTo>
                        <a:pt x="1590" y="1363"/>
                      </a:lnTo>
                      <a:lnTo>
                        <a:pt x="1591" y="1360"/>
                      </a:lnTo>
                      <a:lnTo>
                        <a:pt x="1593" y="1363"/>
                      </a:lnTo>
                      <a:lnTo>
                        <a:pt x="1595" y="1365"/>
                      </a:lnTo>
                      <a:lnTo>
                        <a:pt x="1598" y="1365"/>
                      </a:lnTo>
                      <a:lnTo>
                        <a:pt x="1602" y="1363"/>
                      </a:lnTo>
                      <a:lnTo>
                        <a:pt x="1602" y="1363"/>
                      </a:lnTo>
                      <a:lnTo>
                        <a:pt x="1605" y="1360"/>
                      </a:lnTo>
                      <a:lnTo>
                        <a:pt x="1605" y="1358"/>
                      </a:lnTo>
                      <a:lnTo>
                        <a:pt x="1603" y="1358"/>
                      </a:lnTo>
                      <a:lnTo>
                        <a:pt x="1600" y="1356"/>
                      </a:lnTo>
                      <a:lnTo>
                        <a:pt x="1596" y="1354"/>
                      </a:lnTo>
                      <a:lnTo>
                        <a:pt x="1596" y="1354"/>
                      </a:lnTo>
                      <a:lnTo>
                        <a:pt x="1596" y="1351"/>
                      </a:lnTo>
                      <a:lnTo>
                        <a:pt x="1598" y="1347"/>
                      </a:lnTo>
                      <a:lnTo>
                        <a:pt x="1600" y="1347"/>
                      </a:lnTo>
                      <a:lnTo>
                        <a:pt x="1603" y="1347"/>
                      </a:lnTo>
                      <a:lnTo>
                        <a:pt x="1605" y="1347"/>
                      </a:lnTo>
                      <a:lnTo>
                        <a:pt x="1607" y="1351"/>
                      </a:lnTo>
                      <a:lnTo>
                        <a:pt x="1607" y="1351"/>
                      </a:lnTo>
                      <a:lnTo>
                        <a:pt x="1612" y="1356"/>
                      </a:lnTo>
                      <a:lnTo>
                        <a:pt x="1614" y="1356"/>
                      </a:lnTo>
                      <a:lnTo>
                        <a:pt x="1616" y="1353"/>
                      </a:lnTo>
                      <a:lnTo>
                        <a:pt x="1612" y="1347"/>
                      </a:lnTo>
                      <a:lnTo>
                        <a:pt x="1612" y="1347"/>
                      </a:lnTo>
                      <a:lnTo>
                        <a:pt x="1612" y="1344"/>
                      </a:lnTo>
                      <a:lnTo>
                        <a:pt x="1612" y="1339"/>
                      </a:lnTo>
                      <a:lnTo>
                        <a:pt x="1616" y="1332"/>
                      </a:lnTo>
                      <a:lnTo>
                        <a:pt x="1617" y="1326"/>
                      </a:lnTo>
                      <a:lnTo>
                        <a:pt x="1617" y="1325"/>
                      </a:lnTo>
                      <a:lnTo>
                        <a:pt x="1614" y="1325"/>
                      </a:lnTo>
                      <a:lnTo>
                        <a:pt x="1614" y="1325"/>
                      </a:lnTo>
                      <a:lnTo>
                        <a:pt x="1612" y="1325"/>
                      </a:lnTo>
                      <a:lnTo>
                        <a:pt x="1610" y="1325"/>
                      </a:lnTo>
                      <a:lnTo>
                        <a:pt x="1612" y="1321"/>
                      </a:lnTo>
                      <a:lnTo>
                        <a:pt x="1616" y="1316"/>
                      </a:lnTo>
                      <a:lnTo>
                        <a:pt x="1621" y="1313"/>
                      </a:lnTo>
                      <a:lnTo>
                        <a:pt x="1621" y="1313"/>
                      </a:lnTo>
                      <a:lnTo>
                        <a:pt x="1626" y="1309"/>
                      </a:lnTo>
                      <a:lnTo>
                        <a:pt x="1626" y="1309"/>
                      </a:lnTo>
                      <a:lnTo>
                        <a:pt x="1623" y="1307"/>
                      </a:lnTo>
                      <a:lnTo>
                        <a:pt x="1619" y="1304"/>
                      </a:lnTo>
                      <a:lnTo>
                        <a:pt x="1619" y="1304"/>
                      </a:lnTo>
                      <a:lnTo>
                        <a:pt x="1617" y="1299"/>
                      </a:lnTo>
                      <a:lnTo>
                        <a:pt x="1614" y="1297"/>
                      </a:lnTo>
                      <a:lnTo>
                        <a:pt x="1612" y="1295"/>
                      </a:lnTo>
                      <a:lnTo>
                        <a:pt x="1616" y="1293"/>
                      </a:lnTo>
                      <a:lnTo>
                        <a:pt x="1616" y="1293"/>
                      </a:lnTo>
                      <a:lnTo>
                        <a:pt x="1619" y="1293"/>
                      </a:lnTo>
                      <a:lnTo>
                        <a:pt x="1621" y="1293"/>
                      </a:lnTo>
                      <a:lnTo>
                        <a:pt x="1623" y="1297"/>
                      </a:lnTo>
                      <a:lnTo>
                        <a:pt x="1624" y="1300"/>
                      </a:lnTo>
                      <a:lnTo>
                        <a:pt x="1626" y="1300"/>
                      </a:lnTo>
                      <a:lnTo>
                        <a:pt x="1630" y="1300"/>
                      </a:lnTo>
                      <a:lnTo>
                        <a:pt x="1630" y="1300"/>
                      </a:lnTo>
                      <a:lnTo>
                        <a:pt x="1631" y="1299"/>
                      </a:lnTo>
                      <a:lnTo>
                        <a:pt x="1633" y="1295"/>
                      </a:lnTo>
                      <a:lnTo>
                        <a:pt x="1633" y="1292"/>
                      </a:lnTo>
                      <a:lnTo>
                        <a:pt x="1631" y="1288"/>
                      </a:lnTo>
                      <a:lnTo>
                        <a:pt x="1631" y="1288"/>
                      </a:lnTo>
                      <a:lnTo>
                        <a:pt x="1633" y="1286"/>
                      </a:lnTo>
                      <a:lnTo>
                        <a:pt x="1633" y="1286"/>
                      </a:lnTo>
                      <a:lnTo>
                        <a:pt x="1638" y="1281"/>
                      </a:lnTo>
                      <a:lnTo>
                        <a:pt x="1645" y="1274"/>
                      </a:lnTo>
                      <a:lnTo>
                        <a:pt x="1649" y="1266"/>
                      </a:lnTo>
                      <a:lnTo>
                        <a:pt x="1650" y="1260"/>
                      </a:lnTo>
                      <a:lnTo>
                        <a:pt x="1649" y="1259"/>
                      </a:lnTo>
                      <a:lnTo>
                        <a:pt x="1649" y="1259"/>
                      </a:lnTo>
                      <a:lnTo>
                        <a:pt x="1649" y="1255"/>
                      </a:lnTo>
                      <a:lnTo>
                        <a:pt x="1649" y="1253"/>
                      </a:lnTo>
                      <a:lnTo>
                        <a:pt x="1652" y="1248"/>
                      </a:lnTo>
                      <a:lnTo>
                        <a:pt x="1659" y="1241"/>
                      </a:lnTo>
                      <a:lnTo>
                        <a:pt x="1664" y="1229"/>
                      </a:lnTo>
                      <a:lnTo>
                        <a:pt x="1664" y="1229"/>
                      </a:lnTo>
                      <a:lnTo>
                        <a:pt x="1666" y="1224"/>
                      </a:lnTo>
                      <a:lnTo>
                        <a:pt x="1668" y="1222"/>
                      </a:lnTo>
                      <a:lnTo>
                        <a:pt x="1670" y="1222"/>
                      </a:lnTo>
                      <a:lnTo>
                        <a:pt x="1671" y="1224"/>
                      </a:lnTo>
                      <a:lnTo>
                        <a:pt x="1673" y="1229"/>
                      </a:lnTo>
                      <a:lnTo>
                        <a:pt x="1675" y="1229"/>
                      </a:lnTo>
                      <a:lnTo>
                        <a:pt x="1677" y="1227"/>
                      </a:lnTo>
                      <a:lnTo>
                        <a:pt x="1677" y="1227"/>
                      </a:lnTo>
                      <a:lnTo>
                        <a:pt x="1680" y="1224"/>
                      </a:lnTo>
                      <a:lnTo>
                        <a:pt x="1684" y="1224"/>
                      </a:lnTo>
                      <a:lnTo>
                        <a:pt x="1685" y="1222"/>
                      </a:lnTo>
                      <a:lnTo>
                        <a:pt x="1685" y="1222"/>
                      </a:lnTo>
                      <a:lnTo>
                        <a:pt x="1682" y="1215"/>
                      </a:lnTo>
                      <a:lnTo>
                        <a:pt x="1682" y="1215"/>
                      </a:lnTo>
                      <a:lnTo>
                        <a:pt x="1680" y="1210"/>
                      </a:lnTo>
                      <a:lnTo>
                        <a:pt x="1680" y="1208"/>
                      </a:lnTo>
                      <a:lnTo>
                        <a:pt x="1682" y="1206"/>
                      </a:lnTo>
                      <a:lnTo>
                        <a:pt x="1684" y="1205"/>
                      </a:lnTo>
                      <a:lnTo>
                        <a:pt x="1685" y="1205"/>
                      </a:lnTo>
                      <a:lnTo>
                        <a:pt x="1687" y="1203"/>
                      </a:lnTo>
                      <a:lnTo>
                        <a:pt x="1685" y="1199"/>
                      </a:lnTo>
                      <a:lnTo>
                        <a:pt x="1685" y="1199"/>
                      </a:lnTo>
                      <a:lnTo>
                        <a:pt x="1685" y="1196"/>
                      </a:lnTo>
                      <a:lnTo>
                        <a:pt x="1687" y="1194"/>
                      </a:lnTo>
                      <a:lnTo>
                        <a:pt x="1687" y="1191"/>
                      </a:lnTo>
                      <a:lnTo>
                        <a:pt x="1684" y="1187"/>
                      </a:lnTo>
                      <a:lnTo>
                        <a:pt x="1684" y="1187"/>
                      </a:lnTo>
                      <a:lnTo>
                        <a:pt x="1682" y="1185"/>
                      </a:lnTo>
                      <a:lnTo>
                        <a:pt x="1682" y="1185"/>
                      </a:lnTo>
                      <a:lnTo>
                        <a:pt x="1687" y="1185"/>
                      </a:lnTo>
                      <a:lnTo>
                        <a:pt x="1691" y="1185"/>
                      </a:lnTo>
                      <a:lnTo>
                        <a:pt x="1694" y="1184"/>
                      </a:lnTo>
                      <a:lnTo>
                        <a:pt x="1696" y="1178"/>
                      </a:lnTo>
                      <a:lnTo>
                        <a:pt x="1697" y="1173"/>
                      </a:lnTo>
                      <a:lnTo>
                        <a:pt x="1697" y="1173"/>
                      </a:lnTo>
                      <a:lnTo>
                        <a:pt x="1696" y="1166"/>
                      </a:lnTo>
                      <a:lnTo>
                        <a:pt x="1694" y="1165"/>
                      </a:lnTo>
                      <a:lnTo>
                        <a:pt x="1691" y="1161"/>
                      </a:lnTo>
                      <a:lnTo>
                        <a:pt x="1691" y="1161"/>
                      </a:lnTo>
                      <a:lnTo>
                        <a:pt x="1691" y="1159"/>
                      </a:lnTo>
                      <a:lnTo>
                        <a:pt x="1699" y="1154"/>
                      </a:lnTo>
                      <a:lnTo>
                        <a:pt x="1699" y="1154"/>
                      </a:lnTo>
                      <a:lnTo>
                        <a:pt x="1701" y="1151"/>
                      </a:lnTo>
                      <a:lnTo>
                        <a:pt x="1697" y="1151"/>
                      </a:lnTo>
                      <a:lnTo>
                        <a:pt x="1691" y="1147"/>
                      </a:lnTo>
                      <a:lnTo>
                        <a:pt x="1685" y="1145"/>
                      </a:lnTo>
                      <a:lnTo>
                        <a:pt x="1682" y="1140"/>
                      </a:lnTo>
                      <a:lnTo>
                        <a:pt x="1682" y="1140"/>
                      </a:lnTo>
                      <a:lnTo>
                        <a:pt x="1678" y="1135"/>
                      </a:lnTo>
                      <a:lnTo>
                        <a:pt x="1673" y="1131"/>
                      </a:lnTo>
                      <a:lnTo>
                        <a:pt x="1668" y="1133"/>
                      </a:lnTo>
                      <a:lnTo>
                        <a:pt x="1663" y="1135"/>
                      </a:lnTo>
                      <a:lnTo>
                        <a:pt x="1656" y="1140"/>
                      </a:lnTo>
                      <a:lnTo>
                        <a:pt x="1650" y="1140"/>
                      </a:lnTo>
                      <a:lnTo>
                        <a:pt x="1647" y="1137"/>
                      </a:lnTo>
                      <a:lnTo>
                        <a:pt x="1647" y="1137"/>
                      </a:lnTo>
                      <a:lnTo>
                        <a:pt x="1645" y="1135"/>
                      </a:lnTo>
                      <a:lnTo>
                        <a:pt x="1643" y="1133"/>
                      </a:lnTo>
                      <a:lnTo>
                        <a:pt x="1642" y="1133"/>
                      </a:lnTo>
                      <a:lnTo>
                        <a:pt x="1640" y="1135"/>
                      </a:lnTo>
                      <a:lnTo>
                        <a:pt x="1640" y="1131"/>
                      </a:lnTo>
                      <a:lnTo>
                        <a:pt x="1640" y="1131"/>
                      </a:lnTo>
                      <a:lnTo>
                        <a:pt x="1642" y="1130"/>
                      </a:lnTo>
                      <a:lnTo>
                        <a:pt x="1645" y="1128"/>
                      </a:lnTo>
                      <a:lnTo>
                        <a:pt x="1650" y="1128"/>
                      </a:lnTo>
                      <a:lnTo>
                        <a:pt x="1656" y="1130"/>
                      </a:lnTo>
                      <a:lnTo>
                        <a:pt x="1657" y="1130"/>
                      </a:lnTo>
                      <a:lnTo>
                        <a:pt x="1659" y="1126"/>
                      </a:lnTo>
                      <a:lnTo>
                        <a:pt x="1659" y="1126"/>
                      </a:lnTo>
                      <a:lnTo>
                        <a:pt x="1664" y="1121"/>
                      </a:lnTo>
                      <a:lnTo>
                        <a:pt x="1671" y="1116"/>
                      </a:lnTo>
                      <a:lnTo>
                        <a:pt x="1680" y="1111"/>
                      </a:lnTo>
                      <a:lnTo>
                        <a:pt x="1687" y="1109"/>
                      </a:lnTo>
                      <a:lnTo>
                        <a:pt x="1687" y="1109"/>
                      </a:lnTo>
                      <a:lnTo>
                        <a:pt x="1692" y="1107"/>
                      </a:lnTo>
                      <a:lnTo>
                        <a:pt x="1694" y="1105"/>
                      </a:lnTo>
                      <a:lnTo>
                        <a:pt x="1694" y="1102"/>
                      </a:lnTo>
                      <a:lnTo>
                        <a:pt x="1692" y="1098"/>
                      </a:lnTo>
                      <a:lnTo>
                        <a:pt x="1685" y="1088"/>
                      </a:lnTo>
                      <a:lnTo>
                        <a:pt x="1675" y="1077"/>
                      </a:lnTo>
                      <a:lnTo>
                        <a:pt x="1675" y="1077"/>
                      </a:lnTo>
                      <a:lnTo>
                        <a:pt x="1666" y="1071"/>
                      </a:lnTo>
                      <a:lnTo>
                        <a:pt x="1659" y="1067"/>
                      </a:lnTo>
                      <a:lnTo>
                        <a:pt x="1654" y="1064"/>
                      </a:lnTo>
                      <a:lnTo>
                        <a:pt x="1654" y="1064"/>
                      </a:lnTo>
                      <a:lnTo>
                        <a:pt x="1654" y="1062"/>
                      </a:lnTo>
                      <a:lnTo>
                        <a:pt x="1654" y="1062"/>
                      </a:lnTo>
                      <a:lnTo>
                        <a:pt x="1656" y="1060"/>
                      </a:lnTo>
                      <a:lnTo>
                        <a:pt x="1654" y="1058"/>
                      </a:lnTo>
                      <a:lnTo>
                        <a:pt x="1650" y="1057"/>
                      </a:lnTo>
                      <a:lnTo>
                        <a:pt x="1647" y="1055"/>
                      </a:lnTo>
                      <a:lnTo>
                        <a:pt x="1643" y="1057"/>
                      </a:lnTo>
                      <a:lnTo>
                        <a:pt x="1643" y="1057"/>
                      </a:lnTo>
                      <a:lnTo>
                        <a:pt x="1638" y="1058"/>
                      </a:lnTo>
                      <a:lnTo>
                        <a:pt x="1633" y="1060"/>
                      </a:lnTo>
                      <a:lnTo>
                        <a:pt x="1628" y="1058"/>
                      </a:lnTo>
                      <a:lnTo>
                        <a:pt x="1624" y="1055"/>
                      </a:lnTo>
                      <a:lnTo>
                        <a:pt x="1621" y="1051"/>
                      </a:lnTo>
                      <a:lnTo>
                        <a:pt x="1617" y="1048"/>
                      </a:lnTo>
                      <a:lnTo>
                        <a:pt x="1616" y="1044"/>
                      </a:lnTo>
                      <a:lnTo>
                        <a:pt x="1617" y="1041"/>
                      </a:lnTo>
                      <a:lnTo>
                        <a:pt x="1617" y="1041"/>
                      </a:lnTo>
                      <a:lnTo>
                        <a:pt x="1619" y="1041"/>
                      </a:lnTo>
                      <a:lnTo>
                        <a:pt x="1621" y="1041"/>
                      </a:lnTo>
                      <a:lnTo>
                        <a:pt x="1624" y="1046"/>
                      </a:lnTo>
                      <a:lnTo>
                        <a:pt x="1628" y="1053"/>
                      </a:lnTo>
                      <a:lnTo>
                        <a:pt x="1631" y="1057"/>
                      </a:lnTo>
                      <a:lnTo>
                        <a:pt x="1631" y="1057"/>
                      </a:lnTo>
                      <a:lnTo>
                        <a:pt x="1635" y="1057"/>
                      </a:lnTo>
                      <a:lnTo>
                        <a:pt x="1637" y="1057"/>
                      </a:lnTo>
                      <a:lnTo>
                        <a:pt x="1642" y="1053"/>
                      </a:lnTo>
                      <a:lnTo>
                        <a:pt x="1647" y="1051"/>
                      </a:lnTo>
                      <a:lnTo>
                        <a:pt x="1649" y="1051"/>
                      </a:lnTo>
                      <a:lnTo>
                        <a:pt x="1652" y="1051"/>
                      </a:lnTo>
                      <a:lnTo>
                        <a:pt x="1652" y="1051"/>
                      </a:lnTo>
                      <a:lnTo>
                        <a:pt x="1656" y="1053"/>
                      </a:lnTo>
                      <a:lnTo>
                        <a:pt x="1657" y="1057"/>
                      </a:lnTo>
                      <a:lnTo>
                        <a:pt x="1659" y="1058"/>
                      </a:lnTo>
                      <a:lnTo>
                        <a:pt x="1663" y="1062"/>
                      </a:lnTo>
                      <a:lnTo>
                        <a:pt x="1663" y="1062"/>
                      </a:lnTo>
                      <a:lnTo>
                        <a:pt x="1666" y="1062"/>
                      </a:lnTo>
                      <a:lnTo>
                        <a:pt x="1670" y="1062"/>
                      </a:lnTo>
                      <a:lnTo>
                        <a:pt x="1675" y="1064"/>
                      </a:lnTo>
                      <a:lnTo>
                        <a:pt x="1685" y="1067"/>
                      </a:lnTo>
                      <a:lnTo>
                        <a:pt x="1685" y="1067"/>
                      </a:lnTo>
                      <a:lnTo>
                        <a:pt x="1691" y="1071"/>
                      </a:lnTo>
                      <a:lnTo>
                        <a:pt x="1694" y="1071"/>
                      </a:lnTo>
                      <a:lnTo>
                        <a:pt x="1694" y="1069"/>
                      </a:lnTo>
                      <a:lnTo>
                        <a:pt x="1694" y="1065"/>
                      </a:lnTo>
                      <a:lnTo>
                        <a:pt x="1691" y="1058"/>
                      </a:lnTo>
                      <a:lnTo>
                        <a:pt x="1684" y="1051"/>
                      </a:lnTo>
                      <a:lnTo>
                        <a:pt x="1684" y="1051"/>
                      </a:lnTo>
                      <a:lnTo>
                        <a:pt x="1678" y="1046"/>
                      </a:lnTo>
                      <a:lnTo>
                        <a:pt x="1677" y="1041"/>
                      </a:lnTo>
                      <a:lnTo>
                        <a:pt x="1673" y="1037"/>
                      </a:lnTo>
                      <a:lnTo>
                        <a:pt x="1666" y="1030"/>
                      </a:lnTo>
                      <a:lnTo>
                        <a:pt x="1666" y="1030"/>
                      </a:lnTo>
                      <a:lnTo>
                        <a:pt x="1659" y="1025"/>
                      </a:lnTo>
                      <a:lnTo>
                        <a:pt x="1659" y="1020"/>
                      </a:lnTo>
                      <a:lnTo>
                        <a:pt x="1657" y="1011"/>
                      </a:lnTo>
                      <a:lnTo>
                        <a:pt x="1657" y="1006"/>
                      </a:lnTo>
                      <a:lnTo>
                        <a:pt x="1654" y="999"/>
                      </a:lnTo>
                      <a:lnTo>
                        <a:pt x="1654" y="999"/>
                      </a:lnTo>
                      <a:lnTo>
                        <a:pt x="1650" y="990"/>
                      </a:lnTo>
                      <a:lnTo>
                        <a:pt x="1647" y="982"/>
                      </a:lnTo>
                      <a:lnTo>
                        <a:pt x="1643" y="966"/>
                      </a:lnTo>
                      <a:lnTo>
                        <a:pt x="1640" y="957"/>
                      </a:lnTo>
                      <a:lnTo>
                        <a:pt x="1637" y="950"/>
                      </a:lnTo>
                      <a:lnTo>
                        <a:pt x="1631" y="945"/>
                      </a:lnTo>
                      <a:lnTo>
                        <a:pt x="1624" y="942"/>
                      </a:lnTo>
                      <a:lnTo>
                        <a:pt x="1624" y="942"/>
                      </a:lnTo>
                      <a:lnTo>
                        <a:pt x="1617" y="940"/>
                      </a:lnTo>
                      <a:lnTo>
                        <a:pt x="1614" y="936"/>
                      </a:lnTo>
                      <a:lnTo>
                        <a:pt x="1610" y="931"/>
                      </a:lnTo>
                      <a:lnTo>
                        <a:pt x="1609" y="928"/>
                      </a:lnTo>
                      <a:lnTo>
                        <a:pt x="1607" y="928"/>
                      </a:lnTo>
                      <a:lnTo>
                        <a:pt x="1602" y="928"/>
                      </a:lnTo>
                      <a:lnTo>
                        <a:pt x="1602" y="928"/>
                      </a:lnTo>
                      <a:lnTo>
                        <a:pt x="1598" y="928"/>
                      </a:lnTo>
                      <a:lnTo>
                        <a:pt x="1598" y="924"/>
                      </a:lnTo>
                      <a:lnTo>
                        <a:pt x="1600" y="919"/>
                      </a:lnTo>
                      <a:lnTo>
                        <a:pt x="1603" y="912"/>
                      </a:lnTo>
                      <a:lnTo>
                        <a:pt x="1612" y="896"/>
                      </a:lnTo>
                      <a:lnTo>
                        <a:pt x="1617" y="891"/>
                      </a:lnTo>
                      <a:lnTo>
                        <a:pt x="1621" y="888"/>
                      </a:lnTo>
                      <a:lnTo>
                        <a:pt x="1621" y="888"/>
                      </a:lnTo>
                      <a:lnTo>
                        <a:pt x="1626" y="884"/>
                      </a:lnTo>
                      <a:lnTo>
                        <a:pt x="1628" y="882"/>
                      </a:lnTo>
                      <a:lnTo>
                        <a:pt x="1630" y="879"/>
                      </a:lnTo>
                      <a:lnTo>
                        <a:pt x="1633" y="876"/>
                      </a:lnTo>
                      <a:lnTo>
                        <a:pt x="1633" y="876"/>
                      </a:lnTo>
                      <a:lnTo>
                        <a:pt x="1635" y="872"/>
                      </a:lnTo>
                      <a:lnTo>
                        <a:pt x="1635" y="870"/>
                      </a:lnTo>
                      <a:lnTo>
                        <a:pt x="1633" y="867"/>
                      </a:lnTo>
                      <a:lnTo>
                        <a:pt x="1631" y="863"/>
                      </a:lnTo>
                      <a:lnTo>
                        <a:pt x="1631" y="862"/>
                      </a:lnTo>
                      <a:lnTo>
                        <a:pt x="1633" y="860"/>
                      </a:lnTo>
                      <a:lnTo>
                        <a:pt x="1633" y="860"/>
                      </a:lnTo>
                      <a:lnTo>
                        <a:pt x="1635" y="860"/>
                      </a:lnTo>
                      <a:lnTo>
                        <a:pt x="1637" y="860"/>
                      </a:lnTo>
                      <a:lnTo>
                        <a:pt x="1638" y="863"/>
                      </a:lnTo>
                      <a:lnTo>
                        <a:pt x="1638" y="865"/>
                      </a:lnTo>
                      <a:lnTo>
                        <a:pt x="1640" y="867"/>
                      </a:lnTo>
                      <a:lnTo>
                        <a:pt x="1642" y="867"/>
                      </a:lnTo>
                      <a:lnTo>
                        <a:pt x="1647" y="865"/>
                      </a:lnTo>
                      <a:lnTo>
                        <a:pt x="1647" y="865"/>
                      </a:lnTo>
                      <a:lnTo>
                        <a:pt x="1649" y="863"/>
                      </a:lnTo>
                      <a:lnTo>
                        <a:pt x="1650" y="862"/>
                      </a:lnTo>
                      <a:lnTo>
                        <a:pt x="1652" y="856"/>
                      </a:lnTo>
                      <a:lnTo>
                        <a:pt x="1654" y="853"/>
                      </a:lnTo>
                      <a:lnTo>
                        <a:pt x="1656" y="851"/>
                      </a:lnTo>
                      <a:lnTo>
                        <a:pt x="1657" y="851"/>
                      </a:lnTo>
                      <a:lnTo>
                        <a:pt x="1657" y="851"/>
                      </a:lnTo>
                      <a:lnTo>
                        <a:pt x="1659" y="851"/>
                      </a:lnTo>
                      <a:lnTo>
                        <a:pt x="1661" y="851"/>
                      </a:lnTo>
                      <a:lnTo>
                        <a:pt x="1663" y="848"/>
                      </a:lnTo>
                      <a:lnTo>
                        <a:pt x="1666" y="842"/>
                      </a:lnTo>
                      <a:lnTo>
                        <a:pt x="1671" y="837"/>
                      </a:lnTo>
                      <a:lnTo>
                        <a:pt x="1671" y="837"/>
                      </a:lnTo>
                      <a:lnTo>
                        <a:pt x="1678" y="834"/>
                      </a:lnTo>
                      <a:lnTo>
                        <a:pt x="1682" y="834"/>
                      </a:lnTo>
                      <a:lnTo>
                        <a:pt x="1685" y="834"/>
                      </a:lnTo>
                      <a:lnTo>
                        <a:pt x="1691" y="829"/>
                      </a:lnTo>
                      <a:lnTo>
                        <a:pt x="1691" y="829"/>
                      </a:lnTo>
                      <a:lnTo>
                        <a:pt x="1696" y="825"/>
                      </a:lnTo>
                      <a:lnTo>
                        <a:pt x="1697" y="825"/>
                      </a:lnTo>
                      <a:lnTo>
                        <a:pt x="1699" y="827"/>
                      </a:lnTo>
                      <a:lnTo>
                        <a:pt x="1701" y="827"/>
                      </a:lnTo>
                      <a:lnTo>
                        <a:pt x="1701" y="827"/>
                      </a:lnTo>
                      <a:lnTo>
                        <a:pt x="1703" y="825"/>
                      </a:lnTo>
                      <a:lnTo>
                        <a:pt x="1704" y="825"/>
                      </a:lnTo>
                      <a:lnTo>
                        <a:pt x="1704" y="829"/>
                      </a:lnTo>
                      <a:lnTo>
                        <a:pt x="1704" y="830"/>
                      </a:lnTo>
                      <a:lnTo>
                        <a:pt x="1706" y="830"/>
                      </a:lnTo>
                      <a:lnTo>
                        <a:pt x="1708" y="830"/>
                      </a:lnTo>
                      <a:lnTo>
                        <a:pt x="1711" y="830"/>
                      </a:lnTo>
                      <a:lnTo>
                        <a:pt x="1711" y="830"/>
                      </a:lnTo>
                      <a:lnTo>
                        <a:pt x="1717" y="829"/>
                      </a:lnTo>
                      <a:lnTo>
                        <a:pt x="1717" y="827"/>
                      </a:lnTo>
                      <a:lnTo>
                        <a:pt x="1717" y="823"/>
                      </a:lnTo>
                      <a:lnTo>
                        <a:pt x="1715" y="822"/>
                      </a:lnTo>
                      <a:lnTo>
                        <a:pt x="1715" y="818"/>
                      </a:lnTo>
                      <a:lnTo>
                        <a:pt x="1717" y="815"/>
                      </a:lnTo>
                      <a:lnTo>
                        <a:pt x="1720" y="811"/>
                      </a:lnTo>
                      <a:lnTo>
                        <a:pt x="1720" y="811"/>
                      </a:lnTo>
                      <a:lnTo>
                        <a:pt x="1722" y="808"/>
                      </a:lnTo>
                      <a:lnTo>
                        <a:pt x="1722" y="806"/>
                      </a:lnTo>
                      <a:lnTo>
                        <a:pt x="1717" y="804"/>
                      </a:lnTo>
                      <a:lnTo>
                        <a:pt x="1710" y="801"/>
                      </a:lnTo>
                      <a:lnTo>
                        <a:pt x="1704" y="799"/>
                      </a:lnTo>
                      <a:lnTo>
                        <a:pt x="1704" y="799"/>
                      </a:lnTo>
                      <a:lnTo>
                        <a:pt x="1701" y="795"/>
                      </a:lnTo>
                      <a:lnTo>
                        <a:pt x="1699" y="797"/>
                      </a:lnTo>
                      <a:lnTo>
                        <a:pt x="1697" y="799"/>
                      </a:lnTo>
                      <a:lnTo>
                        <a:pt x="1694" y="801"/>
                      </a:lnTo>
                      <a:lnTo>
                        <a:pt x="1689" y="801"/>
                      </a:lnTo>
                      <a:lnTo>
                        <a:pt x="1689" y="801"/>
                      </a:lnTo>
                      <a:lnTo>
                        <a:pt x="1682" y="799"/>
                      </a:lnTo>
                      <a:lnTo>
                        <a:pt x="1678" y="797"/>
                      </a:lnTo>
                      <a:lnTo>
                        <a:pt x="1677" y="795"/>
                      </a:lnTo>
                      <a:lnTo>
                        <a:pt x="1673" y="795"/>
                      </a:lnTo>
                      <a:lnTo>
                        <a:pt x="1673" y="795"/>
                      </a:lnTo>
                      <a:lnTo>
                        <a:pt x="1670" y="795"/>
                      </a:lnTo>
                      <a:lnTo>
                        <a:pt x="1668" y="794"/>
                      </a:lnTo>
                      <a:lnTo>
                        <a:pt x="1666" y="792"/>
                      </a:lnTo>
                      <a:lnTo>
                        <a:pt x="1663" y="787"/>
                      </a:lnTo>
                      <a:lnTo>
                        <a:pt x="1663" y="787"/>
                      </a:lnTo>
                      <a:lnTo>
                        <a:pt x="1661" y="785"/>
                      </a:lnTo>
                      <a:lnTo>
                        <a:pt x="1657" y="785"/>
                      </a:lnTo>
                      <a:lnTo>
                        <a:pt x="1649" y="785"/>
                      </a:lnTo>
                      <a:lnTo>
                        <a:pt x="1642" y="788"/>
                      </a:lnTo>
                      <a:lnTo>
                        <a:pt x="1638" y="794"/>
                      </a:lnTo>
                      <a:lnTo>
                        <a:pt x="1638" y="794"/>
                      </a:lnTo>
                      <a:lnTo>
                        <a:pt x="1633" y="799"/>
                      </a:lnTo>
                      <a:lnTo>
                        <a:pt x="1628" y="802"/>
                      </a:lnTo>
                      <a:lnTo>
                        <a:pt x="1624" y="804"/>
                      </a:lnTo>
                      <a:lnTo>
                        <a:pt x="1623" y="806"/>
                      </a:lnTo>
                      <a:lnTo>
                        <a:pt x="1623" y="808"/>
                      </a:lnTo>
                      <a:lnTo>
                        <a:pt x="1623" y="808"/>
                      </a:lnTo>
                      <a:lnTo>
                        <a:pt x="1624" y="813"/>
                      </a:lnTo>
                      <a:lnTo>
                        <a:pt x="1623" y="815"/>
                      </a:lnTo>
                      <a:lnTo>
                        <a:pt x="1617" y="816"/>
                      </a:lnTo>
                      <a:lnTo>
                        <a:pt x="1607" y="818"/>
                      </a:lnTo>
                      <a:lnTo>
                        <a:pt x="1607" y="818"/>
                      </a:lnTo>
                      <a:lnTo>
                        <a:pt x="1602" y="816"/>
                      </a:lnTo>
                      <a:lnTo>
                        <a:pt x="1598" y="815"/>
                      </a:lnTo>
                      <a:lnTo>
                        <a:pt x="1595" y="811"/>
                      </a:lnTo>
                      <a:lnTo>
                        <a:pt x="1593" y="808"/>
                      </a:lnTo>
                      <a:lnTo>
                        <a:pt x="1591" y="797"/>
                      </a:lnTo>
                      <a:lnTo>
                        <a:pt x="1591" y="794"/>
                      </a:lnTo>
                      <a:lnTo>
                        <a:pt x="1595" y="792"/>
                      </a:lnTo>
                      <a:lnTo>
                        <a:pt x="1595" y="792"/>
                      </a:lnTo>
                      <a:lnTo>
                        <a:pt x="1595" y="788"/>
                      </a:lnTo>
                      <a:lnTo>
                        <a:pt x="1595" y="785"/>
                      </a:lnTo>
                      <a:lnTo>
                        <a:pt x="1593" y="776"/>
                      </a:lnTo>
                      <a:lnTo>
                        <a:pt x="1586" y="769"/>
                      </a:lnTo>
                      <a:lnTo>
                        <a:pt x="1584" y="769"/>
                      </a:lnTo>
                      <a:lnTo>
                        <a:pt x="1581" y="769"/>
                      </a:lnTo>
                      <a:lnTo>
                        <a:pt x="1581" y="769"/>
                      </a:lnTo>
                      <a:lnTo>
                        <a:pt x="1576" y="771"/>
                      </a:lnTo>
                      <a:lnTo>
                        <a:pt x="1569" y="771"/>
                      </a:lnTo>
                      <a:lnTo>
                        <a:pt x="1562" y="769"/>
                      </a:lnTo>
                      <a:lnTo>
                        <a:pt x="1558" y="769"/>
                      </a:lnTo>
                      <a:lnTo>
                        <a:pt x="1558" y="766"/>
                      </a:lnTo>
                      <a:lnTo>
                        <a:pt x="1558" y="766"/>
                      </a:lnTo>
                      <a:lnTo>
                        <a:pt x="1555" y="764"/>
                      </a:lnTo>
                      <a:lnTo>
                        <a:pt x="1549" y="761"/>
                      </a:lnTo>
                      <a:lnTo>
                        <a:pt x="1546" y="757"/>
                      </a:lnTo>
                      <a:lnTo>
                        <a:pt x="1543" y="750"/>
                      </a:lnTo>
                      <a:lnTo>
                        <a:pt x="1543" y="750"/>
                      </a:lnTo>
                      <a:lnTo>
                        <a:pt x="1543" y="741"/>
                      </a:lnTo>
                      <a:lnTo>
                        <a:pt x="1544" y="734"/>
                      </a:lnTo>
                      <a:lnTo>
                        <a:pt x="1546" y="729"/>
                      </a:lnTo>
                      <a:lnTo>
                        <a:pt x="1548" y="726"/>
                      </a:lnTo>
                      <a:lnTo>
                        <a:pt x="1548" y="726"/>
                      </a:lnTo>
                      <a:lnTo>
                        <a:pt x="1549" y="721"/>
                      </a:lnTo>
                      <a:lnTo>
                        <a:pt x="1553" y="719"/>
                      </a:lnTo>
                      <a:lnTo>
                        <a:pt x="1558" y="719"/>
                      </a:lnTo>
                      <a:lnTo>
                        <a:pt x="1565" y="724"/>
                      </a:lnTo>
                      <a:lnTo>
                        <a:pt x="1565" y="724"/>
                      </a:lnTo>
                      <a:lnTo>
                        <a:pt x="1567" y="728"/>
                      </a:lnTo>
                      <a:lnTo>
                        <a:pt x="1569" y="728"/>
                      </a:lnTo>
                      <a:lnTo>
                        <a:pt x="1572" y="724"/>
                      </a:lnTo>
                      <a:lnTo>
                        <a:pt x="1577" y="721"/>
                      </a:lnTo>
                      <a:lnTo>
                        <a:pt x="1579" y="721"/>
                      </a:lnTo>
                      <a:lnTo>
                        <a:pt x="1583" y="721"/>
                      </a:lnTo>
                      <a:lnTo>
                        <a:pt x="1583" y="721"/>
                      </a:lnTo>
                      <a:lnTo>
                        <a:pt x="1590" y="721"/>
                      </a:lnTo>
                      <a:lnTo>
                        <a:pt x="1595" y="717"/>
                      </a:lnTo>
                      <a:lnTo>
                        <a:pt x="1600" y="712"/>
                      </a:lnTo>
                      <a:lnTo>
                        <a:pt x="1602" y="703"/>
                      </a:lnTo>
                      <a:lnTo>
                        <a:pt x="1602" y="703"/>
                      </a:lnTo>
                      <a:lnTo>
                        <a:pt x="1603" y="698"/>
                      </a:lnTo>
                      <a:lnTo>
                        <a:pt x="1607" y="693"/>
                      </a:lnTo>
                      <a:lnTo>
                        <a:pt x="1617" y="684"/>
                      </a:lnTo>
                      <a:lnTo>
                        <a:pt x="1631" y="677"/>
                      </a:lnTo>
                      <a:lnTo>
                        <a:pt x="1640" y="672"/>
                      </a:lnTo>
                      <a:lnTo>
                        <a:pt x="1640" y="672"/>
                      </a:lnTo>
                      <a:lnTo>
                        <a:pt x="1645" y="670"/>
                      </a:lnTo>
                      <a:lnTo>
                        <a:pt x="1647" y="665"/>
                      </a:lnTo>
                      <a:lnTo>
                        <a:pt x="1650" y="660"/>
                      </a:lnTo>
                      <a:lnTo>
                        <a:pt x="1656" y="653"/>
                      </a:lnTo>
                      <a:lnTo>
                        <a:pt x="1656" y="653"/>
                      </a:lnTo>
                      <a:lnTo>
                        <a:pt x="1661" y="646"/>
                      </a:lnTo>
                      <a:lnTo>
                        <a:pt x="1663" y="642"/>
                      </a:lnTo>
                      <a:lnTo>
                        <a:pt x="1663" y="640"/>
                      </a:lnTo>
                      <a:lnTo>
                        <a:pt x="1666" y="637"/>
                      </a:lnTo>
                      <a:lnTo>
                        <a:pt x="1666" y="637"/>
                      </a:lnTo>
                      <a:lnTo>
                        <a:pt x="1670" y="637"/>
                      </a:lnTo>
                      <a:lnTo>
                        <a:pt x="1673" y="635"/>
                      </a:lnTo>
                      <a:lnTo>
                        <a:pt x="1678" y="637"/>
                      </a:lnTo>
                      <a:lnTo>
                        <a:pt x="1684" y="639"/>
                      </a:lnTo>
                      <a:lnTo>
                        <a:pt x="1685" y="639"/>
                      </a:lnTo>
                      <a:lnTo>
                        <a:pt x="1687" y="637"/>
                      </a:lnTo>
                      <a:lnTo>
                        <a:pt x="1687" y="637"/>
                      </a:lnTo>
                      <a:lnTo>
                        <a:pt x="1691" y="635"/>
                      </a:lnTo>
                      <a:lnTo>
                        <a:pt x="1692" y="637"/>
                      </a:lnTo>
                      <a:lnTo>
                        <a:pt x="1694" y="640"/>
                      </a:lnTo>
                      <a:lnTo>
                        <a:pt x="1699" y="646"/>
                      </a:lnTo>
                      <a:lnTo>
                        <a:pt x="1699" y="646"/>
                      </a:lnTo>
                      <a:lnTo>
                        <a:pt x="1704" y="651"/>
                      </a:lnTo>
                      <a:lnTo>
                        <a:pt x="1706" y="656"/>
                      </a:lnTo>
                      <a:lnTo>
                        <a:pt x="1704" y="663"/>
                      </a:lnTo>
                      <a:lnTo>
                        <a:pt x="1699" y="672"/>
                      </a:lnTo>
                      <a:lnTo>
                        <a:pt x="1699" y="672"/>
                      </a:lnTo>
                      <a:lnTo>
                        <a:pt x="1696" y="677"/>
                      </a:lnTo>
                      <a:lnTo>
                        <a:pt x="1691" y="681"/>
                      </a:lnTo>
                      <a:lnTo>
                        <a:pt x="1684" y="686"/>
                      </a:lnTo>
                      <a:lnTo>
                        <a:pt x="1678" y="689"/>
                      </a:lnTo>
                      <a:lnTo>
                        <a:pt x="1678" y="691"/>
                      </a:lnTo>
                      <a:lnTo>
                        <a:pt x="1680" y="693"/>
                      </a:lnTo>
                      <a:lnTo>
                        <a:pt x="1680" y="693"/>
                      </a:lnTo>
                      <a:lnTo>
                        <a:pt x="1680" y="694"/>
                      </a:lnTo>
                      <a:lnTo>
                        <a:pt x="1678" y="696"/>
                      </a:lnTo>
                      <a:lnTo>
                        <a:pt x="1675" y="700"/>
                      </a:lnTo>
                      <a:lnTo>
                        <a:pt x="1671" y="701"/>
                      </a:lnTo>
                      <a:lnTo>
                        <a:pt x="1670" y="703"/>
                      </a:lnTo>
                      <a:lnTo>
                        <a:pt x="1671" y="703"/>
                      </a:lnTo>
                      <a:lnTo>
                        <a:pt x="1671" y="703"/>
                      </a:lnTo>
                      <a:lnTo>
                        <a:pt x="1677" y="705"/>
                      </a:lnTo>
                      <a:lnTo>
                        <a:pt x="1680" y="710"/>
                      </a:lnTo>
                      <a:lnTo>
                        <a:pt x="1685" y="715"/>
                      </a:lnTo>
                      <a:lnTo>
                        <a:pt x="1685" y="719"/>
                      </a:lnTo>
                      <a:lnTo>
                        <a:pt x="1685" y="722"/>
                      </a:lnTo>
                      <a:lnTo>
                        <a:pt x="1685" y="722"/>
                      </a:lnTo>
                      <a:lnTo>
                        <a:pt x="1684" y="726"/>
                      </a:lnTo>
                      <a:lnTo>
                        <a:pt x="1684" y="726"/>
                      </a:lnTo>
                      <a:lnTo>
                        <a:pt x="1680" y="726"/>
                      </a:lnTo>
                      <a:lnTo>
                        <a:pt x="1677" y="724"/>
                      </a:lnTo>
                      <a:lnTo>
                        <a:pt x="1675" y="726"/>
                      </a:lnTo>
                      <a:lnTo>
                        <a:pt x="1673" y="728"/>
                      </a:lnTo>
                      <a:lnTo>
                        <a:pt x="1673" y="728"/>
                      </a:lnTo>
                      <a:lnTo>
                        <a:pt x="1671" y="731"/>
                      </a:lnTo>
                      <a:lnTo>
                        <a:pt x="1670" y="731"/>
                      </a:lnTo>
                      <a:lnTo>
                        <a:pt x="1668" y="731"/>
                      </a:lnTo>
                      <a:lnTo>
                        <a:pt x="1666" y="736"/>
                      </a:lnTo>
                      <a:lnTo>
                        <a:pt x="1666" y="736"/>
                      </a:lnTo>
                      <a:lnTo>
                        <a:pt x="1666" y="740"/>
                      </a:lnTo>
                      <a:lnTo>
                        <a:pt x="1668" y="741"/>
                      </a:lnTo>
                      <a:lnTo>
                        <a:pt x="1670" y="743"/>
                      </a:lnTo>
                      <a:lnTo>
                        <a:pt x="1671" y="741"/>
                      </a:lnTo>
                      <a:lnTo>
                        <a:pt x="1677" y="738"/>
                      </a:lnTo>
                      <a:lnTo>
                        <a:pt x="1684" y="736"/>
                      </a:lnTo>
                      <a:lnTo>
                        <a:pt x="1684" y="736"/>
                      </a:lnTo>
                      <a:lnTo>
                        <a:pt x="1689" y="736"/>
                      </a:lnTo>
                      <a:lnTo>
                        <a:pt x="1689" y="733"/>
                      </a:lnTo>
                      <a:lnTo>
                        <a:pt x="1687" y="731"/>
                      </a:lnTo>
                      <a:lnTo>
                        <a:pt x="1687" y="729"/>
                      </a:lnTo>
                      <a:lnTo>
                        <a:pt x="1687" y="729"/>
                      </a:lnTo>
                      <a:lnTo>
                        <a:pt x="1691" y="729"/>
                      </a:lnTo>
                      <a:lnTo>
                        <a:pt x="1694" y="729"/>
                      </a:lnTo>
                      <a:lnTo>
                        <a:pt x="1699" y="728"/>
                      </a:lnTo>
                      <a:lnTo>
                        <a:pt x="1703" y="721"/>
                      </a:lnTo>
                      <a:lnTo>
                        <a:pt x="1703" y="721"/>
                      </a:lnTo>
                      <a:lnTo>
                        <a:pt x="1708" y="714"/>
                      </a:lnTo>
                      <a:lnTo>
                        <a:pt x="1711" y="710"/>
                      </a:lnTo>
                      <a:lnTo>
                        <a:pt x="1715" y="707"/>
                      </a:lnTo>
                      <a:lnTo>
                        <a:pt x="1720" y="703"/>
                      </a:lnTo>
                      <a:lnTo>
                        <a:pt x="1720" y="703"/>
                      </a:lnTo>
                      <a:lnTo>
                        <a:pt x="1724" y="700"/>
                      </a:lnTo>
                      <a:lnTo>
                        <a:pt x="1725" y="700"/>
                      </a:lnTo>
                      <a:lnTo>
                        <a:pt x="1732" y="698"/>
                      </a:lnTo>
                      <a:lnTo>
                        <a:pt x="1739" y="696"/>
                      </a:lnTo>
                      <a:lnTo>
                        <a:pt x="1741" y="696"/>
                      </a:lnTo>
                      <a:lnTo>
                        <a:pt x="1743" y="693"/>
                      </a:lnTo>
                      <a:lnTo>
                        <a:pt x="1743" y="693"/>
                      </a:lnTo>
                      <a:lnTo>
                        <a:pt x="1744" y="689"/>
                      </a:lnTo>
                      <a:lnTo>
                        <a:pt x="1748" y="691"/>
                      </a:lnTo>
                      <a:lnTo>
                        <a:pt x="1751" y="691"/>
                      </a:lnTo>
                      <a:lnTo>
                        <a:pt x="1751" y="691"/>
                      </a:lnTo>
                      <a:lnTo>
                        <a:pt x="1753" y="689"/>
                      </a:lnTo>
                      <a:lnTo>
                        <a:pt x="1753" y="689"/>
                      </a:lnTo>
                      <a:lnTo>
                        <a:pt x="1755" y="689"/>
                      </a:lnTo>
                      <a:lnTo>
                        <a:pt x="1758" y="687"/>
                      </a:lnTo>
                      <a:lnTo>
                        <a:pt x="1764" y="687"/>
                      </a:lnTo>
                      <a:lnTo>
                        <a:pt x="1772" y="687"/>
                      </a:lnTo>
                      <a:lnTo>
                        <a:pt x="1776" y="686"/>
                      </a:lnTo>
                      <a:lnTo>
                        <a:pt x="1781" y="681"/>
                      </a:lnTo>
                      <a:lnTo>
                        <a:pt x="1781" y="679"/>
                      </a:lnTo>
                      <a:lnTo>
                        <a:pt x="1781" y="679"/>
                      </a:lnTo>
                      <a:lnTo>
                        <a:pt x="1786" y="670"/>
                      </a:lnTo>
                      <a:lnTo>
                        <a:pt x="1791" y="663"/>
                      </a:lnTo>
                      <a:lnTo>
                        <a:pt x="1797" y="660"/>
                      </a:lnTo>
                      <a:lnTo>
                        <a:pt x="1802" y="658"/>
                      </a:lnTo>
                      <a:lnTo>
                        <a:pt x="1802" y="658"/>
                      </a:lnTo>
                      <a:lnTo>
                        <a:pt x="1804" y="656"/>
                      </a:lnTo>
                      <a:lnTo>
                        <a:pt x="1805" y="654"/>
                      </a:lnTo>
                      <a:lnTo>
                        <a:pt x="1807" y="653"/>
                      </a:lnTo>
                      <a:lnTo>
                        <a:pt x="1812" y="651"/>
                      </a:lnTo>
                      <a:lnTo>
                        <a:pt x="1812" y="651"/>
                      </a:lnTo>
                      <a:lnTo>
                        <a:pt x="1818" y="649"/>
                      </a:lnTo>
                      <a:lnTo>
                        <a:pt x="1819" y="647"/>
                      </a:lnTo>
                      <a:lnTo>
                        <a:pt x="1821" y="646"/>
                      </a:lnTo>
                      <a:lnTo>
                        <a:pt x="1825" y="644"/>
                      </a:lnTo>
                      <a:lnTo>
                        <a:pt x="1825" y="644"/>
                      </a:lnTo>
                      <a:lnTo>
                        <a:pt x="1826" y="642"/>
                      </a:lnTo>
                      <a:lnTo>
                        <a:pt x="1826" y="640"/>
                      </a:lnTo>
                      <a:lnTo>
                        <a:pt x="1828" y="639"/>
                      </a:lnTo>
                      <a:lnTo>
                        <a:pt x="1833" y="637"/>
                      </a:lnTo>
                      <a:lnTo>
                        <a:pt x="1833" y="637"/>
                      </a:lnTo>
                      <a:lnTo>
                        <a:pt x="1837" y="637"/>
                      </a:lnTo>
                      <a:lnTo>
                        <a:pt x="1840" y="635"/>
                      </a:lnTo>
                      <a:lnTo>
                        <a:pt x="1845" y="630"/>
                      </a:lnTo>
                      <a:lnTo>
                        <a:pt x="1854" y="616"/>
                      </a:lnTo>
                      <a:lnTo>
                        <a:pt x="1854" y="616"/>
                      </a:lnTo>
                      <a:lnTo>
                        <a:pt x="1858" y="613"/>
                      </a:lnTo>
                      <a:lnTo>
                        <a:pt x="1858" y="609"/>
                      </a:lnTo>
                      <a:lnTo>
                        <a:pt x="1858" y="606"/>
                      </a:lnTo>
                      <a:lnTo>
                        <a:pt x="1861" y="600"/>
                      </a:lnTo>
                      <a:lnTo>
                        <a:pt x="1861" y="600"/>
                      </a:lnTo>
                      <a:lnTo>
                        <a:pt x="1863" y="597"/>
                      </a:lnTo>
                      <a:lnTo>
                        <a:pt x="1865" y="599"/>
                      </a:lnTo>
                      <a:lnTo>
                        <a:pt x="1866" y="599"/>
                      </a:lnTo>
                      <a:lnTo>
                        <a:pt x="1868" y="595"/>
                      </a:lnTo>
                      <a:lnTo>
                        <a:pt x="1868" y="595"/>
                      </a:lnTo>
                      <a:lnTo>
                        <a:pt x="1870" y="595"/>
                      </a:lnTo>
                      <a:lnTo>
                        <a:pt x="1872" y="595"/>
                      </a:lnTo>
                      <a:lnTo>
                        <a:pt x="1875" y="600"/>
                      </a:lnTo>
                      <a:lnTo>
                        <a:pt x="1879" y="606"/>
                      </a:lnTo>
                      <a:lnTo>
                        <a:pt x="1884" y="609"/>
                      </a:lnTo>
                      <a:lnTo>
                        <a:pt x="1884" y="609"/>
                      </a:lnTo>
                      <a:lnTo>
                        <a:pt x="1892" y="613"/>
                      </a:lnTo>
                      <a:lnTo>
                        <a:pt x="1898" y="613"/>
                      </a:lnTo>
                      <a:lnTo>
                        <a:pt x="1901" y="611"/>
                      </a:lnTo>
                      <a:lnTo>
                        <a:pt x="1901" y="611"/>
                      </a:lnTo>
                      <a:lnTo>
                        <a:pt x="1906" y="611"/>
                      </a:lnTo>
                      <a:lnTo>
                        <a:pt x="1910" y="613"/>
                      </a:lnTo>
                      <a:lnTo>
                        <a:pt x="1913" y="613"/>
                      </a:lnTo>
                      <a:lnTo>
                        <a:pt x="1915" y="613"/>
                      </a:lnTo>
                      <a:lnTo>
                        <a:pt x="1917" y="611"/>
                      </a:lnTo>
                      <a:lnTo>
                        <a:pt x="1917" y="611"/>
                      </a:lnTo>
                      <a:lnTo>
                        <a:pt x="1919" y="607"/>
                      </a:lnTo>
                      <a:lnTo>
                        <a:pt x="1919" y="606"/>
                      </a:lnTo>
                      <a:lnTo>
                        <a:pt x="1917" y="600"/>
                      </a:lnTo>
                      <a:lnTo>
                        <a:pt x="1913" y="595"/>
                      </a:lnTo>
                      <a:lnTo>
                        <a:pt x="1910" y="590"/>
                      </a:lnTo>
                      <a:lnTo>
                        <a:pt x="1910" y="590"/>
                      </a:lnTo>
                      <a:lnTo>
                        <a:pt x="1912" y="585"/>
                      </a:lnTo>
                      <a:lnTo>
                        <a:pt x="1912" y="583"/>
                      </a:lnTo>
                      <a:lnTo>
                        <a:pt x="1915" y="583"/>
                      </a:lnTo>
                      <a:lnTo>
                        <a:pt x="1917" y="583"/>
                      </a:lnTo>
                      <a:lnTo>
                        <a:pt x="1924" y="583"/>
                      </a:lnTo>
                      <a:lnTo>
                        <a:pt x="1931" y="583"/>
                      </a:lnTo>
                      <a:lnTo>
                        <a:pt x="1931" y="583"/>
                      </a:lnTo>
                      <a:lnTo>
                        <a:pt x="1936" y="583"/>
                      </a:lnTo>
                      <a:lnTo>
                        <a:pt x="1940" y="583"/>
                      </a:lnTo>
                      <a:lnTo>
                        <a:pt x="1941" y="583"/>
                      </a:lnTo>
                      <a:lnTo>
                        <a:pt x="1946" y="580"/>
                      </a:lnTo>
                      <a:lnTo>
                        <a:pt x="1946" y="580"/>
                      </a:lnTo>
                      <a:lnTo>
                        <a:pt x="1950" y="574"/>
                      </a:lnTo>
                      <a:lnTo>
                        <a:pt x="1953" y="567"/>
                      </a:lnTo>
                      <a:lnTo>
                        <a:pt x="1955" y="564"/>
                      </a:lnTo>
                      <a:lnTo>
                        <a:pt x="1957" y="562"/>
                      </a:lnTo>
                      <a:lnTo>
                        <a:pt x="1960" y="564"/>
                      </a:lnTo>
                      <a:lnTo>
                        <a:pt x="1960" y="564"/>
                      </a:lnTo>
                      <a:lnTo>
                        <a:pt x="1966" y="564"/>
                      </a:lnTo>
                      <a:lnTo>
                        <a:pt x="1967" y="562"/>
                      </a:lnTo>
                      <a:lnTo>
                        <a:pt x="1969" y="559"/>
                      </a:lnTo>
                      <a:lnTo>
                        <a:pt x="1969" y="552"/>
                      </a:lnTo>
                      <a:lnTo>
                        <a:pt x="1971" y="541"/>
                      </a:lnTo>
                      <a:lnTo>
                        <a:pt x="1974" y="538"/>
                      </a:lnTo>
                      <a:lnTo>
                        <a:pt x="1978" y="536"/>
                      </a:lnTo>
                      <a:lnTo>
                        <a:pt x="1978" y="536"/>
                      </a:lnTo>
                      <a:lnTo>
                        <a:pt x="1981" y="538"/>
                      </a:lnTo>
                      <a:lnTo>
                        <a:pt x="1985" y="539"/>
                      </a:lnTo>
                      <a:lnTo>
                        <a:pt x="1987" y="543"/>
                      </a:lnTo>
                      <a:lnTo>
                        <a:pt x="1988" y="548"/>
                      </a:lnTo>
                      <a:lnTo>
                        <a:pt x="1990" y="553"/>
                      </a:lnTo>
                      <a:lnTo>
                        <a:pt x="1990" y="553"/>
                      </a:lnTo>
                      <a:lnTo>
                        <a:pt x="1993" y="555"/>
                      </a:lnTo>
                      <a:lnTo>
                        <a:pt x="1995" y="555"/>
                      </a:lnTo>
                      <a:lnTo>
                        <a:pt x="1995" y="555"/>
                      </a:lnTo>
                      <a:lnTo>
                        <a:pt x="1999" y="546"/>
                      </a:lnTo>
                      <a:lnTo>
                        <a:pt x="2000" y="543"/>
                      </a:lnTo>
                      <a:lnTo>
                        <a:pt x="2002" y="541"/>
                      </a:lnTo>
                      <a:lnTo>
                        <a:pt x="2006" y="541"/>
                      </a:lnTo>
                      <a:lnTo>
                        <a:pt x="2009" y="541"/>
                      </a:lnTo>
                      <a:lnTo>
                        <a:pt x="2013" y="539"/>
                      </a:lnTo>
                      <a:lnTo>
                        <a:pt x="2016" y="536"/>
                      </a:lnTo>
                      <a:lnTo>
                        <a:pt x="2020" y="531"/>
                      </a:lnTo>
                      <a:lnTo>
                        <a:pt x="2020" y="531"/>
                      </a:lnTo>
                      <a:lnTo>
                        <a:pt x="2023" y="522"/>
                      </a:lnTo>
                      <a:lnTo>
                        <a:pt x="2025" y="513"/>
                      </a:lnTo>
                      <a:lnTo>
                        <a:pt x="2025" y="503"/>
                      </a:lnTo>
                      <a:lnTo>
                        <a:pt x="2023" y="494"/>
                      </a:lnTo>
                      <a:lnTo>
                        <a:pt x="2020" y="473"/>
                      </a:lnTo>
                      <a:lnTo>
                        <a:pt x="2014" y="454"/>
                      </a:lnTo>
                      <a:lnTo>
                        <a:pt x="2014" y="454"/>
                      </a:lnTo>
                      <a:lnTo>
                        <a:pt x="2013" y="447"/>
                      </a:lnTo>
                      <a:lnTo>
                        <a:pt x="2013" y="442"/>
                      </a:lnTo>
                      <a:lnTo>
                        <a:pt x="2014" y="440"/>
                      </a:lnTo>
                      <a:lnTo>
                        <a:pt x="2020" y="439"/>
                      </a:lnTo>
                      <a:lnTo>
                        <a:pt x="2028" y="437"/>
                      </a:lnTo>
                      <a:lnTo>
                        <a:pt x="2034" y="435"/>
                      </a:lnTo>
                      <a:lnTo>
                        <a:pt x="2037" y="430"/>
                      </a:lnTo>
                      <a:lnTo>
                        <a:pt x="2037" y="430"/>
                      </a:lnTo>
                      <a:lnTo>
                        <a:pt x="2039" y="425"/>
                      </a:lnTo>
                      <a:lnTo>
                        <a:pt x="2042" y="421"/>
                      </a:lnTo>
                      <a:lnTo>
                        <a:pt x="2046" y="421"/>
                      </a:lnTo>
                      <a:lnTo>
                        <a:pt x="2049" y="421"/>
                      </a:lnTo>
                      <a:lnTo>
                        <a:pt x="2061" y="426"/>
                      </a:lnTo>
                      <a:lnTo>
                        <a:pt x="2077" y="433"/>
                      </a:lnTo>
                      <a:lnTo>
                        <a:pt x="2077" y="433"/>
                      </a:lnTo>
                      <a:lnTo>
                        <a:pt x="2081" y="435"/>
                      </a:lnTo>
                      <a:lnTo>
                        <a:pt x="2086" y="433"/>
                      </a:lnTo>
                      <a:lnTo>
                        <a:pt x="2089" y="430"/>
                      </a:lnTo>
                      <a:lnTo>
                        <a:pt x="2093" y="423"/>
                      </a:lnTo>
                      <a:lnTo>
                        <a:pt x="2101" y="409"/>
                      </a:lnTo>
                      <a:lnTo>
                        <a:pt x="2108" y="388"/>
                      </a:lnTo>
                      <a:lnTo>
                        <a:pt x="2122" y="346"/>
                      </a:lnTo>
                      <a:lnTo>
                        <a:pt x="2129" y="327"/>
                      </a:lnTo>
                      <a:lnTo>
                        <a:pt x="2138" y="313"/>
                      </a:lnTo>
                      <a:lnTo>
                        <a:pt x="2138" y="313"/>
                      </a:lnTo>
                      <a:lnTo>
                        <a:pt x="2143" y="301"/>
                      </a:lnTo>
                      <a:lnTo>
                        <a:pt x="2147" y="291"/>
                      </a:lnTo>
                      <a:lnTo>
                        <a:pt x="2147" y="282"/>
                      </a:lnTo>
                      <a:lnTo>
                        <a:pt x="2143" y="273"/>
                      </a:lnTo>
                      <a:lnTo>
                        <a:pt x="2140" y="268"/>
                      </a:lnTo>
                      <a:lnTo>
                        <a:pt x="2133" y="264"/>
                      </a:lnTo>
                      <a:lnTo>
                        <a:pt x="2126" y="266"/>
                      </a:lnTo>
                      <a:lnTo>
                        <a:pt x="2117" y="271"/>
                      </a:lnTo>
                      <a:lnTo>
                        <a:pt x="2117" y="271"/>
                      </a:lnTo>
                      <a:close/>
                    </a:path>
                  </a:pathLst>
                </a:custGeom>
                <a:solidFill>
                  <a:schemeClr val="bg1">
                    <a:lumMod val="85000"/>
                  </a:scheme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6" name="Line 2732">
                  <a:extLst>
                    <a:ext uri="{FF2B5EF4-FFF2-40B4-BE49-F238E27FC236}">
                      <a16:creationId xmlns:a16="http://schemas.microsoft.com/office/drawing/2014/main" id="{2232611F-7782-9ECB-9E30-11C0FC6D2899}"/>
                    </a:ext>
                  </a:extLst>
                </p:cNvPr>
                <p:cNvSpPr>
                  <a:spLocks noChangeShapeType="1"/>
                </p:cNvSpPr>
                <p:nvPr/>
              </p:nvSpPr>
              <p:spPr bwMode="auto">
                <a:xfrm>
                  <a:off x="5570785" y="4582251"/>
                  <a:ext cx="361211" cy="0"/>
                </a:xfrm>
                <a:prstGeom prst="line">
                  <a:avLst/>
                </a:pr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7" name="Line 2734">
                  <a:extLst>
                    <a:ext uri="{FF2B5EF4-FFF2-40B4-BE49-F238E27FC236}">
                      <a16:creationId xmlns:a16="http://schemas.microsoft.com/office/drawing/2014/main" id="{94D832C2-3932-38D0-1A13-0F170B8C938E}"/>
                    </a:ext>
                  </a:extLst>
                </p:cNvPr>
                <p:cNvSpPr>
                  <a:spLocks noChangeShapeType="1"/>
                </p:cNvSpPr>
                <p:nvPr/>
              </p:nvSpPr>
              <p:spPr bwMode="auto">
                <a:xfrm>
                  <a:off x="5561978" y="4640401"/>
                  <a:ext cx="377068" cy="1762"/>
                </a:xfrm>
                <a:prstGeom prst="line">
                  <a:avLst/>
                </a:pr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8" name="Freeform 1965">
                  <a:extLst>
                    <a:ext uri="{FF2B5EF4-FFF2-40B4-BE49-F238E27FC236}">
                      <a16:creationId xmlns:a16="http://schemas.microsoft.com/office/drawing/2014/main" id="{C0984B7C-ED83-CCF6-339A-EB9AC4383777}"/>
                    </a:ext>
                  </a:extLst>
                </p:cNvPr>
                <p:cNvSpPr>
                  <a:spLocks/>
                </p:cNvSpPr>
                <p:nvPr/>
              </p:nvSpPr>
              <p:spPr bwMode="auto">
                <a:xfrm>
                  <a:off x="4494205" y="1926915"/>
                  <a:ext cx="310112" cy="153294"/>
                </a:xfrm>
                <a:custGeom>
                  <a:avLst/>
                  <a:gdLst/>
                  <a:ahLst/>
                  <a:cxnLst>
                    <a:cxn ang="0">
                      <a:pos x="360" y="52"/>
                    </a:cxn>
                    <a:cxn ang="0">
                      <a:pos x="381" y="61"/>
                    </a:cxn>
                    <a:cxn ang="0">
                      <a:pos x="387" y="89"/>
                    </a:cxn>
                    <a:cxn ang="0">
                      <a:pos x="364" y="115"/>
                    </a:cxn>
                    <a:cxn ang="0">
                      <a:pos x="343" y="136"/>
                    </a:cxn>
                    <a:cxn ang="0">
                      <a:pos x="310" y="145"/>
                    </a:cxn>
                    <a:cxn ang="0">
                      <a:pos x="254" y="169"/>
                    </a:cxn>
                    <a:cxn ang="0">
                      <a:pos x="232" y="185"/>
                    </a:cxn>
                    <a:cxn ang="0">
                      <a:pos x="202" y="194"/>
                    </a:cxn>
                    <a:cxn ang="0">
                      <a:pos x="171" y="183"/>
                    </a:cxn>
                    <a:cxn ang="0">
                      <a:pos x="136" y="169"/>
                    </a:cxn>
                    <a:cxn ang="0">
                      <a:pos x="87" y="166"/>
                    </a:cxn>
                    <a:cxn ang="0">
                      <a:pos x="64" y="157"/>
                    </a:cxn>
                    <a:cxn ang="0">
                      <a:pos x="82" y="153"/>
                    </a:cxn>
                    <a:cxn ang="0">
                      <a:pos x="92" y="136"/>
                    </a:cxn>
                    <a:cxn ang="0">
                      <a:pos x="78" y="122"/>
                    </a:cxn>
                    <a:cxn ang="0">
                      <a:pos x="68" y="110"/>
                    </a:cxn>
                    <a:cxn ang="0">
                      <a:pos x="24" y="110"/>
                    </a:cxn>
                    <a:cxn ang="0">
                      <a:pos x="23" y="101"/>
                    </a:cxn>
                    <a:cxn ang="0">
                      <a:pos x="52" y="94"/>
                    </a:cxn>
                    <a:cxn ang="0">
                      <a:pos x="82" y="96"/>
                    </a:cxn>
                    <a:cxn ang="0">
                      <a:pos x="89" y="89"/>
                    </a:cxn>
                    <a:cxn ang="0">
                      <a:pos x="75" y="82"/>
                    </a:cxn>
                    <a:cxn ang="0">
                      <a:pos x="91" y="68"/>
                    </a:cxn>
                    <a:cxn ang="0">
                      <a:pos x="33" y="70"/>
                    </a:cxn>
                    <a:cxn ang="0">
                      <a:pos x="4" y="66"/>
                    </a:cxn>
                    <a:cxn ang="0">
                      <a:pos x="5" y="59"/>
                    </a:cxn>
                    <a:cxn ang="0">
                      <a:pos x="17" y="56"/>
                    </a:cxn>
                    <a:cxn ang="0">
                      <a:pos x="28" y="46"/>
                    </a:cxn>
                    <a:cxn ang="0">
                      <a:pos x="38" y="23"/>
                    </a:cxn>
                    <a:cxn ang="0">
                      <a:pos x="61" y="33"/>
                    </a:cxn>
                    <a:cxn ang="0">
                      <a:pos x="80" y="39"/>
                    </a:cxn>
                    <a:cxn ang="0">
                      <a:pos x="51" y="19"/>
                    </a:cxn>
                    <a:cxn ang="0">
                      <a:pos x="57" y="7"/>
                    </a:cxn>
                    <a:cxn ang="0">
                      <a:pos x="87" y="14"/>
                    </a:cxn>
                    <a:cxn ang="0">
                      <a:pos x="111" y="35"/>
                    </a:cxn>
                    <a:cxn ang="0">
                      <a:pos x="113" y="58"/>
                    </a:cxn>
                    <a:cxn ang="0">
                      <a:pos x="122" y="70"/>
                    </a:cxn>
                    <a:cxn ang="0">
                      <a:pos x="136" y="52"/>
                    </a:cxn>
                    <a:cxn ang="0">
                      <a:pos x="150" y="63"/>
                    </a:cxn>
                    <a:cxn ang="0">
                      <a:pos x="150" y="46"/>
                    </a:cxn>
                    <a:cxn ang="0">
                      <a:pos x="153" y="26"/>
                    </a:cxn>
                    <a:cxn ang="0">
                      <a:pos x="172" y="47"/>
                    </a:cxn>
                    <a:cxn ang="0">
                      <a:pos x="183" y="44"/>
                    </a:cxn>
                    <a:cxn ang="0">
                      <a:pos x="200" y="23"/>
                    </a:cxn>
                    <a:cxn ang="0">
                      <a:pos x="214" y="37"/>
                    </a:cxn>
                    <a:cxn ang="0">
                      <a:pos x="223" y="35"/>
                    </a:cxn>
                    <a:cxn ang="0">
                      <a:pos x="230" y="23"/>
                    </a:cxn>
                    <a:cxn ang="0">
                      <a:pos x="251" y="37"/>
                    </a:cxn>
                    <a:cxn ang="0">
                      <a:pos x="272" y="25"/>
                    </a:cxn>
                    <a:cxn ang="0">
                      <a:pos x="286" y="23"/>
                    </a:cxn>
                    <a:cxn ang="0">
                      <a:pos x="282" y="5"/>
                    </a:cxn>
                    <a:cxn ang="0">
                      <a:pos x="306" y="4"/>
                    </a:cxn>
                    <a:cxn ang="0">
                      <a:pos x="320" y="23"/>
                    </a:cxn>
                    <a:cxn ang="0">
                      <a:pos x="347" y="11"/>
                    </a:cxn>
                    <a:cxn ang="0">
                      <a:pos x="343" y="23"/>
                    </a:cxn>
                    <a:cxn ang="0">
                      <a:pos x="348" y="32"/>
                    </a:cxn>
                    <a:cxn ang="0">
                      <a:pos x="347" y="47"/>
                    </a:cxn>
                  </a:cxnLst>
                  <a:rect l="0" t="0" r="r" b="b"/>
                  <a:pathLst>
                    <a:path w="388" h="194">
                      <a:moveTo>
                        <a:pt x="348" y="49"/>
                      </a:moveTo>
                      <a:lnTo>
                        <a:pt x="348" y="49"/>
                      </a:lnTo>
                      <a:lnTo>
                        <a:pt x="353" y="49"/>
                      </a:lnTo>
                      <a:lnTo>
                        <a:pt x="357" y="49"/>
                      </a:lnTo>
                      <a:lnTo>
                        <a:pt x="360" y="52"/>
                      </a:lnTo>
                      <a:lnTo>
                        <a:pt x="364" y="58"/>
                      </a:lnTo>
                      <a:lnTo>
                        <a:pt x="369" y="59"/>
                      </a:lnTo>
                      <a:lnTo>
                        <a:pt x="374" y="59"/>
                      </a:lnTo>
                      <a:lnTo>
                        <a:pt x="374" y="59"/>
                      </a:lnTo>
                      <a:lnTo>
                        <a:pt x="381" y="61"/>
                      </a:lnTo>
                      <a:lnTo>
                        <a:pt x="385" y="65"/>
                      </a:lnTo>
                      <a:lnTo>
                        <a:pt x="388" y="70"/>
                      </a:lnTo>
                      <a:lnTo>
                        <a:pt x="388" y="77"/>
                      </a:lnTo>
                      <a:lnTo>
                        <a:pt x="388" y="82"/>
                      </a:lnTo>
                      <a:lnTo>
                        <a:pt x="387" y="89"/>
                      </a:lnTo>
                      <a:lnTo>
                        <a:pt x="381" y="101"/>
                      </a:lnTo>
                      <a:lnTo>
                        <a:pt x="381" y="101"/>
                      </a:lnTo>
                      <a:lnTo>
                        <a:pt x="376" y="106"/>
                      </a:lnTo>
                      <a:lnTo>
                        <a:pt x="371" y="110"/>
                      </a:lnTo>
                      <a:lnTo>
                        <a:pt x="364" y="115"/>
                      </a:lnTo>
                      <a:lnTo>
                        <a:pt x="355" y="124"/>
                      </a:lnTo>
                      <a:lnTo>
                        <a:pt x="355" y="124"/>
                      </a:lnTo>
                      <a:lnTo>
                        <a:pt x="352" y="131"/>
                      </a:lnTo>
                      <a:lnTo>
                        <a:pt x="347" y="134"/>
                      </a:lnTo>
                      <a:lnTo>
                        <a:pt x="343" y="136"/>
                      </a:lnTo>
                      <a:lnTo>
                        <a:pt x="338" y="136"/>
                      </a:lnTo>
                      <a:lnTo>
                        <a:pt x="326" y="138"/>
                      </a:lnTo>
                      <a:lnTo>
                        <a:pt x="319" y="141"/>
                      </a:lnTo>
                      <a:lnTo>
                        <a:pt x="310" y="145"/>
                      </a:lnTo>
                      <a:lnTo>
                        <a:pt x="310" y="145"/>
                      </a:lnTo>
                      <a:lnTo>
                        <a:pt x="282" y="162"/>
                      </a:lnTo>
                      <a:lnTo>
                        <a:pt x="268" y="167"/>
                      </a:lnTo>
                      <a:lnTo>
                        <a:pt x="261" y="169"/>
                      </a:lnTo>
                      <a:lnTo>
                        <a:pt x="254" y="169"/>
                      </a:lnTo>
                      <a:lnTo>
                        <a:pt x="254" y="169"/>
                      </a:lnTo>
                      <a:lnTo>
                        <a:pt x="247" y="169"/>
                      </a:lnTo>
                      <a:lnTo>
                        <a:pt x="242" y="171"/>
                      </a:lnTo>
                      <a:lnTo>
                        <a:pt x="240" y="174"/>
                      </a:lnTo>
                      <a:lnTo>
                        <a:pt x="237" y="176"/>
                      </a:lnTo>
                      <a:lnTo>
                        <a:pt x="232" y="185"/>
                      </a:lnTo>
                      <a:lnTo>
                        <a:pt x="226" y="188"/>
                      </a:lnTo>
                      <a:lnTo>
                        <a:pt x="218" y="190"/>
                      </a:lnTo>
                      <a:lnTo>
                        <a:pt x="218" y="190"/>
                      </a:lnTo>
                      <a:lnTo>
                        <a:pt x="209" y="194"/>
                      </a:lnTo>
                      <a:lnTo>
                        <a:pt x="202" y="194"/>
                      </a:lnTo>
                      <a:lnTo>
                        <a:pt x="199" y="192"/>
                      </a:lnTo>
                      <a:lnTo>
                        <a:pt x="193" y="190"/>
                      </a:lnTo>
                      <a:lnTo>
                        <a:pt x="185" y="185"/>
                      </a:lnTo>
                      <a:lnTo>
                        <a:pt x="179" y="183"/>
                      </a:lnTo>
                      <a:lnTo>
                        <a:pt x="171" y="183"/>
                      </a:lnTo>
                      <a:lnTo>
                        <a:pt x="171" y="183"/>
                      </a:lnTo>
                      <a:lnTo>
                        <a:pt x="162" y="181"/>
                      </a:lnTo>
                      <a:lnTo>
                        <a:pt x="155" y="180"/>
                      </a:lnTo>
                      <a:lnTo>
                        <a:pt x="143" y="173"/>
                      </a:lnTo>
                      <a:lnTo>
                        <a:pt x="136" y="169"/>
                      </a:lnTo>
                      <a:lnTo>
                        <a:pt x="129" y="167"/>
                      </a:lnTo>
                      <a:lnTo>
                        <a:pt x="118" y="166"/>
                      </a:lnTo>
                      <a:lnTo>
                        <a:pt x="108" y="164"/>
                      </a:lnTo>
                      <a:lnTo>
                        <a:pt x="108" y="164"/>
                      </a:lnTo>
                      <a:lnTo>
                        <a:pt x="87" y="166"/>
                      </a:lnTo>
                      <a:lnTo>
                        <a:pt x="75" y="167"/>
                      </a:lnTo>
                      <a:lnTo>
                        <a:pt x="71" y="166"/>
                      </a:lnTo>
                      <a:lnTo>
                        <a:pt x="68" y="164"/>
                      </a:lnTo>
                      <a:lnTo>
                        <a:pt x="66" y="160"/>
                      </a:lnTo>
                      <a:lnTo>
                        <a:pt x="64" y="157"/>
                      </a:lnTo>
                      <a:lnTo>
                        <a:pt x="64" y="157"/>
                      </a:lnTo>
                      <a:lnTo>
                        <a:pt x="66" y="152"/>
                      </a:lnTo>
                      <a:lnTo>
                        <a:pt x="68" y="150"/>
                      </a:lnTo>
                      <a:lnTo>
                        <a:pt x="75" y="152"/>
                      </a:lnTo>
                      <a:lnTo>
                        <a:pt x="82" y="153"/>
                      </a:lnTo>
                      <a:lnTo>
                        <a:pt x="87" y="153"/>
                      </a:lnTo>
                      <a:lnTo>
                        <a:pt x="91" y="150"/>
                      </a:lnTo>
                      <a:lnTo>
                        <a:pt x="91" y="150"/>
                      </a:lnTo>
                      <a:lnTo>
                        <a:pt x="94" y="143"/>
                      </a:lnTo>
                      <a:lnTo>
                        <a:pt x="92" y="136"/>
                      </a:lnTo>
                      <a:lnTo>
                        <a:pt x="89" y="129"/>
                      </a:lnTo>
                      <a:lnTo>
                        <a:pt x="82" y="126"/>
                      </a:lnTo>
                      <a:lnTo>
                        <a:pt x="82" y="126"/>
                      </a:lnTo>
                      <a:lnTo>
                        <a:pt x="80" y="126"/>
                      </a:lnTo>
                      <a:lnTo>
                        <a:pt x="78" y="122"/>
                      </a:lnTo>
                      <a:lnTo>
                        <a:pt x="78" y="117"/>
                      </a:lnTo>
                      <a:lnTo>
                        <a:pt x="78" y="115"/>
                      </a:lnTo>
                      <a:lnTo>
                        <a:pt x="77" y="112"/>
                      </a:lnTo>
                      <a:lnTo>
                        <a:pt x="73" y="110"/>
                      </a:lnTo>
                      <a:lnTo>
                        <a:pt x="68" y="110"/>
                      </a:lnTo>
                      <a:lnTo>
                        <a:pt x="68" y="110"/>
                      </a:lnTo>
                      <a:lnTo>
                        <a:pt x="57" y="108"/>
                      </a:lnTo>
                      <a:lnTo>
                        <a:pt x="49" y="108"/>
                      </a:lnTo>
                      <a:lnTo>
                        <a:pt x="35" y="110"/>
                      </a:lnTo>
                      <a:lnTo>
                        <a:pt x="24" y="110"/>
                      </a:lnTo>
                      <a:lnTo>
                        <a:pt x="23" y="110"/>
                      </a:lnTo>
                      <a:lnTo>
                        <a:pt x="21" y="106"/>
                      </a:lnTo>
                      <a:lnTo>
                        <a:pt x="21" y="106"/>
                      </a:lnTo>
                      <a:lnTo>
                        <a:pt x="21" y="103"/>
                      </a:lnTo>
                      <a:lnTo>
                        <a:pt x="23" y="101"/>
                      </a:lnTo>
                      <a:lnTo>
                        <a:pt x="31" y="99"/>
                      </a:lnTo>
                      <a:lnTo>
                        <a:pt x="42" y="98"/>
                      </a:lnTo>
                      <a:lnTo>
                        <a:pt x="49" y="98"/>
                      </a:lnTo>
                      <a:lnTo>
                        <a:pt x="52" y="94"/>
                      </a:lnTo>
                      <a:lnTo>
                        <a:pt x="52" y="94"/>
                      </a:lnTo>
                      <a:lnTo>
                        <a:pt x="57" y="93"/>
                      </a:lnTo>
                      <a:lnTo>
                        <a:pt x="61" y="93"/>
                      </a:lnTo>
                      <a:lnTo>
                        <a:pt x="68" y="94"/>
                      </a:lnTo>
                      <a:lnTo>
                        <a:pt x="77" y="96"/>
                      </a:lnTo>
                      <a:lnTo>
                        <a:pt x="82" y="96"/>
                      </a:lnTo>
                      <a:lnTo>
                        <a:pt x="89" y="94"/>
                      </a:lnTo>
                      <a:lnTo>
                        <a:pt x="89" y="94"/>
                      </a:lnTo>
                      <a:lnTo>
                        <a:pt x="94" y="91"/>
                      </a:lnTo>
                      <a:lnTo>
                        <a:pt x="94" y="89"/>
                      </a:lnTo>
                      <a:lnTo>
                        <a:pt x="89" y="89"/>
                      </a:lnTo>
                      <a:lnTo>
                        <a:pt x="78" y="89"/>
                      </a:lnTo>
                      <a:lnTo>
                        <a:pt x="75" y="87"/>
                      </a:lnTo>
                      <a:lnTo>
                        <a:pt x="73" y="84"/>
                      </a:lnTo>
                      <a:lnTo>
                        <a:pt x="73" y="84"/>
                      </a:lnTo>
                      <a:lnTo>
                        <a:pt x="75" y="82"/>
                      </a:lnTo>
                      <a:lnTo>
                        <a:pt x="78" y="79"/>
                      </a:lnTo>
                      <a:lnTo>
                        <a:pt x="89" y="73"/>
                      </a:lnTo>
                      <a:lnTo>
                        <a:pt x="92" y="72"/>
                      </a:lnTo>
                      <a:lnTo>
                        <a:pt x="94" y="70"/>
                      </a:lnTo>
                      <a:lnTo>
                        <a:pt x="91" y="68"/>
                      </a:lnTo>
                      <a:lnTo>
                        <a:pt x="82" y="66"/>
                      </a:lnTo>
                      <a:lnTo>
                        <a:pt x="82" y="66"/>
                      </a:lnTo>
                      <a:lnTo>
                        <a:pt x="54" y="65"/>
                      </a:lnTo>
                      <a:lnTo>
                        <a:pt x="45" y="66"/>
                      </a:lnTo>
                      <a:lnTo>
                        <a:pt x="33" y="70"/>
                      </a:lnTo>
                      <a:lnTo>
                        <a:pt x="33" y="70"/>
                      </a:lnTo>
                      <a:lnTo>
                        <a:pt x="26" y="72"/>
                      </a:lnTo>
                      <a:lnTo>
                        <a:pt x="19" y="72"/>
                      </a:lnTo>
                      <a:lnTo>
                        <a:pt x="7" y="68"/>
                      </a:lnTo>
                      <a:lnTo>
                        <a:pt x="4" y="66"/>
                      </a:lnTo>
                      <a:lnTo>
                        <a:pt x="2" y="65"/>
                      </a:lnTo>
                      <a:lnTo>
                        <a:pt x="0" y="61"/>
                      </a:lnTo>
                      <a:lnTo>
                        <a:pt x="2" y="59"/>
                      </a:lnTo>
                      <a:lnTo>
                        <a:pt x="2" y="59"/>
                      </a:lnTo>
                      <a:lnTo>
                        <a:pt x="5" y="59"/>
                      </a:lnTo>
                      <a:lnTo>
                        <a:pt x="9" y="59"/>
                      </a:lnTo>
                      <a:lnTo>
                        <a:pt x="14" y="59"/>
                      </a:lnTo>
                      <a:lnTo>
                        <a:pt x="17" y="59"/>
                      </a:lnTo>
                      <a:lnTo>
                        <a:pt x="17" y="56"/>
                      </a:lnTo>
                      <a:lnTo>
                        <a:pt x="17" y="56"/>
                      </a:lnTo>
                      <a:lnTo>
                        <a:pt x="17" y="52"/>
                      </a:lnTo>
                      <a:lnTo>
                        <a:pt x="19" y="51"/>
                      </a:lnTo>
                      <a:lnTo>
                        <a:pt x="23" y="51"/>
                      </a:lnTo>
                      <a:lnTo>
                        <a:pt x="26" y="49"/>
                      </a:lnTo>
                      <a:lnTo>
                        <a:pt x="28" y="46"/>
                      </a:lnTo>
                      <a:lnTo>
                        <a:pt x="28" y="42"/>
                      </a:lnTo>
                      <a:lnTo>
                        <a:pt x="28" y="42"/>
                      </a:lnTo>
                      <a:lnTo>
                        <a:pt x="30" y="32"/>
                      </a:lnTo>
                      <a:lnTo>
                        <a:pt x="35" y="25"/>
                      </a:lnTo>
                      <a:lnTo>
                        <a:pt x="38" y="23"/>
                      </a:lnTo>
                      <a:lnTo>
                        <a:pt x="42" y="23"/>
                      </a:lnTo>
                      <a:lnTo>
                        <a:pt x="45" y="23"/>
                      </a:lnTo>
                      <a:lnTo>
                        <a:pt x="51" y="26"/>
                      </a:lnTo>
                      <a:lnTo>
                        <a:pt x="51" y="26"/>
                      </a:lnTo>
                      <a:lnTo>
                        <a:pt x="61" y="33"/>
                      </a:lnTo>
                      <a:lnTo>
                        <a:pt x="71" y="40"/>
                      </a:lnTo>
                      <a:lnTo>
                        <a:pt x="78" y="42"/>
                      </a:lnTo>
                      <a:lnTo>
                        <a:pt x="80" y="40"/>
                      </a:lnTo>
                      <a:lnTo>
                        <a:pt x="80" y="39"/>
                      </a:lnTo>
                      <a:lnTo>
                        <a:pt x="80" y="39"/>
                      </a:lnTo>
                      <a:lnTo>
                        <a:pt x="73" y="32"/>
                      </a:lnTo>
                      <a:lnTo>
                        <a:pt x="66" y="28"/>
                      </a:lnTo>
                      <a:lnTo>
                        <a:pt x="57" y="25"/>
                      </a:lnTo>
                      <a:lnTo>
                        <a:pt x="51" y="19"/>
                      </a:lnTo>
                      <a:lnTo>
                        <a:pt x="51" y="19"/>
                      </a:lnTo>
                      <a:lnTo>
                        <a:pt x="49" y="16"/>
                      </a:lnTo>
                      <a:lnTo>
                        <a:pt x="49" y="14"/>
                      </a:lnTo>
                      <a:lnTo>
                        <a:pt x="51" y="11"/>
                      </a:lnTo>
                      <a:lnTo>
                        <a:pt x="54" y="9"/>
                      </a:lnTo>
                      <a:lnTo>
                        <a:pt x="57" y="7"/>
                      </a:lnTo>
                      <a:lnTo>
                        <a:pt x="63" y="7"/>
                      </a:lnTo>
                      <a:lnTo>
                        <a:pt x="70" y="7"/>
                      </a:lnTo>
                      <a:lnTo>
                        <a:pt x="77" y="9"/>
                      </a:lnTo>
                      <a:lnTo>
                        <a:pt x="77" y="9"/>
                      </a:lnTo>
                      <a:lnTo>
                        <a:pt x="87" y="14"/>
                      </a:lnTo>
                      <a:lnTo>
                        <a:pt x="91" y="18"/>
                      </a:lnTo>
                      <a:lnTo>
                        <a:pt x="96" y="23"/>
                      </a:lnTo>
                      <a:lnTo>
                        <a:pt x="106" y="30"/>
                      </a:lnTo>
                      <a:lnTo>
                        <a:pt x="106" y="30"/>
                      </a:lnTo>
                      <a:lnTo>
                        <a:pt x="111" y="35"/>
                      </a:lnTo>
                      <a:lnTo>
                        <a:pt x="115" y="39"/>
                      </a:lnTo>
                      <a:lnTo>
                        <a:pt x="115" y="40"/>
                      </a:lnTo>
                      <a:lnTo>
                        <a:pt x="115" y="44"/>
                      </a:lnTo>
                      <a:lnTo>
                        <a:pt x="113" y="52"/>
                      </a:lnTo>
                      <a:lnTo>
                        <a:pt x="113" y="58"/>
                      </a:lnTo>
                      <a:lnTo>
                        <a:pt x="117" y="65"/>
                      </a:lnTo>
                      <a:lnTo>
                        <a:pt x="117" y="65"/>
                      </a:lnTo>
                      <a:lnTo>
                        <a:pt x="120" y="70"/>
                      </a:lnTo>
                      <a:lnTo>
                        <a:pt x="122" y="70"/>
                      </a:lnTo>
                      <a:lnTo>
                        <a:pt x="122" y="70"/>
                      </a:lnTo>
                      <a:lnTo>
                        <a:pt x="125" y="68"/>
                      </a:lnTo>
                      <a:lnTo>
                        <a:pt x="127" y="63"/>
                      </a:lnTo>
                      <a:lnTo>
                        <a:pt x="131" y="58"/>
                      </a:lnTo>
                      <a:lnTo>
                        <a:pt x="132" y="54"/>
                      </a:lnTo>
                      <a:lnTo>
                        <a:pt x="136" y="52"/>
                      </a:lnTo>
                      <a:lnTo>
                        <a:pt x="139" y="56"/>
                      </a:lnTo>
                      <a:lnTo>
                        <a:pt x="139" y="56"/>
                      </a:lnTo>
                      <a:lnTo>
                        <a:pt x="143" y="59"/>
                      </a:lnTo>
                      <a:lnTo>
                        <a:pt x="146" y="63"/>
                      </a:lnTo>
                      <a:lnTo>
                        <a:pt x="150" y="63"/>
                      </a:lnTo>
                      <a:lnTo>
                        <a:pt x="152" y="61"/>
                      </a:lnTo>
                      <a:lnTo>
                        <a:pt x="152" y="58"/>
                      </a:lnTo>
                      <a:lnTo>
                        <a:pt x="153" y="54"/>
                      </a:lnTo>
                      <a:lnTo>
                        <a:pt x="150" y="46"/>
                      </a:lnTo>
                      <a:lnTo>
                        <a:pt x="150" y="46"/>
                      </a:lnTo>
                      <a:lnTo>
                        <a:pt x="148" y="40"/>
                      </a:lnTo>
                      <a:lnTo>
                        <a:pt x="148" y="35"/>
                      </a:lnTo>
                      <a:lnTo>
                        <a:pt x="148" y="32"/>
                      </a:lnTo>
                      <a:lnTo>
                        <a:pt x="152" y="28"/>
                      </a:lnTo>
                      <a:lnTo>
                        <a:pt x="153" y="26"/>
                      </a:lnTo>
                      <a:lnTo>
                        <a:pt x="157" y="26"/>
                      </a:lnTo>
                      <a:lnTo>
                        <a:pt x="160" y="30"/>
                      </a:lnTo>
                      <a:lnTo>
                        <a:pt x="165" y="37"/>
                      </a:lnTo>
                      <a:lnTo>
                        <a:pt x="165" y="37"/>
                      </a:lnTo>
                      <a:lnTo>
                        <a:pt x="172" y="47"/>
                      </a:lnTo>
                      <a:lnTo>
                        <a:pt x="179" y="52"/>
                      </a:lnTo>
                      <a:lnTo>
                        <a:pt x="181" y="54"/>
                      </a:lnTo>
                      <a:lnTo>
                        <a:pt x="183" y="52"/>
                      </a:lnTo>
                      <a:lnTo>
                        <a:pt x="183" y="44"/>
                      </a:lnTo>
                      <a:lnTo>
                        <a:pt x="183" y="44"/>
                      </a:lnTo>
                      <a:lnTo>
                        <a:pt x="183" y="39"/>
                      </a:lnTo>
                      <a:lnTo>
                        <a:pt x="186" y="33"/>
                      </a:lnTo>
                      <a:lnTo>
                        <a:pt x="190" y="28"/>
                      </a:lnTo>
                      <a:lnTo>
                        <a:pt x="195" y="25"/>
                      </a:lnTo>
                      <a:lnTo>
                        <a:pt x="200" y="23"/>
                      </a:lnTo>
                      <a:lnTo>
                        <a:pt x="205" y="23"/>
                      </a:lnTo>
                      <a:lnTo>
                        <a:pt x="209" y="23"/>
                      </a:lnTo>
                      <a:lnTo>
                        <a:pt x="211" y="28"/>
                      </a:lnTo>
                      <a:lnTo>
                        <a:pt x="211" y="28"/>
                      </a:lnTo>
                      <a:lnTo>
                        <a:pt x="214" y="37"/>
                      </a:lnTo>
                      <a:lnTo>
                        <a:pt x="219" y="42"/>
                      </a:lnTo>
                      <a:lnTo>
                        <a:pt x="221" y="44"/>
                      </a:lnTo>
                      <a:lnTo>
                        <a:pt x="223" y="42"/>
                      </a:lnTo>
                      <a:lnTo>
                        <a:pt x="223" y="40"/>
                      </a:lnTo>
                      <a:lnTo>
                        <a:pt x="223" y="35"/>
                      </a:lnTo>
                      <a:lnTo>
                        <a:pt x="223" y="35"/>
                      </a:lnTo>
                      <a:lnTo>
                        <a:pt x="223" y="28"/>
                      </a:lnTo>
                      <a:lnTo>
                        <a:pt x="225" y="25"/>
                      </a:lnTo>
                      <a:lnTo>
                        <a:pt x="226" y="23"/>
                      </a:lnTo>
                      <a:lnTo>
                        <a:pt x="230" y="23"/>
                      </a:lnTo>
                      <a:lnTo>
                        <a:pt x="233" y="25"/>
                      </a:lnTo>
                      <a:lnTo>
                        <a:pt x="242" y="32"/>
                      </a:lnTo>
                      <a:lnTo>
                        <a:pt x="242" y="32"/>
                      </a:lnTo>
                      <a:lnTo>
                        <a:pt x="246" y="35"/>
                      </a:lnTo>
                      <a:lnTo>
                        <a:pt x="251" y="37"/>
                      </a:lnTo>
                      <a:lnTo>
                        <a:pt x="252" y="33"/>
                      </a:lnTo>
                      <a:lnTo>
                        <a:pt x="256" y="30"/>
                      </a:lnTo>
                      <a:lnTo>
                        <a:pt x="263" y="25"/>
                      </a:lnTo>
                      <a:lnTo>
                        <a:pt x="266" y="23"/>
                      </a:lnTo>
                      <a:lnTo>
                        <a:pt x="272" y="25"/>
                      </a:lnTo>
                      <a:lnTo>
                        <a:pt x="272" y="25"/>
                      </a:lnTo>
                      <a:lnTo>
                        <a:pt x="280" y="26"/>
                      </a:lnTo>
                      <a:lnTo>
                        <a:pt x="284" y="26"/>
                      </a:lnTo>
                      <a:lnTo>
                        <a:pt x="286" y="26"/>
                      </a:lnTo>
                      <a:lnTo>
                        <a:pt x="286" y="23"/>
                      </a:lnTo>
                      <a:lnTo>
                        <a:pt x="286" y="21"/>
                      </a:lnTo>
                      <a:lnTo>
                        <a:pt x="282" y="14"/>
                      </a:lnTo>
                      <a:lnTo>
                        <a:pt x="282" y="14"/>
                      </a:lnTo>
                      <a:lnTo>
                        <a:pt x="282" y="9"/>
                      </a:lnTo>
                      <a:lnTo>
                        <a:pt x="282" y="5"/>
                      </a:lnTo>
                      <a:lnTo>
                        <a:pt x="286" y="4"/>
                      </a:lnTo>
                      <a:lnTo>
                        <a:pt x="291" y="2"/>
                      </a:lnTo>
                      <a:lnTo>
                        <a:pt x="296" y="0"/>
                      </a:lnTo>
                      <a:lnTo>
                        <a:pt x="301" y="2"/>
                      </a:lnTo>
                      <a:lnTo>
                        <a:pt x="306" y="4"/>
                      </a:lnTo>
                      <a:lnTo>
                        <a:pt x="310" y="9"/>
                      </a:lnTo>
                      <a:lnTo>
                        <a:pt x="310" y="9"/>
                      </a:lnTo>
                      <a:lnTo>
                        <a:pt x="313" y="16"/>
                      </a:lnTo>
                      <a:lnTo>
                        <a:pt x="317" y="21"/>
                      </a:lnTo>
                      <a:lnTo>
                        <a:pt x="320" y="23"/>
                      </a:lnTo>
                      <a:lnTo>
                        <a:pt x="322" y="23"/>
                      </a:lnTo>
                      <a:lnTo>
                        <a:pt x="329" y="18"/>
                      </a:lnTo>
                      <a:lnTo>
                        <a:pt x="338" y="12"/>
                      </a:lnTo>
                      <a:lnTo>
                        <a:pt x="338" y="12"/>
                      </a:lnTo>
                      <a:lnTo>
                        <a:pt x="347" y="11"/>
                      </a:lnTo>
                      <a:lnTo>
                        <a:pt x="352" y="11"/>
                      </a:lnTo>
                      <a:lnTo>
                        <a:pt x="353" y="12"/>
                      </a:lnTo>
                      <a:lnTo>
                        <a:pt x="352" y="14"/>
                      </a:lnTo>
                      <a:lnTo>
                        <a:pt x="343" y="23"/>
                      </a:lnTo>
                      <a:lnTo>
                        <a:pt x="343" y="23"/>
                      </a:lnTo>
                      <a:lnTo>
                        <a:pt x="338" y="26"/>
                      </a:lnTo>
                      <a:lnTo>
                        <a:pt x="338" y="28"/>
                      </a:lnTo>
                      <a:lnTo>
                        <a:pt x="340" y="30"/>
                      </a:lnTo>
                      <a:lnTo>
                        <a:pt x="345" y="32"/>
                      </a:lnTo>
                      <a:lnTo>
                        <a:pt x="348" y="32"/>
                      </a:lnTo>
                      <a:lnTo>
                        <a:pt x="352" y="33"/>
                      </a:lnTo>
                      <a:lnTo>
                        <a:pt x="352" y="37"/>
                      </a:lnTo>
                      <a:lnTo>
                        <a:pt x="350" y="42"/>
                      </a:lnTo>
                      <a:lnTo>
                        <a:pt x="350" y="42"/>
                      </a:lnTo>
                      <a:lnTo>
                        <a:pt x="347" y="47"/>
                      </a:lnTo>
                      <a:lnTo>
                        <a:pt x="347" y="49"/>
                      </a:lnTo>
                      <a:lnTo>
                        <a:pt x="348" y="49"/>
                      </a:lnTo>
                      <a:lnTo>
                        <a:pt x="348" y="4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9" name="Freeform 1966">
                  <a:extLst>
                    <a:ext uri="{FF2B5EF4-FFF2-40B4-BE49-F238E27FC236}">
                      <a16:creationId xmlns:a16="http://schemas.microsoft.com/office/drawing/2014/main" id="{84EA9F10-AFF6-637E-3724-4F1E760976D8}"/>
                    </a:ext>
                  </a:extLst>
                </p:cNvPr>
                <p:cNvSpPr>
                  <a:spLocks/>
                </p:cNvSpPr>
                <p:nvPr/>
              </p:nvSpPr>
              <p:spPr bwMode="auto">
                <a:xfrm>
                  <a:off x="3539201" y="5531973"/>
                  <a:ext cx="148009" cy="174438"/>
                </a:xfrm>
                <a:custGeom>
                  <a:avLst/>
                  <a:gdLst/>
                  <a:ahLst/>
                  <a:cxnLst>
                    <a:cxn ang="0">
                      <a:pos x="177" y="169"/>
                    </a:cxn>
                    <a:cxn ang="0">
                      <a:pos x="158" y="198"/>
                    </a:cxn>
                    <a:cxn ang="0">
                      <a:pos x="137" y="216"/>
                    </a:cxn>
                    <a:cxn ang="0">
                      <a:pos x="130" y="218"/>
                    </a:cxn>
                    <a:cxn ang="0">
                      <a:pos x="120" y="219"/>
                    </a:cxn>
                    <a:cxn ang="0">
                      <a:pos x="104" y="214"/>
                    </a:cxn>
                    <a:cxn ang="0">
                      <a:pos x="94" y="216"/>
                    </a:cxn>
                    <a:cxn ang="0">
                      <a:pos x="87" y="218"/>
                    </a:cxn>
                    <a:cxn ang="0">
                      <a:pos x="73" y="214"/>
                    </a:cxn>
                    <a:cxn ang="0">
                      <a:pos x="50" y="202"/>
                    </a:cxn>
                    <a:cxn ang="0">
                      <a:pos x="36" y="198"/>
                    </a:cxn>
                    <a:cxn ang="0">
                      <a:pos x="29" y="198"/>
                    </a:cxn>
                    <a:cxn ang="0">
                      <a:pos x="15" y="192"/>
                    </a:cxn>
                    <a:cxn ang="0">
                      <a:pos x="7" y="183"/>
                    </a:cxn>
                    <a:cxn ang="0">
                      <a:pos x="3" y="176"/>
                    </a:cxn>
                    <a:cxn ang="0">
                      <a:pos x="0" y="162"/>
                    </a:cxn>
                    <a:cxn ang="0">
                      <a:pos x="0" y="148"/>
                    </a:cxn>
                    <a:cxn ang="0">
                      <a:pos x="7" y="138"/>
                    </a:cxn>
                    <a:cxn ang="0">
                      <a:pos x="10" y="134"/>
                    </a:cxn>
                    <a:cxn ang="0">
                      <a:pos x="15" y="125"/>
                    </a:cxn>
                    <a:cxn ang="0">
                      <a:pos x="14" y="108"/>
                    </a:cxn>
                    <a:cxn ang="0">
                      <a:pos x="12" y="82"/>
                    </a:cxn>
                    <a:cxn ang="0">
                      <a:pos x="14" y="77"/>
                    </a:cxn>
                    <a:cxn ang="0">
                      <a:pos x="15" y="70"/>
                    </a:cxn>
                    <a:cxn ang="0">
                      <a:pos x="14" y="59"/>
                    </a:cxn>
                    <a:cxn ang="0">
                      <a:pos x="19" y="47"/>
                    </a:cxn>
                    <a:cxn ang="0">
                      <a:pos x="22" y="42"/>
                    </a:cxn>
                    <a:cxn ang="0">
                      <a:pos x="24" y="26"/>
                    </a:cxn>
                    <a:cxn ang="0">
                      <a:pos x="24" y="14"/>
                    </a:cxn>
                    <a:cxn ang="0">
                      <a:pos x="31" y="0"/>
                    </a:cxn>
                    <a:cxn ang="0">
                      <a:pos x="35" y="5"/>
                    </a:cxn>
                    <a:cxn ang="0">
                      <a:pos x="43" y="5"/>
                    </a:cxn>
                    <a:cxn ang="0">
                      <a:pos x="52" y="2"/>
                    </a:cxn>
                    <a:cxn ang="0">
                      <a:pos x="62" y="2"/>
                    </a:cxn>
                    <a:cxn ang="0">
                      <a:pos x="71" y="7"/>
                    </a:cxn>
                    <a:cxn ang="0">
                      <a:pos x="82" y="23"/>
                    </a:cxn>
                    <a:cxn ang="0">
                      <a:pos x="85" y="35"/>
                    </a:cxn>
                    <a:cxn ang="0">
                      <a:pos x="87" y="42"/>
                    </a:cxn>
                    <a:cxn ang="0">
                      <a:pos x="96" y="38"/>
                    </a:cxn>
                    <a:cxn ang="0">
                      <a:pos x="101" y="35"/>
                    </a:cxn>
                    <a:cxn ang="0">
                      <a:pos x="108" y="37"/>
                    </a:cxn>
                    <a:cxn ang="0">
                      <a:pos x="116" y="49"/>
                    </a:cxn>
                    <a:cxn ang="0">
                      <a:pos x="127" y="57"/>
                    </a:cxn>
                    <a:cxn ang="0">
                      <a:pos x="137" y="63"/>
                    </a:cxn>
                    <a:cxn ang="0">
                      <a:pos x="148" y="73"/>
                    </a:cxn>
                    <a:cxn ang="0">
                      <a:pos x="155" y="80"/>
                    </a:cxn>
                    <a:cxn ang="0">
                      <a:pos x="169" y="91"/>
                    </a:cxn>
                    <a:cxn ang="0">
                      <a:pos x="183" y="111"/>
                    </a:cxn>
                    <a:cxn ang="0">
                      <a:pos x="186" y="125"/>
                    </a:cxn>
                    <a:cxn ang="0">
                      <a:pos x="181" y="136"/>
                    </a:cxn>
                    <a:cxn ang="0">
                      <a:pos x="176" y="148"/>
                    </a:cxn>
                    <a:cxn ang="0">
                      <a:pos x="177" y="169"/>
                    </a:cxn>
                  </a:cxnLst>
                  <a:rect l="0" t="0" r="r" b="b"/>
                  <a:pathLst>
                    <a:path w="186" h="219">
                      <a:moveTo>
                        <a:pt x="177" y="169"/>
                      </a:moveTo>
                      <a:lnTo>
                        <a:pt x="177" y="169"/>
                      </a:lnTo>
                      <a:lnTo>
                        <a:pt x="169" y="186"/>
                      </a:lnTo>
                      <a:lnTo>
                        <a:pt x="158" y="198"/>
                      </a:lnTo>
                      <a:lnTo>
                        <a:pt x="150" y="207"/>
                      </a:lnTo>
                      <a:lnTo>
                        <a:pt x="137" y="216"/>
                      </a:lnTo>
                      <a:lnTo>
                        <a:pt x="137" y="216"/>
                      </a:lnTo>
                      <a:lnTo>
                        <a:pt x="130" y="218"/>
                      </a:lnTo>
                      <a:lnTo>
                        <a:pt x="125" y="219"/>
                      </a:lnTo>
                      <a:lnTo>
                        <a:pt x="120" y="219"/>
                      </a:lnTo>
                      <a:lnTo>
                        <a:pt x="115" y="218"/>
                      </a:lnTo>
                      <a:lnTo>
                        <a:pt x="104" y="214"/>
                      </a:lnTo>
                      <a:lnTo>
                        <a:pt x="99" y="214"/>
                      </a:lnTo>
                      <a:lnTo>
                        <a:pt x="94" y="216"/>
                      </a:lnTo>
                      <a:lnTo>
                        <a:pt x="94" y="216"/>
                      </a:lnTo>
                      <a:lnTo>
                        <a:pt x="87" y="218"/>
                      </a:lnTo>
                      <a:lnTo>
                        <a:pt x="80" y="218"/>
                      </a:lnTo>
                      <a:lnTo>
                        <a:pt x="73" y="214"/>
                      </a:lnTo>
                      <a:lnTo>
                        <a:pt x="66" y="211"/>
                      </a:lnTo>
                      <a:lnTo>
                        <a:pt x="50" y="202"/>
                      </a:lnTo>
                      <a:lnTo>
                        <a:pt x="43" y="198"/>
                      </a:lnTo>
                      <a:lnTo>
                        <a:pt x="36" y="198"/>
                      </a:lnTo>
                      <a:lnTo>
                        <a:pt x="36" y="198"/>
                      </a:lnTo>
                      <a:lnTo>
                        <a:pt x="29" y="198"/>
                      </a:lnTo>
                      <a:lnTo>
                        <a:pt x="24" y="197"/>
                      </a:lnTo>
                      <a:lnTo>
                        <a:pt x="15" y="192"/>
                      </a:lnTo>
                      <a:lnTo>
                        <a:pt x="10" y="185"/>
                      </a:lnTo>
                      <a:lnTo>
                        <a:pt x="7" y="183"/>
                      </a:lnTo>
                      <a:lnTo>
                        <a:pt x="7" y="183"/>
                      </a:lnTo>
                      <a:lnTo>
                        <a:pt x="3" y="176"/>
                      </a:lnTo>
                      <a:lnTo>
                        <a:pt x="0" y="169"/>
                      </a:lnTo>
                      <a:lnTo>
                        <a:pt x="0" y="162"/>
                      </a:lnTo>
                      <a:lnTo>
                        <a:pt x="0" y="155"/>
                      </a:lnTo>
                      <a:lnTo>
                        <a:pt x="0" y="148"/>
                      </a:lnTo>
                      <a:lnTo>
                        <a:pt x="3" y="143"/>
                      </a:lnTo>
                      <a:lnTo>
                        <a:pt x="7" y="138"/>
                      </a:lnTo>
                      <a:lnTo>
                        <a:pt x="10" y="134"/>
                      </a:lnTo>
                      <a:lnTo>
                        <a:pt x="10" y="134"/>
                      </a:lnTo>
                      <a:lnTo>
                        <a:pt x="14" y="131"/>
                      </a:lnTo>
                      <a:lnTo>
                        <a:pt x="15" y="125"/>
                      </a:lnTo>
                      <a:lnTo>
                        <a:pt x="15" y="117"/>
                      </a:lnTo>
                      <a:lnTo>
                        <a:pt x="14" y="108"/>
                      </a:lnTo>
                      <a:lnTo>
                        <a:pt x="12" y="91"/>
                      </a:lnTo>
                      <a:lnTo>
                        <a:pt x="12" y="82"/>
                      </a:lnTo>
                      <a:lnTo>
                        <a:pt x="14" y="77"/>
                      </a:lnTo>
                      <a:lnTo>
                        <a:pt x="14" y="77"/>
                      </a:lnTo>
                      <a:lnTo>
                        <a:pt x="15" y="73"/>
                      </a:lnTo>
                      <a:lnTo>
                        <a:pt x="15" y="70"/>
                      </a:lnTo>
                      <a:lnTo>
                        <a:pt x="15" y="64"/>
                      </a:lnTo>
                      <a:lnTo>
                        <a:pt x="14" y="59"/>
                      </a:lnTo>
                      <a:lnTo>
                        <a:pt x="15" y="54"/>
                      </a:lnTo>
                      <a:lnTo>
                        <a:pt x="19" y="47"/>
                      </a:lnTo>
                      <a:lnTo>
                        <a:pt x="19" y="47"/>
                      </a:lnTo>
                      <a:lnTo>
                        <a:pt x="22" y="42"/>
                      </a:lnTo>
                      <a:lnTo>
                        <a:pt x="24" y="35"/>
                      </a:lnTo>
                      <a:lnTo>
                        <a:pt x="24" y="26"/>
                      </a:lnTo>
                      <a:lnTo>
                        <a:pt x="24" y="21"/>
                      </a:lnTo>
                      <a:lnTo>
                        <a:pt x="24" y="14"/>
                      </a:lnTo>
                      <a:lnTo>
                        <a:pt x="26" y="9"/>
                      </a:lnTo>
                      <a:lnTo>
                        <a:pt x="31" y="0"/>
                      </a:lnTo>
                      <a:lnTo>
                        <a:pt x="31" y="0"/>
                      </a:lnTo>
                      <a:lnTo>
                        <a:pt x="35" y="5"/>
                      </a:lnTo>
                      <a:lnTo>
                        <a:pt x="38" y="7"/>
                      </a:lnTo>
                      <a:lnTo>
                        <a:pt x="43" y="5"/>
                      </a:lnTo>
                      <a:lnTo>
                        <a:pt x="47" y="3"/>
                      </a:lnTo>
                      <a:lnTo>
                        <a:pt x="52" y="2"/>
                      </a:lnTo>
                      <a:lnTo>
                        <a:pt x="57" y="0"/>
                      </a:lnTo>
                      <a:lnTo>
                        <a:pt x="62" y="2"/>
                      </a:lnTo>
                      <a:lnTo>
                        <a:pt x="71" y="7"/>
                      </a:lnTo>
                      <a:lnTo>
                        <a:pt x="71" y="7"/>
                      </a:lnTo>
                      <a:lnTo>
                        <a:pt x="78" y="16"/>
                      </a:lnTo>
                      <a:lnTo>
                        <a:pt x="82" y="23"/>
                      </a:lnTo>
                      <a:lnTo>
                        <a:pt x="83" y="30"/>
                      </a:lnTo>
                      <a:lnTo>
                        <a:pt x="85" y="35"/>
                      </a:lnTo>
                      <a:lnTo>
                        <a:pt x="85" y="40"/>
                      </a:lnTo>
                      <a:lnTo>
                        <a:pt x="87" y="42"/>
                      </a:lnTo>
                      <a:lnTo>
                        <a:pt x="90" y="42"/>
                      </a:lnTo>
                      <a:lnTo>
                        <a:pt x="96" y="38"/>
                      </a:lnTo>
                      <a:lnTo>
                        <a:pt x="96" y="38"/>
                      </a:lnTo>
                      <a:lnTo>
                        <a:pt x="101" y="35"/>
                      </a:lnTo>
                      <a:lnTo>
                        <a:pt x="104" y="35"/>
                      </a:lnTo>
                      <a:lnTo>
                        <a:pt x="108" y="37"/>
                      </a:lnTo>
                      <a:lnTo>
                        <a:pt x="111" y="40"/>
                      </a:lnTo>
                      <a:lnTo>
                        <a:pt x="116" y="49"/>
                      </a:lnTo>
                      <a:lnTo>
                        <a:pt x="122" y="52"/>
                      </a:lnTo>
                      <a:lnTo>
                        <a:pt x="127" y="57"/>
                      </a:lnTo>
                      <a:lnTo>
                        <a:pt x="127" y="57"/>
                      </a:lnTo>
                      <a:lnTo>
                        <a:pt x="137" y="63"/>
                      </a:lnTo>
                      <a:lnTo>
                        <a:pt x="143" y="68"/>
                      </a:lnTo>
                      <a:lnTo>
                        <a:pt x="148" y="73"/>
                      </a:lnTo>
                      <a:lnTo>
                        <a:pt x="155" y="80"/>
                      </a:lnTo>
                      <a:lnTo>
                        <a:pt x="155" y="80"/>
                      </a:lnTo>
                      <a:lnTo>
                        <a:pt x="163" y="85"/>
                      </a:lnTo>
                      <a:lnTo>
                        <a:pt x="169" y="91"/>
                      </a:lnTo>
                      <a:lnTo>
                        <a:pt x="183" y="111"/>
                      </a:lnTo>
                      <a:lnTo>
                        <a:pt x="183" y="111"/>
                      </a:lnTo>
                      <a:lnTo>
                        <a:pt x="186" y="118"/>
                      </a:lnTo>
                      <a:lnTo>
                        <a:pt x="186" y="125"/>
                      </a:lnTo>
                      <a:lnTo>
                        <a:pt x="184" y="131"/>
                      </a:lnTo>
                      <a:lnTo>
                        <a:pt x="181" y="136"/>
                      </a:lnTo>
                      <a:lnTo>
                        <a:pt x="177" y="141"/>
                      </a:lnTo>
                      <a:lnTo>
                        <a:pt x="176" y="148"/>
                      </a:lnTo>
                      <a:lnTo>
                        <a:pt x="176" y="157"/>
                      </a:lnTo>
                      <a:lnTo>
                        <a:pt x="177" y="169"/>
                      </a:lnTo>
                      <a:lnTo>
                        <a:pt x="177" y="16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0" name="Freeform 1967">
                  <a:extLst>
                    <a:ext uri="{FF2B5EF4-FFF2-40B4-BE49-F238E27FC236}">
                      <a16:creationId xmlns:a16="http://schemas.microsoft.com/office/drawing/2014/main" id="{AE8816B7-FEFC-E47F-0132-9153B7F1900D}"/>
                    </a:ext>
                  </a:extLst>
                </p:cNvPr>
                <p:cNvSpPr>
                  <a:spLocks/>
                </p:cNvSpPr>
                <p:nvPr/>
              </p:nvSpPr>
              <p:spPr bwMode="auto">
                <a:xfrm>
                  <a:off x="5306488" y="1350740"/>
                  <a:ext cx="111006" cy="56384"/>
                </a:xfrm>
                <a:custGeom>
                  <a:avLst/>
                  <a:gdLst/>
                  <a:ahLst/>
                  <a:cxnLst>
                    <a:cxn ang="0">
                      <a:pos x="21" y="21"/>
                    </a:cxn>
                    <a:cxn ang="0">
                      <a:pos x="21" y="21"/>
                    </a:cxn>
                    <a:cxn ang="0">
                      <a:pos x="12" y="19"/>
                    </a:cxn>
                    <a:cxn ang="0">
                      <a:pos x="9" y="16"/>
                    </a:cxn>
                    <a:cxn ang="0">
                      <a:pos x="7" y="12"/>
                    </a:cxn>
                    <a:cxn ang="0">
                      <a:pos x="7" y="10"/>
                    </a:cxn>
                    <a:cxn ang="0">
                      <a:pos x="11" y="9"/>
                    </a:cxn>
                    <a:cxn ang="0">
                      <a:pos x="16" y="7"/>
                    </a:cxn>
                    <a:cxn ang="0">
                      <a:pos x="30" y="3"/>
                    </a:cxn>
                    <a:cxn ang="0">
                      <a:pos x="47" y="2"/>
                    </a:cxn>
                    <a:cxn ang="0">
                      <a:pos x="65" y="0"/>
                    </a:cxn>
                    <a:cxn ang="0">
                      <a:pos x="80" y="2"/>
                    </a:cxn>
                    <a:cxn ang="0">
                      <a:pos x="91" y="2"/>
                    </a:cxn>
                    <a:cxn ang="0">
                      <a:pos x="91" y="2"/>
                    </a:cxn>
                    <a:cxn ang="0">
                      <a:pos x="94" y="5"/>
                    </a:cxn>
                    <a:cxn ang="0">
                      <a:pos x="94" y="7"/>
                    </a:cxn>
                    <a:cxn ang="0">
                      <a:pos x="87" y="10"/>
                    </a:cxn>
                    <a:cxn ang="0">
                      <a:pos x="82" y="12"/>
                    </a:cxn>
                    <a:cxn ang="0">
                      <a:pos x="80" y="14"/>
                    </a:cxn>
                    <a:cxn ang="0">
                      <a:pos x="82" y="19"/>
                    </a:cxn>
                    <a:cxn ang="0">
                      <a:pos x="89" y="23"/>
                    </a:cxn>
                    <a:cxn ang="0">
                      <a:pos x="89" y="23"/>
                    </a:cxn>
                    <a:cxn ang="0">
                      <a:pos x="98" y="28"/>
                    </a:cxn>
                    <a:cxn ang="0">
                      <a:pos x="105" y="30"/>
                    </a:cxn>
                    <a:cxn ang="0">
                      <a:pos x="110" y="30"/>
                    </a:cxn>
                    <a:cxn ang="0">
                      <a:pos x="115" y="28"/>
                    </a:cxn>
                    <a:cxn ang="0">
                      <a:pos x="122" y="26"/>
                    </a:cxn>
                    <a:cxn ang="0">
                      <a:pos x="127" y="26"/>
                    </a:cxn>
                    <a:cxn ang="0">
                      <a:pos x="134" y="28"/>
                    </a:cxn>
                    <a:cxn ang="0">
                      <a:pos x="134" y="28"/>
                    </a:cxn>
                    <a:cxn ang="0">
                      <a:pos x="136" y="30"/>
                    </a:cxn>
                    <a:cxn ang="0">
                      <a:pos x="138" y="33"/>
                    </a:cxn>
                    <a:cxn ang="0">
                      <a:pos x="138" y="35"/>
                    </a:cxn>
                    <a:cxn ang="0">
                      <a:pos x="136" y="36"/>
                    </a:cxn>
                    <a:cxn ang="0">
                      <a:pos x="131" y="40"/>
                    </a:cxn>
                    <a:cxn ang="0">
                      <a:pos x="124" y="45"/>
                    </a:cxn>
                    <a:cxn ang="0">
                      <a:pos x="101" y="54"/>
                    </a:cxn>
                    <a:cxn ang="0">
                      <a:pos x="77" y="64"/>
                    </a:cxn>
                    <a:cxn ang="0">
                      <a:pos x="77" y="64"/>
                    </a:cxn>
                    <a:cxn ang="0">
                      <a:pos x="65" y="70"/>
                    </a:cxn>
                    <a:cxn ang="0">
                      <a:pos x="58" y="70"/>
                    </a:cxn>
                    <a:cxn ang="0">
                      <a:pos x="56" y="70"/>
                    </a:cxn>
                    <a:cxn ang="0">
                      <a:pos x="56" y="68"/>
                    </a:cxn>
                    <a:cxn ang="0">
                      <a:pos x="58" y="64"/>
                    </a:cxn>
                    <a:cxn ang="0">
                      <a:pos x="59" y="59"/>
                    </a:cxn>
                    <a:cxn ang="0">
                      <a:pos x="59" y="56"/>
                    </a:cxn>
                    <a:cxn ang="0">
                      <a:pos x="58" y="54"/>
                    </a:cxn>
                    <a:cxn ang="0">
                      <a:pos x="56" y="52"/>
                    </a:cxn>
                    <a:cxn ang="0">
                      <a:pos x="45" y="52"/>
                    </a:cxn>
                    <a:cxn ang="0">
                      <a:pos x="45" y="52"/>
                    </a:cxn>
                    <a:cxn ang="0">
                      <a:pos x="23" y="54"/>
                    </a:cxn>
                    <a:cxn ang="0">
                      <a:pos x="7" y="56"/>
                    </a:cxn>
                    <a:cxn ang="0">
                      <a:pos x="2" y="54"/>
                    </a:cxn>
                    <a:cxn ang="0">
                      <a:pos x="0" y="52"/>
                    </a:cxn>
                    <a:cxn ang="0">
                      <a:pos x="4" y="49"/>
                    </a:cxn>
                    <a:cxn ang="0">
                      <a:pos x="9" y="43"/>
                    </a:cxn>
                    <a:cxn ang="0">
                      <a:pos x="9" y="43"/>
                    </a:cxn>
                    <a:cxn ang="0">
                      <a:pos x="21" y="33"/>
                    </a:cxn>
                    <a:cxn ang="0">
                      <a:pos x="26" y="28"/>
                    </a:cxn>
                    <a:cxn ang="0">
                      <a:pos x="26" y="26"/>
                    </a:cxn>
                    <a:cxn ang="0">
                      <a:pos x="26" y="24"/>
                    </a:cxn>
                    <a:cxn ang="0">
                      <a:pos x="21" y="21"/>
                    </a:cxn>
                    <a:cxn ang="0">
                      <a:pos x="21" y="21"/>
                    </a:cxn>
                  </a:cxnLst>
                  <a:rect l="0" t="0" r="r" b="b"/>
                  <a:pathLst>
                    <a:path w="138" h="70">
                      <a:moveTo>
                        <a:pt x="21" y="21"/>
                      </a:moveTo>
                      <a:lnTo>
                        <a:pt x="21" y="21"/>
                      </a:lnTo>
                      <a:lnTo>
                        <a:pt x="12" y="19"/>
                      </a:lnTo>
                      <a:lnTo>
                        <a:pt x="9" y="16"/>
                      </a:lnTo>
                      <a:lnTo>
                        <a:pt x="7" y="12"/>
                      </a:lnTo>
                      <a:lnTo>
                        <a:pt x="7" y="10"/>
                      </a:lnTo>
                      <a:lnTo>
                        <a:pt x="11" y="9"/>
                      </a:lnTo>
                      <a:lnTo>
                        <a:pt x="16" y="7"/>
                      </a:lnTo>
                      <a:lnTo>
                        <a:pt x="30" y="3"/>
                      </a:lnTo>
                      <a:lnTo>
                        <a:pt x="47" y="2"/>
                      </a:lnTo>
                      <a:lnTo>
                        <a:pt x="65" y="0"/>
                      </a:lnTo>
                      <a:lnTo>
                        <a:pt x="80" y="2"/>
                      </a:lnTo>
                      <a:lnTo>
                        <a:pt x="91" y="2"/>
                      </a:lnTo>
                      <a:lnTo>
                        <a:pt x="91" y="2"/>
                      </a:lnTo>
                      <a:lnTo>
                        <a:pt x="94" y="5"/>
                      </a:lnTo>
                      <a:lnTo>
                        <a:pt x="94" y="7"/>
                      </a:lnTo>
                      <a:lnTo>
                        <a:pt x="87" y="10"/>
                      </a:lnTo>
                      <a:lnTo>
                        <a:pt x="82" y="12"/>
                      </a:lnTo>
                      <a:lnTo>
                        <a:pt x="80" y="14"/>
                      </a:lnTo>
                      <a:lnTo>
                        <a:pt x="82" y="19"/>
                      </a:lnTo>
                      <a:lnTo>
                        <a:pt x="89" y="23"/>
                      </a:lnTo>
                      <a:lnTo>
                        <a:pt x="89" y="23"/>
                      </a:lnTo>
                      <a:lnTo>
                        <a:pt x="98" y="28"/>
                      </a:lnTo>
                      <a:lnTo>
                        <a:pt x="105" y="30"/>
                      </a:lnTo>
                      <a:lnTo>
                        <a:pt x="110" y="30"/>
                      </a:lnTo>
                      <a:lnTo>
                        <a:pt x="115" y="28"/>
                      </a:lnTo>
                      <a:lnTo>
                        <a:pt x="122" y="26"/>
                      </a:lnTo>
                      <a:lnTo>
                        <a:pt x="127" y="26"/>
                      </a:lnTo>
                      <a:lnTo>
                        <a:pt x="134" y="28"/>
                      </a:lnTo>
                      <a:lnTo>
                        <a:pt x="134" y="28"/>
                      </a:lnTo>
                      <a:lnTo>
                        <a:pt x="136" y="30"/>
                      </a:lnTo>
                      <a:lnTo>
                        <a:pt x="138" y="33"/>
                      </a:lnTo>
                      <a:lnTo>
                        <a:pt x="138" y="35"/>
                      </a:lnTo>
                      <a:lnTo>
                        <a:pt x="136" y="36"/>
                      </a:lnTo>
                      <a:lnTo>
                        <a:pt x="131" y="40"/>
                      </a:lnTo>
                      <a:lnTo>
                        <a:pt x="124" y="45"/>
                      </a:lnTo>
                      <a:lnTo>
                        <a:pt x="101" y="54"/>
                      </a:lnTo>
                      <a:lnTo>
                        <a:pt x="77" y="64"/>
                      </a:lnTo>
                      <a:lnTo>
                        <a:pt x="77" y="64"/>
                      </a:lnTo>
                      <a:lnTo>
                        <a:pt x="65" y="70"/>
                      </a:lnTo>
                      <a:lnTo>
                        <a:pt x="58" y="70"/>
                      </a:lnTo>
                      <a:lnTo>
                        <a:pt x="56" y="70"/>
                      </a:lnTo>
                      <a:lnTo>
                        <a:pt x="56" y="68"/>
                      </a:lnTo>
                      <a:lnTo>
                        <a:pt x="58" y="64"/>
                      </a:lnTo>
                      <a:lnTo>
                        <a:pt x="59" y="59"/>
                      </a:lnTo>
                      <a:lnTo>
                        <a:pt x="59" y="56"/>
                      </a:lnTo>
                      <a:lnTo>
                        <a:pt x="58" y="54"/>
                      </a:lnTo>
                      <a:lnTo>
                        <a:pt x="56" y="52"/>
                      </a:lnTo>
                      <a:lnTo>
                        <a:pt x="45" y="52"/>
                      </a:lnTo>
                      <a:lnTo>
                        <a:pt x="45" y="52"/>
                      </a:lnTo>
                      <a:lnTo>
                        <a:pt x="23" y="54"/>
                      </a:lnTo>
                      <a:lnTo>
                        <a:pt x="7" y="56"/>
                      </a:lnTo>
                      <a:lnTo>
                        <a:pt x="2" y="54"/>
                      </a:lnTo>
                      <a:lnTo>
                        <a:pt x="0" y="52"/>
                      </a:lnTo>
                      <a:lnTo>
                        <a:pt x="4" y="49"/>
                      </a:lnTo>
                      <a:lnTo>
                        <a:pt x="9" y="43"/>
                      </a:lnTo>
                      <a:lnTo>
                        <a:pt x="9" y="43"/>
                      </a:lnTo>
                      <a:lnTo>
                        <a:pt x="21" y="33"/>
                      </a:lnTo>
                      <a:lnTo>
                        <a:pt x="26" y="28"/>
                      </a:lnTo>
                      <a:lnTo>
                        <a:pt x="26" y="26"/>
                      </a:lnTo>
                      <a:lnTo>
                        <a:pt x="26" y="24"/>
                      </a:lnTo>
                      <a:lnTo>
                        <a:pt x="21" y="21"/>
                      </a:lnTo>
                      <a:lnTo>
                        <a:pt x="21"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1" name="Freeform 1968">
                  <a:extLst>
                    <a:ext uri="{FF2B5EF4-FFF2-40B4-BE49-F238E27FC236}">
                      <a16:creationId xmlns:a16="http://schemas.microsoft.com/office/drawing/2014/main" id="{FB00F678-3DDB-5983-8503-C4CA6CF2E8F0}"/>
                    </a:ext>
                  </a:extLst>
                </p:cNvPr>
                <p:cNvSpPr>
                  <a:spLocks/>
                </p:cNvSpPr>
                <p:nvPr/>
              </p:nvSpPr>
              <p:spPr bwMode="auto">
                <a:xfrm>
                  <a:off x="8317748" y="3294230"/>
                  <a:ext cx="7048" cy="5285"/>
                </a:xfrm>
                <a:custGeom>
                  <a:avLst/>
                  <a:gdLst/>
                  <a:ahLst/>
                  <a:cxnLst>
                    <a:cxn ang="0">
                      <a:pos x="5" y="8"/>
                    </a:cxn>
                    <a:cxn ang="0">
                      <a:pos x="5" y="8"/>
                    </a:cxn>
                    <a:cxn ang="0">
                      <a:pos x="2" y="3"/>
                    </a:cxn>
                    <a:cxn ang="0">
                      <a:pos x="0" y="2"/>
                    </a:cxn>
                    <a:cxn ang="0">
                      <a:pos x="2" y="0"/>
                    </a:cxn>
                    <a:cxn ang="0">
                      <a:pos x="2" y="0"/>
                    </a:cxn>
                    <a:cxn ang="0">
                      <a:pos x="5" y="0"/>
                    </a:cxn>
                    <a:cxn ang="0">
                      <a:pos x="7" y="2"/>
                    </a:cxn>
                    <a:cxn ang="0">
                      <a:pos x="9" y="3"/>
                    </a:cxn>
                    <a:cxn ang="0">
                      <a:pos x="9" y="3"/>
                    </a:cxn>
                    <a:cxn ang="0">
                      <a:pos x="9" y="7"/>
                    </a:cxn>
                    <a:cxn ang="0">
                      <a:pos x="7" y="8"/>
                    </a:cxn>
                    <a:cxn ang="0">
                      <a:pos x="5" y="8"/>
                    </a:cxn>
                    <a:cxn ang="0">
                      <a:pos x="5" y="8"/>
                    </a:cxn>
                  </a:cxnLst>
                  <a:rect l="0" t="0" r="r" b="b"/>
                  <a:pathLst>
                    <a:path w="9" h="8">
                      <a:moveTo>
                        <a:pt x="5" y="8"/>
                      </a:moveTo>
                      <a:lnTo>
                        <a:pt x="5" y="8"/>
                      </a:lnTo>
                      <a:lnTo>
                        <a:pt x="2" y="3"/>
                      </a:lnTo>
                      <a:lnTo>
                        <a:pt x="0" y="2"/>
                      </a:lnTo>
                      <a:lnTo>
                        <a:pt x="2" y="0"/>
                      </a:lnTo>
                      <a:lnTo>
                        <a:pt x="2" y="0"/>
                      </a:lnTo>
                      <a:lnTo>
                        <a:pt x="5" y="0"/>
                      </a:lnTo>
                      <a:lnTo>
                        <a:pt x="7" y="2"/>
                      </a:lnTo>
                      <a:lnTo>
                        <a:pt x="9" y="3"/>
                      </a:lnTo>
                      <a:lnTo>
                        <a:pt x="9" y="3"/>
                      </a:lnTo>
                      <a:lnTo>
                        <a:pt x="9" y="7"/>
                      </a:lnTo>
                      <a:lnTo>
                        <a:pt x="7" y="8"/>
                      </a:lnTo>
                      <a:lnTo>
                        <a:pt x="5" y="8"/>
                      </a:lnTo>
                      <a:lnTo>
                        <a:pt x="5"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2" name="Freeform 1969">
                  <a:extLst>
                    <a:ext uri="{FF2B5EF4-FFF2-40B4-BE49-F238E27FC236}">
                      <a16:creationId xmlns:a16="http://schemas.microsoft.com/office/drawing/2014/main" id="{61B7464F-8798-2F90-7A89-A0E944D9732F}"/>
                    </a:ext>
                  </a:extLst>
                </p:cNvPr>
                <p:cNvSpPr>
                  <a:spLocks/>
                </p:cNvSpPr>
                <p:nvPr/>
              </p:nvSpPr>
              <p:spPr bwMode="auto">
                <a:xfrm>
                  <a:off x="6964533" y="4182277"/>
                  <a:ext cx="59908" cy="133912"/>
                </a:xfrm>
                <a:custGeom>
                  <a:avLst/>
                  <a:gdLst/>
                  <a:ahLst/>
                  <a:cxnLst>
                    <a:cxn ang="0">
                      <a:pos x="18" y="158"/>
                    </a:cxn>
                    <a:cxn ang="0">
                      <a:pos x="7" y="141"/>
                    </a:cxn>
                    <a:cxn ang="0">
                      <a:pos x="4" y="122"/>
                    </a:cxn>
                    <a:cxn ang="0">
                      <a:pos x="2" y="82"/>
                    </a:cxn>
                    <a:cxn ang="0">
                      <a:pos x="0" y="69"/>
                    </a:cxn>
                    <a:cxn ang="0">
                      <a:pos x="2" y="61"/>
                    </a:cxn>
                    <a:cxn ang="0">
                      <a:pos x="5" y="66"/>
                    </a:cxn>
                    <a:cxn ang="0">
                      <a:pos x="5" y="68"/>
                    </a:cxn>
                    <a:cxn ang="0">
                      <a:pos x="7" y="61"/>
                    </a:cxn>
                    <a:cxn ang="0">
                      <a:pos x="9" y="43"/>
                    </a:cxn>
                    <a:cxn ang="0">
                      <a:pos x="9" y="38"/>
                    </a:cxn>
                    <a:cxn ang="0">
                      <a:pos x="14" y="26"/>
                    </a:cxn>
                    <a:cxn ang="0">
                      <a:pos x="14" y="17"/>
                    </a:cxn>
                    <a:cxn ang="0">
                      <a:pos x="11" y="5"/>
                    </a:cxn>
                    <a:cxn ang="0">
                      <a:pos x="7" y="2"/>
                    </a:cxn>
                    <a:cxn ang="0">
                      <a:pos x="11" y="0"/>
                    </a:cxn>
                    <a:cxn ang="0">
                      <a:pos x="23" y="2"/>
                    </a:cxn>
                    <a:cxn ang="0">
                      <a:pos x="30" y="9"/>
                    </a:cxn>
                    <a:cxn ang="0">
                      <a:pos x="40" y="24"/>
                    </a:cxn>
                    <a:cxn ang="0">
                      <a:pos x="47" y="38"/>
                    </a:cxn>
                    <a:cxn ang="0">
                      <a:pos x="54" y="49"/>
                    </a:cxn>
                    <a:cxn ang="0">
                      <a:pos x="65" y="73"/>
                    </a:cxn>
                    <a:cxn ang="0">
                      <a:pos x="68" y="82"/>
                    </a:cxn>
                    <a:cxn ang="0">
                      <a:pos x="72" y="89"/>
                    </a:cxn>
                    <a:cxn ang="0">
                      <a:pos x="75" y="97"/>
                    </a:cxn>
                    <a:cxn ang="0">
                      <a:pos x="77" y="101"/>
                    </a:cxn>
                    <a:cxn ang="0">
                      <a:pos x="77" y="122"/>
                    </a:cxn>
                    <a:cxn ang="0">
                      <a:pos x="73" y="137"/>
                    </a:cxn>
                    <a:cxn ang="0">
                      <a:pos x="63" y="150"/>
                    </a:cxn>
                    <a:cxn ang="0">
                      <a:pos x="51" y="157"/>
                    </a:cxn>
                    <a:cxn ang="0">
                      <a:pos x="35" y="165"/>
                    </a:cxn>
                    <a:cxn ang="0">
                      <a:pos x="25" y="164"/>
                    </a:cxn>
                    <a:cxn ang="0">
                      <a:pos x="18" y="158"/>
                    </a:cxn>
                  </a:cxnLst>
                  <a:rect l="0" t="0" r="r" b="b"/>
                  <a:pathLst>
                    <a:path w="77" h="165">
                      <a:moveTo>
                        <a:pt x="18" y="158"/>
                      </a:moveTo>
                      <a:lnTo>
                        <a:pt x="18" y="158"/>
                      </a:lnTo>
                      <a:lnTo>
                        <a:pt x="12" y="151"/>
                      </a:lnTo>
                      <a:lnTo>
                        <a:pt x="7" y="141"/>
                      </a:lnTo>
                      <a:lnTo>
                        <a:pt x="5" y="132"/>
                      </a:lnTo>
                      <a:lnTo>
                        <a:pt x="4" y="122"/>
                      </a:lnTo>
                      <a:lnTo>
                        <a:pt x="4" y="101"/>
                      </a:lnTo>
                      <a:lnTo>
                        <a:pt x="2" y="82"/>
                      </a:lnTo>
                      <a:lnTo>
                        <a:pt x="2" y="82"/>
                      </a:lnTo>
                      <a:lnTo>
                        <a:pt x="0" y="69"/>
                      </a:lnTo>
                      <a:lnTo>
                        <a:pt x="2" y="63"/>
                      </a:lnTo>
                      <a:lnTo>
                        <a:pt x="2" y="61"/>
                      </a:lnTo>
                      <a:lnTo>
                        <a:pt x="4" y="61"/>
                      </a:lnTo>
                      <a:lnTo>
                        <a:pt x="5" y="66"/>
                      </a:lnTo>
                      <a:lnTo>
                        <a:pt x="5" y="66"/>
                      </a:lnTo>
                      <a:lnTo>
                        <a:pt x="5" y="68"/>
                      </a:lnTo>
                      <a:lnTo>
                        <a:pt x="5" y="66"/>
                      </a:lnTo>
                      <a:lnTo>
                        <a:pt x="7" y="61"/>
                      </a:lnTo>
                      <a:lnTo>
                        <a:pt x="9" y="50"/>
                      </a:lnTo>
                      <a:lnTo>
                        <a:pt x="9" y="43"/>
                      </a:lnTo>
                      <a:lnTo>
                        <a:pt x="9" y="43"/>
                      </a:lnTo>
                      <a:lnTo>
                        <a:pt x="9" y="38"/>
                      </a:lnTo>
                      <a:lnTo>
                        <a:pt x="12" y="33"/>
                      </a:lnTo>
                      <a:lnTo>
                        <a:pt x="14" y="26"/>
                      </a:lnTo>
                      <a:lnTo>
                        <a:pt x="14" y="17"/>
                      </a:lnTo>
                      <a:lnTo>
                        <a:pt x="14" y="17"/>
                      </a:lnTo>
                      <a:lnTo>
                        <a:pt x="12" y="10"/>
                      </a:lnTo>
                      <a:lnTo>
                        <a:pt x="11" y="5"/>
                      </a:lnTo>
                      <a:lnTo>
                        <a:pt x="7" y="3"/>
                      </a:lnTo>
                      <a:lnTo>
                        <a:pt x="7" y="2"/>
                      </a:lnTo>
                      <a:lnTo>
                        <a:pt x="7" y="2"/>
                      </a:lnTo>
                      <a:lnTo>
                        <a:pt x="11" y="0"/>
                      </a:lnTo>
                      <a:lnTo>
                        <a:pt x="16" y="0"/>
                      </a:lnTo>
                      <a:lnTo>
                        <a:pt x="23" y="2"/>
                      </a:lnTo>
                      <a:lnTo>
                        <a:pt x="30" y="9"/>
                      </a:lnTo>
                      <a:lnTo>
                        <a:pt x="30" y="9"/>
                      </a:lnTo>
                      <a:lnTo>
                        <a:pt x="37" y="17"/>
                      </a:lnTo>
                      <a:lnTo>
                        <a:pt x="40" y="24"/>
                      </a:lnTo>
                      <a:lnTo>
                        <a:pt x="42" y="31"/>
                      </a:lnTo>
                      <a:lnTo>
                        <a:pt x="47" y="38"/>
                      </a:lnTo>
                      <a:lnTo>
                        <a:pt x="47" y="38"/>
                      </a:lnTo>
                      <a:lnTo>
                        <a:pt x="54" y="49"/>
                      </a:lnTo>
                      <a:lnTo>
                        <a:pt x="59" y="61"/>
                      </a:lnTo>
                      <a:lnTo>
                        <a:pt x="65" y="73"/>
                      </a:lnTo>
                      <a:lnTo>
                        <a:pt x="68" y="82"/>
                      </a:lnTo>
                      <a:lnTo>
                        <a:pt x="68" y="82"/>
                      </a:lnTo>
                      <a:lnTo>
                        <a:pt x="72" y="85"/>
                      </a:lnTo>
                      <a:lnTo>
                        <a:pt x="72" y="89"/>
                      </a:lnTo>
                      <a:lnTo>
                        <a:pt x="72" y="92"/>
                      </a:lnTo>
                      <a:lnTo>
                        <a:pt x="75" y="97"/>
                      </a:lnTo>
                      <a:lnTo>
                        <a:pt x="75" y="97"/>
                      </a:lnTo>
                      <a:lnTo>
                        <a:pt x="77" y="101"/>
                      </a:lnTo>
                      <a:lnTo>
                        <a:pt x="77" y="106"/>
                      </a:lnTo>
                      <a:lnTo>
                        <a:pt x="77" y="122"/>
                      </a:lnTo>
                      <a:lnTo>
                        <a:pt x="75" y="130"/>
                      </a:lnTo>
                      <a:lnTo>
                        <a:pt x="73" y="137"/>
                      </a:lnTo>
                      <a:lnTo>
                        <a:pt x="68" y="144"/>
                      </a:lnTo>
                      <a:lnTo>
                        <a:pt x="63" y="150"/>
                      </a:lnTo>
                      <a:lnTo>
                        <a:pt x="63" y="150"/>
                      </a:lnTo>
                      <a:lnTo>
                        <a:pt x="51" y="157"/>
                      </a:lnTo>
                      <a:lnTo>
                        <a:pt x="40" y="164"/>
                      </a:lnTo>
                      <a:lnTo>
                        <a:pt x="35" y="165"/>
                      </a:lnTo>
                      <a:lnTo>
                        <a:pt x="30" y="165"/>
                      </a:lnTo>
                      <a:lnTo>
                        <a:pt x="25" y="164"/>
                      </a:lnTo>
                      <a:lnTo>
                        <a:pt x="18" y="158"/>
                      </a:lnTo>
                      <a:lnTo>
                        <a:pt x="18" y="15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3" name="Freeform 1970">
                  <a:extLst>
                    <a:ext uri="{FF2B5EF4-FFF2-40B4-BE49-F238E27FC236}">
                      <a16:creationId xmlns:a16="http://schemas.microsoft.com/office/drawing/2014/main" id="{7D007D1F-4874-9896-2477-EE1B6EFCCD67}"/>
                    </a:ext>
                  </a:extLst>
                </p:cNvPr>
                <p:cNvSpPr>
                  <a:spLocks/>
                </p:cNvSpPr>
                <p:nvPr/>
              </p:nvSpPr>
              <p:spPr bwMode="auto">
                <a:xfrm>
                  <a:off x="5919664" y="3865119"/>
                  <a:ext cx="296017" cy="223773"/>
                </a:xfrm>
                <a:custGeom>
                  <a:avLst/>
                  <a:gdLst/>
                  <a:ahLst/>
                  <a:cxnLst>
                    <a:cxn ang="0">
                      <a:pos x="327" y="10"/>
                    </a:cxn>
                    <a:cxn ang="0">
                      <a:pos x="325" y="21"/>
                    </a:cxn>
                    <a:cxn ang="0">
                      <a:pos x="351" y="66"/>
                    </a:cxn>
                    <a:cxn ang="0">
                      <a:pos x="353" y="75"/>
                    </a:cxn>
                    <a:cxn ang="0">
                      <a:pos x="355" y="85"/>
                    </a:cxn>
                    <a:cxn ang="0">
                      <a:pos x="367" y="103"/>
                    </a:cxn>
                    <a:cxn ang="0">
                      <a:pos x="341" y="122"/>
                    </a:cxn>
                    <a:cxn ang="0">
                      <a:pos x="337" y="146"/>
                    </a:cxn>
                    <a:cxn ang="0">
                      <a:pos x="330" y="153"/>
                    </a:cxn>
                    <a:cxn ang="0">
                      <a:pos x="313" y="162"/>
                    </a:cxn>
                    <a:cxn ang="0">
                      <a:pos x="287" y="171"/>
                    </a:cxn>
                    <a:cxn ang="0">
                      <a:pos x="266" y="183"/>
                    </a:cxn>
                    <a:cxn ang="0">
                      <a:pos x="261" y="183"/>
                    </a:cxn>
                    <a:cxn ang="0">
                      <a:pos x="240" y="188"/>
                    </a:cxn>
                    <a:cxn ang="0">
                      <a:pos x="217" y="211"/>
                    </a:cxn>
                    <a:cxn ang="0">
                      <a:pos x="200" y="219"/>
                    </a:cxn>
                    <a:cxn ang="0">
                      <a:pos x="188" y="218"/>
                    </a:cxn>
                    <a:cxn ang="0">
                      <a:pos x="160" y="235"/>
                    </a:cxn>
                    <a:cxn ang="0">
                      <a:pos x="125" y="244"/>
                    </a:cxn>
                    <a:cxn ang="0">
                      <a:pos x="109" y="244"/>
                    </a:cxn>
                    <a:cxn ang="0">
                      <a:pos x="99" y="258"/>
                    </a:cxn>
                    <a:cxn ang="0">
                      <a:pos x="94" y="261"/>
                    </a:cxn>
                    <a:cxn ang="0">
                      <a:pos x="87" y="268"/>
                    </a:cxn>
                    <a:cxn ang="0">
                      <a:pos x="80" y="271"/>
                    </a:cxn>
                    <a:cxn ang="0">
                      <a:pos x="67" y="271"/>
                    </a:cxn>
                    <a:cxn ang="0">
                      <a:pos x="59" y="277"/>
                    </a:cxn>
                    <a:cxn ang="0">
                      <a:pos x="52" y="278"/>
                    </a:cxn>
                    <a:cxn ang="0">
                      <a:pos x="43" y="277"/>
                    </a:cxn>
                    <a:cxn ang="0">
                      <a:pos x="34" y="275"/>
                    </a:cxn>
                    <a:cxn ang="0">
                      <a:pos x="27" y="266"/>
                    </a:cxn>
                    <a:cxn ang="0">
                      <a:pos x="22" y="252"/>
                    </a:cxn>
                    <a:cxn ang="0">
                      <a:pos x="22" y="240"/>
                    </a:cxn>
                    <a:cxn ang="0">
                      <a:pos x="19" y="224"/>
                    </a:cxn>
                    <a:cxn ang="0">
                      <a:pos x="13" y="204"/>
                    </a:cxn>
                    <a:cxn ang="0">
                      <a:pos x="8" y="181"/>
                    </a:cxn>
                    <a:cxn ang="0">
                      <a:pos x="7" y="172"/>
                    </a:cxn>
                    <a:cxn ang="0">
                      <a:pos x="0" y="165"/>
                    </a:cxn>
                    <a:cxn ang="0">
                      <a:pos x="5" y="160"/>
                    </a:cxn>
                    <a:cxn ang="0">
                      <a:pos x="1" y="150"/>
                    </a:cxn>
                    <a:cxn ang="0">
                      <a:pos x="1" y="143"/>
                    </a:cxn>
                    <a:cxn ang="0">
                      <a:pos x="7" y="115"/>
                    </a:cxn>
                    <a:cxn ang="0">
                      <a:pos x="22" y="97"/>
                    </a:cxn>
                    <a:cxn ang="0">
                      <a:pos x="19" y="90"/>
                    </a:cxn>
                    <a:cxn ang="0">
                      <a:pos x="22" y="76"/>
                    </a:cxn>
                    <a:cxn ang="0">
                      <a:pos x="22" y="75"/>
                    </a:cxn>
                    <a:cxn ang="0">
                      <a:pos x="26" y="66"/>
                    </a:cxn>
                    <a:cxn ang="0">
                      <a:pos x="33" y="66"/>
                    </a:cxn>
                    <a:cxn ang="0">
                      <a:pos x="41" y="73"/>
                    </a:cxn>
                    <a:cxn ang="0">
                      <a:pos x="45" y="73"/>
                    </a:cxn>
                    <a:cxn ang="0">
                      <a:pos x="47" y="75"/>
                    </a:cxn>
                    <a:cxn ang="0">
                      <a:pos x="54" y="70"/>
                    </a:cxn>
                    <a:cxn ang="0">
                      <a:pos x="94" y="83"/>
                    </a:cxn>
                    <a:cxn ang="0">
                      <a:pos x="130" y="103"/>
                    </a:cxn>
                    <a:cxn ang="0">
                      <a:pos x="130" y="148"/>
                    </a:cxn>
                    <a:cxn ang="0">
                      <a:pos x="191" y="66"/>
                    </a:cxn>
                    <a:cxn ang="0">
                      <a:pos x="215" y="33"/>
                    </a:cxn>
                    <a:cxn ang="0">
                      <a:pos x="245" y="24"/>
                    </a:cxn>
                    <a:cxn ang="0">
                      <a:pos x="329" y="0"/>
                    </a:cxn>
                  </a:cxnLst>
                  <a:rect l="0" t="0" r="r" b="b"/>
                  <a:pathLst>
                    <a:path w="367" h="280">
                      <a:moveTo>
                        <a:pt x="329" y="0"/>
                      </a:moveTo>
                      <a:lnTo>
                        <a:pt x="329" y="0"/>
                      </a:lnTo>
                      <a:lnTo>
                        <a:pt x="327" y="10"/>
                      </a:lnTo>
                      <a:lnTo>
                        <a:pt x="325" y="16"/>
                      </a:lnTo>
                      <a:lnTo>
                        <a:pt x="325" y="21"/>
                      </a:lnTo>
                      <a:lnTo>
                        <a:pt x="325" y="21"/>
                      </a:lnTo>
                      <a:lnTo>
                        <a:pt x="330" y="31"/>
                      </a:lnTo>
                      <a:lnTo>
                        <a:pt x="337" y="43"/>
                      </a:lnTo>
                      <a:lnTo>
                        <a:pt x="351" y="66"/>
                      </a:lnTo>
                      <a:lnTo>
                        <a:pt x="351" y="66"/>
                      </a:lnTo>
                      <a:lnTo>
                        <a:pt x="353" y="71"/>
                      </a:lnTo>
                      <a:lnTo>
                        <a:pt x="353" y="75"/>
                      </a:lnTo>
                      <a:lnTo>
                        <a:pt x="353" y="80"/>
                      </a:lnTo>
                      <a:lnTo>
                        <a:pt x="355" y="85"/>
                      </a:lnTo>
                      <a:lnTo>
                        <a:pt x="355" y="85"/>
                      </a:lnTo>
                      <a:lnTo>
                        <a:pt x="356" y="89"/>
                      </a:lnTo>
                      <a:lnTo>
                        <a:pt x="360" y="94"/>
                      </a:lnTo>
                      <a:lnTo>
                        <a:pt x="367" y="103"/>
                      </a:lnTo>
                      <a:lnTo>
                        <a:pt x="367" y="103"/>
                      </a:lnTo>
                      <a:lnTo>
                        <a:pt x="351" y="113"/>
                      </a:lnTo>
                      <a:lnTo>
                        <a:pt x="341" y="122"/>
                      </a:lnTo>
                      <a:lnTo>
                        <a:pt x="337" y="129"/>
                      </a:lnTo>
                      <a:lnTo>
                        <a:pt x="337" y="136"/>
                      </a:lnTo>
                      <a:lnTo>
                        <a:pt x="337" y="146"/>
                      </a:lnTo>
                      <a:lnTo>
                        <a:pt x="336" y="150"/>
                      </a:lnTo>
                      <a:lnTo>
                        <a:pt x="330" y="153"/>
                      </a:lnTo>
                      <a:lnTo>
                        <a:pt x="330" y="153"/>
                      </a:lnTo>
                      <a:lnTo>
                        <a:pt x="322" y="155"/>
                      </a:lnTo>
                      <a:lnTo>
                        <a:pt x="320" y="158"/>
                      </a:lnTo>
                      <a:lnTo>
                        <a:pt x="313" y="162"/>
                      </a:lnTo>
                      <a:lnTo>
                        <a:pt x="296" y="167"/>
                      </a:lnTo>
                      <a:lnTo>
                        <a:pt x="296" y="167"/>
                      </a:lnTo>
                      <a:lnTo>
                        <a:pt x="287" y="171"/>
                      </a:lnTo>
                      <a:lnTo>
                        <a:pt x="280" y="172"/>
                      </a:lnTo>
                      <a:lnTo>
                        <a:pt x="271" y="179"/>
                      </a:lnTo>
                      <a:lnTo>
                        <a:pt x="266" y="183"/>
                      </a:lnTo>
                      <a:lnTo>
                        <a:pt x="264" y="183"/>
                      </a:lnTo>
                      <a:lnTo>
                        <a:pt x="261" y="183"/>
                      </a:lnTo>
                      <a:lnTo>
                        <a:pt x="261" y="183"/>
                      </a:lnTo>
                      <a:lnTo>
                        <a:pt x="254" y="183"/>
                      </a:lnTo>
                      <a:lnTo>
                        <a:pt x="249" y="184"/>
                      </a:lnTo>
                      <a:lnTo>
                        <a:pt x="240" y="188"/>
                      </a:lnTo>
                      <a:lnTo>
                        <a:pt x="231" y="195"/>
                      </a:lnTo>
                      <a:lnTo>
                        <a:pt x="224" y="202"/>
                      </a:lnTo>
                      <a:lnTo>
                        <a:pt x="217" y="211"/>
                      </a:lnTo>
                      <a:lnTo>
                        <a:pt x="210" y="216"/>
                      </a:lnTo>
                      <a:lnTo>
                        <a:pt x="203" y="219"/>
                      </a:lnTo>
                      <a:lnTo>
                        <a:pt x="200" y="219"/>
                      </a:lnTo>
                      <a:lnTo>
                        <a:pt x="195" y="218"/>
                      </a:lnTo>
                      <a:lnTo>
                        <a:pt x="195" y="218"/>
                      </a:lnTo>
                      <a:lnTo>
                        <a:pt x="188" y="218"/>
                      </a:lnTo>
                      <a:lnTo>
                        <a:pt x="182" y="219"/>
                      </a:lnTo>
                      <a:lnTo>
                        <a:pt x="168" y="230"/>
                      </a:lnTo>
                      <a:lnTo>
                        <a:pt x="160" y="235"/>
                      </a:lnTo>
                      <a:lnTo>
                        <a:pt x="151" y="240"/>
                      </a:lnTo>
                      <a:lnTo>
                        <a:pt x="139" y="244"/>
                      </a:lnTo>
                      <a:lnTo>
                        <a:pt x="125" y="244"/>
                      </a:lnTo>
                      <a:lnTo>
                        <a:pt x="125" y="244"/>
                      </a:lnTo>
                      <a:lnTo>
                        <a:pt x="116" y="242"/>
                      </a:lnTo>
                      <a:lnTo>
                        <a:pt x="109" y="244"/>
                      </a:lnTo>
                      <a:lnTo>
                        <a:pt x="106" y="247"/>
                      </a:lnTo>
                      <a:lnTo>
                        <a:pt x="102" y="251"/>
                      </a:lnTo>
                      <a:lnTo>
                        <a:pt x="99" y="258"/>
                      </a:lnTo>
                      <a:lnTo>
                        <a:pt x="97" y="261"/>
                      </a:lnTo>
                      <a:lnTo>
                        <a:pt x="94" y="261"/>
                      </a:lnTo>
                      <a:lnTo>
                        <a:pt x="94" y="261"/>
                      </a:lnTo>
                      <a:lnTo>
                        <a:pt x="90" y="263"/>
                      </a:lnTo>
                      <a:lnTo>
                        <a:pt x="88" y="265"/>
                      </a:lnTo>
                      <a:lnTo>
                        <a:pt x="87" y="268"/>
                      </a:lnTo>
                      <a:lnTo>
                        <a:pt x="85" y="270"/>
                      </a:lnTo>
                      <a:lnTo>
                        <a:pt x="83" y="271"/>
                      </a:lnTo>
                      <a:lnTo>
                        <a:pt x="80" y="271"/>
                      </a:lnTo>
                      <a:lnTo>
                        <a:pt x="74" y="271"/>
                      </a:lnTo>
                      <a:lnTo>
                        <a:pt x="74" y="271"/>
                      </a:lnTo>
                      <a:lnTo>
                        <a:pt x="67" y="271"/>
                      </a:lnTo>
                      <a:lnTo>
                        <a:pt x="66" y="273"/>
                      </a:lnTo>
                      <a:lnTo>
                        <a:pt x="62" y="275"/>
                      </a:lnTo>
                      <a:lnTo>
                        <a:pt x="59" y="277"/>
                      </a:lnTo>
                      <a:lnTo>
                        <a:pt x="59" y="277"/>
                      </a:lnTo>
                      <a:lnTo>
                        <a:pt x="55" y="277"/>
                      </a:lnTo>
                      <a:lnTo>
                        <a:pt x="52" y="278"/>
                      </a:lnTo>
                      <a:lnTo>
                        <a:pt x="48" y="280"/>
                      </a:lnTo>
                      <a:lnTo>
                        <a:pt x="43" y="277"/>
                      </a:lnTo>
                      <a:lnTo>
                        <a:pt x="43" y="277"/>
                      </a:lnTo>
                      <a:lnTo>
                        <a:pt x="41" y="275"/>
                      </a:lnTo>
                      <a:lnTo>
                        <a:pt x="38" y="273"/>
                      </a:lnTo>
                      <a:lnTo>
                        <a:pt x="34" y="275"/>
                      </a:lnTo>
                      <a:lnTo>
                        <a:pt x="33" y="275"/>
                      </a:lnTo>
                      <a:lnTo>
                        <a:pt x="31" y="273"/>
                      </a:lnTo>
                      <a:lnTo>
                        <a:pt x="27" y="266"/>
                      </a:lnTo>
                      <a:lnTo>
                        <a:pt x="27" y="266"/>
                      </a:lnTo>
                      <a:lnTo>
                        <a:pt x="24" y="258"/>
                      </a:lnTo>
                      <a:lnTo>
                        <a:pt x="22" y="252"/>
                      </a:lnTo>
                      <a:lnTo>
                        <a:pt x="22" y="247"/>
                      </a:lnTo>
                      <a:lnTo>
                        <a:pt x="22" y="240"/>
                      </a:lnTo>
                      <a:lnTo>
                        <a:pt x="22" y="240"/>
                      </a:lnTo>
                      <a:lnTo>
                        <a:pt x="22" y="237"/>
                      </a:lnTo>
                      <a:lnTo>
                        <a:pt x="22" y="231"/>
                      </a:lnTo>
                      <a:lnTo>
                        <a:pt x="19" y="224"/>
                      </a:lnTo>
                      <a:lnTo>
                        <a:pt x="15" y="214"/>
                      </a:lnTo>
                      <a:lnTo>
                        <a:pt x="13" y="204"/>
                      </a:lnTo>
                      <a:lnTo>
                        <a:pt x="13" y="204"/>
                      </a:lnTo>
                      <a:lnTo>
                        <a:pt x="13" y="193"/>
                      </a:lnTo>
                      <a:lnTo>
                        <a:pt x="10" y="186"/>
                      </a:lnTo>
                      <a:lnTo>
                        <a:pt x="8" y="181"/>
                      </a:lnTo>
                      <a:lnTo>
                        <a:pt x="8" y="176"/>
                      </a:lnTo>
                      <a:lnTo>
                        <a:pt x="8" y="176"/>
                      </a:lnTo>
                      <a:lnTo>
                        <a:pt x="7" y="172"/>
                      </a:lnTo>
                      <a:lnTo>
                        <a:pt x="7" y="171"/>
                      </a:lnTo>
                      <a:lnTo>
                        <a:pt x="1" y="167"/>
                      </a:lnTo>
                      <a:lnTo>
                        <a:pt x="0" y="165"/>
                      </a:lnTo>
                      <a:lnTo>
                        <a:pt x="3" y="164"/>
                      </a:lnTo>
                      <a:lnTo>
                        <a:pt x="3" y="164"/>
                      </a:lnTo>
                      <a:lnTo>
                        <a:pt x="5" y="160"/>
                      </a:lnTo>
                      <a:lnTo>
                        <a:pt x="5" y="158"/>
                      </a:lnTo>
                      <a:lnTo>
                        <a:pt x="3" y="155"/>
                      </a:lnTo>
                      <a:lnTo>
                        <a:pt x="1" y="150"/>
                      </a:lnTo>
                      <a:lnTo>
                        <a:pt x="1" y="146"/>
                      </a:lnTo>
                      <a:lnTo>
                        <a:pt x="1" y="143"/>
                      </a:lnTo>
                      <a:lnTo>
                        <a:pt x="1" y="143"/>
                      </a:lnTo>
                      <a:lnTo>
                        <a:pt x="5" y="137"/>
                      </a:lnTo>
                      <a:lnTo>
                        <a:pt x="7" y="130"/>
                      </a:lnTo>
                      <a:lnTo>
                        <a:pt x="7" y="115"/>
                      </a:lnTo>
                      <a:lnTo>
                        <a:pt x="7" y="115"/>
                      </a:lnTo>
                      <a:lnTo>
                        <a:pt x="15" y="106"/>
                      </a:lnTo>
                      <a:lnTo>
                        <a:pt x="22" y="97"/>
                      </a:lnTo>
                      <a:lnTo>
                        <a:pt x="22" y="97"/>
                      </a:lnTo>
                      <a:lnTo>
                        <a:pt x="20" y="96"/>
                      </a:lnTo>
                      <a:lnTo>
                        <a:pt x="19" y="90"/>
                      </a:lnTo>
                      <a:lnTo>
                        <a:pt x="19" y="90"/>
                      </a:lnTo>
                      <a:lnTo>
                        <a:pt x="19" y="83"/>
                      </a:lnTo>
                      <a:lnTo>
                        <a:pt x="22" y="76"/>
                      </a:lnTo>
                      <a:lnTo>
                        <a:pt x="22" y="76"/>
                      </a:lnTo>
                      <a:lnTo>
                        <a:pt x="22" y="75"/>
                      </a:lnTo>
                      <a:lnTo>
                        <a:pt x="22" y="75"/>
                      </a:lnTo>
                      <a:lnTo>
                        <a:pt x="20" y="73"/>
                      </a:lnTo>
                      <a:lnTo>
                        <a:pt x="22" y="70"/>
                      </a:lnTo>
                      <a:lnTo>
                        <a:pt x="26" y="66"/>
                      </a:lnTo>
                      <a:lnTo>
                        <a:pt x="29" y="66"/>
                      </a:lnTo>
                      <a:lnTo>
                        <a:pt x="29" y="66"/>
                      </a:lnTo>
                      <a:lnTo>
                        <a:pt x="33" y="66"/>
                      </a:lnTo>
                      <a:lnTo>
                        <a:pt x="36" y="68"/>
                      </a:lnTo>
                      <a:lnTo>
                        <a:pt x="38" y="71"/>
                      </a:lnTo>
                      <a:lnTo>
                        <a:pt x="41" y="73"/>
                      </a:lnTo>
                      <a:lnTo>
                        <a:pt x="41" y="73"/>
                      </a:lnTo>
                      <a:lnTo>
                        <a:pt x="45" y="73"/>
                      </a:lnTo>
                      <a:lnTo>
                        <a:pt x="45" y="73"/>
                      </a:lnTo>
                      <a:lnTo>
                        <a:pt x="45" y="75"/>
                      </a:lnTo>
                      <a:lnTo>
                        <a:pt x="45" y="75"/>
                      </a:lnTo>
                      <a:lnTo>
                        <a:pt x="47" y="75"/>
                      </a:lnTo>
                      <a:lnTo>
                        <a:pt x="47" y="75"/>
                      </a:lnTo>
                      <a:lnTo>
                        <a:pt x="54" y="70"/>
                      </a:lnTo>
                      <a:lnTo>
                        <a:pt x="54" y="70"/>
                      </a:lnTo>
                      <a:lnTo>
                        <a:pt x="59" y="71"/>
                      </a:lnTo>
                      <a:lnTo>
                        <a:pt x="67" y="73"/>
                      </a:lnTo>
                      <a:lnTo>
                        <a:pt x="94" y="83"/>
                      </a:lnTo>
                      <a:lnTo>
                        <a:pt x="118" y="96"/>
                      </a:lnTo>
                      <a:lnTo>
                        <a:pt x="130" y="103"/>
                      </a:lnTo>
                      <a:lnTo>
                        <a:pt x="130" y="103"/>
                      </a:lnTo>
                      <a:lnTo>
                        <a:pt x="130" y="111"/>
                      </a:lnTo>
                      <a:lnTo>
                        <a:pt x="130" y="111"/>
                      </a:lnTo>
                      <a:lnTo>
                        <a:pt x="130" y="148"/>
                      </a:lnTo>
                      <a:lnTo>
                        <a:pt x="130" y="148"/>
                      </a:lnTo>
                      <a:lnTo>
                        <a:pt x="191" y="66"/>
                      </a:lnTo>
                      <a:lnTo>
                        <a:pt x="191" y="66"/>
                      </a:lnTo>
                      <a:lnTo>
                        <a:pt x="203" y="49"/>
                      </a:lnTo>
                      <a:lnTo>
                        <a:pt x="210" y="38"/>
                      </a:lnTo>
                      <a:lnTo>
                        <a:pt x="215" y="33"/>
                      </a:lnTo>
                      <a:lnTo>
                        <a:pt x="215" y="33"/>
                      </a:lnTo>
                      <a:lnTo>
                        <a:pt x="229" y="28"/>
                      </a:lnTo>
                      <a:lnTo>
                        <a:pt x="245" y="24"/>
                      </a:lnTo>
                      <a:lnTo>
                        <a:pt x="276" y="17"/>
                      </a:lnTo>
                      <a:lnTo>
                        <a:pt x="276" y="17"/>
                      </a:lnTo>
                      <a:lnTo>
                        <a:pt x="329" y="0"/>
                      </a:lnTo>
                      <a:lnTo>
                        <a:pt x="32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4" name="Freeform 1971">
                  <a:extLst>
                    <a:ext uri="{FF2B5EF4-FFF2-40B4-BE49-F238E27FC236}">
                      <a16:creationId xmlns:a16="http://schemas.microsoft.com/office/drawing/2014/main" id="{0880A150-012A-EB6D-45BB-1453551C5EA8}"/>
                    </a:ext>
                  </a:extLst>
                </p:cNvPr>
                <p:cNvSpPr>
                  <a:spLocks/>
                </p:cNvSpPr>
                <p:nvPr/>
              </p:nvSpPr>
              <p:spPr bwMode="auto">
                <a:xfrm>
                  <a:off x="5875616" y="4108273"/>
                  <a:ext cx="294254" cy="461644"/>
                </a:xfrm>
                <a:custGeom>
                  <a:avLst/>
                  <a:gdLst/>
                  <a:ahLst/>
                  <a:cxnLst>
                    <a:cxn ang="0">
                      <a:pos x="19" y="569"/>
                    </a:cxn>
                    <a:cxn ang="0">
                      <a:pos x="5" y="553"/>
                    </a:cxn>
                    <a:cxn ang="0">
                      <a:pos x="0" y="534"/>
                    </a:cxn>
                    <a:cxn ang="0">
                      <a:pos x="0" y="388"/>
                    </a:cxn>
                    <a:cxn ang="0">
                      <a:pos x="33" y="339"/>
                    </a:cxn>
                    <a:cxn ang="0">
                      <a:pos x="45" y="327"/>
                    </a:cxn>
                    <a:cxn ang="0">
                      <a:pos x="61" y="327"/>
                    </a:cxn>
                    <a:cxn ang="0">
                      <a:pos x="66" y="322"/>
                    </a:cxn>
                    <a:cxn ang="0">
                      <a:pos x="75" y="309"/>
                    </a:cxn>
                    <a:cxn ang="0">
                      <a:pos x="97" y="301"/>
                    </a:cxn>
                    <a:cxn ang="0">
                      <a:pos x="123" y="301"/>
                    </a:cxn>
                    <a:cxn ang="0">
                      <a:pos x="143" y="296"/>
                    </a:cxn>
                    <a:cxn ang="0">
                      <a:pos x="183" y="243"/>
                    </a:cxn>
                    <a:cxn ang="0">
                      <a:pos x="244" y="170"/>
                    </a:cxn>
                    <a:cxn ang="0">
                      <a:pos x="240" y="167"/>
                    </a:cxn>
                    <a:cxn ang="0">
                      <a:pos x="219" y="167"/>
                    </a:cxn>
                    <a:cxn ang="0">
                      <a:pos x="170" y="151"/>
                    </a:cxn>
                    <a:cxn ang="0">
                      <a:pos x="111" y="130"/>
                    </a:cxn>
                    <a:cxn ang="0">
                      <a:pos x="101" y="120"/>
                    </a:cxn>
                    <a:cxn ang="0">
                      <a:pos x="83" y="104"/>
                    </a:cxn>
                    <a:cxn ang="0">
                      <a:pos x="78" y="90"/>
                    </a:cxn>
                    <a:cxn ang="0">
                      <a:pos x="68" y="76"/>
                    </a:cxn>
                    <a:cxn ang="0">
                      <a:pos x="61" y="61"/>
                    </a:cxn>
                    <a:cxn ang="0">
                      <a:pos x="80" y="19"/>
                    </a:cxn>
                    <a:cxn ang="0">
                      <a:pos x="89" y="31"/>
                    </a:cxn>
                    <a:cxn ang="0">
                      <a:pos x="104" y="55"/>
                    </a:cxn>
                    <a:cxn ang="0">
                      <a:pos x="120" y="66"/>
                    </a:cxn>
                    <a:cxn ang="0">
                      <a:pos x="143" y="62"/>
                    </a:cxn>
                    <a:cxn ang="0">
                      <a:pos x="163" y="50"/>
                    </a:cxn>
                    <a:cxn ang="0">
                      <a:pos x="181" y="52"/>
                    </a:cxn>
                    <a:cxn ang="0">
                      <a:pos x="204" y="50"/>
                    </a:cxn>
                    <a:cxn ang="0">
                      <a:pos x="219" y="38"/>
                    </a:cxn>
                    <a:cxn ang="0">
                      <a:pos x="238" y="36"/>
                    </a:cxn>
                    <a:cxn ang="0">
                      <a:pos x="252" y="34"/>
                    </a:cxn>
                    <a:cxn ang="0">
                      <a:pos x="258" y="29"/>
                    </a:cxn>
                    <a:cxn ang="0">
                      <a:pos x="278" y="27"/>
                    </a:cxn>
                    <a:cxn ang="0">
                      <a:pos x="317" y="19"/>
                    </a:cxn>
                    <a:cxn ang="0">
                      <a:pos x="346" y="0"/>
                    </a:cxn>
                    <a:cxn ang="0">
                      <a:pos x="359" y="5"/>
                    </a:cxn>
                    <a:cxn ang="0">
                      <a:pos x="359" y="20"/>
                    </a:cxn>
                    <a:cxn ang="0">
                      <a:pos x="355" y="47"/>
                    </a:cxn>
                    <a:cxn ang="0">
                      <a:pos x="367" y="67"/>
                    </a:cxn>
                    <a:cxn ang="0">
                      <a:pos x="359" y="66"/>
                    </a:cxn>
                    <a:cxn ang="0">
                      <a:pos x="348" y="90"/>
                    </a:cxn>
                    <a:cxn ang="0">
                      <a:pos x="343" y="111"/>
                    </a:cxn>
                    <a:cxn ang="0">
                      <a:pos x="310" y="177"/>
                    </a:cxn>
                    <a:cxn ang="0">
                      <a:pos x="287" y="236"/>
                    </a:cxn>
                    <a:cxn ang="0">
                      <a:pos x="235" y="332"/>
                    </a:cxn>
                    <a:cxn ang="0">
                      <a:pos x="174" y="400"/>
                    </a:cxn>
                    <a:cxn ang="0">
                      <a:pos x="120" y="445"/>
                    </a:cxn>
                    <a:cxn ang="0">
                      <a:pos x="57" y="515"/>
                    </a:cxn>
                    <a:cxn ang="0">
                      <a:pos x="38" y="539"/>
                    </a:cxn>
                    <a:cxn ang="0">
                      <a:pos x="31" y="560"/>
                    </a:cxn>
                    <a:cxn ang="0">
                      <a:pos x="22" y="576"/>
                    </a:cxn>
                  </a:cxnLst>
                  <a:rect l="0" t="0" r="r" b="b"/>
                  <a:pathLst>
                    <a:path w="367" h="576">
                      <a:moveTo>
                        <a:pt x="22" y="576"/>
                      </a:moveTo>
                      <a:lnTo>
                        <a:pt x="22" y="576"/>
                      </a:lnTo>
                      <a:lnTo>
                        <a:pt x="19" y="569"/>
                      </a:lnTo>
                      <a:lnTo>
                        <a:pt x="15" y="565"/>
                      </a:lnTo>
                      <a:lnTo>
                        <a:pt x="9" y="557"/>
                      </a:lnTo>
                      <a:lnTo>
                        <a:pt x="5" y="553"/>
                      </a:lnTo>
                      <a:lnTo>
                        <a:pt x="2" y="548"/>
                      </a:lnTo>
                      <a:lnTo>
                        <a:pt x="0" y="543"/>
                      </a:lnTo>
                      <a:lnTo>
                        <a:pt x="0" y="534"/>
                      </a:lnTo>
                      <a:lnTo>
                        <a:pt x="0" y="534"/>
                      </a:lnTo>
                      <a:lnTo>
                        <a:pt x="0" y="388"/>
                      </a:lnTo>
                      <a:lnTo>
                        <a:pt x="0" y="388"/>
                      </a:lnTo>
                      <a:lnTo>
                        <a:pt x="14" y="369"/>
                      </a:lnTo>
                      <a:lnTo>
                        <a:pt x="33" y="339"/>
                      </a:lnTo>
                      <a:lnTo>
                        <a:pt x="33" y="339"/>
                      </a:lnTo>
                      <a:lnTo>
                        <a:pt x="36" y="332"/>
                      </a:lnTo>
                      <a:lnTo>
                        <a:pt x="40" y="329"/>
                      </a:lnTo>
                      <a:lnTo>
                        <a:pt x="45" y="327"/>
                      </a:lnTo>
                      <a:lnTo>
                        <a:pt x="52" y="327"/>
                      </a:lnTo>
                      <a:lnTo>
                        <a:pt x="52" y="327"/>
                      </a:lnTo>
                      <a:lnTo>
                        <a:pt x="61" y="327"/>
                      </a:lnTo>
                      <a:lnTo>
                        <a:pt x="66" y="325"/>
                      </a:lnTo>
                      <a:lnTo>
                        <a:pt x="68" y="323"/>
                      </a:lnTo>
                      <a:lnTo>
                        <a:pt x="66" y="322"/>
                      </a:lnTo>
                      <a:lnTo>
                        <a:pt x="68" y="318"/>
                      </a:lnTo>
                      <a:lnTo>
                        <a:pt x="69" y="315"/>
                      </a:lnTo>
                      <a:lnTo>
                        <a:pt x="75" y="309"/>
                      </a:lnTo>
                      <a:lnTo>
                        <a:pt x="83" y="304"/>
                      </a:lnTo>
                      <a:lnTo>
                        <a:pt x="83" y="304"/>
                      </a:lnTo>
                      <a:lnTo>
                        <a:pt x="97" y="301"/>
                      </a:lnTo>
                      <a:lnTo>
                        <a:pt x="108" y="299"/>
                      </a:lnTo>
                      <a:lnTo>
                        <a:pt x="116" y="299"/>
                      </a:lnTo>
                      <a:lnTo>
                        <a:pt x="123" y="301"/>
                      </a:lnTo>
                      <a:lnTo>
                        <a:pt x="129" y="301"/>
                      </a:lnTo>
                      <a:lnTo>
                        <a:pt x="136" y="299"/>
                      </a:lnTo>
                      <a:lnTo>
                        <a:pt x="143" y="296"/>
                      </a:lnTo>
                      <a:lnTo>
                        <a:pt x="151" y="285"/>
                      </a:lnTo>
                      <a:lnTo>
                        <a:pt x="151" y="285"/>
                      </a:lnTo>
                      <a:lnTo>
                        <a:pt x="183" y="243"/>
                      </a:lnTo>
                      <a:lnTo>
                        <a:pt x="217" y="202"/>
                      </a:lnTo>
                      <a:lnTo>
                        <a:pt x="217" y="202"/>
                      </a:lnTo>
                      <a:lnTo>
                        <a:pt x="244" y="170"/>
                      </a:lnTo>
                      <a:lnTo>
                        <a:pt x="245" y="168"/>
                      </a:lnTo>
                      <a:lnTo>
                        <a:pt x="245" y="167"/>
                      </a:lnTo>
                      <a:lnTo>
                        <a:pt x="240" y="167"/>
                      </a:lnTo>
                      <a:lnTo>
                        <a:pt x="240" y="167"/>
                      </a:lnTo>
                      <a:lnTo>
                        <a:pt x="231" y="168"/>
                      </a:lnTo>
                      <a:lnTo>
                        <a:pt x="219" y="167"/>
                      </a:lnTo>
                      <a:lnTo>
                        <a:pt x="200" y="163"/>
                      </a:lnTo>
                      <a:lnTo>
                        <a:pt x="170" y="151"/>
                      </a:lnTo>
                      <a:lnTo>
                        <a:pt x="170" y="151"/>
                      </a:lnTo>
                      <a:lnTo>
                        <a:pt x="143" y="141"/>
                      </a:lnTo>
                      <a:lnTo>
                        <a:pt x="123" y="135"/>
                      </a:lnTo>
                      <a:lnTo>
                        <a:pt x="111" y="130"/>
                      </a:lnTo>
                      <a:lnTo>
                        <a:pt x="106" y="125"/>
                      </a:lnTo>
                      <a:lnTo>
                        <a:pt x="101" y="120"/>
                      </a:lnTo>
                      <a:lnTo>
                        <a:pt x="101" y="120"/>
                      </a:lnTo>
                      <a:lnTo>
                        <a:pt x="94" y="111"/>
                      </a:lnTo>
                      <a:lnTo>
                        <a:pt x="87" y="108"/>
                      </a:lnTo>
                      <a:lnTo>
                        <a:pt x="83" y="104"/>
                      </a:lnTo>
                      <a:lnTo>
                        <a:pt x="80" y="97"/>
                      </a:lnTo>
                      <a:lnTo>
                        <a:pt x="80" y="97"/>
                      </a:lnTo>
                      <a:lnTo>
                        <a:pt x="78" y="90"/>
                      </a:lnTo>
                      <a:lnTo>
                        <a:pt x="76" y="87"/>
                      </a:lnTo>
                      <a:lnTo>
                        <a:pt x="73" y="85"/>
                      </a:lnTo>
                      <a:lnTo>
                        <a:pt x="68" y="76"/>
                      </a:lnTo>
                      <a:lnTo>
                        <a:pt x="68" y="76"/>
                      </a:lnTo>
                      <a:lnTo>
                        <a:pt x="64" y="67"/>
                      </a:lnTo>
                      <a:lnTo>
                        <a:pt x="61" y="61"/>
                      </a:lnTo>
                      <a:lnTo>
                        <a:pt x="63" y="52"/>
                      </a:lnTo>
                      <a:lnTo>
                        <a:pt x="68" y="41"/>
                      </a:lnTo>
                      <a:lnTo>
                        <a:pt x="80" y="19"/>
                      </a:lnTo>
                      <a:lnTo>
                        <a:pt x="80" y="19"/>
                      </a:lnTo>
                      <a:lnTo>
                        <a:pt x="85" y="26"/>
                      </a:lnTo>
                      <a:lnTo>
                        <a:pt x="89" y="31"/>
                      </a:lnTo>
                      <a:lnTo>
                        <a:pt x="96" y="43"/>
                      </a:lnTo>
                      <a:lnTo>
                        <a:pt x="99" y="50"/>
                      </a:lnTo>
                      <a:lnTo>
                        <a:pt x="104" y="55"/>
                      </a:lnTo>
                      <a:lnTo>
                        <a:pt x="111" y="61"/>
                      </a:lnTo>
                      <a:lnTo>
                        <a:pt x="120" y="66"/>
                      </a:lnTo>
                      <a:lnTo>
                        <a:pt x="120" y="66"/>
                      </a:lnTo>
                      <a:lnTo>
                        <a:pt x="129" y="67"/>
                      </a:lnTo>
                      <a:lnTo>
                        <a:pt x="137" y="66"/>
                      </a:lnTo>
                      <a:lnTo>
                        <a:pt x="143" y="62"/>
                      </a:lnTo>
                      <a:lnTo>
                        <a:pt x="150" y="59"/>
                      </a:lnTo>
                      <a:lnTo>
                        <a:pt x="157" y="54"/>
                      </a:lnTo>
                      <a:lnTo>
                        <a:pt x="163" y="50"/>
                      </a:lnTo>
                      <a:lnTo>
                        <a:pt x="170" y="50"/>
                      </a:lnTo>
                      <a:lnTo>
                        <a:pt x="181" y="52"/>
                      </a:lnTo>
                      <a:lnTo>
                        <a:pt x="181" y="52"/>
                      </a:lnTo>
                      <a:lnTo>
                        <a:pt x="191" y="54"/>
                      </a:lnTo>
                      <a:lnTo>
                        <a:pt x="198" y="54"/>
                      </a:lnTo>
                      <a:lnTo>
                        <a:pt x="204" y="50"/>
                      </a:lnTo>
                      <a:lnTo>
                        <a:pt x="209" y="47"/>
                      </a:lnTo>
                      <a:lnTo>
                        <a:pt x="214" y="41"/>
                      </a:lnTo>
                      <a:lnTo>
                        <a:pt x="219" y="38"/>
                      </a:lnTo>
                      <a:lnTo>
                        <a:pt x="228" y="36"/>
                      </a:lnTo>
                      <a:lnTo>
                        <a:pt x="238" y="36"/>
                      </a:lnTo>
                      <a:lnTo>
                        <a:pt x="238" y="36"/>
                      </a:lnTo>
                      <a:lnTo>
                        <a:pt x="247" y="36"/>
                      </a:lnTo>
                      <a:lnTo>
                        <a:pt x="251" y="36"/>
                      </a:lnTo>
                      <a:lnTo>
                        <a:pt x="252" y="34"/>
                      </a:lnTo>
                      <a:lnTo>
                        <a:pt x="252" y="33"/>
                      </a:lnTo>
                      <a:lnTo>
                        <a:pt x="254" y="31"/>
                      </a:lnTo>
                      <a:lnTo>
                        <a:pt x="258" y="29"/>
                      </a:lnTo>
                      <a:lnTo>
                        <a:pt x="264" y="27"/>
                      </a:lnTo>
                      <a:lnTo>
                        <a:pt x="278" y="27"/>
                      </a:lnTo>
                      <a:lnTo>
                        <a:pt x="278" y="27"/>
                      </a:lnTo>
                      <a:lnTo>
                        <a:pt x="294" y="26"/>
                      </a:lnTo>
                      <a:lnTo>
                        <a:pt x="306" y="22"/>
                      </a:lnTo>
                      <a:lnTo>
                        <a:pt x="317" y="19"/>
                      </a:lnTo>
                      <a:lnTo>
                        <a:pt x="325" y="12"/>
                      </a:lnTo>
                      <a:lnTo>
                        <a:pt x="339" y="3"/>
                      </a:lnTo>
                      <a:lnTo>
                        <a:pt x="346" y="0"/>
                      </a:lnTo>
                      <a:lnTo>
                        <a:pt x="353" y="1"/>
                      </a:lnTo>
                      <a:lnTo>
                        <a:pt x="353" y="1"/>
                      </a:lnTo>
                      <a:lnTo>
                        <a:pt x="359" y="5"/>
                      </a:lnTo>
                      <a:lnTo>
                        <a:pt x="360" y="8"/>
                      </a:lnTo>
                      <a:lnTo>
                        <a:pt x="360" y="14"/>
                      </a:lnTo>
                      <a:lnTo>
                        <a:pt x="359" y="20"/>
                      </a:lnTo>
                      <a:lnTo>
                        <a:pt x="355" y="27"/>
                      </a:lnTo>
                      <a:lnTo>
                        <a:pt x="355" y="36"/>
                      </a:lnTo>
                      <a:lnTo>
                        <a:pt x="355" y="47"/>
                      </a:lnTo>
                      <a:lnTo>
                        <a:pt x="360" y="57"/>
                      </a:lnTo>
                      <a:lnTo>
                        <a:pt x="360" y="57"/>
                      </a:lnTo>
                      <a:lnTo>
                        <a:pt x="367" y="67"/>
                      </a:lnTo>
                      <a:lnTo>
                        <a:pt x="365" y="67"/>
                      </a:lnTo>
                      <a:lnTo>
                        <a:pt x="362" y="66"/>
                      </a:lnTo>
                      <a:lnTo>
                        <a:pt x="359" y="66"/>
                      </a:lnTo>
                      <a:lnTo>
                        <a:pt x="353" y="69"/>
                      </a:lnTo>
                      <a:lnTo>
                        <a:pt x="350" y="76"/>
                      </a:lnTo>
                      <a:lnTo>
                        <a:pt x="348" y="90"/>
                      </a:lnTo>
                      <a:lnTo>
                        <a:pt x="348" y="90"/>
                      </a:lnTo>
                      <a:lnTo>
                        <a:pt x="346" y="101"/>
                      </a:lnTo>
                      <a:lnTo>
                        <a:pt x="343" y="111"/>
                      </a:lnTo>
                      <a:lnTo>
                        <a:pt x="332" y="132"/>
                      </a:lnTo>
                      <a:lnTo>
                        <a:pt x="318" y="160"/>
                      </a:lnTo>
                      <a:lnTo>
                        <a:pt x="310" y="177"/>
                      </a:lnTo>
                      <a:lnTo>
                        <a:pt x="303" y="198"/>
                      </a:lnTo>
                      <a:lnTo>
                        <a:pt x="303" y="198"/>
                      </a:lnTo>
                      <a:lnTo>
                        <a:pt x="287" y="236"/>
                      </a:lnTo>
                      <a:lnTo>
                        <a:pt x="270" y="271"/>
                      </a:lnTo>
                      <a:lnTo>
                        <a:pt x="252" y="303"/>
                      </a:lnTo>
                      <a:lnTo>
                        <a:pt x="235" y="332"/>
                      </a:lnTo>
                      <a:lnTo>
                        <a:pt x="216" y="357"/>
                      </a:lnTo>
                      <a:lnTo>
                        <a:pt x="195" y="381"/>
                      </a:lnTo>
                      <a:lnTo>
                        <a:pt x="174" y="400"/>
                      </a:lnTo>
                      <a:lnTo>
                        <a:pt x="153" y="419"/>
                      </a:lnTo>
                      <a:lnTo>
                        <a:pt x="153" y="419"/>
                      </a:lnTo>
                      <a:lnTo>
                        <a:pt x="120" y="445"/>
                      </a:lnTo>
                      <a:lnTo>
                        <a:pt x="99" y="466"/>
                      </a:lnTo>
                      <a:lnTo>
                        <a:pt x="82" y="489"/>
                      </a:lnTo>
                      <a:lnTo>
                        <a:pt x="57" y="515"/>
                      </a:lnTo>
                      <a:lnTo>
                        <a:pt x="57" y="515"/>
                      </a:lnTo>
                      <a:lnTo>
                        <a:pt x="47" y="529"/>
                      </a:lnTo>
                      <a:lnTo>
                        <a:pt x="38" y="539"/>
                      </a:lnTo>
                      <a:lnTo>
                        <a:pt x="35" y="546"/>
                      </a:lnTo>
                      <a:lnTo>
                        <a:pt x="33" y="552"/>
                      </a:lnTo>
                      <a:lnTo>
                        <a:pt x="31" y="560"/>
                      </a:lnTo>
                      <a:lnTo>
                        <a:pt x="28" y="567"/>
                      </a:lnTo>
                      <a:lnTo>
                        <a:pt x="22" y="576"/>
                      </a:lnTo>
                      <a:lnTo>
                        <a:pt x="22" y="57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5" name="Freeform 1972">
                  <a:extLst>
                    <a:ext uri="{FF2B5EF4-FFF2-40B4-BE49-F238E27FC236}">
                      <a16:creationId xmlns:a16="http://schemas.microsoft.com/office/drawing/2014/main" id="{C34079E0-BD33-DA84-CB55-0CF606F3F791}"/>
                    </a:ext>
                  </a:extLst>
                </p:cNvPr>
                <p:cNvSpPr>
                  <a:spLocks/>
                </p:cNvSpPr>
                <p:nvPr/>
              </p:nvSpPr>
              <p:spPr bwMode="auto">
                <a:xfrm>
                  <a:off x="5066855" y="4333811"/>
                  <a:ext cx="535648" cy="641368"/>
                </a:xfrm>
                <a:custGeom>
                  <a:avLst/>
                  <a:gdLst/>
                  <a:ahLst/>
                  <a:cxnLst>
                    <a:cxn ang="0">
                      <a:pos x="607" y="475"/>
                    </a:cxn>
                    <a:cxn ang="0">
                      <a:pos x="637" y="538"/>
                    </a:cxn>
                    <a:cxn ang="0">
                      <a:pos x="600" y="579"/>
                    </a:cxn>
                    <a:cxn ang="0">
                      <a:pos x="571" y="614"/>
                    </a:cxn>
                    <a:cxn ang="0">
                      <a:pos x="576" y="647"/>
                    </a:cxn>
                    <a:cxn ang="0">
                      <a:pos x="569" y="693"/>
                    </a:cxn>
                    <a:cxn ang="0">
                      <a:pos x="595" y="752"/>
                    </a:cxn>
                    <a:cxn ang="0">
                      <a:pos x="616" y="767"/>
                    </a:cxn>
                    <a:cxn ang="0">
                      <a:pos x="597" y="794"/>
                    </a:cxn>
                    <a:cxn ang="0">
                      <a:pos x="555" y="748"/>
                    </a:cxn>
                    <a:cxn ang="0">
                      <a:pos x="526" y="719"/>
                    </a:cxn>
                    <a:cxn ang="0">
                      <a:pos x="510" y="736"/>
                    </a:cxn>
                    <a:cxn ang="0">
                      <a:pos x="459" y="707"/>
                    </a:cxn>
                    <a:cxn ang="0">
                      <a:pos x="428" y="707"/>
                    </a:cxn>
                    <a:cxn ang="0">
                      <a:pos x="407" y="693"/>
                    </a:cxn>
                    <a:cxn ang="0">
                      <a:pos x="374" y="694"/>
                    </a:cxn>
                    <a:cxn ang="0">
                      <a:pos x="355" y="703"/>
                    </a:cxn>
                    <a:cxn ang="0">
                      <a:pos x="350" y="656"/>
                    </a:cxn>
                    <a:cxn ang="0">
                      <a:pos x="339" y="579"/>
                    </a:cxn>
                    <a:cxn ang="0">
                      <a:pos x="336" y="538"/>
                    </a:cxn>
                    <a:cxn ang="0">
                      <a:pos x="292" y="527"/>
                    </a:cxn>
                    <a:cxn ang="0">
                      <a:pos x="280" y="520"/>
                    </a:cxn>
                    <a:cxn ang="0">
                      <a:pos x="254" y="541"/>
                    </a:cxn>
                    <a:cxn ang="0">
                      <a:pos x="243" y="565"/>
                    </a:cxn>
                    <a:cxn ang="0">
                      <a:pos x="191" y="567"/>
                    </a:cxn>
                    <a:cxn ang="0">
                      <a:pos x="165" y="525"/>
                    </a:cxn>
                    <a:cxn ang="0">
                      <a:pos x="153" y="475"/>
                    </a:cxn>
                    <a:cxn ang="0">
                      <a:pos x="59" y="473"/>
                    </a:cxn>
                    <a:cxn ang="0">
                      <a:pos x="15" y="471"/>
                    </a:cxn>
                    <a:cxn ang="0">
                      <a:pos x="10" y="461"/>
                    </a:cxn>
                    <a:cxn ang="0">
                      <a:pos x="29" y="423"/>
                    </a:cxn>
                    <a:cxn ang="0">
                      <a:pos x="69" y="409"/>
                    </a:cxn>
                    <a:cxn ang="0">
                      <a:pos x="75" y="428"/>
                    </a:cxn>
                    <a:cxn ang="0">
                      <a:pos x="104" y="417"/>
                    </a:cxn>
                    <a:cxn ang="0">
                      <a:pos x="137" y="379"/>
                    </a:cxn>
                    <a:cxn ang="0">
                      <a:pos x="137" y="329"/>
                    </a:cxn>
                    <a:cxn ang="0">
                      <a:pos x="184" y="261"/>
                    </a:cxn>
                    <a:cxn ang="0">
                      <a:pos x="202" y="209"/>
                    </a:cxn>
                    <a:cxn ang="0">
                      <a:pos x="200" y="169"/>
                    </a:cxn>
                    <a:cxn ang="0">
                      <a:pos x="219" y="101"/>
                    </a:cxn>
                    <a:cxn ang="0">
                      <a:pos x="226" y="38"/>
                    </a:cxn>
                    <a:cxn ang="0">
                      <a:pos x="264" y="10"/>
                    </a:cxn>
                    <a:cxn ang="0">
                      <a:pos x="297" y="38"/>
                    </a:cxn>
                    <a:cxn ang="0">
                      <a:pos x="367" y="34"/>
                    </a:cxn>
                    <a:cxn ang="0">
                      <a:pos x="400" y="26"/>
                    </a:cxn>
                    <a:cxn ang="0">
                      <a:pos x="449" y="15"/>
                    </a:cxn>
                    <a:cxn ang="0">
                      <a:pos x="489" y="5"/>
                    </a:cxn>
                    <a:cxn ang="0">
                      <a:pos x="524" y="8"/>
                    </a:cxn>
                    <a:cxn ang="0">
                      <a:pos x="569" y="41"/>
                    </a:cxn>
                    <a:cxn ang="0">
                      <a:pos x="595" y="40"/>
                    </a:cxn>
                    <a:cxn ang="0">
                      <a:pos x="620" y="36"/>
                    </a:cxn>
                    <a:cxn ang="0">
                      <a:pos x="653" y="78"/>
                    </a:cxn>
                    <a:cxn ang="0">
                      <a:pos x="660" y="128"/>
                    </a:cxn>
                    <a:cxn ang="0">
                      <a:pos x="626" y="184"/>
                    </a:cxn>
                    <a:cxn ang="0">
                      <a:pos x="593" y="299"/>
                    </a:cxn>
                    <a:cxn ang="0">
                      <a:pos x="581" y="330"/>
                    </a:cxn>
                    <a:cxn ang="0">
                      <a:pos x="595" y="374"/>
                    </a:cxn>
                  </a:cxnLst>
                  <a:rect l="0" t="0" r="r" b="b"/>
                  <a:pathLst>
                    <a:path w="667" h="797">
                      <a:moveTo>
                        <a:pt x="602" y="417"/>
                      </a:moveTo>
                      <a:lnTo>
                        <a:pt x="602" y="417"/>
                      </a:lnTo>
                      <a:lnTo>
                        <a:pt x="600" y="428"/>
                      </a:lnTo>
                      <a:lnTo>
                        <a:pt x="600" y="435"/>
                      </a:lnTo>
                      <a:lnTo>
                        <a:pt x="606" y="449"/>
                      </a:lnTo>
                      <a:lnTo>
                        <a:pt x="609" y="461"/>
                      </a:lnTo>
                      <a:lnTo>
                        <a:pt x="609" y="468"/>
                      </a:lnTo>
                      <a:lnTo>
                        <a:pt x="607" y="475"/>
                      </a:lnTo>
                      <a:lnTo>
                        <a:pt x="607" y="475"/>
                      </a:lnTo>
                      <a:lnTo>
                        <a:pt x="606" y="482"/>
                      </a:lnTo>
                      <a:lnTo>
                        <a:pt x="607" y="491"/>
                      </a:lnTo>
                      <a:lnTo>
                        <a:pt x="611" y="499"/>
                      </a:lnTo>
                      <a:lnTo>
                        <a:pt x="618" y="508"/>
                      </a:lnTo>
                      <a:lnTo>
                        <a:pt x="628" y="525"/>
                      </a:lnTo>
                      <a:lnTo>
                        <a:pt x="633" y="532"/>
                      </a:lnTo>
                      <a:lnTo>
                        <a:pt x="637" y="538"/>
                      </a:lnTo>
                      <a:lnTo>
                        <a:pt x="637" y="538"/>
                      </a:lnTo>
                      <a:lnTo>
                        <a:pt x="642" y="559"/>
                      </a:lnTo>
                      <a:lnTo>
                        <a:pt x="649" y="572"/>
                      </a:lnTo>
                      <a:lnTo>
                        <a:pt x="649" y="572"/>
                      </a:lnTo>
                      <a:lnTo>
                        <a:pt x="640" y="574"/>
                      </a:lnTo>
                      <a:lnTo>
                        <a:pt x="630" y="576"/>
                      </a:lnTo>
                      <a:lnTo>
                        <a:pt x="609" y="578"/>
                      </a:lnTo>
                      <a:lnTo>
                        <a:pt x="600" y="579"/>
                      </a:lnTo>
                      <a:lnTo>
                        <a:pt x="593" y="583"/>
                      </a:lnTo>
                      <a:lnTo>
                        <a:pt x="588" y="586"/>
                      </a:lnTo>
                      <a:lnTo>
                        <a:pt x="586" y="593"/>
                      </a:lnTo>
                      <a:lnTo>
                        <a:pt x="586" y="593"/>
                      </a:lnTo>
                      <a:lnTo>
                        <a:pt x="585" y="600"/>
                      </a:lnTo>
                      <a:lnTo>
                        <a:pt x="581" y="606"/>
                      </a:lnTo>
                      <a:lnTo>
                        <a:pt x="573" y="612"/>
                      </a:lnTo>
                      <a:lnTo>
                        <a:pt x="571" y="614"/>
                      </a:lnTo>
                      <a:lnTo>
                        <a:pt x="567" y="618"/>
                      </a:lnTo>
                      <a:lnTo>
                        <a:pt x="569" y="621"/>
                      </a:lnTo>
                      <a:lnTo>
                        <a:pt x="573" y="626"/>
                      </a:lnTo>
                      <a:lnTo>
                        <a:pt x="573" y="626"/>
                      </a:lnTo>
                      <a:lnTo>
                        <a:pt x="576" y="635"/>
                      </a:lnTo>
                      <a:lnTo>
                        <a:pt x="578" y="640"/>
                      </a:lnTo>
                      <a:lnTo>
                        <a:pt x="578" y="644"/>
                      </a:lnTo>
                      <a:lnTo>
                        <a:pt x="576" y="647"/>
                      </a:lnTo>
                      <a:lnTo>
                        <a:pt x="573" y="654"/>
                      </a:lnTo>
                      <a:lnTo>
                        <a:pt x="573" y="658"/>
                      </a:lnTo>
                      <a:lnTo>
                        <a:pt x="574" y="665"/>
                      </a:lnTo>
                      <a:lnTo>
                        <a:pt x="574" y="665"/>
                      </a:lnTo>
                      <a:lnTo>
                        <a:pt x="576" y="672"/>
                      </a:lnTo>
                      <a:lnTo>
                        <a:pt x="574" y="679"/>
                      </a:lnTo>
                      <a:lnTo>
                        <a:pt x="573" y="686"/>
                      </a:lnTo>
                      <a:lnTo>
                        <a:pt x="569" y="693"/>
                      </a:lnTo>
                      <a:lnTo>
                        <a:pt x="564" y="707"/>
                      </a:lnTo>
                      <a:lnTo>
                        <a:pt x="564" y="712"/>
                      </a:lnTo>
                      <a:lnTo>
                        <a:pt x="566" y="717"/>
                      </a:lnTo>
                      <a:lnTo>
                        <a:pt x="566" y="717"/>
                      </a:lnTo>
                      <a:lnTo>
                        <a:pt x="578" y="738"/>
                      </a:lnTo>
                      <a:lnTo>
                        <a:pt x="585" y="747"/>
                      </a:lnTo>
                      <a:lnTo>
                        <a:pt x="590" y="750"/>
                      </a:lnTo>
                      <a:lnTo>
                        <a:pt x="595" y="752"/>
                      </a:lnTo>
                      <a:lnTo>
                        <a:pt x="595" y="752"/>
                      </a:lnTo>
                      <a:lnTo>
                        <a:pt x="600" y="752"/>
                      </a:lnTo>
                      <a:lnTo>
                        <a:pt x="606" y="748"/>
                      </a:lnTo>
                      <a:lnTo>
                        <a:pt x="613" y="741"/>
                      </a:lnTo>
                      <a:lnTo>
                        <a:pt x="614" y="741"/>
                      </a:lnTo>
                      <a:lnTo>
                        <a:pt x="616" y="743"/>
                      </a:lnTo>
                      <a:lnTo>
                        <a:pt x="616" y="767"/>
                      </a:lnTo>
                      <a:lnTo>
                        <a:pt x="616" y="767"/>
                      </a:lnTo>
                      <a:lnTo>
                        <a:pt x="614" y="794"/>
                      </a:lnTo>
                      <a:lnTo>
                        <a:pt x="613" y="797"/>
                      </a:lnTo>
                      <a:lnTo>
                        <a:pt x="613" y="795"/>
                      </a:lnTo>
                      <a:lnTo>
                        <a:pt x="607" y="790"/>
                      </a:lnTo>
                      <a:lnTo>
                        <a:pt x="606" y="788"/>
                      </a:lnTo>
                      <a:lnTo>
                        <a:pt x="602" y="790"/>
                      </a:lnTo>
                      <a:lnTo>
                        <a:pt x="602" y="790"/>
                      </a:lnTo>
                      <a:lnTo>
                        <a:pt x="597" y="794"/>
                      </a:lnTo>
                      <a:lnTo>
                        <a:pt x="595" y="795"/>
                      </a:lnTo>
                      <a:lnTo>
                        <a:pt x="592" y="794"/>
                      </a:lnTo>
                      <a:lnTo>
                        <a:pt x="586" y="788"/>
                      </a:lnTo>
                      <a:lnTo>
                        <a:pt x="579" y="774"/>
                      </a:lnTo>
                      <a:lnTo>
                        <a:pt x="579" y="774"/>
                      </a:lnTo>
                      <a:lnTo>
                        <a:pt x="571" y="760"/>
                      </a:lnTo>
                      <a:lnTo>
                        <a:pt x="564" y="752"/>
                      </a:lnTo>
                      <a:lnTo>
                        <a:pt x="555" y="748"/>
                      </a:lnTo>
                      <a:lnTo>
                        <a:pt x="546" y="747"/>
                      </a:lnTo>
                      <a:lnTo>
                        <a:pt x="546" y="747"/>
                      </a:lnTo>
                      <a:lnTo>
                        <a:pt x="539" y="743"/>
                      </a:lnTo>
                      <a:lnTo>
                        <a:pt x="534" y="738"/>
                      </a:lnTo>
                      <a:lnTo>
                        <a:pt x="531" y="731"/>
                      </a:lnTo>
                      <a:lnTo>
                        <a:pt x="527" y="724"/>
                      </a:lnTo>
                      <a:lnTo>
                        <a:pt x="527" y="724"/>
                      </a:lnTo>
                      <a:lnTo>
                        <a:pt x="526" y="719"/>
                      </a:lnTo>
                      <a:lnTo>
                        <a:pt x="522" y="715"/>
                      </a:lnTo>
                      <a:lnTo>
                        <a:pt x="520" y="715"/>
                      </a:lnTo>
                      <a:lnTo>
                        <a:pt x="519" y="717"/>
                      </a:lnTo>
                      <a:lnTo>
                        <a:pt x="517" y="726"/>
                      </a:lnTo>
                      <a:lnTo>
                        <a:pt x="517" y="726"/>
                      </a:lnTo>
                      <a:lnTo>
                        <a:pt x="515" y="731"/>
                      </a:lnTo>
                      <a:lnTo>
                        <a:pt x="513" y="734"/>
                      </a:lnTo>
                      <a:lnTo>
                        <a:pt x="510" y="736"/>
                      </a:lnTo>
                      <a:lnTo>
                        <a:pt x="505" y="736"/>
                      </a:lnTo>
                      <a:lnTo>
                        <a:pt x="492" y="733"/>
                      </a:lnTo>
                      <a:lnTo>
                        <a:pt x="473" y="726"/>
                      </a:lnTo>
                      <a:lnTo>
                        <a:pt x="473" y="726"/>
                      </a:lnTo>
                      <a:lnTo>
                        <a:pt x="463" y="722"/>
                      </a:lnTo>
                      <a:lnTo>
                        <a:pt x="459" y="717"/>
                      </a:lnTo>
                      <a:lnTo>
                        <a:pt x="459" y="712"/>
                      </a:lnTo>
                      <a:lnTo>
                        <a:pt x="459" y="707"/>
                      </a:lnTo>
                      <a:lnTo>
                        <a:pt x="459" y="703"/>
                      </a:lnTo>
                      <a:lnTo>
                        <a:pt x="458" y="701"/>
                      </a:lnTo>
                      <a:lnTo>
                        <a:pt x="452" y="701"/>
                      </a:lnTo>
                      <a:lnTo>
                        <a:pt x="442" y="707"/>
                      </a:lnTo>
                      <a:lnTo>
                        <a:pt x="442" y="707"/>
                      </a:lnTo>
                      <a:lnTo>
                        <a:pt x="433" y="710"/>
                      </a:lnTo>
                      <a:lnTo>
                        <a:pt x="430" y="708"/>
                      </a:lnTo>
                      <a:lnTo>
                        <a:pt x="428" y="707"/>
                      </a:lnTo>
                      <a:lnTo>
                        <a:pt x="428" y="701"/>
                      </a:lnTo>
                      <a:lnTo>
                        <a:pt x="426" y="696"/>
                      </a:lnTo>
                      <a:lnTo>
                        <a:pt x="425" y="691"/>
                      </a:lnTo>
                      <a:lnTo>
                        <a:pt x="421" y="687"/>
                      </a:lnTo>
                      <a:lnTo>
                        <a:pt x="412" y="686"/>
                      </a:lnTo>
                      <a:lnTo>
                        <a:pt x="412" y="686"/>
                      </a:lnTo>
                      <a:lnTo>
                        <a:pt x="411" y="691"/>
                      </a:lnTo>
                      <a:lnTo>
                        <a:pt x="407" y="693"/>
                      </a:lnTo>
                      <a:lnTo>
                        <a:pt x="404" y="693"/>
                      </a:lnTo>
                      <a:lnTo>
                        <a:pt x="398" y="691"/>
                      </a:lnTo>
                      <a:lnTo>
                        <a:pt x="398" y="691"/>
                      </a:lnTo>
                      <a:lnTo>
                        <a:pt x="395" y="689"/>
                      </a:lnTo>
                      <a:lnTo>
                        <a:pt x="391" y="689"/>
                      </a:lnTo>
                      <a:lnTo>
                        <a:pt x="386" y="693"/>
                      </a:lnTo>
                      <a:lnTo>
                        <a:pt x="379" y="694"/>
                      </a:lnTo>
                      <a:lnTo>
                        <a:pt x="374" y="694"/>
                      </a:lnTo>
                      <a:lnTo>
                        <a:pt x="369" y="693"/>
                      </a:lnTo>
                      <a:lnTo>
                        <a:pt x="369" y="693"/>
                      </a:lnTo>
                      <a:lnTo>
                        <a:pt x="364" y="693"/>
                      </a:lnTo>
                      <a:lnTo>
                        <a:pt x="362" y="694"/>
                      </a:lnTo>
                      <a:lnTo>
                        <a:pt x="360" y="694"/>
                      </a:lnTo>
                      <a:lnTo>
                        <a:pt x="360" y="698"/>
                      </a:lnTo>
                      <a:lnTo>
                        <a:pt x="358" y="701"/>
                      </a:lnTo>
                      <a:lnTo>
                        <a:pt x="355" y="703"/>
                      </a:lnTo>
                      <a:lnTo>
                        <a:pt x="351" y="703"/>
                      </a:lnTo>
                      <a:lnTo>
                        <a:pt x="351" y="703"/>
                      </a:lnTo>
                      <a:lnTo>
                        <a:pt x="348" y="701"/>
                      </a:lnTo>
                      <a:lnTo>
                        <a:pt x="348" y="696"/>
                      </a:lnTo>
                      <a:lnTo>
                        <a:pt x="351" y="684"/>
                      </a:lnTo>
                      <a:lnTo>
                        <a:pt x="353" y="675"/>
                      </a:lnTo>
                      <a:lnTo>
                        <a:pt x="353" y="665"/>
                      </a:lnTo>
                      <a:lnTo>
                        <a:pt x="350" y="656"/>
                      </a:lnTo>
                      <a:lnTo>
                        <a:pt x="344" y="646"/>
                      </a:lnTo>
                      <a:lnTo>
                        <a:pt x="344" y="646"/>
                      </a:lnTo>
                      <a:lnTo>
                        <a:pt x="339" y="635"/>
                      </a:lnTo>
                      <a:lnTo>
                        <a:pt x="336" y="625"/>
                      </a:lnTo>
                      <a:lnTo>
                        <a:pt x="336" y="614"/>
                      </a:lnTo>
                      <a:lnTo>
                        <a:pt x="336" y="606"/>
                      </a:lnTo>
                      <a:lnTo>
                        <a:pt x="339" y="586"/>
                      </a:lnTo>
                      <a:lnTo>
                        <a:pt x="339" y="579"/>
                      </a:lnTo>
                      <a:lnTo>
                        <a:pt x="337" y="571"/>
                      </a:lnTo>
                      <a:lnTo>
                        <a:pt x="337" y="571"/>
                      </a:lnTo>
                      <a:lnTo>
                        <a:pt x="334" y="560"/>
                      </a:lnTo>
                      <a:lnTo>
                        <a:pt x="334" y="553"/>
                      </a:lnTo>
                      <a:lnTo>
                        <a:pt x="336" y="546"/>
                      </a:lnTo>
                      <a:lnTo>
                        <a:pt x="337" y="539"/>
                      </a:lnTo>
                      <a:lnTo>
                        <a:pt x="337" y="539"/>
                      </a:lnTo>
                      <a:lnTo>
                        <a:pt x="336" y="538"/>
                      </a:lnTo>
                      <a:lnTo>
                        <a:pt x="334" y="536"/>
                      </a:lnTo>
                      <a:lnTo>
                        <a:pt x="329" y="534"/>
                      </a:lnTo>
                      <a:lnTo>
                        <a:pt x="311" y="534"/>
                      </a:lnTo>
                      <a:lnTo>
                        <a:pt x="303" y="534"/>
                      </a:lnTo>
                      <a:lnTo>
                        <a:pt x="296" y="534"/>
                      </a:lnTo>
                      <a:lnTo>
                        <a:pt x="292" y="531"/>
                      </a:lnTo>
                      <a:lnTo>
                        <a:pt x="292" y="529"/>
                      </a:lnTo>
                      <a:lnTo>
                        <a:pt x="292" y="527"/>
                      </a:lnTo>
                      <a:lnTo>
                        <a:pt x="292" y="527"/>
                      </a:lnTo>
                      <a:lnTo>
                        <a:pt x="294" y="520"/>
                      </a:lnTo>
                      <a:lnTo>
                        <a:pt x="294" y="518"/>
                      </a:lnTo>
                      <a:lnTo>
                        <a:pt x="292" y="517"/>
                      </a:lnTo>
                      <a:lnTo>
                        <a:pt x="289" y="517"/>
                      </a:lnTo>
                      <a:lnTo>
                        <a:pt x="283" y="520"/>
                      </a:lnTo>
                      <a:lnTo>
                        <a:pt x="283" y="520"/>
                      </a:lnTo>
                      <a:lnTo>
                        <a:pt x="280" y="520"/>
                      </a:lnTo>
                      <a:lnTo>
                        <a:pt x="277" y="522"/>
                      </a:lnTo>
                      <a:lnTo>
                        <a:pt x="266" y="520"/>
                      </a:lnTo>
                      <a:lnTo>
                        <a:pt x="263" y="522"/>
                      </a:lnTo>
                      <a:lnTo>
                        <a:pt x="259" y="524"/>
                      </a:lnTo>
                      <a:lnTo>
                        <a:pt x="256" y="527"/>
                      </a:lnTo>
                      <a:lnTo>
                        <a:pt x="256" y="532"/>
                      </a:lnTo>
                      <a:lnTo>
                        <a:pt x="256" y="532"/>
                      </a:lnTo>
                      <a:lnTo>
                        <a:pt x="254" y="541"/>
                      </a:lnTo>
                      <a:lnTo>
                        <a:pt x="252" y="545"/>
                      </a:lnTo>
                      <a:lnTo>
                        <a:pt x="250" y="548"/>
                      </a:lnTo>
                      <a:lnTo>
                        <a:pt x="250" y="555"/>
                      </a:lnTo>
                      <a:lnTo>
                        <a:pt x="250" y="555"/>
                      </a:lnTo>
                      <a:lnTo>
                        <a:pt x="250" y="560"/>
                      </a:lnTo>
                      <a:lnTo>
                        <a:pt x="250" y="564"/>
                      </a:lnTo>
                      <a:lnTo>
                        <a:pt x="247" y="565"/>
                      </a:lnTo>
                      <a:lnTo>
                        <a:pt x="243" y="565"/>
                      </a:lnTo>
                      <a:lnTo>
                        <a:pt x="236" y="565"/>
                      </a:lnTo>
                      <a:lnTo>
                        <a:pt x="228" y="562"/>
                      </a:lnTo>
                      <a:lnTo>
                        <a:pt x="228" y="562"/>
                      </a:lnTo>
                      <a:lnTo>
                        <a:pt x="224" y="560"/>
                      </a:lnTo>
                      <a:lnTo>
                        <a:pt x="219" y="560"/>
                      </a:lnTo>
                      <a:lnTo>
                        <a:pt x="205" y="565"/>
                      </a:lnTo>
                      <a:lnTo>
                        <a:pt x="196" y="567"/>
                      </a:lnTo>
                      <a:lnTo>
                        <a:pt x="191" y="567"/>
                      </a:lnTo>
                      <a:lnTo>
                        <a:pt x="186" y="564"/>
                      </a:lnTo>
                      <a:lnTo>
                        <a:pt x="182" y="559"/>
                      </a:lnTo>
                      <a:lnTo>
                        <a:pt x="182" y="559"/>
                      </a:lnTo>
                      <a:lnTo>
                        <a:pt x="176" y="548"/>
                      </a:lnTo>
                      <a:lnTo>
                        <a:pt x="170" y="541"/>
                      </a:lnTo>
                      <a:lnTo>
                        <a:pt x="167" y="534"/>
                      </a:lnTo>
                      <a:lnTo>
                        <a:pt x="165" y="531"/>
                      </a:lnTo>
                      <a:lnTo>
                        <a:pt x="165" y="525"/>
                      </a:lnTo>
                      <a:lnTo>
                        <a:pt x="165" y="525"/>
                      </a:lnTo>
                      <a:lnTo>
                        <a:pt x="165" y="517"/>
                      </a:lnTo>
                      <a:lnTo>
                        <a:pt x="162" y="512"/>
                      </a:lnTo>
                      <a:lnTo>
                        <a:pt x="158" y="505"/>
                      </a:lnTo>
                      <a:lnTo>
                        <a:pt x="156" y="492"/>
                      </a:lnTo>
                      <a:lnTo>
                        <a:pt x="156" y="492"/>
                      </a:lnTo>
                      <a:lnTo>
                        <a:pt x="155" y="480"/>
                      </a:lnTo>
                      <a:lnTo>
                        <a:pt x="153" y="475"/>
                      </a:lnTo>
                      <a:lnTo>
                        <a:pt x="148" y="473"/>
                      </a:lnTo>
                      <a:lnTo>
                        <a:pt x="142" y="471"/>
                      </a:lnTo>
                      <a:lnTo>
                        <a:pt x="134" y="471"/>
                      </a:lnTo>
                      <a:lnTo>
                        <a:pt x="104" y="473"/>
                      </a:lnTo>
                      <a:lnTo>
                        <a:pt x="104" y="473"/>
                      </a:lnTo>
                      <a:lnTo>
                        <a:pt x="87" y="475"/>
                      </a:lnTo>
                      <a:lnTo>
                        <a:pt x="75" y="475"/>
                      </a:lnTo>
                      <a:lnTo>
                        <a:pt x="59" y="473"/>
                      </a:lnTo>
                      <a:lnTo>
                        <a:pt x="47" y="470"/>
                      </a:lnTo>
                      <a:lnTo>
                        <a:pt x="40" y="470"/>
                      </a:lnTo>
                      <a:lnTo>
                        <a:pt x="31" y="470"/>
                      </a:lnTo>
                      <a:lnTo>
                        <a:pt x="31" y="470"/>
                      </a:lnTo>
                      <a:lnTo>
                        <a:pt x="24" y="468"/>
                      </a:lnTo>
                      <a:lnTo>
                        <a:pt x="21" y="470"/>
                      </a:lnTo>
                      <a:lnTo>
                        <a:pt x="15" y="471"/>
                      </a:lnTo>
                      <a:lnTo>
                        <a:pt x="15" y="471"/>
                      </a:lnTo>
                      <a:lnTo>
                        <a:pt x="10" y="475"/>
                      </a:lnTo>
                      <a:lnTo>
                        <a:pt x="5" y="475"/>
                      </a:lnTo>
                      <a:lnTo>
                        <a:pt x="3" y="475"/>
                      </a:lnTo>
                      <a:lnTo>
                        <a:pt x="0" y="470"/>
                      </a:lnTo>
                      <a:lnTo>
                        <a:pt x="0" y="470"/>
                      </a:lnTo>
                      <a:lnTo>
                        <a:pt x="7" y="468"/>
                      </a:lnTo>
                      <a:lnTo>
                        <a:pt x="8" y="465"/>
                      </a:lnTo>
                      <a:lnTo>
                        <a:pt x="10" y="461"/>
                      </a:lnTo>
                      <a:lnTo>
                        <a:pt x="10" y="454"/>
                      </a:lnTo>
                      <a:lnTo>
                        <a:pt x="12" y="444"/>
                      </a:lnTo>
                      <a:lnTo>
                        <a:pt x="12" y="437"/>
                      </a:lnTo>
                      <a:lnTo>
                        <a:pt x="15" y="433"/>
                      </a:lnTo>
                      <a:lnTo>
                        <a:pt x="15" y="433"/>
                      </a:lnTo>
                      <a:lnTo>
                        <a:pt x="21" y="426"/>
                      </a:lnTo>
                      <a:lnTo>
                        <a:pt x="26" y="423"/>
                      </a:lnTo>
                      <a:lnTo>
                        <a:pt x="29" y="423"/>
                      </a:lnTo>
                      <a:lnTo>
                        <a:pt x="33" y="423"/>
                      </a:lnTo>
                      <a:lnTo>
                        <a:pt x="33" y="423"/>
                      </a:lnTo>
                      <a:lnTo>
                        <a:pt x="38" y="428"/>
                      </a:lnTo>
                      <a:lnTo>
                        <a:pt x="45" y="428"/>
                      </a:lnTo>
                      <a:lnTo>
                        <a:pt x="50" y="424"/>
                      </a:lnTo>
                      <a:lnTo>
                        <a:pt x="55" y="421"/>
                      </a:lnTo>
                      <a:lnTo>
                        <a:pt x="64" y="411"/>
                      </a:lnTo>
                      <a:lnTo>
                        <a:pt x="69" y="409"/>
                      </a:lnTo>
                      <a:lnTo>
                        <a:pt x="73" y="409"/>
                      </a:lnTo>
                      <a:lnTo>
                        <a:pt x="75" y="411"/>
                      </a:lnTo>
                      <a:lnTo>
                        <a:pt x="75" y="411"/>
                      </a:lnTo>
                      <a:lnTo>
                        <a:pt x="78" y="412"/>
                      </a:lnTo>
                      <a:lnTo>
                        <a:pt x="78" y="416"/>
                      </a:lnTo>
                      <a:lnTo>
                        <a:pt x="76" y="423"/>
                      </a:lnTo>
                      <a:lnTo>
                        <a:pt x="75" y="424"/>
                      </a:lnTo>
                      <a:lnTo>
                        <a:pt x="75" y="428"/>
                      </a:lnTo>
                      <a:lnTo>
                        <a:pt x="76" y="430"/>
                      </a:lnTo>
                      <a:lnTo>
                        <a:pt x="80" y="433"/>
                      </a:lnTo>
                      <a:lnTo>
                        <a:pt x="80" y="433"/>
                      </a:lnTo>
                      <a:lnTo>
                        <a:pt x="83" y="433"/>
                      </a:lnTo>
                      <a:lnTo>
                        <a:pt x="87" y="433"/>
                      </a:lnTo>
                      <a:lnTo>
                        <a:pt x="94" y="430"/>
                      </a:lnTo>
                      <a:lnTo>
                        <a:pt x="99" y="424"/>
                      </a:lnTo>
                      <a:lnTo>
                        <a:pt x="104" y="417"/>
                      </a:lnTo>
                      <a:lnTo>
                        <a:pt x="113" y="404"/>
                      </a:lnTo>
                      <a:lnTo>
                        <a:pt x="116" y="398"/>
                      </a:lnTo>
                      <a:lnTo>
                        <a:pt x="122" y="395"/>
                      </a:lnTo>
                      <a:lnTo>
                        <a:pt x="122" y="395"/>
                      </a:lnTo>
                      <a:lnTo>
                        <a:pt x="125" y="393"/>
                      </a:lnTo>
                      <a:lnTo>
                        <a:pt x="130" y="390"/>
                      </a:lnTo>
                      <a:lnTo>
                        <a:pt x="134" y="386"/>
                      </a:lnTo>
                      <a:lnTo>
                        <a:pt x="137" y="379"/>
                      </a:lnTo>
                      <a:lnTo>
                        <a:pt x="139" y="372"/>
                      </a:lnTo>
                      <a:lnTo>
                        <a:pt x="141" y="365"/>
                      </a:lnTo>
                      <a:lnTo>
                        <a:pt x="141" y="358"/>
                      </a:lnTo>
                      <a:lnTo>
                        <a:pt x="139" y="353"/>
                      </a:lnTo>
                      <a:lnTo>
                        <a:pt x="139" y="353"/>
                      </a:lnTo>
                      <a:lnTo>
                        <a:pt x="137" y="348"/>
                      </a:lnTo>
                      <a:lnTo>
                        <a:pt x="137" y="341"/>
                      </a:lnTo>
                      <a:lnTo>
                        <a:pt x="137" y="329"/>
                      </a:lnTo>
                      <a:lnTo>
                        <a:pt x="141" y="317"/>
                      </a:lnTo>
                      <a:lnTo>
                        <a:pt x="148" y="303"/>
                      </a:lnTo>
                      <a:lnTo>
                        <a:pt x="155" y="290"/>
                      </a:lnTo>
                      <a:lnTo>
                        <a:pt x="163" y="280"/>
                      </a:lnTo>
                      <a:lnTo>
                        <a:pt x="170" y="271"/>
                      </a:lnTo>
                      <a:lnTo>
                        <a:pt x="179" y="266"/>
                      </a:lnTo>
                      <a:lnTo>
                        <a:pt x="179" y="266"/>
                      </a:lnTo>
                      <a:lnTo>
                        <a:pt x="184" y="261"/>
                      </a:lnTo>
                      <a:lnTo>
                        <a:pt x="188" y="257"/>
                      </a:lnTo>
                      <a:lnTo>
                        <a:pt x="189" y="252"/>
                      </a:lnTo>
                      <a:lnTo>
                        <a:pt x="191" y="247"/>
                      </a:lnTo>
                      <a:lnTo>
                        <a:pt x="193" y="233"/>
                      </a:lnTo>
                      <a:lnTo>
                        <a:pt x="195" y="224"/>
                      </a:lnTo>
                      <a:lnTo>
                        <a:pt x="198" y="216"/>
                      </a:lnTo>
                      <a:lnTo>
                        <a:pt x="198" y="216"/>
                      </a:lnTo>
                      <a:lnTo>
                        <a:pt x="202" y="209"/>
                      </a:lnTo>
                      <a:lnTo>
                        <a:pt x="202" y="203"/>
                      </a:lnTo>
                      <a:lnTo>
                        <a:pt x="202" y="200"/>
                      </a:lnTo>
                      <a:lnTo>
                        <a:pt x="200" y="196"/>
                      </a:lnTo>
                      <a:lnTo>
                        <a:pt x="198" y="191"/>
                      </a:lnTo>
                      <a:lnTo>
                        <a:pt x="198" y="186"/>
                      </a:lnTo>
                      <a:lnTo>
                        <a:pt x="198" y="179"/>
                      </a:lnTo>
                      <a:lnTo>
                        <a:pt x="200" y="169"/>
                      </a:lnTo>
                      <a:lnTo>
                        <a:pt x="200" y="169"/>
                      </a:lnTo>
                      <a:lnTo>
                        <a:pt x="203" y="156"/>
                      </a:lnTo>
                      <a:lnTo>
                        <a:pt x="203" y="149"/>
                      </a:lnTo>
                      <a:lnTo>
                        <a:pt x="203" y="137"/>
                      </a:lnTo>
                      <a:lnTo>
                        <a:pt x="205" y="128"/>
                      </a:lnTo>
                      <a:lnTo>
                        <a:pt x="207" y="123"/>
                      </a:lnTo>
                      <a:lnTo>
                        <a:pt x="210" y="116"/>
                      </a:lnTo>
                      <a:lnTo>
                        <a:pt x="210" y="116"/>
                      </a:lnTo>
                      <a:lnTo>
                        <a:pt x="219" y="101"/>
                      </a:lnTo>
                      <a:lnTo>
                        <a:pt x="224" y="92"/>
                      </a:lnTo>
                      <a:lnTo>
                        <a:pt x="226" y="85"/>
                      </a:lnTo>
                      <a:lnTo>
                        <a:pt x="224" y="78"/>
                      </a:lnTo>
                      <a:lnTo>
                        <a:pt x="224" y="78"/>
                      </a:lnTo>
                      <a:lnTo>
                        <a:pt x="221" y="52"/>
                      </a:lnTo>
                      <a:lnTo>
                        <a:pt x="221" y="43"/>
                      </a:lnTo>
                      <a:lnTo>
                        <a:pt x="224" y="41"/>
                      </a:lnTo>
                      <a:lnTo>
                        <a:pt x="226" y="38"/>
                      </a:lnTo>
                      <a:lnTo>
                        <a:pt x="226" y="38"/>
                      </a:lnTo>
                      <a:lnTo>
                        <a:pt x="229" y="34"/>
                      </a:lnTo>
                      <a:lnTo>
                        <a:pt x="233" y="29"/>
                      </a:lnTo>
                      <a:lnTo>
                        <a:pt x="238" y="17"/>
                      </a:lnTo>
                      <a:lnTo>
                        <a:pt x="242" y="12"/>
                      </a:lnTo>
                      <a:lnTo>
                        <a:pt x="247" y="8"/>
                      </a:lnTo>
                      <a:lnTo>
                        <a:pt x="256" y="7"/>
                      </a:lnTo>
                      <a:lnTo>
                        <a:pt x="264" y="10"/>
                      </a:lnTo>
                      <a:lnTo>
                        <a:pt x="264" y="10"/>
                      </a:lnTo>
                      <a:lnTo>
                        <a:pt x="275" y="15"/>
                      </a:lnTo>
                      <a:lnTo>
                        <a:pt x="280" y="21"/>
                      </a:lnTo>
                      <a:lnTo>
                        <a:pt x="283" y="26"/>
                      </a:lnTo>
                      <a:lnTo>
                        <a:pt x="287" y="29"/>
                      </a:lnTo>
                      <a:lnTo>
                        <a:pt x="289" y="34"/>
                      </a:lnTo>
                      <a:lnTo>
                        <a:pt x="292" y="36"/>
                      </a:lnTo>
                      <a:lnTo>
                        <a:pt x="297" y="38"/>
                      </a:lnTo>
                      <a:lnTo>
                        <a:pt x="297" y="38"/>
                      </a:lnTo>
                      <a:lnTo>
                        <a:pt x="311" y="40"/>
                      </a:lnTo>
                      <a:lnTo>
                        <a:pt x="324" y="43"/>
                      </a:lnTo>
                      <a:lnTo>
                        <a:pt x="343" y="50"/>
                      </a:lnTo>
                      <a:lnTo>
                        <a:pt x="350" y="50"/>
                      </a:lnTo>
                      <a:lnTo>
                        <a:pt x="357" y="48"/>
                      </a:lnTo>
                      <a:lnTo>
                        <a:pt x="362" y="43"/>
                      </a:lnTo>
                      <a:lnTo>
                        <a:pt x="367" y="34"/>
                      </a:lnTo>
                      <a:lnTo>
                        <a:pt x="367" y="34"/>
                      </a:lnTo>
                      <a:lnTo>
                        <a:pt x="371" y="24"/>
                      </a:lnTo>
                      <a:lnTo>
                        <a:pt x="374" y="21"/>
                      </a:lnTo>
                      <a:lnTo>
                        <a:pt x="376" y="21"/>
                      </a:lnTo>
                      <a:lnTo>
                        <a:pt x="379" y="24"/>
                      </a:lnTo>
                      <a:lnTo>
                        <a:pt x="384" y="26"/>
                      </a:lnTo>
                      <a:lnTo>
                        <a:pt x="390" y="27"/>
                      </a:lnTo>
                      <a:lnTo>
                        <a:pt x="400" y="26"/>
                      </a:lnTo>
                      <a:lnTo>
                        <a:pt x="412" y="19"/>
                      </a:lnTo>
                      <a:lnTo>
                        <a:pt x="412" y="19"/>
                      </a:lnTo>
                      <a:lnTo>
                        <a:pt x="423" y="15"/>
                      </a:lnTo>
                      <a:lnTo>
                        <a:pt x="431" y="14"/>
                      </a:lnTo>
                      <a:lnTo>
                        <a:pt x="437" y="14"/>
                      </a:lnTo>
                      <a:lnTo>
                        <a:pt x="442" y="15"/>
                      </a:lnTo>
                      <a:lnTo>
                        <a:pt x="445" y="15"/>
                      </a:lnTo>
                      <a:lnTo>
                        <a:pt x="449" y="15"/>
                      </a:lnTo>
                      <a:lnTo>
                        <a:pt x="452" y="14"/>
                      </a:lnTo>
                      <a:lnTo>
                        <a:pt x="458" y="7"/>
                      </a:lnTo>
                      <a:lnTo>
                        <a:pt x="458" y="7"/>
                      </a:lnTo>
                      <a:lnTo>
                        <a:pt x="461" y="3"/>
                      </a:lnTo>
                      <a:lnTo>
                        <a:pt x="465" y="1"/>
                      </a:lnTo>
                      <a:lnTo>
                        <a:pt x="472" y="0"/>
                      </a:lnTo>
                      <a:lnTo>
                        <a:pt x="480" y="1"/>
                      </a:lnTo>
                      <a:lnTo>
                        <a:pt x="489" y="5"/>
                      </a:lnTo>
                      <a:lnTo>
                        <a:pt x="503" y="12"/>
                      </a:lnTo>
                      <a:lnTo>
                        <a:pt x="510" y="14"/>
                      </a:lnTo>
                      <a:lnTo>
                        <a:pt x="512" y="12"/>
                      </a:lnTo>
                      <a:lnTo>
                        <a:pt x="513" y="10"/>
                      </a:lnTo>
                      <a:lnTo>
                        <a:pt x="513" y="10"/>
                      </a:lnTo>
                      <a:lnTo>
                        <a:pt x="517" y="8"/>
                      </a:lnTo>
                      <a:lnTo>
                        <a:pt x="519" y="7"/>
                      </a:lnTo>
                      <a:lnTo>
                        <a:pt x="524" y="8"/>
                      </a:lnTo>
                      <a:lnTo>
                        <a:pt x="529" y="12"/>
                      </a:lnTo>
                      <a:lnTo>
                        <a:pt x="536" y="15"/>
                      </a:lnTo>
                      <a:lnTo>
                        <a:pt x="536" y="15"/>
                      </a:lnTo>
                      <a:lnTo>
                        <a:pt x="546" y="27"/>
                      </a:lnTo>
                      <a:lnTo>
                        <a:pt x="557" y="38"/>
                      </a:lnTo>
                      <a:lnTo>
                        <a:pt x="560" y="41"/>
                      </a:lnTo>
                      <a:lnTo>
                        <a:pt x="566" y="41"/>
                      </a:lnTo>
                      <a:lnTo>
                        <a:pt x="569" y="41"/>
                      </a:lnTo>
                      <a:lnTo>
                        <a:pt x="574" y="38"/>
                      </a:lnTo>
                      <a:lnTo>
                        <a:pt x="574" y="38"/>
                      </a:lnTo>
                      <a:lnTo>
                        <a:pt x="579" y="34"/>
                      </a:lnTo>
                      <a:lnTo>
                        <a:pt x="583" y="33"/>
                      </a:lnTo>
                      <a:lnTo>
                        <a:pt x="586" y="34"/>
                      </a:lnTo>
                      <a:lnTo>
                        <a:pt x="588" y="36"/>
                      </a:lnTo>
                      <a:lnTo>
                        <a:pt x="592" y="38"/>
                      </a:lnTo>
                      <a:lnTo>
                        <a:pt x="595" y="40"/>
                      </a:lnTo>
                      <a:lnTo>
                        <a:pt x="597" y="38"/>
                      </a:lnTo>
                      <a:lnTo>
                        <a:pt x="600" y="34"/>
                      </a:lnTo>
                      <a:lnTo>
                        <a:pt x="600" y="34"/>
                      </a:lnTo>
                      <a:lnTo>
                        <a:pt x="604" y="29"/>
                      </a:lnTo>
                      <a:lnTo>
                        <a:pt x="607" y="27"/>
                      </a:lnTo>
                      <a:lnTo>
                        <a:pt x="611" y="27"/>
                      </a:lnTo>
                      <a:lnTo>
                        <a:pt x="613" y="27"/>
                      </a:lnTo>
                      <a:lnTo>
                        <a:pt x="620" y="36"/>
                      </a:lnTo>
                      <a:lnTo>
                        <a:pt x="626" y="48"/>
                      </a:lnTo>
                      <a:lnTo>
                        <a:pt x="626" y="48"/>
                      </a:lnTo>
                      <a:lnTo>
                        <a:pt x="630" y="54"/>
                      </a:lnTo>
                      <a:lnTo>
                        <a:pt x="633" y="57"/>
                      </a:lnTo>
                      <a:lnTo>
                        <a:pt x="639" y="61"/>
                      </a:lnTo>
                      <a:lnTo>
                        <a:pt x="646" y="66"/>
                      </a:lnTo>
                      <a:lnTo>
                        <a:pt x="649" y="71"/>
                      </a:lnTo>
                      <a:lnTo>
                        <a:pt x="653" y="78"/>
                      </a:lnTo>
                      <a:lnTo>
                        <a:pt x="653" y="78"/>
                      </a:lnTo>
                      <a:lnTo>
                        <a:pt x="649" y="97"/>
                      </a:lnTo>
                      <a:lnTo>
                        <a:pt x="647" y="113"/>
                      </a:lnTo>
                      <a:lnTo>
                        <a:pt x="647" y="118"/>
                      </a:lnTo>
                      <a:lnTo>
                        <a:pt x="649" y="122"/>
                      </a:lnTo>
                      <a:lnTo>
                        <a:pt x="653" y="125"/>
                      </a:lnTo>
                      <a:lnTo>
                        <a:pt x="660" y="128"/>
                      </a:lnTo>
                      <a:lnTo>
                        <a:pt x="660" y="128"/>
                      </a:lnTo>
                      <a:lnTo>
                        <a:pt x="665" y="132"/>
                      </a:lnTo>
                      <a:lnTo>
                        <a:pt x="667" y="137"/>
                      </a:lnTo>
                      <a:lnTo>
                        <a:pt x="665" y="142"/>
                      </a:lnTo>
                      <a:lnTo>
                        <a:pt x="661" y="148"/>
                      </a:lnTo>
                      <a:lnTo>
                        <a:pt x="647" y="162"/>
                      </a:lnTo>
                      <a:lnTo>
                        <a:pt x="633" y="175"/>
                      </a:lnTo>
                      <a:lnTo>
                        <a:pt x="633" y="175"/>
                      </a:lnTo>
                      <a:lnTo>
                        <a:pt x="626" y="184"/>
                      </a:lnTo>
                      <a:lnTo>
                        <a:pt x="623" y="195"/>
                      </a:lnTo>
                      <a:lnTo>
                        <a:pt x="618" y="207"/>
                      </a:lnTo>
                      <a:lnTo>
                        <a:pt x="616" y="221"/>
                      </a:lnTo>
                      <a:lnTo>
                        <a:pt x="613" y="252"/>
                      </a:lnTo>
                      <a:lnTo>
                        <a:pt x="609" y="283"/>
                      </a:lnTo>
                      <a:lnTo>
                        <a:pt x="609" y="283"/>
                      </a:lnTo>
                      <a:lnTo>
                        <a:pt x="599" y="292"/>
                      </a:lnTo>
                      <a:lnTo>
                        <a:pt x="593" y="299"/>
                      </a:lnTo>
                      <a:lnTo>
                        <a:pt x="592" y="304"/>
                      </a:lnTo>
                      <a:lnTo>
                        <a:pt x="592" y="310"/>
                      </a:lnTo>
                      <a:lnTo>
                        <a:pt x="593" y="315"/>
                      </a:lnTo>
                      <a:lnTo>
                        <a:pt x="593" y="318"/>
                      </a:lnTo>
                      <a:lnTo>
                        <a:pt x="588" y="322"/>
                      </a:lnTo>
                      <a:lnTo>
                        <a:pt x="588" y="322"/>
                      </a:lnTo>
                      <a:lnTo>
                        <a:pt x="583" y="327"/>
                      </a:lnTo>
                      <a:lnTo>
                        <a:pt x="581" y="330"/>
                      </a:lnTo>
                      <a:lnTo>
                        <a:pt x="581" y="332"/>
                      </a:lnTo>
                      <a:lnTo>
                        <a:pt x="588" y="341"/>
                      </a:lnTo>
                      <a:lnTo>
                        <a:pt x="588" y="341"/>
                      </a:lnTo>
                      <a:lnTo>
                        <a:pt x="590" y="348"/>
                      </a:lnTo>
                      <a:lnTo>
                        <a:pt x="593" y="353"/>
                      </a:lnTo>
                      <a:lnTo>
                        <a:pt x="595" y="362"/>
                      </a:lnTo>
                      <a:lnTo>
                        <a:pt x="595" y="374"/>
                      </a:lnTo>
                      <a:lnTo>
                        <a:pt x="595" y="374"/>
                      </a:lnTo>
                      <a:lnTo>
                        <a:pt x="595" y="386"/>
                      </a:lnTo>
                      <a:lnTo>
                        <a:pt x="597" y="397"/>
                      </a:lnTo>
                      <a:lnTo>
                        <a:pt x="600" y="407"/>
                      </a:lnTo>
                      <a:lnTo>
                        <a:pt x="602" y="417"/>
                      </a:lnTo>
                      <a:lnTo>
                        <a:pt x="602" y="4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6" name="Freeform 1973">
                  <a:extLst>
                    <a:ext uri="{FF2B5EF4-FFF2-40B4-BE49-F238E27FC236}">
                      <a16:creationId xmlns:a16="http://schemas.microsoft.com/office/drawing/2014/main" id="{9798BEC1-7FBF-2D22-463B-277430808FC4}"/>
                    </a:ext>
                  </a:extLst>
                </p:cNvPr>
                <p:cNvSpPr>
                  <a:spLocks/>
                </p:cNvSpPr>
                <p:nvPr/>
              </p:nvSpPr>
              <p:spPr bwMode="auto">
                <a:xfrm>
                  <a:off x="5549643" y="4548777"/>
                  <a:ext cx="310112" cy="366496"/>
                </a:xfrm>
                <a:custGeom>
                  <a:avLst/>
                  <a:gdLst/>
                  <a:ahLst/>
                  <a:cxnLst>
                    <a:cxn ang="0">
                      <a:pos x="13" y="144"/>
                    </a:cxn>
                    <a:cxn ang="0">
                      <a:pos x="28" y="129"/>
                    </a:cxn>
                    <a:cxn ang="0">
                      <a:pos x="46" y="101"/>
                    </a:cxn>
                    <a:cxn ang="0">
                      <a:pos x="53" y="89"/>
                    </a:cxn>
                    <a:cxn ang="0">
                      <a:pos x="42" y="80"/>
                    </a:cxn>
                    <a:cxn ang="0">
                      <a:pos x="39" y="76"/>
                    </a:cxn>
                    <a:cxn ang="0">
                      <a:pos x="42" y="62"/>
                    </a:cxn>
                    <a:cxn ang="0">
                      <a:pos x="49" y="57"/>
                    </a:cxn>
                    <a:cxn ang="0">
                      <a:pos x="53" y="45"/>
                    </a:cxn>
                    <a:cxn ang="0">
                      <a:pos x="49" y="21"/>
                    </a:cxn>
                    <a:cxn ang="0">
                      <a:pos x="39" y="2"/>
                    </a:cxn>
                    <a:cxn ang="0">
                      <a:pos x="96" y="0"/>
                    </a:cxn>
                    <a:cxn ang="0">
                      <a:pos x="241" y="52"/>
                    </a:cxn>
                    <a:cxn ang="0">
                      <a:pos x="291" y="85"/>
                    </a:cxn>
                    <a:cxn ang="0">
                      <a:pos x="293" y="94"/>
                    </a:cxn>
                    <a:cxn ang="0">
                      <a:pos x="293" y="106"/>
                    </a:cxn>
                    <a:cxn ang="0">
                      <a:pos x="326" y="137"/>
                    </a:cxn>
                    <a:cxn ang="0">
                      <a:pos x="349" y="155"/>
                    </a:cxn>
                    <a:cxn ang="0">
                      <a:pos x="338" y="181"/>
                    </a:cxn>
                    <a:cxn ang="0">
                      <a:pos x="331" y="202"/>
                    </a:cxn>
                    <a:cxn ang="0">
                      <a:pos x="335" y="228"/>
                    </a:cxn>
                    <a:cxn ang="0">
                      <a:pos x="354" y="250"/>
                    </a:cxn>
                    <a:cxn ang="0">
                      <a:pos x="356" y="261"/>
                    </a:cxn>
                    <a:cxn ang="0">
                      <a:pos x="349" y="270"/>
                    </a:cxn>
                    <a:cxn ang="0">
                      <a:pos x="352" y="285"/>
                    </a:cxn>
                    <a:cxn ang="0">
                      <a:pos x="354" y="301"/>
                    </a:cxn>
                    <a:cxn ang="0">
                      <a:pos x="349" y="313"/>
                    </a:cxn>
                    <a:cxn ang="0">
                      <a:pos x="352" y="331"/>
                    </a:cxn>
                    <a:cxn ang="0">
                      <a:pos x="363" y="371"/>
                    </a:cxn>
                    <a:cxn ang="0">
                      <a:pos x="370" y="388"/>
                    </a:cxn>
                    <a:cxn ang="0">
                      <a:pos x="389" y="404"/>
                    </a:cxn>
                    <a:cxn ang="0">
                      <a:pos x="366" y="421"/>
                    </a:cxn>
                    <a:cxn ang="0">
                      <a:pos x="335" y="439"/>
                    </a:cxn>
                    <a:cxn ang="0">
                      <a:pos x="314" y="439"/>
                    </a:cxn>
                    <a:cxn ang="0">
                      <a:pos x="303" y="433"/>
                    </a:cxn>
                    <a:cxn ang="0">
                      <a:pos x="300" y="439"/>
                    </a:cxn>
                    <a:cxn ang="0">
                      <a:pos x="289" y="452"/>
                    </a:cxn>
                    <a:cxn ang="0">
                      <a:pos x="275" y="454"/>
                    </a:cxn>
                    <a:cxn ang="0">
                      <a:pos x="265" y="449"/>
                    </a:cxn>
                    <a:cxn ang="0">
                      <a:pos x="249" y="454"/>
                    </a:cxn>
                    <a:cxn ang="0">
                      <a:pos x="235" y="447"/>
                    </a:cxn>
                    <a:cxn ang="0">
                      <a:pos x="227" y="442"/>
                    </a:cxn>
                    <a:cxn ang="0">
                      <a:pos x="215" y="447"/>
                    </a:cxn>
                    <a:cxn ang="0">
                      <a:pos x="187" y="447"/>
                    </a:cxn>
                    <a:cxn ang="0">
                      <a:pos x="181" y="433"/>
                    </a:cxn>
                    <a:cxn ang="0">
                      <a:pos x="181" y="409"/>
                    </a:cxn>
                    <a:cxn ang="0">
                      <a:pos x="174" y="388"/>
                    </a:cxn>
                    <a:cxn ang="0">
                      <a:pos x="157" y="365"/>
                    </a:cxn>
                    <a:cxn ang="0">
                      <a:pos x="126" y="357"/>
                    </a:cxn>
                    <a:cxn ang="0">
                      <a:pos x="98" y="344"/>
                    </a:cxn>
                    <a:cxn ang="0">
                      <a:pos x="91" y="338"/>
                    </a:cxn>
                    <a:cxn ang="0">
                      <a:pos x="84" y="334"/>
                    </a:cxn>
                    <a:cxn ang="0">
                      <a:pos x="79" y="329"/>
                    </a:cxn>
                    <a:cxn ang="0">
                      <a:pos x="74" y="322"/>
                    </a:cxn>
                    <a:cxn ang="0">
                      <a:pos x="54" y="311"/>
                    </a:cxn>
                    <a:cxn ang="0">
                      <a:pos x="42" y="291"/>
                    </a:cxn>
                    <a:cxn ang="0">
                      <a:pos x="33" y="264"/>
                    </a:cxn>
                    <a:cxn ang="0">
                      <a:pos x="11" y="231"/>
                    </a:cxn>
                    <a:cxn ang="0">
                      <a:pos x="7" y="207"/>
                    </a:cxn>
                    <a:cxn ang="0">
                      <a:pos x="9" y="193"/>
                    </a:cxn>
                    <a:cxn ang="0">
                      <a:pos x="0" y="155"/>
                    </a:cxn>
                  </a:cxnLst>
                  <a:rect l="0" t="0" r="r" b="b"/>
                  <a:pathLst>
                    <a:path w="389" h="454">
                      <a:moveTo>
                        <a:pt x="2" y="146"/>
                      </a:moveTo>
                      <a:lnTo>
                        <a:pt x="2" y="146"/>
                      </a:lnTo>
                      <a:lnTo>
                        <a:pt x="13" y="144"/>
                      </a:lnTo>
                      <a:lnTo>
                        <a:pt x="20" y="141"/>
                      </a:lnTo>
                      <a:lnTo>
                        <a:pt x="25" y="136"/>
                      </a:lnTo>
                      <a:lnTo>
                        <a:pt x="28" y="129"/>
                      </a:lnTo>
                      <a:lnTo>
                        <a:pt x="35" y="115"/>
                      </a:lnTo>
                      <a:lnTo>
                        <a:pt x="39" y="108"/>
                      </a:lnTo>
                      <a:lnTo>
                        <a:pt x="46" y="101"/>
                      </a:lnTo>
                      <a:lnTo>
                        <a:pt x="46" y="101"/>
                      </a:lnTo>
                      <a:lnTo>
                        <a:pt x="51" y="94"/>
                      </a:lnTo>
                      <a:lnTo>
                        <a:pt x="53" y="89"/>
                      </a:lnTo>
                      <a:lnTo>
                        <a:pt x="53" y="85"/>
                      </a:lnTo>
                      <a:lnTo>
                        <a:pt x="49" y="83"/>
                      </a:lnTo>
                      <a:lnTo>
                        <a:pt x="42" y="80"/>
                      </a:lnTo>
                      <a:lnTo>
                        <a:pt x="39" y="78"/>
                      </a:lnTo>
                      <a:lnTo>
                        <a:pt x="39" y="76"/>
                      </a:lnTo>
                      <a:lnTo>
                        <a:pt x="39" y="76"/>
                      </a:lnTo>
                      <a:lnTo>
                        <a:pt x="39" y="71"/>
                      </a:lnTo>
                      <a:lnTo>
                        <a:pt x="40" y="68"/>
                      </a:lnTo>
                      <a:lnTo>
                        <a:pt x="42" y="62"/>
                      </a:lnTo>
                      <a:lnTo>
                        <a:pt x="42" y="57"/>
                      </a:lnTo>
                      <a:lnTo>
                        <a:pt x="42" y="57"/>
                      </a:lnTo>
                      <a:lnTo>
                        <a:pt x="49" y="57"/>
                      </a:lnTo>
                      <a:lnTo>
                        <a:pt x="51" y="57"/>
                      </a:lnTo>
                      <a:lnTo>
                        <a:pt x="51" y="54"/>
                      </a:lnTo>
                      <a:lnTo>
                        <a:pt x="53" y="45"/>
                      </a:lnTo>
                      <a:lnTo>
                        <a:pt x="51" y="33"/>
                      </a:lnTo>
                      <a:lnTo>
                        <a:pt x="51" y="33"/>
                      </a:lnTo>
                      <a:lnTo>
                        <a:pt x="49" y="21"/>
                      </a:lnTo>
                      <a:lnTo>
                        <a:pt x="46" y="14"/>
                      </a:lnTo>
                      <a:lnTo>
                        <a:pt x="42" y="8"/>
                      </a:lnTo>
                      <a:lnTo>
                        <a:pt x="39" y="2"/>
                      </a:lnTo>
                      <a:lnTo>
                        <a:pt x="39" y="2"/>
                      </a:lnTo>
                      <a:lnTo>
                        <a:pt x="60" y="0"/>
                      </a:lnTo>
                      <a:lnTo>
                        <a:pt x="96" y="0"/>
                      </a:lnTo>
                      <a:lnTo>
                        <a:pt x="161" y="0"/>
                      </a:lnTo>
                      <a:lnTo>
                        <a:pt x="161" y="0"/>
                      </a:lnTo>
                      <a:lnTo>
                        <a:pt x="241" y="52"/>
                      </a:lnTo>
                      <a:lnTo>
                        <a:pt x="284" y="80"/>
                      </a:lnTo>
                      <a:lnTo>
                        <a:pt x="284" y="80"/>
                      </a:lnTo>
                      <a:lnTo>
                        <a:pt x="291" y="85"/>
                      </a:lnTo>
                      <a:lnTo>
                        <a:pt x="293" y="89"/>
                      </a:lnTo>
                      <a:lnTo>
                        <a:pt x="293" y="92"/>
                      </a:lnTo>
                      <a:lnTo>
                        <a:pt x="293" y="94"/>
                      </a:lnTo>
                      <a:lnTo>
                        <a:pt x="291" y="97"/>
                      </a:lnTo>
                      <a:lnTo>
                        <a:pt x="291" y="101"/>
                      </a:lnTo>
                      <a:lnTo>
                        <a:pt x="293" y="106"/>
                      </a:lnTo>
                      <a:lnTo>
                        <a:pt x="296" y="111"/>
                      </a:lnTo>
                      <a:lnTo>
                        <a:pt x="296" y="111"/>
                      </a:lnTo>
                      <a:lnTo>
                        <a:pt x="326" y="137"/>
                      </a:lnTo>
                      <a:lnTo>
                        <a:pt x="340" y="149"/>
                      </a:lnTo>
                      <a:lnTo>
                        <a:pt x="349" y="155"/>
                      </a:lnTo>
                      <a:lnTo>
                        <a:pt x="349" y="155"/>
                      </a:lnTo>
                      <a:lnTo>
                        <a:pt x="343" y="167"/>
                      </a:lnTo>
                      <a:lnTo>
                        <a:pt x="340" y="174"/>
                      </a:lnTo>
                      <a:lnTo>
                        <a:pt x="338" y="181"/>
                      </a:lnTo>
                      <a:lnTo>
                        <a:pt x="335" y="190"/>
                      </a:lnTo>
                      <a:lnTo>
                        <a:pt x="335" y="190"/>
                      </a:lnTo>
                      <a:lnTo>
                        <a:pt x="331" y="202"/>
                      </a:lnTo>
                      <a:lnTo>
                        <a:pt x="329" y="212"/>
                      </a:lnTo>
                      <a:lnTo>
                        <a:pt x="331" y="221"/>
                      </a:lnTo>
                      <a:lnTo>
                        <a:pt x="335" y="228"/>
                      </a:lnTo>
                      <a:lnTo>
                        <a:pt x="343" y="238"/>
                      </a:lnTo>
                      <a:lnTo>
                        <a:pt x="354" y="250"/>
                      </a:lnTo>
                      <a:lnTo>
                        <a:pt x="354" y="250"/>
                      </a:lnTo>
                      <a:lnTo>
                        <a:pt x="356" y="256"/>
                      </a:lnTo>
                      <a:lnTo>
                        <a:pt x="356" y="259"/>
                      </a:lnTo>
                      <a:lnTo>
                        <a:pt x="356" y="261"/>
                      </a:lnTo>
                      <a:lnTo>
                        <a:pt x="352" y="263"/>
                      </a:lnTo>
                      <a:lnTo>
                        <a:pt x="350" y="264"/>
                      </a:lnTo>
                      <a:lnTo>
                        <a:pt x="349" y="270"/>
                      </a:lnTo>
                      <a:lnTo>
                        <a:pt x="350" y="275"/>
                      </a:lnTo>
                      <a:lnTo>
                        <a:pt x="352" y="285"/>
                      </a:lnTo>
                      <a:lnTo>
                        <a:pt x="352" y="285"/>
                      </a:lnTo>
                      <a:lnTo>
                        <a:pt x="356" y="292"/>
                      </a:lnTo>
                      <a:lnTo>
                        <a:pt x="356" y="297"/>
                      </a:lnTo>
                      <a:lnTo>
                        <a:pt x="354" y="301"/>
                      </a:lnTo>
                      <a:lnTo>
                        <a:pt x="350" y="304"/>
                      </a:lnTo>
                      <a:lnTo>
                        <a:pt x="349" y="308"/>
                      </a:lnTo>
                      <a:lnTo>
                        <a:pt x="349" y="313"/>
                      </a:lnTo>
                      <a:lnTo>
                        <a:pt x="349" y="320"/>
                      </a:lnTo>
                      <a:lnTo>
                        <a:pt x="352" y="331"/>
                      </a:lnTo>
                      <a:lnTo>
                        <a:pt x="352" y="331"/>
                      </a:lnTo>
                      <a:lnTo>
                        <a:pt x="359" y="350"/>
                      </a:lnTo>
                      <a:lnTo>
                        <a:pt x="363" y="362"/>
                      </a:lnTo>
                      <a:lnTo>
                        <a:pt x="363" y="371"/>
                      </a:lnTo>
                      <a:lnTo>
                        <a:pt x="366" y="381"/>
                      </a:lnTo>
                      <a:lnTo>
                        <a:pt x="366" y="381"/>
                      </a:lnTo>
                      <a:lnTo>
                        <a:pt x="370" y="388"/>
                      </a:lnTo>
                      <a:lnTo>
                        <a:pt x="375" y="392"/>
                      </a:lnTo>
                      <a:lnTo>
                        <a:pt x="380" y="395"/>
                      </a:lnTo>
                      <a:lnTo>
                        <a:pt x="389" y="404"/>
                      </a:lnTo>
                      <a:lnTo>
                        <a:pt x="389" y="404"/>
                      </a:lnTo>
                      <a:lnTo>
                        <a:pt x="378" y="412"/>
                      </a:lnTo>
                      <a:lnTo>
                        <a:pt x="366" y="421"/>
                      </a:lnTo>
                      <a:lnTo>
                        <a:pt x="352" y="430"/>
                      </a:lnTo>
                      <a:lnTo>
                        <a:pt x="335" y="439"/>
                      </a:lnTo>
                      <a:lnTo>
                        <a:pt x="335" y="439"/>
                      </a:lnTo>
                      <a:lnTo>
                        <a:pt x="326" y="440"/>
                      </a:lnTo>
                      <a:lnTo>
                        <a:pt x="319" y="440"/>
                      </a:lnTo>
                      <a:lnTo>
                        <a:pt x="314" y="439"/>
                      </a:lnTo>
                      <a:lnTo>
                        <a:pt x="309" y="437"/>
                      </a:lnTo>
                      <a:lnTo>
                        <a:pt x="305" y="433"/>
                      </a:lnTo>
                      <a:lnTo>
                        <a:pt x="303" y="433"/>
                      </a:lnTo>
                      <a:lnTo>
                        <a:pt x="302" y="435"/>
                      </a:lnTo>
                      <a:lnTo>
                        <a:pt x="300" y="439"/>
                      </a:lnTo>
                      <a:lnTo>
                        <a:pt x="300" y="439"/>
                      </a:lnTo>
                      <a:lnTo>
                        <a:pt x="296" y="445"/>
                      </a:lnTo>
                      <a:lnTo>
                        <a:pt x="293" y="449"/>
                      </a:lnTo>
                      <a:lnTo>
                        <a:pt x="289" y="452"/>
                      </a:lnTo>
                      <a:lnTo>
                        <a:pt x="284" y="454"/>
                      </a:lnTo>
                      <a:lnTo>
                        <a:pt x="281" y="454"/>
                      </a:lnTo>
                      <a:lnTo>
                        <a:pt x="275" y="454"/>
                      </a:lnTo>
                      <a:lnTo>
                        <a:pt x="269" y="449"/>
                      </a:lnTo>
                      <a:lnTo>
                        <a:pt x="269" y="449"/>
                      </a:lnTo>
                      <a:lnTo>
                        <a:pt x="265" y="449"/>
                      </a:lnTo>
                      <a:lnTo>
                        <a:pt x="262" y="449"/>
                      </a:lnTo>
                      <a:lnTo>
                        <a:pt x="255" y="452"/>
                      </a:lnTo>
                      <a:lnTo>
                        <a:pt x="249" y="454"/>
                      </a:lnTo>
                      <a:lnTo>
                        <a:pt x="246" y="454"/>
                      </a:lnTo>
                      <a:lnTo>
                        <a:pt x="241" y="452"/>
                      </a:lnTo>
                      <a:lnTo>
                        <a:pt x="235" y="447"/>
                      </a:lnTo>
                      <a:lnTo>
                        <a:pt x="235" y="447"/>
                      </a:lnTo>
                      <a:lnTo>
                        <a:pt x="230" y="444"/>
                      </a:lnTo>
                      <a:lnTo>
                        <a:pt x="227" y="442"/>
                      </a:lnTo>
                      <a:lnTo>
                        <a:pt x="223" y="444"/>
                      </a:lnTo>
                      <a:lnTo>
                        <a:pt x="220" y="445"/>
                      </a:lnTo>
                      <a:lnTo>
                        <a:pt x="215" y="447"/>
                      </a:lnTo>
                      <a:lnTo>
                        <a:pt x="208" y="449"/>
                      </a:lnTo>
                      <a:lnTo>
                        <a:pt x="199" y="449"/>
                      </a:lnTo>
                      <a:lnTo>
                        <a:pt x="187" y="447"/>
                      </a:lnTo>
                      <a:lnTo>
                        <a:pt x="187" y="447"/>
                      </a:lnTo>
                      <a:lnTo>
                        <a:pt x="183" y="440"/>
                      </a:lnTo>
                      <a:lnTo>
                        <a:pt x="181" y="433"/>
                      </a:lnTo>
                      <a:lnTo>
                        <a:pt x="180" y="425"/>
                      </a:lnTo>
                      <a:lnTo>
                        <a:pt x="181" y="414"/>
                      </a:lnTo>
                      <a:lnTo>
                        <a:pt x="181" y="409"/>
                      </a:lnTo>
                      <a:lnTo>
                        <a:pt x="180" y="402"/>
                      </a:lnTo>
                      <a:lnTo>
                        <a:pt x="180" y="402"/>
                      </a:lnTo>
                      <a:lnTo>
                        <a:pt x="174" y="388"/>
                      </a:lnTo>
                      <a:lnTo>
                        <a:pt x="171" y="378"/>
                      </a:lnTo>
                      <a:lnTo>
                        <a:pt x="166" y="371"/>
                      </a:lnTo>
                      <a:lnTo>
                        <a:pt x="157" y="365"/>
                      </a:lnTo>
                      <a:lnTo>
                        <a:pt x="157" y="365"/>
                      </a:lnTo>
                      <a:lnTo>
                        <a:pt x="140" y="360"/>
                      </a:lnTo>
                      <a:lnTo>
                        <a:pt x="126" y="357"/>
                      </a:lnTo>
                      <a:lnTo>
                        <a:pt x="126" y="357"/>
                      </a:lnTo>
                      <a:lnTo>
                        <a:pt x="107" y="346"/>
                      </a:lnTo>
                      <a:lnTo>
                        <a:pt x="98" y="344"/>
                      </a:lnTo>
                      <a:lnTo>
                        <a:pt x="94" y="343"/>
                      </a:lnTo>
                      <a:lnTo>
                        <a:pt x="91" y="338"/>
                      </a:lnTo>
                      <a:lnTo>
                        <a:pt x="91" y="338"/>
                      </a:lnTo>
                      <a:lnTo>
                        <a:pt x="89" y="336"/>
                      </a:lnTo>
                      <a:lnTo>
                        <a:pt x="87" y="334"/>
                      </a:lnTo>
                      <a:lnTo>
                        <a:pt x="84" y="334"/>
                      </a:lnTo>
                      <a:lnTo>
                        <a:pt x="82" y="336"/>
                      </a:lnTo>
                      <a:lnTo>
                        <a:pt x="82" y="336"/>
                      </a:lnTo>
                      <a:lnTo>
                        <a:pt x="79" y="329"/>
                      </a:lnTo>
                      <a:lnTo>
                        <a:pt x="79" y="329"/>
                      </a:lnTo>
                      <a:lnTo>
                        <a:pt x="77" y="325"/>
                      </a:lnTo>
                      <a:lnTo>
                        <a:pt x="74" y="322"/>
                      </a:lnTo>
                      <a:lnTo>
                        <a:pt x="67" y="318"/>
                      </a:lnTo>
                      <a:lnTo>
                        <a:pt x="58" y="315"/>
                      </a:lnTo>
                      <a:lnTo>
                        <a:pt x="54" y="311"/>
                      </a:lnTo>
                      <a:lnTo>
                        <a:pt x="49" y="304"/>
                      </a:lnTo>
                      <a:lnTo>
                        <a:pt x="49" y="304"/>
                      </a:lnTo>
                      <a:lnTo>
                        <a:pt x="42" y="291"/>
                      </a:lnTo>
                      <a:lnTo>
                        <a:pt x="37" y="270"/>
                      </a:lnTo>
                      <a:lnTo>
                        <a:pt x="37" y="270"/>
                      </a:lnTo>
                      <a:lnTo>
                        <a:pt x="33" y="264"/>
                      </a:lnTo>
                      <a:lnTo>
                        <a:pt x="28" y="257"/>
                      </a:lnTo>
                      <a:lnTo>
                        <a:pt x="18" y="240"/>
                      </a:lnTo>
                      <a:lnTo>
                        <a:pt x="11" y="231"/>
                      </a:lnTo>
                      <a:lnTo>
                        <a:pt x="7" y="223"/>
                      </a:lnTo>
                      <a:lnTo>
                        <a:pt x="6" y="214"/>
                      </a:lnTo>
                      <a:lnTo>
                        <a:pt x="7" y="207"/>
                      </a:lnTo>
                      <a:lnTo>
                        <a:pt x="7" y="207"/>
                      </a:lnTo>
                      <a:lnTo>
                        <a:pt x="9" y="200"/>
                      </a:lnTo>
                      <a:lnTo>
                        <a:pt x="9" y="193"/>
                      </a:lnTo>
                      <a:lnTo>
                        <a:pt x="6" y="179"/>
                      </a:lnTo>
                      <a:lnTo>
                        <a:pt x="2" y="163"/>
                      </a:lnTo>
                      <a:lnTo>
                        <a:pt x="0" y="155"/>
                      </a:lnTo>
                      <a:lnTo>
                        <a:pt x="2" y="146"/>
                      </a:lnTo>
                      <a:lnTo>
                        <a:pt x="2" y="14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7" name="Freeform 1974">
                  <a:extLst>
                    <a:ext uri="{FF2B5EF4-FFF2-40B4-BE49-F238E27FC236}">
                      <a16:creationId xmlns:a16="http://schemas.microsoft.com/office/drawing/2014/main" id="{7821689F-D3F5-DBB5-6B08-BE5D1DF397DB}"/>
                    </a:ext>
                  </a:extLst>
                </p:cNvPr>
                <p:cNvSpPr>
                  <a:spLocks/>
                </p:cNvSpPr>
                <p:nvPr/>
              </p:nvSpPr>
              <p:spPr bwMode="auto">
                <a:xfrm>
                  <a:off x="5431589" y="5050947"/>
                  <a:ext cx="222014" cy="234347"/>
                </a:xfrm>
                <a:custGeom>
                  <a:avLst/>
                  <a:gdLst/>
                  <a:ahLst/>
                  <a:cxnLst>
                    <a:cxn ang="0">
                      <a:pos x="3" y="105"/>
                    </a:cxn>
                    <a:cxn ang="0">
                      <a:pos x="22" y="143"/>
                    </a:cxn>
                    <a:cxn ang="0">
                      <a:pos x="28" y="155"/>
                    </a:cxn>
                    <a:cxn ang="0">
                      <a:pos x="45" y="179"/>
                    </a:cxn>
                    <a:cxn ang="0">
                      <a:pos x="71" y="197"/>
                    </a:cxn>
                    <a:cxn ang="0">
                      <a:pos x="73" y="206"/>
                    </a:cxn>
                    <a:cxn ang="0">
                      <a:pos x="83" y="209"/>
                    </a:cxn>
                    <a:cxn ang="0">
                      <a:pos x="87" y="219"/>
                    </a:cxn>
                    <a:cxn ang="0">
                      <a:pos x="87" y="233"/>
                    </a:cxn>
                    <a:cxn ang="0">
                      <a:pos x="96" y="251"/>
                    </a:cxn>
                    <a:cxn ang="0">
                      <a:pos x="111" y="261"/>
                    </a:cxn>
                    <a:cxn ang="0">
                      <a:pos x="130" y="268"/>
                    </a:cxn>
                    <a:cxn ang="0">
                      <a:pos x="143" y="284"/>
                    </a:cxn>
                    <a:cxn ang="0">
                      <a:pos x="169" y="287"/>
                    </a:cxn>
                    <a:cxn ang="0">
                      <a:pos x="188" y="291"/>
                    </a:cxn>
                    <a:cxn ang="0">
                      <a:pos x="202" y="291"/>
                    </a:cxn>
                    <a:cxn ang="0">
                      <a:pos x="212" y="294"/>
                    </a:cxn>
                    <a:cxn ang="0">
                      <a:pos x="251" y="249"/>
                    </a:cxn>
                    <a:cxn ang="0">
                      <a:pos x="258" y="218"/>
                    </a:cxn>
                    <a:cxn ang="0">
                      <a:pos x="268" y="197"/>
                    </a:cxn>
                    <a:cxn ang="0">
                      <a:pos x="271" y="178"/>
                    </a:cxn>
                    <a:cxn ang="0">
                      <a:pos x="266" y="165"/>
                    </a:cxn>
                    <a:cxn ang="0">
                      <a:pos x="268" y="155"/>
                    </a:cxn>
                    <a:cxn ang="0">
                      <a:pos x="261" y="139"/>
                    </a:cxn>
                    <a:cxn ang="0">
                      <a:pos x="265" y="136"/>
                    </a:cxn>
                    <a:cxn ang="0">
                      <a:pos x="273" y="108"/>
                    </a:cxn>
                    <a:cxn ang="0">
                      <a:pos x="271" y="70"/>
                    </a:cxn>
                    <a:cxn ang="0">
                      <a:pos x="270" y="59"/>
                    </a:cxn>
                    <a:cxn ang="0">
                      <a:pos x="270" y="49"/>
                    </a:cxn>
                    <a:cxn ang="0">
                      <a:pos x="252" y="38"/>
                    </a:cxn>
                    <a:cxn ang="0">
                      <a:pos x="221" y="23"/>
                    </a:cxn>
                    <a:cxn ang="0">
                      <a:pos x="205" y="16"/>
                    </a:cxn>
                    <a:cxn ang="0">
                      <a:pos x="183" y="14"/>
                    </a:cxn>
                    <a:cxn ang="0">
                      <a:pos x="181" y="0"/>
                    </a:cxn>
                    <a:cxn ang="0">
                      <a:pos x="144" y="4"/>
                    </a:cxn>
                    <a:cxn ang="0">
                      <a:pos x="132" y="14"/>
                    </a:cxn>
                    <a:cxn ang="0">
                      <a:pos x="125" y="33"/>
                    </a:cxn>
                    <a:cxn ang="0">
                      <a:pos x="113" y="45"/>
                    </a:cxn>
                    <a:cxn ang="0">
                      <a:pos x="97" y="54"/>
                    </a:cxn>
                    <a:cxn ang="0">
                      <a:pos x="63" y="98"/>
                    </a:cxn>
                    <a:cxn ang="0">
                      <a:pos x="49" y="105"/>
                    </a:cxn>
                    <a:cxn ang="0">
                      <a:pos x="35" y="98"/>
                    </a:cxn>
                    <a:cxn ang="0">
                      <a:pos x="28" y="101"/>
                    </a:cxn>
                    <a:cxn ang="0">
                      <a:pos x="14" y="94"/>
                    </a:cxn>
                    <a:cxn ang="0">
                      <a:pos x="0" y="94"/>
                    </a:cxn>
                  </a:cxnLst>
                  <a:rect l="0" t="0" r="r" b="b"/>
                  <a:pathLst>
                    <a:path w="275" h="294">
                      <a:moveTo>
                        <a:pt x="0" y="94"/>
                      </a:moveTo>
                      <a:lnTo>
                        <a:pt x="0" y="94"/>
                      </a:lnTo>
                      <a:lnTo>
                        <a:pt x="3" y="105"/>
                      </a:lnTo>
                      <a:lnTo>
                        <a:pt x="7" y="115"/>
                      </a:lnTo>
                      <a:lnTo>
                        <a:pt x="16" y="131"/>
                      </a:lnTo>
                      <a:lnTo>
                        <a:pt x="22" y="143"/>
                      </a:lnTo>
                      <a:lnTo>
                        <a:pt x="26" y="148"/>
                      </a:lnTo>
                      <a:lnTo>
                        <a:pt x="28" y="155"/>
                      </a:lnTo>
                      <a:lnTo>
                        <a:pt x="28" y="155"/>
                      </a:lnTo>
                      <a:lnTo>
                        <a:pt x="31" y="165"/>
                      </a:lnTo>
                      <a:lnTo>
                        <a:pt x="36" y="174"/>
                      </a:lnTo>
                      <a:lnTo>
                        <a:pt x="45" y="179"/>
                      </a:lnTo>
                      <a:lnTo>
                        <a:pt x="52" y="185"/>
                      </a:lnTo>
                      <a:lnTo>
                        <a:pt x="66" y="193"/>
                      </a:lnTo>
                      <a:lnTo>
                        <a:pt x="71" y="197"/>
                      </a:lnTo>
                      <a:lnTo>
                        <a:pt x="71" y="202"/>
                      </a:lnTo>
                      <a:lnTo>
                        <a:pt x="71" y="202"/>
                      </a:lnTo>
                      <a:lnTo>
                        <a:pt x="73" y="206"/>
                      </a:lnTo>
                      <a:lnTo>
                        <a:pt x="75" y="207"/>
                      </a:lnTo>
                      <a:lnTo>
                        <a:pt x="80" y="209"/>
                      </a:lnTo>
                      <a:lnTo>
                        <a:pt x="83" y="209"/>
                      </a:lnTo>
                      <a:lnTo>
                        <a:pt x="85" y="211"/>
                      </a:lnTo>
                      <a:lnTo>
                        <a:pt x="87" y="214"/>
                      </a:lnTo>
                      <a:lnTo>
                        <a:pt x="87" y="219"/>
                      </a:lnTo>
                      <a:lnTo>
                        <a:pt x="87" y="219"/>
                      </a:lnTo>
                      <a:lnTo>
                        <a:pt x="87" y="226"/>
                      </a:lnTo>
                      <a:lnTo>
                        <a:pt x="87" y="233"/>
                      </a:lnTo>
                      <a:lnTo>
                        <a:pt x="89" y="240"/>
                      </a:lnTo>
                      <a:lnTo>
                        <a:pt x="90" y="246"/>
                      </a:lnTo>
                      <a:lnTo>
                        <a:pt x="96" y="251"/>
                      </a:lnTo>
                      <a:lnTo>
                        <a:pt x="99" y="254"/>
                      </a:lnTo>
                      <a:lnTo>
                        <a:pt x="104" y="259"/>
                      </a:lnTo>
                      <a:lnTo>
                        <a:pt x="111" y="261"/>
                      </a:lnTo>
                      <a:lnTo>
                        <a:pt x="111" y="261"/>
                      </a:lnTo>
                      <a:lnTo>
                        <a:pt x="123" y="265"/>
                      </a:lnTo>
                      <a:lnTo>
                        <a:pt x="130" y="268"/>
                      </a:lnTo>
                      <a:lnTo>
                        <a:pt x="137" y="273"/>
                      </a:lnTo>
                      <a:lnTo>
                        <a:pt x="143" y="284"/>
                      </a:lnTo>
                      <a:lnTo>
                        <a:pt x="143" y="284"/>
                      </a:lnTo>
                      <a:lnTo>
                        <a:pt x="150" y="284"/>
                      </a:lnTo>
                      <a:lnTo>
                        <a:pt x="157" y="286"/>
                      </a:lnTo>
                      <a:lnTo>
                        <a:pt x="169" y="287"/>
                      </a:lnTo>
                      <a:lnTo>
                        <a:pt x="177" y="291"/>
                      </a:lnTo>
                      <a:lnTo>
                        <a:pt x="183" y="291"/>
                      </a:lnTo>
                      <a:lnTo>
                        <a:pt x="188" y="291"/>
                      </a:lnTo>
                      <a:lnTo>
                        <a:pt x="188" y="291"/>
                      </a:lnTo>
                      <a:lnTo>
                        <a:pt x="195" y="291"/>
                      </a:lnTo>
                      <a:lnTo>
                        <a:pt x="202" y="291"/>
                      </a:lnTo>
                      <a:lnTo>
                        <a:pt x="207" y="293"/>
                      </a:lnTo>
                      <a:lnTo>
                        <a:pt x="212" y="294"/>
                      </a:lnTo>
                      <a:lnTo>
                        <a:pt x="212" y="294"/>
                      </a:lnTo>
                      <a:lnTo>
                        <a:pt x="245" y="253"/>
                      </a:lnTo>
                      <a:lnTo>
                        <a:pt x="245" y="253"/>
                      </a:lnTo>
                      <a:lnTo>
                        <a:pt x="251" y="249"/>
                      </a:lnTo>
                      <a:lnTo>
                        <a:pt x="252" y="244"/>
                      </a:lnTo>
                      <a:lnTo>
                        <a:pt x="254" y="233"/>
                      </a:lnTo>
                      <a:lnTo>
                        <a:pt x="258" y="218"/>
                      </a:lnTo>
                      <a:lnTo>
                        <a:pt x="261" y="209"/>
                      </a:lnTo>
                      <a:lnTo>
                        <a:pt x="268" y="197"/>
                      </a:lnTo>
                      <a:lnTo>
                        <a:pt x="268" y="197"/>
                      </a:lnTo>
                      <a:lnTo>
                        <a:pt x="271" y="188"/>
                      </a:lnTo>
                      <a:lnTo>
                        <a:pt x="273" y="183"/>
                      </a:lnTo>
                      <a:lnTo>
                        <a:pt x="271" y="178"/>
                      </a:lnTo>
                      <a:lnTo>
                        <a:pt x="270" y="174"/>
                      </a:lnTo>
                      <a:lnTo>
                        <a:pt x="266" y="169"/>
                      </a:lnTo>
                      <a:lnTo>
                        <a:pt x="266" y="165"/>
                      </a:lnTo>
                      <a:lnTo>
                        <a:pt x="266" y="159"/>
                      </a:lnTo>
                      <a:lnTo>
                        <a:pt x="266" y="159"/>
                      </a:lnTo>
                      <a:lnTo>
                        <a:pt x="268" y="155"/>
                      </a:lnTo>
                      <a:lnTo>
                        <a:pt x="268" y="150"/>
                      </a:lnTo>
                      <a:lnTo>
                        <a:pt x="265" y="143"/>
                      </a:lnTo>
                      <a:lnTo>
                        <a:pt x="261" y="139"/>
                      </a:lnTo>
                      <a:lnTo>
                        <a:pt x="261" y="138"/>
                      </a:lnTo>
                      <a:lnTo>
                        <a:pt x="265" y="136"/>
                      </a:lnTo>
                      <a:lnTo>
                        <a:pt x="265" y="136"/>
                      </a:lnTo>
                      <a:lnTo>
                        <a:pt x="266" y="134"/>
                      </a:lnTo>
                      <a:lnTo>
                        <a:pt x="270" y="127"/>
                      </a:lnTo>
                      <a:lnTo>
                        <a:pt x="273" y="108"/>
                      </a:lnTo>
                      <a:lnTo>
                        <a:pt x="275" y="87"/>
                      </a:lnTo>
                      <a:lnTo>
                        <a:pt x="273" y="77"/>
                      </a:lnTo>
                      <a:lnTo>
                        <a:pt x="271" y="70"/>
                      </a:lnTo>
                      <a:lnTo>
                        <a:pt x="271" y="70"/>
                      </a:lnTo>
                      <a:lnTo>
                        <a:pt x="270" y="63"/>
                      </a:lnTo>
                      <a:lnTo>
                        <a:pt x="270" y="59"/>
                      </a:lnTo>
                      <a:lnTo>
                        <a:pt x="270" y="52"/>
                      </a:lnTo>
                      <a:lnTo>
                        <a:pt x="271" y="51"/>
                      </a:lnTo>
                      <a:lnTo>
                        <a:pt x="270" y="49"/>
                      </a:lnTo>
                      <a:lnTo>
                        <a:pt x="263" y="42"/>
                      </a:lnTo>
                      <a:lnTo>
                        <a:pt x="263" y="42"/>
                      </a:lnTo>
                      <a:lnTo>
                        <a:pt x="252" y="38"/>
                      </a:lnTo>
                      <a:lnTo>
                        <a:pt x="244" y="35"/>
                      </a:lnTo>
                      <a:lnTo>
                        <a:pt x="235" y="31"/>
                      </a:lnTo>
                      <a:lnTo>
                        <a:pt x="221" y="23"/>
                      </a:lnTo>
                      <a:lnTo>
                        <a:pt x="221" y="23"/>
                      </a:lnTo>
                      <a:lnTo>
                        <a:pt x="214" y="17"/>
                      </a:lnTo>
                      <a:lnTo>
                        <a:pt x="205" y="16"/>
                      </a:lnTo>
                      <a:lnTo>
                        <a:pt x="191" y="17"/>
                      </a:lnTo>
                      <a:lnTo>
                        <a:pt x="186" y="16"/>
                      </a:lnTo>
                      <a:lnTo>
                        <a:pt x="183" y="14"/>
                      </a:lnTo>
                      <a:lnTo>
                        <a:pt x="181" y="9"/>
                      </a:lnTo>
                      <a:lnTo>
                        <a:pt x="181" y="0"/>
                      </a:lnTo>
                      <a:lnTo>
                        <a:pt x="181" y="0"/>
                      </a:lnTo>
                      <a:lnTo>
                        <a:pt x="162" y="0"/>
                      </a:lnTo>
                      <a:lnTo>
                        <a:pt x="150" y="2"/>
                      </a:lnTo>
                      <a:lnTo>
                        <a:pt x="144" y="4"/>
                      </a:lnTo>
                      <a:lnTo>
                        <a:pt x="137" y="9"/>
                      </a:lnTo>
                      <a:lnTo>
                        <a:pt x="137" y="9"/>
                      </a:lnTo>
                      <a:lnTo>
                        <a:pt x="132" y="14"/>
                      </a:lnTo>
                      <a:lnTo>
                        <a:pt x="129" y="19"/>
                      </a:lnTo>
                      <a:lnTo>
                        <a:pt x="127" y="28"/>
                      </a:lnTo>
                      <a:lnTo>
                        <a:pt x="125" y="33"/>
                      </a:lnTo>
                      <a:lnTo>
                        <a:pt x="123" y="37"/>
                      </a:lnTo>
                      <a:lnTo>
                        <a:pt x="120" y="42"/>
                      </a:lnTo>
                      <a:lnTo>
                        <a:pt x="113" y="45"/>
                      </a:lnTo>
                      <a:lnTo>
                        <a:pt x="113" y="45"/>
                      </a:lnTo>
                      <a:lnTo>
                        <a:pt x="104" y="49"/>
                      </a:lnTo>
                      <a:lnTo>
                        <a:pt x="97" y="54"/>
                      </a:lnTo>
                      <a:lnTo>
                        <a:pt x="85" y="68"/>
                      </a:lnTo>
                      <a:lnTo>
                        <a:pt x="63" y="98"/>
                      </a:lnTo>
                      <a:lnTo>
                        <a:pt x="63" y="98"/>
                      </a:lnTo>
                      <a:lnTo>
                        <a:pt x="57" y="103"/>
                      </a:lnTo>
                      <a:lnTo>
                        <a:pt x="54" y="105"/>
                      </a:lnTo>
                      <a:lnTo>
                        <a:pt x="49" y="105"/>
                      </a:lnTo>
                      <a:lnTo>
                        <a:pt x="45" y="103"/>
                      </a:lnTo>
                      <a:lnTo>
                        <a:pt x="38" y="98"/>
                      </a:lnTo>
                      <a:lnTo>
                        <a:pt x="35" y="98"/>
                      </a:lnTo>
                      <a:lnTo>
                        <a:pt x="31" y="99"/>
                      </a:lnTo>
                      <a:lnTo>
                        <a:pt x="31" y="99"/>
                      </a:lnTo>
                      <a:lnTo>
                        <a:pt x="28" y="101"/>
                      </a:lnTo>
                      <a:lnTo>
                        <a:pt x="24" y="101"/>
                      </a:lnTo>
                      <a:lnTo>
                        <a:pt x="19" y="98"/>
                      </a:lnTo>
                      <a:lnTo>
                        <a:pt x="14" y="94"/>
                      </a:lnTo>
                      <a:lnTo>
                        <a:pt x="9" y="94"/>
                      </a:lnTo>
                      <a:lnTo>
                        <a:pt x="0" y="94"/>
                      </a:lnTo>
                      <a:lnTo>
                        <a:pt x="0" y="9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8" name="Freeform 1975">
                  <a:extLst>
                    <a:ext uri="{FF2B5EF4-FFF2-40B4-BE49-F238E27FC236}">
                      <a16:creationId xmlns:a16="http://schemas.microsoft.com/office/drawing/2014/main" id="{061AA04F-2D12-D8E3-7705-644BF4063FBE}"/>
                    </a:ext>
                  </a:extLst>
                </p:cNvPr>
                <p:cNvSpPr>
                  <a:spLocks/>
                </p:cNvSpPr>
                <p:nvPr/>
              </p:nvSpPr>
              <p:spPr bwMode="auto">
                <a:xfrm>
                  <a:off x="5103857" y="3706539"/>
                  <a:ext cx="296017" cy="555030"/>
                </a:xfrm>
                <a:custGeom>
                  <a:avLst/>
                  <a:gdLst/>
                  <a:ahLst/>
                  <a:cxnLst>
                    <a:cxn ang="0">
                      <a:pos x="80" y="689"/>
                    </a:cxn>
                    <a:cxn ang="0">
                      <a:pos x="101" y="679"/>
                    </a:cxn>
                    <a:cxn ang="0">
                      <a:pos x="110" y="682"/>
                    </a:cxn>
                    <a:cxn ang="0">
                      <a:pos x="124" y="682"/>
                    </a:cxn>
                    <a:cxn ang="0">
                      <a:pos x="151" y="668"/>
                    </a:cxn>
                    <a:cxn ang="0">
                      <a:pos x="183" y="661"/>
                    </a:cxn>
                    <a:cxn ang="0">
                      <a:pos x="193" y="642"/>
                    </a:cxn>
                    <a:cxn ang="0">
                      <a:pos x="188" y="630"/>
                    </a:cxn>
                    <a:cxn ang="0">
                      <a:pos x="202" y="625"/>
                    </a:cxn>
                    <a:cxn ang="0">
                      <a:pos x="252" y="609"/>
                    </a:cxn>
                    <a:cxn ang="0">
                      <a:pos x="284" y="574"/>
                    </a:cxn>
                    <a:cxn ang="0">
                      <a:pos x="287" y="557"/>
                    </a:cxn>
                    <a:cxn ang="0">
                      <a:pos x="312" y="543"/>
                    </a:cxn>
                    <a:cxn ang="0">
                      <a:pos x="329" y="543"/>
                    </a:cxn>
                    <a:cxn ang="0">
                      <a:pos x="326" y="522"/>
                    </a:cxn>
                    <a:cxn ang="0">
                      <a:pos x="317" y="508"/>
                    </a:cxn>
                    <a:cxn ang="0">
                      <a:pos x="313" y="477"/>
                    </a:cxn>
                    <a:cxn ang="0">
                      <a:pos x="308" y="468"/>
                    </a:cxn>
                    <a:cxn ang="0">
                      <a:pos x="292" y="468"/>
                    </a:cxn>
                    <a:cxn ang="0">
                      <a:pos x="296" y="454"/>
                    </a:cxn>
                    <a:cxn ang="0">
                      <a:pos x="306" y="437"/>
                    </a:cxn>
                    <a:cxn ang="0">
                      <a:pos x="301" y="418"/>
                    </a:cxn>
                    <a:cxn ang="0">
                      <a:pos x="313" y="409"/>
                    </a:cxn>
                    <a:cxn ang="0">
                      <a:pos x="312" y="392"/>
                    </a:cxn>
                    <a:cxn ang="0">
                      <a:pos x="319" y="386"/>
                    </a:cxn>
                    <a:cxn ang="0">
                      <a:pos x="322" y="374"/>
                    </a:cxn>
                    <a:cxn ang="0">
                      <a:pos x="331" y="360"/>
                    </a:cxn>
                    <a:cxn ang="0">
                      <a:pos x="332" y="343"/>
                    </a:cxn>
                    <a:cxn ang="0">
                      <a:pos x="359" y="339"/>
                    </a:cxn>
                    <a:cxn ang="0">
                      <a:pos x="369" y="336"/>
                    </a:cxn>
                    <a:cxn ang="0">
                      <a:pos x="265" y="108"/>
                    </a:cxn>
                    <a:cxn ang="0">
                      <a:pos x="89" y="0"/>
                    </a:cxn>
                    <a:cxn ang="0">
                      <a:pos x="50" y="23"/>
                    </a:cxn>
                    <a:cxn ang="0">
                      <a:pos x="59" y="76"/>
                    </a:cxn>
                    <a:cxn ang="0">
                      <a:pos x="71" y="115"/>
                    </a:cxn>
                    <a:cxn ang="0">
                      <a:pos x="82" y="150"/>
                    </a:cxn>
                    <a:cxn ang="0">
                      <a:pos x="75" y="186"/>
                    </a:cxn>
                    <a:cxn ang="0">
                      <a:pos x="68" y="292"/>
                    </a:cxn>
                    <a:cxn ang="0">
                      <a:pos x="49" y="313"/>
                    </a:cxn>
                    <a:cxn ang="0">
                      <a:pos x="5" y="388"/>
                    </a:cxn>
                    <a:cxn ang="0">
                      <a:pos x="3" y="425"/>
                    </a:cxn>
                    <a:cxn ang="0">
                      <a:pos x="38" y="454"/>
                    </a:cxn>
                    <a:cxn ang="0">
                      <a:pos x="42" y="466"/>
                    </a:cxn>
                    <a:cxn ang="0">
                      <a:pos x="47" y="480"/>
                    </a:cxn>
                    <a:cxn ang="0">
                      <a:pos x="52" y="494"/>
                    </a:cxn>
                    <a:cxn ang="0">
                      <a:pos x="54" y="533"/>
                    </a:cxn>
                    <a:cxn ang="0">
                      <a:pos x="64" y="573"/>
                    </a:cxn>
                    <a:cxn ang="0">
                      <a:pos x="61" y="587"/>
                    </a:cxn>
                    <a:cxn ang="0">
                      <a:pos x="33" y="583"/>
                    </a:cxn>
                    <a:cxn ang="0">
                      <a:pos x="19" y="590"/>
                    </a:cxn>
                    <a:cxn ang="0">
                      <a:pos x="19" y="606"/>
                    </a:cxn>
                    <a:cxn ang="0">
                      <a:pos x="56" y="642"/>
                    </a:cxn>
                    <a:cxn ang="0">
                      <a:pos x="64" y="660"/>
                    </a:cxn>
                    <a:cxn ang="0">
                      <a:pos x="70" y="686"/>
                    </a:cxn>
                  </a:cxnLst>
                  <a:rect l="0" t="0" r="r" b="b"/>
                  <a:pathLst>
                    <a:path w="369" h="691">
                      <a:moveTo>
                        <a:pt x="70" y="686"/>
                      </a:moveTo>
                      <a:lnTo>
                        <a:pt x="70" y="686"/>
                      </a:lnTo>
                      <a:lnTo>
                        <a:pt x="75" y="689"/>
                      </a:lnTo>
                      <a:lnTo>
                        <a:pt x="80" y="689"/>
                      </a:lnTo>
                      <a:lnTo>
                        <a:pt x="84" y="691"/>
                      </a:lnTo>
                      <a:lnTo>
                        <a:pt x="87" y="689"/>
                      </a:lnTo>
                      <a:lnTo>
                        <a:pt x="94" y="686"/>
                      </a:lnTo>
                      <a:lnTo>
                        <a:pt x="101" y="679"/>
                      </a:lnTo>
                      <a:lnTo>
                        <a:pt x="101" y="679"/>
                      </a:lnTo>
                      <a:lnTo>
                        <a:pt x="103" y="675"/>
                      </a:lnTo>
                      <a:lnTo>
                        <a:pt x="106" y="677"/>
                      </a:lnTo>
                      <a:lnTo>
                        <a:pt x="110" y="682"/>
                      </a:lnTo>
                      <a:lnTo>
                        <a:pt x="113" y="684"/>
                      </a:lnTo>
                      <a:lnTo>
                        <a:pt x="115" y="686"/>
                      </a:lnTo>
                      <a:lnTo>
                        <a:pt x="120" y="686"/>
                      </a:lnTo>
                      <a:lnTo>
                        <a:pt x="124" y="682"/>
                      </a:lnTo>
                      <a:lnTo>
                        <a:pt x="124" y="682"/>
                      </a:lnTo>
                      <a:lnTo>
                        <a:pt x="134" y="675"/>
                      </a:lnTo>
                      <a:lnTo>
                        <a:pt x="143" y="672"/>
                      </a:lnTo>
                      <a:lnTo>
                        <a:pt x="151" y="668"/>
                      </a:lnTo>
                      <a:lnTo>
                        <a:pt x="160" y="668"/>
                      </a:lnTo>
                      <a:lnTo>
                        <a:pt x="167" y="667"/>
                      </a:lnTo>
                      <a:lnTo>
                        <a:pt x="176" y="665"/>
                      </a:lnTo>
                      <a:lnTo>
                        <a:pt x="183" y="661"/>
                      </a:lnTo>
                      <a:lnTo>
                        <a:pt x="188" y="656"/>
                      </a:lnTo>
                      <a:lnTo>
                        <a:pt x="188" y="656"/>
                      </a:lnTo>
                      <a:lnTo>
                        <a:pt x="191" y="648"/>
                      </a:lnTo>
                      <a:lnTo>
                        <a:pt x="193" y="642"/>
                      </a:lnTo>
                      <a:lnTo>
                        <a:pt x="193" y="639"/>
                      </a:lnTo>
                      <a:lnTo>
                        <a:pt x="191" y="637"/>
                      </a:lnTo>
                      <a:lnTo>
                        <a:pt x="188" y="632"/>
                      </a:lnTo>
                      <a:lnTo>
                        <a:pt x="188" y="630"/>
                      </a:lnTo>
                      <a:lnTo>
                        <a:pt x="190" y="628"/>
                      </a:lnTo>
                      <a:lnTo>
                        <a:pt x="190" y="628"/>
                      </a:lnTo>
                      <a:lnTo>
                        <a:pt x="195" y="627"/>
                      </a:lnTo>
                      <a:lnTo>
                        <a:pt x="202" y="625"/>
                      </a:lnTo>
                      <a:lnTo>
                        <a:pt x="221" y="623"/>
                      </a:lnTo>
                      <a:lnTo>
                        <a:pt x="232" y="620"/>
                      </a:lnTo>
                      <a:lnTo>
                        <a:pt x="242" y="616"/>
                      </a:lnTo>
                      <a:lnTo>
                        <a:pt x="252" y="609"/>
                      </a:lnTo>
                      <a:lnTo>
                        <a:pt x="261" y="599"/>
                      </a:lnTo>
                      <a:lnTo>
                        <a:pt x="261" y="599"/>
                      </a:lnTo>
                      <a:lnTo>
                        <a:pt x="275" y="581"/>
                      </a:lnTo>
                      <a:lnTo>
                        <a:pt x="284" y="574"/>
                      </a:lnTo>
                      <a:lnTo>
                        <a:pt x="287" y="569"/>
                      </a:lnTo>
                      <a:lnTo>
                        <a:pt x="287" y="562"/>
                      </a:lnTo>
                      <a:lnTo>
                        <a:pt x="287" y="562"/>
                      </a:lnTo>
                      <a:lnTo>
                        <a:pt x="287" y="557"/>
                      </a:lnTo>
                      <a:lnTo>
                        <a:pt x="292" y="554"/>
                      </a:lnTo>
                      <a:lnTo>
                        <a:pt x="298" y="548"/>
                      </a:lnTo>
                      <a:lnTo>
                        <a:pt x="305" y="545"/>
                      </a:lnTo>
                      <a:lnTo>
                        <a:pt x="312" y="543"/>
                      </a:lnTo>
                      <a:lnTo>
                        <a:pt x="319" y="541"/>
                      </a:lnTo>
                      <a:lnTo>
                        <a:pt x="326" y="541"/>
                      </a:lnTo>
                      <a:lnTo>
                        <a:pt x="329" y="543"/>
                      </a:lnTo>
                      <a:lnTo>
                        <a:pt x="329" y="543"/>
                      </a:lnTo>
                      <a:lnTo>
                        <a:pt x="331" y="534"/>
                      </a:lnTo>
                      <a:lnTo>
                        <a:pt x="331" y="529"/>
                      </a:lnTo>
                      <a:lnTo>
                        <a:pt x="327" y="526"/>
                      </a:lnTo>
                      <a:lnTo>
                        <a:pt x="326" y="522"/>
                      </a:lnTo>
                      <a:lnTo>
                        <a:pt x="319" y="519"/>
                      </a:lnTo>
                      <a:lnTo>
                        <a:pt x="317" y="514"/>
                      </a:lnTo>
                      <a:lnTo>
                        <a:pt x="317" y="508"/>
                      </a:lnTo>
                      <a:lnTo>
                        <a:pt x="317" y="508"/>
                      </a:lnTo>
                      <a:lnTo>
                        <a:pt x="319" y="500"/>
                      </a:lnTo>
                      <a:lnTo>
                        <a:pt x="317" y="494"/>
                      </a:lnTo>
                      <a:lnTo>
                        <a:pt x="315" y="489"/>
                      </a:lnTo>
                      <a:lnTo>
                        <a:pt x="313" y="477"/>
                      </a:lnTo>
                      <a:lnTo>
                        <a:pt x="313" y="477"/>
                      </a:lnTo>
                      <a:lnTo>
                        <a:pt x="313" y="472"/>
                      </a:lnTo>
                      <a:lnTo>
                        <a:pt x="312" y="468"/>
                      </a:lnTo>
                      <a:lnTo>
                        <a:pt x="308" y="468"/>
                      </a:lnTo>
                      <a:lnTo>
                        <a:pt x="305" y="468"/>
                      </a:lnTo>
                      <a:lnTo>
                        <a:pt x="298" y="470"/>
                      </a:lnTo>
                      <a:lnTo>
                        <a:pt x="296" y="470"/>
                      </a:lnTo>
                      <a:lnTo>
                        <a:pt x="292" y="468"/>
                      </a:lnTo>
                      <a:lnTo>
                        <a:pt x="292" y="468"/>
                      </a:lnTo>
                      <a:lnTo>
                        <a:pt x="291" y="463"/>
                      </a:lnTo>
                      <a:lnTo>
                        <a:pt x="292" y="458"/>
                      </a:lnTo>
                      <a:lnTo>
                        <a:pt x="296" y="454"/>
                      </a:lnTo>
                      <a:lnTo>
                        <a:pt x="299" y="451"/>
                      </a:lnTo>
                      <a:lnTo>
                        <a:pt x="303" y="447"/>
                      </a:lnTo>
                      <a:lnTo>
                        <a:pt x="306" y="444"/>
                      </a:lnTo>
                      <a:lnTo>
                        <a:pt x="306" y="437"/>
                      </a:lnTo>
                      <a:lnTo>
                        <a:pt x="305" y="430"/>
                      </a:lnTo>
                      <a:lnTo>
                        <a:pt x="305" y="430"/>
                      </a:lnTo>
                      <a:lnTo>
                        <a:pt x="301" y="423"/>
                      </a:lnTo>
                      <a:lnTo>
                        <a:pt x="301" y="418"/>
                      </a:lnTo>
                      <a:lnTo>
                        <a:pt x="305" y="416"/>
                      </a:lnTo>
                      <a:lnTo>
                        <a:pt x="308" y="413"/>
                      </a:lnTo>
                      <a:lnTo>
                        <a:pt x="312" y="411"/>
                      </a:lnTo>
                      <a:lnTo>
                        <a:pt x="313" y="409"/>
                      </a:lnTo>
                      <a:lnTo>
                        <a:pt x="315" y="404"/>
                      </a:lnTo>
                      <a:lnTo>
                        <a:pt x="313" y="399"/>
                      </a:lnTo>
                      <a:lnTo>
                        <a:pt x="313" y="399"/>
                      </a:lnTo>
                      <a:lnTo>
                        <a:pt x="312" y="392"/>
                      </a:lnTo>
                      <a:lnTo>
                        <a:pt x="312" y="388"/>
                      </a:lnTo>
                      <a:lnTo>
                        <a:pt x="313" y="386"/>
                      </a:lnTo>
                      <a:lnTo>
                        <a:pt x="315" y="386"/>
                      </a:lnTo>
                      <a:lnTo>
                        <a:pt x="319" y="386"/>
                      </a:lnTo>
                      <a:lnTo>
                        <a:pt x="320" y="385"/>
                      </a:lnTo>
                      <a:lnTo>
                        <a:pt x="322" y="379"/>
                      </a:lnTo>
                      <a:lnTo>
                        <a:pt x="322" y="379"/>
                      </a:lnTo>
                      <a:lnTo>
                        <a:pt x="322" y="374"/>
                      </a:lnTo>
                      <a:lnTo>
                        <a:pt x="322" y="372"/>
                      </a:lnTo>
                      <a:lnTo>
                        <a:pt x="326" y="369"/>
                      </a:lnTo>
                      <a:lnTo>
                        <a:pt x="329" y="364"/>
                      </a:lnTo>
                      <a:lnTo>
                        <a:pt x="331" y="360"/>
                      </a:lnTo>
                      <a:lnTo>
                        <a:pt x="331" y="353"/>
                      </a:lnTo>
                      <a:lnTo>
                        <a:pt x="331" y="353"/>
                      </a:lnTo>
                      <a:lnTo>
                        <a:pt x="331" y="346"/>
                      </a:lnTo>
                      <a:lnTo>
                        <a:pt x="332" y="343"/>
                      </a:lnTo>
                      <a:lnTo>
                        <a:pt x="334" y="339"/>
                      </a:lnTo>
                      <a:lnTo>
                        <a:pt x="338" y="339"/>
                      </a:lnTo>
                      <a:lnTo>
                        <a:pt x="348" y="338"/>
                      </a:lnTo>
                      <a:lnTo>
                        <a:pt x="359" y="339"/>
                      </a:lnTo>
                      <a:lnTo>
                        <a:pt x="359" y="339"/>
                      </a:lnTo>
                      <a:lnTo>
                        <a:pt x="367" y="338"/>
                      </a:lnTo>
                      <a:lnTo>
                        <a:pt x="369" y="338"/>
                      </a:lnTo>
                      <a:lnTo>
                        <a:pt x="369" y="336"/>
                      </a:lnTo>
                      <a:lnTo>
                        <a:pt x="366" y="327"/>
                      </a:lnTo>
                      <a:lnTo>
                        <a:pt x="366" y="174"/>
                      </a:lnTo>
                      <a:lnTo>
                        <a:pt x="366" y="174"/>
                      </a:lnTo>
                      <a:lnTo>
                        <a:pt x="265" y="108"/>
                      </a:lnTo>
                      <a:lnTo>
                        <a:pt x="174" y="50"/>
                      </a:lnTo>
                      <a:lnTo>
                        <a:pt x="90" y="0"/>
                      </a:lnTo>
                      <a:lnTo>
                        <a:pt x="90" y="0"/>
                      </a:lnTo>
                      <a:lnTo>
                        <a:pt x="89" y="0"/>
                      </a:lnTo>
                      <a:lnTo>
                        <a:pt x="84" y="0"/>
                      </a:lnTo>
                      <a:lnTo>
                        <a:pt x="73" y="5"/>
                      </a:lnTo>
                      <a:lnTo>
                        <a:pt x="50" y="23"/>
                      </a:lnTo>
                      <a:lnTo>
                        <a:pt x="50" y="23"/>
                      </a:lnTo>
                      <a:lnTo>
                        <a:pt x="56" y="36"/>
                      </a:lnTo>
                      <a:lnTo>
                        <a:pt x="57" y="47"/>
                      </a:lnTo>
                      <a:lnTo>
                        <a:pt x="59" y="68"/>
                      </a:lnTo>
                      <a:lnTo>
                        <a:pt x="59" y="76"/>
                      </a:lnTo>
                      <a:lnTo>
                        <a:pt x="61" y="89"/>
                      </a:lnTo>
                      <a:lnTo>
                        <a:pt x="64" y="101"/>
                      </a:lnTo>
                      <a:lnTo>
                        <a:pt x="71" y="115"/>
                      </a:lnTo>
                      <a:lnTo>
                        <a:pt x="71" y="115"/>
                      </a:lnTo>
                      <a:lnTo>
                        <a:pt x="78" y="129"/>
                      </a:lnTo>
                      <a:lnTo>
                        <a:pt x="84" y="137"/>
                      </a:lnTo>
                      <a:lnTo>
                        <a:pt x="84" y="144"/>
                      </a:lnTo>
                      <a:lnTo>
                        <a:pt x="82" y="150"/>
                      </a:lnTo>
                      <a:lnTo>
                        <a:pt x="78" y="160"/>
                      </a:lnTo>
                      <a:lnTo>
                        <a:pt x="77" y="171"/>
                      </a:lnTo>
                      <a:lnTo>
                        <a:pt x="75" y="186"/>
                      </a:lnTo>
                      <a:lnTo>
                        <a:pt x="75" y="186"/>
                      </a:lnTo>
                      <a:lnTo>
                        <a:pt x="75" y="221"/>
                      </a:lnTo>
                      <a:lnTo>
                        <a:pt x="73" y="256"/>
                      </a:lnTo>
                      <a:lnTo>
                        <a:pt x="70" y="284"/>
                      </a:lnTo>
                      <a:lnTo>
                        <a:pt x="68" y="292"/>
                      </a:lnTo>
                      <a:lnTo>
                        <a:pt x="64" y="296"/>
                      </a:lnTo>
                      <a:lnTo>
                        <a:pt x="64" y="296"/>
                      </a:lnTo>
                      <a:lnTo>
                        <a:pt x="59" y="303"/>
                      </a:lnTo>
                      <a:lnTo>
                        <a:pt x="49" y="313"/>
                      </a:lnTo>
                      <a:lnTo>
                        <a:pt x="36" y="329"/>
                      </a:lnTo>
                      <a:lnTo>
                        <a:pt x="24" y="348"/>
                      </a:lnTo>
                      <a:lnTo>
                        <a:pt x="12" y="367"/>
                      </a:lnTo>
                      <a:lnTo>
                        <a:pt x="5" y="388"/>
                      </a:lnTo>
                      <a:lnTo>
                        <a:pt x="2" y="397"/>
                      </a:lnTo>
                      <a:lnTo>
                        <a:pt x="0" y="407"/>
                      </a:lnTo>
                      <a:lnTo>
                        <a:pt x="2" y="416"/>
                      </a:lnTo>
                      <a:lnTo>
                        <a:pt x="3" y="425"/>
                      </a:lnTo>
                      <a:lnTo>
                        <a:pt x="19" y="451"/>
                      </a:lnTo>
                      <a:lnTo>
                        <a:pt x="19" y="451"/>
                      </a:lnTo>
                      <a:lnTo>
                        <a:pt x="36" y="453"/>
                      </a:lnTo>
                      <a:lnTo>
                        <a:pt x="38" y="454"/>
                      </a:lnTo>
                      <a:lnTo>
                        <a:pt x="38" y="456"/>
                      </a:lnTo>
                      <a:lnTo>
                        <a:pt x="36" y="461"/>
                      </a:lnTo>
                      <a:lnTo>
                        <a:pt x="36" y="463"/>
                      </a:lnTo>
                      <a:lnTo>
                        <a:pt x="42" y="466"/>
                      </a:lnTo>
                      <a:lnTo>
                        <a:pt x="42" y="466"/>
                      </a:lnTo>
                      <a:lnTo>
                        <a:pt x="45" y="468"/>
                      </a:lnTo>
                      <a:lnTo>
                        <a:pt x="47" y="472"/>
                      </a:lnTo>
                      <a:lnTo>
                        <a:pt x="47" y="480"/>
                      </a:lnTo>
                      <a:lnTo>
                        <a:pt x="49" y="489"/>
                      </a:lnTo>
                      <a:lnTo>
                        <a:pt x="49" y="491"/>
                      </a:lnTo>
                      <a:lnTo>
                        <a:pt x="52" y="494"/>
                      </a:lnTo>
                      <a:lnTo>
                        <a:pt x="52" y="494"/>
                      </a:lnTo>
                      <a:lnTo>
                        <a:pt x="54" y="496"/>
                      </a:lnTo>
                      <a:lnTo>
                        <a:pt x="54" y="498"/>
                      </a:lnTo>
                      <a:lnTo>
                        <a:pt x="56" y="507"/>
                      </a:lnTo>
                      <a:lnTo>
                        <a:pt x="54" y="533"/>
                      </a:lnTo>
                      <a:lnTo>
                        <a:pt x="54" y="547"/>
                      </a:lnTo>
                      <a:lnTo>
                        <a:pt x="57" y="561"/>
                      </a:lnTo>
                      <a:lnTo>
                        <a:pt x="59" y="566"/>
                      </a:lnTo>
                      <a:lnTo>
                        <a:pt x="64" y="573"/>
                      </a:lnTo>
                      <a:lnTo>
                        <a:pt x="68" y="578"/>
                      </a:lnTo>
                      <a:lnTo>
                        <a:pt x="75" y="581"/>
                      </a:lnTo>
                      <a:lnTo>
                        <a:pt x="75" y="581"/>
                      </a:lnTo>
                      <a:lnTo>
                        <a:pt x="61" y="587"/>
                      </a:lnTo>
                      <a:lnTo>
                        <a:pt x="50" y="587"/>
                      </a:lnTo>
                      <a:lnTo>
                        <a:pt x="42" y="587"/>
                      </a:lnTo>
                      <a:lnTo>
                        <a:pt x="33" y="583"/>
                      </a:lnTo>
                      <a:lnTo>
                        <a:pt x="33" y="583"/>
                      </a:lnTo>
                      <a:lnTo>
                        <a:pt x="28" y="583"/>
                      </a:lnTo>
                      <a:lnTo>
                        <a:pt x="24" y="585"/>
                      </a:lnTo>
                      <a:lnTo>
                        <a:pt x="21" y="587"/>
                      </a:lnTo>
                      <a:lnTo>
                        <a:pt x="19" y="590"/>
                      </a:lnTo>
                      <a:lnTo>
                        <a:pt x="17" y="599"/>
                      </a:lnTo>
                      <a:lnTo>
                        <a:pt x="17" y="602"/>
                      </a:lnTo>
                      <a:lnTo>
                        <a:pt x="19" y="606"/>
                      </a:lnTo>
                      <a:lnTo>
                        <a:pt x="19" y="606"/>
                      </a:lnTo>
                      <a:lnTo>
                        <a:pt x="30" y="618"/>
                      </a:lnTo>
                      <a:lnTo>
                        <a:pt x="38" y="627"/>
                      </a:lnTo>
                      <a:lnTo>
                        <a:pt x="50" y="637"/>
                      </a:lnTo>
                      <a:lnTo>
                        <a:pt x="56" y="642"/>
                      </a:lnTo>
                      <a:lnTo>
                        <a:pt x="59" y="648"/>
                      </a:lnTo>
                      <a:lnTo>
                        <a:pt x="63" y="653"/>
                      </a:lnTo>
                      <a:lnTo>
                        <a:pt x="64" y="660"/>
                      </a:lnTo>
                      <a:lnTo>
                        <a:pt x="64" y="660"/>
                      </a:lnTo>
                      <a:lnTo>
                        <a:pt x="68" y="672"/>
                      </a:lnTo>
                      <a:lnTo>
                        <a:pt x="71" y="677"/>
                      </a:lnTo>
                      <a:lnTo>
                        <a:pt x="71" y="681"/>
                      </a:lnTo>
                      <a:lnTo>
                        <a:pt x="70" y="686"/>
                      </a:lnTo>
                      <a:lnTo>
                        <a:pt x="70" y="68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9" name="Freeform 1976">
                  <a:extLst>
                    <a:ext uri="{FF2B5EF4-FFF2-40B4-BE49-F238E27FC236}">
                      <a16:creationId xmlns:a16="http://schemas.microsoft.com/office/drawing/2014/main" id="{FA9D4543-2089-679D-DCB7-F155C63F639F}"/>
                    </a:ext>
                  </a:extLst>
                </p:cNvPr>
                <p:cNvSpPr>
                  <a:spLocks/>
                </p:cNvSpPr>
                <p:nvPr/>
              </p:nvSpPr>
              <p:spPr bwMode="auto">
                <a:xfrm>
                  <a:off x="4568208" y="3999032"/>
                  <a:ext cx="222014" cy="195581"/>
                </a:xfrm>
                <a:custGeom>
                  <a:avLst/>
                  <a:gdLst/>
                  <a:ahLst/>
                  <a:cxnLst>
                    <a:cxn ang="0">
                      <a:pos x="94" y="221"/>
                    </a:cxn>
                    <a:cxn ang="0">
                      <a:pos x="91" y="188"/>
                    </a:cxn>
                    <a:cxn ang="0">
                      <a:pos x="98" y="176"/>
                    </a:cxn>
                    <a:cxn ang="0">
                      <a:pos x="162" y="176"/>
                    </a:cxn>
                    <a:cxn ang="0">
                      <a:pos x="176" y="176"/>
                    </a:cxn>
                    <a:cxn ang="0">
                      <a:pos x="188" y="170"/>
                    </a:cxn>
                    <a:cxn ang="0">
                      <a:pos x="211" y="179"/>
                    </a:cxn>
                    <a:cxn ang="0">
                      <a:pos x="225" y="177"/>
                    </a:cxn>
                    <a:cxn ang="0">
                      <a:pos x="247" y="160"/>
                    </a:cxn>
                    <a:cxn ang="0">
                      <a:pos x="270" y="148"/>
                    </a:cxn>
                    <a:cxn ang="0">
                      <a:pos x="266" y="120"/>
                    </a:cxn>
                    <a:cxn ang="0">
                      <a:pos x="270" y="116"/>
                    </a:cxn>
                    <a:cxn ang="0">
                      <a:pos x="268" y="104"/>
                    </a:cxn>
                    <a:cxn ang="0">
                      <a:pos x="259" y="106"/>
                    </a:cxn>
                    <a:cxn ang="0">
                      <a:pos x="246" y="102"/>
                    </a:cxn>
                    <a:cxn ang="0">
                      <a:pos x="228" y="87"/>
                    </a:cxn>
                    <a:cxn ang="0">
                      <a:pos x="232" y="76"/>
                    </a:cxn>
                    <a:cxn ang="0">
                      <a:pos x="225" y="64"/>
                    </a:cxn>
                    <a:cxn ang="0">
                      <a:pos x="211" y="57"/>
                    </a:cxn>
                    <a:cxn ang="0">
                      <a:pos x="204" y="35"/>
                    </a:cxn>
                    <a:cxn ang="0">
                      <a:pos x="200" y="7"/>
                    </a:cxn>
                    <a:cxn ang="0">
                      <a:pos x="190" y="3"/>
                    </a:cxn>
                    <a:cxn ang="0">
                      <a:pos x="176" y="2"/>
                    </a:cxn>
                    <a:cxn ang="0">
                      <a:pos x="165" y="3"/>
                    </a:cxn>
                    <a:cxn ang="0">
                      <a:pos x="134" y="19"/>
                    </a:cxn>
                    <a:cxn ang="0">
                      <a:pos x="120" y="40"/>
                    </a:cxn>
                    <a:cxn ang="0">
                      <a:pos x="111" y="38"/>
                    </a:cxn>
                    <a:cxn ang="0">
                      <a:pos x="96" y="49"/>
                    </a:cxn>
                    <a:cxn ang="0">
                      <a:pos x="91" y="64"/>
                    </a:cxn>
                    <a:cxn ang="0">
                      <a:pos x="78" y="62"/>
                    </a:cxn>
                    <a:cxn ang="0">
                      <a:pos x="77" y="78"/>
                    </a:cxn>
                    <a:cxn ang="0">
                      <a:pos x="64" y="82"/>
                    </a:cxn>
                    <a:cxn ang="0">
                      <a:pos x="56" y="71"/>
                    </a:cxn>
                    <a:cxn ang="0">
                      <a:pos x="47" y="76"/>
                    </a:cxn>
                    <a:cxn ang="0">
                      <a:pos x="47" y="92"/>
                    </a:cxn>
                    <a:cxn ang="0">
                      <a:pos x="44" y="101"/>
                    </a:cxn>
                    <a:cxn ang="0">
                      <a:pos x="38" y="106"/>
                    </a:cxn>
                    <a:cxn ang="0">
                      <a:pos x="35" y="125"/>
                    </a:cxn>
                    <a:cxn ang="0">
                      <a:pos x="7" y="137"/>
                    </a:cxn>
                    <a:cxn ang="0">
                      <a:pos x="7" y="150"/>
                    </a:cxn>
                    <a:cxn ang="0">
                      <a:pos x="4" y="172"/>
                    </a:cxn>
                    <a:cxn ang="0">
                      <a:pos x="0" y="179"/>
                    </a:cxn>
                    <a:cxn ang="0">
                      <a:pos x="0" y="200"/>
                    </a:cxn>
                    <a:cxn ang="0">
                      <a:pos x="14" y="210"/>
                    </a:cxn>
                    <a:cxn ang="0">
                      <a:pos x="28" y="228"/>
                    </a:cxn>
                    <a:cxn ang="0">
                      <a:pos x="44" y="235"/>
                    </a:cxn>
                    <a:cxn ang="0">
                      <a:pos x="56" y="224"/>
                    </a:cxn>
                    <a:cxn ang="0">
                      <a:pos x="80" y="226"/>
                    </a:cxn>
                    <a:cxn ang="0">
                      <a:pos x="94" y="242"/>
                    </a:cxn>
                  </a:cxnLst>
                  <a:rect l="0" t="0" r="r" b="b"/>
                  <a:pathLst>
                    <a:path w="277" h="244">
                      <a:moveTo>
                        <a:pt x="99" y="244"/>
                      </a:moveTo>
                      <a:lnTo>
                        <a:pt x="99" y="244"/>
                      </a:lnTo>
                      <a:lnTo>
                        <a:pt x="96" y="233"/>
                      </a:lnTo>
                      <a:lnTo>
                        <a:pt x="94" y="221"/>
                      </a:lnTo>
                      <a:lnTo>
                        <a:pt x="94" y="210"/>
                      </a:lnTo>
                      <a:lnTo>
                        <a:pt x="96" y="202"/>
                      </a:lnTo>
                      <a:lnTo>
                        <a:pt x="96" y="202"/>
                      </a:lnTo>
                      <a:lnTo>
                        <a:pt x="91" y="188"/>
                      </a:lnTo>
                      <a:lnTo>
                        <a:pt x="91" y="183"/>
                      </a:lnTo>
                      <a:lnTo>
                        <a:pt x="91" y="179"/>
                      </a:lnTo>
                      <a:lnTo>
                        <a:pt x="92" y="176"/>
                      </a:lnTo>
                      <a:lnTo>
                        <a:pt x="98" y="176"/>
                      </a:lnTo>
                      <a:lnTo>
                        <a:pt x="98" y="176"/>
                      </a:lnTo>
                      <a:lnTo>
                        <a:pt x="132" y="176"/>
                      </a:lnTo>
                      <a:lnTo>
                        <a:pt x="162" y="176"/>
                      </a:lnTo>
                      <a:lnTo>
                        <a:pt x="162" y="176"/>
                      </a:lnTo>
                      <a:lnTo>
                        <a:pt x="167" y="177"/>
                      </a:lnTo>
                      <a:lnTo>
                        <a:pt x="169" y="179"/>
                      </a:lnTo>
                      <a:lnTo>
                        <a:pt x="172" y="179"/>
                      </a:lnTo>
                      <a:lnTo>
                        <a:pt x="176" y="176"/>
                      </a:lnTo>
                      <a:lnTo>
                        <a:pt x="176" y="176"/>
                      </a:lnTo>
                      <a:lnTo>
                        <a:pt x="183" y="170"/>
                      </a:lnTo>
                      <a:lnTo>
                        <a:pt x="188" y="170"/>
                      </a:lnTo>
                      <a:lnTo>
                        <a:pt x="188" y="170"/>
                      </a:lnTo>
                      <a:lnTo>
                        <a:pt x="200" y="172"/>
                      </a:lnTo>
                      <a:lnTo>
                        <a:pt x="207" y="176"/>
                      </a:lnTo>
                      <a:lnTo>
                        <a:pt x="209" y="177"/>
                      </a:lnTo>
                      <a:lnTo>
                        <a:pt x="211" y="179"/>
                      </a:lnTo>
                      <a:lnTo>
                        <a:pt x="211" y="179"/>
                      </a:lnTo>
                      <a:lnTo>
                        <a:pt x="218" y="177"/>
                      </a:lnTo>
                      <a:lnTo>
                        <a:pt x="221" y="177"/>
                      </a:lnTo>
                      <a:lnTo>
                        <a:pt x="225" y="177"/>
                      </a:lnTo>
                      <a:lnTo>
                        <a:pt x="225" y="177"/>
                      </a:lnTo>
                      <a:lnTo>
                        <a:pt x="233" y="167"/>
                      </a:lnTo>
                      <a:lnTo>
                        <a:pt x="240" y="162"/>
                      </a:lnTo>
                      <a:lnTo>
                        <a:pt x="247" y="160"/>
                      </a:lnTo>
                      <a:lnTo>
                        <a:pt x="253" y="158"/>
                      </a:lnTo>
                      <a:lnTo>
                        <a:pt x="258" y="156"/>
                      </a:lnTo>
                      <a:lnTo>
                        <a:pt x="265" y="155"/>
                      </a:lnTo>
                      <a:lnTo>
                        <a:pt x="270" y="148"/>
                      </a:lnTo>
                      <a:lnTo>
                        <a:pt x="277" y="139"/>
                      </a:lnTo>
                      <a:lnTo>
                        <a:pt x="277" y="139"/>
                      </a:lnTo>
                      <a:lnTo>
                        <a:pt x="268" y="125"/>
                      </a:lnTo>
                      <a:lnTo>
                        <a:pt x="266" y="120"/>
                      </a:lnTo>
                      <a:lnTo>
                        <a:pt x="266" y="118"/>
                      </a:lnTo>
                      <a:lnTo>
                        <a:pt x="268" y="118"/>
                      </a:lnTo>
                      <a:lnTo>
                        <a:pt x="268" y="118"/>
                      </a:lnTo>
                      <a:lnTo>
                        <a:pt x="270" y="116"/>
                      </a:lnTo>
                      <a:lnTo>
                        <a:pt x="272" y="113"/>
                      </a:lnTo>
                      <a:lnTo>
                        <a:pt x="272" y="109"/>
                      </a:lnTo>
                      <a:lnTo>
                        <a:pt x="270" y="106"/>
                      </a:lnTo>
                      <a:lnTo>
                        <a:pt x="268" y="104"/>
                      </a:lnTo>
                      <a:lnTo>
                        <a:pt x="265" y="102"/>
                      </a:lnTo>
                      <a:lnTo>
                        <a:pt x="263" y="102"/>
                      </a:lnTo>
                      <a:lnTo>
                        <a:pt x="259" y="106"/>
                      </a:lnTo>
                      <a:lnTo>
                        <a:pt x="259" y="106"/>
                      </a:lnTo>
                      <a:lnTo>
                        <a:pt x="256" y="108"/>
                      </a:lnTo>
                      <a:lnTo>
                        <a:pt x="253" y="108"/>
                      </a:lnTo>
                      <a:lnTo>
                        <a:pt x="249" y="106"/>
                      </a:lnTo>
                      <a:lnTo>
                        <a:pt x="246" y="102"/>
                      </a:lnTo>
                      <a:lnTo>
                        <a:pt x="237" y="94"/>
                      </a:lnTo>
                      <a:lnTo>
                        <a:pt x="230" y="89"/>
                      </a:lnTo>
                      <a:lnTo>
                        <a:pt x="230" y="89"/>
                      </a:lnTo>
                      <a:lnTo>
                        <a:pt x="228" y="87"/>
                      </a:lnTo>
                      <a:lnTo>
                        <a:pt x="226" y="82"/>
                      </a:lnTo>
                      <a:lnTo>
                        <a:pt x="228" y="76"/>
                      </a:lnTo>
                      <a:lnTo>
                        <a:pt x="230" y="76"/>
                      </a:lnTo>
                      <a:lnTo>
                        <a:pt x="232" y="76"/>
                      </a:lnTo>
                      <a:lnTo>
                        <a:pt x="232" y="76"/>
                      </a:lnTo>
                      <a:lnTo>
                        <a:pt x="235" y="75"/>
                      </a:lnTo>
                      <a:lnTo>
                        <a:pt x="235" y="73"/>
                      </a:lnTo>
                      <a:lnTo>
                        <a:pt x="225" y="64"/>
                      </a:lnTo>
                      <a:lnTo>
                        <a:pt x="225" y="64"/>
                      </a:lnTo>
                      <a:lnTo>
                        <a:pt x="218" y="61"/>
                      </a:lnTo>
                      <a:lnTo>
                        <a:pt x="214" y="59"/>
                      </a:lnTo>
                      <a:lnTo>
                        <a:pt x="211" y="57"/>
                      </a:lnTo>
                      <a:lnTo>
                        <a:pt x="207" y="49"/>
                      </a:lnTo>
                      <a:lnTo>
                        <a:pt x="207" y="49"/>
                      </a:lnTo>
                      <a:lnTo>
                        <a:pt x="206" y="40"/>
                      </a:lnTo>
                      <a:lnTo>
                        <a:pt x="204" y="35"/>
                      </a:lnTo>
                      <a:lnTo>
                        <a:pt x="200" y="28"/>
                      </a:lnTo>
                      <a:lnTo>
                        <a:pt x="199" y="26"/>
                      </a:lnTo>
                      <a:lnTo>
                        <a:pt x="199" y="22"/>
                      </a:lnTo>
                      <a:lnTo>
                        <a:pt x="200" y="7"/>
                      </a:lnTo>
                      <a:lnTo>
                        <a:pt x="200" y="7"/>
                      </a:lnTo>
                      <a:lnTo>
                        <a:pt x="197" y="7"/>
                      </a:lnTo>
                      <a:lnTo>
                        <a:pt x="190" y="3"/>
                      </a:lnTo>
                      <a:lnTo>
                        <a:pt x="190" y="3"/>
                      </a:lnTo>
                      <a:lnTo>
                        <a:pt x="185" y="2"/>
                      </a:lnTo>
                      <a:lnTo>
                        <a:pt x="183" y="2"/>
                      </a:lnTo>
                      <a:lnTo>
                        <a:pt x="181" y="3"/>
                      </a:lnTo>
                      <a:lnTo>
                        <a:pt x="176" y="2"/>
                      </a:lnTo>
                      <a:lnTo>
                        <a:pt x="176" y="2"/>
                      </a:lnTo>
                      <a:lnTo>
                        <a:pt x="172" y="0"/>
                      </a:lnTo>
                      <a:lnTo>
                        <a:pt x="171" y="0"/>
                      </a:lnTo>
                      <a:lnTo>
                        <a:pt x="165" y="3"/>
                      </a:lnTo>
                      <a:lnTo>
                        <a:pt x="155" y="10"/>
                      </a:lnTo>
                      <a:lnTo>
                        <a:pt x="146" y="15"/>
                      </a:lnTo>
                      <a:lnTo>
                        <a:pt x="134" y="19"/>
                      </a:lnTo>
                      <a:lnTo>
                        <a:pt x="134" y="19"/>
                      </a:lnTo>
                      <a:lnTo>
                        <a:pt x="129" y="21"/>
                      </a:lnTo>
                      <a:lnTo>
                        <a:pt x="125" y="24"/>
                      </a:lnTo>
                      <a:lnTo>
                        <a:pt x="122" y="33"/>
                      </a:lnTo>
                      <a:lnTo>
                        <a:pt x="120" y="40"/>
                      </a:lnTo>
                      <a:lnTo>
                        <a:pt x="118" y="42"/>
                      </a:lnTo>
                      <a:lnTo>
                        <a:pt x="115" y="40"/>
                      </a:lnTo>
                      <a:lnTo>
                        <a:pt x="115" y="40"/>
                      </a:lnTo>
                      <a:lnTo>
                        <a:pt x="111" y="38"/>
                      </a:lnTo>
                      <a:lnTo>
                        <a:pt x="108" y="38"/>
                      </a:lnTo>
                      <a:lnTo>
                        <a:pt x="103" y="38"/>
                      </a:lnTo>
                      <a:lnTo>
                        <a:pt x="101" y="42"/>
                      </a:lnTo>
                      <a:lnTo>
                        <a:pt x="96" y="49"/>
                      </a:lnTo>
                      <a:lnTo>
                        <a:pt x="94" y="59"/>
                      </a:lnTo>
                      <a:lnTo>
                        <a:pt x="94" y="59"/>
                      </a:lnTo>
                      <a:lnTo>
                        <a:pt x="92" y="62"/>
                      </a:lnTo>
                      <a:lnTo>
                        <a:pt x="91" y="64"/>
                      </a:lnTo>
                      <a:lnTo>
                        <a:pt x="89" y="64"/>
                      </a:lnTo>
                      <a:lnTo>
                        <a:pt x="85" y="62"/>
                      </a:lnTo>
                      <a:lnTo>
                        <a:pt x="80" y="61"/>
                      </a:lnTo>
                      <a:lnTo>
                        <a:pt x="78" y="62"/>
                      </a:lnTo>
                      <a:lnTo>
                        <a:pt x="78" y="66"/>
                      </a:lnTo>
                      <a:lnTo>
                        <a:pt x="78" y="66"/>
                      </a:lnTo>
                      <a:lnTo>
                        <a:pt x="78" y="73"/>
                      </a:lnTo>
                      <a:lnTo>
                        <a:pt x="77" y="78"/>
                      </a:lnTo>
                      <a:lnTo>
                        <a:pt x="75" y="80"/>
                      </a:lnTo>
                      <a:lnTo>
                        <a:pt x="73" y="82"/>
                      </a:lnTo>
                      <a:lnTo>
                        <a:pt x="70" y="82"/>
                      </a:lnTo>
                      <a:lnTo>
                        <a:pt x="64" y="82"/>
                      </a:lnTo>
                      <a:lnTo>
                        <a:pt x="64" y="82"/>
                      </a:lnTo>
                      <a:lnTo>
                        <a:pt x="61" y="80"/>
                      </a:lnTo>
                      <a:lnTo>
                        <a:pt x="58" y="76"/>
                      </a:lnTo>
                      <a:lnTo>
                        <a:pt x="56" y="71"/>
                      </a:lnTo>
                      <a:lnTo>
                        <a:pt x="54" y="69"/>
                      </a:lnTo>
                      <a:lnTo>
                        <a:pt x="52" y="71"/>
                      </a:lnTo>
                      <a:lnTo>
                        <a:pt x="52" y="71"/>
                      </a:lnTo>
                      <a:lnTo>
                        <a:pt x="47" y="76"/>
                      </a:lnTo>
                      <a:lnTo>
                        <a:pt x="45" y="82"/>
                      </a:lnTo>
                      <a:lnTo>
                        <a:pt x="45" y="87"/>
                      </a:lnTo>
                      <a:lnTo>
                        <a:pt x="47" y="92"/>
                      </a:lnTo>
                      <a:lnTo>
                        <a:pt x="47" y="92"/>
                      </a:lnTo>
                      <a:lnTo>
                        <a:pt x="49" y="96"/>
                      </a:lnTo>
                      <a:lnTo>
                        <a:pt x="49" y="99"/>
                      </a:lnTo>
                      <a:lnTo>
                        <a:pt x="47" y="101"/>
                      </a:lnTo>
                      <a:lnTo>
                        <a:pt x="44" y="101"/>
                      </a:lnTo>
                      <a:lnTo>
                        <a:pt x="38" y="102"/>
                      </a:lnTo>
                      <a:lnTo>
                        <a:pt x="37" y="104"/>
                      </a:lnTo>
                      <a:lnTo>
                        <a:pt x="38" y="106"/>
                      </a:lnTo>
                      <a:lnTo>
                        <a:pt x="38" y="106"/>
                      </a:lnTo>
                      <a:lnTo>
                        <a:pt x="40" y="109"/>
                      </a:lnTo>
                      <a:lnTo>
                        <a:pt x="40" y="113"/>
                      </a:lnTo>
                      <a:lnTo>
                        <a:pt x="35" y="125"/>
                      </a:lnTo>
                      <a:lnTo>
                        <a:pt x="35" y="125"/>
                      </a:lnTo>
                      <a:lnTo>
                        <a:pt x="31" y="130"/>
                      </a:lnTo>
                      <a:lnTo>
                        <a:pt x="26" y="132"/>
                      </a:lnTo>
                      <a:lnTo>
                        <a:pt x="16" y="136"/>
                      </a:lnTo>
                      <a:lnTo>
                        <a:pt x="7" y="137"/>
                      </a:lnTo>
                      <a:lnTo>
                        <a:pt x="5" y="139"/>
                      </a:lnTo>
                      <a:lnTo>
                        <a:pt x="5" y="143"/>
                      </a:lnTo>
                      <a:lnTo>
                        <a:pt x="5" y="143"/>
                      </a:lnTo>
                      <a:lnTo>
                        <a:pt x="7" y="150"/>
                      </a:lnTo>
                      <a:lnTo>
                        <a:pt x="9" y="158"/>
                      </a:lnTo>
                      <a:lnTo>
                        <a:pt x="7" y="167"/>
                      </a:lnTo>
                      <a:lnTo>
                        <a:pt x="7" y="170"/>
                      </a:lnTo>
                      <a:lnTo>
                        <a:pt x="4" y="172"/>
                      </a:lnTo>
                      <a:lnTo>
                        <a:pt x="4" y="172"/>
                      </a:lnTo>
                      <a:lnTo>
                        <a:pt x="2" y="172"/>
                      </a:lnTo>
                      <a:lnTo>
                        <a:pt x="0" y="174"/>
                      </a:lnTo>
                      <a:lnTo>
                        <a:pt x="0" y="179"/>
                      </a:lnTo>
                      <a:lnTo>
                        <a:pt x="2" y="188"/>
                      </a:lnTo>
                      <a:lnTo>
                        <a:pt x="2" y="193"/>
                      </a:lnTo>
                      <a:lnTo>
                        <a:pt x="0" y="200"/>
                      </a:lnTo>
                      <a:lnTo>
                        <a:pt x="0" y="200"/>
                      </a:lnTo>
                      <a:lnTo>
                        <a:pt x="7" y="203"/>
                      </a:lnTo>
                      <a:lnTo>
                        <a:pt x="12" y="205"/>
                      </a:lnTo>
                      <a:lnTo>
                        <a:pt x="14" y="207"/>
                      </a:lnTo>
                      <a:lnTo>
                        <a:pt x="14" y="210"/>
                      </a:lnTo>
                      <a:lnTo>
                        <a:pt x="16" y="214"/>
                      </a:lnTo>
                      <a:lnTo>
                        <a:pt x="17" y="217"/>
                      </a:lnTo>
                      <a:lnTo>
                        <a:pt x="21" y="223"/>
                      </a:lnTo>
                      <a:lnTo>
                        <a:pt x="28" y="228"/>
                      </a:lnTo>
                      <a:lnTo>
                        <a:pt x="28" y="228"/>
                      </a:lnTo>
                      <a:lnTo>
                        <a:pt x="37" y="233"/>
                      </a:lnTo>
                      <a:lnTo>
                        <a:pt x="42" y="235"/>
                      </a:lnTo>
                      <a:lnTo>
                        <a:pt x="44" y="235"/>
                      </a:lnTo>
                      <a:lnTo>
                        <a:pt x="45" y="233"/>
                      </a:lnTo>
                      <a:lnTo>
                        <a:pt x="49" y="230"/>
                      </a:lnTo>
                      <a:lnTo>
                        <a:pt x="51" y="226"/>
                      </a:lnTo>
                      <a:lnTo>
                        <a:pt x="56" y="224"/>
                      </a:lnTo>
                      <a:lnTo>
                        <a:pt x="64" y="223"/>
                      </a:lnTo>
                      <a:lnTo>
                        <a:pt x="64" y="223"/>
                      </a:lnTo>
                      <a:lnTo>
                        <a:pt x="73" y="224"/>
                      </a:lnTo>
                      <a:lnTo>
                        <a:pt x="80" y="226"/>
                      </a:lnTo>
                      <a:lnTo>
                        <a:pt x="84" y="230"/>
                      </a:lnTo>
                      <a:lnTo>
                        <a:pt x="87" y="233"/>
                      </a:lnTo>
                      <a:lnTo>
                        <a:pt x="92" y="240"/>
                      </a:lnTo>
                      <a:lnTo>
                        <a:pt x="94" y="242"/>
                      </a:lnTo>
                      <a:lnTo>
                        <a:pt x="99" y="244"/>
                      </a:lnTo>
                      <a:lnTo>
                        <a:pt x="99" y="2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0" name="Freeform 1977">
                  <a:extLst>
                    <a:ext uri="{FF2B5EF4-FFF2-40B4-BE49-F238E27FC236}">
                      <a16:creationId xmlns:a16="http://schemas.microsoft.com/office/drawing/2014/main" id="{4C2CB29A-87BD-F498-1353-E40F1DD3007E}"/>
                    </a:ext>
                  </a:extLst>
                </p:cNvPr>
                <p:cNvSpPr>
                  <a:spLocks/>
                </p:cNvSpPr>
                <p:nvPr/>
              </p:nvSpPr>
              <p:spPr bwMode="auto">
                <a:xfrm>
                  <a:off x="4351480" y="3257228"/>
                  <a:ext cx="340067" cy="301303"/>
                </a:xfrm>
                <a:custGeom>
                  <a:avLst/>
                  <a:gdLst/>
                  <a:ahLst/>
                  <a:cxnLst>
                    <a:cxn ang="0">
                      <a:pos x="0" y="376"/>
                    </a:cxn>
                    <a:cxn ang="0">
                      <a:pos x="17" y="360"/>
                    </a:cxn>
                    <a:cxn ang="0">
                      <a:pos x="47" y="353"/>
                    </a:cxn>
                    <a:cxn ang="0">
                      <a:pos x="64" y="337"/>
                    </a:cxn>
                    <a:cxn ang="0">
                      <a:pos x="87" y="320"/>
                    </a:cxn>
                    <a:cxn ang="0">
                      <a:pos x="106" y="297"/>
                    </a:cxn>
                    <a:cxn ang="0">
                      <a:pos x="120" y="268"/>
                    </a:cxn>
                    <a:cxn ang="0">
                      <a:pos x="115" y="222"/>
                    </a:cxn>
                    <a:cxn ang="0">
                      <a:pos x="125" y="186"/>
                    </a:cxn>
                    <a:cxn ang="0">
                      <a:pos x="134" y="170"/>
                    </a:cxn>
                    <a:cxn ang="0">
                      <a:pos x="134" y="158"/>
                    </a:cxn>
                    <a:cxn ang="0">
                      <a:pos x="144" y="144"/>
                    </a:cxn>
                    <a:cxn ang="0">
                      <a:pos x="153" y="132"/>
                    </a:cxn>
                    <a:cxn ang="0">
                      <a:pos x="167" y="116"/>
                    </a:cxn>
                    <a:cxn ang="0">
                      <a:pos x="195" y="104"/>
                    </a:cxn>
                    <a:cxn ang="0">
                      <a:pos x="218" y="88"/>
                    </a:cxn>
                    <a:cxn ang="0">
                      <a:pos x="238" y="48"/>
                    </a:cxn>
                    <a:cxn ang="0">
                      <a:pos x="261" y="3"/>
                    </a:cxn>
                    <a:cxn ang="0">
                      <a:pos x="270" y="0"/>
                    </a:cxn>
                    <a:cxn ang="0">
                      <a:pos x="275" y="6"/>
                    </a:cxn>
                    <a:cxn ang="0">
                      <a:pos x="282" y="22"/>
                    </a:cxn>
                    <a:cxn ang="0">
                      <a:pos x="301" y="33"/>
                    </a:cxn>
                    <a:cxn ang="0">
                      <a:pos x="320" y="31"/>
                    </a:cxn>
                    <a:cxn ang="0">
                      <a:pos x="338" y="29"/>
                    </a:cxn>
                    <a:cxn ang="0">
                      <a:pos x="346" y="29"/>
                    </a:cxn>
                    <a:cxn ang="0">
                      <a:pos x="355" y="20"/>
                    </a:cxn>
                    <a:cxn ang="0">
                      <a:pos x="357" y="24"/>
                    </a:cxn>
                    <a:cxn ang="0">
                      <a:pos x="366" y="34"/>
                    </a:cxn>
                    <a:cxn ang="0">
                      <a:pos x="383" y="36"/>
                    </a:cxn>
                    <a:cxn ang="0">
                      <a:pos x="395" y="50"/>
                    </a:cxn>
                    <a:cxn ang="0">
                      <a:pos x="402" y="94"/>
                    </a:cxn>
                    <a:cxn ang="0">
                      <a:pos x="407" y="137"/>
                    </a:cxn>
                    <a:cxn ang="0">
                      <a:pos x="418" y="149"/>
                    </a:cxn>
                    <a:cxn ang="0">
                      <a:pos x="423" y="153"/>
                    </a:cxn>
                    <a:cxn ang="0">
                      <a:pos x="420" y="163"/>
                    </a:cxn>
                    <a:cxn ang="0">
                      <a:pos x="416" y="172"/>
                    </a:cxn>
                    <a:cxn ang="0">
                      <a:pos x="392" y="174"/>
                    </a:cxn>
                    <a:cxn ang="0">
                      <a:pos x="362" y="177"/>
                    </a:cxn>
                    <a:cxn ang="0">
                      <a:pos x="350" y="188"/>
                    </a:cxn>
                    <a:cxn ang="0">
                      <a:pos x="326" y="193"/>
                    </a:cxn>
                    <a:cxn ang="0">
                      <a:pos x="324" y="205"/>
                    </a:cxn>
                    <a:cxn ang="0">
                      <a:pos x="334" y="221"/>
                    </a:cxn>
                    <a:cxn ang="0">
                      <a:pos x="331" y="229"/>
                    </a:cxn>
                    <a:cxn ang="0">
                      <a:pos x="299" y="243"/>
                    </a:cxn>
                    <a:cxn ang="0">
                      <a:pos x="277" y="264"/>
                    </a:cxn>
                    <a:cxn ang="0">
                      <a:pos x="263" y="273"/>
                    </a:cxn>
                    <a:cxn ang="0">
                      <a:pos x="193" y="299"/>
                    </a:cxn>
                    <a:cxn ang="0">
                      <a:pos x="157" y="329"/>
                    </a:cxn>
                  </a:cxnLst>
                  <a:rect l="0" t="0" r="r" b="b"/>
                  <a:pathLst>
                    <a:path w="423" h="376">
                      <a:moveTo>
                        <a:pt x="157" y="376"/>
                      </a:moveTo>
                      <a:lnTo>
                        <a:pt x="0" y="376"/>
                      </a:lnTo>
                      <a:lnTo>
                        <a:pt x="0" y="376"/>
                      </a:lnTo>
                      <a:lnTo>
                        <a:pt x="3" y="367"/>
                      </a:lnTo>
                      <a:lnTo>
                        <a:pt x="10" y="362"/>
                      </a:lnTo>
                      <a:lnTo>
                        <a:pt x="17" y="360"/>
                      </a:lnTo>
                      <a:lnTo>
                        <a:pt x="26" y="358"/>
                      </a:lnTo>
                      <a:lnTo>
                        <a:pt x="36" y="356"/>
                      </a:lnTo>
                      <a:lnTo>
                        <a:pt x="47" y="353"/>
                      </a:lnTo>
                      <a:lnTo>
                        <a:pt x="56" y="346"/>
                      </a:lnTo>
                      <a:lnTo>
                        <a:pt x="64" y="337"/>
                      </a:lnTo>
                      <a:lnTo>
                        <a:pt x="64" y="337"/>
                      </a:lnTo>
                      <a:lnTo>
                        <a:pt x="71" y="329"/>
                      </a:lnTo>
                      <a:lnTo>
                        <a:pt x="77" y="323"/>
                      </a:lnTo>
                      <a:lnTo>
                        <a:pt x="87" y="320"/>
                      </a:lnTo>
                      <a:lnTo>
                        <a:pt x="92" y="316"/>
                      </a:lnTo>
                      <a:lnTo>
                        <a:pt x="97" y="309"/>
                      </a:lnTo>
                      <a:lnTo>
                        <a:pt x="106" y="297"/>
                      </a:lnTo>
                      <a:lnTo>
                        <a:pt x="117" y="278"/>
                      </a:lnTo>
                      <a:lnTo>
                        <a:pt x="117" y="278"/>
                      </a:lnTo>
                      <a:lnTo>
                        <a:pt x="120" y="268"/>
                      </a:lnTo>
                      <a:lnTo>
                        <a:pt x="120" y="257"/>
                      </a:lnTo>
                      <a:lnTo>
                        <a:pt x="117" y="235"/>
                      </a:lnTo>
                      <a:lnTo>
                        <a:pt x="115" y="222"/>
                      </a:lnTo>
                      <a:lnTo>
                        <a:pt x="115" y="210"/>
                      </a:lnTo>
                      <a:lnTo>
                        <a:pt x="118" y="198"/>
                      </a:lnTo>
                      <a:lnTo>
                        <a:pt x="125" y="186"/>
                      </a:lnTo>
                      <a:lnTo>
                        <a:pt x="125" y="186"/>
                      </a:lnTo>
                      <a:lnTo>
                        <a:pt x="132" y="177"/>
                      </a:lnTo>
                      <a:lnTo>
                        <a:pt x="134" y="170"/>
                      </a:lnTo>
                      <a:lnTo>
                        <a:pt x="136" y="165"/>
                      </a:lnTo>
                      <a:lnTo>
                        <a:pt x="136" y="161"/>
                      </a:lnTo>
                      <a:lnTo>
                        <a:pt x="134" y="158"/>
                      </a:lnTo>
                      <a:lnTo>
                        <a:pt x="136" y="154"/>
                      </a:lnTo>
                      <a:lnTo>
                        <a:pt x="137" y="149"/>
                      </a:lnTo>
                      <a:lnTo>
                        <a:pt x="144" y="144"/>
                      </a:lnTo>
                      <a:lnTo>
                        <a:pt x="144" y="144"/>
                      </a:lnTo>
                      <a:lnTo>
                        <a:pt x="150" y="137"/>
                      </a:lnTo>
                      <a:lnTo>
                        <a:pt x="153" y="132"/>
                      </a:lnTo>
                      <a:lnTo>
                        <a:pt x="158" y="125"/>
                      </a:lnTo>
                      <a:lnTo>
                        <a:pt x="162" y="121"/>
                      </a:lnTo>
                      <a:lnTo>
                        <a:pt x="167" y="116"/>
                      </a:lnTo>
                      <a:lnTo>
                        <a:pt x="179" y="111"/>
                      </a:lnTo>
                      <a:lnTo>
                        <a:pt x="195" y="104"/>
                      </a:lnTo>
                      <a:lnTo>
                        <a:pt x="195" y="104"/>
                      </a:lnTo>
                      <a:lnTo>
                        <a:pt x="204" y="100"/>
                      </a:lnTo>
                      <a:lnTo>
                        <a:pt x="211" y="95"/>
                      </a:lnTo>
                      <a:lnTo>
                        <a:pt x="218" y="88"/>
                      </a:lnTo>
                      <a:lnTo>
                        <a:pt x="225" y="81"/>
                      </a:lnTo>
                      <a:lnTo>
                        <a:pt x="233" y="66"/>
                      </a:lnTo>
                      <a:lnTo>
                        <a:pt x="238" y="48"/>
                      </a:lnTo>
                      <a:lnTo>
                        <a:pt x="251" y="17"/>
                      </a:lnTo>
                      <a:lnTo>
                        <a:pt x="256" y="6"/>
                      </a:lnTo>
                      <a:lnTo>
                        <a:pt x="261" y="3"/>
                      </a:lnTo>
                      <a:lnTo>
                        <a:pt x="265" y="0"/>
                      </a:lnTo>
                      <a:lnTo>
                        <a:pt x="265" y="0"/>
                      </a:lnTo>
                      <a:lnTo>
                        <a:pt x="270" y="0"/>
                      </a:lnTo>
                      <a:lnTo>
                        <a:pt x="273" y="0"/>
                      </a:lnTo>
                      <a:lnTo>
                        <a:pt x="275" y="1"/>
                      </a:lnTo>
                      <a:lnTo>
                        <a:pt x="275" y="6"/>
                      </a:lnTo>
                      <a:lnTo>
                        <a:pt x="275" y="12"/>
                      </a:lnTo>
                      <a:lnTo>
                        <a:pt x="277" y="17"/>
                      </a:lnTo>
                      <a:lnTo>
                        <a:pt x="282" y="22"/>
                      </a:lnTo>
                      <a:lnTo>
                        <a:pt x="291" y="29"/>
                      </a:lnTo>
                      <a:lnTo>
                        <a:pt x="291" y="29"/>
                      </a:lnTo>
                      <a:lnTo>
                        <a:pt x="301" y="33"/>
                      </a:lnTo>
                      <a:lnTo>
                        <a:pt x="308" y="33"/>
                      </a:lnTo>
                      <a:lnTo>
                        <a:pt x="315" y="33"/>
                      </a:lnTo>
                      <a:lnTo>
                        <a:pt x="320" y="31"/>
                      </a:lnTo>
                      <a:lnTo>
                        <a:pt x="329" y="27"/>
                      </a:lnTo>
                      <a:lnTo>
                        <a:pt x="332" y="27"/>
                      </a:lnTo>
                      <a:lnTo>
                        <a:pt x="338" y="29"/>
                      </a:lnTo>
                      <a:lnTo>
                        <a:pt x="338" y="29"/>
                      </a:lnTo>
                      <a:lnTo>
                        <a:pt x="343" y="29"/>
                      </a:lnTo>
                      <a:lnTo>
                        <a:pt x="346" y="29"/>
                      </a:lnTo>
                      <a:lnTo>
                        <a:pt x="350" y="27"/>
                      </a:lnTo>
                      <a:lnTo>
                        <a:pt x="353" y="24"/>
                      </a:lnTo>
                      <a:lnTo>
                        <a:pt x="355" y="20"/>
                      </a:lnTo>
                      <a:lnTo>
                        <a:pt x="357" y="22"/>
                      </a:lnTo>
                      <a:lnTo>
                        <a:pt x="357" y="24"/>
                      </a:lnTo>
                      <a:lnTo>
                        <a:pt x="357" y="24"/>
                      </a:lnTo>
                      <a:lnTo>
                        <a:pt x="359" y="29"/>
                      </a:lnTo>
                      <a:lnTo>
                        <a:pt x="362" y="33"/>
                      </a:lnTo>
                      <a:lnTo>
                        <a:pt x="366" y="34"/>
                      </a:lnTo>
                      <a:lnTo>
                        <a:pt x="371" y="34"/>
                      </a:lnTo>
                      <a:lnTo>
                        <a:pt x="383" y="36"/>
                      </a:lnTo>
                      <a:lnTo>
                        <a:pt x="383" y="36"/>
                      </a:lnTo>
                      <a:lnTo>
                        <a:pt x="388" y="40"/>
                      </a:lnTo>
                      <a:lnTo>
                        <a:pt x="392" y="45"/>
                      </a:lnTo>
                      <a:lnTo>
                        <a:pt x="395" y="50"/>
                      </a:lnTo>
                      <a:lnTo>
                        <a:pt x="397" y="59"/>
                      </a:lnTo>
                      <a:lnTo>
                        <a:pt x="400" y="76"/>
                      </a:lnTo>
                      <a:lnTo>
                        <a:pt x="402" y="94"/>
                      </a:lnTo>
                      <a:lnTo>
                        <a:pt x="404" y="113"/>
                      </a:lnTo>
                      <a:lnTo>
                        <a:pt x="406" y="130"/>
                      </a:lnTo>
                      <a:lnTo>
                        <a:pt x="407" y="137"/>
                      </a:lnTo>
                      <a:lnTo>
                        <a:pt x="411" y="142"/>
                      </a:lnTo>
                      <a:lnTo>
                        <a:pt x="413" y="146"/>
                      </a:lnTo>
                      <a:lnTo>
                        <a:pt x="418" y="149"/>
                      </a:lnTo>
                      <a:lnTo>
                        <a:pt x="418" y="149"/>
                      </a:lnTo>
                      <a:lnTo>
                        <a:pt x="421" y="151"/>
                      </a:lnTo>
                      <a:lnTo>
                        <a:pt x="423" y="153"/>
                      </a:lnTo>
                      <a:lnTo>
                        <a:pt x="423" y="154"/>
                      </a:lnTo>
                      <a:lnTo>
                        <a:pt x="423" y="156"/>
                      </a:lnTo>
                      <a:lnTo>
                        <a:pt x="420" y="163"/>
                      </a:lnTo>
                      <a:lnTo>
                        <a:pt x="418" y="170"/>
                      </a:lnTo>
                      <a:lnTo>
                        <a:pt x="418" y="170"/>
                      </a:lnTo>
                      <a:lnTo>
                        <a:pt x="416" y="172"/>
                      </a:lnTo>
                      <a:lnTo>
                        <a:pt x="414" y="172"/>
                      </a:lnTo>
                      <a:lnTo>
                        <a:pt x="409" y="174"/>
                      </a:lnTo>
                      <a:lnTo>
                        <a:pt x="392" y="174"/>
                      </a:lnTo>
                      <a:lnTo>
                        <a:pt x="381" y="174"/>
                      </a:lnTo>
                      <a:lnTo>
                        <a:pt x="371" y="175"/>
                      </a:lnTo>
                      <a:lnTo>
                        <a:pt x="362" y="177"/>
                      </a:lnTo>
                      <a:lnTo>
                        <a:pt x="355" y="182"/>
                      </a:lnTo>
                      <a:lnTo>
                        <a:pt x="355" y="182"/>
                      </a:lnTo>
                      <a:lnTo>
                        <a:pt x="350" y="188"/>
                      </a:lnTo>
                      <a:lnTo>
                        <a:pt x="345" y="191"/>
                      </a:lnTo>
                      <a:lnTo>
                        <a:pt x="331" y="193"/>
                      </a:lnTo>
                      <a:lnTo>
                        <a:pt x="326" y="193"/>
                      </a:lnTo>
                      <a:lnTo>
                        <a:pt x="324" y="195"/>
                      </a:lnTo>
                      <a:lnTo>
                        <a:pt x="322" y="198"/>
                      </a:lnTo>
                      <a:lnTo>
                        <a:pt x="324" y="205"/>
                      </a:lnTo>
                      <a:lnTo>
                        <a:pt x="324" y="205"/>
                      </a:lnTo>
                      <a:lnTo>
                        <a:pt x="331" y="215"/>
                      </a:lnTo>
                      <a:lnTo>
                        <a:pt x="334" y="221"/>
                      </a:lnTo>
                      <a:lnTo>
                        <a:pt x="334" y="224"/>
                      </a:lnTo>
                      <a:lnTo>
                        <a:pt x="332" y="228"/>
                      </a:lnTo>
                      <a:lnTo>
                        <a:pt x="331" y="229"/>
                      </a:lnTo>
                      <a:lnTo>
                        <a:pt x="315" y="236"/>
                      </a:lnTo>
                      <a:lnTo>
                        <a:pt x="315" y="236"/>
                      </a:lnTo>
                      <a:lnTo>
                        <a:pt x="299" y="243"/>
                      </a:lnTo>
                      <a:lnTo>
                        <a:pt x="289" y="248"/>
                      </a:lnTo>
                      <a:lnTo>
                        <a:pt x="284" y="254"/>
                      </a:lnTo>
                      <a:lnTo>
                        <a:pt x="277" y="264"/>
                      </a:lnTo>
                      <a:lnTo>
                        <a:pt x="277" y="264"/>
                      </a:lnTo>
                      <a:lnTo>
                        <a:pt x="273" y="268"/>
                      </a:lnTo>
                      <a:lnTo>
                        <a:pt x="263" y="273"/>
                      </a:lnTo>
                      <a:lnTo>
                        <a:pt x="235" y="283"/>
                      </a:lnTo>
                      <a:lnTo>
                        <a:pt x="204" y="294"/>
                      </a:lnTo>
                      <a:lnTo>
                        <a:pt x="193" y="299"/>
                      </a:lnTo>
                      <a:lnTo>
                        <a:pt x="186" y="304"/>
                      </a:lnTo>
                      <a:lnTo>
                        <a:pt x="186" y="304"/>
                      </a:lnTo>
                      <a:lnTo>
                        <a:pt x="157" y="329"/>
                      </a:lnTo>
                      <a:lnTo>
                        <a:pt x="157" y="37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1" name="Freeform 1978">
                  <a:extLst>
                    <a:ext uri="{FF2B5EF4-FFF2-40B4-BE49-F238E27FC236}">
                      <a16:creationId xmlns:a16="http://schemas.microsoft.com/office/drawing/2014/main" id="{404973C8-60F2-9202-8C54-74205B85D863}"/>
                    </a:ext>
                  </a:extLst>
                </p:cNvPr>
                <p:cNvSpPr>
                  <a:spLocks/>
                </p:cNvSpPr>
                <p:nvPr/>
              </p:nvSpPr>
              <p:spPr bwMode="auto">
                <a:xfrm>
                  <a:off x="4242237" y="3558529"/>
                  <a:ext cx="236108" cy="244918"/>
                </a:xfrm>
                <a:custGeom>
                  <a:avLst/>
                  <a:gdLst/>
                  <a:ahLst/>
                  <a:cxnLst>
                    <a:cxn ang="0">
                      <a:pos x="296" y="74"/>
                    </a:cxn>
                    <a:cxn ang="0">
                      <a:pos x="179" y="188"/>
                    </a:cxn>
                    <a:cxn ang="0">
                      <a:pos x="155" y="198"/>
                    </a:cxn>
                    <a:cxn ang="0">
                      <a:pos x="142" y="209"/>
                    </a:cxn>
                    <a:cxn ang="0">
                      <a:pos x="139" y="233"/>
                    </a:cxn>
                    <a:cxn ang="0">
                      <a:pos x="144" y="278"/>
                    </a:cxn>
                    <a:cxn ang="0">
                      <a:pos x="10" y="278"/>
                    </a:cxn>
                    <a:cxn ang="0">
                      <a:pos x="7" y="282"/>
                    </a:cxn>
                    <a:cxn ang="0">
                      <a:pos x="1" y="297"/>
                    </a:cxn>
                    <a:cxn ang="0">
                      <a:pos x="3" y="304"/>
                    </a:cxn>
                    <a:cxn ang="0">
                      <a:pos x="0" y="303"/>
                    </a:cxn>
                    <a:cxn ang="0">
                      <a:pos x="0" y="282"/>
                    </a:cxn>
                    <a:cxn ang="0">
                      <a:pos x="3" y="262"/>
                    </a:cxn>
                    <a:cxn ang="0">
                      <a:pos x="10" y="245"/>
                    </a:cxn>
                    <a:cxn ang="0">
                      <a:pos x="17" y="240"/>
                    </a:cxn>
                    <a:cxn ang="0">
                      <a:pos x="26" y="233"/>
                    </a:cxn>
                    <a:cxn ang="0">
                      <a:pos x="29" y="219"/>
                    </a:cxn>
                    <a:cxn ang="0">
                      <a:pos x="31" y="209"/>
                    </a:cxn>
                    <a:cxn ang="0">
                      <a:pos x="40" y="186"/>
                    </a:cxn>
                    <a:cxn ang="0">
                      <a:pos x="43" y="177"/>
                    </a:cxn>
                    <a:cxn ang="0">
                      <a:pos x="43" y="177"/>
                    </a:cxn>
                    <a:cxn ang="0">
                      <a:pos x="36" y="177"/>
                    </a:cxn>
                    <a:cxn ang="0">
                      <a:pos x="41" y="170"/>
                    </a:cxn>
                    <a:cxn ang="0">
                      <a:pos x="54" y="158"/>
                    </a:cxn>
                    <a:cxn ang="0">
                      <a:pos x="71" y="139"/>
                    </a:cxn>
                    <a:cxn ang="0">
                      <a:pos x="76" y="130"/>
                    </a:cxn>
                    <a:cxn ang="0">
                      <a:pos x="80" y="111"/>
                    </a:cxn>
                    <a:cxn ang="0">
                      <a:pos x="85" y="90"/>
                    </a:cxn>
                    <a:cxn ang="0">
                      <a:pos x="90" y="74"/>
                    </a:cxn>
                    <a:cxn ang="0">
                      <a:pos x="94" y="64"/>
                    </a:cxn>
                    <a:cxn ang="0">
                      <a:pos x="102" y="55"/>
                    </a:cxn>
                    <a:cxn ang="0">
                      <a:pos x="115" y="48"/>
                    </a:cxn>
                    <a:cxn ang="0">
                      <a:pos x="130" y="24"/>
                    </a:cxn>
                    <a:cxn ang="0">
                      <a:pos x="296" y="0"/>
                    </a:cxn>
                  </a:cxnLst>
                  <a:rect l="0" t="0" r="r" b="b"/>
                  <a:pathLst>
                    <a:path w="296" h="304">
                      <a:moveTo>
                        <a:pt x="296" y="17"/>
                      </a:moveTo>
                      <a:lnTo>
                        <a:pt x="296" y="74"/>
                      </a:lnTo>
                      <a:lnTo>
                        <a:pt x="179" y="74"/>
                      </a:lnTo>
                      <a:lnTo>
                        <a:pt x="179" y="188"/>
                      </a:lnTo>
                      <a:lnTo>
                        <a:pt x="179" y="188"/>
                      </a:lnTo>
                      <a:lnTo>
                        <a:pt x="155" y="198"/>
                      </a:lnTo>
                      <a:lnTo>
                        <a:pt x="148" y="203"/>
                      </a:lnTo>
                      <a:lnTo>
                        <a:pt x="142" y="209"/>
                      </a:lnTo>
                      <a:lnTo>
                        <a:pt x="141" y="219"/>
                      </a:lnTo>
                      <a:lnTo>
                        <a:pt x="139" y="233"/>
                      </a:lnTo>
                      <a:lnTo>
                        <a:pt x="144" y="278"/>
                      </a:lnTo>
                      <a:lnTo>
                        <a:pt x="144" y="278"/>
                      </a:lnTo>
                      <a:lnTo>
                        <a:pt x="10" y="278"/>
                      </a:lnTo>
                      <a:lnTo>
                        <a:pt x="10" y="278"/>
                      </a:lnTo>
                      <a:lnTo>
                        <a:pt x="8" y="280"/>
                      </a:lnTo>
                      <a:lnTo>
                        <a:pt x="7" y="282"/>
                      </a:lnTo>
                      <a:lnTo>
                        <a:pt x="3" y="289"/>
                      </a:lnTo>
                      <a:lnTo>
                        <a:pt x="1" y="297"/>
                      </a:lnTo>
                      <a:lnTo>
                        <a:pt x="3" y="304"/>
                      </a:lnTo>
                      <a:lnTo>
                        <a:pt x="3" y="304"/>
                      </a:lnTo>
                      <a:lnTo>
                        <a:pt x="1" y="304"/>
                      </a:lnTo>
                      <a:lnTo>
                        <a:pt x="0" y="303"/>
                      </a:lnTo>
                      <a:lnTo>
                        <a:pt x="0" y="296"/>
                      </a:lnTo>
                      <a:lnTo>
                        <a:pt x="0" y="282"/>
                      </a:lnTo>
                      <a:lnTo>
                        <a:pt x="3" y="262"/>
                      </a:lnTo>
                      <a:lnTo>
                        <a:pt x="3" y="262"/>
                      </a:lnTo>
                      <a:lnTo>
                        <a:pt x="7" y="252"/>
                      </a:lnTo>
                      <a:lnTo>
                        <a:pt x="10" y="245"/>
                      </a:lnTo>
                      <a:lnTo>
                        <a:pt x="14" y="242"/>
                      </a:lnTo>
                      <a:lnTo>
                        <a:pt x="17" y="240"/>
                      </a:lnTo>
                      <a:lnTo>
                        <a:pt x="22" y="236"/>
                      </a:lnTo>
                      <a:lnTo>
                        <a:pt x="26" y="233"/>
                      </a:lnTo>
                      <a:lnTo>
                        <a:pt x="27" y="228"/>
                      </a:lnTo>
                      <a:lnTo>
                        <a:pt x="29" y="219"/>
                      </a:lnTo>
                      <a:lnTo>
                        <a:pt x="29" y="219"/>
                      </a:lnTo>
                      <a:lnTo>
                        <a:pt x="31" y="209"/>
                      </a:lnTo>
                      <a:lnTo>
                        <a:pt x="33" y="200"/>
                      </a:lnTo>
                      <a:lnTo>
                        <a:pt x="40" y="186"/>
                      </a:lnTo>
                      <a:lnTo>
                        <a:pt x="43" y="179"/>
                      </a:lnTo>
                      <a:lnTo>
                        <a:pt x="43" y="177"/>
                      </a:lnTo>
                      <a:lnTo>
                        <a:pt x="43" y="177"/>
                      </a:lnTo>
                      <a:lnTo>
                        <a:pt x="43" y="177"/>
                      </a:lnTo>
                      <a:lnTo>
                        <a:pt x="38" y="177"/>
                      </a:lnTo>
                      <a:lnTo>
                        <a:pt x="36" y="177"/>
                      </a:lnTo>
                      <a:lnTo>
                        <a:pt x="36" y="175"/>
                      </a:lnTo>
                      <a:lnTo>
                        <a:pt x="41" y="170"/>
                      </a:lnTo>
                      <a:lnTo>
                        <a:pt x="54" y="158"/>
                      </a:lnTo>
                      <a:lnTo>
                        <a:pt x="54" y="158"/>
                      </a:lnTo>
                      <a:lnTo>
                        <a:pt x="64" y="146"/>
                      </a:lnTo>
                      <a:lnTo>
                        <a:pt x="71" y="139"/>
                      </a:lnTo>
                      <a:lnTo>
                        <a:pt x="74" y="135"/>
                      </a:lnTo>
                      <a:lnTo>
                        <a:pt x="76" y="130"/>
                      </a:lnTo>
                      <a:lnTo>
                        <a:pt x="80" y="111"/>
                      </a:lnTo>
                      <a:lnTo>
                        <a:pt x="80" y="111"/>
                      </a:lnTo>
                      <a:lnTo>
                        <a:pt x="83" y="95"/>
                      </a:lnTo>
                      <a:lnTo>
                        <a:pt x="85" y="90"/>
                      </a:lnTo>
                      <a:lnTo>
                        <a:pt x="87" y="87"/>
                      </a:lnTo>
                      <a:lnTo>
                        <a:pt x="90" y="74"/>
                      </a:lnTo>
                      <a:lnTo>
                        <a:pt x="90" y="74"/>
                      </a:lnTo>
                      <a:lnTo>
                        <a:pt x="94" y="64"/>
                      </a:lnTo>
                      <a:lnTo>
                        <a:pt x="99" y="57"/>
                      </a:lnTo>
                      <a:lnTo>
                        <a:pt x="102" y="55"/>
                      </a:lnTo>
                      <a:lnTo>
                        <a:pt x="108" y="52"/>
                      </a:lnTo>
                      <a:lnTo>
                        <a:pt x="115" y="48"/>
                      </a:lnTo>
                      <a:lnTo>
                        <a:pt x="121" y="40"/>
                      </a:lnTo>
                      <a:lnTo>
                        <a:pt x="130" y="24"/>
                      </a:lnTo>
                      <a:lnTo>
                        <a:pt x="139" y="0"/>
                      </a:lnTo>
                      <a:lnTo>
                        <a:pt x="296" y="0"/>
                      </a:lnTo>
                      <a:lnTo>
                        <a:pt x="296"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2" name="Freeform 1979">
                  <a:extLst>
                    <a:ext uri="{FF2B5EF4-FFF2-40B4-BE49-F238E27FC236}">
                      <a16:creationId xmlns:a16="http://schemas.microsoft.com/office/drawing/2014/main" id="{4EBC8DCD-5314-73A0-42A6-B795CC60F0A1}"/>
                    </a:ext>
                  </a:extLst>
                </p:cNvPr>
                <p:cNvSpPr>
                  <a:spLocks/>
                </p:cNvSpPr>
                <p:nvPr/>
              </p:nvSpPr>
              <p:spPr bwMode="auto">
                <a:xfrm>
                  <a:off x="4229903" y="3947932"/>
                  <a:ext cx="174438" cy="149771"/>
                </a:xfrm>
                <a:custGeom>
                  <a:avLst/>
                  <a:gdLst/>
                  <a:ahLst/>
                  <a:cxnLst>
                    <a:cxn ang="0">
                      <a:pos x="29" y="124"/>
                    </a:cxn>
                    <a:cxn ang="0">
                      <a:pos x="15" y="87"/>
                    </a:cxn>
                    <a:cxn ang="0">
                      <a:pos x="8" y="82"/>
                    </a:cxn>
                    <a:cxn ang="0">
                      <a:pos x="1" y="79"/>
                    </a:cxn>
                    <a:cxn ang="0">
                      <a:pos x="14" y="70"/>
                    </a:cxn>
                    <a:cxn ang="0">
                      <a:pos x="29" y="47"/>
                    </a:cxn>
                    <a:cxn ang="0">
                      <a:pos x="34" y="16"/>
                    </a:cxn>
                    <a:cxn ang="0">
                      <a:pos x="54" y="4"/>
                    </a:cxn>
                    <a:cxn ang="0">
                      <a:pos x="102" y="0"/>
                    </a:cxn>
                    <a:cxn ang="0">
                      <a:pos x="115" y="2"/>
                    </a:cxn>
                    <a:cxn ang="0">
                      <a:pos x="139" y="25"/>
                    </a:cxn>
                    <a:cxn ang="0">
                      <a:pos x="149" y="33"/>
                    </a:cxn>
                    <a:cxn ang="0">
                      <a:pos x="181" y="77"/>
                    </a:cxn>
                    <a:cxn ang="0">
                      <a:pos x="186" y="93"/>
                    </a:cxn>
                    <a:cxn ang="0">
                      <a:pos x="191" y="101"/>
                    </a:cxn>
                    <a:cxn ang="0">
                      <a:pos x="195" y="112"/>
                    </a:cxn>
                    <a:cxn ang="0">
                      <a:pos x="191" y="126"/>
                    </a:cxn>
                    <a:cxn ang="0">
                      <a:pos x="196" y="138"/>
                    </a:cxn>
                    <a:cxn ang="0">
                      <a:pos x="205" y="140"/>
                    </a:cxn>
                    <a:cxn ang="0">
                      <a:pos x="214" y="152"/>
                    </a:cxn>
                    <a:cxn ang="0">
                      <a:pos x="214" y="173"/>
                    </a:cxn>
                    <a:cxn ang="0">
                      <a:pos x="207" y="180"/>
                    </a:cxn>
                    <a:cxn ang="0">
                      <a:pos x="184" y="181"/>
                    </a:cxn>
                    <a:cxn ang="0">
                      <a:pos x="176" y="181"/>
                    </a:cxn>
                    <a:cxn ang="0">
                      <a:pos x="142" y="171"/>
                    </a:cxn>
                    <a:cxn ang="0">
                      <a:pos x="106" y="169"/>
                    </a:cxn>
                    <a:cxn ang="0">
                      <a:pos x="80" y="169"/>
                    </a:cxn>
                    <a:cxn ang="0">
                      <a:pos x="73" y="174"/>
                    </a:cxn>
                    <a:cxn ang="0">
                      <a:pos x="73" y="178"/>
                    </a:cxn>
                    <a:cxn ang="0">
                      <a:pos x="52" y="181"/>
                    </a:cxn>
                    <a:cxn ang="0">
                      <a:pos x="33" y="187"/>
                    </a:cxn>
                    <a:cxn ang="0">
                      <a:pos x="26" y="181"/>
                    </a:cxn>
                    <a:cxn ang="0">
                      <a:pos x="28" y="176"/>
                    </a:cxn>
                    <a:cxn ang="0">
                      <a:pos x="38" y="174"/>
                    </a:cxn>
                    <a:cxn ang="0">
                      <a:pos x="66" y="174"/>
                    </a:cxn>
                    <a:cxn ang="0">
                      <a:pos x="55" y="171"/>
                    </a:cxn>
                    <a:cxn ang="0">
                      <a:pos x="47" y="171"/>
                    </a:cxn>
                    <a:cxn ang="0">
                      <a:pos x="34" y="169"/>
                    </a:cxn>
                    <a:cxn ang="0">
                      <a:pos x="28" y="171"/>
                    </a:cxn>
                    <a:cxn ang="0">
                      <a:pos x="26" y="161"/>
                    </a:cxn>
                    <a:cxn ang="0">
                      <a:pos x="29" y="150"/>
                    </a:cxn>
                    <a:cxn ang="0">
                      <a:pos x="57" y="152"/>
                    </a:cxn>
                    <a:cxn ang="0">
                      <a:pos x="61" y="147"/>
                    </a:cxn>
                    <a:cxn ang="0">
                      <a:pos x="68" y="141"/>
                    </a:cxn>
                    <a:cxn ang="0">
                      <a:pos x="80" y="136"/>
                    </a:cxn>
                    <a:cxn ang="0">
                      <a:pos x="85" y="131"/>
                    </a:cxn>
                    <a:cxn ang="0">
                      <a:pos x="102" y="140"/>
                    </a:cxn>
                    <a:cxn ang="0">
                      <a:pos x="129" y="141"/>
                    </a:cxn>
                    <a:cxn ang="0">
                      <a:pos x="130" y="134"/>
                    </a:cxn>
                    <a:cxn ang="0">
                      <a:pos x="123" y="133"/>
                    </a:cxn>
                    <a:cxn ang="0">
                      <a:pos x="109" y="136"/>
                    </a:cxn>
                    <a:cxn ang="0">
                      <a:pos x="106" y="129"/>
                    </a:cxn>
                    <a:cxn ang="0">
                      <a:pos x="97" y="129"/>
                    </a:cxn>
                    <a:cxn ang="0">
                      <a:pos x="94" y="126"/>
                    </a:cxn>
                    <a:cxn ang="0">
                      <a:pos x="83" y="120"/>
                    </a:cxn>
                    <a:cxn ang="0">
                      <a:pos x="73" y="127"/>
                    </a:cxn>
                    <a:cxn ang="0">
                      <a:pos x="62" y="131"/>
                    </a:cxn>
                    <a:cxn ang="0">
                      <a:pos x="33" y="131"/>
                    </a:cxn>
                  </a:cxnLst>
                  <a:rect l="0" t="0" r="r" b="b"/>
                  <a:pathLst>
                    <a:path w="216" h="187">
                      <a:moveTo>
                        <a:pt x="33" y="131"/>
                      </a:moveTo>
                      <a:lnTo>
                        <a:pt x="33" y="131"/>
                      </a:lnTo>
                      <a:lnTo>
                        <a:pt x="29" y="124"/>
                      </a:lnTo>
                      <a:lnTo>
                        <a:pt x="26" y="117"/>
                      </a:lnTo>
                      <a:lnTo>
                        <a:pt x="21" y="100"/>
                      </a:lnTo>
                      <a:lnTo>
                        <a:pt x="15" y="87"/>
                      </a:lnTo>
                      <a:lnTo>
                        <a:pt x="12" y="84"/>
                      </a:lnTo>
                      <a:lnTo>
                        <a:pt x="8" y="82"/>
                      </a:lnTo>
                      <a:lnTo>
                        <a:pt x="8" y="82"/>
                      </a:lnTo>
                      <a:lnTo>
                        <a:pt x="3" y="84"/>
                      </a:lnTo>
                      <a:lnTo>
                        <a:pt x="0" y="82"/>
                      </a:lnTo>
                      <a:lnTo>
                        <a:pt x="1" y="79"/>
                      </a:lnTo>
                      <a:lnTo>
                        <a:pt x="7" y="75"/>
                      </a:lnTo>
                      <a:lnTo>
                        <a:pt x="7" y="75"/>
                      </a:lnTo>
                      <a:lnTo>
                        <a:pt x="14" y="70"/>
                      </a:lnTo>
                      <a:lnTo>
                        <a:pt x="21" y="65"/>
                      </a:lnTo>
                      <a:lnTo>
                        <a:pt x="24" y="56"/>
                      </a:lnTo>
                      <a:lnTo>
                        <a:pt x="29" y="47"/>
                      </a:lnTo>
                      <a:lnTo>
                        <a:pt x="34" y="30"/>
                      </a:lnTo>
                      <a:lnTo>
                        <a:pt x="34" y="16"/>
                      </a:lnTo>
                      <a:lnTo>
                        <a:pt x="34" y="16"/>
                      </a:lnTo>
                      <a:lnTo>
                        <a:pt x="38" y="11"/>
                      </a:lnTo>
                      <a:lnTo>
                        <a:pt x="45" y="7"/>
                      </a:lnTo>
                      <a:lnTo>
                        <a:pt x="54" y="4"/>
                      </a:lnTo>
                      <a:lnTo>
                        <a:pt x="64" y="2"/>
                      </a:lnTo>
                      <a:lnTo>
                        <a:pt x="85" y="0"/>
                      </a:lnTo>
                      <a:lnTo>
                        <a:pt x="102" y="0"/>
                      </a:lnTo>
                      <a:lnTo>
                        <a:pt x="102" y="0"/>
                      </a:lnTo>
                      <a:lnTo>
                        <a:pt x="108" y="0"/>
                      </a:lnTo>
                      <a:lnTo>
                        <a:pt x="115" y="2"/>
                      </a:lnTo>
                      <a:lnTo>
                        <a:pt x="123" y="9"/>
                      </a:lnTo>
                      <a:lnTo>
                        <a:pt x="132" y="18"/>
                      </a:lnTo>
                      <a:lnTo>
                        <a:pt x="139" y="25"/>
                      </a:lnTo>
                      <a:lnTo>
                        <a:pt x="139" y="25"/>
                      </a:lnTo>
                      <a:lnTo>
                        <a:pt x="144" y="28"/>
                      </a:lnTo>
                      <a:lnTo>
                        <a:pt x="149" y="33"/>
                      </a:lnTo>
                      <a:lnTo>
                        <a:pt x="162" y="53"/>
                      </a:lnTo>
                      <a:lnTo>
                        <a:pt x="174" y="70"/>
                      </a:lnTo>
                      <a:lnTo>
                        <a:pt x="181" y="77"/>
                      </a:lnTo>
                      <a:lnTo>
                        <a:pt x="186" y="82"/>
                      </a:lnTo>
                      <a:lnTo>
                        <a:pt x="186" y="82"/>
                      </a:lnTo>
                      <a:lnTo>
                        <a:pt x="186" y="93"/>
                      </a:lnTo>
                      <a:lnTo>
                        <a:pt x="186" y="94"/>
                      </a:lnTo>
                      <a:lnTo>
                        <a:pt x="188" y="96"/>
                      </a:lnTo>
                      <a:lnTo>
                        <a:pt x="191" y="101"/>
                      </a:lnTo>
                      <a:lnTo>
                        <a:pt x="193" y="105"/>
                      </a:lnTo>
                      <a:lnTo>
                        <a:pt x="195" y="112"/>
                      </a:lnTo>
                      <a:lnTo>
                        <a:pt x="195" y="112"/>
                      </a:lnTo>
                      <a:lnTo>
                        <a:pt x="195" y="120"/>
                      </a:lnTo>
                      <a:lnTo>
                        <a:pt x="191" y="124"/>
                      </a:lnTo>
                      <a:lnTo>
                        <a:pt x="191" y="126"/>
                      </a:lnTo>
                      <a:lnTo>
                        <a:pt x="195" y="134"/>
                      </a:lnTo>
                      <a:lnTo>
                        <a:pt x="195" y="134"/>
                      </a:lnTo>
                      <a:lnTo>
                        <a:pt x="196" y="138"/>
                      </a:lnTo>
                      <a:lnTo>
                        <a:pt x="200" y="140"/>
                      </a:lnTo>
                      <a:lnTo>
                        <a:pt x="203" y="140"/>
                      </a:lnTo>
                      <a:lnTo>
                        <a:pt x="205" y="140"/>
                      </a:lnTo>
                      <a:lnTo>
                        <a:pt x="207" y="141"/>
                      </a:lnTo>
                      <a:lnTo>
                        <a:pt x="214" y="152"/>
                      </a:lnTo>
                      <a:lnTo>
                        <a:pt x="214" y="152"/>
                      </a:lnTo>
                      <a:lnTo>
                        <a:pt x="216" y="159"/>
                      </a:lnTo>
                      <a:lnTo>
                        <a:pt x="216" y="166"/>
                      </a:lnTo>
                      <a:lnTo>
                        <a:pt x="214" y="173"/>
                      </a:lnTo>
                      <a:lnTo>
                        <a:pt x="214" y="181"/>
                      </a:lnTo>
                      <a:lnTo>
                        <a:pt x="214" y="181"/>
                      </a:lnTo>
                      <a:lnTo>
                        <a:pt x="207" y="180"/>
                      </a:lnTo>
                      <a:lnTo>
                        <a:pt x="200" y="180"/>
                      </a:lnTo>
                      <a:lnTo>
                        <a:pt x="191" y="178"/>
                      </a:lnTo>
                      <a:lnTo>
                        <a:pt x="184" y="181"/>
                      </a:lnTo>
                      <a:lnTo>
                        <a:pt x="184" y="181"/>
                      </a:lnTo>
                      <a:lnTo>
                        <a:pt x="179" y="183"/>
                      </a:lnTo>
                      <a:lnTo>
                        <a:pt x="176" y="181"/>
                      </a:lnTo>
                      <a:lnTo>
                        <a:pt x="163" y="178"/>
                      </a:lnTo>
                      <a:lnTo>
                        <a:pt x="149" y="173"/>
                      </a:lnTo>
                      <a:lnTo>
                        <a:pt x="142" y="171"/>
                      </a:lnTo>
                      <a:lnTo>
                        <a:pt x="134" y="169"/>
                      </a:lnTo>
                      <a:lnTo>
                        <a:pt x="134" y="169"/>
                      </a:lnTo>
                      <a:lnTo>
                        <a:pt x="106" y="169"/>
                      </a:lnTo>
                      <a:lnTo>
                        <a:pt x="92" y="169"/>
                      </a:lnTo>
                      <a:lnTo>
                        <a:pt x="80" y="169"/>
                      </a:lnTo>
                      <a:lnTo>
                        <a:pt x="80" y="169"/>
                      </a:lnTo>
                      <a:lnTo>
                        <a:pt x="71" y="173"/>
                      </a:lnTo>
                      <a:lnTo>
                        <a:pt x="73" y="173"/>
                      </a:lnTo>
                      <a:lnTo>
                        <a:pt x="73" y="174"/>
                      </a:lnTo>
                      <a:lnTo>
                        <a:pt x="76" y="174"/>
                      </a:lnTo>
                      <a:lnTo>
                        <a:pt x="76" y="176"/>
                      </a:lnTo>
                      <a:lnTo>
                        <a:pt x="73" y="178"/>
                      </a:lnTo>
                      <a:lnTo>
                        <a:pt x="73" y="178"/>
                      </a:lnTo>
                      <a:lnTo>
                        <a:pt x="62" y="180"/>
                      </a:lnTo>
                      <a:lnTo>
                        <a:pt x="52" y="181"/>
                      </a:lnTo>
                      <a:lnTo>
                        <a:pt x="41" y="181"/>
                      </a:lnTo>
                      <a:lnTo>
                        <a:pt x="36" y="185"/>
                      </a:lnTo>
                      <a:lnTo>
                        <a:pt x="33" y="187"/>
                      </a:lnTo>
                      <a:lnTo>
                        <a:pt x="33" y="187"/>
                      </a:lnTo>
                      <a:lnTo>
                        <a:pt x="29" y="183"/>
                      </a:lnTo>
                      <a:lnTo>
                        <a:pt x="26" y="181"/>
                      </a:lnTo>
                      <a:lnTo>
                        <a:pt x="26" y="180"/>
                      </a:lnTo>
                      <a:lnTo>
                        <a:pt x="28" y="176"/>
                      </a:lnTo>
                      <a:lnTo>
                        <a:pt x="28" y="176"/>
                      </a:lnTo>
                      <a:lnTo>
                        <a:pt x="31" y="173"/>
                      </a:lnTo>
                      <a:lnTo>
                        <a:pt x="33" y="173"/>
                      </a:lnTo>
                      <a:lnTo>
                        <a:pt x="38" y="174"/>
                      </a:lnTo>
                      <a:lnTo>
                        <a:pt x="48" y="176"/>
                      </a:lnTo>
                      <a:lnTo>
                        <a:pt x="55" y="176"/>
                      </a:lnTo>
                      <a:lnTo>
                        <a:pt x="66" y="174"/>
                      </a:lnTo>
                      <a:lnTo>
                        <a:pt x="66" y="174"/>
                      </a:lnTo>
                      <a:lnTo>
                        <a:pt x="61" y="173"/>
                      </a:lnTo>
                      <a:lnTo>
                        <a:pt x="55" y="171"/>
                      </a:lnTo>
                      <a:lnTo>
                        <a:pt x="52" y="171"/>
                      </a:lnTo>
                      <a:lnTo>
                        <a:pt x="47" y="171"/>
                      </a:lnTo>
                      <a:lnTo>
                        <a:pt x="47" y="171"/>
                      </a:lnTo>
                      <a:lnTo>
                        <a:pt x="41" y="171"/>
                      </a:lnTo>
                      <a:lnTo>
                        <a:pt x="38" y="169"/>
                      </a:lnTo>
                      <a:lnTo>
                        <a:pt x="34" y="169"/>
                      </a:lnTo>
                      <a:lnTo>
                        <a:pt x="31" y="171"/>
                      </a:lnTo>
                      <a:lnTo>
                        <a:pt x="31" y="171"/>
                      </a:lnTo>
                      <a:lnTo>
                        <a:pt x="28" y="171"/>
                      </a:lnTo>
                      <a:lnTo>
                        <a:pt x="28" y="171"/>
                      </a:lnTo>
                      <a:lnTo>
                        <a:pt x="26" y="167"/>
                      </a:lnTo>
                      <a:lnTo>
                        <a:pt x="26" y="161"/>
                      </a:lnTo>
                      <a:lnTo>
                        <a:pt x="24" y="152"/>
                      </a:lnTo>
                      <a:lnTo>
                        <a:pt x="24" y="152"/>
                      </a:lnTo>
                      <a:lnTo>
                        <a:pt x="29" y="150"/>
                      </a:lnTo>
                      <a:lnTo>
                        <a:pt x="36" y="150"/>
                      </a:lnTo>
                      <a:lnTo>
                        <a:pt x="48" y="150"/>
                      </a:lnTo>
                      <a:lnTo>
                        <a:pt x="57" y="152"/>
                      </a:lnTo>
                      <a:lnTo>
                        <a:pt x="61" y="150"/>
                      </a:lnTo>
                      <a:lnTo>
                        <a:pt x="61" y="147"/>
                      </a:lnTo>
                      <a:lnTo>
                        <a:pt x="61" y="147"/>
                      </a:lnTo>
                      <a:lnTo>
                        <a:pt x="61" y="143"/>
                      </a:lnTo>
                      <a:lnTo>
                        <a:pt x="62" y="141"/>
                      </a:lnTo>
                      <a:lnTo>
                        <a:pt x="68" y="141"/>
                      </a:lnTo>
                      <a:lnTo>
                        <a:pt x="75" y="140"/>
                      </a:lnTo>
                      <a:lnTo>
                        <a:pt x="78" y="140"/>
                      </a:lnTo>
                      <a:lnTo>
                        <a:pt x="80" y="136"/>
                      </a:lnTo>
                      <a:lnTo>
                        <a:pt x="80" y="136"/>
                      </a:lnTo>
                      <a:lnTo>
                        <a:pt x="83" y="133"/>
                      </a:lnTo>
                      <a:lnTo>
                        <a:pt x="85" y="131"/>
                      </a:lnTo>
                      <a:lnTo>
                        <a:pt x="90" y="134"/>
                      </a:lnTo>
                      <a:lnTo>
                        <a:pt x="102" y="140"/>
                      </a:lnTo>
                      <a:lnTo>
                        <a:pt x="102" y="140"/>
                      </a:lnTo>
                      <a:lnTo>
                        <a:pt x="116" y="143"/>
                      </a:lnTo>
                      <a:lnTo>
                        <a:pt x="125" y="143"/>
                      </a:lnTo>
                      <a:lnTo>
                        <a:pt x="129" y="141"/>
                      </a:lnTo>
                      <a:lnTo>
                        <a:pt x="130" y="140"/>
                      </a:lnTo>
                      <a:lnTo>
                        <a:pt x="130" y="138"/>
                      </a:lnTo>
                      <a:lnTo>
                        <a:pt x="130" y="134"/>
                      </a:lnTo>
                      <a:lnTo>
                        <a:pt x="130" y="134"/>
                      </a:lnTo>
                      <a:lnTo>
                        <a:pt x="127" y="133"/>
                      </a:lnTo>
                      <a:lnTo>
                        <a:pt x="123" y="133"/>
                      </a:lnTo>
                      <a:lnTo>
                        <a:pt x="118" y="134"/>
                      </a:lnTo>
                      <a:lnTo>
                        <a:pt x="113" y="136"/>
                      </a:lnTo>
                      <a:lnTo>
                        <a:pt x="109" y="136"/>
                      </a:lnTo>
                      <a:lnTo>
                        <a:pt x="108" y="133"/>
                      </a:lnTo>
                      <a:lnTo>
                        <a:pt x="108" y="133"/>
                      </a:lnTo>
                      <a:lnTo>
                        <a:pt x="106" y="129"/>
                      </a:lnTo>
                      <a:lnTo>
                        <a:pt x="102" y="127"/>
                      </a:lnTo>
                      <a:lnTo>
                        <a:pt x="99" y="127"/>
                      </a:lnTo>
                      <a:lnTo>
                        <a:pt x="97" y="129"/>
                      </a:lnTo>
                      <a:lnTo>
                        <a:pt x="95" y="127"/>
                      </a:lnTo>
                      <a:lnTo>
                        <a:pt x="94" y="126"/>
                      </a:lnTo>
                      <a:lnTo>
                        <a:pt x="94" y="126"/>
                      </a:lnTo>
                      <a:lnTo>
                        <a:pt x="92" y="122"/>
                      </a:lnTo>
                      <a:lnTo>
                        <a:pt x="88" y="120"/>
                      </a:lnTo>
                      <a:lnTo>
                        <a:pt x="83" y="120"/>
                      </a:lnTo>
                      <a:lnTo>
                        <a:pt x="76" y="124"/>
                      </a:lnTo>
                      <a:lnTo>
                        <a:pt x="73" y="127"/>
                      </a:lnTo>
                      <a:lnTo>
                        <a:pt x="73" y="127"/>
                      </a:lnTo>
                      <a:lnTo>
                        <a:pt x="71" y="129"/>
                      </a:lnTo>
                      <a:lnTo>
                        <a:pt x="69" y="131"/>
                      </a:lnTo>
                      <a:lnTo>
                        <a:pt x="62" y="131"/>
                      </a:lnTo>
                      <a:lnTo>
                        <a:pt x="52" y="129"/>
                      </a:lnTo>
                      <a:lnTo>
                        <a:pt x="33" y="131"/>
                      </a:lnTo>
                      <a:lnTo>
                        <a:pt x="33" y="13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3" name="Freeform 1980">
                  <a:extLst>
                    <a:ext uri="{FF2B5EF4-FFF2-40B4-BE49-F238E27FC236}">
                      <a16:creationId xmlns:a16="http://schemas.microsoft.com/office/drawing/2014/main" id="{2B99AE94-FAEF-5B19-99EE-593ADD2C79A8}"/>
                    </a:ext>
                  </a:extLst>
                </p:cNvPr>
                <p:cNvSpPr>
                  <a:spLocks/>
                </p:cNvSpPr>
                <p:nvPr/>
              </p:nvSpPr>
              <p:spPr bwMode="auto">
                <a:xfrm>
                  <a:off x="5311775" y="2427325"/>
                  <a:ext cx="162104" cy="109244"/>
                </a:xfrm>
                <a:custGeom>
                  <a:avLst/>
                  <a:gdLst/>
                  <a:ahLst/>
                  <a:cxnLst>
                    <a:cxn ang="0">
                      <a:pos x="199" y="44"/>
                    </a:cxn>
                    <a:cxn ang="0">
                      <a:pos x="195" y="58"/>
                    </a:cxn>
                    <a:cxn ang="0">
                      <a:pos x="197" y="61"/>
                    </a:cxn>
                    <a:cxn ang="0">
                      <a:pos x="202" y="65"/>
                    </a:cxn>
                    <a:cxn ang="0">
                      <a:pos x="201" y="68"/>
                    </a:cxn>
                    <a:cxn ang="0">
                      <a:pos x="195" y="73"/>
                    </a:cxn>
                    <a:cxn ang="0">
                      <a:pos x="185" y="77"/>
                    </a:cxn>
                    <a:cxn ang="0">
                      <a:pos x="174" y="86"/>
                    </a:cxn>
                    <a:cxn ang="0">
                      <a:pos x="168" y="94"/>
                    </a:cxn>
                    <a:cxn ang="0">
                      <a:pos x="164" y="107"/>
                    </a:cxn>
                    <a:cxn ang="0">
                      <a:pos x="168" y="113"/>
                    </a:cxn>
                    <a:cxn ang="0">
                      <a:pos x="171" y="120"/>
                    </a:cxn>
                    <a:cxn ang="0">
                      <a:pos x="168" y="124"/>
                    </a:cxn>
                    <a:cxn ang="0">
                      <a:pos x="162" y="124"/>
                    </a:cxn>
                    <a:cxn ang="0">
                      <a:pos x="157" y="117"/>
                    </a:cxn>
                    <a:cxn ang="0">
                      <a:pos x="148" y="119"/>
                    </a:cxn>
                    <a:cxn ang="0">
                      <a:pos x="141" y="124"/>
                    </a:cxn>
                    <a:cxn ang="0">
                      <a:pos x="126" y="134"/>
                    </a:cxn>
                    <a:cxn ang="0">
                      <a:pos x="115" y="136"/>
                    </a:cxn>
                    <a:cxn ang="0">
                      <a:pos x="98" y="134"/>
                    </a:cxn>
                    <a:cxn ang="0">
                      <a:pos x="89" y="134"/>
                    </a:cxn>
                    <a:cxn ang="0">
                      <a:pos x="89" y="126"/>
                    </a:cxn>
                    <a:cxn ang="0">
                      <a:pos x="82" y="119"/>
                    </a:cxn>
                    <a:cxn ang="0">
                      <a:pos x="67" y="112"/>
                    </a:cxn>
                    <a:cxn ang="0">
                      <a:pos x="63" y="112"/>
                    </a:cxn>
                    <a:cxn ang="0">
                      <a:pos x="63" y="100"/>
                    </a:cxn>
                    <a:cxn ang="0">
                      <a:pos x="65" y="86"/>
                    </a:cxn>
                    <a:cxn ang="0">
                      <a:pos x="61" y="80"/>
                    </a:cxn>
                    <a:cxn ang="0">
                      <a:pos x="56" y="77"/>
                    </a:cxn>
                    <a:cxn ang="0">
                      <a:pos x="47" y="75"/>
                    </a:cxn>
                    <a:cxn ang="0">
                      <a:pos x="37" y="75"/>
                    </a:cxn>
                    <a:cxn ang="0">
                      <a:pos x="11" y="65"/>
                    </a:cxn>
                    <a:cxn ang="0">
                      <a:pos x="11" y="54"/>
                    </a:cxn>
                    <a:cxn ang="0">
                      <a:pos x="6" y="42"/>
                    </a:cxn>
                    <a:cxn ang="0">
                      <a:pos x="2" y="37"/>
                    </a:cxn>
                    <a:cxn ang="0">
                      <a:pos x="0" y="21"/>
                    </a:cxn>
                    <a:cxn ang="0">
                      <a:pos x="21" y="9"/>
                    </a:cxn>
                    <a:cxn ang="0">
                      <a:pos x="51" y="2"/>
                    </a:cxn>
                    <a:cxn ang="0">
                      <a:pos x="68" y="4"/>
                    </a:cxn>
                    <a:cxn ang="0">
                      <a:pos x="103" y="6"/>
                    </a:cxn>
                    <a:cxn ang="0">
                      <a:pos x="115" y="9"/>
                    </a:cxn>
                    <a:cxn ang="0">
                      <a:pos x="126" y="9"/>
                    </a:cxn>
                    <a:cxn ang="0">
                      <a:pos x="131" y="6"/>
                    </a:cxn>
                    <a:cxn ang="0">
                      <a:pos x="136" y="0"/>
                    </a:cxn>
                    <a:cxn ang="0">
                      <a:pos x="140" y="0"/>
                    </a:cxn>
                    <a:cxn ang="0">
                      <a:pos x="143" y="4"/>
                    </a:cxn>
                    <a:cxn ang="0">
                      <a:pos x="145" y="11"/>
                    </a:cxn>
                    <a:cxn ang="0">
                      <a:pos x="150" y="14"/>
                    </a:cxn>
                    <a:cxn ang="0">
                      <a:pos x="155" y="16"/>
                    </a:cxn>
                    <a:cxn ang="0">
                      <a:pos x="168" y="18"/>
                    </a:cxn>
                    <a:cxn ang="0">
                      <a:pos x="187" y="35"/>
                    </a:cxn>
                    <a:cxn ang="0">
                      <a:pos x="199" y="44"/>
                    </a:cxn>
                  </a:cxnLst>
                  <a:rect l="0" t="0" r="r" b="b"/>
                  <a:pathLst>
                    <a:path w="202" h="136">
                      <a:moveTo>
                        <a:pt x="199" y="44"/>
                      </a:moveTo>
                      <a:lnTo>
                        <a:pt x="199" y="44"/>
                      </a:lnTo>
                      <a:lnTo>
                        <a:pt x="195" y="53"/>
                      </a:lnTo>
                      <a:lnTo>
                        <a:pt x="195" y="58"/>
                      </a:lnTo>
                      <a:lnTo>
                        <a:pt x="195" y="60"/>
                      </a:lnTo>
                      <a:lnTo>
                        <a:pt x="197" y="61"/>
                      </a:lnTo>
                      <a:lnTo>
                        <a:pt x="202" y="61"/>
                      </a:lnTo>
                      <a:lnTo>
                        <a:pt x="202" y="65"/>
                      </a:lnTo>
                      <a:lnTo>
                        <a:pt x="201" y="68"/>
                      </a:lnTo>
                      <a:lnTo>
                        <a:pt x="201" y="68"/>
                      </a:lnTo>
                      <a:lnTo>
                        <a:pt x="199" y="72"/>
                      </a:lnTo>
                      <a:lnTo>
                        <a:pt x="195" y="73"/>
                      </a:lnTo>
                      <a:lnTo>
                        <a:pt x="188" y="77"/>
                      </a:lnTo>
                      <a:lnTo>
                        <a:pt x="185" y="77"/>
                      </a:lnTo>
                      <a:lnTo>
                        <a:pt x="180" y="80"/>
                      </a:lnTo>
                      <a:lnTo>
                        <a:pt x="174" y="86"/>
                      </a:lnTo>
                      <a:lnTo>
                        <a:pt x="168" y="94"/>
                      </a:lnTo>
                      <a:lnTo>
                        <a:pt x="168" y="94"/>
                      </a:lnTo>
                      <a:lnTo>
                        <a:pt x="164" y="101"/>
                      </a:lnTo>
                      <a:lnTo>
                        <a:pt x="164" y="107"/>
                      </a:lnTo>
                      <a:lnTo>
                        <a:pt x="166" y="110"/>
                      </a:lnTo>
                      <a:lnTo>
                        <a:pt x="168" y="113"/>
                      </a:lnTo>
                      <a:lnTo>
                        <a:pt x="171" y="119"/>
                      </a:lnTo>
                      <a:lnTo>
                        <a:pt x="171" y="120"/>
                      </a:lnTo>
                      <a:lnTo>
                        <a:pt x="168" y="124"/>
                      </a:lnTo>
                      <a:lnTo>
                        <a:pt x="168" y="124"/>
                      </a:lnTo>
                      <a:lnTo>
                        <a:pt x="164" y="126"/>
                      </a:lnTo>
                      <a:lnTo>
                        <a:pt x="162" y="124"/>
                      </a:lnTo>
                      <a:lnTo>
                        <a:pt x="159" y="119"/>
                      </a:lnTo>
                      <a:lnTo>
                        <a:pt x="157" y="117"/>
                      </a:lnTo>
                      <a:lnTo>
                        <a:pt x="154" y="117"/>
                      </a:lnTo>
                      <a:lnTo>
                        <a:pt x="148" y="119"/>
                      </a:lnTo>
                      <a:lnTo>
                        <a:pt x="141" y="124"/>
                      </a:lnTo>
                      <a:lnTo>
                        <a:pt x="141" y="124"/>
                      </a:lnTo>
                      <a:lnTo>
                        <a:pt x="133" y="131"/>
                      </a:lnTo>
                      <a:lnTo>
                        <a:pt x="126" y="134"/>
                      </a:lnTo>
                      <a:lnTo>
                        <a:pt x="121" y="136"/>
                      </a:lnTo>
                      <a:lnTo>
                        <a:pt x="115" y="136"/>
                      </a:lnTo>
                      <a:lnTo>
                        <a:pt x="105" y="134"/>
                      </a:lnTo>
                      <a:lnTo>
                        <a:pt x="98" y="134"/>
                      </a:lnTo>
                      <a:lnTo>
                        <a:pt x="89" y="134"/>
                      </a:lnTo>
                      <a:lnTo>
                        <a:pt x="89" y="134"/>
                      </a:lnTo>
                      <a:lnTo>
                        <a:pt x="89" y="131"/>
                      </a:lnTo>
                      <a:lnTo>
                        <a:pt x="89" y="126"/>
                      </a:lnTo>
                      <a:lnTo>
                        <a:pt x="86" y="122"/>
                      </a:lnTo>
                      <a:lnTo>
                        <a:pt x="82" y="119"/>
                      </a:lnTo>
                      <a:lnTo>
                        <a:pt x="72" y="113"/>
                      </a:lnTo>
                      <a:lnTo>
                        <a:pt x="67" y="112"/>
                      </a:lnTo>
                      <a:lnTo>
                        <a:pt x="63" y="112"/>
                      </a:lnTo>
                      <a:lnTo>
                        <a:pt x="63" y="112"/>
                      </a:lnTo>
                      <a:lnTo>
                        <a:pt x="63" y="105"/>
                      </a:lnTo>
                      <a:lnTo>
                        <a:pt x="63" y="100"/>
                      </a:lnTo>
                      <a:lnTo>
                        <a:pt x="65" y="91"/>
                      </a:lnTo>
                      <a:lnTo>
                        <a:pt x="65" y="86"/>
                      </a:lnTo>
                      <a:lnTo>
                        <a:pt x="65" y="84"/>
                      </a:lnTo>
                      <a:lnTo>
                        <a:pt x="61" y="80"/>
                      </a:lnTo>
                      <a:lnTo>
                        <a:pt x="61" y="80"/>
                      </a:lnTo>
                      <a:lnTo>
                        <a:pt x="56" y="77"/>
                      </a:lnTo>
                      <a:lnTo>
                        <a:pt x="53" y="75"/>
                      </a:lnTo>
                      <a:lnTo>
                        <a:pt x="47" y="75"/>
                      </a:lnTo>
                      <a:lnTo>
                        <a:pt x="42" y="75"/>
                      </a:lnTo>
                      <a:lnTo>
                        <a:pt x="37" y="75"/>
                      </a:lnTo>
                      <a:lnTo>
                        <a:pt x="26" y="72"/>
                      </a:lnTo>
                      <a:lnTo>
                        <a:pt x="11" y="65"/>
                      </a:lnTo>
                      <a:lnTo>
                        <a:pt x="11" y="65"/>
                      </a:lnTo>
                      <a:lnTo>
                        <a:pt x="11" y="54"/>
                      </a:lnTo>
                      <a:lnTo>
                        <a:pt x="9" y="47"/>
                      </a:lnTo>
                      <a:lnTo>
                        <a:pt x="6" y="42"/>
                      </a:lnTo>
                      <a:lnTo>
                        <a:pt x="6" y="42"/>
                      </a:lnTo>
                      <a:lnTo>
                        <a:pt x="2" y="37"/>
                      </a:lnTo>
                      <a:lnTo>
                        <a:pt x="2" y="33"/>
                      </a:lnTo>
                      <a:lnTo>
                        <a:pt x="0" y="21"/>
                      </a:lnTo>
                      <a:lnTo>
                        <a:pt x="0" y="21"/>
                      </a:lnTo>
                      <a:lnTo>
                        <a:pt x="21" y="9"/>
                      </a:lnTo>
                      <a:lnTo>
                        <a:pt x="37" y="4"/>
                      </a:lnTo>
                      <a:lnTo>
                        <a:pt x="51" y="2"/>
                      </a:lnTo>
                      <a:lnTo>
                        <a:pt x="68" y="4"/>
                      </a:lnTo>
                      <a:lnTo>
                        <a:pt x="68" y="4"/>
                      </a:lnTo>
                      <a:lnTo>
                        <a:pt x="94" y="6"/>
                      </a:lnTo>
                      <a:lnTo>
                        <a:pt x="103" y="6"/>
                      </a:lnTo>
                      <a:lnTo>
                        <a:pt x="115" y="9"/>
                      </a:lnTo>
                      <a:lnTo>
                        <a:pt x="115" y="9"/>
                      </a:lnTo>
                      <a:lnTo>
                        <a:pt x="121" y="11"/>
                      </a:lnTo>
                      <a:lnTo>
                        <a:pt x="126" y="9"/>
                      </a:lnTo>
                      <a:lnTo>
                        <a:pt x="129" y="9"/>
                      </a:lnTo>
                      <a:lnTo>
                        <a:pt x="131" y="6"/>
                      </a:lnTo>
                      <a:lnTo>
                        <a:pt x="134" y="2"/>
                      </a:lnTo>
                      <a:lnTo>
                        <a:pt x="136" y="0"/>
                      </a:lnTo>
                      <a:lnTo>
                        <a:pt x="140" y="0"/>
                      </a:lnTo>
                      <a:lnTo>
                        <a:pt x="140" y="0"/>
                      </a:lnTo>
                      <a:lnTo>
                        <a:pt x="141" y="2"/>
                      </a:lnTo>
                      <a:lnTo>
                        <a:pt x="143" y="4"/>
                      </a:lnTo>
                      <a:lnTo>
                        <a:pt x="143" y="9"/>
                      </a:lnTo>
                      <a:lnTo>
                        <a:pt x="145" y="11"/>
                      </a:lnTo>
                      <a:lnTo>
                        <a:pt x="147" y="14"/>
                      </a:lnTo>
                      <a:lnTo>
                        <a:pt x="150" y="14"/>
                      </a:lnTo>
                      <a:lnTo>
                        <a:pt x="155" y="16"/>
                      </a:lnTo>
                      <a:lnTo>
                        <a:pt x="155" y="16"/>
                      </a:lnTo>
                      <a:lnTo>
                        <a:pt x="162" y="16"/>
                      </a:lnTo>
                      <a:lnTo>
                        <a:pt x="168" y="18"/>
                      </a:lnTo>
                      <a:lnTo>
                        <a:pt x="176" y="26"/>
                      </a:lnTo>
                      <a:lnTo>
                        <a:pt x="187" y="35"/>
                      </a:lnTo>
                      <a:lnTo>
                        <a:pt x="192" y="39"/>
                      </a:lnTo>
                      <a:lnTo>
                        <a:pt x="199" y="44"/>
                      </a:lnTo>
                      <a:lnTo>
                        <a:pt x="199" y="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4" name="Freeform 1981">
                  <a:extLst>
                    <a:ext uri="{FF2B5EF4-FFF2-40B4-BE49-F238E27FC236}">
                      <a16:creationId xmlns:a16="http://schemas.microsoft.com/office/drawing/2014/main" id="{03C9B575-1FEF-A742-E660-EFEDC6D5CAE0}"/>
                    </a:ext>
                  </a:extLst>
                </p:cNvPr>
                <p:cNvSpPr>
                  <a:spLocks/>
                </p:cNvSpPr>
                <p:nvPr/>
              </p:nvSpPr>
              <p:spPr bwMode="auto">
                <a:xfrm>
                  <a:off x="4887132" y="2494282"/>
                  <a:ext cx="255491" cy="317161"/>
                </a:xfrm>
                <a:custGeom>
                  <a:avLst/>
                  <a:gdLst/>
                  <a:ahLst/>
                  <a:cxnLst>
                    <a:cxn ang="0">
                      <a:pos x="235" y="284"/>
                    </a:cxn>
                    <a:cxn ang="0">
                      <a:pos x="221" y="249"/>
                    </a:cxn>
                    <a:cxn ang="0">
                      <a:pos x="270" y="221"/>
                    </a:cxn>
                    <a:cxn ang="0">
                      <a:pos x="296" y="205"/>
                    </a:cxn>
                    <a:cxn ang="0">
                      <a:pos x="315" y="211"/>
                    </a:cxn>
                    <a:cxn ang="0">
                      <a:pos x="308" y="172"/>
                    </a:cxn>
                    <a:cxn ang="0">
                      <a:pos x="306" y="141"/>
                    </a:cxn>
                    <a:cxn ang="0">
                      <a:pos x="298" y="117"/>
                    </a:cxn>
                    <a:cxn ang="0">
                      <a:pos x="294" y="64"/>
                    </a:cxn>
                    <a:cxn ang="0">
                      <a:pos x="279" y="54"/>
                    </a:cxn>
                    <a:cxn ang="0">
                      <a:pos x="270" y="42"/>
                    </a:cxn>
                    <a:cxn ang="0">
                      <a:pos x="247" y="26"/>
                    </a:cxn>
                    <a:cxn ang="0">
                      <a:pos x="226" y="31"/>
                    </a:cxn>
                    <a:cxn ang="0">
                      <a:pos x="195" y="52"/>
                    </a:cxn>
                    <a:cxn ang="0">
                      <a:pos x="172" y="50"/>
                    </a:cxn>
                    <a:cxn ang="0">
                      <a:pos x="183" y="35"/>
                    </a:cxn>
                    <a:cxn ang="0">
                      <a:pos x="171" y="31"/>
                    </a:cxn>
                    <a:cxn ang="0">
                      <a:pos x="153" y="28"/>
                    </a:cxn>
                    <a:cxn ang="0">
                      <a:pos x="146" y="16"/>
                    </a:cxn>
                    <a:cxn ang="0">
                      <a:pos x="132" y="5"/>
                    </a:cxn>
                    <a:cxn ang="0">
                      <a:pos x="103" y="2"/>
                    </a:cxn>
                    <a:cxn ang="0">
                      <a:pos x="110" y="24"/>
                    </a:cxn>
                    <a:cxn ang="0">
                      <a:pos x="101" y="33"/>
                    </a:cxn>
                    <a:cxn ang="0">
                      <a:pos x="110" y="45"/>
                    </a:cxn>
                    <a:cxn ang="0">
                      <a:pos x="113" y="54"/>
                    </a:cxn>
                    <a:cxn ang="0">
                      <a:pos x="105" y="57"/>
                    </a:cxn>
                    <a:cxn ang="0">
                      <a:pos x="92" y="82"/>
                    </a:cxn>
                    <a:cxn ang="0">
                      <a:pos x="89" y="70"/>
                    </a:cxn>
                    <a:cxn ang="0">
                      <a:pos x="78" y="76"/>
                    </a:cxn>
                    <a:cxn ang="0">
                      <a:pos x="54" y="64"/>
                    </a:cxn>
                    <a:cxn ang="0">
                      <a:pos x="47" y="85"/>
                    </a:cxn>
                    <a:cxn ang="0">
                      <a:pos x="33" y="120"/>
                    </a:cxn>
                    <a:cxn ang="0">
                      <a:pos x="38" y="130"/>
                    </a:cxn>
                    <a:cxn ang="0">
                      <a:pos x="30" y="153"/>
                    </a:cxn>
                    <a:cxn ang="0">
                      <a:pos x="12" y="162"/>
                    </a:cxn>
                    <a:cxn ang="0">
                      <a:pos x="12" y="184"/>
                    </a:cxn>
                    <a:cxn ang="0">
                      <a:pos x="0" y="205"/>
                    </a:cxn>
                    <a:cxn ang="0">
                      <a:pos x="4" y="219"/>
                    </a:cxn>
                    <a:cxn ang="0">
                      <a:pos x="17" y="235"/>
                    </a:cxn>
                    <a:cxn ang="0">
                      <a:pos x="10" y="261"/>
                    </a:cxn>
                    <a:cxn ang="0">
                      <a:pos x="16" y="285"/>
                    </a:cxn>
                    <a:cxn ang="0">
                      <a:pos x="33" y="299"/>
                    </a:cxn>
                    <a:cxn ang="0">
                      <a:pos x="78" y="312"/>
                    </a:cxn>
                    <a:cxn ang="0">
                      <a:pos x="59" y="381"/>
                    </a:cxn>
                    <a:cxn ang="0">
                      <a:pos x="89" y="379"/>
                    </a:cxn>
                    <a:cxn ang="0">
                      <a:pos x="105" y="378"/>
                    </a:cxn>
                    <a:cxn ang="0">
                      <a:pos x="134" y="381"/>
                    </a:cxn>
                    <a:cxn ang="0">
                      <a:pos x="158" y="393"/>
                    </a:cxn>
                    <a:cxn ang="0">
                      <a:pos x="172" y="383"/>
                    </a:cxn>
                    <a:cxn ang="0">
                      <a:pos x="200" y="381"/>
                    </a:cxn>
                    <a:cxn ang="0">
                      <a:pos x="221" y="376"/>
                    </a:cxn>
                    <a:cxn ang="0">
                      <a:pos x="239" y="378"/>
                    </a:cxn>
                    <a:cxn ang="0">
                      <a:pos x="253" y="381"/>
                    </a:cxn>
                    <a:cxn ang="0">
                      <a:pos x="246" y="362"/>
                    </a:cxn>
                    <a:cxn ang="0">
                      <a:pos x="263" y="343"/>
                    </a:cxn>
                    <a:cxn ang="0">
                      <a:pos x="275" y="331"/>
                    </a:cxn>
                  </a:cxnLst>
                  <a:rect l="0" t="0" r="r" b="b"/>
                  <a:pathLst>
                    <a:path w="320" h="395">
                      <a:moveTo>
                        <a:pt x="279" y="322"/>
                      </a:moveTo>
                      <a:lnTo>
                        <a:pt x="279" y="322"/>
                      </a:lnTo>
                      <a:lnTo>
                        <a:pt x="266" y="310"/>
                      </a:lnTo>
                      <a:lnTo>
                        <a:pt x="258" y="301"/>
                      </a:lnTo>
                      <a:lnTo>
                        <a:pt x="251" y="294"/>
                      </a:lnTo>
                      <a:lnTo>
                        <a:pt x="242" y="289"/>
                      </a:lnTo>
                      <a:lnTo>
                        <a:pt x="242" y="289"/>
                      </a:lnTo>
                      <a:lnTo>
                        <a:pt x="235" y="284"/>
                      </a:lnTo>
                      <a:lnTo>
                        <a:pt x="230" y="280"/>
                      </a:lnTo>
                      <a:lnTo>
                        <a:pt x="230" y="277"/>
                      </a:lnTo>
                      <a:lnTo>
                        <a:pt x="230" y="273"/>
                      </a:lnTo>
                      <a:lnTo>
                        <a:pt x="232" y="266"/>
                      </a:lnTo>
                      <a:lnTo>
                        <a:pt x="230" y="261"/>
                      </a:lnTo>
                      <a:lnTo>
                        <a:pt x="226" y="258"/>
                      </a:lnTo>
                      <a:lnTo>
                        <a:pt x="226" y="258"/>
                      </a:lnTo>
                      <a:lnTo>
                        <a:pt x="221" y="249"/>
                      </a:lnTo>
                      <a:lnTo>
                        <a:pt x="221" y="247"/>
                      </a:lnTo>
                      <a:lnTo>
                        <a:pt x="223" y="245"/>
                      </a:lnTo>
                      <a:lnTo>
                        <a:pt x="230" y="242"/>
                      </a:lnTo>
                      <a:lnTo>
                        <a:pt x="240" y="238"/>
                      </a:lnTo>
                      <a:lnTo>
                        <a:pt x="240" y="238"/>
                      </a:lnTo>
                      <a:lnTo>
                        <a:pt x="253" y="233"/>
                      </a:lnTo>
                      <a:lnTo>
                        <a:pt x="261" y="228"/>
                      </a:lnTo>
                      <a:lnTo>
                        <a:pt x="270" y="221"/>
                      </a:lnTo>
                      <a:lnTo>
                        <a:pt x="282" y="218"/>
                      </a:lnTo>
                      <a:lnTo>
                        <a:pt x="282" y="218"/>
                      </a:lnTo>
                      <a:lnTo>
                        <a:pt x="293" y="214"/>
                      </a:lnTo>
                      <a:lnTo>
                        <a:pt x="294" y="212"/>
                      </a:lnTo>
                      <a:lnTo>
                        <a:pt x="294" y="211"/>
                      </a:lnTo>
                      <a:lnTo>
                        <a:pt x="294" y="207"/>
                      </a:lnTo>
                      <a:lnTo>
                        <a:pt x="294" y="207"/>
                      </a:lnTo>
                      <a:lnTo>
                        <a:pt x="296" y="205"/>
                      </a:lnTo>
                      <a:lnTo>
                        <a:pt x="296" y="205"/>
                      </a:lnTo>
                      <a:lnTo>
                        <a:pt x="298" y="205"/>
                      </a:lnTo>
                      <a:lnTo>
                        <a:pt x="300" y="205"/>
                      </a:lnTo>
                      <a:lnTo>
                        <a:pt x="303" y="209"/>
                      </a:lnTo>
                      <a:lnTo>
                        <a:pt x="308" y="212"/>
                      </a:lnTo>
                      <a:lnTo>
                        <a:pt x="312" y="212"/>
                      </a:lnTo>
                      <a:lnTo>
                        <a:pt x="315" y="211"/>
                      </a:lnTo>
                      <a:lnTo>
                        <a:pt x="315" y="211"/>
                      </a:lnTo>
                      <a:lnTo>
                        <a:pt x="319" y="200"/>
                      </a:lnTo>
                      <a:lnTo>
                        <a:pt x="320" y="191"/>
                      </a:lnTo>
                      <a:lnTo>
                        <a:pt x="320" y="186"/>
                      </a:lnTo>
                      <a:lnTo>
                        <a:pt x="319" y="184"/>
                      </a:lnTo>
                      <a:lnTo>
                        <a:pt x="312" y="181"/>
                      </a:lnTo>
                      <a:lnTo>
                        <a:pt x="310" y="177"/>
                      </a:lnTo>
                      <a:lnTo>
                        <a:pt x="308" y="172"/>
                      </a:lnTo>
                      <a:lnTo>
                        <a:pt x="308" y="172"/>
                      </a:lnTo>
                      <a:lnTo>
                        <a:pt x="306" y="167"/>
                      </a:lnTo>
                      <a:lnTo>
                        <a:pt x="308" y="164"/>
                      </a:lnTo>
                      <a:lnTo>
                        <a:pt x="310" y="157"/>
                      </a:lnTo>
                      <a:lnTo>
                        <a:pt x="312" y="155"/>
                      </a:lnTo>
                      <a:lnTo>
                        <a:pt x="312" y="151"/>
                      </a:lnTo>
                      <a:lnTo>
                        <a:pt x="310" y="146"/>
                      </a:lnTo>
                      <a:lnTo>
                        <a:pt x="306" y="141"/>
                      </a:lnTo>
                      <a:lnTo>
                        <a:pt x="306" y="141"/>
                      </a:lnTo>
                      <a:lnTo>
                        <a:pt x="305" y="137"/>
                      </a:lnTo>
                      <a:lnTo>
                        <a:pt x="305" y="134"/>
                      </a:lnTo>
                      <a:lnTo>
                        <a:pt x="306" y="130"/>
                      </a:lnTo>
                      <a:lnTo>
                        <a:pt x="306" y="127"/>
                      </a:lnTo>
                      <a:lnTo>
                        <a:pt x="306" y="125"/>
                      </a:lnTo>
                      <a:lnTo>
                        <a:pt x="303" y="122"/>
                      </a:lnTo>
                      <a:lnTo>
                        <a:pt x="298" y="117"/>
                      </a:lnTo>
                      <a:lnTo>
                        <a:pt x="298" y="117"/>
                      </a:lnTo>
                      <a:lnTo>
                        <a:pt x="293" y="111"/>
                      </a:lnTo>
                      <a:lnTo>
                        <a:pt x="291" y="108"/>
                      </a:lnTo>
                      <a:lnTo>
                        <a:pt x="291" y="103"/>
                      </a:lnTo>
                      <a:lnTo>
                        <a:pt x="293" y="97"/>
                      </a:lnTo>
                      <a:lnTo>
                        <a:pt x="296" y="92"/>
                      </a:lnTo>
                      <a:lnTo>
                        <a:pt x="296" y="83"/>
                      </a:lnTo>
                      <a:lnTo>
                        <a:pt x="296" y="75"/>
                      </a:lnTo>
                      <a:lnTo>
                        <a:pt x="294" y="64"/>
                      </a:lnTo>
                      <a:lnTo>
                        <a:pt x="294" y="64"/>
                      </a:lnTo>
                      <a:lnTo>
                        <a:pt x="293" y="63"/>
                      </a:lnTo>
                      <a:lnTo>
                        <a:pt x="293" y="63"/>
                      </a:lnTo>
                      <a:lnTo>
                        <a:pt x="284" y="61"/>
                      </a:lnTo>
                      <a:lnTo>
                        <a:pt x="279" y="59"/>
                      </a:lnTo>
                      <a:lnTo>
                        <a:pt x="279" y="57"/>
                      </a:lnTo>
                      <a:lnTo>
                        <a:pt x="279" y="54"/>
                      </a:lnTo>
                      <a:lnTo>
                        <a:pt x="279" y="54"/>
                      </a:lnTo>
                      <a:lnTo>
                        <a:pt x="279" y="50"/>
                      </a:lnTo>
                      <a:lnTo>
                        <a:pt x="277" y="49"/>
                      </a:lnTo>
                      <a:lnTo>
                        <a:pt x="277" y="45"/>
                      </a:lnTo>
                      <a:lnTo>
                        <a:pt x="275" y="40"/>
                      </a:lnTo>
                      <a:lnTo>
                        <a:pt x="275" y="40"/>
                      </a:lnTo>
                      <a:lnTo>
                        <a:pt x="275" y="40"/>
                      </a:lnTo>
                      <a:lnTo>
                        <a:pt x="273" y="40"/>
                      </a:lnTo>
                      <a:lnTo>
                        <a:pt x="270" y="42"/>
                      </a:lnTo>
                      <a:lnTo>
                        <a:pt x="263" y="42"/>
                      </a:lnTo>
                      <a:lnTo>
                        <a:pt x="259" y="40"/>
                      </a:lnTo>
                      <a:lnTo>
                        <a:pt x="256" y="38"/>
                      </a:lnTo>
                      <a:lnTo>
                        <a:pt x="256" y="38"/>
                      </a:lnTo>
                      <a:lnTo>
                        <a:pt x="253" y="31"/>
                      </a:lnTo>
                      <a:lnTo>
                        <a:pt x="251" y="28"/>
                      </a:lnTo>
                      <a:lnTo>
                        <a:pt x="251" y="26"/>
                      </a:lnTo>
                      <a:lnTo>
                        <a:pt x="247" y="26"/>
                      </a:lnTo>
                      <a:lnTo>
                        <a:pt x="247" y="26"/>
                      </a:lnTo>
                      <a:lnTo>
                        <a:pt x="242" y="26"/>
                      </a:lnTo>
                      <a:lnTo>
                        <a:pt x="239" y="24"/>
                      </a:lnTo>
                      <a:lnTo>
                        <a:pt x="235" y="23"/>
                      </a:lnTo>
                      <a:lnTo>
                        <a:pt x="233" y="23"/>
                      </a:lnTo>
                      <a:lnTo>
                        <a:pt x="233" y="23"/>
                      </a:lnTo>
                      <a:lnTo>
                        <a:pt x="230" y="26"/>
                      </a:lnTo>
                      <a:lnTo>
                        <a:pt x="226" y="31"/>
                      </a:lnTo>
                      <a:lnTo>
                        <a:pt x="219" y="36"/>
                      </a:lnTo>
                      <a:lnTo>
                        <a:pt x="216" y="38"/>
                      </a:lnTo>
                      <a:lnTo>
                        <a:pt x="211" y="40"/>
                      </a:lnTo>
                      <a:lnTo>
                        <a:pt x="211" y="40"/>
                      </a:lnTo>
                      <a:lnTo>
                        <a:pt x="206" y="40"/>
                      </a:lnTo>
                      <a:lnTo>
                        <a:pt x="202" y="42"/>
                      </a:lnTo>
                      <a:lnTo>
                        <a:pt x="199" y="49"/>
                      </a:lnTo>
                      <a:lnTo>
                        <a:pt x="195" y="52"/>
                      </a:lnTo>
                      <a:lnTo>
                        <a:pt x="193" y="52"/>
                      </a:lnTo>
                      <a:lnTo>
                        <a:pt x="190" y="50"/>
                      </a:lnTo>
                      <a:lnTo>
                        <a:pt x="190" y="50"/>
                      </a:lnTo>
                      <a:lnTo>
                        <a:pt x="186" y="49"/>
                      </a:lnTo>
                      <a:lnTo>
                        <a:pt x="183" y="49"/>
                      </a:lnTo>
                      <a:lnTo>
                        <a:pt x="179" y="49"/>
                      </a:lnTo>
                      <a:lnTo>
                        <a:pt x="174" y="50"/>
                      </a:lnTo>
                      <a:lnTo>
                        <a:pt x="172" y="50"/>
                      </a:lnTo>
                      <a:lnTo>
                        <a:pt x="171" y="49"/>
                      </a:lnTo>
                      <a:lnTo>
                        <a:pt x="171" y="49"/>
                      </a:lnTo>
                      <a:lnTo>
                        <a:pt x="171" y="47"/>
                      </a:lnTo>
                      <a:lnTo>
                        <a:pt x="172" y="45"/>
                      </a:lnTo>
                      <a:lnTo>
                        <a:pt x="178" y="42"/>
                      </a:lnTo>
                      <a:lnTo>
                        <a:pt x="183" y="38"/>
                      </a:lnTo>
                      <a:lnTo>
                        <a:pt x="185" y="36"/>
                      </a:lnTo>
                      <a:lnTo>
                        <a:pt x="183" y="35"/>
                      </a:lnTo>
                      <a:lnTo>
                        <a:pt x="183" y="35"/>
                      </a:lnTo>
                      <a:lnTo>
                        <a:pt x="183" y="33"/>
                      </a:lnTo>
                      <a:lnTo>
                        <a:pt x="185" y="29"/>
                      </a:lnTo>
                      <a:lnTo>
                        <a:pt x="183" y="28"/>
                      </a:lnTo>
                      <a:lnTo>
                        <a:pt x="183" y="28"/>
                      </a:lnTo>
                      <a:lnTo>
                        <a:pt x="176" y="29"/>
                      </a:lnTo>
                      <a:lnTo>
                        <a:pt x="176" y="29"/>
                      </a:lnTo>
                      <a:lnTo>
                        <a:pt x="171" y="31"/>
                      </a:lnTo>
                      <a:lnTo>
                        <a:pt x="167" y="31"/>
                      </a:lnTo>
                      <a:lnTo>
                        <a:pt x="164" y="31"/>
                      </a:lnTo>
                      <a:lnTo>
                        <a:pt x="162" y="29"/>
                      </a:lnTo>
                      <a:lnTo>
                        <a:pt x="160" y="26"/>
                      </a:lnTo>
                      <a:lnTo>
                        <a:pt x="158" y="26"/>
                      </a:lnTo>
                      <a:lnTo>
                        <a:pt x="155" y="26"/>
                      </a:lnTo>
                      <a:lnTo>
                        <a:pt x="155" y="26"/>
                      </a:lnTo>
                      <a:lnTo>
                        <a:pt x="153" y="28"/>
                      </a:lnTo>
                      <a:lnTo>
                        <a:pt x="152" y="26"/>
                      </a:lnTo>
                      <a:lnTo>
                        <a:pt x="148" y="24"/>
                      </a:lnTo>
                      <a:lnTo>
                        <a:pt x="145" y="23"/>
                      </a:lnTo>
                      <a:lnTo>
                        <a:pt x="145" y="23"/>
                      </a:lnTo>
                      <a:lnTo>
                        <a:pt x="141" y="23"/>
                      </a:lnTo>
                      <a:lnTo>
                        <a:pt x="143" y="21"/>
                      </a:lnTo>
                      <a:lnTo>
                        <a:pt x="146" y="17"/>
                      </a:lnTo>
                      <a:lnTo>
                        <a:pt x="146" y="16"/>
                      </a:lnTo>
                      <a:lnTo>
                        <a:pt x="145" y="12"/>
                      </a:lnTo>
                      <a:lnTo>
                        <a:pt x="145" y="12"/>
                      </a:lnTo>
                      <a:lnTo>
                        <a:pt x="143" y="9"/>
                      </a:lnTo>
                      <a:lnTo>
                        <a:pt x="141" y="7"/>
                      </a:lnTo>
                      <a:lnTo>
                        <a:pt x="139" y="7"/>
                      </a:lnTo>
                      <a:lnTo>
                        <a:pt x="136" y="7"/>
                      </a:lnTo>
                      <a:lnTo>
                        <a:pt x="136" y="7"/>
                      </a:lnTo>
                      <a:lnTo>
                        <a:pt x="132" y="5"/>
                      </a:lnTo>
                      <a:lnTo>
                        <a:pt x="131" y="5"/>
                      </a:lnTo>
                      <a:lnTo>
                        <a:pt x="127" y="5"/>
                      </a:lnTo>
                      <a:lnTo>
                        <a:pt x="125" y="5"/>
                      </a:lnTo>
                      <a:lnTo>
                        <a:pt x="125" y="5"/>
                      </a:lnTo>
                      <a:lnTo>
                        <a:pt x="120" y="3"/>
                      </a:lnTo>
                      <a:lnTo>
                        <a:pt x="110" y="2"/>
                      </a:lnTo>
                      <a:lnTo>
                        <a:pt x="110" y="2"/>
                      </a:lnTo>
                      <a:lnTo>
                        <a:pt x="103" y="2"/>
                      </a:lnTo>
                      <a:lnTo>
                        <a:pt x="96" y="0"/>
                      </a:lnTo>
                      <a:lnTo>
                        <a:pt x="96" y="0"/>
                      </a:lnTo>
                      <a:lnTo>
                        <a:pt x="98" y="5"/>
                      </a:lnTo>
                      <a:lnTo>
                        <a:pt x="99" y="10"/>
                      </a:lnTo>
                      <a:lnTo>
                        <a:pt x="108" y="21"/>
                      </a:lnTo>
                      <a:lnTo>
                        <a:pt x="108" y="21"/>
                      </a:lnTo>
                      <a:lnTo>
                        <a:pt x="110" y="23"/>
                      </a:lnTo>
                      <a:lnTo>
                        <a:pt x="110" y="24"/>
                      </a:lnTo>
                      <a:lnTo>
                        <a:pt x="106" y="26"/>
                      </a:lnTo>
                      <a:lnTo>
                        <a:pt x="99" y="28"/>
                      </a:lnTo>
                      <a:lnTo>
                        <a:pt x="98" y="28"/>
                      </a:lnTo>
                      <a:lnTo>
                        <a:pt x="96" y="31"/>
                      </a:lnTo>
                      <a:lnTo>
                        <a:pt x="96" y="31"/>
                      </a:lnTo>
                      <a:lnTo>
                        <a:pt x="96" y="33"/>
                      </a:lnTo>
                      <a:lnTo>
                        <a:pt x="96" y="35"/>
                      </a:lnTo>
                      <a:lnTo>
                        <a:pt x="101" y="33"/>
                      </a:lnTo>
                      <a:lnTo>
                        <a:pt x="105" y="33"/>
                      </a:lnTo>
                      <a:lnTo>
                        <a:pt x="105" y="33"/>
                      </a:lnTo>
                      <a:lnTo>
                        <a:pt x="105" y="36"/>
                      </a:lnTo>
                      <a:lnTo>
                        <a:pt x="105" y="36"/>
                      </a:lnTo>
                      <a:lnTo>
                        <a:pt x="103" y="38"/>
                      </a:lnTo>
                      <a:lnTo>
                        <a:pt x="103" y="40"/>
                      </a:lnTo>
                      <a:lnTo>
                        <a:pt x="106" y="43"/>
                      </a:lnTo>
                      <a:lnTo>
                        <a:pt x="110" y="45"/>
                      </a:lnTo>
                      <a:lnTo>
                        <a:pt x="110" y="45"/>
                      </a:lnTo>
                      <a:lnTo>
                        <a:pt x="108" y="47"/>
                      </a:lnTo>
                      <a:lnTo>
                        <a:pt x="108" y="47"/>
                      </a:lnTo>
                      <a:lnTo>
                        <a:pt x="105" y="49"/>
                      </a:lnTo>
                      <a:lnTo>
                        <a:pt x="105" y="50"/>
                      </a:lnTo>
                      <a:lnTo>
                        <a:pt x="106" y="52"/>
                      </a:lnTo>
                      <a:lnTo>
                        <a:pt x="113" y="54"/>
                      </a:lnTo>
                      <a:lnTo>
                        <a:pt x="113" y="54"/>
                      </a:lnTo>
                      <a:lnTo>
                        <a:pt x="120" y="56"/>
                      </a:lnTo>
                      <a:lnTo>
                        <a:pt x="125" y="61"/>
                      </a:lnTo>
                      <a:lnTo>
                        <a:pt x="127" y="63"/>
                      </a:lnTo>
                      <a:lnTo>
                        <a:pt x="124" y="61"/>
                      </a:lnTo>
                      <a:lnTo>
                        <a:pt x="124" y="61"/>
                      </a:lnTo>
                      <a:lnTo>
                        <a:pt x="117" y="59"/>
                      </a:lnTo>
                      <a:lnTo>
                        <a:pt x="111" y="57"/>
                      </a:lnTo>
                      <a:lnTo>
                        <a:pt x="105" y="57"/>
                      </a:lnTo>
                      <a:lnTo>
                        <a:pt x="98" y="56"/>
                      </a:lnTo>
                      <a:lnTo>
                        <a:pt x="98" y="56"/>
                      </a:lnTo>
                      <a:lnTo>
                        <a:pt x="96" y="56"/>
                      </a:lnTo>
                      <a:lnTo>
                        <a:pt x="94" y="57"/>
                      </a:lnTo>
                      <a:lnTo>
                        <a:pt x="94" y="66"/>
                      </a:lnTo>
                      <a:lnTo>
                        <a:pt x="96" y="75"/>
                      </a:lnTo>
                      <a:lnTo>
                        <a:pt x="96" y="78"/>
                      </a:lnTo>
                      <a:lnTo>
                        <a:pt x="92" y="82"/>
                      </a:lnTo>
                      <a:lnTo>
                        <a:pt x="92" y="82"/>
                      </a:lnTo>
                      <a:lnTo>
                        <a:pt x="91" y="82"/>
                      </a:lnTo>
                      <a:lnTo>
                        <a:pt x="91" y="82"/>
                      </a:lnTo>
                      <a:lnTo>
                        <a:pt x="91" y="78"/>
                      </a:lnTo>
                      <a:lnTo>
                        <a:pt x="91" y="73"/>
                      </a:lnTo>
                      <a:lnTo>
                        <a:pt x="91" y="71"/>
                      </a:lnTo>
                      <a:lnTo>
                        <a:pt x="89" y="70"/>
                      </a:lnTo>
                      <a:lnTo>
                        <a:pt x="89" y="70"/>
                      </a:lnTo>
                      <a:lnTo>
                        <a:pt x="85" y="70"/>
                      </a:lnTo>
                      <a:lnTo>
                        <a:pt x="84" y="71"/>
                      </a:lnTo>
                      <a:lnTo>
                        <a:pt x="84" y="75"/>
                      </a:lnTo>
                      <a:lnTo>
                        <a:pt x="82" y="78"/>
                      </a:lnTo>
                      <a:lnTo>
                        <a:pt x="82" y="80"/>
                      </a:lnTo>
                      <a:lnTo>
                        <a:pt x="80" y="78"/>
                      </a:lnTo>
                      <a:lnTo>
                        <a:pt x="80" y="78"/>
                      </a:lnTo>
                      <a:lnTo>
                        <a:pt x="78" y="76"/>
                      </a:lnTo>
                      <a:lnTo>
                        <a:pt x="77" y="75"/>
                      </a:lnTo>
                      <a:lnTo>
                        <a:pt x="78" y="70"/>
                      </a:lnTo>
                      <a:lnTo>
                        <a:pt x="77" y="68"/>
                      </a:lnTo>
                      <a:lnTo>
                        <a:pt x="75" y="66"/>
                      </a:lnTo>
                      <a:lnTo>
                        <a:pt x="71" y="64"/>
                      </a:lnTo>
                      <a:lnTo>
                        <a:pt x="64" y="64"/>
                      </a:lnTo>
                      <a:lnTo>
                        <a:pt x="64" y="64"/>
                      </a:lnTo>
                      <a:lnTo>
                        <a:pt x="54" y="64"/>
                      </a:lnTo>
                      <a:lnTo>
                        <a:pt x="47" y="66"/>
                      </a:lnTo>
                      <a:lnTo>
                        <a:pt x="44" y="71"/>
                      </a:lnTo>
                      <a:lnTo>
                        <a:pt x="42" y="76"/>
                      </a:lnTo>
                      <a:lnTo>
                        <a:pt x="42" y="76"/>
                      </a:lnTo>
                      <a:lnTo>
                        <a:pt x="40" y="80"/>
                      </a:lnTo>
                      <a:lnTo>
                        <a:pt x="42" y="82"/>
                      </a:lnTo>
                      <a:lnTo>
                        <a:pt x="44" y="83"/>
                      </a:lnTo>
                      <a:lnTo>
                        <a:pt x="47" y="85"/>
                      </a:lnTo>
                      <a:lnTo>
                        <a:pt x="47" y="85"/>
                      </a:lnTo>
                      <a:lnTo>
                        <a:pt x="47" y="89"/>
                      </a:lnTo>
                      <a:lnTo>
                        <a:pt x="47" y="89"/>
                      </a:lnTo>
                      <a:lnTo>
                        <a:pt x="42" y="117"/>
                      </a:lnTo>
                      <a:lnTo>
                        <a:pt x="40" y="120"/>
                      </a:lnTo>
                      <a:lnTo>
                        <a:pt x="37" y="120"/>
                      </a:lnTo>
                      <a:lnTo>
                        <a:pt x="37" y="120"/>
                      </a:lnTo>
                      <a:lnTo>
                        <a:pt x="33" y="120"/>
                      </a:lnTo>
                      <a:lnTo>
                        <a:pt x="30" y="120"/>
                      </a:lnTo>
                      <a:lnTo>
                        <a:pt x="30" y="122"/>
                      </a:lnTo>
                      <a:lnTo>
                        <a:pt x="28" y="125"/>
                      </a:lnTo>
                      <a:lnTo>
                        <a:pt x="28" y="125"/>
                      </a:lnTo>
                      <a:lnTo>
                        <a:pt x="30" y="129"/>
                      </a:lnTo>
                      <a:lnTo>
                        <a:pt x="30" y="130"/>
                      </a:lnTo>
                      <a:lnTo>
                        <a:pt x="35" y="130"/>
                      </a:lnTo>
                      <a:lnTo>
                        <a:pt x="38" y="130"/>
                      </a:lnTo>
                      <a:lnTo>
                        <a:pt x="40" y="132"/>
                      </a:lnTo>
                      <a:lnTo>
                        <a:pt x="42" y="136"/>
                      </a:lnTo>
                      <a:lnTo>
                        <a:pt x="42" y="136"/>
                      </a:lnTo>
                      <a:lnTo>
                        <a:pt x="40" y="139"/>
                      </a:lnTo>
                      <a:lnTo>
                        <a:pt x="40" y="143"/>
                      </a:lnTo>
                      <a:lnTo>
                        <a:pt x="35" y="148"/>
                      </a:lnTo>
                      <a:lnTo>
                        <a:pt x="30" y="151"/>
                      </a:lnTo>
                      <a:lnTo>
                        <a:pt x="30" y="153"/>
                      </a:lnTo>
                      <a:lnTo>
                        <a:pt x="31" y="155"/>
                      </a:lnTo>
                      <a:lnTo>
                        <a:pt x="31" y="155"/>
                      </a:lnTo>
                      <a:lnTo>
                        <a:pt x="33" y="157"/>
                      </a:lnTo>
                      <a:lnTo>
                        <a:pt x="31" y="157"/>
                      </a:lnTo>
                      <a:lnTo>
                        <a:pt x="28" y="160"/>
                      </a:lnTo>
                      <a:lnTo>
                        <a:pt x="21" y="162"/>
                      </a:lnTo>
                      <a:lnTo>
                        <a:pt x="12" y="162"/>
                      </a:lnTo>
                      <a:lnTo>
                        <a:pt x="12" y="162"/>
                      </a:lnTo>
                      <a:lnTo>
                        <a:pt x="5" y="162"/>
                      </a:lnTo>
                      <a:lnTo>
                        <a:pt x="4" y="164"/>
                      </a:lnTo>
                      <a:lnTo>
                        <a:pt x="4" y="165"/>
                      </a:lnTo>
                      <a:lnTo>
                        <a:pt x="5" y="171"/>
                      </a:lnTo>
                      <a:lnTo>
                        <a:pt x="9" y="177"/>
                      </a:lnTo>
                      <a:lnTo>
                        <a:pt x="9" y="177"/>
                      </a:lnTo>
                      <a:lnTo>
                        <a:pt x="12" y="183"/>
                      </a:lnTo>
                      <a:lnTo>
                        <a:pt x="12" y="184"/>
                      </a:lnTo>
                      <a:lnTo>
                        <a:pt x="10" y="190"/>
                      </a:lnTo>
                      <a:lnTo>
                        <a:pt x="9" y="193"/>
                      </a:lnTo>
                      <a:lnTo>
                        <a:pt x="7" y="197"/>
                      </a:lnTo>
                      <a:lnTo>
                        <a:pt x="7" y="197"/>
                      </a:lnTo>
                      <a:lnTo>
                        <a:pt x="7" y="200"/>
                      </a:lnTo>
                      <a:lnTo>
                        <a:pt x="7" y="200"/>
                      </a:lnTo>
                      <a:lnTo>
                        <a:pt x="2" y="204"/>
                      </a:lnTo>
                      <a:lnTo>
                        <a:pt x="0" y="205"/>
                      </a:lnTo>
                      <a:lnTo>
                        <a:pt x="4" y="207"/>
                      </a:lnTo>
                      <a:lnTo>
                        <a:pt x="4" y="207"/>
                      </a:lnTo>
                      <a:lnTo>
                        <a:pt x="5" y="209"/>
                      </a:lnTo>
                      <a:lnTo>
                        <a:pt x="7" y="211"/>
                      </a:lnTo>
                      <a:lnTo>
                        <a:pt x="7" y="214"/>
                      </a:lnTo>
                      <a:lnTo>
                        <a:pt x="5" y="218"/>
                      </a:lnTo>
                      <a:lnTo>
                        <a:pt x="4" y="219"/>
                      </a:lnTo>
                      <a:lnTo>
                        <a:pt x="4" y="219"/>
                      </a:lnTo>
                      <a:lnTo>
                        <a:pt x="7" y="223"/>
                      </a:lnTo>
                      <a:lnTo>
                        <a:pt x="10" y="224"/>
                      </a:lnTo>
                      <a:lnTo>
                        <a:pt x="12" y="226"/>
                      </a:lnTo>
                      <a:lnTo>
                        <a:pt x="12" y="230"/>
                      </a:lnTo>
                      <a:lnTo>
                        <a:pt x="12" y="230"/>
                      </a:lnTo>
                      <a:lnTo>
                        <a:pt x="12" y="231"/>
                      </a:lnTo>
                      <a:lnTo>
                        <a:pt x="14" y="233"/>
                      </a:lnTo>
                      <a:lnTo>
                        <a:pt x="17" y="235"/>
                      </a:lnTo>
                      <a:lnTo>
                        <a:pt x="17" y="237"/>
                      </a:lnTo>
                      <a:lnTo>
                        <a:pt x="17" y="238"/>
                      </a:lnTo>
                      <a:lnTo>
                        <a:pt x="14" y="244"/>
                      </a:lnTo>
                      <a:lnTo>
                        <a:pt x="9" y="249"/>
                      </a:lnTo>
                      <a:lnTo>
                        <a:pt x="9" y="249"/>
                      </a:lnTo>
                      <a:lnTo>
                        <a:pt x="9" y="254"/>
                      </a:lnTo>
                      <a:lnTo>
                        <a:pt x="9" y="259"/>
                      </a:lnTo>
                      <a:lnTo>
                        <a:pt x="10" y="261"/>
                      </a:lnTo>
                      <a:lnTo>
                        <a:pt x="14" y="263"/>
                      </a:lnTo>
                      <a:lnTo>
                        <a:pt x="19" y="266"/>
                      </a:lnTo>
                      <a:lnTo>
                        <a:pt x="23" y="268"/>
                      </a:lnTo>
                      <a:lnTo>
                        <a:pt x="23" y="268"/>
                      </a:lnTo>
                      <a:lnTo>
                        <a:pt x="23" y="271"/>
                      </a:lnTo>
                      <a:lnTo>
                        <a:pt x="21" y="275"/>
                      </a:lnTo>
                      <a:lnTo>
                        <a:pt x="17" y="278"/>
                      </a:lnTo>
                      <a:lnTo>
                        <a:pt x="16" y="285"/>
                      </a:lnTo>
                      <a:lnTo>
                        <a:pt x="16" y="285"/>
                      </a:lnTo>
                      <a:lnTo>
                        <a:pt x="21" y="287"/>
                      </a:lnTo>
                      <a:lnTo>
                        <a:pt x="24" y="289"/>
                      </a:lnTo>
                      <a:lnTo>
                        <a:pt x="26" y="294"/>
                      </a:lnTo>
                      <a:lnTo>
                        <a:pt x="30" y="298"/>
                      </a:lnTo>
                      <a:lnTo>
                        <a:pt x="30" y="299"/>
                      </a:lnTo>
                      <a:lnTo>
                        <a:pt x="33" y="299"/>
                      </a:lnTo>
                      <a:lnTo>
                        <a:pt x="33" y="299"/>
                      </a:lnTo>
                      <a:lnTo>
                        <a:pt x="37" y="299"/>
                      </a:lnTo>
                      <a:lnTo>
                        <a:pt x="38" y="303"/>
                      </a:lnTo>
                      <a:lnTo>
                        <a:pt x="42" y="305"/>
                      </a:lnTo>
                      <a:lnTo>
                        <a:pt x="47" y="303"/>
                      </a:lnTo>
                      <a:lnTo>
                        <a:pt x="47" y="303"/>
                      </a:lnTo>
                      <a:lnTo>
                        <a:pt x="56" y="303"/>
                      </a:lnTo>
                      <a:lnTo>
                        <a:pt x="63" y="305"/>
                      </a:lnTo>
                      <a:lnTo>
                        <a:pt x="78" y="312"/>
                      </a:lnTo>
                      <a:lnTo>
                        <a:pt x="78" y="312"/>
                      </a:lnTo>
                      <a:lnTo>
                        <a:pt x="80" y="313"/>
                      </a:lnTo>
                      <a:lnTo>
                        <a:pt x="80" y="315"/>
                      </a:lnTo>
                      <a:lnTo>
                        <a:pt x="71" y="325"/>
                      </a:lnTo>
                      <a:lnTo>
                        <a:pt x="66" y="336"/>
                      </a:lnTo>
                      <a:lnTo>
                        <a:pt x="63" y="346"/>
                      </a:lnTo>
                      <a:lnTo>
                        <a:pt x="59" y="362"/>
                      </a:lnTo>
                      <a:lnTo>
                        <a:pt x="59" y="381"/>
                      </a:lnTo>
                      <a:lnTo>
                        <a:pt x="59" y="381"/>
                      </a:lnTo>
                      <a:lnTo>
                        <a:pt x="66" y="383"/>
                      </a:lnTo>
                      <a:lnTo>
                        <a:pt x="71" y="383"/>
                      </a:lnTo>
                      <a:lnTo>
                        <a:pt x="75" y="381"/>
                      </a:lnTo>
                      <a:lnTo>
                        <a:pt x="84" y="381"/>
                      </a:lnTo>
                      <a:lnTo>
                        <a:pt x="84" y="381"/>
                      </a:lnTo>
                      <a:lnTo>
                        <a:pt x="89" y="381"/>
                      </a:lnTo>
                      <a:lnTo>
                        <a:pt x="89" y="379"/>
                      </a:lnTo>
                      <a:lnTo>
                        <a:pt x="91" y="376"/>
                      </a:lnTo>
                      <a:lnTo>
                        <a:pt x="91" y="374"/>
                      </a:lnTo>
                      <a:lnTo>
                        <a:pt x="94" y="372"/>
                      </a:lnTo>
                      <a:lnTo>
                        <a:pt x="94" y="372"/>
                      </a:lnTo>
                      <a:lnTo>
                        <a:pt x="98" y="371"/>
                      </a:lnTo>
                      <a:lnTo>
                        <a:pt x="99" y="371"/>
                      </a:lnTo>
                      <a:lnTo>
                        <a:pt x="103" y="374"/>
                      </a:lnTo>
                      <a:lnTo>
                        <a:pt x="105" y="378"/>
                      </a:lnTo>
                      <a:lnTo>
                        <a:pt x="108" y="378"/>
                      </a:lnTo>
                      <a:lnTo>
                        <a:pt x="110" y="378"/>
                      </a:lnTo>
                      <a:lnTo>
                        <a:pt x="110" y="378"/>
                      </a:lnTo>
                      <a:lnTo>
                        <a:pt x="117" y="378"/>
                      </a:lnTo>
                      <a:lnTo>
                        <a:pt x="122" y="379"/>
                      </a:lnTo>
                      <a:lnTo>
                        <a:pt x="129" y="385"/>
                      </a:lnTo>
                      <a:lnTo>
                        <a:pt x="129" y="385"/>
                      </a:lnTo>
                      <a:lnTo>
                        <a:pt x="134" y="381"/>
                      </a:lnTo>
                      <a:lnTo>
                        <a:pt x="139" y="381"/>
                      </a:lnTo>
                      <a:lnTo>
                        <a:pt x="143" y="383"/>
                      </a:lnTo>
                      <a:lnTo>
                        <a:pt x="146" y="386"/>
                      </a:lnTo>
                      <a:lnTo>
                        <a:pt x="150" y="393"/>
                      </a:lnTo>
                      <a:lnTo>
                        <a:pt x="153" y="395"/>
                      </a:lnTo>
                      <a:lnTo>
                        <a:pt x="155" y="395"/>
                      </a:lnTo>
                      <a:lnTo>
                        <a:pt x="155" y="395"/>
                      </a:lnTo>
                      <a:lnTo>
                        <a:pt x="158" y="393"/>
                      </a:lnTo>
                      <a:lnTo>
                        <a:pt x="158" y="392"/>
                      </a:lnTo>
                      <a:lnTo>
                        <a:pt x="160" y="386"/>
                      </a:lnTo>
                      <a:lnTo>
                        <a:pt x="160" y="383"/>
                      </a:lnTo>
                      <a:lnTo>
                        <a:pt x="162" y="381"/>
                      </a:lnTo>
                      <a:lnTo>
                        <a:pt x="164" y="383"/>
                      </a:lnTo>
                      <a:lnTo>
                        <a:pt x="164" y="383"/>
                      </a:lnTo>
                      <a:lnTo>
                        <a:pt x="169" y="383"/>
                      </a:lnTo>
                      <a:lnTo>
                        <a:pt x="172" y="383"/>
                      </a:lnTo>
                      <a:lnTo>
                        <a:pt x="176" y="383"/>
                      </a:lnTo>
                      <a:lnTo>
                        <a:pt x="178" y="388"/>
                      </a:lnTo>
                      <a:lnTo>
                        <a:pt x="178" y="388"/>
                      </a:lnTo>
                      <a:lnTo>
                        <a:pt x="179" y="390"/>
                      </a:lnTo>
                      <a:lnTo>
                        <a:pt x="183" y="392"/>
                      </a:lnTo>
                      <a:lnTo>
                        <a:pt x="188" y="390"/>
                      </a:lnTo>
                      <a:lnTo>
                        <a:pt x="193" y="386"/>
                      </a:lnTo>
                      <a:lnTo>
                        <a:pt x="200" y="381"/>
                      </a:lnTo>
                      <a:lnTo>
                        <a:pt x="200" y="381"/>
                      </a:lnTo>
                      <a:lnTo>
                        <a:pt x="204" y="379"/>
                      </a:lnTo>
                      <a:lnTo>
                        <a:pt x="207" y="378"/>
                      </a:lnTo>
                      <a:lnTo>
                        <a:pt x="212" y="379"/>
                      </a:lnTo>
                      <a:lnTo>
                        <a:pt x="216" y="379"/>
                      </a:lnTo>
                      <a:lnTo>
                        <a:pt x="219" y="379"/>
                      </a:lnTo>
                      <a:lnTo>
                        <a:pt x="221" y="376"/>
                      </a:lnTo>
                      <a:lnTo>
                        <a:pt x="221" y="376"/>
                      </a:lnTo>
                      <a:lnTo>
                        <a:pt x="223" y="374"/>
                      </a:lnTo>
                      <a:lnTo>
                        <a:pt x="225" y="374"/>
                      </a:lnTo>
                      <a:lnTo>
                        <a:pt x="228" y="376"/>
                      </a:lnTo>
                      <a:lnTo>
                        <a:pt x="233" y="378"/>
                      </a:lnTo>
                      <a:lnTo>
                        <a:pt x="235" y="379"/>
                      </a:lnTo>
                      <a:lnTo>
                        <a:pt x="237" y="379"/>
                      </a:lnTo>
                      <a:lnTo>
                        <a:pt x="237" y="379"/>
                      </a:lnTo>
                      <a:lnTo>
                        <a:pt x="239" y="378"/>
                      </a:lnTo>
                      <a:lnTo>
                        <a:pt x="240" y="379"/>
                      </a:lnTo>
                      <a:lnTo>
                        <a:pt x="244" y="385"/>
                      </a:lnTo>
                      <a:lnTo>
                        <a:pt x="249" y="388"/>
                      </a:lnTo>
                      <a:lnTo>
                        <a:pt x="251" y="388"/>
                      </a:lnTo>
                      <a:lnTo>
                        <a:pt x="253" y="386"/>
                      </a:lnTo>
                      <a:lnTo>
                        <a:pt x="253" y="386"/>
                      </a:lnTo>
                      <a:lnTo>
                        <a:pt x="254" y="383"/>
                      </a:lnTo>
                      <a:lnTo>
                        <a:pt x="253" y="381"/>
                      </a:lnTo>
                      <a:lnTo>
                        <a:pt x="249" y="378"/>
                      </a:lnTo>
                      <a:lnTo>
                        <a:pt x="246" y="374"/>
                      </a:lnTo>
                      <a:lnTo>
                        <a:pt x="246" y="372"/>
                      </a:lnTo>
                      <a:lnTo>
                        <a:pt x="247" y="371"/>
                      </a:lnTo>
                      <a:lnTo>
                        <a:pt x="247" y="371"/>
                      </a:lnTo>
                      <a:lnTo>
                        <a:pt x="249" y="369"/>
                      </a:lnTo>
                      <a:lnTo>
                        <a:pt x="249" y="366"/>
                      </a:lnTo>
                      <a:lnTo>
                        <a:pt x="246" y="362"/>
                      </a:lnTo>
                      <a:lnTo>
                        <a:pt x="242" y="357"/>
                      </a:lnTo>
                      <a:lnTo>
                        <a:pt x="242" y="353"/>
                      </a:lnTo>
                      <a:lnTo>
                        <a:pt x="246" y="350"/>
                      </a:lnTo>
                      <a:lnTo>
                        <a:pt x="246" y="350"/>
                      </a:lnTo>
                      <a:lnTo>
                        <a:pt x="249" y="348"/>
                      </a:lnTo>
                      <a:lnTo>
                        <a:pt x="253" y="346"/>
                      </a:lnTo>
                      <a:lnTo>
                        <a:pt x="258" y="345"/>
                      </a:lnTo>
                      <a:lnTo>
                        <a:pt x="263" y="343"/>
                      </a:lnTo>
                      <a:lnTo>
                        <a:pt x="265" y="341"/>
                      </a:lnTo>
                      <a:lnTo>
                        <a:pt x="265" y="338"/>
                      </a:lnTo>
                      <a:lnTo>
                        <a:pt x="265" y="338"/>
                      </a:lnTo>
                      <a:lnTo>
                        <a:pt x="266" y="334"/>
                      </a:lnTo>
                      <a:lnTo>
                        <a:pt x="266" y="332"/>
                      </a:lnTo>
                      <a:lnTo>
                        <a:pt x="272" y="332"/>
                      </a:lnTo>
                      <a:lnTo>
                        <a:pt x="273" y="332"/>
                      </a:lnTo>
                      <a:lnTo>
                        <a:pt x="275" y="331"/>
                      </a:lnTo>
                      <a:lnTo>
                        <a:pt x="279" y="327"/>
                      </a:lnTo>
                      <a:lnTo>
                        <a:pt x="279" y="322"/>
                      </a:lnTo>
                      <a:lnTo>
                        <a:pt x="279" y="32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5" name="Freeform 1982">
                  <a:extLst>
                    <a:ext uri="{FF2B5EF4-FFF2-40B4-BE49-F238E27FC236}">
                      <a16:creationId xmlns:a16="http://schemas.microsoft.com/office/drawing/2014/main" id="{E10E613C-219E-11E8-FE18-0ABF19C2E42A}"/>
                    </a:ext>
                  </a:extLst>
                </p:cNvPr>
                <p:cNvSpPr>
                  <a:spLocks/>
                </p:cNvSpPr>
                <p:nvPr/>
              </p:nvSpPr>
              <p:spPr bwMode="auto">
                <a:xfrm>
                  <a:off x="4948802" y="3052835"/>
                  <a:ext cx="47573" cy="89862"/>
                </a:xfrm>
                <a:custGeom>
                  <a:avLst/>
                  <a:gdLst/>
                  <a:ahLst/>
                  <a:cxnLst>
                    <a:cxn ang="0">
                      <a:pos x="0" y="23"/>
                    </a:cxn>
                    <a:cxn ang="0">
                      <a:pos x="0" y="23"/>
                    </a:cxn>
                    <a:cxn ang="0">
                      <a:pos x="2" y="14"/>
                    </a:cxn>
                    <a:cxn ang="0">
                      <a:pos x="4" y="14"/>
                    </a:cxn>
                    <a:cxn ang="0">
                      <a:pos x="6" y="16"/>
                    </a:cxn>
                    <a:cxn ang="0">
                      <a:pos x="7" y="18"/>
                    </a:cxn>
                    <a:cxn ang="0">
                      <a:pos x="13" y="18"/>
                    </a:cxn>
                    <a:cxn ang="0">
                      <a:pos x="18" y="18"/>
                    </a:cxn>
                    <a:cxn ang="0">
                      <a:pos x="23" y="13"/>
                    </a:cxn>
                    <a:cxn ang="0">
                      <a:pos x="23" y="13"/>
                    </a:cxn>
                    <a:cxn ang="0">
                      <a:pos x="35" y="4"/>
                    </a:cxn>
                    <a:cxn ang="0">
                      <a:pos x="40" y="2"/>
                    </a:cxn>
                    <a:cxn ang="0">
                      <a:pos x="44" y="0"/>
                    </a:cxn>
                    <a:cxn ang="0">
                      <a:pos x="46" y="0"/>
                    </a:cxn>
                    <a:cxn ang="0">
                      <a:pos x="47" y="2"/>
                    </a:cxn>
                    <a:cxn ang="0">
                      <a:pos x="53" y="7"/>
                    </a:cxn>
                    <a:cxn ang="0">
                      <a:pos x="53" y="7"/>
                    </a:cxn>
                    <a:cxn ang="0">
                      <a:pos x="56" y="14"/>
                    </a:cxn>
                    <a:cxn ang="0">
                      <a:pos x="60" y="23"/>
                    </a:cxn>
                    <a:cxn ang="0">
                      <a:pos x="60" y="33"/>
                    </a:cxn>
                    <a:cxn ang="0">
                      <a:pos x="60" y="37"/>
                    </a:cxn>
                    <a:cxn ang="0">
                      <a:pos x="56" y="42"/>
                    </a:cxn>
                    <a:cxn ang="0">
                      <a:pos x="56" y="42"/>
                    </a:cxn>
                    <a:cxn ang="0">
                      <a:pos x="54" y="47"/>
                    </a:cxn>
                    <a:cxn ang="0">
                      <a:pos x="54" y="51"/>
                    </a:cxn>
                    <a:cxn ang="0">
                      <a:pos x="58" y="58"/>
                    </a:cxn>
                    <a:cxn ang="0">
                      <a:pos x="58" y="65"/>
                    </a:cxn>
                    <a:cxn ang="0">
                      <a:pos x="56" y="73"/>
                    </a:cxn>
                    <a:cxn ang="0">
                      <a:pos x="56" y="73"/>
                    </a:cxn>
                    <a:cxn ang="0">
                      <a:pos x="54" y="89"/>
                    </a:cxn>
                    <a:cxn ang="0">
                      <a:pos x="51" y="98"/>
                    </a:cxn>
                    <a:cxn ang="0">
                      <a:pos x="49" y="100"/>
                    </a:cxn>
                    <a:cxn ang="0">
                      <a:pos x="47" y="101"/>
                    </a:cxn>
                    <a:cxn ang="0">
                      <a:pos x="40" y="100"/>
                    </a:cxn>
                    <a:cxn ang="0">
                      <a:pos x="40" y="100"/>
                    </a:cxn>
                    <a:cxn ang="0">
                      <a:pos x="37" y="98"/>
                    </a:cxn>
                    <a:cxn ang="0">
                      <a:pos x="35" y="98"/>
                    </a:cxn>
                    <a:cxn ang="0">
                      <a:pos x="33" y="103"/>
                    </a:cxn>
                    <a:cxn ang="0">
                      <a:pos x="30" y="108"/>
                    </a:cxn>
                    <a:cxn ang="0">
                      <a:pos x="28" y="110"/>
                    </a:cxn>
                    <a:cxn ang="0">
                      <a:pos x="25" y="112"/>
                    </a:cxn>
                    <a:cxn ang="0">
                      <a:pos x="25" y="112"/>
                    </a:cxn>
                    <a:cxn ang="0">
                      <a:pos x="21" y="112"/>
                    </a:cxn>
                    <a:cxn ang="0">
                      <a:pos x="18" y="110"/>
                    </a:cxn>
                    <a:cxn ang="0">
                      <a:pos x="14" y="107"/>
                    </a:cxn>
                    <a:cxn ang="0">
                      <a:pos x="13" y="101"/>
                    </a:cxn>
                    <a:cxn ang="0">
                      <a:pos x="9" y="91"/>
                    </a:cxn>
                    <a:cxn ang="0">
                      <a:pos x="11" y="79"/>
                    </a:cxn>
                    <a:cxn ang="0">
                      <a:pos x="11" y="79"/>
                    </a:cxn>
                    <a:cxn ang="0">
                      <a:pos x="13" y="68"/>
                    </a:cxn>
                    <a:cxn ang="0">
                      <a:pos x="13" y="65"/>
                    </a:cxn>
                    <a:cxn ang="0">
                      <a:pos x="11" y="61"/>
                    </a:cxn>
                    <a:cxn ang="0">
                      <a:pos x="11" y="54"/>
                    </a:cxn>
                    <a:cxn ang="0">
                      <a:pos x="11" y="54"/>
                    </a:cxn>
                    <a:cxn ang="0">
                      <a:pos x="11" y="47"/>
                    </a:cxn>
                    <a:cxn ang="0">
                      <a:pos x="11" y="42"/>
                    </a:cxn>
                    <a:cxn ang="0">
                      <a:pos x="7" y="35"/>
                    </a:cxn>
                    <a:cxn ang="0">
                      <a:pos x="2" y="30"/>
                    </a:cxn>
                    <a:cxn ang="0">
                      <a:pos x="2" y="26"/>
                    </a:cxn>
                    <a:cxn ang="0">
                      <a:pos x="0" y="23"/>
                    </a:cxn>
                    <a:cxn ang="0">
                      <a:pos x="0" y="23"/>
                    </a:cxn>
                  </a:cxnLst>
                  <a:rect l="0" t="0" r="r" b="b"/>
                  <a:pathLst>
                    <a:path w="60" h="112">
                      <a:moveTo>
                        <a:pt x="0" y="23"/>
                      </a:moveTo>
                      <a:lnTo>
                        <a:pt x="0" y="23"/>
                      </a:lnTo>
                      <a:lnTo>
                        <a:pt x="2" y="14"/>
                      </a:lnTo>
                      <a:lnTo>
                        <a:pt x="4" y="14"/>
                      </a:lnTo>
                      <a:lnTo>
                        <a:pt x="6" y="16"/>
                      </a:lnTo>
                      <a:lnTo>
                        <a:pt x="7" y="18"/>
                      </a:lnTo>
                      <a:lnTo>
                        <a:pt x="13" y="18"/>
                      </a:lnTo>
                      <a:lnTo>
                        <a:pt x="18" y="18"/>
                      </a:lnTo>
                      <a:lnTo>
                        <a:pt x="23" y="13"/>
                      </a:lnTo>
                      <a:lnTo>
                        <a:pt x="23" y="13"/>
                      </a:lnTo>
                      <a:lnTo>
                        <a:pt x="35" y="4"/>
                      </a:lnTo>
                      <a:lnTo>
                        <a:pt x="40" y="2"/>
                      </a:lnTo>
                      <a:lnTo>
                        <a:pt x="44" y="0"/>
                      </a:lnTo>
                      <a:lnTo>
                        <a:pt x="46" y="0"/>
                      </a:lnTo>
                      <a:lnTo>
                        <a:pt x="47" y="2"/>
                      </a:lnTo>
                      <a:lnTo>
                        <a:pt x="53" y="7"/>
                      </a:lnTo>
                      <a:lnTo>
                        <a:pt x="53" y="7"/>
                      </a:lnTo>
                      <a:lnTo>
                        <a:pt x="56" y="14"/>
                      </a:lnTo>
                      <a:lnTo>
                        <a:pt x="60" y="23"/>
                      </a:lnTo>
                      <a:lnTo>
                        <a:pt x="60" y="33"/>
                      </a:lnTo>
                      <a:lnTo>
                        <a:pt x="60" y="37"/>
                      </a:lnTo>
                      <a:lnTo>
                        <a:pt x="56" y="42"/>
                      </a:lnTo>
                      <a:lnTo>
                        <a:pt x="56" y="42"/>
                      </a:lnTo>
                      <a:lnTo>
                        <a:pt x="54" y="47"/>
                      </a:lnTo>
                      <a:lnTo>
                        <a:pt x="54" y="51"/>
                      </a:lnTo>
                      <a:lnTo>
                        <a:pt x="58" y="58"/>
                      </a:lnTo>
                      <a:lnTo>
                        <a:pt x="58" y="65"/>
                      </a:lnTo>
                      <a:lnTo>
                        <a:pt x="56" y="73"/>
                      </a:lnTo>
                      <a:lnTo>
                        <a:pt x="56" y="73"/>
                      </a:lnTo>
                      <a:lnTo>
                        <a:pt x="54" y="89"/>
                      </a:lnTo>
                      <a:lnTo>
                        <a:pt x="51" y="98"/>
                      </a:lnTo>
                      <a:lnTo>
                        <a:pt x="49" y="100"/>
                      </a:lnTo>
                      <a:lnTo>
                        <a:pt x="47" y="101"/>
                      </a:lnTo>
                      <a:lnTo>
                        <a:pt x="40" y="100"/>
                      </a:lnTo>
                      <a:lnTo>
                        <a:pt x="40" y="100"/>
                      </a:lnTo>
                      <a:lnTo>
                        <a:pt x="37" y="98"/>
                      </a:lnTo>
                      <a:lnTo>
                        <a:pt x="35" y="98"/>
                      </a:lnTo>
                      <a:lnTo>
                        <a:pt x="33" y="103"/>
                      </a:lnTo>
                      <a:lnTo>
                        <a:pt x="30" y="108"/>
                      </a:lnTo>
                      <a:lnTo>
                        <a:pt x="28" y="110"/>
                      </a:lnTo>
                      <a:lnTo>
                        <a:pt x="25" y="112"/>
                      </a:lnTo>
                      <a:lnTo>
                        <a:pt x="25" y="112"/>
                      </a:lnTo>
                      <a:lnTo>
                        <a:pt x="21" y="112"/>
                      </a:lnTo>
                      <a:lnTo>
                        <a:pt x="18" y="110"/>
                      </a:lnTo>
                      <a:lnTo>
                        <a:pt x="14" y="107"/>
                      </a:lnTo>
                      <a:lnTo>
                        <a:pt x="13" y="101"/>
                      </a:lnTo>
                      <a:lnTo>
                        <a:pt x="9" y="91"/>
                      </a:lnTo>
                      <a:lnTo>
                        <a:pt x="11" y="79"/>
                      </a:lnTo>
                      <a:lnTo>
                        <a:pt x="11" y="79"/>
                      </a:lnTo>
                      <a:lnTo>
                        <a:pt x="13" y="68"/>
                      </a:lnTo>
                      <a:lnTo>
                        <a:pt x="13" y="65"/>
                      </a:lnTo>
                      <a:lnTo>
                        <a:pt x="11" y="61"/>
                      </a:lnTo>
                      <a:lnTo>
                        <a:pt x="11" y="54"/>
                      </a:lnTo>
                      <a:lnTo>
                        <a:pt x="11" y="54"/>
                      </a:lnTo>
                      <a:lnTo>
                        <a:pt x="11" y="47"/>
                      </a:lnTo>
                      <a:lnTo>
                        <a:pt x="11" y="42"/>
                      </a:lnTo>
                      <a:lnTo>
                        <a:pt x="7" y="35"/>
                      </a:lnTo>
                      <a:lnTo>
                        <a:pt x="2" y="30"/>
                      </a:lnTo>
                      <a:lnTo>
                        <a:pt x="2" y="26"/>
                      </a:lnTo>
                      <a:lnTo>
                        <a:pt x="0" y="23"/>
                      </a:lnTo>
                      <a:lnTo>
                        <a:pt x="0" y="2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6" name="Freeform 1983">
                  <a:extLst>
                    <a:ext uri="{FF2B5EF4-FFF2-40B4-BE49-F238E27FC236}">
                      <a16:creationId xmlns:a16="http://schemas.microsoft.com/office/drawing/2014/main" id="{2DE863B8-6AD3-E5DC-B70F-199253E1C904}"/>
                    </a:ext>
                  </a:extLst>
                </p:cNvPr>
                <p:cNvSpPr>
                  <a:spLocks/>
                </p:cNvSpPr>
                <p:nvPr/>
              </p:nvSpPr>
              <p:spPr bwMode="auto">
                <a:xfrm>
                  <a:off x="4816651" y="2555950"/>
                  <a:ext cx="107483" cy="114531"/>
                </a:xfrm>
                <a:custGeom>
                  <a:avLst/>
                  <a:gdLst/>
                  <a:ahLst/>
                  <a:cxnLst>
                    <a:cxn ang="0">
                      <a:pos x="129" y="11"/>
                    </a:cxn>
                    <a:cxn ang="0">
                      <a:pos x="115" y="0"/>
                    </a:cxn>
                    <a:cxn ang="0">
                      <a:pos x="77" y="9"/>
                    </a:cxn>
                    <a:cxn ang="0">
                      <a:pos x="66" y="23"/>
                    </a:cxn>
                    <a:cxn ang="0">
                      <a:pos x="70" y="25"/>
                    </a:cxn>
                    <a:cxn ang="0">
                      <a:pos x="73" y="34"/>
                    </a:cxn>
                    <a:cxn ang="0">
                      <a:pos x="77" y="35"/>
                    </a:cxn>
                    <a:cxn ang="0">
                      <a:pos x="80" y="47"/>
                    </a:cxn>
                    <a:cxn ang="0">
                      <a:pos x="84" y="56"/>
                    </a:cxn>
                    <a:cxn ang="0">
                      <a:pos x="72" y="65"/>
                    </a:cxn>
                    <a:cxn ang="0">
                      <a:pos x="58" y="54"/>
                    </a:cxn>
                    <a:cxn ang="0">
                      <a:pos x="63" y="46"/>
                    </a:cxn>
                    <a:cxn ang="0">
                      <a:pos x="61" y="37"/>
                    </a:cxn>
                    <a:cxn ang="0">
                      <a:pos x="61" y="30"/>
                    </a:cxn>
                    <a:cxn ang="0">
                      <a:pos x="52" y="28"/>
                    </a:cxn>
                    <a:cxn ang="0">
                      <a:pos x="46" y="37"/>
                    </a:cxn>
                    <a:cxn ang="0">
                      <a:pos x="39" y="65"/>
                    </a:cxn>
                    <a:cxn ang="0">
                      <a:pos x="25" y="82"/>
                    </a:cxn>
                    <a:cxn ang="0">
                      <a:pos x="18" y="89"/>
                    </a:cxn>
                    <a:cxn ang="0">
                      <a:pos x="12" y="95"/>
                    </a:cxn>
                    <a:cxn ang="0">
                      <a:pos x="23" y="103"/>
                    </a:cxn>
                    <a:cxn ang="0">
                      <a:pos x="4" y="101"/>
                    </a:cxn>
                    <a:cxn ang="0">
                      <a:pos x="9" y="107"/>
                    </a:cxn>
                    <a:cxn ang="0">
                      <a:pos x="25" y="107"/>
                    </a:cxn>
                    <a:cxn ang="0">
                      <a:pos x="26" y="110"/>
                    </a:cxn>
                    <a:cxn ang="0">
                      <a:pos x="12" y="112"/>
                    </a:cxn>
                    <a:cxn ang="0">
                      <a:pos x="0" y="110"/>
                    </a:cxn>
                    <a:cxn ang="0">
                      <a:pos x="7" y="117"/>
                    </a:cxn>
                    <a:cxn ang="0">
                      <a:pos x="25" y="117"/>
                    </a:cxn>
                    <a:cxn ang="0">
                      <a:pos x="37" y="112"/>
                    </a:cxn>
                    <a:cxn ang="0">
                      <a:pos x="40" y="105"/>
                    </a:cxn>
                    <a:cxn ang="0">
                      <a:pos x="51" y="107"/>
                    </a:cxn>
                    <a:cxn ang="0">
                      <a:pos x="54" y="108"/>
                    </a:cxn>
                    <a:cxn ang="0">
                      <a:pos x="70" y="117"/>
                    </a:cxn>
                    <a:cxn ang="0">
                      <a:pos x="86" y="122"/>
                    </a:cxn>
                    <a:cxn ang="0">
                      <a:pos x="80" y="140"/>
                    </a:cxn>
                    <a:cxn ang="0">
                      <a:pos x="94" y="142"/>
                    </a:cxn>
                    <a:cxn ang="0">
                      <a:pos x="93" y="131"/>
                    </a:cxn>
                    <a:cxn ang="0">
                      <a:pos x="96" y="124"/>
                    </a:cxn>
                    <a:cxn ang="0">
                      <a:pos x="98" y="117"/>
                    </a:cxn>
                    <a:cxn ang="0">
                      <a:pos x="98" y="101"/>
                    </a:cxn>
                    <a:cxn ang="0">
                      <a:pos x="93" y="88"/>
                    </a:cxn>
                    <a:cxn ang="0">
                      <a:pos x="110" y="86"/>
                    </a:cxn>
                    <a:cxn ang="0">
                      <a:pos x="120" y="79"/>
                    </a:cxn>
                    <a:cxn ang="0">
                      <a:pos x="124" y="72"/>
                    </a:cxn>
                    <a:cxn ang="0">
                      <a:pos x="131" y="60"/>
                    </a:cxn>
                    <a:cxn ang="0">
                      <a:pos x="119" y="54"/>
                    </a:cxn>
                    <a:cxn ang="0">
                      <a:pos x="119" y="46"/>
                    </a:cxn>
                    <a:cxn ang="0">
                      <a:pos x="126" y="44"/>
                    </a:cxn>
                    <a:cxn ang="0">
                      <a:pos x="136" y="13"/>
                    </a:cxn>
                  </a:cxnLst>
                  <a:rect l="0" t="0" r="r" b="b"/>
                  <a:pathLst>
                    <a:path w="136" h="143">
                      <a:moveTo>
                        <a:pt x="136" y="13"/>
                      </a:moveTo>
                      <a:lnTo>
                        <a:pt x="136" y="13"/>
                      </a:lnTo>
                      <a:lnTo>
                        <a:pt x="133" y="13"/>
                      </a:lnTo>
                      <a:lnTo>
                        <a:pt x="129" y="11"/>
                      </a:lnTo>
                      <a:lnTo>
                        <a:pt x="124" y="6"/>
                      </a:lnTo>
                      <a:lnTo>
                        <a:pt x="124" y="6"/>
                      </a:lnTo>
                      <a:lnTo>
                        <a:pt x="120" y="2"/>
                      </a:lnTo>
                      <a:lnTo>
                        <a:pt x="115" y="0"/>
                      </a:lnTo>
                      <a:lnTo>
                        <a:pt x="93" y="4"/>
                      </a:lnTo>
                      <a:lnTo>
                        <a:pt x="93" y="4"/>
                      </a:lnTo>
                      <a:lnTo>
                        <a:pt x="84" y="7"/>
                      </a:lnTo>
                      <a:lnTo>
                        <a:pt x="77" y="9"/>
                      </a:lnTo>
                      <a:lnTo>
                        <a:pt x="72" y="13"/>
                      </a:lnTo>
                      <a:lnTo>
                        <a:pt x="70" y="16"/>
                      </a:lnTo>
                      <a:lnTo>
                        <a:pt x="66" y="20"/>
                      </a:lnTo>
                      <a:lnTo>
                        <a:pt x="66" y="23"/>
                      </a:lnTo>
                      <a:lnTo>
                        <a:pt x="66" y="25"/>
                      </a:lnTo>
                      <a:lnTo>
                        <a:pt x="68" y="25"/>
                      </a:lnTo>
                      <a:lnTo>
                        <a:pt x="68" y="25"/>
                      </a:lnTo>
                      <a:lnTo>
                        <a:pt x="70" y="25"/>
                      </a:lnTo>
                      <a:lnTo>
                        <a:pt x="72" y="27"/>
                      </a:lnTo>
                      <a:lnTo>
                        <a:pt x="72" y="30"/>
                      </a:lnTo>
                      <a:lnTo>
                        <a:pt x="72" y="32"/>
                      </a:lnTo>
                      <a:lnTo>
                        <a:pt x="73" y="34"/>
                      </a:lnTo>
                      <a:lnTo>
                        <a:pt x="75" y="34"/>
                      </a:lnTo>
                      <a:lnTo>
                        <a:pt x="75" y="34"/>
                      </a:lnTo>
                      <a:lnTo>
                        <a:pt x="77" y="35"/>
                      </a:lnTo>
                      <a:lnTo>
                        <a:pt x="77" y="35"/>
                      </a:lnTo>
                      <a:lnTo>
                        <a:pt x="77" y="41"/>
                      </a:lnTo>
                      <a:lnTo>
                        <a:pt x="77" y="44"/>
                      </a:lnTo>
                      <a:lnTo>
                        <a:pt x="79" y="46"/>
                      </a:lnTo>
                      <a:lnTo>
                        <a:pt x="80" y="47"/>
                      </a:lnTo>
                      <a:lnTo>
                        <a:pt x="80" y="47"/>
                      </a:lnTo>
                      <a:lnTo>
                        <a:pt x="84" y="49"/>
                      </a:lnTo>
                      <a:lnTo>
                        <a:pt x="86" y="53"/>
                      </a:lnTo>
                      <a:lnTo>
                        <a:pt x="84" y="56"/>
                      </a:lnTo>
                      <a:lnTo>
                        <a:pt x="82" y="60"/>
                      </a:lnTo>
                      <a:lnTo>
                        <a:pt x="79" y="61"/>
                      </a:lnTo>
                      <a:lnTo>
                        <a:pt x="75" y="65"/>
                      </a:lnTo>
                      <a:lnTo>
                        <a:pt x="72" y="65"/>
                      </a:lnTo>
                      <a:lnTo>
                        <a:pt x="66" y="65"/>
                      </a:lnTo>
                      <a:lnTo>
                        <a:pt x="66" y="65"/>
                      </a:lnTo>
                      <a:lnTo>
                        <a:pt x="61" y="60"/>
                      </a:lnTo>
                      <a:lnTo>
                        <a:pt x="58" y="54"/>
                      </a:lnTo>
                      <a:lnTo>
                        <a:pt x="58" y="51"/>
                      </a:lnTo>
                      <a:lnTo>
                        <a:pt x="58" y="49"/>
                      </a:lnTo>
                      <a:lnTo>
                        <a:pt x="61" y="47"/>
                      </a:lnTo>
                      <a:lnTo>
                        <a:pt x="63" y="46"/>
                      </a:lnTo>
                      <a:lnTo>
                        <a:pt x="63" y="46"/>
                      </a:lnTo>
                      <a:lnTo>
                        <a:pt x="66" y="42"/>
                      </a:lnTo>
                      <a:lnTo>
                        <a:pt x="65" y="41"/>
                      </a:lnTo>
                      <a:lnTo>
                        <a:pt x="61" y="37"/>
                      </a:lnTo>
                      <a:lnTo>
                        <a:pt x="59" y="37"/>
                      </a:lnTo>
                      <a:lnTo>
                        <a:pt x="59" y="35"/>
                      </a:lnTo>
                      <a:lnTo>
                        <a:pt x="59" y="35"/>
                      </a:lnTo>
                      <a:lnTo>
                        <a:pt x="61" y="30"/>
                      </a:lnTo>
                      <a:lnTo>
                        <a:pt x="63" y="27"/>
                      </a:lnTo>
                      <a:lnTo>
                        <a:pt x="63" y="25"/>
                      </a:lnTo>
                      <a:lnTo>
                        <a:pt x="61" y="25"/>
                      </a:lnTo>
                      <a:lnTo>
                        <a:pt x="52" y="28"/>
                      </a:lnTo>
                      <a:lnTo>
                        <a:pt x="52" y="28"/>
                      </a:lnTo>
                      <a:lnTo>
                        <a:pt x="49" y="28"/>
                      </a:lnTo>
                      <a:lnTo>
                        <a:pt x="47" y="30"/>
                      </a:lnTo>
                      <a:lnTo>
                        <a:pt x="46" y="37"/>
                      </a:lnTo>
                      <a:lnTo>
                        <a:pt x="44" y="49"/>
                      </a:lnTo>
                      <a:lnTo>
                        <a:pt x="40" y="56"/>
                      </a:lnTo>
                      <a:lnTo>
                        <a:pt x="39" y="65"/>
                      </a:lnTo>
                      <a:lnTo>
                        <a:pt x="39" y="65"/>
                      </a:lnTo>
                      <a:lnTo>
                        <a:pt x="32" y="75"/>
                      </a:lnTo>
                      <a:lnTo>
                        <a:pt x="26" y="79"/>
                      </a:lnTo>
                      <a:lnTo>
                        <a:pt x="25" y="81"/>
                      </a:lnTo>
                      <a:lnTo>
                        <a:pt x="25" y="82"/>
                      </a:lnTo>
                      <a:lnTo>
                        <a:pt x="25" y="82"/>
                      </a:lnTo>
                      <a:lnTo>
                        <a:pt x="25" y="86"/>
                      </a:lnTo>
                      <a:lnTo>
                        <a:pt x="25" y="88"/>
                      </a:lnTo>
                      <a:lnTo>
                        <a:pt x="18" y="89"/>
                      </a:lnTo>
                      <a:lnTo>
                        <a:pt x="12" y="91"/>
                      </a:lnTo>
                      <a:lnTo>
                        <a:pt x="12" y="93"/>
                      </a:lnTo>
                      <a:lnTo>
                        <a:pt x="12" y="95"/>
                      </a:lnTo>
                      <a:lnTo>
                        <a:pt x="12" y="95"/>
                      </a:lnTo>
                      <a:lnTo>
                        <a:pt x="18" y="96"/>
                      </a:lnTo>
                      <a:lnTo>
                        <a:pt x="26" y="98"/>
                      </a:lnTo>
                      <a:lnTo>
                        <a:pt x="30" y="100"/>
                      </a:lnTo>
                      <a:lnTo>
                        <a:pt x="23" y="103"/>
                      </a:lnTo>
                      <a:lnTo>
                        <a:pt x="23" y="103"/>
                      </a:lnTo>
                      <a:lnTo>
                        <a:pt x="11" y="100"/>
                      </a:lnTo>
                      <a:lnTo>
                        <a:pt x="7" y="100"/>
                      </a:lnTo>
                      <a:lnTo>
                        <a:pt x="4" y="101"/>
                      </a:lnTo>
                      <a:lnTo>
                        <a:pt x="4" y="101"/>
                      </a:lnTo>
                      <a:lnTo>
                        <a:pt x="4" y="103"/>
                      </a:lnTo>
                      <a:lnTo>
                        <a:pt x="4" y="103"/>
                      </a:lnTo>
                      <a:lnTo>
                        <a:pt x="9" y="107"/>
                      </a:lnTo>
                      <a:lnTo>
                        <a:pt x="16" y="108"/>
                      </a:lnTo>
                      <a:lnTo>
                        <a:pt x="19" y="108"/>
                      </a:lnTo>
                      <a:lnTo>
                        <a:pt x="19" y="108"/>
                      </a:lnTo>
                      <a:lnTo>
                        <a:pt x="25" y="107"/>
                      </a:lnTo>
                      <a:lnTo>
                        <a:pt x="26" y="108"/>
                      </a:lnTo>
                      <a:lnTo>
                        <a:pt x="28" y="110"/>
                      </a:lnTo>
                      <a:lnTo>
                        <a:pt x="26" y="110"/>
                      </a:lnTo>
                      <a:lnTo>
                        <a:pt x="26" y="110"/>
                      </a:lnTo>
                      <a:lnTo>
                        <a:pt x="19" y="112"/>
                      </a:lnTo>
                      <a:lnTo>
                        <a:pt x="16" y="114"/>
                      </a:lnTo>
                      <a:lnTo>
                        <a:pt x="12" y="112"/>
                      </a:lnTo>
                      <a:lnTo>
                        <a:pt x="12" y="112"/>
                      </a:lnTo>
                      <a:lnTo>
                        <a:pt x="9" y="110"/>
                      </a:lnTo>
                      <a:lnTo>
                        <a:pt x="5" y="110"/>
                      </a:lnTo>
                      <a:lnTo>
                        <a:pt x="0" y="110"/>
                      </a:lnTo>
                      <a:lnTo>
                        <a:pt x="0" y="110"/>
                      </a:lnTo>
                      <a:lnTo>
                        <a:pt x="2" y="115"/>
                      </a:lnTo>
                      <a:lnTo>
                        <a:pt x="4" y="117"/>
                      </a:lnTo>
                      <a:lnTo>
                        <a:pt x="7" y="117"/>
                      </a:lnTo>
                      <a:lnTo>
                        <a:pt x="7" y="117"/>
                      </a:lnTo>
                      <a:lnTo>
                        <a:pt x="11" y="117"/>
                      </a:lnTo>
                      <a:lnTo>
                        <a:pt x="14" y="119"/>
                      </a:lnTo>
                      <a:lnTo>
                        <a:pt x="19" y="119"/>
                      </a:lnTo>
                      <a:lnTo>
                        <a:pt x="25" y="117"/>
                      </a:lnTo>
                      <a:lnTo>
                        <a:pt x="25" y="117"/>
                      </a:lnTo>
                      <a:lnTo>
                        <a:pt x="30" y="114"/>
                      </a:lnTo>
                      <a:lnTo>
                        <a:pt x="33" y="114"/>
                      </a:lnTo>
                      <a:lnTo>
                        <a:pt x="37" y="112"/>
                      </a:lnTo>
                      <a:lnTo>
                        <a:pt x="39" y="108"/>
                      </a:lnTo>
                      <a:lnTo>
                        <a:pt x="39" y="108"/>
                      </a:lnTo>
                      <a:lnTo>
                        <a:pt x="40" y="105"/>
                      </a:lnTo>
                      <a:lnTo>
                        <a:pt x="40" y="105"/>
                      </a:lnTo>
                      <a:lnTo>
                        <a:pt x="42" y="107"/>
                      </a:lnTo>
                      <a:lnTo>
                        <a:pt x="46" y="108"/>
                      </a:lnTo>
                      <a:lnTo>
                        <a:pt x="46" y="108"/>
                      </a:lnTo>
                      <a:lnTo>
                        <a:pt x="51" y="107"/>
                      </a:lnTo>
                      <a:lnTo>
                        <a:pt x="51" y="108"/>
                      </a:lnTo>
                      <a:lnTo>
                        <a:pt x="52" y="110"/>
                      </a:lnTo>
                      <a:lnTo>
                        <a:pt x="54" y="108"/>
                      </a:lnTo>
                      <a:lnTo>
                        <a:pt x="54" y="108"/>
                      </a:lnTo>
                      <a:lnTo>
                        <a:pt x="59" y="108"/>
                      </a:lnTo>
                      <a:lnTo>
                        <a:pt x="61" y="112"/>
                      </a:lnTo>
                      <a:lnTo>
                        <a:pt x="66" y="115"/>
                      </a:lnTo>
                      <a:lnTo>
                        <a:pt x="70" y="117"/>
                      </a:lnTo>
                      <a:lnTo>
                        <a:pt x="77" y="117"/>
                      </a:lnTo>
                      <a:lnTo>
                        <a:pt x="77" y="117"/>
                      </a:lnTo>
                      <a:lnTo>
                        <a:pt x="84" y="119"/>
                      </a:lnTo>
                      <a:lnTo>
                        <a:pt x="86" y="122"/>
                      </a:lnTo>
                      <a:lnTo>
                        <a:pt x="86" y="126"/>
                      </a:lnTo>
                      <a:lnTo>
                        <a:pt x="84" y="131"/>
                      </a:lnTo>
                      <a:lnTo>
                        <a:pt x="80" y="135"/>
                      </a:lnTo>
                      <a:lnTo>
                        <a:pt x="80" y="140"/>
                      </a:lnTo>
                      <a:lnTo>
                        <a:pt x="84" y="142"/>
                      </a:lnTo>
                      <a:lnTo>
                        <a:pt x="93" y="143"/>
                      </a:lnTo>
                      <a:lnTo>
                        <a:pt x="93" y="143"/>
                      </a:lnTo>
                      <a:lnTo>
                        <a:pt x="94" y="142"/>
                      </a:lnTo>
                      <a:lnTo>
                        <a:pt x="96" y="138"/>
                      </a:lnTo>
                      <a:lnTo>
                        <a:pt x="96" y="135"/>
                      </a:lnTo>
                      <a:lnTo>
                        <a:pt x="94" y="133"/>
                      </a:lnTo>
                      <a:lnTo>
                        <a:pt x="93" y="131"/>
                      </a:lnTo>
                      <a:lnTo>
                        <a:pt x="93" y="131"/>
                      </a:lnTo>
                      <a:lnTo>
                        <a:pt x="89" y="129"/>
                      </a:lnTo>
                      <a:lnTo>
                        <a:pt x="91" y="128"/>
                      </a:lnTo>
                      <a:lnTo>
                        <a:pt x="96" y="124"/>
                      </a:lnTo>
                      <a:lnTo>
                        <a:pt x="96" y="124"/>
                      </a:lnTo>
                      <a:lnTo>
                        <a:pt x="96" y="121"/>
                      </a:lnTo>
                      <a:lnTo>
                        <a:pt x="96" y="121"/>
                      </a:lnTo>
                      <a:lnTo>
                        <a:pt x="98" y="117"/>
                      </a:lnTo>
                      <a:lnTo>
                        <a:pt x="99" y="114"/>
                      </a:lnTo>
                      <a:lnTo>
                        <a:pt x="101" y="108"/>
                      </a:lnTo>
                      <a:lnTo>
                        <a:pt x="101" y="107"/>
                      </a:lnTo>
                      <a:lnTo>
                        <a:pt x="98" y="101"/>
                      </a:lnTo>
                      <a:lnTo>
                        <a:pt x="98" y="101"/>
                      </a:lnTo>
                      <a:lnTo>
                        <a:pt x="94" y="95"/>
                      </a:lnTo>
                      <a:lnTo>
                        <a:pt x="93" y="89"/>
                      </a:lnTo>
                      <a:lnTo>
                        <a:pt x="93" y="88"/>
                      </a:lnTo>
                      <a:lnTo>
                        <a:pt x="94" y="86"/>
                      </a:lnTo>
                      <a:lnTo>
                        <a:pt x="101" y="86"/>
                      </a:lnTo>
                      <a:lnTo>
                        <a:pt x="101" y="86"/>
                      </a:lnTo>
                      <a:lnTo>
                        <a:pt x="110" y="86"/>
                      </a:lnTo>
                      <a:lnTo>
                        <a:pt x="117" y="84"/>
                      </a:lnTo>
                      <a:lnTo>
                        <a:pt x="120" y="81"/>
                      </a:lnTo>
                      <a:lnTo>
                        <a:pt x="122" y="81"/>
                      </a:lnTo>
                      <a:lnTo>
                        <a:pt x="120" y="79"/>
                      </a:lnTo>
                      <a:lnTo>
                        <a:pt x="120" y="79"/>
                      </a:lnTo>
                      <a:lnTo>
                        <a:pt x="119" y="77"/>
                      </a:lnTo>
                      <a:lnTo>
                        <a:pt x="119" y="75"/>
                      </a:lnTo>
                      <a:lnTo>
                        <a:pt x="124" y="72"/>
                      </a:lnTo>
                      <a:lnTo>
                        <a:pt x="129" y="67"/>
                      </a:lnTo>
                      <a:lnTo>
                        <a:pt x="129" y="63"/>
                      </a:lnTo>
                      <a:lnTo>
                        <a:pt x="131" y="60"/>
                      </a:lnTo>
                      <a:lnTo>
                        <a:pt x="131" y="60"/>
                      </a:lnTo>
                      <a:lnTo>
                        <a:pt x="129" y="56"/>
                      </a:lnTo>
                      <a:lnTo>
                        <a:pt x="127" y="54"/>
                      </a:lnTo>
                      <a:lnTo>
                        <a:pt x="124" y="54"/>
                      </a:lnTo>
                      <a:lnTo>
                        <a:pt x="119" y="54"/>
                      </a:lnTo>
                      <a:lnTo>
                        <a:pt x="119" y="53"/>
                      </a:lnTo>
                      <a:lnTo>
                        <a:pt x="117" y="49"/>
                      </a:lnTo>
                      <a:lnTo>
                        <a:pt x="117" y="49"/>
                      </a:lnTo>
                      <a:lnTo>
                        <a:pt x="119" y="46"/>
                      </a:lnTo>
                      <a:lnTo>
                        <a:pt x="119" y="44"/>
                      </a:lnTo>
                      <a:lnTo>
                        <a:pt x="122" y="44"/>
                      </a:lnTo>
                      <a:lnTo>
                        <a:pt x="126" y="44"/>
                      </a:lnTo>
                      <a:lnTo>
                        <a:pt x="126" y="44"/>
                      </a:lnTo>
                      <a:lnTo>
                        <a:pt x="129" y="44"/>
                      </a:lnTo>
                      <a:lnTo>
                        <a:pt x="131" y="41"/>
                      </a:lnTo>
                      <a:lnTo>
                        <a:pt x="136" y="13"/>
                      </a:lnTo>
                      <a:lnTo>
                        <a:pt x="136" y="1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7" name="Freeform 1984">
                  <a:extLst>
                    <a:ext uri="{FF2B5EF4-FFF2-40B4-BE49-F238E27FC236}">
                      <a16:creationId xmlns:a16="http://schemas.microsoft.com/office/drawing/2014/main" id="{039F2246-EAD7-6123-B94A-6A904E50465D}"/>
                    </a:ext>
                  </a:extLst>
                </p:cNvPr>
                <p:cNvSpPr>
                  <a:spLocks/>
                </p:cNvSpPr>
                <p:nvPr/>
              </p:nvSpPr>
              <p:spPr bwMode="auto">
                <a:xfrm>
                  <a:off x="8895687" y="4656258"/>
                  <a:ext cx="114530" cy="75767"/>
                </a:xfrm>
                <a:custGeom>
                  <a:avLst/>
                  <a:gdLst/>
                  <a:ahLst/>
                  <a:cxnLst>
                    <a:cxn ang="0">
                      <a:pos x="0" y="61"/>
                    </a:cxn>
                    <a:cxn ang="0">
                      <a:pos x="4" y="57"/>
                    </a:cxn>
                    <a:cxn ang="0">
                      <a:pos x="19" y="56"/>
                    </a:cxn>
                    <a:cxn ang="0">
                      <a:pos x="40" y="59"/>
                    </a:cxn>
                    <a:cxn ang="0">
                      <a:pos x="56" y="59"/>
                    </a:cxn>
                    <a:cxn ang="0">
                      <a:pos x="58" y="54"/>
                    </a:cxn>
                    <a:cxn ang="0">
                      <a:pos x="58" y="43"/>
                    </a:cxn>
                    <a:cxn ang="0">
                      <a:pos x="65" y="36"/>
                    </a:cxn>
                    <a:cxn ang="0">
                      <a:pos x="66" y="38"/>
                    </a:cxn>
                    <a:cxn ang="0">
                      <a:pos x="66" y="42"/>
                    </a:cxn>
                    <a:cxn ang="0">
                      <a:pos x="63" y="47"/>
                    </a:cxn>
                    <a:cxn ang="0">
                      <a:pos x="65" y="54"/>
                    </a:cxn>
                    <a:cxn ang="0">
                      <a:pos x="70" y="59"/>
                    </a:cxn>
                    <a:cxn ang="0">
                      <a:pos x="75" y="56"/>
                    </a:cxn>
                    <a:cxn ang="0">
                      <a:pos x="79" y="57"/>
                    </a:cxn>
                    <a:cxn ang="0">
                      <a:pos x="89" y="57"/>
                    </a:cxn>
                    <a:cxn ang="0">
                      <a:pos x="96" y="47"/>
                    </a:cxn>
                    <a:cxn ang="0">
                      <a:pos x="103" y="36"/>
                    </a:cxn>
                    <a:cxn ang="0">
                      <a:pos x="113" y="33"/>
                    </a:cxn>
                    <a:cxn ang="0">
                      <a:pos x="117" y="35"/>
                    </a:cxn>
                    <a:cxn ang="0">
                      <a:pos x="115" y="21"/>
                    </a:cxn>
                    <a:cxn ang="0">
                      <a:pos x="113" y="3"/>
                    </a:cxn>
                    <a:cxn ang="0">
                      <a:pos x="117" y="2"/>
                    </a:cxn>
                    <a:cxn ang="0">
                      <a:pos x="133" y="0"/>
                    </a:cxn>
                    <a:cxn ang="0">
                      <a:pos x="141" y="5"/>
                    </a:cxn>
                    <a:cxn ang="0">
                      <a:pos x="145" y="9"/>
                    </a:cxn>
                    <a:cxn ang="0">
                      <a:pos x="145" y="22"/>
                    </a:cxn>
                    <a:cxn ang="0">
                      <a:pos x="138" y="35"/>
                    </a:cxn>
                    <a:cxn ang="0">
                      <a:pos x="134" y="36"/>
                    </a:cxn>
                    <a:cxn ang="0">
                      <a:pos x="131" y="38"/>
                    </a:cxn>
                    <a:cxn ang="0">
                      <a:pos x="136" y="50"/>
                    </a:cxn>
                    <a:cxn ang="0">
                      <a:pos x="133" y="57"/>
                    </a:cxn>
                    <a:cxn ang="0">
                      <a:pos x="127" y="61"/>
                    </a:cxn>
                    <a:cxn ang="0">
                      <a:pos x="119" y="61"/>
                    </a:cxn>
                    <a:cxn ang="0">
                      <a:pos x="113" y="61"/>
                    </a:cxn>
                    <a:cxn ang="0">
                      <a:pos x="108" y="68"/>
                    </a:cxn>
                    <a:cxn ang="0">
                      <a:pos x="105" y="73"/>
                    </a:cxn>
                    <a:cxn ang="0">
                      <a:pos x="87" y="83"/>
                    </a:cxn>
                    <a:cxn ang="0">
                      <a:pos x="66" y="92"/>
                    </a:cxn>
                    <a:cxn ang="0">
                      <a:pos x="49" y="92"/>
                    </a:cxn>
                    <a:cxn ang="0">
                      <a:pos x="42" y="89"/>
                    </a:cxn>
                    <a:cxn ang="0">
                      <a:pos x="37" y="83"/>
                    </a:cxn>
                    <a:cxn ang="0">
                      <a:pos x="33" y="83"/>
                    </a:cxn>
                    <a:cxn ang="0">
                      <a:pos x="28" y="85"/>
                    </a:cxn>
                    <a:cxn ang="0">
                      <a:pos x="19" y="78"/>
                    </a:cxn>
                    <a:cxn ang="0">
                      <a:pos x="13" y="73"/>
                    </a:cxn>
                    <a:cxn ang="0">
                      <a:pos x="2" y="68"/>
                    </a:cxn>
                    <a:cxn ang="0">
                      <a:pos x="0" y="61"/>
                    </a:cxn>
                  </a:cxnLst>
                  <a:rect l="0" t="0" r="r" b="b"/>
                  <a:pathLst>
                    <a:path w="145" h="92">
                      <a:moveTo>
                        <a:pt x="0" y="61"/>
                      </a:moveTo>
                      <a:lnTo>
                        <a:pt x="0" y="61"/>
                      </a:lnTo>
                      <a:lnTo>
                        <a:pt x="2" y="59"/>
                      </a:lnTo>
                      <a:lnTo>
                        <a:pt x="4" y="57"/>
                      </a:lnTo>
                      <a:lnTo>
                        <a:pt x="9" y="56"/>
                      </a:lnTo>
                      <a:lnTo>
                        <a:pt x="19" y="56"/>
                      </a:lnTo>
                      <a:lnTo>
                        <a:pt x="30" y="57"/>
                      </a:lnTo>
                      <a:lnTo>
                        <a:pt x="40" y="59"/>
                      </a:lnTo>
                      <a:lnTo>
                        <a:pt x="49" y="59"/>
                      </a:lnTo>
                      <a:lnTo>
                        <a:pt x="56" y="59"/>
                      </a:lnTo>
                      <a:lnTo>
                        <a:pt x="58" y="57"/>
                      </a:lnTo>
                      <a:lnTo>
                        <a:pt x="58" y="54"/>
                      </a:lnTo>
                      <a:lnTo>
                        <a:pt x="58" y="54"/>
                      </a:lnTo>
                      <a:lnTo>
                        <a:pt x="58" y="43"/>
                      </a:lnTo>
                      <a:lnTo>
                        <a:pt x="61" y="38"/>
                      </a:lnTo>
                      <a:lnTo>
                        <a:pt x="65" y="36"/>
                      </a:lnTo>
                      <a:lnTo>
                        <a:pt x="66" y="36"/>
                      </a:lnTo>
                      <a:lnTo>
                        <a:pt x="66" y="38"/>
                      </a:lnTo>
                      <a:lnTo>
                        <a:pt x="66" y="38"/>
                      </a:lnTo>
                      <a:lnTo>
                        <a:pt x="66" y="42"/>
                      </a:lnTo>
                      <a:lnTo>
                        <a:pt x="65" y="43"/>
                      </a:lnTo>
                      <a:lnTo>
                        <a:pt x="63" y="47"/>
                      </a:lnTo>
                      <a:lnTo>
                        <a:pt x="65" y="54"/>
                      </a:lnTo>
                      <a:lnTo>
                        <a:pt x="65" y="54"/>
                      </a:lnTo>
                      <a:lnTo>
                        <a:pt x="68" y="59"/>
                      </a:lnTo>
                      <a:lnTo>
                        <a:pt x="70" y="59"/>
                      </a:lnTo>
                      <a:lnTo>
                        <a:pt x="73" y="56"/>
                      </a:lnTo>
                      <a:lnTo>
                        <a:pt x="75" y="56"/>
                      </a:lnTo>
                      <a:lnTo>
                        <a:pt x="79" y="57"/>
                      </a:lnTo>
                      <a:lnTo>
                        <a:pt x="79" y="57"/>
                      </a:lnTo>
                      <a:lnTo>
                        <a:pt x="84" y="59"/>
                      </a:lnTo>
                      <a:lnTo>
                        <a:pt x="89" y="57"/>
                      </a:lnTo>
                      <a:lnTo>
                        <a:pt x="93" y="52"/>
                      </a:lnTo>
                      <a:lnTo>
                        <a:pt x="96" y="47"/>
                      </a:lnTo>
                      <a:lnTo>
                        <a:pt x="98" y="42"/>
                      </a:lnTo>
                      <a:lnTo>
                        <a:pt x="103" y="36"/>
                      </a:lnTo>
                      <a:lnTo>
                        <a:pt x="107" y="33"/>
                      </a:lnTo>
                      <a:lnTo>
                        <a:pt x="113" y="33"/>
                      </a:lnTo>
                      <a:lnTo>
                        <a:pt x="113" y="33"/>
                      </a:lnTo>
                      <a:lnTo>
                        <a:pt x="117" y="35"/>
                      </a:lnTo>
                      <a:lnTo>
                        <a:pt x="119" y="31"/>
                      </a:lnTo>
                      <a:lnTo>
                        <a:pt x="115" y="21"/>
                      </a:lnTo>
                      <a:lnTo>
                        <a:pt x="112" y="9"/>
                      </a:lnTo>
                      <a:lnTo>
                        <a:pt x="113" y="3"/>
                      </a:lnTo>
                      <a:lnTo>
                        <a:pt x="115" y="2"/>
                      </a:lnTo>
                      <a:lnTo>
                        <a:pt x="117" y="2"/>
                      </a:lnTo>
                      <a:lnTo>
                        <a:pt x="117" y="2"/>
                      </a:lnTo>
                      <a:lnTo>
                        <a:pt x="133" y="0"/>
                      </a:lnTo>
                      <a:lnTo>
                        <a:pt x="138" y="2"/>
                      </a:lnTo>
                      <a:lnTo>
                        <a:pt x="141" y="5"/>
                      </a:lnTo>
                      <a:lnTo>
                        <a:pt x="141" y="5"/>
                      </a:lnTo>
                      <a:lnTo>
                        <a:pt x="145" y="9"/>
                      </a:lnTo>
                      <a:lnTo>
                        <a:pt x="145" y="14"/>
                      </a:lnTo>
                      <a:lnTo>
                        <a:pt x="145" y="22"/>
                      </a:lnTo>
                      <a:lnTo>
                        <a:pt x="141" y="31"/>
                      </a:lnTo>
                      <a:lnTo>
                        <a:pt x="138" y="35"/>
                      </a:lnTo>
                      <a:lnTo>
                        <a:pt x="134" y="36"/>
                      </a:lnTo>
                      <a:lnTo>
                        <a:pt x="134" y="36"/>
                      </a:lnTo>
                      <a:lnTo>
                        <a:pt x="131" y="36"/>
                      </a:lnTo>
                      <a:lnTo>
                        <a:pt x="131" y="38"/>
                      </a:lnTo>
                      <a:lnTo>
                        <a:pt x="133" y="43"/>
                      </a:lnTo>
                      <a:lnTo>
                        <a:pt x="136" y="50"/>
                      </a:lnTo>
                      <a:lnTo>
                        <a:pt x="134" y="54"/>
                      </a:lnTo>
                      <a:lnTo>
                        <a:pt x="133" y="57"/>
                      </a:lnTo>
                      <a:lnTo>
                        <a:pt x="133" y="57"/>
                      </a:lnTo>
                      <a:lnTo>
                        <a:pt x="127" y="61"/>
                      </a:lnTo>
                      <a:lnTo>
                        <a:pt x="126" y="61"/>
                      </a:lnTo>
                      <a:lnTo>
                        <a:pt x="119" y="61"/>
                      </a:lnTo>
                      <a:lnTo>
                        <a:pt x="117" y="61"/>
                      </a:lnTo>
                      <a:lnTo>
                        <a:pt x="113" y="61"/>
                      </a:lnTo>
                      <a:lnTo>
                        <a:pt x="112" y="63"/>
                      </a:lnTo>
                      <a:lnTo>
                        <a:pt x="108" y="68"/>
                      </a:lnTo>
                      <a:lnTo>
                        <a:pt x="108" y="68"/>
                      </a:lnTo>
                      <a:lnTo>
                        <a:pt x="105" y="73"/>
                      </a:lnTo>
                      <a:lnTo>
                        <a:pt x="98" y="78"/>
                      </a:lnTo>
                      <a:lnTo>
                        <a:pt x="87" y="83"/>
                      </a:lnTo>
                      <a:lnTo>
                        <a:pt x="77" y="89"/>
                      </a:lnTo>
                      <a:lnTo>
                        <a:pt x="66" y="92"/>
                      </a:lnTo>
                      <a:lnTo>
                        <a:pt x="56" y="92"/>
                      </a:lnTo>
                      <a:lnTo>
                        <a:pt x="49" y="92"/>
                      </a:lnTo>
                      <a:lnTo>
                        <a:pt x="42" y="89"/>
                      </a:lnTo>
                      <a:lnTo>
                        <a:pt x="42" y="89"/>
                      </a:lnTo>
                      <a:lnTo>
                        <a:pt x="39" y="83"/>
                      </a:lnTo>
                      <a:lnTo>
                        <a:pt x="37" y="83"/>
                      </a:lnTo>
                      <a:lnTo>
                        <a:pt x="35" y="83"/>
                      </a:lnTo>
                      <a:lnTo>
                        <a:pt x="33" y="83"/>
                      </a:lnTo>
                      <a:lnTo>
                        <a:pt x="32" y="85"/>
                      </a:lnTo>
                      <a:lnTo>
                        <a:pt x="28" y="85"/>
                      </a:lnTo>
                      <a:lnTo>
                        <a:pt x="25" y="83"/>
                      </a:lnTo>
                      <a:lnTo>
                        <a:pt x="19" y="78"/>
                      </a:lnTo>
                      <a:lnTo>
                        <a:pt x="19" y="78"/>
                      </a:lnTo>
                      <a:lnTo>
                        <a:pt x="13" y="73"/>
                      </a:lnTo>
                      <a:lnTo>
                        <a:pt x="6" y="69"/>
                      </a:lnTo>
                      <a:lnTo>
                        <a:pt x="2" y="68"/>
                      </a:lnTo>
                      <a:lnTo>
                        <a:pt x="0" y="61"/>
                      </a:lnTo>
                      <a:lnTo>
                        <a:pt x="0" y="6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8" name="Freeform 1985">
                  <a:extLst>
                    <a:ext uri="{FF2B5EF4-FFF2-40B4-BE49-F238E27FC236}">
                      <a16:creationId xmlns:a16="http://schemas.microsoft.com/office/drawing/2014/main" id="{54A45571-CAC7-A1EA-29F0-E865D2AF73DF}"/>
                    </a:ext>
                  </a:extLst>
                </p:cNvPr>
                <p:cNvSpPr>
                  <a:spLocks/>
                </p:cNvSpPr>
                <p:nvPr/>
              </p:nvSpPr>
              <p:spPr bwMode="auto">
                <a:xfrm>
                  <a:off x="9068360" y="4687974"/>
                  <a:ext cx="42289" cy="59908"/>
                </a:xfrm>
                <a:custGeom>
                  <a:avLst/>
                  <a:gdLst/>
                  <a:ahLst/>
                  <a:cxnLst>
                    <a:cxn ang="0">
                      <a:pos x="45" y="77"/>
                    </a:cxn>
                    <a:cxn ang="0">
                      <a:pos x="45" y="77"/>
                    </a:cxn>
                    <a:cxn ang="0">
                      <a:pos x="38" y="77"/>
                    </a:cxn>
                    <a:cxn ang="0">
                      <a:pos x="31" y="75"/>
                    </a:cxn>
                    <a:cxn ang="0">
                      <a:pos x="26" y="72"/>
                    </a:cxn>
                    <a:cxn ang="0">
                      <a:pos x="24" y="63"/>
                    </a:cxn>
                    <a:cxn ang="0">
                      <a:pos x="24" y="63"/>
                    </a:cxn>
                    <a:cxn ang="0">
                      <a:pos x="23" y="60"/>
                    </a:cxn>
                    <a:cxn ang="0">
                      <a:pos x="21" y="56"/>
                    </a:cxn>
                    <a:cxn ang="0">
                      <a:pos x="14" y="47"/>
                    </a:cxn>
                    <a:cxn ang="0">
                      <a:pos x="9" y="40"/>
                    </a:cxn>
                    <a:cxn ang="0">
                      <a:pos x="7" y="35"/>
                    </a:cxn>
                    <a:cxn ang="0">
                      <a:pos x="7" y="28"/>
                    </a:cxn>
                    <a:cxn ang="0">
                      <a:pos x="7" y="28"/>
                    </a:cxn>
                    <a:cxn ang="0">
                      <a:pos x="7" y="23"/>
                    </a:cxn>
                    <a:cxn ang="0">
                      <a:pos x="5" y="20"/>
                    </a:cxn>
                    <a:cxn ang="0">
                      <a:pos x="2" y="13"/>
                    </a:cxn>
                    <a:cxn ang="0">
                      <a:pos x="0" y="7"/>
                    </a:cxn>
                    <a:cxn ang="0">
                      <a:pos x="0" y="6"/>
                    </a:cxn>
                    <a:cxn ang="0">
                      <a:pos x="0" y="2"/>
                    </a:cxn>
                    <a:cxn ang="0">
                      <a:pos x="0" y="2"/>
                    </a:cxn>
                    <a:cxn ang="0">
                      <a:pos x="3" y="0"/>
                    </a:cxn>
                    <a:cxn ang="0">
                      <a:pos x="5" y="2"/>
                    </a:cxn>
                    <a:cxn ang="0">
                      <a:pos x="7" y="7"/>
                    </a:cxn>
                    <a:cxn ang="0">
                      <a:pos x="10" y="18"/>
                    </a:cxn>
                    <a:cxn ang="0">
                      <a:pos x="12" y="21"/>
                    </a:cxn>
                    <a:cxn ang="0">
                      <a:pos x="16" y="23"/>
                    </a:cxn>
                    <a:cxn ang="0">
                      <a:pos x="16" y="23"/>
                    </a:cxn>
                    <a:cxn ang="0">
                      <a:pos x="19" y="25"/>
                    </a:cxn>
                    <a:cxn ang="0">
                      <a:pos x="23" y="28"/>
                    </a:cxn>
                    <a:cxn ang="0">
                      <a:pos x="26" y="37"/>
                    </a:cxn>
                    <a:cxn ang="0">
                      <a:pos x="31" y="46"/>
                    </a:cxn>
                    <a:cxn ang="0">
                      <a:pos x="35" y="49"/>
                    </a:cxn>
                    <a:cxn ang="0">
                      <a:pos x="38" y="51"/>
                    </a:cxn>
                    <a:cxn ang="0">
                      <a:pos x="38" y="51"/>
                    </a:cxn>
                    <a:cxn ang="0">
                      <a:pos x="42" y="53"/>
                    </a:cxn>
                    <a:cxn ang="0">
                      <a:pos x="45" y="56"/>
                    </a:cxn>
                    <a:cxn ang="0">
                      <a:pos x="50" y="65"/>
                    </a:cxn>
                    <a:cxn ang="0">
                      <a:pos x="50" y="68"/>
                    </a:cxn>
                    <a:cxn ang="0">
                      <a:pos x="50" y="74"/>
                    </a:cxn>
                    <a:cxn ang="0">
                      <a:pos x="49" y="75"/>
                    </a:cxn>
                    <a:cxn ang="0">
                      <a:pos x="45" y="77"/>
                    </a:cxn>
                    <a:cxn ang="0">
                      <a:pos x="45" y="77"/>
                    </a:cxn>
                  </a:cxnLst>
                  <a:rect l="0" t="0" r="r" b="b"/>
                  <a:pathLst>
                    <a:path w="50" h="77">
                      <a:moveTo>
                        <a:pt x="45" y="77"/>
                      </a:moveTo>
                      <a:lnTo>
                        <a:pt x="45" y="77"/>
                      </a:lnTo>
                      <a:lnTo>
                        <a:pt x="38" y="77"/>
                      </a:lnTo>
                      <a:lnTo>
                        <a:pt x="31" y="75"/>
                      </a:lnTo>
                      <a:lnTo>
                        <a:pt x="26" y="72"/>
                      </a:lnTo>
                      <a:lnTo>
                        <a:pt x="24" y="63"/>
                      </a:lnTo>
                      <a:lnTo>
                        <a:pt x="24" y="63"/>
                      </a:lnTo>
                      <a:lnTo>
                        <a:pt x="23" y="60"/>
                      </a:lnTo>
                      <a:lnTo>
                        <a:pt x="21" y="56"/>
                      </a:lnTo>
                      <a:lnTo>
                        <a:pt x="14" y="47"/>
                      </a:lnTo>
                      <a:lnTo>
                        <a:pt x="9" y="40"/>
                      </a:lnTo>
                      <a:lnTo>
                        <a:pt x="7" y="35"/>
                      </a:lnTo>
                      <a:lnTo>
                        <a:pt x="7" y="28"/>
                      </a:lnTo>
                      <a:lnTo>
                        <a:pt x="7" y="28"/>
                      </a:lnTo>
                      <a:lnTo>
                        <a:pt x="7" y="23"/>
                      </a:lnTo>
                      <a:lnTo>
                        <a:pt x="5" y="20"/>
                      </a:lnTo>
                      <a:lnTo>
                        <a:pt x="2" y="13"/>
                      </a:lnTo>
                      <a:lnTo>
                        <a:pt x="0" y="7"/>
                      </a:lnTo>
                      <a:lnTo>
                        <a:pt x="0" y="6"/>
                      </a:lnTo>
                      <a:lnTo>
                        <a:pt x="0" y="2"/>
                      </a:lnTo>
                      <a:lnTo>
                        <a:pt x="0" y="2"/>
                      </a:lnTo>
                      <a:lnTo>
                        <a:pt x="3" y="0"/>
                      </a:lnTo>
                      <a:lnTo>
                        <a:pt x="5" y="2"/>
                      </a:lnTo>
                      <a:lnTo>
                        <a:pt x="7" y="7"/>
                      </a:lnTo>
                      <a:lnTo>
                        <a:pt x="10" y="18"/>
                      </a:lnTo>
                      <a:lnTo>
                        <a:pt x="12" y="21"/>
                      </a:lnTo>
                      <a:lnTo>
                        <a:pt x="16" y="23"/>
                      </a:lnTo>
                      <a:lnTo>
                        <a:pt x="16" y="23"/>
                      </a:lnTo>
                      <a:lnTo>
                        <a:pt x="19" y="25"/>
                      </a:lnTo>
                      <a:lnTo>
                        <a:pt x="23" y="28"/>
                      </a:lnTo>
                      <a:lnTo>
                        <a:pt x="26" y="37"/>
                      </a:lnTo>
                      <a:lnTo>
                        <a:pt x="31" y="46"/>
                      </a:lnTo>
                      <a:lnTo>
                        <a:pt x="35" y="49"/>
                      </a:lnTo>
                      <a:lnTo>
                        <a:pt x="38" y="51"/>
                      </a:lnTo>
                      <a:lnTo>
                        <a:pt x="38" y="51"/>
                      </a:lnTo>
                      <a:lnTo>
                        <a:pt x="42" y="53"/>
                      </a:lnTo>
                      <a:lnTo>
                        <a:pt x="45" y="56"/>
                      </a:lnTo>
                      <a:lnTo>
                        <a:pt x="50" y="65"/>
                      </a:lnTo>
                      <a:lnTo>
                        <a:pt x="50" y="68"/>
                      </a:lnTo>
                      <a:lnTo>
                        <a:pt x="50" y="74"/>
                      </a:lnTo>
                      <a:lnTo>
                        <a:pt x="49" y="75"/>
                      </a:lnTo>
                      <a:lnTo>
                        <a:pt x="45" y="77"/>
                      </a:lnTo>
                      <a:lnTo>
                        <a:pt x="45" y="7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9" name="Freeform 1986">
                  <a:extLst>
                    <a:ext uri="{FF2B5EF4-FFF2-40B4-BE49-F238E27FC236}">
                      <a16:creationId xmlns:a16="http://schemas.microsoft.com/office/drawing/2014/main" id="{101775D5-AC41-2336-98EF-6A87D883D954}"/>
                    </a:ext>
                  </a:extLst>
                </p:cNvPr>
                <p:cNvSpPr>
                  <a:spLocks/>
                </p:cNvSpPr>
                <p:nvPr/>
              </p:nvSpPr>
              <p:spPr bwMode="auto">
                <a:xfrm>
                  <a:off x="9182891" y="4774313"/>
                  <a:ext cx="37004" cy="33478"/>
                </a:xfrm>
                <a:custGeom>
                  <a:avLst/>
                  <a:gdLst/>
                  <a:ahLst/>
                  <a:cxnLst>
                    <a:cxn ang="0">
                      <a:pos x="5" y="2"/>
                    </a:cxn>
                    <a:cxn ang="0">
                      <a:pos x="5" y="2"/>
                    </a:cxn>
                    <a:cxn ang="0">
                      <a:pos x="14" y="6"/>
                    </a:cxn>
                    <a:cxn ang="0">
                      <a:pos x="17" y="9"/>
                    </a:cxn>
                    <a:cxn ang="0">
                      <a:pos x="21" y="13"/>
                    </a:cxn>
                    <a:cxn ang="0">
                      <a:pos x="28" y="18"/>
                    </a:cxn>
                    <a:cxn ang="0">
                      <a:pos x="28" y="18"/>
                    </a:cxn>
                    <a:cxn ang="0">
                      <a:pos x="33" y="21"/>
                    </a:cxn>
                    <a:cxn ang="0">
                      <a:pos x="38" y="25"/>
                    </a:cxn>
                    <a:cxn ang="0">
                      <a:pos x="47" y="35"/>
                    </a:cxn>
                    <a:cxn ang="0">
                      <a:pos x="49" y="44"/>
                    </a:cxn>
                    <a:cxn ang="0">
                      <a:pos x="49" y="44"/>
                    </a:cxn>
                    <a:cxn ang="0">
                      <a:pos x="45" y="40"/>
                    </a:cxn>
                    <a:cxn ang="0">
                      <a:pos x="45" y="40"/>
                    </a:cxn>
                    <a:cxn ang="0">
                      <a:pos x="33" y="33"/>
                    </a:cxn>
                    <a:cxn ang="0">
                      <a:pos x="19" y="25"/>
                    </a:cxn>
                    <a:cxn ang="0">
                      <a:pos x="7" y="18"/>
                    </a:cxn>
                    <a:cxn ang="0">
                      <a:pos x="3" y="14"/>
                    </a:cxn>
                    <a:cxn ang="0">
                      <a:pos x="2" y="11"/>
                    </a:cxn>
                    <a:cxn ang="0">
                      <a:pos x="2" y="11"/>
                    </a:cxn>
                    <a:cxn ang="0">
                      <a:pos x="0" y="0"/>
                    </a:cxn>
                    <a:cxn ang="0">
                      <a:pos x="2" y="0"/>
                    </a:cxn>
                    <a:cxn ang="0">
                      <a:pos x="5" y="2"/>
                    </a:cxn>
                    <a:cxn ang="0">
                      <a:pos x="5" y="2"/>
                    </a:cxn>
                  </a:cxnLst>
                  <a:rect l="0" t="0" r="r" b="b"/>
                  <a:pathLst>
                    <a:path w="49" h="44">
                      <a:moveTo>
                        <a:pt x="5" y="2"/>
                      </a:moveTo>
                      <a:lnTo>
                        <a:pt x="5" y="2"/>
                      </a:lnTo>
                      <a:lnTo>
                        <a:pt x="14" y="6"/>
                      </a:lnTo>
                      <a:lnTo>
                        <a:pt x="17" y="9"/>
                      </a:lnTo>
                      <a:lnTo>
                        <a:pt x="21" y="13"/>
                      </a:lnTo>
                      <a:lnTo>
                        <a:pt x="28" y="18"/>
                      </a:lnTo>
                      <a:lnTo>
                        <a:pt x="28" y="18"/>
                      </a:lnTo>
                      <a:lnTo>
                        <a:pt x="33" y="21"/>
                      </a:lnTo>
                      <a:lnTo>
                        <a:pt x="38" y="25"/>
                      </a:lnTo>
                      <a:lnTo>
                        <a:pt x="47" y="35"/>
                      </a:lnTo>
                      <a:lnTo>
                        <a:pt x="49" y="44"/>
                      </a:lnTo>
                      <a:lnTo>
                        <a:pt x="49" y="44"/>
                      </a:lnTo>
                      <a:lnTo>
                        <a:pt x="45" y="40"/>
                      </a:lnTo>
                      <a:lnTo>
                        <a:pt x="45" y="40"/>
                      </a:lnTo>
                      <a:lnTo>
                        <a:pt x="33" y="33"/>
                      </a:lnTo>
                      <a:lnTo>
                        <a:pt x="19" y="25"/>
                      </a:lnTo>
                      <a:lnTo>
                        <a:pt x="7" y="18"/>
                      </a:lnTo>
                      <a:lnTo>
                        <a:pt x="3" y="14"/>
                      </a:lnTo>
                      <a:lnTo>
                        <a:pt x="2" y="11"/>
                      </a:lnTo>
                      <a:lnTo>
                        <a:pt x="2" y="11"/>
                      </a:lnTo>
                      <a:lnTo>
                        <a:pt x="0" y="0"/>
                      </a:lnTo>
                      <a:lnTo>
                        <a:pt x="2" y="0"/>
                      </a:lnTo>
                      <a:lnTo>
                        <a:pt x="5" y="2"/>
                      </a:lnTo>
                      <a:lnTo>
                        <a:pt x="5"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0" name="Freeform 1987">
                  <a:extLst>
                    <a:ext uri="{FF2B5EF4-FFF2-40B4-BE49-F238E27FC236}">
                      <a16:creationId xmlns:a16="http://schemas.microsoft.com/office/drawing/2014/main" id="{0EFE1B59-3B5D-E1B0-C7A8-FEE9ECD5689B}"/>
                    </a:ext>
                  </a:extLst>
                </p:cNvPr>
                <p:cNvSpPr>
                  <a:spLocks/>
                </p:cNvSpPr>
                <p:nvPr/>
              </p:nvSpPr>
              <p:spPr bwMode="auto">
                <a:xfrm>
                  <a:off x="6164581" y="1616805"/>
                  <a:ext cx="177963" cy="149769"/>
                </a:xfrm>
                <a:custGeom>
                  <a:avLst/>
                  <a:gdLst/>
                  <a:ahLst/>
                  <a:cxnLst>
                    <a:cxn ang="0">
                      <a:pos x="218" y="176"/>
                    </a:cxn>
                    <a:cxn ang="0">
                      <a:pos x="197" y="183"/>
                    </a:cxn>
                    <a:cxn ang="0">
                      <a:pos x="181" y="185"/>
                    </a:cxn>
                    <a:cxn ang="0">
                      <a:pos x="153" y="180"/>
                    </a:cxn>
                    <a:cxn ang="0">
                      <a:pos x="141" y="180"/>
                    </a:cxn>
                    <a:cxn ang="0">
                      <a:pos x="120" y="178"/>
                    </a:cxn>
                    <a:cxn ang="0">
                      <a:pos x="115" y="173"/>
                    </a:cxn>
                    <a:cxn ang="0">
                      <a:pos x="101" y="169"/>
                    </a:cxn>
                    <a:cxn ang="0">
                      <a:pos x="87" y="168"/>
                    </a:cxn>
                    <a:cxn ang="0">
                      <a:pos x="70" y="166"/>
                    </a:cxn>
                    <a:cxn ang="0">
                      <a:pos x="71" y="164"/>
                    </a:cxn>
                    <a:cxn ang="0">
                      <a:pos x="78" y="157"/>
                    </a:cxn>
                    <a:cxn ang="0">
                      <a:pos x="84" y="148"/>
                    </a:cxn>
                    <a:cxn ang="0">
                      <a:pos x="80" y="140"/>
                    </a:cxn>
                    <a:cxn ang="0">
                      <a:pos x="77" y="136"/>
                    </a:cxn>
                    <a:cxn ang="0">
                      <a:pos x="70" y="128"/>
                    </a:cxn>
                    <a:cxn ang="0">
                      <a:pos x="68" y="133"/>
                    </a:cxn>
                    <a:cxn ang="0">
                      <a:pos x="68" y="145"/>
                    </a:cxn>
                    <a:cxn ang="0">
                      <a:pos x="63" y="150"/>
                    </a:cxn>
                    <a:cxn ang="0">
                      <a:pos x="54" y="150"/>
                    </a:cxn>
                    <a:cxn ang="0">
                      <a:pos x="49" y="147"/>
                    </a:cxn>
                    <a:cxn ang="0">
                      <a:pos x="37" y="138"/>
                    </a:cxn>
                    <a:cxn ang="0">
                      <a:pos x="38" y="131"/>
                    </a:cxn>
                    <a:cxn ang="0">
                      <a:pos x="45" y="126"/>
                    </a:cxn>
                    <a:cxn ang="0">
                      <a:pos x="31" y="124"/>
                    </a:cxn>
                    <a:cxn ang="0">
                      <a:pos x="19" y="122"/>
                    </a:cxn>
                    <a:cxn ang="0">
                      <a:pos x="5" y="119"/>
                    </a:cxn>
                    <a:cxn ang="0">
                      <a:pos x="0" y="110"/>
                    </a:cxn>
                    <a:cxn ang="0">
                      <a:pos x="7" y="88"/>
                    </a:cxn>
                    <a:cxn ang="0">
                      <a:pos x="12" y="81"/>
                    </a:cxn>
                    <a:cxn ang="0">
                      <a:pos x="19" y="77"/>
                    </a:cxn>
                    <a:cxn ang="0">
                      <a:pos x="28" y="81"/>
                    </a:cxn>
                    <a:cxn ang="0">
                      <a:pos x="37" y="77"/>
                    </a:cxn>
                    <a:cxn ang="0">
                      <a:pos x="42" y="68"/>
                    </a:cxn>
                    <a:cxn ang="0">
                      <a:pos x="45" y="53"/>
                    </a:cxn>
                    <a:cxn ang="0">
                      <a:pos x="40" y="44"/>
                    </a:cxn>
                    <a:cxn ang="0">
                      <a:pos x="40" y="39"/>
                    </a:cxn>
                    <a:cxn ang="0">
                      <a:pos x="52" y="30"/>
                    </a:cxn>
                    <a:cxn ang="0">
                      <a:pos x="61" y="27"/>
                    </a:cxn>
                    <a:cxn ang="0">
                      <a:pos x="64" y="20"/>
                    </a:cxn>
                    <a:cxn ang="0">
                      <a:pos x="64" y="14"/>
                    </a:cxn>
                    <a:cxn ang="0">
                      <a:pos x="78" y="9"/>
                    </a:cxn>
                    <a:cxn ang="0">
                      <a:pos x="97" y="7"/>
                    </a:cxn>
                    <a:cxn ang="0">
                      <a:pos x="141" y="0"/>
                    </a:cxn>
                    <a:cxn ang="0">
                      <a:pos x="148" y="0"/>
                    </a:cxn>
                    <a:cxn ang="0">
                      <a:pos x="165" y="9"/>
                    </a:cxn>
                    <a:cxn ang="0">
                      <a:pos x="178" y="16"/>
                    </a:cxn>
                    <a:cxn ang="0">
                      <a:pos x="176" y="23"/>
                    </a:cxn>
                    <a:cxn ang="0">
                      <a:pos x="162" y="35"/>
                    </a:cxn>
                    <a:cxn ang="0">
                      <a:pos x="146" y="54"/>
                    </a:cxn>
                    <a:cxn ang="0">
                      <a:pos x="141" y="68"/>
                    </a:cxn>
                    <a:cxn ang="0">
                      <a:pos x="139" y="82"/>
                    </a:cxn>
                    <a:cxn ang="0">
                      <a:pos x="143" y="100"/>
                    </a:cxn>
                    <a:cxn ang="0">
                      <a:pos x="155" y="115"/>
                    </a:cxn>
                    <a:cxn ang="0">
                      <a:pos x="164" y="131"/>
                    </a:cxn>
                    <a:cxn ang="0">
                      <a:pos x="171" y="140"/>
                    </a:cxn>
                    <a:cxn ang="0">
                      <a:pos x="190" y="154"/>
                    </a:cxn>
                    <a:cxn ang="0">
                      <a:pos x="211" y="164"/>
                    </a:cxn>
                    <a:cxn ang="0">
                      <a:pos x="219" y="169"/>
                    </a:cxn>
                    <a:cxn ang="0">
                      <a:pos x="219" y="173"/>
                    </a:cxn>
                    <a:cxn ang="0">
                      <a:pos x="218" y="176"/>
                    </a:cxn>
                  </a:cxnLst>
                  <a:rect l="0" t="0" r="r" b="b"/>
                  <a:pathLst>
                    <a:path w="221" h="185">
                      <a:moveTo>
                        <a:pt x="218" y="176"/>
                      </a:moveTo>
                      <a:lnTo>
                        <a:pt x="218" y="176"/>
                      </a:lnTo>
                      <a:lnTo>
                        <a:pt x="205" y="182"/>
                      </a:lnTo>
                      <a:lnTo>
                        <a:pt x="197" y="183"/>
                      </a:lnTo>
                      <a:lnTo>
                        <a:pt x="188" y="185"/>
                      </a:lnTo>
                      <a:lnTo>
                        <a:pt x="181" y="185"/>
                      </a:lnTo>
                      <a:lnTo>
                        <a:pt x="164" y="182"/>
                      </a:lnTo>
                      <a:lnTo>
                        <a:pt x="153" y="180"/>
                      </a:lnTo>
                      <a:lnTo>
                        <a:pt x="141" y="180"/>
                      </a:lnTo>
                      <a:lnTo>
                        <a:pt x="141" y="180"/>
                      </a:lnTo>
                      <a:lnTo>
                        <a:pt x="125" y="178"/>
                      </a:lnTo>
                      <a:lnTo>
                        <a:pt x="120" y="178"/>
                      </a:lnTo>
                      <a:lnTo>
                        <a:pt x="118" y="176"/>
                      </a:lnTo>
                      <a:lnTo>
                        <a:pt x="115" y="173"/>
                      </a:lnTo>
                      <a:lnTo>
                        <a:pt x="110" y="171"/>
                      </a:lnTo>
                      <a:lnTo>
                        <a:pt x="101" y="169"/>
                      </a:lnTo>
                      <a:lnTo>
                        <a:pt x="87" y="168"/>
                      </a:lnTo>
                      <a:lnTo>
                        <a:pt x="87" y="168"/>
                      </a:lnTo>
                      <a:lnTo>
                        <a:pt x="75" y="166"/>
                      </a:lnTo>
                      <a:lnTo>
                        <a:pt x="70" y="166"/>
                      </a:lnTo>
                      <a:lnTo>
                        <a:pt x="70" y="164"/>
                      </a:lnTo>
                      <a:lnTo>
                        <a:pt x="71" y="164"/>
                      </a:lnTo>
                      <a:lnTo>
                        <a:pt x="75" y="161"/>
                      </a:lnTo>
                      <a:lnTo>
                        <a:pt x="78" y="157"/>
                      </a:lnTo>
                      <a:lnTo>
                        <a:pt x="82" y="152"/>
                      </a:lnTo>
                      <a:lnTo>
                        <a:pt x="84" y="148"/>
                      </a:lnTo>
                      <a:lnTo>
                        <a:pt x="82" y="145"/>
                      </a:lnTo>
                      <a:lnTo>
                        <a:pt x="80" y="140"/>
                      </a:lnTo>
                      <a:lnTo>
                        <a:pt x="77" y="136"/>
                      </a:lnTo>
                      <a:lnTo>
                        <a:pt x="77" y="136"/>
                      </a:lnTo>
                      <a:lnTo>
                        <a:pt x="71" y="129"/>
                      </a:lnTo>
                      <a:lnTo>
                        <a:pt x="70" y="128"/>
                      </a:lnTo>
                      <a:lnTo>
                        <a:pt x="68" y="128"/>
                      </a:lnTo>
                      <a:lnTo>
                        <a:pt x="68" y="133"/>
                      </a:lnTo>
                      <a:lnTo>
                        <a:pt x="68" y="138"/>
                      </a:lnTo>
                      <a:lnTo>
                        <a:pt x="68" y="145"/>
                      </a:lnTo>
                      <a:lnTo>
                        <a:pt x="64" y="150"/>
                      </a:lnTo>
                      <a:lnTo>
                        <a:pt x="63" y="150"/>
                      </a:lnTo>
                      <a:lnTo>
                        <a:pt x="59" y="152"/>
                      </a:lnTo>
                      <a:lnTo>
                        <a:pt x="54" y="150"/>
                      </a:lnTo>
                      <a:lnTo>
                        <a:pt x="49" y="147"/>
                      </a:lnTo>
                      <a:lnTo>
                        <a:pt x="49" y="147"/>
                      </a:lnTo>
                      <a:lnTo>
                        <a:pt x="38" y="140"/>
                      </a:lnTo>
                      <a:lnTo>
                        <a:pt x="37" y="138"/>
                      </a:lnTo>
                      <a:lnTo>
                        <a:pt x="37" y="135"/>
                      </a:lnTo>
                      <a:lnTo>
                        <a:pt x="38" y="131"/>
                      </a:lnTo>
                      <a:lnTo>
                        <a:pt x="42" y="128"/>
                      </a:lnTo>
                      <a:lnTo>
                        <a:pt x="45" y="126"/>
                      </a:lnTo>
                      <a:lnTo>
                        <a:pt x="45" y="124"/>
                      </a:lnTo>
                      <a:lnTo>
                        <a:pt x="31" y="124"/>
                      </a:lnTo>
                      <a:lnTo>
                        <a:pt x="31" y="124"/>
                      </a:lnTo>
                      <a:lnTo>
                        <a:pt x="19" y="122"/>
                      </a:lnTo>
                      <a:lnTo>
                        <a:pt x="10" y="121"/>
                      </a:lnTo>
                      <a:lnTo>
                        <a:pt x="5" y="119"/>
                      </a:lnTo>
                      <a:lnTo>
                        <a:pt x="2" y="115"/>
                      </a:lnTo>
                      <a:lnTo>
                        <a:pt x="0" y="110"/>
                      </a:lnTo>
                      <a:lnTo>
                        <a:pt x="2" y="105"/>
                      </a:lnTo>
                      <a:lnTo>
                        <a:pt x="7" y="88"/>
                      </a:lnTo>
                      <a:lnTo>
                        <a:pt x="7" y="88"/>
                      </a:lnTo>
                      <a:lnTo>
                        <a:pt x="12" y="81"/>
                      </a:lnTo>
                      <a:lnTo>
                        <a:pt x="16" y="77"/>
                      </a:lnTo>
                      <a:lnTo>
                        <a:pt x="19" y="77"/>
                      </a:lnTo>
                      <a:lnTo>
                        <a:pt x="24" y="79"/>
                      </a:lnTo>
                      <a:lnTo>
                        <a:pt x="28" y="81"/>
                      </a:lnTo>
                      <a:lnTo>
                        <a:pt x="31" y="79"/>
                      </a:lnTo>
                      <a:lnTo>
                        <a:pt x="37" y="77"/>
                      </a:lnTo>
                      <a:lnTo>
                        <a:pt x="42" y="68"/>
                      </a:lnTo>
                      <a:lnTo>
                        <a:pt x="42" y="68"/>
                      </a:lnTo>
                      <a:lnTo>
                        <a:pt x="45" y="60"/>
                      </a:lnTo>
                      <a:lnTo>
                        <a:pt x="45" y="53"/>
                      </a:lnTo>
                      <a:lnTo>
                        <a:pt x="44" y="47"/>
                      </a:lnTo>
                      <a:lnTo>
                        <a:pt x="40" y="44"/>
                      </a:lnTo>
                      <a:lnTo>
                        <a:pt x="38" y="41"/>
                      </a:lnTo>
                      <a:lnTo>
                        <a:pt x="40" y="39"/>
                      </a:lnTo>
                      <a:lnTo>
                        <a:pt x="44" y="35"/>
                      </a:lnTo>
                      <a:lnTo>
                        <a:pt x="52" y="30"/>
                      </a:lnTo>
                      <a:lnTo>
                        <a:pt x="52" y="30"/>
                      </a:lnTo>
                      <a:lnTo>
                        <a:pt x="61" y="27"/>
                      </a:lnTo>
                      <a:lnTo>
                        <a:pt x="64" y="23"/>
                      </a:lnTo>
                      <a:lnTo>
                        <a:pt x="64" y="20"/>
                      </a:lnTo>
                      <a:lnTo>
                        <a:pt x="64" y="16"/>
                      </a:lnTo>
                      <a:lnTo>
                        <a:pt x="64" y="14"/>
                      </a:lnTo>
                      <a:lnTo>
                        <a:pt x="70" y="13"/>
                      </a:lnTo>
                      <a:lnTo>
                        <a:pt x="78" y="9"/>
                      </a:lnTo>
                      <a:lnTo>
                        <a:pt x="97" y="7"/>
                      </a:lnTo>
                      <a:lnTo>
                        <a:pt x="97" y="7"/>
                      </a:lnTo>
                      <a:lnTo>
                        <a:pt x="129" y="2"/>
                      </a:lnTo>
                      <a:lnTo>
                        <a:pt x="141" y="0"/>
                      </a:lnTo>
                      <a:lnTo>
                        <a:pt x="145" y="0"/>
                      </a:lnTo>
                      <a:lnTo>
                        <a:pt x="148" y="0"/>
                      </a:lnTo>
                      <a:lnTo>
                        <a:pt x="165" y="9"/>
                      </a:lnTo>
                      <a:lnTo>
                        <a:pt x="165" y="9"/>
                      </a:lnTo>
                      <a:lnTo>
                        <a:pt x="174" y="13"/>
                      </a:lnTo>
                      <a:lnTo>
                        <a:pt x="178" y="16"/>
                      </a:lnTo>
                      <a:lnTo>
                        <a:pt x="178" y="18"/>
                      </a:lnTo>
                      <a:lnTo>
                        <a:pt x="176" y="23"/>
                      </a:lnTo>
                      <a:lnTo>
                        <a:pt x="171" y="28"/>
                      </a:lnTo>
                      <a:lnTo>
                        <a:pt x="162" y="35"/>
                      </a:lnTo>
                      <a:lnTo>
                        <a:pt x="153" y="44"/>
                      </a:lnTo>
                      <a:lnTo>
                        <a:pt x="146" y="54"/>
                      </a:lnTo>
                      <a:lnTo>
                        <a:pt x="143" y="61"/>
                      </a:lnTo>
                      <a:lnTo>
                        <a:pt x="141" y="68"/>
                      </a:lnTo>
                      <a:lnTo>
                        <a:pt x="141" y="68"/>
                      </a:lnTo>
                      <a:lnTo>
                        <a:pt x="139" y="82"/>
                      </a:lnTo>
                      <a:lnTo>
                        <a:pt x="141" y="93"/>
                      </a:lnTo>
                      <a:lnTo>
                        <a:pt x="143" y="100"/>
                      </a:lnTo>
                      <a:lnTo>
                        <a:pt x="146" y="107"/>
                      </a:lnTo>
                      <a:lnTo>
                        <a:pt x="155" y="115"/>
                      </a:lnTo>
                      <a:lnTo>
                        <a:pt x="160" y="122"/>
                      </a:lnTo>
                      <a:lnTo>
                        <a:pt x="164" y="131"/>
                      </a:lnTo>
                      <a:lnTo>
                        <a:pt x="164" y="131"/>
                      </a:lnTo>
                      <a:lnTo>
                        <a:pt x="171" y="140"/>
                      </a:lnTo>
                      <a:lnTo>
                        <a:pt x="179" y="147"/>
                      </a:lnTo>
                      <a:lnTo>
                        <a:pt x="190" y="154"/>
                      </a:lnTo>
                      <a:lnTo>
                        <a:pt x="202" y="159"/>
                      </a:lnTo>
                      <a:lnTo>
                        <a:pt x="211" y="164"/>
                      </a:lnTo>
                      <a:lnTo>
                        <a:pt x="218" y="168"/>
                      </a:lnTo>
                      <a:lnTo>
                        <a:pt x="219" y="169"/>
                      </a:lnTo>
                      <a:lnTo>
                        <a:pt x="221" y="171"/>
                      </a:lnTo>
                      <a:lnTo>
                        <a:pt x="219" y="173"/>
                      </a:lnTo>
                      <a:lnTo>
                        <a:pt x="218" y="176"/>
                      </a:lnTo>
                      <a:lnTo>
                        <a:pt x="218" y="17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1" name="Freeform 1988">
                  <a:extLst>
                    <a:ext uri="{FF2B5EF4-FFF2-40B4-BE49-F238E27FC236}">
                      <a16:creationId xmlns:a16="http://schemas.microsoft.com/office/drawing/2014/main" id="{37B7A4AD-F329-5C85-78E8-BD633232DE97}"/>
                    </a:ext>
                  </a:extLst>
                </p:cNvPr>
                <p:cNvSpPr>
                  <a:spLocks/>
                </p:cNvSpPr>
                <p:nvPr/>
              </p:nvSpPr>
              <p:spPr bwMode="auto">
                <a:xfrm>
                  <a:off x="6231540" y="1421220"/>
                  <a:ext cx="433452" cy="202631"/>
                </a:xfrm>
                <a:custGeom>
                  <a:avLst/>
                  <a:gdLst/>
                  <a:ahLst/>
                  <a:cxnLst>
                    <a:cxn ang="0">
                      <a:pos x="77" y="238"/>
                    </a:cxn>
                    <a:cxn ang="0">
                      <a:pos x="58" y="235"/>
                    </a:cxn>
                    <a:cxn ang="0">
                      <a:pos x="31" y="240"/>
                    </a:cxn>
                    <a:cxn ang="0">
                      <a:pos x="19" y="238"/>
                    </a:cxn>
                    <a:cxn ang="0">
                      <a:pos x="26" y="230"/>
                    </a:cxn>
                    <a:cxn ang="0">
                      <a:pos x="17" y="226"/>
                    </a:cxn>
                    <a:cxn ang="0">
                      <a:pos x="0" y="223"/>
                    </a:cxn>
                    <a:cxn ang="0">
                      <a:pos x="11" y="210"/>
                    </a:cxn>
                    <a:cxn ang="0">
                      <a:pos x="40" y="195"/>
                    </a:cxn>
                    <a:cxn ang="0">
                      <a:pos x="58" y="174"/>
                    </a:cxn>
                    <a:cxn ang="0">
                      <a:pos x="70" y="158"/>
                    </a:cxn>
                    <a:cxn ang="0">
                      <a:pos x="84" y="156"/>
                    </a:cxn>
                    <a:cxn ang="0">
                      <a:pos x="84" y="151"/>
                    </a:cxn>
                    <a:cxn ang="0">
                      <a:pos x="80" y="144"/>
                    </a:cxn>
                    <a:cxn ang="0">
                      <a:pos x="87" y="139"/>
                    </a:cxn>
                    <a:cxn ang="0">
                      <a:pos x="80" y="130"/>
                    </a:cxn>
                    <a:cxn ang="0">
                      <a:pos x="82" y="122"/>
                    </a:cxn>
                    <a:cxn ang="0">
                      <a:pos x="92" y="118"/>
                    </a:cxn>
                    <a:cxn ang="0">
                      <a:pos x="98" y="123"/>
                    </a:cxn>
                    <a:cxn ang="0">
                      <a:pos x="110" y="118"/>
                    </a:cxn>
                    <a:cxn ang="0">
                      <a:pos x="122" y="111"/>
                    </a:cxn>
                    <a:cxn ang="0">
                      <a:pos x="131" y="115"/>
                    </a:cxn>
                    <a:cxn ang="0">
                      <a:pos x="143" y="106"/>
                    </a:cxn>
                    <a:cxn ang="0">
                      <a:pos x="164" y="89"/>
                    </a:cxn>
                    <a:cxn ang="0">
                      <a:pos x="209" y="68"/>
                    </a:cxn>
                    <a:cxn ang="0">
                      <a:pos x="247" y="61"/>
                    </a:cxn>
                    <a:cxn ang="0">
                      <a:pos x="256" y="61"/>
                    </a:cxn>
                    <a:cxn ang="0">
                      <a:pos x="254" y="54"/>
                    </a:cxn>
                    <a:cxn ang="0">
                      <a:pos x="277" y="45"/>
                    </a:cxn>
                    <a:cxn ang="0">
                      <a:pos x="298" y="47"/>
                    </a:cxn>
                    <a:cxn ang="0">
                      <a:pos x="310" y="54"/>
                    </a:cxn>
                    <a:cxn ang="0">
                      <a:pos x="340" y="47"/>
                    </a:cxn>
                    <a:cxn ang="0">
                      <a:pos x="374" y="38"/>
                    </a:cxn>
                    <a:cxn ang="0">
                      <a:pos x="404" y="31"/>
                    </a:cxn>
                    <a:cxn ang="0">
                      <a:pos x="425" y="21"/>
                    </a:cxn>
                    <a:cxn ang="0">
                      <a:pos x="435" y="14"/>
                    </a:cxn>
                    <a:cxn ang="0">
                      <a:pos x="481" y="0"/>
                    </a:cxn>
                    <a:cxn ang="0">
                      <a:pos x="531" y="7"/>
                    </a:cxn>
                    <a:cxn ang="0">
                      <a:pos x="542" y="19"/>
                    </a:cxn>
                    <a:cxn ang="0">
                      <a:pos x="538" y="31"/>
                    </a:cxn>
                    <a:cxn ang="0">
                      <a:pos x="524" y="42"/>
                    </a:cxn>
                    <a:cxn ang="0">
                      <a:pos x="413" y="75"/>
                    </a:cxn>
                    <a:cxn ang="0">
                      <a:pos x="289" y="111"/>
                    </a:cxn>
                    <a:cxn ang="0">
                      <a:pos x="258" y="127"/>
                    </a:cxn>
                    <a:cxn ang="0">
                      <a:pos x="246" y="141"/>
                    </a:cxn>
                    <a:cxn ang="0">
                      <a:pos x="225" y="155"/>
                    </a:cxn>
                    <a:cxn ang="0">
                      <a:pos x="186" y="169"/>
                    </a:cxn>
                    <a:cxn ang="0">
                      <a:pos x="179" y="183"/>
                    </a:cxn>
                    <a:cxn ang="0">
                      <a:pos x="176" y="190"/>
                    </a:cxn>
                    <a:cxn ang="0">
                      <a:pos x="159" y="198"/>
                    </a:cxn>
                    <a:cxn ang="0">
                      <a:pos x="152" y="212"/>
                    </a:cxn>
                    <a:cxn ang="0">
                      <a:pos x="141" y="228"/>
                    </a:cxn>
                    <a:cxn ang="0">
                      <a:pos x="127" y="233"/>
                    </a:cxn>
                    <a:cxn ang="0">
                      <a:pos x="124" y="242"/>
                    </a:cxn>
                    <a:cxn ang="0">
                      <a:pos x="112" y="250"/>
                    </a:cxn>
                    <a:cxn ang="0">
                      <a:pos x="92" y="249"/>
                    </a:cxn>
                  </a:cxnLst>
                  <a:rect l="0" t="0" r="r" b="b"/>
                  <a:pathLst>
                    <a:path w="543" h="250">
                      <a:moveTo>
                        <a:pt x="92" y="249"/>
                      </a:moveTo>
                      <a:lnTo>
                        <a:pt x="92" y="249"/>
                      </a:lnTo>
                      <a:lnTo>
                        <a:pt x="77" y="238"/>
                      </a:lnTo>
                      <a:lnTo>
                        <a:pt x="70" y="237"/>
                      </a:lnTo>
                      <a:lnTo>
                        <a:pt x="65" y="235"/>
                      </a:lnTo>
                      <a:lnTo>
                        <a:pt x="58" y="235"/>
                      </a:lnTo>
                      <a:lnTo>
                        <a:pt x="51" y="235"/>
                      </a:lnTo>
                      <a:lnTo>
                        <a:pt x="31" y="240"/>
                      </a:lnTo>
                      <a:lnTo>
                        <a:pt x="31" y="240"/>
                      </a:lnTo>
                      <a:lnTo>
                        <a:pt x="23" y="242"/>
                      </a:lnTo>
                      <a:lnTo>
                        <a:pt x="19" y="240"/>
                      </a:lnTo>
                      <a:lnTo>
                        <a:pt x="19" y="238"/>
                      </a:lnTo>
                      <a:lnTo>
                        <a:pt x="23" y="235"/>
                      </a:lnTo>
                      <a:lnTo>
                        <a:pt x="24" y="231"/>
                      </a:lnTo>
                      <a:lnTo>
                        <a:pt x="26" y="230"/>
                      </a:lnTo>
                      <a:lnTo>
                        <a:pt x="24" y="226"/>
                      </a:lnTo>
                      <a:lnTo>
                        <a:pt x="17" y="226"/>
                      </a:lnTo>
                      <a:lnTo>
                        <a:pt x="17" y="226"/>
                      </a:lnTo>
                      <a:lnTo>
                        <a:pt x="9" y="226"/>
                      </a:lnTo>
                      <a:lnTo>
                        <a:pt x="2" y="224"/>
                      </a:lnTo>
                      <a:lnTo>
                        <a:pt x="0" y="223"/>
                      </a:lnTo>
                      <a:lnTo>
                        <a:pt x="0" y="219"/>
                      </a:lnTo>
                      <a:lnTo>
                        <a:pt x="4" y="216"/>
                      </a:lnTo>
                      <a:lnTo>
                        <a:pt x="11" y="210"/>
                      </a:lnTo>
                      <a:lnTo>
                        <a:pt x="30" y="200"/>
                      </a:lnTo>
                      <a:lnTo>
                        <a:pt x="30" y="200"/>
                      </a:lnTo>
                      <a:lnTo>
                        <a:pt x="40" y="195"/>
                      </a:lnTo>
                      <a:lnTo>
                        <a:pt x="49" y="188"/>
                      </a:lnTo>
                      <a:lnTo>
                        <a:pt x="54" y="181"/>
                      </a:lnTo>
                      <a:lnTo>
                        <a:pt x="58" y="174"/>
                      </a:lnTo>
                      <a:lnTo>
                        <a:pt x="61" y="167"/>
                      </a:lnTo>
                      <a:lnTo>
                        <a:pt x="65" y="162"/>
                      </a:lnTo>
                      <a:lnTo>
                        <a:pt x="70" y="158"/>
                      </a:lnTo>
                      <a:lnTo>
                        <a:pt x="77" y="156"/>
                      </a:lnTo>
                      <a:lnTo>
                        <a:pt x="77" y="156"/>
                      </a:lnTo>
                      <a:lnTo>
                        <a:pt x="84" y="156"/>
                      </a:lnTo>
                      <a:lnTo>
                        <a:pt x="87" y="155"/>
                      </a:lnTo>
                      <a:lnTo>
                        <a:pt x="85" y="153"/>
                      </a:lnTo>
                      <a:lnTo>
                        <a:pt x="84" y="151"/>
                      </a:lnTo>
                      <a:lnTo>
                        <a:pt x="80" y="149"/>
                      </a:lnTo>
                      <a:lnTo>
                        <a:pt x="78" y="146"/>
                      </a:lnTo>
                      <a:lnTo>
                        <a:pt x="80" y="144"/>
                      </a:lnTo>
                      <a:lnTo>
                        <a:pt x="84" y="142"/>
                      </a:lnTo>
                      <a:lnTo>
                        <a:pt x="84" y="142"/>
                      </a:lnTo>
                      <a:lnTo>
                        <a:pt x="87" y="139"/>
                      </a:lnTo>
                      <a:lnTo>
                        <a:pt x="89" y="137"/>
                      </a:lnTo>
                      <a:lnTo>
                        <a:pt x="82" y="134"/>
                      </a:lnTo>
                      <a:lnTo>
                        <a:pt x="80" y="130"/>
                      </a:lnTo>
                      <a:lnTo>
                        <a:pt x="77" y="129"/>
                      </a:lnTo>
                      <a:lnTo>
                        <a:pt x="78" y="125"/>
                      </a:lnTo>
                      <a:lnTo>
                        <a:pt x="82" y="122"/>
                      </a:lnTo>
                      <a:lnTo>
                        <a:pt x="82" y="122"/>
                      </a:lnTo>
                      <a:lnTo>
                        <a:pt x="87" y="118"/>
                      </a:lnTo>
                      <a:lnTo>
                        <a:pt x="92" y="118"/>
                      </a:lnTo>
                      <a:lnTo>
                        <a:pt x="94" y="120"/>
                      </a:lnTo>
                      <a:lnTo>
                        <a:pt x="96" y="122"/>
                      </a:lnTo>
                      <a:lnTo>
                        <a:pt x="98" y="123"/>
                      </a:lnTo>
                      <a:lnTo>
                        <a:pt x="99" y="123"/>
                      </a:lnTo>
                      <a:lnTo>
                        <a:pt x="105" y="122"/>
                      </a:lnTo>
                      <a:lnTo>
                        <a:pt x="110" y="118"/>
                      </a:lnTo>
                      <a:lnTo>
                        <a:pt x="110" y="118"/>
                      </a:lnTo>
                      <a:lnTo>
                        <a:pt x="117" y="113"/>
                      </a:lnTo>
                      <a:lnTo>
                        <a:pt x="122" y="111"/>
                      </a:lnTo>
                      <a:lnTo>
                        <a:pt x="125" y="111"/>
                      </a:lnTo>
                      <a:lnTo>
                        <a:pt x="127" y="113"/>
                      </a:lnTo>
                      <a:lnTo>
                        <a:pt x="131" y="115"/>
                      </a:lnTo>
                      <a:lnTo>
                        <a:pt x="132" y="115"/>
                      </a:lnTo>
                      <a:lnTo>
                        <a:pt x="138" y="113"/>
                      </a:lnTo>
                      <a:lnTo>
                        <a:pt x="143" y="106"/>
                      </a:lnTo>
                      <a:lnTo>
                        <a:pt x="143" y="106"/>
                      </a:lnTo>
                      <a:lnTo>
                        <a:pt x="152" y="97"/>
                      </a:lnTo>
                      <a:lnTo>
                        <a:pt x="164" y="89"/>
                      </a:lnTo>
                      <a:lnTo>
                        <a:pt x="178" y="80"/>
                      </a:lnTo>
                      <a:lnTo>
                        <a:pt x="193" y="73"/>
                      </a:lnTo>
                      <a:lnTo>
                        <a:pt x="209" y="68"/>
                      </a:lnTo>
                      <a:lnTo>
                        <a:pt x="223" y="64"/>
                      </a:lnTo>
                      <a:lnTo>
                        <a:pt x="237" y="61"/>
                      </a:lnTo>
                      <a:lnTo>
                        <a:pt x="247" y="61"/>
                      </a:lnTo>
                      <a:lnTo>
                        <a:pt x="247" y="61"/>
                      </a:lnTo>
                      <a:lnTo>
                        <a:pt x="254" y="61"/>
                      </a:lnTo>
                      <a:lnTo>
                        <a:pt x="256" y="61"/>
                      </a:lnTo>
                      <a:lnTo>
                        <a:pt x="256" y="59"/>
                      </a:lnTo>
                      <a:lnTo>
                        <a:pt x="254" y="55"/>
                      </a:lnTo>
                      <a:lnTo>
                        <a:pt x="254" y="54"/>
                      </a:lnTo>
                      <a:lnTo>
                        <a:pt x="256" y="50"/>
                      </a:lnTo>
                      <a:lnTo>
                        <a:pt x="263" y="47"/>
                      </a:lnTo>
                      <a:lnTo>
                        <a:pt x="277" y="45"/>
                      </a:lnTo>
                      <a:lnTo>
                        <a:pt x="277" y="45"/>
                      </a:lnTo>
                      <a:lnTo>
                        <a:pt x="291" y="45"/>
                      </a:lnTo>
                      <a:lnTo>
                        <a:pt x="298" y="47"/>
                      </a:lnTo>
                      <a:lnTo>
                        <a:pt x="303" y="48"/>
                      </a:lnTo>
                      <a:lnTo>
                        <a:pt x="307" y="52"/>
                      </a:lnTo>
                      <a:lnTo>
                        <a:pt x="310" y="54"/>
                      </a:lnTo>
                      <a:lnTo>
                        <a:pt x="315" y="54"/>
                      </a:lnTo>
                      <a:lnTo>
                        <a:pt x="324" y="52"/>
                      </a:lnTo>
                      <a:lnTo>
                        <a:pt x="340" y="47"/>
                      </a:lnTo>
                      <a:lnTo>
                        <a:pt x="340" y="47"/>
                      </a:lnTo>
                      <a:lnTo>
                        <a:pt x="364" y="40"/>
                      </a:lnTo>
                      <a:lnTo>
                        <a:pt x="374" y="38"/>
                      </a:lnTo>
                      <a:lnTo>
                        <a:pt x="383" y="38"/>
                      </a:lnTo>
                      <a:lnTo>
                        <a:pt x="404" y="31"/>
                      </a:lnTo>
                      <a:lnTo>
                        <a:pt x="404" y="31"/>
                      </a:lnTo>
                      <a:lnTo>
                        <a:pt x="416" y="28"/>
                      </a:lnTo>
                      <a:lnTo>
                        <a:pt x="423" y="24"/>
                      </a:lnTo>
                      <a:lnTo>
                        <a:pt x="425" y="21"/>
                      </a:lnTo>
                      <a:lnTo>
                        <a:pt x="427" y="19"/>
                      </a:lnTo>
                      <a:lnTo>
                        <a:pt x="430" y="15"/>
                      </a:lnTo>
                      <a:lnTo>
                        <a:pt x="435" y="14"/>
                      </a:lnTo>
                      <a:lnTo>
                        <a:pt x="460" y="5"/>
                      </a:lnTo>
                      <a:lnTo>
                        <a:pt x="460" y="5"/>
                      </a:lnTo>
                      <a:lnTo>
                        <a:pt x="481" y="0"/>
                      </a:lnTo>
                      <a:lnTo>
                        <a:pt x="500" y="0"/>
                      </a:lnTo>
                      <a:lnTo>
                        <a:pt x="517" y="3"/>
                      </a:lnTo>
                      <a:lnTo>
                        <a:pt x="531" y="7"/>
                      </a:lnTo>
                      <a:lnTo>
                        <a:pt x="536" y="10"/>
                      </a:lnTo>
                      <a:lnTo>
                        <a:pt x="540" y="14"/>
                      </a:lnTo>
                      <a:lnTo>
                        <a:pt x="542" y="19"/>
                      </a:lnTo>
                      <a:lnTo>
                        <a:pt x="543" y="22"/>
                      </a:lnTo>
                      <a:lnTo>
                        <a:pt x="542" y="28"/>
                      </a:lnTo>
                      <a:lnTo>
                        <a:pt x="538" y="31"/>
                      </a:lnTo>
                      <a:lnTo>
                        <a:pt x="531" y="36"/>
                      </a:lnTo>
                      <a:lnTo>
                        <a:pt x="524" y="42"/>
                      </a:lnTo>
                      <a:lnTo>
                        <a:pt x="524" y="42"/>
                      </a:lnTo>
                      <a:lnTo>
                        <a:pt x="502" y="50"/>
                      </a:lnTo>
                      <a:lnTo>
                        <a:pt x="475" y="59"/>
                      </a:lnTo>
                      <a:lnTo>
                        <a:pt x="413" y="75"/>
                      </a:lnTo>
                      <a:lnTo>
                        <a:pt x="347" y="92"/>
                      </a:lnTo>
                      <a:lnTo>
                        <a:pt x="317" y="101"/>
                      </a:lnTo>
                      <a:lnTo>
                        <a:pt x="289" y="111"/>
                      </a:lnTo>
                      <a:lnTo>
                        <a:pt x="289" y="111"/>
                      </a:lnTo>
                      <a:lnTo>
                        <a:pt x="270" y="120"/>
                      </a:lnTo>
                      <a:lnTo>
                        <a:pt x="258" y="127"/>
                      </a:lnTo>
                      <a:lnTo>
                        <a:pt x="251" y="132"/>
                      </a:lnTo>
                      <a:lnTo>
                        <a:pt x="247" y="137"/>
                      </a:lnTo>
                      <a:lnTo>
                        <a:pt x="246" y="141"/>
                      </a:lnTo>
                      <a:lnTo>
                        <a:pt x="242" y="144"/>
                      </a:lnTo>
                      <a:lnTo>
                        <a:pt x="237" y="149"/>
                      </a:lnTo>
                      <a:lnTo>
                        <a:pt x="225" y="155"/>
                      </a:lnTo>
                      <a:lnTo>
                        <a:pt x="225" y="155"/>
                      </a:lnTo>
                      <a:lnTo>
                        <a:pt x="200" y="163"/>
                      </a:lnTo>
                      <a:lnTo>
                        <a:pt x="186" y="169"/>
                      </a:lnTo>
                      <a:lnTo>
                        <a:pt x="185" y="170"/>
                      </a:lnTo>
                      <a:lnTo>
                        <a:pt x="181" y="174"/>
                      </a:lnTo>
                      <a:lnTo>
                        <a:pt x="179" y="183"/>
                      </a:lnTo>
                      <a:lnTo>
                        <a:pt x="179" y="183"/>
                      </a:lnTo>
                      <a:lnTo>
                        <a:pt x="178" y="186"/>
                      </a:lnTo>
                      <a:lnTo>
                        <a:pt x="176" y="190"/>
                      </a:lnTo>
                      <a:lnTo>
                        <a:pt x="167" y="193"/>
                      </a:lnTo>
                      <a:lnTo>
                        <a:pt x="162" y="195"/>
                      </a:lnTo>
                      <a:lnTo>
                        <a:pt x="159" y="198"/>
                      </a:lnTo>
                      <a:lnTo>
                        <a:pt x="155" y="203"/>
                      </a:lnTo>
                      <a:lnTo>
                        <a:pt x="152" y="212"/>
                      </a:lnTo>
                      <a:lnTo>
                        <a:pt x="152" y="212"/>
                      </a:lnTo>
                      <a:lnTo>
                        <a:pt x="150" y="219"/>
                      </a:lnTo>
                      <a:lnTo>
                        <a:pt x="145" y="224"/>
                      </a:lnTo>
                      <a:lnTo>
                        <a:pt x="141" y="228"/>
                      </a:lnTo>
                      <a:lnTo>
                        <a:pt x="138" y="228"/>
                      </a:lnTo>
                      <a:lnTo>
                        <a:pt x="131" y="230"/>
                      </a:lnTo>
                      <a:lnTo>
                        <a:pt x="127" y="233"/>
                      </a:lnTo>
                      <a:lnTo>
                        <a:pt x="125" y="237"/>
                      </a:lnTo>
                      <a:lnTo>
                        <a:pt x="125" y="237"/>
                      </a:lnTo>
                      <a:lnTo>
                        <a:pt x="124" y="242"/>
                      </a:lnTo>
                      <a:lnTo>
                        <a:pt x="120" y="247"/>
                      </a:lnTo>
                      <a:lnTo>
                        <a:pt x="117" y="249"/>
                      </a:lnTo>
                      <a:lnTo>
                        <a:pt x="112" y="250"/>
                      </a:lnTo>
                      <a:lnTo>
                        <a:pt x="101" y="250"/>
                      </a:lnTo>
                      <a:lnTo>
                        <a:pt x="92" y="249"/>
                      </a:lnTo>
                      <a:lnTo>
                        <a:pt x="92" y="24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2" name="Freeform 1989">
                  <a:extLst>
                    <a:ext uri="{FF2B5EF4-FFF2-40B4-BE49-F238E27FC236}">
                      <a16:creationId xmlns:a16="http://schemas.microsoft.com/office/drawing/2014/main" id="{69F3E55C-F966-C091-22B7-9BB7E83DA1CB}"/>
                    </a:ext>
                  </a:extLst>
                </p:cNvPr>
                <p:cNvSpPr>
                  <a:spLocks/>
                </p:cNvSpPr>
                <p:nvPr/>
              </p:nvSpPr>
              <p:spPr bwMode="auto">
                <a:xfrm>
                  <a:off x="8707151" y="2515426"/>
                  <a:ext cx="86339" cy="352401"/>
                </a:xfrm>
                <a:custGeom>
                  <a:avLst/>
                  <a:gdLst/>
                  <a:ahLst/>
                  <a:cxnLst>
                    <a:cxn ang="0">
                      <a:pos x="7" y="52"/>
                    </a:cxn>
                    <a:cxn ang="0">
                      <a:pos x="19" y="49"/>
                    </a:cxn>
                    <a:cxn ang="0">
                      <a:pos x="24" y="56"/>
                    </a:cxn>
                    <a:cxn ang="0">
                      <a:pos x="33" y="49"/>
                    </a:cxn>
                    <a:cxn ang="0">
                      <a:pos x="28" y="44"/>
                    </a:cxn>
                    <a:cxn ang="0">
                      <a:pos x="31" y="38"/>
                    </a:cxn>
                    <a:cxn ang="0">
                      <a:pos x="37" y="26"/>
                    </a:cxn>
                    <a:cxn ang="0">
                      <a:pos x="24" y="9"/>
                    </a:cxn>
                    <a:cxn ang="0">
                      <a:pos x="33" y="5"/>
                    </a:cxn>
                    <a:cxn ang="0">
                      <a:pos x="40" y="3"/>
                    </a:cxn>
                    <a:cxn ang="0">
                      <a:pos x="45" y="24"/>
                    </a:cxn>
                    <a:cxn ang="0">
                      <a:pos x="47" y="37"/>
                    </a:cxn>
                    <a:cxn ang="0">
                      <a:pos x="50" y="47"/>
                    </a:cxn>
                    <a:cxn ang="0">
                      <a:pos x="52" y="54"/>
                    </a:cxn>
                    <a:cxn ang="0">
                      <a:pos x="57" y="73"/>
                    </a:cxn>
                    <a:cxn ang="0">
                      <a:pos x="56" y="108"/>
                    </a:cxn>
                    <a:cxn ang="0">
                      <a:pos x="52" y="131"/>
                    </a:cxn>
                    <a:cxn ang="0">
                      <a:pos x="57" y="136"/>
                    </a:cxn>
                    <a:cxn ang="0">
                      <a:pos x="57" y="151"/>
                    </a:cxn>
                    <a:cxn ang="0">
                      <a:pos x="63" y="151"/>
                    </a:cxn>
                    <a:cxn ang="0">
                      <a:pos x="70" y="181"/>
                    </a:cxn>
                    <a:cxn ang="0">
                      <a:pos x="75" y="211"/>
                    </a:cxn>
                    <a:cxn ang="0">
                      <a:pos x="91" y="258"/>
                    </a:cxn>
                    <a:cxn ang="0">
                      <a:pos x="104" y="287"/>
                    </a:cxn>
                    <a:cxn ang="0">
                      <a:pos x="106" y="296"/>
                    </a:cxn>
                    <a:cxn ang="0">
                      <a:pos x="75" y="268"/>
                    </a:cxn>
                    <a:cxn ang="0">
                      <a:pos x="52" y="272"/>
                    </a:cxn>
                    <a:cxn ang="0">
                      <a:pos x="47" y="287"/>
                    </a:cxn>
                    <a:cxn ang="0">
                      <a:pos x="38" y="310"/>
                    </a:cxn>
                    <a:cxn ang="0">
                      <a:pos x="35" y="357"/>
                    </a:cxn>
                    <a:cxn ang="0">
                      <a:pos x="45" y="371"/>
                    </a:cxn>
                    <a:cxn ang="0">
                      <a:pos x="57" y="393"/>
                    </a:cxn>
                    <a:cxn ang="0">
                      <a:pos x="66" y="395"/>
                    </a:cxn>
                    <a:cxn ang="0">
                      <a:pos x="68" y="414"/>
                    </a:cxn>
                    <a:cxn ang="0">
                      <a:pos x="63" y="430"/>
                    </a:cxn>
                    <a:cxn ang="0">
                      <a:pos x="57" y="409"/>
                    </a:cxn>
                    <a:cxn ang="0">
                      <a:pos x="45" y="406"/>
                    </a:cxn>
                    <a:cxn ang="0">
                      <a:pos x="35" y="399"/>
                    </a:cxn>
                    <a:cxn ang="0">
                      <a:pos x="23" y="420"/>
                    </a:cxn>
                    <a:cxn ang="0">
                      <a:pos x="14" y="440"/>
                    </a:cxn>
                    <a:cxn ang="0">
                      <a:pos x="7" y="420"/>
                    </a:cxn>
                    <a:cxn ang="0">
                      <a:pos x="12" y="393"/>
                    </a:cxn>
                    <a:cxn ang="0">
                      <a:pos x="10" y="360"/>
                    </a:cxn>
                    <a:cxn ang="0">
                      <a:pos x="17" y="334"/>
                    </a:cxn>
                    <a:cxn ang="0">
                      <a:pos x="9" y="303"/>
                    </a:cxn>
                    <a:cxn ang="0">
                      <a:pos x="10" y="289"/>
                    </a:cxn>
                    <a:cxn ang="0">
                      <a:pos x="17" y="219"/>
                    </a:cxn>
                    <a:cxn ang="0">
                      <a:pos x="14" y="197"/>
                    </a:cxn>
                    <a:cxn ang="0">
                      <a:pos x="19" y="164"/>
                    </a:cxn>
                    <a:cxn ang="0">
                      <a:pos x="3" y="145"/>
                    </a:cxn>
                    <a:cxn ang="0">
                      <a:pos x="5" y="141"/>
                    </a:cxn>
                    <a:cxn ang="0">
                      <a:pos x="0" y="131"/>
                    </a:cxn>
                    <a:cxn ang="0">
                      <a:pos x="0" y="113"/>
                    </a:cxn>
                    <a:cxn ang="0">
                      <a:pos x="7" y="92"/>
                    </a:cxn>
                    <a:cxn ang="0">
                      <a:pos x="5" y="63"/>
                    </a:cxn>
                  </a:cxnLst>
                  <a:rect l="0" t="0" r="r" b="b"/>
                  <a:pathLst>
                    <a:path w="108" h="440">
                      <a:moveTo>
                        <a:pt x="5" y="63"/>
                      </a:moveTo>
                      <a:lnTo>
                        <a:pt x="5" y="63"/>
                      </a:lnTo>
                      <a:lnTo>
                        <a:pt x="5" y="56"/>
                      </a:lnTo>
                      <a:lnTo>
                        <a:pt x="7" y="52"/>
                      </a:lnTo>
                      <a:lnTo>
                        <a:pt x="10" y="52"/>
                      </a:lnTo>
                      <a:lnTo>
                        <a:pt x="16" y="49"/>
                      </a:lnTo>
                      <a:lnTo>
                        <a:pt x="16" y="49"/>
                      </a:lnTo>
                      <a:lnTo>
                        <a:pt x="19" y="49"/>
                      </a:lnTo>
                      <a:lnTo>
                        <a:pt x="21" y="49"/>
                      </a:lnTo>
                      <a:lnTo>
                        <a:pt x="21" y="54"/>
                      </a:lnTo>
                      <a:lnTo>
                        <a:pt x="23" y="56"/>
                      </a:lnTo>
                      <a:lnTo>
                        <a:pt x="24" y="56"/>
                      </a:lnTo>
                      <a:lnTo>
                        <a:pt x="26" y="56"/>
                      </a:lnTo>
                      <a:lnTo>
                        <a:pt x="30" y="54"/>
                      </a:lnTo>
                      <a:lnTo>
                        <a:pt x="30" y="54"/>
                      </a:lnTo>
                      <a:lnTo>
                        <a:pt x="33" y="49"/>
                      </a:lnTo>
                      <a:lnTo>
                        <a:pt x="33" y="49"/>
                      </a:lnTo>
                      <a:lnTo>
                        <a:pt x="33" y="47"/>
                      </a:lnTo>
                      <a:lnTo>
                        <a:pt x="30" y="45"/>
                      </a:lnTo>
                      <a:lnTo>
                        <a:pt x="28" y="44"/>
                      </a:lnTo>
                      <a:lnTo>
                        <a:pt x="30" y="42"/>
                      </a:lnTo>
                      <a:lnTo>
                        <a:pt x="30" y="42"/>
                      </a:lnTo>
                      <a:lnTo>
                        <a:pt x="30" y="38"/>
                      </a:lnTo>
                      <a:lnTo>
                        <a:pt x="31" y="38"/>
                      </a:lnTo>
                      <a:lnTo>
                        <a:pt x="35" y="38"/>
                      </a:lnTo>
                      <a:lnTo>
                        <a:pt x="37" y="31"/>
                      </a:lnTo>
                      <a:lnTo>
                        <a:pt x="37" y="31"/>
                      </a:lnTo>
                      <a:lnTo>
                        <a:pt x="37" y="26"/>
                      </a:lnTo>
                      <a:lnTo>
                        <a:pt x="33" y="23"/>
                      </a:lnTo>
                      <a:lnTo>
                        <a:pt x="28" y="16"/>
                      </a:lnTo>
                      <a:lnTo>
                        <a:pt x="23" y="10"/>
                      </a:lnTo>
                      <a:lnTo>
                        <a:pt x="24" y="9"/>
                      </a:lnTo>
                      <a:lnTo>
                        <a:pt x="26" y="7"/>
                      </a:lnTo>
                      <a:lnTo>
                        <a:pt x="26" y="7"/>
                      </a:lnTo>
                      <a:lnTo>
                        <a:pt x="31" y="7"/>
                      </a:lnTo>
                      <a:lnTo>
                        <a:pt x="33" y="5"/>
                      </a:lnTo>
                      <a:lnTo>
                        <a:pt x="37" y="2"/>
                      </a:lnTo>
                      <a:lnTo>
                        <a:pt x="38" y="0"/>
                      </a:lnTo>
                      <a:lnTo>
                        <a:pt x="40" y="3"/>
                      </a:lnTo>
                      <a:lnTo>
                        <a:pt x="40" y="3"/>
                      </a:lnTo>
                      <a:lnTo>
                        <a:pt x="44" y="9"/>
                      </a:lnTo>
                      <a:lnTo>
                        <a:pt x="47" y="14"/>
                      </a:lnTo>
                      <a:lnTo>
                        <a:pt x="49" y="17"/>
                      </a:lnTo>
                      <a:lnTo>
                        <a:pt x="45" y="24"/>
                      </a:lnTo>
                      <a:lnTo>
                        <a:pt x="45" y="24"/>
                      </a:lnTo>
                      <a:lnTo>
                        <a:pt x="44" y="28"/>
                      </a:lnTo>
                      <a:lnTo>
                        <a:pt x="45" y="31"/>
                      </a:lnTo>
                      <a:lnTo>
                        <a:pt x="47" y="37"/>
                      </a:lnTo>
                      <a:lnTo>
                        <a:pt x="49" y="44"/>
                      </a:lnTo>
                      <a:lnTo>
                        <a:pt x="49" y="44"/>
                      </a:lnTo>
                      <a:lnTo>
                        <a:pt x="49" y="47"/>
                      </a:lnTo>
                      <a:lnTo>
                        <a:pt x="50" y="47"/>
                      </a:lnTo>
                      <a:lnTo>
                        <a:pt x="52" y="49"/>
                      </a:lnTo>
                      <a:lnTo>
                        <a:pt x="52" y="50"/>
                      </a:lnTo>
                      <a:lnTo>
                        <a:pt x="52" y="50"/>
                      </a:lnTo>
                      <a:lnTo>
                        <a:pt x="52" y="54"/>
                      </a:lnTo>
                      <a:lnTo>
                        <a:pt x="52" y="56"/>
                      </a:lnTo>
                      <a:lnTo>
                        <a:pt x="54" y="59"/>
                      </a:lnTo>
                      <a:lnTo>
                        <a:pt x="57" y="73"/>
                      </a:lnTo>
                      <a:lnTo>
                        <a:pt x="57" y="73"/>
                      </a:lnTo>
                      <a:lnTo>
                        <a:pt x="59" y="85"/>
                      </a:lnTo>
                      <a:lnTo>
                        <a:pt x="59" y="96"/>
                      </a:lnTo>
                      <a:lnTo>
                        <a:pt x="59" y="103"/>
                      </a:lnTo>
                      <a:lnTo>
                        <a:pt x="56" y="108"/>
                      </a:lnTo>
                      <a:lnTo>
                        <a:pt x="52" y="118"/>
                      </a:lnTo>
                      <a:lnTo>
                        <a:pt x="52" y="124"/>
                      </a:lnTo>
                      <a:lnTo>
                        <a:pt x="52" y="131"/>
                      </a:lnTo>
                      <a:lnTo>
                        <a:pt x="52" y="131"/>
                      </a:lnTo>
                      <a:lnTo>
                        <a:pt x="56" y="136"/>
                      </a:lnTo>
                      <a:lnTo>
                        <a:pt x="57" y="136"/>
                      </a:lnTo>
                      <a:lnTo>
                        <a:pt x="57" y="134"/>
                      </a:lnTo>
                      <a:lnTo>
                        <a:pt x="57" y="136"/>
                      </a:lnTo>
                      <a:lnTo>
                        <a:pt x="57" y="143"/>
                      </a:lnTo>
                      <a:lnTo>
                        <a:pt x="57" y="143"/>
                      </a:lnTo>
                      <a:lnTo>
                        <a:pt x="56" y="151"/>
                      </a:lnTo>
                      <a:lnTo>
                        <a:pt x="57" y="151"/>
                      </a:lnTo>
                      <a:lnTo>
                        <a:pt x="57" y="150"/>
                      </a:lnTo>
                      <a:lnTo>
                        <a:pt x="61" y="148"/>
                      </a:lnTo>
                      <a:lnTo>
                        <a:pt x="61" y="150"/>
                      </a:lnTo>
                      <a:lnTo>
                        <a:pt x="63" y="151"/>
                      </a:lnTo>
                      <a:lnTo>
                        <a:pt x="63" y="151"/>
                      </a:lnTo>
                      <a:lnTo>
                        <a:pt x="64" y="160"/>
                      </a:lnTo>
                      <a:lnTo>
                        <a:pt x="66" y="171"/>
                      </a:lnTo>
                      <a:lnTo>
                        <a:pt x="70" y="181"/>
                      </a:lnTo>
                      <a:lnTo>
                        <a:pt x="71" y="195"/>
                      </a:lnTo>
                      <a:lnTo>
                        <a:pt x="71" y="195"/>
                      </a:lnTo>
                      <a:lnTo>
                        <a:pt x="71" y="202"/>
                      </a:lnTo>
                      <a:lnTo>
                        <a:pt x="75" y="211"/>
                      </a:lnTo>
                      <a:lnTo>
                        <a:pt x="80" y="226"/>
                      </a:lnTo>
                      <a:lnTo>
                        <a:pt x="85" y="244"/>
                      </a:lnTo>
                      <a:lnTo>
                        <a:pt x="91" y="258"/>
                      </a:lnTo>
                      <a:lnTo>
                        <a:pt x="91" y="258"/>
                      </a:lnTo>
                      <a:lnTo>
                        <a:pt x="91" y="265"/>
                      </a:lnTo>
                      <a:lnTo>
                        <a:pt x="92" y="270"/>
                      </a:lnTo>
                      <a:lnTo>
                        <a:pt x="99" y="280"/>
                      </a:lnTo>
                      <a:lnTo>
                        <a:pt x="104" y="287"/>
                      </a:lnTo>
                      <a:lnTo>
                        <a:pt x="108" y="296"/>
                      </a:lnTo>
                      <a:lnTo>
                        <a:pt x="108" y="296"/>
                      </a:lnTo>
                      <a:lnTo>
                        <a:pt x="108" y="299"/>
                      </a:lnTo>
                      <a:lnTo>
                        <a:pt x="106" y="296"/>
                      </a:lnTo>
                      <a:lnTo>
                        <a:pt x="94" y="280"/>
                      </a:lnTo>
                      <a:lnTo>
                        <a:pt x="94" y="280"/>
                      </a:lnTo>
                      <a:lnTo>
                        <a:pt x="85" y="272"/>
                      </a:lnTo>
                      <a:lnTo>
                        <a:pt x="75" y="268"/>
                      </a:lnTo>
                      <a:lnTo>
                        <a:pt x="66" y="268"/>
                      </a:lnTo>
                      <a:lnTo>
                        <a:pt x="57" y="270"/>
                      </a:lnTo>
                      <a:lnTo>
                        <a:pt x="57" y="270"/>
                      </a:lnTo>
                      <a:lnTo>
                        <a:pt x="52" y="272"/>
                      </a:lnTo>
                      <a:lnTo>
                        <a:pt x="50" y="273"/>
                      </a:lnTo>
                      <a:lnTo>
                        <a:pt x="49" y="277"/>
                      </a:lnTo>
                      <a:lnTo>
                        <a:pt x="47" y="280"/>
                      </a:lnTo>
                      <a:lnTo>
                        <a:pt x="47" y="287"/>
                      </a:lnTo>
                      <a:lnTo>
                        <a:pt x="47" y="292"/>
                      </a:lnTo>
                      <a:lnTo>
                        <a:pt x="44" y="296"/>
                      </a:lnTo>
                      <a:lnTo>
                        <a:pt x="44" y="296"/>
                      </a:lnTo>
                      <a:lnTo>
                        <a:pt x="38" y="310"/>
                      </a:lnTo>
                      <a:lnTo>
                        <a:pt x="33" y="329"/>
                      </a:lnTo>
                      <a:lnTo>
                        <a:pt x="31" y="340"/>
                      </a:lnTo>
                      <a:lnTo>
                        <a:pt x="31" y="348"/>
                      </a:lnTo>
                      <a:lnTo>
                        <a:pt x="35" y="357"/>
                      </a:lnTo>
                      <a:lnTo>
                        <a:pt x="38" y="362"/>
                      </a:lnTo>
                      <a:lnTo>
                        <a:pt x="38" y="362"/>
                      </a:lnTo>
                      <a:lnTo>
                        <a:pt x="42" y="367"/>
                      </a:lnTo>
                      <a:lnTo>
                        <a:pt x="45" y="371"/>
                      </a:lnTo>
                      <a:lnTo>
                        <a:pt x="49" y="381"/>
                      </a:lnTo>
                      <a:lnTo>
                        <a:pt x="52" y="388"/>
                      </a:lnTo>
                      <a:lnTo>
                        <a:pt x="54" y="392"/>
                      </a:lnTo>
                      <a:lnTo>
                        <a:pt x="57" y="393"/>
                      </a:lnTo>
                      <a:lnTo>
                        <a:pt x="57" y="393"/>
                      </a:lnTo>
                      <a:lnTo>
                        <a:pt x="63" y="395"/>
                      </a:lnTo>
                      <a:lnTo>
                        <a:pt x="64" y="393"/>
                      </a:lnTo>
                      <a:lnTo>
                        <a:pt x="66" y="395"/>
                      </a:lnTo>
                      <a:lnTo>
                        <a:pt x="66" y="402"/>
                      </a:lnTo>
                      <a:lnTo>
                        <a:pt x="66" y="402"/>
                      </a:lnTo>
                      <a:lnTo>
                        <a:pt x="66" y="411"/>
                      </a:lnTo>
                      <a:lnTo>
                        <a:pt x="68" y="414"/>
                      </a:lnTo>
                      <a:lnTo>
                        <a:pt x="68" y="420"/>
                      </a:lnTo>
                      <a:lnTo>
                        <a:pt x="64" y="428"/>
                      </a:lnTo>
                      <a:lnTo>
                        <a:pt x="64" y="428"/>
                      </a:lnTo>
                      <a:lnTo>
                        <a:pt x="63" y="430"/>
                      </a:lnTo>
                      <a:lnTo>
                        <a:pt x="63" y="428"/>
                      </a:lnTo>
                      <a:lnTo>
                        <a:pt x="61" y="421"/>
                      </a:lnTo>
                      <a:lnTo>
                        <a:pt x="59" y="413"/>
                      </a:lnTo>
                      <a:lnTo>
                        <a:pt x="57" y="409"/>
                      </a:lnTo>
                      <a:lnTo>
                        <a:pt x="54" y="406"/>
                      </a:lnTo>
                      <a:lnTo>
                        <a:pt x="54" y="406"/>
                      </a:lnTo>
                      <a:lnTo>
                        <a:pt x="50" y="406"/>
                      </a:lnTo>
                      <a:lnTo>
                        <a:pt x="45" y="406"/>
                      </a:lnTo>
                      <a:lnTo>
                        <a:pt x="42" y="406"/>
                      </a:lnTo>
                      <a:lnTo>
                        <a:pt x="38" y="402"/>
                      </a:lnTo>
                      <a:lnTo>
                        <a:pt x="38" y="402"/>
                      </a:lnTo>
                      <a:lnTo>
                        <a:pt x="35" y="399"/>
                      </a:lnTo>
                      <a:lnTo>
                        <a:pt x="33" y="400"/>
                      </a:lnTo>
                      <a:lnTo>
                        <a:pt x="31" y="402"/>
                      </a:lnTo>
                      <a:lnTo>
                        <a:pt x="26" y="409"/>
                      </a:lnTo>
                      <a:lnTo>
                        <a:pt x="23" y="420"/>
                      </a:lnTo>
                      <a:lnTo>
                        <a:pt x="23" y="420"/>
                      </a:lnTo>
                      <a:lnTo>
                        <a:pt x="19" y="432"/>
                      </a:lnTo>
                      <a:lnTo>
                        <a:pt x="16" y="439"/>
                      </a:lnTo>
                      <a:lnTo>
                        <a:pt x="14" y="440"/>
                      </a:lnTo>
                      <a:lnTo>
                        <a:pt x="12" y="440"/>
                      </a:lnTo>
                      <a:lnTo>
                        <a:pt x="9" y="432"/>
                      </a:lnTo>
                      <a:lnTo>
                        <a:pt x="9" y="432"/>
                      </a:lnTo>
                      <a:lnTo>
                        <a:pt x="7" y="420"/>
                      </a:lnTo>
                      <a:lnTo>
                        <a:pt x="5" y="411"/>
                      </a:lnTo>
                      <a:lnTo>
                        <a:pt x="7" y="402"/>
                      </a:lnTo>
                      <a:lnTo>
                        <a:pt x="12" y="393"/>
                      </a:lnTo>
                      <a:lnTo>
                        <a:pt x="12" y="393"/>
                      </a:lnTo>
                      <a:lnTo>
                        <a:pt x="14" y="388"/>
                      </a:lnTo>
                      <a:lnTo>
                        <a:pt x="14" y="383"/>
                      </a:lnTo>
                      <a:lnTo>
                        <a:pt x="12" y="373"/>
                      </a:lnTo>
                      <a:lnTo>
                        <a:pt x="10" y="360"/>
                      </a:lnTo>
                      <a:lnTo>
                        <a:pt x="10" y="353"/>
                      </a:lnTo>
                      <a:lnTo>
                        <a:pt x="12" y="345"/>
                      </a:lnTo>
                      <a:lnTo>
                        <a:pt x="12" y="345"/>
                      </a:lnTo>
                      <a:lnTo>
                        <a:pt x="17" y="334"/>
                      </a:lnTo>
                      <a:lnTo>
                        <a:pt x="17" y="324"/>
                      </a:lnTo>
                      <a:lnTo>
                        <a:pt x="16" y="317"/>
                      </a:lnTo>
                      <a:lnTo>
                        <a:pt x="14" y="312"/>
                      </a:lnTo>
                      <a:lnTo>
                        <a:pt x="9" y="303"/>
                      </a:lnTo>
                      <a:lnTo>
                        <a:pt x="7" y="299"/>
                      </a:lnTo>
                      <a:lnTo>
                        <a:pt x="9" y="294"/>
                      </a:lnTo>
                      <a:lnTo>
                        <a:pt x="9" y="294"/>
                      </a:lnTo>
                      <a:lnTo>
                        <a:pt x="10" y="289"/>
                      </a:lnTo>
                      <a:lnTo>
                        <a:pt x="14" y="280"/>
                      </a:lnTo>
                      <a:lnTo>
                        <a:pt x="17" y="256"/>
                      </a:lnTo>
                      <a:lnTo>
                        <a:pt x="17" y="230"/>
                      </a:lnTo>
                      <a:lnTo>
                        <a:pt x="17" y="219"/>
                      </a:lnTo>
                      <a:lnTo>
                        <a:pt x="16" y="209"/>
                      </a:lnTo>
                      <a:lnTo>
                        <a:pt x="16" y="209"/>
                      </a:lnTo>
                      <a:lnTo>
                        <a:pt x="14" y="202"/>
                      </a:lnTo>
                      <a:lnTo>
                        <a:pt x="14" y="197"/>
                      </a:lnTo>
                      <a:lnTo>
                        <a:pt x="19" y="186"/>
                      </a:lnTo>
                      <a:lnTo>
                        <a:pt x="21" y="176"/>
                      </a:lnTo>
                      <a:lnTo>
                        <a:pt x="21" y="171"/>
                      </a:lnTo>
                      <a:lnTo>
                        <a:pt x="19" y="164"/>
                      </a:lnTo>
                      <a:lnTo>
                        <a:pt x="19" y="164"/>
                      </a:lnTo>
                      <a:lnTo>
                        <a:pt x="12" y="153"/>
                      </a:lnTo>
                      <a:lnTo>
                        <a:pt x="7" y="148"/>
                      </a:lnTo>
                      <a:lnTo>
                        <a:pt x="3" y="145"/>
                      </a:lnTo>
                      <a:lnTo>
                        <a:pt x="3" y="145"/>
                      </a:lnTo>
                      <a:lnTo>
                        <a:pt x="3" y="143"/>
                      </a:lnTo>
                      <a:lnTo>
                        <a:pt x="3" y="143"/>
                      </a:lnTo>
                      <a:lnTo>
                        <a:pt x="5" y="141"/>
                      </a:lnTo>
                      <a:lnTo>
                        <a:pt x="5" y="141"/>
                      </a:lnTo>
                      <a:lnTo>
                        <a:pt x="2" y="139"/>
                      </a:lnTo>
                      <a:lnTo>
                        <a:pt x="0" y="136"/>
                      </a:lnTo>
                      <a:lnTo>
                        <a:pt x="0" y="131"/>
                      </a:lnTo>
                      <a:lnTo>
                        <a:pt x="0" y="127"/>
                      </a:lnTo>
                      <a:lnTo>
                        <a:pt x="0" y="127"/>
                      </a:lnTo>
                      <a:lnTo>
                        <a:pt x="2" y="118"/>
                      </a:lnTo>
                      <a:lnTo>
                        <a:pt x="0" y="113"/>
                      </a:lnTo>
                      <a:lnTo>
                        <a:pt x="0" y="110"/>
                      </a:lnTo>
                      <a:lnTo>
                        <a:pt x="3" y="103"/>
                      </a:lnTo>
                      <a:lnTo>
                        <a:pt x="3" y="103"/>
                      </a:lnTo>
                      <a:lnTo>
                        <a:pt x="7" y="92"/>
                      </a:lnTo>
                      <a:lnTo>
                        <a:pt x="9" y="82"/>
                      </a:lnTo>
                      <a:lnTo>
                        <a:pt x="9" y="71"/>
                      </a:lnTo>
                      <a:lnTo>
                        <a:pt x="5" y="63"/>
                      </a:lnTo>
                      <a:lnTo>
                        <a:pt x="5" y="6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3" name="Freeform 1990">
                  <a:extLst>
                    <a:ext uri="{FF2B5EF4-FFF2-40B4-BE49-F238E27FC236}">
                      <a16:creationId xmlns:a16="http://schemas.microsoft.com/office/drawing/2014/main" id="{46526ABF-F3E1-DB73-B2A2-9EDD8FC126A2}"/>
                    </a:ext>
                  </a:extLst>
                </p:cNvPr>
                <p:cNvSpPr>
                  <a:spLocks/>
                </p:cNvSpPr>
                <p:nvPr/>
              </p:nvSpPr>
              <p:spPr bwMode="auto">
                <a:xfrm>
                  <a:off x="8834014" y="1496987"/>
                  <a:ext cx="135675" cy="44049"/>
                </a:xfrm>
                <a:custGeom>
                  <a:avLst/>
                  <a:gdLst/>
                  <a:ahLst/>
                  <a:cxnLst>
                    <a:cxn ang="0">
                      <a:pos x="54" y="50"/>
                    </a:cxn>
                    <a:cxn ang="0">
                      <a:pos x="54" y="50"/>
                    </a:cxn>
                    <a:cxn ang="0">
                      <a:pos x="30" y="43"/>
                    </a:cxn>
                    <a:cxn ang="0">
                      <a:pos x="14" y="36"/>
                    </a:cxn>
                    <a:cxn ang="0">
                      <a:pos x="4" y="31"/>
                    </a:cxn>
                    <a:cxn ang="0">
                      <a:pos x="0" y="24"/>
                    </a:cxn>
                    <a:cxn ang="0">
                      <a:pos x="0" y="19"/>
                    </a:cxn>
                    <a:cxn ang="0">
                      <a:pos x="2" y="14"/>
                    </a:cxn>
                    <a:cxn ang="0">
                      <a:pos x="9" y="3"/>
                    </a:cxn>
                    <a:cxn ang="0">
                      <a:pos x="9" y="3"/>
                    </a:cxn>
                    <a:cxn ang="0">
                      <a:pos x="11" y="0"/>
                    </a:cxn>
                    <a:cxn ang="0">
                      <a:pos x="13" y="0"/>
                    </a:cxn>
                    <a:cxn ang="0">
                      <a:pos x="16" y="5"/>
                    </a:cxn>
                    <a:cxn ang="0">
                      <a:pos x="20" y="8"/>
                    </a:cxn>
                    <a:cxn ang="0">
                      <a:pos x="28" y="10"/>
                    </a:cxn>
                    <a:cxn ang="0">
                      <a:pos x="40" y="12"/>
                    </a:cxn>
                    <a:cxn ang="0">
                      <a:pos x="56" y="10"/>
                    </a:cxn>
                    <a:cxn ang="0">
                      <a:pos x="56" y="10"/>
                    </a:cxn>
                    <a:cxn ang="0">
                      <a:pos x="74" y="10"/>
                    </a:cxn>
                    <a:cxn ang="0">
                      <a:pos x="82" y="12"/>
                    </a:cxn>
                    <a:cxn ang="0">
                      <a:pos x="88" y="15"/>
                    </a:cxn>
                    <a:cxn ang="0">
                      <a:pos x="89" y="19"/>
                    </a:cxn>
                    <a:cxn ang="0">
                      <a:pos x="89" y="22"/>
                    </a:cxn>
                    <a:cxn ang="0">
                      <a:pos x="91" y="24"/>
                    </a:cxn>
                    <a:cxn ang="0">
                      <a:pos x="96" y="24"/>
                    </a:cxn>
                    <a:cxn ang="0">
                      <a:pos x="107" y="21"/>
                    </a:cxn>
                    <a:cxn ang="0">
                      <a:pos x="107" y="21"/>
                    </a:cxn>
                    <a:cxn ang="0">
                      <a:pos x="117" y="17"/>
                    </a:cxn>
                    <a:cxn ang="0">
                      <a:pos x="126" y="17"/>
                    </a:cxn>
                    <a:cxn ang="0">
                      <a:pos x="131" y="19"/>
                    </a:cxn>
                    <a:cxn ang="0">
                      <a:pos x="136" y="22"/>
                    </a:cxn>
                    <a:cxn ang="0">
                      <a:pos x="145" y="28"/>
                    </a:cxn>
                    <a:cxn ang="0">
                      <a:pos x="148" y="29"/>
                    </a:cxn>
                    <a:cxn ang="0">
                      <a:pos x="155" y="31"/>
                    </a:cxn>
                    <a:cxn ang="0">
                      <a:pos x="155" y="31"/>
                    </a:cxn>
                    <a:cxn ang="0">
                      <a:pos x="162" y="31"/>
                    </a:cxn>
                    <a:cxn ang="0">
                      <a:pos x="166" y="33"/>
                    </a:cxn>
                    <a:cxn ang="0">
                      <a:pos x="168" y="36"/>
                    </a:cxn>
                    <a:cxn ang="0">
                      <a:pos x="166" y="40"/>
                    </a:cxn>
                    <a:cxn ang="0">
                      <a:pos x="161" y="45"/>
                    </a:cxn>
                    <a:cxn ang="0">
                      <a:pos x="155" y="48"/>
                    </a:cxn>
                    <a:cxn ang="0">
                      <a:pos x="145" y="52"/>
                    </a:cxn>
                    <a:cxn ang="0">
                      <a:pos x="135" y="54"/>
                    </a:cxn>
                    <a:cxn ang="0">
                      <a:pos x="135" y="54"/>
                    </a:cxn>
                    <a:cxn ang="0">
                      <a:pos x="94" y="55"/>
                    </a:cxn>
                    <a:cxn ang="0">
                      <a:pos x="77" y="54"/>
                    </a:cxn>
                    <a:cxn ang="0">
                      <a:pos x="54" y="50"/>
                    </a:cxn>
                    <a:cxn ang="0">
                      <a:pos x="54" y="50"/>
                    </a:cxn>
                  </a:cxnLst>
                  <a:rect l="0" t="0" r="r" b="b"/>
                  <a:pathLst>
                    <a:path w="168" h="55">
                      <a:moveTo>
                        <a:pt x="54" y="50"/>
                      </a:moveTo>
                      <a:lnTo>
                        <a:pt x="54" y="50"/>
                      </a:lnTo>
                      <a:lnTo>
                        <a:pt x="30" y="43"/>
                      </a:lnTo>
                      <a:lnTo>
                        <a:pt x="14" y="36"/>
                      </a:lnTo>
                      <a:lnTo>
                        <a:pt x="4" y="31"/>
                      </a:lnTo>
                      <a:lnTo>
                        <a:pt x="0" y="24"/>
                      </a:lnTo>
                      <a:lnTo>
                        <a:pt x="0" y="19"/>
                      </a:lnTo>
                      <a:lnTo>
                        <a:pt x="2" y="14"/>
                      </a:lnTo>
                      <a:lnTo>
                        <a:pt x="9" y="3"/>
                      </a:lnTo>
                      <a:lnTo>
                        <a:pt x="9" y="3"/>
                      </a:lnTo>
                      <a:lnTo>
                        <a:pt x="11" y="0"/>
                      </a:lnTo>
                      <a:lnTo>
                        <a:pt x="13" y="0"/>
                      </a:lnTo>
                      <a:lnTo>
                        <a:pt x="16" y="5"/>
                      </a:lnTo>
                      <a:lnTo>
                        <a:pt x="20" y="8"/>
                      </a:lnTo>
                      <a:lnTo>
                        <a:pt x="28" y="10"/>
                      </a:lnTo>
                      <a:lnTo>
                        <a:pt x="40" y="12"/>
                      </a:lnTo>
                      <a:lnTo>
                        <a:pt x="56" y="10"/>
                      </a:lnTo>
                      <a:lnTo>
                        <a:pt x="56" y="10"/>
                      </a:lnTo>
                      <a:lnTo>
                        <a:pt x="74" y="10"/>
                      </a:lnTo>
                      <a:lnTo>
                        <a:pt x="82" y="12"/>
                      </a:lnTo>
                      <a:lnTo>
                        <a:pt x="88" y="15"/>
                      </a:lnTo>
                      <a:lnTo>
                        <a:pt x="89" y="19"/>
                      </a:lnTo>
                      <a:lnTo>
                        <a:pt x="89" y="22"/>
                      </a:lnTo>
                      <a:lnTo>
                        <a:pt x="91" y="24"/>
                      </a:lnTo>
                      <a:lnTo>
                        <a:pt x="96" y="24"/>
                      </a:lnTo>
                      <a:lnTo>
                        <a:pt x="107" y="21"/>
                      </a:lnTo>
                      <a:lnTo>
                        <a:pt x="107" y="21"/>
                      </a:lnTo>
                      <a:lnTo>
                        <a:pt x="117" y="17"/>
                      </a:lnTo>
                      <a:lnTo>
                        <a:pt x="126" y="17"/>
                      </a:lnTo>
                      <a:lnTo>
                        <a:pt x="131" y="19"/>
                      </a:lnTo>
                      <a:lnTo>
                        <a:pt x="136" y="22"/>
                      </a:lnTo>
                      <a:lnTo>
                        <a:pt x="145" y="28"/>
                      </a:lnTo>
                      <a:lnTo>
                        <a:pt x="148" y="29"/>
                      </a:lnTo>
                      <a:lnTo>
                        <a:pt x="155" y="31"/>
                      </a:lnTo>
                      <a:lnTo>
                        <a:pt x="155" y="31"/>
                      </a:lnTo>
                      <a:lnTo>
                        <a:pt x="162" y="31"/>
                      </a:lnTo>
                      <a:lnTo>
                        <a:pt x="166" y="33"/>
                      </a:lnTo>
                      <a:lnTo>
                        <a:pt x="168" y="36"/>
                      </a:lnTo>
                      <a:lnTo>
                        <a:pt x="166" y="40"/>
                      </a:lnTo>
                      <a:lnTo>
                        <a:pt x="161" y="45"/>
                      </a:lnTo>
                      <a:lnTo>
                        <a:pt x="155" y="48"/>
                      </a:lnTo>
                      <a:lnTo>
                        <a:pt x="145" y="52"/>
                      </a:lnTo>
                      <a:lnTo>
                        <a:pt x="135" y="54"/>
                      </a:lnTo>
                      <a:lnTo>
                        <a:pt x="135" y="54"/>
                      </a:lnTo>
                      <a:lnTo>
                        <a:pt x="94" y="55"/>
                      </a:lnTo>
                      <a:lnTo>
                        <a:pt x="77" y="54"/>
                      </a:lnTo>
                      <a:lnTo>
                        <a:pt x="54" y="50"/>
                      </a:lnTo>
                      <a:lnTo>
                        <a:pt x="54" y="5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4" name="Freeform 1991">
                  <a:extLst>
                    <a:ext uri="{FF2B5EF4-FFF2-40B4-BE49-F238E27FC236}">
                      <a16:creationId xmlns:a16="http://schemas.microsoft.com/office/drawing/2014/main" id="{AA018615-EB63-2A07-D2CE-B1D1B7AB47FD}"/>
                    </a:ext>
                  </a:extLst>
                </p:cNvPr>
                <p:cNvSpPr>
                  <a:spLocks/>
                </p:cNvSpPr>
                <p:nvPr/>
              </p:nvSpPr>
              <p:spPr bwMode="auto">
                <a:xfrm>
                  <a:off x="8576764" y="1463510"/>
                  <a:ext cx="232584" cy="86339"/>
                </a:xfrm>
                <a:custGeom>
                  <a:avLst/>
                  <a:gdLst/>
                  <a:ahLst/>
                  <a:cxnLst>
                    <a:cxn ang="0">
                      <a:pos x="266" y="73"/>
                    </a:cxn>
                    <a:cxn ang="0">
                      <a:pos x="212" y="90"/>
                    </a:cxn>
                    <a:cxn ang="0">
                      <a:pos x="192" y="92"/>
                    </a:cxn>
                    <a:cxn ang="0">
                      <a:pos x="176" y="85"/>
                    </a:cxn>
                    <a:cxn ang="0">
                      <a:pos x="169" y="82"/>
                    </a:cxn>
                    <a:cxn ang="0">
                      <a:pos x="155" y="84"/>
                    </a:cxn>
                    <a:cxn ang="0">
                      <a:pos x="138" y="90"/>
                    </a:cxn>
                    <a:cxn ang="0">
                      <a:pos x="118" y="92"/>
                    </a:cxn>
                    <a:cxn ang="0">
                      <a:pos x="106" y="90"/>
                    </a:cxn>
                    <a:cxn ang="0">
                      <a:pos x="91" y="90"/>
                    </a:cxn>
                    <a:cxn ang="0">
                      <a:pos x="87" y="99"/>
                    </a:cxn>
                    <a:cxn ang="0">
                      <a:pos x="82" y="106"/>
                    </a:cxn>
                    <a:cxn ang="0">
                      <a:pos x="59" y="101"/>
                    </a:cxn>
                    <a:cxn ang="0">
                      <a:pos x="30" y="89"/>
                    </a:cxn>
                    <a:cxn ang="0">
                      <a:pos x="9" y="77"/>
                    </a:cxn>
                    <a:cxn ang="0">
                      <a:pos x="0" y="66"/>
                    </a:cxn>
                    <a:cxn ang="0">
                      <a:pos x="4" y="57"/>
                    </a:cxn>
                    <a:cxn ang="0">
                      <a:pos x="9" y="54"/>
                    </a:cxn>
                    <a:cxn ang="0">
                      <a:pos x="5" y="42"/>
                    </a:cxn>
                    <a:cxn ang="0">
                      <a:pos x="4" y="31"/>
                    </a:cxn>
                    <a:cxn ang="0">
                      <a:pos x="14" y="19"/>
                    </a:cxn>
                    <a:cxn ang="0">
                      <a:pos x="31" y="9"/>
                    </a:cxn>
                    <a:cxn ang="0">
                      <a:pos x="51" y="0"/>
                    </a:cxn>
                    <a:cxn ang="0">
                      <a:pos x="63" y="2"/>
                    </a:cxn>
                    <a:cxn ang="0">
                      <a:pos x="70" y="5"/>
                    </a:cxn>
                    <a:cxn ang="0">
                      <a:pos x="106" y="28"/>
                    </a:cxn>
                    <a:cxn ang="0">
                      <a:pos x="129" y="40"/>
                    </a:cxn>
                    <a:cxn ang="0">
                      <a:pos x="136" y="40"/>
                    </a:cxn>
                    <a:cxn ang="0">
                      <a:pos x="138" y="35"/>
                    </a:cxn>
                    <a:cxn ang="0">
                      <a:pos x="132" y="23"/>
                    </a:cxn>
                    <a:cxn ang="0">
                      <a:pos x="136" y="12"/>
                    </a:cxn>
                    <a:cxn ang="0">
                      <a:pos x="143" y="7"/>
                    </a:cxn>
                    <a:cxn ang="0">
                      <a:pos x="153" y="3"/>
                    </a:cxn>
                    <a:cxn ang="0">
                      <a:pos x="171" y="9"/>
                    </a:cxn>
                    <a:cxn ang="0">
                      <a:pos x="188" y="21"/>
                    </a:cxn>
                    <a:cxn ang="0">
                      <a:pos x="207" y="28"/>
                    </a:cxn>
                    <a:cxn ang="0">
                      <a:pos x="219" y="26"/>
                    </a:cxn>
                    <a:cxn ang="0">
                      <a:pos x="247" y="26"/>
                    </a:cxn>
                    <a:cxn ang="0">
                      <a:pos x="275" y="35"/>
                    </a:cxn>
                    <a:cxn ang="0">
                      <a:pos x="289" y="43"/>
                    </a:cxn>
                    <a:cxn ang="0">
                      <a:pos x="289" y="47"/>
                    </a:cxn>
                    <a:cxn ang="0">
                      <a:pos x="282" y="49"/>
                    </a:cxn>
                    <a:cxn ang="0">
                      <a:pos x="273" y="50"/>
                    </a:cxn>
                    <a:cxn ang="0">
                      <a:pos x="272" y="56"/>
                    </a:cxn>
                    <a:cxn ang="0">
                      <a:pos x="277" y="63"/>
                    </a:cxn>
                    <a:cxn ang="0">
                      <a:pos x="273" y="70"/>
                    </a:cxn>
                    <a:cxn ang="0">
                      <a:pos x="266" y="73"/>
                    </a:cxn>
                  </a:cxnLst>
                  <a:rect l="0" t="0" r="r" b="b"/>
                  <a:pathLst>
                    <a:path w="291" h="106">
                      <a:moveTo>
                        <a:pt x="266" y="73"/>
                      </a:moveTo>
                      <a:lnTo>
                        <a:pt x="266" y="73"/>
                      </a:lnTo>
                      <a:lnTo>
                        <a:pt x="237" y="84"/>
                      </a:lnTo>
                      <a:lnTo>
                        <a:pt x="212" y="90"/>
                      </a:lnTo>
                      <a:lnTo>
                        <a:pt x="202" y="92"/>
                      </a:lnTo>
                      <a:lnTo>
                        <a:pt x="192" y="92"/>
                      </a:lnTo>
                      <a:lnTo>
                        <a:pt x="183" y="90"/>
                      </a:lnTo>
                      <a:lnTo>
                        <a:pt x="176" y="85"/>
                      </a:lnTo>
                      <a:lnTo>
                        <a:pt x="176" y="85"/>
                      </a:lnTo>
                      <a:lnTo>
                        <a:pt x="169" y="82"/>
                      </a:lnTo>
                      <a:lnTo>
                        <a:pt x="162" y="82"/>
                      </a:lnTo>
                      <a:lnTo>
                        <a:pt x="155" y="84"/>
                      </a:lnTo>
                      <a:lnTo>
                        <a:pt x="146" y="87"/>
                      </a:lnTo>
                      <a:lnTo>
                        <a:pt x="138" y="90"/>
                      </a:lnTo>
                      <a:lnTo>
                        <a:pt x="129" y="92"/>
                      </a:lnTo>
                      <a:lnTo>
                        <a:pt x="118" y="92"/>
                      </a:lnTo>
                      <a:lnTo>
                        <a:pt x="106" y="90"/>
                      </a:lnTo>
                      <a:lnTo>
                        <a:pt x="106" y="90"/>
                      </a:lnTo>
                      <a:lnTo>
                        <a:pt x="96" y="89"/>
                      </a:lnTo>
                      <a:lnTo>
                        <a:pt x="91" y="90"/>
                      </a:lnTo>
                      <a:lnTo>
                        <a:pt x="89" y="94"/>
                      </a:lnTo>
                      <a:lnTo>
                        <a:pt x="87" y="99"/>
                      </a:lnTo>
                      <a:lnTo>
                        <a:pt x="85" y="103"/>
                      </a:lnTo>
                      <a:lnTo>
                        <a:pt x="82" y="106"/>
                      </a:lnTo>
                      <a:lnTo>
                        <a:pt x="73" y="106"/>
                      </a:lnTo>
                      <a:lnTo>
                        <a:pt x="59" y="101"/>
                      </a:lnTo>
                      <a:lnTo>
                        <a:pt x="59" y="101"/>
                      </a:lnTo>
                      <a:lnTo>
                        <a:pt x="30" y="89"/>
                      </a:lnTo>
                      <a:lnTo>
                        <a:pt x="17" y="82"/>
                      </a:lnTo>
                      <a:lnTo>
                        <a:pt x="9" y="77"/>
                      </a:lnTo>
                      <a:lnTo>
                        <a:pt x="2" y="70"/>
                      </a:lnTo>
                      <a:lnTo>
                        <a:pt x="0" y="66"/>
                      </a:lnTo>
                      <a:lnTo>
                        <a:pt x="0" y="61"/>
                      </a:lnTo>
                      <a:lnTo>
                        <a:pt x="4" y="57"/>
                      </a:lnTo>
                      <a:lnTo>
                        <a:pt x="4" y="57"/>
                      </a:lnTo>
                      <a:lnTo>
                        <a:pt x="9" y="54"/>
                      </a:lnTo>
                      <a:lnTo>
                        <a:pt x="9" y="50"/>
                      </a:lnTo>
                      <a:lnTo>
                        <a:pt x="5" y="42"/>
                      </a:lnTo>
                      <a:lnTo>
                        <a:pt x="4" y="37"/>
                      </a:lnTo>
                      <a:lnTo>
                        <a:pt x="4" y="31"/>
                      </a:lnTo>
                      <a:lnTo>
                        <a:pt x="7" y="24"/>
                      </a:lnTo>
                      <a:lnTo>
                        <a:pt x="14" y="19"/>
                      </a:lnTo>
                      <a:lnTo>
                        <a:pt x="14" y="19"/>
                      </a:lnTo>
                      <a:lnTo>
                        <a:pt x="31" y="9"/>
                      </a:lnTo>
                      <a:lnTo>
                        <a:pt x="45" y="2"/>
                      </a:lnTo>
                      <a:lnTo>
                        <a:pt x="51" y="0"/>
                      </a:lnTo>
                      <a:lnTo>
                        <a:pt x="58" y="0"/>
                      </a:lnTo>
                      <a:lnTo>
                        <a:pt x="63" y="2"/>
                      </a:lnTo>
                      <a:lnTo>
                        <a:pt x="70" y="5"/>
                      </a:lnTo>
                      <a:lnTo>
                        <a:pt x="70" y="5"/>
                      </a:lnTo>
                      <a:lnTo>
                        <a:pt x="87" y="16"/>
                      </a:lnTo>
                      <a:lnTo>
                        <a:pt x="106" y="28"/>
                      </a:lnTo>
                      <a:lnTo>
                        <a:pt x="122" y="37"/>
                      </a:lnTo>
                      <a:lnTo>
                        <a:pt x="129" y="40"/>
                      </a:lnTo>
                      <a:lnTo>
                        <a:pt x="136" y="40"/>
                      </a:lnTo>
                      <a:lnTo>
                        <a:pt x="136" y="40"/>
                      </a:lnTo>
                      <a:lnTo>
                        <a:pt x="138" y="38"/>
                      </a:lnTo>
                      <a:lnTo>
                        <a:pt x="138" y="35"/>
                      </a:lnTo>
                      <a:lnTo>
                        <a:pt x="134" y="26"/>
                      </a:lnTo>
                      <a:lnTo>
                        <a:pt x="132" y="23"/>
                      </a:lnTo>
                      <a:lnTo>
                        <a:pt x="132" y="17"/>
                      </a:lnTo>
                      <a:lnTo>
                        <a:pt x="136" y="12"/>
                      </a:lnTo>
                      <a:lnTo>
                        <a:pt x="143" y="7"/>
                      </a:lnTo>
                      <a:lnTo>
                        <a:pt x="143" y="7"/>
                      </a:lnTo>
                      <a:lnTo>
                        <a:pt x="148" y="5"/>
                      </a:lnTo>
                      <a:lnTo>
                        <a:pt x="153" y="3"/>
                      </a:lnTo>
                      <a:lnTo>
                        <a:pt x="162" y="5"/>
                      </a:lnTo>
                      <a:lnTo>
                        <a:pt x="171" y="9"/>
                      </a:lnTo>
                      <a:lnTo>
                        <a:pt x="179" y="14"/>
                      </a:lnTo>
                      <a:lnTo>
                        <a:pt x="188" y="21"/>
                      </a:lnTo>
                      <a:lnTo>
                        <a:pt x="197" y="24"/>
                      </a:lnTo>
                      <a:lnTo>
                        <a:pt x="207" y="28"/>
                      </a:lnTo>
                      <a:lnTo>
                        <a:pt x="219" y="26"/>
                      </a:lnTo>
                      <a:lnTo>
                        <a:pt x="219" y="26"/>
                      </a:lnTo>
                      <a:lnTo>
                        <a:pt x="233" y="26"/>
                      </a:lnTo>
                      <a:lnTo>
                        <a:pt x="247" y="26"/>
                      </a:lnTo>
                      <a:lnTo>
                        <a:pt x="261" y="30"/>
                      </a:lnTo>
                      <a:lnTo>
                        <a:pt x="275" y="35"/>
                      </a:lnTo>
                      <a:lnTo>
                        <a:pt x="284" y="38"/>
                      </a:lnTo>
                      <a:lnTo>
                        <a:pt x="289" y="43"/>
                      </a:lnTo>
                      <a:lnTo>
                        <a:pt x="291" y="45"/>
                      </a:lnTo>
                      <a:lnTo>
                        <a:pt x="289" y="47"/>
                      </a:lnTo>
                      <a:lnTo>
                        <a:pt x="287" y="49"/>
                      </a:lnTo>
                      <a:lnTo>
                        <a:pt x="282" y="49"/>
                      </a:lnTo>
                      <a:lnTo>
                        <a:pt x="282" y="49"/>
                      </a:lnTo>
                      <a:lnTo>
                        <a:pt x="273" y="50"/>
                      </a:lnTo>
                      <a:lnTo>
                        <a:pt x="272" y="52"/>
                      </a:lnTo>
                      <a:lnTo>
                        <a:pt x="272" y="56"/>
                      </a:lnTo>
                      <a:lnTo>
                        <a:pt x="273" y="59"/>
                      </a:lnTo>
                      <a:lnTo>
                        <a:pt x="277" y="63"/>
                      </a:lnTo>
                      <a:lnTo>
                        <a:pt x="277" y="66"/>
                      </a:lnTo>
                      <a:lnTo>
                        <a:pt x="273" y="70"/>
                      </a:lnTo>
                      <a:lnTo>
                        <a:pt x="266" y="73"/>
                      </a:lnTo>
                      <a:lnTo>
                        <a:pt x="266" y="7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5" name="Freeform 1992">
                  <a:extLst>
                    <a:ext uri="{FF2B5EF4-FFF2-40B4-BE49-F238E27FC236}">
                      <a16:creationId xmlns:a16="http://schemas.microsoft.com/office/drawing/2014/main" id="{740895D5-2E20-95EF-5054-B005E9265629}"/>
                    </a:ext>
                  </a:extLst>
                </p:cNvPr>
                <p:cNvSpPr>
                  <a:spLocks/>
                </p:cNvSpPr>
                <p:nvPr/>
              </p:nvSpPr>
              <p:spPr bwMode="auto">
                <a:xfrm>
                  <a:off x="8182074" y="1593898"/>
                  <a:ext cx="185010" cy="89862"/>
                </a:xfrm>
                <a:custGeom>
                  <a:avLst/>
                  <a:gdLst/>
                  <a:ahLst/>
                  <a:cxnLst>
                    <a:cxn ang="0">
                      <a:pos x="108" y="90"/>
                    </a:cxn>
                    <a:cxn ang="0">
                      <a:pos x="58" y="69"/>
                    </a:cxn>
                    <a:cxn ang="0">
                      <a:pos x="14" y="59"/>
                    </a:cxn>
                    <a:cxn ang="0">
                      <a:pos x="4" y="57"/>
                    </a:cxn>
                    <a:cxn ang="0">
                      <a:pos x="4" y="52"/>
                    </a:cxn>
                    <a:cxn ang="0">
                      <a:pos x="12" y="45"/>
                    </a:cxn>
                    <a:cxn ang="0">
                      <a:pos x="18" y="38"/>
                    </a:cxn>
                    <a:cxn ang="0">
                      <a:pos x="16" y="33"/>
                    </a:cxn>
                    <a:cxn ang="0">
                      <a:pos x="14" y="29"/>
                    </a:cxn>
                    <a:cxn ang="0">
                      <a:pos x="9" y="22"/>
                    </a:cxn>
                    <a:cxn ang="0">
                      <a:pos x="9" y="15"/>
                    </a:cxn>
                    <a:cxn ang="0">
                      <a:pos x="25" y="5"/>
                    </a:cxn>
                    <a:cxn ang="0">
                      <a:pos x="49" y="0"/>
                    </a:cxn>
                    <a:cxn ang="0">
                      <a:pos x="72" y="3"/>
                    </a:cxn>
                    <a:cxn ang="0">
                      <a:pos x="82" y="8"/>
                    </a:cxn>
                    <a:cxn ang="0">
                      <a:pos x="105" y="12"/>
                    </a:cxn>
                    <a:cxn ang="0">
                      <a:pos x="115" y="14"/>
                    </a:cxn>
                    <a:cxn ang="0">
                      <a:pos x="122" y="24"/>
                    </a:cxn>
                    <a:cxn ang="0">
                      <a:pos x="126" y="29"/>
                    </a:cxn>
                    <a:cxn ang="0">
                      <a:pos x="131" y="29"/>
                    </a:cxn>
                    <a:cxn ang="0">
                      <a:pos x="140" y="21"/>
                    </a:cxn>
                    <a:cxn ang="0">
                      <a:pos x="154" y="17"/>
                    </a:cxn>
                    <a:cxn ang="0">
                      <a:pos x="164" y="19"/>
                    </a:cxn>
                    <a:cxn ang="0">
                      <a:pos x="211" y="36"/>
                    </a:cxn>
                    <a:cxn ang="0">
                      <a:pos x="221" y="45"/>
                    </a:cxn>
                    <a:cxn ang="0">
                      <a:pos x="220" y="48"/>
                    </a:cxn>
                    <a:cxn ang="0">
                      <a:pos x="209" y="52"/>
                    </a:cxn>
                    <a:cxn ang="0">
                      <a:pos x="201" y="55"/>
                    </a:cxn>
                    <a:cxn ang="0">
                      <a:pos x="204" y="59"/>
                    </a:cxn>
                    <a:cxn ang="0">
                      <a:pos x="218" y="64"/>
                    </a:cxn>
                    <a:cxn ang="0">
                      <a:pos x="223" y="68"/>
                    </a:cxn>
                    <a:cxn ang="0">
                      <a:pos x="216" y="73"/>
                    </a:cxn>
                    <a:cxn ang="0">
                      <a:pos x="208" y="74"/>
                    </a:cxn>
                    <a:cxn ang="0">
                      <a:pos x="206" y="78"/>
                    </a:cxn>
                    <a:cxn ang="0">
                      <a:pos x="214" y="81"/>
                    </a:cxn>
                    <a:cxn ang="0">
                      <a:pos x="227" y="88"/>
                    </a:cxn>
                    <a:cxn ang="0">
                      <a:pos x="230" y="97"/>
                    </a:cxn>
                    <a:cxn ang="0">
                      <a:pos x="230" y="101"/>
                    </a:cxn>
                    <a:cxn ang="0">
                      <a:pos x="220" y="111"/>
                    </a:cxn>
                    <a:cxn ang="0">
                      <a:pos x="206" y="108"/>
                    </a:cxn>
                    <a:cxn ang="0">
                      <a:pos x="167" y="90"/>
                    </a:cxn>
                    <a:cxn ang="0">
                      <a:pos x="141" y="80"/>
                    </a:cxn>
                    <a:cxn ang="0">
                      <a:pos x="127" y="80"/>
                    </a:cxn>
                    <a:cxn ang="0">
                      <a:pos x="122" y="81"/>
                    </a:cxn>
                    <a:cxn ang="0">
                      <a:pos x="122" y="90"/>
                    </a:cxn>
                    <a:cxn ang="0">
                      <a:pos x="120" y="95"/>
                    </a:cxn>
                    <a:cxn ang="0">
                      <a:pos x="108" y="90"/>
                    </a:cxn>
                  </a:cxnLst>
                  <a:rect l="0" t="0" r="r" b="b"/>
                  <a:pathLst>
                    <a:path w="230" h="111">
                      <a:moveTo>
                        <a:pt x="108" y="90"/>
                      </a:moveTo>
                      <a:lnTo>
                        <a:pt x="108" y="90"/>
                      </a:lnTo>
                      <a:lnTo>
                        <a:pt x="80" y="78"/>
                      </a:lnTo>
                      <a:lnTo>
                        <a:pt x="58" y="69"/>
                      </a:lnTo>
                      <a:lnTo>
                        <a:pt x="39" y="64"/>
                      </a:lnTo>
                      <a:lnTo>
                        <a:pt x="14" y="59"/>
                      </a:lnTo>
                      <a:lnTo>
                        <a:pt x="14" y="59"/>
                      </a:lnTo>
                      <a:lnTo>
                        <a:pt x="4" y="57"/>
                      </a:lnTo>
                      <a:lnTo>
                        <a:pt x="0" y="55"/>
                      </a:lnTo>
                      <a:lnTo>
                        <a:pt x="4" y="52"/>
                      </a:lnTo>
                      <a:lnTo>
                        <a:pt x="7" y="48"/>
                      </a:lnTo>
                      <a:lnTo>
                        <a:pt x="12" y="45"/>
                      </a:lnTo>
                      <a:lnTo>
                        <a:pt x="18" y="41"/>
                      </a:lnTo>
                      <a:lnTo>
                        <a:pt x="18" y="38"/>
                      </a:lnTo>
                      <a:lnTo>
                        <a:pt x="18" y="36"/>
                      </a:lnTo>
                      <a:lnTo>
                        <a:pt x="16" y="33"/>
                      </a:lnTo>
                      <a:lnTo>
                        <a:pt x="14" y="29"/>
                      </a:lnTo>
                      <a:lnTo>
                        <a:pt x="14" y="29"/>
                      </a:lnTo>
                      <a:lnTo>
                        <a:pt x="11" y="26"/>
                      </a:lnTo>
                      <a:lnTo>
                        <a:pt x="9" y="22"/>
                      </a:lnTo>
                      <a:lnTo>
                        <a:pt x="9" y="19"/>
                      </a:lnTo>
                      <a:lnTo>
                        <a:pt x="9" y="15"/>
                      </a:lnTo>
                      <a:lnTo>
                        <a:pt x="16" y="10"/>
                      </a:lnTo>
                      <a:lnTo>
                        <a:pt x="25" y="5"/>
                      </a:lnTo>
                      <a:lnTo>
                        <a:pt x="35" y="1"/>
                      </a:lnTo>
                      <a:lnTo>
                        <a:pt x="49" y="0"/>
                      </a:lnTo>
                      <a:lnTo>
                        <a:pt x="61" y="0"/>
                      </a:lnTo>
                      <a:lnTo>
                        <a:pt x="72" y="3"/>
                      </a:lnTo>
                      <a:lnTo>
                        <a:pt x="72" y="3"/>
                      </a:lnTo>
                      <a:lnTo>
                        <a:pt x="82" y="8"/>
                      </a:lnTo>
                      <a:lnTo>
                        <a:pt x="91" y="10"/>
                      </a:lnTo>
                      <a:lnTo>
                        <a:pt x="105" y="12"/>
                      </a:lnTo>
                      <a:lnTo>
                        <a:pt x="110" y="12"/>
                      </a:lnTo>
                      <a:lnTo>
                        <a:pt x="115" y="14"/>
                      </a:lnTo>
                      <a:lnTo>
                        <a:pt x="119" y="19"/>
                      </a:lnTo>
                      <a:lnTo>
                        <a:pt x="122" y="24"/>
                      </a:lnTo>
                      <a:lnTo>
                        <a:pt x="122" y="24"/>
                      </a:lnTo>
                      <a:lnTo>
                        <a:pt x="126" y="29"/>
                      </a:lnTo>
                      <a:lnTo>
                        <a:pt x="127" y="31"/>
                      </a:lnTo>
                      <a:lnTo>
                        <a:pt x="131" y="29"/>
                      </a:lnTo>
                      <a:lnTo>
                        <a:pt x="134" y="26"/>
                      </a:lnTo>
                      <a:lnTo>
                        <a:pt x="140" y="21"/>
                      </a:lnTo>
                      <a:lnTo>
                        <a:pt x="147" y="17"/>
                      </a:lnTo>
                      <a:lnTo>
                        <a:pt x="154" y="17"/>
                      </a:lnTo>
                      <a:lnTo>
                        <a:pt x="164" y="19"/>
                      </a:lnTo>
                      <a:lnTo>
                        <a:pt x="164" y="19"/>
                      </a:lnTo>
                      <a:lnTo>
                        <a:pt x="188" y="27"/>
                      </a:lnTo>
                      <a:lnTo>
                        <a:pt x="211" y="36"/>
                      </a:lnTo>
                      <a:lnTo>
                        <a:pt x="220" y="40"/>
                      </a:lnTo>
                      <a:lnTo>
                        <a:pt x="221" y="45"/>
                      </a:lnTo>
                      <a:lnTo>
                        <a:pt x="221" y="47"/>
                      </a:lnTo>
                      <a:lnTo>
                        <a:pt x="220" y="48"/>
                      </a:lnTo>
                      <a:lnTo>
                        <a:pt x="209" y="52"/>
                      </a:lnTo>
                      <a:lnTo>
                        <a:pt x="209" y="52"/>
                      </a:lnTo>
                      <a:lnTo>
                        <a:pt x="202" y="54"/>
                      </a:lnTo>
                      <a:lnTo>
                        <a:pt x="201" y="55"/>
                      </a:lnTo>
                      <a:lnTo>
                        <a:pt x="201" y="57"/>
                      </a:lnTo>
                      <a:lnTo>
                        <a:pt x="204" y="59"/>
                      </a:lnTo>
                      <a:lnTo>
                        <a:pt x="211" y="62"/>
                      </a:lnTo>
                      <a:lnTo>
                        <a:pt x="218" y="64"/>
                      </a:lnTo>
                      <a:lnTo>
                        <a:pt x="223" y="68"/>
                      </a:lnTo>
                      <a:lnTo>
                        <a:pt x="223" y="68"/>
                      </a:lnTo>
                      <a:lnTo>
                        <a:pt x="223" y="69"/>
                      </a:lnTo>
                      <a:lnTo>
                        <a:pt x="216" y="73"/>
                      </a:lnTo>
                      <a:lnTo>
                        <a:pt x="216" y="73"/>
                      </a:lnTo>
                      <a:lnTo>
                        <a:pt x="208" y="74"/>
                      </a:lnTo>
                      <a:lnTo>
                        <a:pt x="206" y="76"/>
                      </a:lnTo>
                      <a:lnTo>
                        <a:pt x="206" y="78"/>
                      </a:lnTo>
                      <a:lnTo>
                        <a:pt x="209" y="80"/>
                      </a:lnTo>
                      <a:lnTo>
                        <a:pt x="214" y="81"/>
                      </a:lnTo>
                      <a:lnTo>
                        <a:pt x="221" y="85"/>
                      </a:lnTo>
                      <a:lnTo>
                        <a:pt x="227" y="88"/>
                      </a:lnTo>
                      <a:lnTo>
                        <a:pt x="230" y="94"/>
                      </a:lnTo>
                      <a:lnTo>
                        <a:pt x="230" y="97"/>
                      </a:lnTo>
                      <a:lnTo>
                        <a:pt x="230" y="101"/>
                      </a:lnTo>
                      <a:lnTo>
                        <a:pt x="230" y="101"/>
                      </a:lnTo>
                      <a:lnTo>
                        <a:pt x="225" y="108"/>
                      </a:lnTo>
                      <a:lnTo>
                        <a:pt x="220" y="111"/>
                      </a:lnTo>
                      <a:lnTo>
                        <a:pt x="213" y="111"/>
                      </a:lnTo>
                      <a:lnTo>
                        <a:pt x="206" y="108"/>
                      </a:lnTo>
                      <a:lnTo>
                        <a:pt x="188" y="99"/>
                      </a:lnTo>
                      <a:lnTo>
                        <a:pt x="167" y="90"/>
                      </a:lnTo>
                      <a:lnTo>
                        <a:pt x="167" y="90"/>
                      </a:lnTo>
                      <a:lnTo>
                        <a:pt x="141" y="80"/>
                      </a:lnTo>
                      <a:lnTo>
                        <a:pt x="136" y="78"/>
                      </a:lnTo>
                      <a:lnTo>
                        <a:pt x="127" y="80"/>
                      </a:lnTo>
                      <a:lnTo>
                        <a:pt x="127" y="80"/>
                      </a:lnTo>
                      <a:lnTo>
                        <a:pt x="122" y="81"/>
                      </a:lnTo>
                      <a:lnTo>
                        <a:pt x="120" y="85"/>
                      </a:lnTo>
                      <a:lnTo>
                        <a:pt x="122" y="90"/>
                      </a:lnTo>
                      <a:lnTo>
                        <a:pt x="122" y="94"/>
                      </a:lnTo>
                      <a:lnTo>
                        <a:pt x="120" y="95"/>
                      </a:lnTo>
                      <a:lnTo>
                        <a:pt x="117" y="94"/>
                      </a:lnTo>
                      <a:lnTo>
                        <a:pt x="108" y="90"/>
                      </a:lnTo>
                      <a:lnTo>
                        <a:pt x="108" y="9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6" name="Freeform 1993">
                  <a:extLst>
                    <a:ext uri="{FF2B5EF4-FFF2-40B4-BE49-F238E27FC236}">
                      <a16:creationId xmlns:a16="http://schemas.microsoft.com/office/drawing/2014/main" id="{6BFBC199-FFD7-07F7-9267-C64E69EF4A8B}"/>
                    </a:ext>
                  </a:extLst>
                </p:cNvPr>
                <p:cNvSpPr>
                  <a:spLocks/>
                </p:cNvSpPr>
                <p:nvPr/>
              </p:nvSpPr>
              <p:spPr bwMode="auto">
                <a:xfrm>
                  <a:off x="7345126" y="1241496"/>
                  <a:ext cx="192058" cy="79291"/>
                </a:xfrm>
                <a:custGeom>
                  <a:avLst/>
                  <a:gdLst/>
                  <a:ahLst/>
                  <a:cxnLst>
                    <a:cxn ang="0">
                      <a:pos x="53" y="75"/>
                    </a:cxn>
                    <a:cxn ang="0">
                      <a:pos x="42" y="66"/>
                    </a:cxn>
                    <a:cxn ang="0">
                      <a:pos x="42" y="58"/>
                    </a:cxn>
                    <a:cxn ang="0">
                      <a:pos x="37" y="51"/>
                    </a:cxn>
                    <a:cxn ang="0">
                      <a:pos x="16" y="51"/>
                    </a:cxn>
                    <a:cxn ang="0">
                      <a:pos x="4" y="49"/>
                    </a:cxn>
                    <a:cxn ang="0">
                      <a:pos x="0" y="47"/>
                    </a:cxn>
                    <a:cxn ang="0">
                      <a:pos x="2" y="42"/>
                    </a:cxn>
                    <a:cxn ang="0">
                      <a:pos x="33" y="24"/>
                    </a:cxn>
                    <a:cxn ang="0">
                      <a:pos x="56" y="12"/>
                    </a:cxn>
                    <a:cxn ang="0">
                      <a:pos x="79" y="4"/>
                    </a:cxn>
                    <a:cxn ang="0">
                      <a:pos x="108" y="0"/>
                    </a:cxn>
                    <a:cxn ang="0">
                      <a:pos x="157" y="0"/>
                    </a:cxn>
                    <a:cxn ang="0">
                      <a:pos x="162" y="2"/>
                    </a:cxn>
                    <a:cxn ang="0">
                      <a:pos x="162" y="9"/>
                    </a:cxn>
                    <a:cxn ang="0">
                      <a:pos x="159" y="16"/>
                    </a:cxn>
                    <a:cxn ang="0">
                      <a:pos x="161" y="19"/>
                    </a:cxn>
                    <a:cxn ang="0">
                      <a:pos x="181" y="14"/>
                    </a:cxn>
                    <a:cxn ang="0">
                      <a:pos x="206" y="7"/>
                    </a:cxn>
                    <a:cxn ang="0">
                      <a:pos x="216" y="7"/>
                    </a:cxn>
                    <a:cxn ang="0">
                      <a:pos x="223" y="12"/>
                    </a:cxn>
                    <a:cxn ang="0">
                      <a:pos x="234" y="19"/>
                    </a:cxn>
                    <a:cxn ang="0">
                      <a:pos x="237" y="21"/>
                    </a:cxn>
                    <a:cxn ang="0">
                      <a:pos x="239" y="28"/>
                    </a:cxn>
                    <a:cxn ang="0">
                      <a:pos x="237" y="38"/>
                    </a:cxn>
                    <a:cxn ang="0">
                      <a:pos x="228" y="54"/>
                    </a:cxn>
                    <a:cxn ang="0">
                      <a:pos x="225" y="70"/>
                    </a:cxn>
                    <a:cxn ang="0">
                      <a:pos x="228" y="75"/>
                    </a:cxn>
                    <a:cxn ang="0">
                      <a:pos x="232" y="78"/>
                    </a:cxn>
                    <a:cxn ang="0">
                      <a:pos x="232" y="84"/>
                    </a:cxn>
                    <a:cxn ang="0">
                      <a:pos x="221" y="91"/>
                    </a:cxn>
                    <a:cxn ang="0">
                      <a:pos x="194" y="98"/>
                    </a:cxn>
                    <a:cxn ang="0">
                      <a:pos x="159" y="96"/>
                    </a:cxn>
                    <a:cxn ang="0">
                      <a:pos x="140" y="91"/>
                    </a:cxn>
                    <a:cxn ang="0">
                      <a:pos x="107" y="82"/>
                    </a:cxn>
                    <a:cxn ang="0">
                      <a:pos x="68" y="78"/>
                    </a:cxn>
                    <a:cxn ang="0">
                      <a:pos x="53" y="75"/>
                    </a:cxn>
                  </a:cxnLst>
                  <a:rect l="0" t="0" r="r" b="b"/>
                  <a:pathLst>
                    <a:path w="239" h="98">
                      <a:moveTo>
                        <a:pt x="53" y="75"/>
                      </a:moveTo>
                      <a:lnTo>
                        <a:pt x="53" y="75"/>
                      </a:lnTo>
                      <a:lnTo>
                        <a:pt x="46" y="70"/>
                      </a:lnTo>
                      <a:lnTo>
                        <a:pt x="42" y="66"/>
                      </a:lnTo>
                      <a:lnTo>
                        <a:pt x="42" y="61"/>
                      </a:lnTo>
                      <a:lnTo>
                        <a:pt x="42" y="58"/>
                      </a:lnTo>
                      <a:lnTo>
                        <a:pt x="40" y="54"/>
                      </a:lnTo>
                      <a:lnTo>
                        <a:pt x="37" y="51"/>
                      </a:lnTo>
                      <a:lnTo>
                        <a:pt x="30" y="51"/>
                      </a:lnTo>
                      <a:lnTo>
                        <a:pt x="16" y="51"/>
                      </a:lnTo>
                      <a:lnTo>
                        <a:pt x="16" y="51"/>
                      </a:lnTo>
                      <a:lnTo>
                        <a:pt x="4" y="49"/>
                      </a:lnTo>
                      <a:lnTo>
                        <a:pt x="2" y="49"/>
                      </a:lnTo>
                      <a:lnTo>
                        <a:pt x="0" y="47"/>
                      </a:lnTo>
                      <a:lnTo>
                        <a:pt x="0" y="45"/>
                      </a:lnTo>
                      <a:lnTo>
                        <a:pt x="2" y="42"/>
                      </a:lnTo>
                      <a:lnTo>
                        <a:pt x="11" y="37"/>
                      </a:lnTo>
                      <a:lnTo>
                        <a:pt x="33" y="24"/>
                      </a:lnTo>
                      <a:lnTo>
                        <a:pt x="56" y="12"/>
                      </a:lnTo>
                      <a:lnTo>
                        <a:pt x="56" y="12"/>
                      </a:lnTo>
                      <a:lnTo>
                        <a:pt x="66" y="7"/>
                      </a:lnTo>
                      <a:lnTo>
                        <a:pt x="79" y="4"/>
                      </a:lnTo>
                      <a:lnTo>
                        <a:pt x="93" y="2"/>
                      </a:lnTo>
                      <a:lnTo>
                        <a:pt x="108" y="0"/>
                      </a:lnTo>
                      <a:lnTo>
                        <a:pt x="134" y="0"/>
                      </a:lnTo>
                      <a:lnTo>
                        <a:pt x="157" y="0"/>
                      </a:lnTo>
                      <a:lnTo>
                        <a:pt x="157" y="0"/>
                      </a:lnTo>
                      <a:lnTo>
                        <a:pt x="162" y="2"/>
                      </a:lnTo>
                      <a:lnTo>
                        <a:pt x="164" y="4"/>
                      </a:lnTo>
                      <a:lnTo>
                        <a:pt x="162" y="9"/>
                      </a:lnTo>
                      <a:lnTo>
                        <a:pt x="161" y="12"/>
                      </a:lnTo>
                      <a:lnTo>
                        <a:pt x="159" y="16"/>
                      </a:lnTo>
                      <a:lnTo>
                        <a:pt x="161" y="18"/>
                      </a:lnTo>
                      <a:lnTo>
                        <a:pt x="161" y="19"/>
                      </a:lnTo>
                      <a:lnTo>
                        <a:pt x="167" y="18"/>
                      </a:lnTo>
                      <a:lnTo>
                        <a:pt x="181" y="14"/>
                      </a:lnTo>
                      <a:lnTo>
                        <a:pt x="181" y="14"/>
                      </a:lnTo>
                      <a:lnTo>
                        <a:pt x="206" y="7"/>
                      </a:lnTo>
                      <a:lnTo>
                        <a:pt x="211" y="7"/>
                      </a:lnTo>
                      <a:lnTo>
                        <a:pt x="216" y="7"/>
                      </a:lnTo>
                      <a:lnTo>
                        <a:pt x="220" y="9"/>
                      </a:lnTo>
                      <a:lnTo>
                        <a:pt x="223" y="12"/>
                      </a:lnTo>
                      <a:lnTo>
                        <a:pt x="227" y="16"/>
                      </a:lnTo>
                      <a:lnTo>
                        <a:pt x="234" y="19"/>
                      </a:lnTo>
                      <a:lnTo>
                        <a:pt x="234" y="19"/>
                      </a:lnTo>
                      <a:lnTo>
                        <a:pt x="237" y="21"/>
                      </a:lnTo>
                      <a:lnTo>
                        <a:pt x="239" y="24"/>
                      </a:lnTo>
                      <a:lnTo>
                        <a:pt x="239" y="28"/>
                      </a:lnTo>
                      <a:lnTo>
                        <a:pt x="239" y="31"/>
                      </a:lnTo>
                      <a:lnTo>
                        <a:pt x="237" y="38"/>
                      </a:lnTo>
                      <a:lnTo>
                        <a:pt x="232" y="45"/>
                      </a:lnTo>
                      <a:lnTo>
                        <a:pt x="228" y="54"/>
                      </a:lnTo>
                      <a:lnTo>
                        <a:pt x="225" y="61"/>
                      </a:lnTo>
                      <a:lnTo>
                        <a:pt x="225" y="70"/>
                      </a:lnTo>
                      <a:lnTo>
                        <a:pt x="227" y="72"/>
                      </a:lnTo>
                      <a:lnTo>
                        <a:pt x="228" y="75"/>
                      </a:lnTo>
                      <a:lnTo>
                        <a:pt x="228" y="75"/>
                      </a:lnTo>
                      <a:lnTo>
                        <a:pt x="232" y="78"/>
                      </a:lnTo>
                      <a:lnTo>
                        <a:pt x="232" y="80"/>
                      </a:lnTo>
                      <a:lnTo>
                        <a:pt x="232" y="84"/>
                      </a:lnTo>
                      <a:lnTo>
                        <a:pt x="230" y="85"/>
                      </a:lnTo>
                      <a:lnTo>
                        <a:pt x="221" y="91"/>
                      </a:lnTo>
                      <a:lnTo>
                        <a:pt x="209" y="94"/>
                      </a:lnTo>
                      <a:lnTo>
                        <a:pt x="194" y="98"/>
                      </a:lnTo>
                      <a:lnTo>
                        <a:pt x="176" y="98"/>
                      </a:lnTo>
                      <a:lnTo>
                        <a:pt x="159" y="96"/>
                      </a:lnTo>
                      <a:lnTo>
                        <a:pt x="140" y="91"/>
                      </a:lnTo>
                      <a:lnTo>
                        <a:pt x="140" y="91"/>
                      </a:lnTo>
                      <a:lnTo>
                        <a:pt x="122" y="85"/>
                      </a:lnTo>
                      <a:lnTo>
                        <a:pt x="107" y="82"/>
                      </a:lnTo>
                      <a:lnTo>
                        <a:pt x="84" y="80"/>
                      </a:lnTo>
                      <a:lnTo>
                        <a:pt x="68" y="78"/>
                      </a:lnTo>
                      <a:lnTo>
                        <a:pt x="60" y="77"/>
                      </a:lnTo>
                      <a:lnTo>
                        <a:pt x="53" y="75"/>
                      </a:lnTo>
                      <a:lnTo>
                        <a:pt x="53"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7" name="Freeform 1994">
                  <a:extLst>
                    <a:ext uri="{FF2B5EF4-FFF2-40B4-BE49-F238E27FC236}">
                      <a16:creationId xmlns:a16="http://schemas.microsoft.com/office/drawing/2014/main" id="{2BD02BE3-31A3-CBCB-B8F6-F4536F7B21B5}"/>
                    </a:ext>
                  </a:extLst>
                </p:cNvPr>
                <p:cNvSpPr>
                  <a:spLocks/>
                </p:cNvSpPr>
                <p:nvPr/>
              </p:nvSpPr>
              <p:spPr bwMode="auto">
                <a:xfrm>
                  <a:off x="7255260" y="1176301"/>
                  <a:ext cx="44050" cy="10572"/>
                </a:xfrm>
                <a:custGeom>
                  <a:avLst/>
                  <a:gdLst/>
                  <a:ahLst/>
                  <a:cxnLst>
                    <a:cxn ang="0">
                      <a:pos x="2" y="4"/>
                    </a:cxn>
                    <a:cxn ang="0">
                      <a:pos x="2" y="4"/>
                    </a:cxn>
                    <a:cxn ang="0">
                      <a:pos x="5" y="2"/>
                    </a:cxn>
                    <a:cxn ang="0">
                      <a:pos x="10" y="0"/>
                    </a:cxn>
                    <a:cxn ang="0">
                      <a:pos x="29" y="0"/>
                    </a:cxn>
                    <a:cxn ang="0">
                      <a:pos x="47" y="4"/>
                    </a:cxn>
                    <a:cxn ang="0">
                      <a:pos x="52" y="6"/>
                    </a:cxn>
                    <a:cxn ang="0">
                      <a:pos x="54" y="9"/>
                    </a:cxn>
                    <a:cxn ang="0">
                      <a:pos x="54" y="9"/>
                    </a:cxn>
                    <a:cxn ang="0">
                      <a:pos x="52" y="11"/>
                    </a:cxn>
                    <a:cxn ang="0">
                      <a:pos x="45" y="12"/>
                    </a:cxn>
                    <a:cxn ang="0">
                      <a:pos x="26" y="14"/>
                    </a:cxn>
                    <a:cxn ang="0">
                      <a:pos x="16" y="12"/>
                    </a:cxn>
                    <a:cxn ang="0">
                      <a:pos x="7" y="11"/>
                    </a:cxn>
                    <a:cxn ang="0">
                      <a:pos x="2" y="9"/>
                    </a:cxn>
                    <a:cxn ang="0">
                      <a:pos x="0" y="7"/>
                    </a:cxn>
                    <a:cxn ang="0">
                      <a:pos x="2" y="4"/>
                    </a:cxn>
                    <a:cxn ang="0">
                      <a:pos x="2" y="4"/>
                    </a:cxn>
                  </a:cxnLst>
                  <a:rect l="0" t="0" r="r" b="b"/>
                  <a:pathLst>
                    <a:path w="54" h="14">
                      <a:moveTo>
                        <a:pt x="2" y="4"/>
                      </a:moveTo>
                      <a:lnTo>
                        <a:pt x="2" y="4"/>
                      </a:lnTo>
                      <a:lnTo>
                        <a:pt x="5" y="2"/>
                      </a:lnTo>
                      <a:lnTo>
                        <a:pt x="10" y="0"/>
                      </a:lnTo>
                      <a:lnTo>
                        <a:pt x="29" y="0"/>
                      </a:lnTo>
                      <a:lnTo>
                        <a:pt x="47" y="4"/>
                      </a:lnTo>
                      <a:lnTo>
                        <a:pt x="52" y="6"/>
                      </a:lnTo>
                      <a:lnTo>
                        <a:pt x="54" y="9"/>
                      </a:lnTo>
                      <a:lnTo>
                        <a:pt x="54" y="9"/>
                      </a:lnTo>
                      <a:lnTo>
                        <a:pt x="52" y="11"/>
                      </a:lnTo>
                      <a:lnTo>
                        <a:pt x="45" y="12"/>
                      </a:lnTo>
                      <a:lnTo>
                        <a:pt x="26" y="14"/>
                      </a:lnTo>
                      <a:lnTo>
                        <a:pt x="16" y="12"/>
                      </a:lnTo>
                      <a:lnTo>
                        <a:pt x="7" y="11"/>
                      </a:lnTo>
                      <a:lnTo>
                        <a:pt x="2" y="9"/>
                      </a:lnTo>
                      <a:lnTo>
                        <a:pt x="0" y="7"/>
                      </a:lnTo>
                      <a:lnTo>
                        <a:pt x="2" y="4"/>
                      </a:lnTo>
                      <a:lnTo>
                        <a:pt x="2" y="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8" name="Freeform 1995">
                  <a:extLst>
                    <a:ext uri="{FF2B5EF4-FFF2-40B4-BE49-F238E27FC236}">
                      <a16:creationId xmlns:a16="http://schemas.microsoft.com/office/drawing/2014/main" id="{B7277852-9980-2601-048E-AE8C5BCD5A96}"/>
                    </a:ext>
                  </a:extLst>
                </p:cNvPr>
                <p:cNvSpPr>
                  <a:spLocks/>
                </p:cNvSpPr>
                <p:nvPr/>
              </p:nvSpPr>
              <p:spPr bwMode="auto">
                <a:xfrm>
                  <a:off x="3650206" y="4286235"/>
                  <a:ext cx="79292" cy="123340"/>
                </a:xfrm>
                <a:custGeom>
                  <a:avLst/>
                  <a:gdLst/>
                  <a:ahLst/>
                  <a:cxnLst>
                    <a:cxn ang="0">
                      <a:pos x="23" y="0"/>
                    </a:cxn>
                    <a:cxn ang="0">
                      <a:pos x="33" y="5"/>
                    </a:cxn>
                    <a:cxn ang="0">
                      <a:pos x="53" y="12"/>
                    </a:cxn>
                    <a:cxn ang="0">
                      <a:pos x="63" y="19"/>
                    </a:cxn>
                    <a:cxn ang="0">
                      <a:pos x="66" y="22"/>
                    </a:cxn>
                    <a:cxn ang="0">
                      <a:pos x="72" y="31"/>
                    </a:cxn>
                    <a:cxn ang="0">
                      <a:pos x="84" y="38"/>
                    </a:cxn>
                    <a:cxn ang="0">
                      <a:pos x="89" y="43"/>
                    </a:cxn>
                    <a:cxn ang="0">
                      <a:pos x="91" y="48"/>
                    </a:cxn>
                    <a:cxn ang="0">
                      <a:pos x="94" y="50"/>
                    </a:cxn>
                    <a:cxn ang="0">
                      <a:pos x="98" y="47"/>
                    </a:cxn>
                    <a:cxn ang="0">
                      <a:pos x="101" y="61"/>
                    </a:cxn>
                    <a:cxn ang="0">
                      <a:pos x="101" y="64"/>
                    </a:cxn>
                    <a:cxn ang="0">
                      <a:pos x="101" y="71"/>
                    </a:cxn>
                    <a:cxn ang="0">
                      <a:pos x="101" y="73"/>
                    </a:cxn>
                    <a:cxn ang="0">
                      <a:pos x="84" y="102"/>
                    </a:cxn>
                    <a:cxn ang="0">
                      <a:pos x="72" y="132"/>
                    </a:cxn>
                    <a:cxn ang="0">
                      <a:pos x="63" y="149"/>
                    </a:cxn>
                    <a:cxn ang="0">
                      <a:pos x="58" y="151"/>
                    </a:cxn>
                    <a:cxn ang="0">
                      <a:pos x="49" y="151"/>
                    </a:cxn>
                    <a:cxn ang="0">
                      <a:pos x="44" y="144"/>
                    </a:cxn>
                    <a:cxn ang="0">
                      <a:pos x="40" y="148"/>
                    </a:cxn>
                    <a:cxn ang="0">
                      <a:pos x="37" y="149"/>
                    </a:cxn>
                    <a:cxn ang="0">
                      <a:pos x="32" y="146"/>
                    </a:cxn>
                    <a:cxn ang="0">
                      <a:pos x="28" y="144"/>
                    </a:cxn>
                    <a:cxn ang="0">
                      <a:pos x="23" y="149"/>
                    </a:cxn>
                    <a:cxn ang="0">
                      <a:pos x="18" y="153"/>
                    </a:cxn>
                    <a:cxn ang="0">
                      <a:pos x="7" y="151"/>
                    </a:cxn>
                    <a:cxn ang="0">
                      <a:pos x="0" y="146"/>
                    </a:cxn>
                    <a:cxn ang="0">
                      <a:pos x="11" y="134"/>
                    </a:cxn>
                    <a:cxn ang="0">
                      <a:pos x="14" y="122"/>
                    </a:cxn>
                    <a:cxn ang="0">
                      <a:pos x="16" y="106"/>
                    </a:cxn>
                    <a:cxn ang="0">
                      <a:pos x="18" y="104"/>
                    </a:cxn>
                    <a:cxn ang="0">
                      <a:pos x="21" y="94"/>
                    </a:cxn>
                    <a:cxn ang="0">
                      <a:pos x="14" y="83"/>
                    </a:cxn>
                    <a:cxn ang="0">
                      <a:pos x="11" y="76"/>
                    </a:cxn>
                    <a:cxn ang="0">
                      <a:pos x="6" y="48"/>
                    </a:cxn>
                    <a:cxn ang="0">
                      <a:pos x="6" y="36"/>
                    </a:cxn>
                    <a:cxn ang="0">
                      <a:pos x="14" y="19"/>
                    </a:cxn>
                    <a:cxn ang="0">
                      <a:pos x="23" y="0"/>
                    </a:cxn>
                  </a:cxnLst>
                  <a:rect l="0" t="0" r="r" b="b"/>
                  <a:pathLst>
                    <a:path w="101" h="155">
                      <a:moveTo>
                        <a:pt x="23" y="0"/>
                      </a:moveTo>
                      <a:lnTo>
                        <a:pt x="23" y="0"/>
                      </a:lnTo>
                      <a:lnTo>
                        <a:pt x="33" y="5"/>
                      </a:lnTo>
                      <a:lnTo>
                        <a:pt x="33" y="5"/>
                      </a:lnTo>
                      <a:lnTo>
                        <a:pt x="44" y="8"/>
                      </a:lnTo>
                      <a:lnTo>
                        <a:pt x="53" y="12"/>
                      </a:lnTo>
                      <a:lnTo>
                        <a:pt x="60" y="15"/>
                      </a:lnTo>
                      <a:lnTo>
                        <a:pt x="63" y="19"/>
                      </a:lnTo>
                      <a:lnTo>
                        <a:pt x="66" y="22"/>
                      </a:lnTo>
                      <a:lnTo>
                        <a:pt x="66" y="22"/>
                      </a:lnTo>
                      <a:lnTo>
                        <a:pt x="68" y="28"/>
                      </a:lnTo>
                      <a:lnTo>
                        <a:pt x="72" y="31"/>
                      </a:lnTo>
                      <a:lnTo>
                        <a:pt x="79" y="35"/>
                      </a:lnTo>
                      <a:lnTo>
                        <a:pt x="84" y="38"/>
                      </a:lnTo>
                      <a:lnTo>
                        <a:pt x="87" y="40"/>
                      </a:lnTo>
                      <a:lnTo>
                        <a:pt x="89" y="43"/>
                      </a:lnTo>
                      <a:lnTo>
                        <a:pt x="89" y="43"/>
                      </a:lnTo>
                      <a:lnTo>
                        <a:pt x="91" y="48"/>
                      </a:lnTo>
                      <a:lnTo>
                        <a:pt x="94" y="50"/>
                      </a:lnTo>
                      <a:lnTo>
                        <a:pt x="94" y="50"/>
                      </a:lnTo>
                      <a:lnTo>
                        <a:pt x="96" y="48"/>
                      </a:lnTo>
                      <a:lnTo>
                        <a:pt x="98" y="47"/>
                      </a:lnTo>
                      <a:lnTo>
                        <a:pt x="98" y="48"/>
                      </a:lnTo>
                      <a:lnTo>
                        <a:pt x="101" y="61"/>
                      </a:lnTo>
                      <a:lnTo>
                        <a:pt x="101" y="61"/>
                      </a:lnTo>
                      <a:lnTo>
                        <a:pt x="101" y="64"/>
                      </a:lnTo>
                      <a:lnTo>
                        <a:pt x="101" y="68"/>
                      </a:lnTo>
                      <a:lnTo>
                        <a:pt x="101" y="71"/>
                      </a:lnTo>
                      <a:lnTo>
                        <a:pt x="101" y="73"/>
                      </a:lnTo>
                      <a:lnTo>
                        <a:pt x="101" y="73"/>
                      </a:lnTo>
                      <a:lnTo>
                        <a:pt x="84" y="102"/>
                      </a:lnTo>
                      <a:lnTo>
                        <a:pt x="84" y="102"/>
                      </a:lnTo>
                      <a:lnTo>
                        <a:pt x="79" y="116"/>
                      </a:lnTo>
                      <a:lnTo>
                        <a:pt x="72" y="132"/>
                      </a:lnTo>
                      <a:lnTo>
                        <a:pt x="66" y="146"/>
                      </a:lnTo>
                      <a:lnTo>
                        <a:pt x="63" y="149"/>
                      </a:lnTo>
                      <a:lnTo>
                        <a:pt x="58" y="151"/>
                      </a:lnTo>
                      <a:lnTo>
                        <a:pt x="58" y="151"/>
                      </a:lnTo>
                      <a:lnTo>
                        <a:pt x="53" y="151"/>
                      </a:lnTo>
                      <a:lnTo>
                        <a:pt x="49" y="151"/>
                      </a:lnTo>
                      <a:lnTo>
                        <a:pt x="46" y="148"/>
                      </a:lnTo>
                      <a:lnTo>
                        <a:pt x="44" y="144"/>
                      </a:lnTo>
                      <a:lnTo>
                        <a:pt x="42" y="146"/>
                      </a:lnTo>
                      <a:lnTo>
                        <a:pt x="40" y="148"/>
                      </a:lnTo>
                      <a:lnTo>
                        <a:pt x="40" y="148"/>
                      </a:lnTo>
                      <a:lnTo>
                        <a:pt x="37" y="149"/>
                      </a:lnTo>
                      <a:lnTo>
                        <a:pt x="35" y="149"/>
                      </a:lnTo>
                      <a:lnTo>
                        <a:pt x="32" y="146"/>
                      </a:lnTo>
                      <a:lnTo>
                        <a:pt x="30" y="146"/>
                      </a:lnTo>
                      <a:lnTo>
                        <a:pt x="28" y="144"/>
                      </a:lnTo>
                      <a:lnTo>
                        <a:pt x="25" y="146"/>
                      </a:lnTo>
                      <a:lnTo>
                        <a:pt x="23" y="149"/>
                      </a:lnTo>
                      <a:lnTo>
                        <a:pt x="23" y="149"/>
                      </a:lnTo>
                      <a:lnTo>
                        <a:pt x="18" y="153"/>
                      </a:lnTo>
                      <a:lnTo>
                        <a:pt x="13" y="155"/>
                      </a:lnTo>
                      <a:lnTo>
                        <a:pt x="7" y="151"/>
                      </a:lnTo>
                      <a:lnTo>
                        <a:pt x="0" y="146"/>
                      </a:lnTo>
                      <a:lnTo>
                        <a:pt x="0" y="146"/>
                      </a:lnTo>
                      <a:lnTo>
                        <a:pt x="7" y="139"/>
                      </a:lnTo>
                      <a:lnTo>
                        <a:pt x="11" y="134"/>
                      </a:lnTo>
                      <a:lnTo>
                        <a:pt x="13" y="127"/>
                      </a:lnTo>
                      <a:lnTo>
                        <a:pt x="14" y="122"/>
                      </a:lnTo>
                      <a:lnTo>
                        <a:pt x="14" y="111"/>
                      </a:lnTo>
                      <a:lnTo>
                        <a:pt x="16" y="106"/>
                      </a:lnTo>
                      <a:lnTo>
                        <a:pt x="18" y="104"/>
                      </a:lnTo>
                      <a:lnTo>
                        <a:pt x="18" y="104"/>
                      </a:lnTo>
                      <a:lnTo>
                        <a:pt x="21" y="97"/>
                      </a:lnTo>
                      <a:lnTo>
                        <a:pt x="21" y="94"/>
                      </a:lnTo>
                      <a:lnTo>
                        <a:pt x="19" y="88"/>
                      </a:lnTo>
                      <a:lnTo>
                        <a:pt x="14" y="83"/>
                      </a:lnTo>
                      <a:lnTo>
                        <a:pt x="14" y="83"/>
                      </a:lnTo>
                      <a:lnTo>
                        <a:pt x="11" y="76"/>
                      </a:lnTo>
                      <a:lnTo>
                        <a:pt x="7" y="71"/>
                      </a:lnTo>
                      <a:lnTo>
                        <a:pt x="6" y="48"/>
                      </a:lnTo>
                      <a:lnTo>
                        <a:pt x="6" y="48"/>
                      </a:lnTo>
                      <a:lnTo>
                        <a:pt x="6" y="36"/>
                      </a:lnTo>
                      <a:lnTo>
                        <a:pt x="9" y="28"/>
                      </a:lnTo>
                      <a:lnTo>
                        <a:pt x="14" y="19"/>
                      </a:lnTo>
                      <a:lnTo>
                        <a:pt x="19" y="10"/>
                      </a:lnTo>
                      <a:lnTo>
                        <a:pt x="23" y="0"/>
                      </a:lnTo>
                      <a:lnTo>
                        <a:pt x="2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9" name="Freeform 1996">
                  <a:extLst>
                    <a:ext uri="{FF2B5EF4-FFF2-40B4-BE49-F238E27FC236}">
                      <a16:creationId xmlns:a16="http://schemas.microsoft.com/office/drawing/2014/main" id="{F68D3A73-B2F9-E823-1830-F3E0ACC31E76}"/>
                    </a:ext>
                  </a:extLst>
                </p:cNvPr>
                <p:cNvSpPr>
                  <a:spLocks/>
                </p:cNvSpPr>
                <p:nvPr/>
              </p:nvSpPr>
              <p:spPr bwMode="auto">
                <a:xfrm>
                  <a:off x="2767442" y="4099465"/>
                  <a:ext cx="95148" cy="107483"/>
                </a:xfrm>
                <a:custGeom>
                  <a:avLst/>
                  <a:gdLst/>
                  <a:ahLst/>
                  <a:cxnLst>
                    <a:cxn ang="0">
                      <a:pos x="115" y="73"/>
                    </a:cxn>
                    <a:cxn ang="0">
                      <a:pos x="108" y="68"/>
                    </a:cxn>
                    <a:cxn ang="0">
                      <a:pos x="104" y="77"/>
                    </a:cxn>
                    <a:cxn ang="0">
                      <a:pos x="104" y="92"/>
                    </a:cxn>
                    <a:cxn ang="0">
                      <a:pos x="111" y="98"/>
                    </a:cxn>
                    <a:cxn ang="0">
                      <a:pos x="109" y="101"/>
                    </a:cxn>
                    <a:cxn ang="0">
                      <a:pos x="106" y="112"/>
                    </a:cxn>
                    <a:cxn ang="0">
                      <a:pos x="102" y="122"/>
                    </a:cxn>
                    <a:cxn ang="0">
                      <a:pos x="106" y="134"/>
                    </a:cxn>
                    <a:cxn ang="0">
                      <a:pos x="97" y="125"/>
                    </a:cxn>
                    <a:cxn ang="0">
                      <a:pos x="97" y="117"/>
                    </a:cxn>
                    <a:cxn ang="0">
                      <a:pos x="94" y="110"/>
                    </a:cxn>
                    <a:cxn ang="0">
                      <a:pos x="90" y="106"/>
                    </a:cxn>
                    <a:cxn ang="0">
                      <a:pos x="87" y="106"/>
                    </a:cxn>
                    <a:cxn ang="0">
                      <a:pos x="87" y="112"/>
                    </a:cxn>
                    <a:cxn ang="0">
                      <a:pos x="92" y="120"/>
                    </a:cxn>
                    <a:cxn ang="0">
                      <a:pos x="90" y="120"/>
                    </a:cxn>
                    <a:cxn ang="0">
                      <a:pos x="85" y="119"/>
                    </a:cxn>
                    <a:cxn ang="0">
                      <a:pos x="76" y="112"/>
                    </a:cxn>
                    <a:cxn ang="0">
                      <a:pos x="76" y="108"/>
                    </a:cxn>
                    <a:cxn ang="0">
                      <a:pos x="80" y="96"/>
                    </a:cxn>
                    <a:cxn ang="0">
                      <a:pos x="76" y="89"/>
                    </a:cxn>
                    <a:cxn ang="0">
                      <a:pos x="55" y="73"/>
                    </a:cxn>
                    <a:cxn ang="0">
                      <a:pos x="45" y="70"/>
                    </a:cxn>
                    <a:cxn ang="0">
                      <a:pos x="43" y="65"/>
                    </a:cxn>
                    <a:cxn ang="0">
                      <a:pos x="38" y="51"/>
                    </a:cxn>
                    <a:cxn ang="0">
                      <a:pos x="24" y="44"/>
                    </a:cxn>
                    <a:cxn ang="0">
                      <a:pos x="22" y="44"/>
                    </a:cxn>
                    <a:cxn ang="0">
                      <a:pos x="24" y="49"/>
                    </a:cxn>
                    <a:cxn ang="0">
                      <a:pos x="34" y="61"/>
                    </a:cxn>
                    <a:cxn ang="0">
                      <a:pos x="27" y="68"/>
                    </a:cxn>
                    <a:cxn ang="0">
                      <a:pos x="24" y="66"/>
                    </a:cxn>
                    <a:cxn ang="0">
                      <a:pos x="10" y="56"/>
                    </a:cxn>
                    <a:cxn ang="0">
                      <a:pos x="3" y="49"/>
                    </a:cxn>
                    <a:cxn ang="0">
                      <a:pos x="1" y="33"/>
                    </a:cxn>
                    <a:cxn ang="0">
                      <a:pos x="7" y="28"/>
                    </a:cxn>
                    <a:cxn ang="0">
                      <a:pos x="8" y="18"/>
                    </a:cxn>
                    <a:cxn ang="0">
                      <a:pos x="0" y="14"/>
                    </a:cxn>
                    <a:cxn ang="0">
                      <a:pos x="0" y="12"/>
                    </a:cxn>
                    <a:cxn ang="0">
                      <a:pos x="7" y="7"/>
                    </a:cxn>
                    <a:cxn ang="0">
                      <a:pos x="7" y="2"/>
                    </a:cxn>
                    <a:cxn ang="0">
                      <a:pos x="26" y="9"/>
                    </a:cxn>
                    <a:cxn ang="0">
                      <a:pos x="34" y="12"/>
                    </a:cxn>
                    <a:cxn ang="0">
                      <a:pos x="41" y="5"/>
                    </a:cxn>
                    <a:cxn ang="0">
                      <a:pos x="47" y="9"/>
                    </a:cxn>
                    <a:cxn ang="0">
                      <a:pos x="54" y="9"/>
                    </a:cxn>
                    <a:cxn ang="0">
                      <a:pos x="61" y="18"/>
                    </a:cxn>
                    <a:cxn ang="0">
                      <a:pos x="73" y="21"/>
                    </a:cxn>
                    <a:cxn ang="0">
                      <a:pos x="78" y="12"/>
                    </a:cxn>
                    <a:cxn ang="0">
                      <a:pos x="85" y="28"/>
                    </a:cxn>
                    <a:cxn ang="0">
                      <a:pos x="97" y="49"/>
                    </a:cxn>
                    <a:cxn ang="0">
                      <a:pos x="116" y="72"/>
                    </a:cxn>
                  </a:cxnLst>
                  <a:rect l="0" t="0" r="r" b="b"/>
                  <a:pathLst>
                    <a:path w="116" h="134">
                      <a:moveTo>
                        <a:pt x="116" y="72"/>
                      </a:moveTo>
                      <a:lnTo>
                        <a:pt x="116" y="72"/>
                      </a:lnTo>
                      <a:lnTo>
                        <a:pt x="115" y="73"/>
                      </a:lnTo>
                      <a:lnTo>
                        <a:pt x="111" y="72"/>
                      </a:lnTo>
                      <a:lnTo>
                        <a:pt x="109" y="70"/>
                      </a:lnTo>
                      <a:lnTo>
                        <a:pt x="108" y="68"/>
                      </a:lnTo>
                      <a:lnTo>
                        <a:pt x="108" y="68"/>
                      </a:lnTo>
                      <a:lnTo>
                        <a:pt x="106" y="72"/>
                      </a:lnTo>
                      <a:lnTo>
                        <a:pt x="104" y="77"/>
                      </a:lnTo>
                      <a:lnTo>
                        <a:pt x="104" y="91"/>
                      </a:lnTo>
                      <a:lnTo>
                        <a:pt x="104" y="91"/>
                      </a:lnTo>
                      <a:lnTo>
                        <a:pt x="104" y="92"/>
                      </a:lnTo>
                      <a:lnTo>
                        <a:pt x="106" y="92"/>
                      </a:lnTo>
                      <a:lnTo>
                        <a:pt x="109" y="96"/>
                      </a:lnTo>
                      <a:lnTo>
                        <a:pt x="111" y="98"/>
                      </a:lnTo>
                      <a:lnTo>
                        <a:pt x="111" y="99"/>
                      </a:lnTo>
                      <a:lnTo>
                        <a:pt x="109" y="101"/>
                      </a:lnTo>
                      <a:lnTo>
                        <a:pt x="109" y="101"/>
                      </a:lnTo>
                      <a:lnTo>
                        <a:pt x="104" y="105"/>
                      </a:lnTo>
                      <a:lnTo>
                        <a:pt x="104" y="108"/>
                      </a:lnTo>
                      <a:lnTo>
                        <a:pt x="106" y="112"/>
                      </a:lnTo>
                      <a:lnTo>
                        <a:pt x="106" y="117"/>
                      </a:lnTo>
                      <a:lnTo>
                        <a:pt x="106" y="117"/>
                      </a:lnTo>
                      <a:lnTo>
                        <a:pt x="102" y="122"/>
                      </a:lnTo>
                      <a:lnTo>
                        <a:pt x="102" y="125"/>
                      </a:lnTo>
                      <a:lnTo>
                        <a:pt x="106" y="134"/>
                      </a:lnTo>
                      <a:lnTo>
                        <a:pt x="106" y="134"/>
                      </a:lnTo>
                      <a:lnTo>
                        <a:pt x="104" y="134"/>
                      </a:lnTo>
                      <a:lnTo>
                        <a:pt x="102" y="131"/>
                      </a:lnTo>
                      <a:lnTo>
                        <a:pt x="97" y="125"/>
                      </a:lnTo>
                      <a:lnTo>
                        <a:pt x="97" y="125"/>
                      </a:lnTo>
                      <a:lnTo>
                        <a:pt x="97" y="122"/>
                      </a:lnTo>
                      <a:lnTo>
                        <a:pt x="97" y="117"/>
                      </a:lnTo>
                      <a:lnTo>
                        <a:pt x="97" y="113"/>
                      </a:lnTo>
                      <a:lnTo>
                        <a:pt x="95" y="112"/>
                      </a:lnTo>
                      <a:lnTo>
                        <a:pt x="94" y="110"/>
                      </a:lnTo>
                      <a:lnTo>
                        <a:pt x="94" y="110"/>
                      </a:lnTo>
                      <a:lnTo>
                        <a:pt x="92" y="108"/>
                      </a:lnTo>
                      <a:lnTo>
                        <a:pt x="90" y="106"/>
                      </a:lnTo>
                      <a:lnTo>
                        <a:pt x="90" y="105"/>
                      </a:lnTo>
                      <a:lnTo>
                        <a:pt x="87" y="106"/>
                      </a:lnTo>
                      <a:lnTo>
                        <a:pt x="87" y="106"/>
                      </a:lnTo>
                      <a:lnTo>
                        <a:pt x="85" y="106"/>
                      </a:lnTo>
                      <a:lnTo>
                        <a:pt x="85" y="108"/>
                      </a:lnTo>
                      <a:lnTo>
                        <a:pt x="87" y="112"/>
                      </a:lnTo>
                      <a:lnTo>
                        <a:pt x="90" y="115"/>
                      </a:lnTo>
                      <a:lnTo>
                        <a:pt x="92" y="117"/>
                      </a:lnTo>
                      <a:lnTo>
                        <a:pt x="92" y="120"/>
                      </a:lnTo>
                      <a:lnTo>
                        <a:pt x="92" y="120"/>
                      </a:lnTo>
                      <a:lnTo>
                        <a:pt x="92" y="122"/>
                      </a:lnTo>
                      <a:lnTo>
                        <a:pt x="90" y="120"/>
                      </a:lnTo>
                      <a:lnTo>
                        <a:pt x="88" y="119"/>
                      </a:lnTo>
                      <a:lnTo>
                        <a:pt x="85" y="119"/>
                      </a:lnTo>
                      <a:lnTo>
                        <a:pt x="85" y="119"/>
                      </a:lnTo>
                      <a:lnTo>
                        <a:pt x="81" y="117"/>
                      </a:lnTo>
                      <a:lnTo>
                        <a:pt x="78" y="115"/>
                      </a:lnTo>
                      <a:lnTo>
                        <a:pt x="76" y="112"/>
                      </a:lnTo>
                      <a:lnTo>
                        <a:pt x="76" y="110"/>
                      </a:lnTo>
                      <a:lnTo>
                        <a:pt x="76" y="108"/>
                      </a:lnTo>
                      <a:lnTo>
                        <a:pt x="76" y="108"/>
                      </a:lnTo>
                      <a:lnTo>
                        <a:pt x="80" y="105"/>
                      </a:lnTo>
                      <a:lnTo>
                        <a:pt x="80" y="101"/>
                      </a:lnTo>
                      <a:lnTo>
                        <a:pt x="80" y="96"/>
                      </a:lnTo>
                      <a:lnTo>
                        <a:pt x="80" y="96"/>
                      </a:lnTo>
                      <a:lnTo>
                        <a:pt x="80" y="92"/>
                      </a:lnTo>
                      <a:lnTo>
                        <a:pt x="76" y="89"/>
                      </a:lnTo>
                      <a:lnTo>
                        <a:pt x="64" y="78"/>
                      </a:lnTo>
                      <a:lnTo>
                        <a:pt x="64" y="78"/>
                      </a:lnTo>
                      <a:lnTo>
                        <a:pt x="55" y="73"/>
                      </a:lnTo>
                      <a:lnTo>
                        <a:pt x="52" y="72"/>
                      </a:lnTo>
                      <a:lnTo>
                        <a:pt x="48" y="72"/>
                      </a:lnTo>
                      <a:lnTo>
                        <a:pt x="45" y="70"/>
                      </a:lnTo>
                      <a:lnTo>
                        <a:pt x="45" y="70"/>
                      </a:lnTo>
                      <a:lnTo>
                        <a:pt x="43" y="66"/>
                      </a:lnTo>
                      <a:lnTo>
                        <a:pt x="43" y="65"/>
                      </a:lnTo>
                      <a:lnTo>
                        <a:pt x="41" y="56"/>
                      </a:lnTo>
                      <a:lnTo>
                        <a:pt x="41" y="56"/>
                      </a:lnTo>
                      <a:lnTo>
                        <a:pt x="38" y="51"/>
                      </a:lnTo>
                      <a:lnTo>
                        <a:pt x="33" y="49"/>
                      </a:lnTo>
                      <a:lnTo>
                        <a:pt x="27" y="45"/>
                      </a:lnTo>
                      <a:lnTo>
                        <a:pt x="24" y="44"/>
                      </a:lnTo>
                      <a:lnTo>
                        <a:pt x="24" y="44"/>
                      </a:lnTo>
                      <a:lnTo>
                        <a:pt x="22" y="42"/>
                      </a:lnTo>
                      <a:lnTo>
                        <a:pt x="22" y="44"/>
                      </a:lnTo>
                      <a:lnTo>
                        <a:pt x="22" y="45"/>
                      </a:lnTo>
                      <a:lnTo>
                        <a:pt x="24" y="49"/>
                      </a:lnTo>
                      <a:lnTo>
                        <a:pt x="24" y="49"/>
                      </a:lnTo>
                      <a:lnTo>
                        <a:pt x="33" y="56"/>
                      </a:lnTo>
                      <a:lnTo>
                        <a:pt x="36" y="59"/>
                      </a:lnTo>
                      <a:lnTo>
                        <a:pt x="34" y="61"/>
                      </a:lnTo>
                      <a:lnTo>
                        <a:pt x="33" y="63"/>
                      </a:lnTo>
                      <a:lnTo>
                        <a:pt x="33" y="63"/>
                      </a:lnTo>
                      <a:lnTo>
                        <a:pt x="27" y="68"/>
                      </a:lnTo>
                      <a:lnTo>
                        <a:pt x="26" y="68"/>
                      </a:lnTo>
                      <a:lnTo>
                        <a:pt x="24" y="66"/>
                      </a:lnTo>
                      <a:lnTo>
                        <a:pt x="24" y="66"/>
                      </a:lnTo>
                      <a:lnTo>
                        <a:pt x="22" y="63"/>
                      </a:lnTo>
                      <a:lnTo>
                        <a:pt x="17" y="59"/>
                      </a:lnTo>
                      <a:lnTo>
                        <a:pt x="10" y="56"/>
                      </a:lnTo>
                      <a:lnTo>
                        <a:pt x="10" y="56"/>
                      </a:lnTo>
                      <a:lnTo>
                        <a:pt x="7" y="54"/>
                      </a:lnTo>
                      <a:lnTo>
                        <a:pt x="3" y="49"/>
                      </a:lnTo>
                      <a:lnTo>
                        <a:pt x="1" y="42"/>
                      </a:lnTo>
                      <a:lnTo>
                        <a:pt x="1" y="33"/>
                      </a:lnTo>
                      <a:lnTo>
                        <a:pt x="1" y="33"/>
                      </a:lnTo>
                      <a:lnTo>
                        <a:pt x="3" y="28"/>
                      </a:lnTo>
                      <a:lnTo>
                        <a:pt x="5" y="28"/>
                      </a:lnTo>
                      <a:lnTo>
                        <a:pt x="7" y="28"/>
                      </a:lnTo>
                      <a:lnTo>
                        <a:pt x="8" y="23"/>
                      </a:lnTo>
                      <a:lnTo>
                        <a:pt x="8" y="23"/>
                      </a:lnTo>
                      <a:lnTo>
                        <a:pt x="8" y="18"/>
                      </a:lnTo>
                      <a:lnTo>
                        <a:pt x="7" y="16"/>
                      </a:lnTo>
                      <a:lnTo>
                        <a:pt x="5" y="16"/>
                      </a:lnTo>
                      <a:lnTo>
                        <a:pt x="0" y="14"/>
                      </a:lnTo>
                      <a:lnTo>
                        <a:pt x="0" y="14"/>
                      </a:lnTo>
                      <a:lnTo>
                        <a:pt x="0" y="14"/>
                      </a:lnTo>
                      <a:lnTo>
                        <a:pt x="0" y="12"/>
                      </a:lnTo>
                      <a:lnTo>
                        <a:pt x="3" y="11"/>
                      </a:lnTo>
                      <a:lnTo>
                        <a:pt x="7" y="9"/>
                      </a:lnTo>
                      <a:lnTo>
                        <a:pt x="7" y="7"/>
                      </a:lnTo>
                      <a:lnTo>
                        <a:pt x="5" y="4"/>
                      </a:lnTo>
                      <a:lnTo>
                        <a:pt x="5" y="4"/>
                      </a:lnTo>
                      <a:lnTo>
                        <a:pt x="7" y="2"/>
                      </a:lnTo>
                      <a:lnTo>
                        <a:pt x="10" y="0"/>
                      </a:lnTo>
                      <a:lnTo>
                        <a:pt x="15" y="2"/>
                      </a:lnTo>
                      <a:lnTo>
                        <a:pt x="26" y="9"/>
                      </a:lnTo>
                      <a:lnTo>
                        <a:pt x="26" y="9"/>
                      </a:lnTo>
                      <a:lnTo>
                        <a:pt x="31" y="11"/>
                      </a:lnTo>
                      <a:lnTo>
                        <a:pt x="34" y="12"/>
                      </a:lnTo>
                      <a:lnTo>
                        <a:pt x="36" y="11"/>
                      </a:lnTo>
                      <a:lnTo>
                        <a:pt x="38" y="9"/>
                      </a:lnTo>
                      <a:lnTo>
                        <a:pt x="41" y="5"/>
                      </a:lnTo>
                      <a:lnTo>
                        <a:pt x="43" y="5"/>
                      </a:lnTo>
                      <a:lnTo>
                        <a:pt x="47" y="9"/>
                      </a:lnTo>
                      <a:lnTo>
                        <a:pt x="47" y="9"/>
                      </a:lnTo>
                      <a:lnTo>
                        <a:pt x="50" y="11"/>
                      </a:lnTo>
                      <a:lnTo>
                        <a:pt x="52" y="9"/>
                      </a:lnTo>
                      <a:lnTo>
                        <a:pt x="54" y="9"/>
                      </a:lnTo>
                      <a:lnTo>
                        <a:pt x="57" y="14"/>
                      </a:lnTo>
                      <a:lnTo>
                        <a:pt x="57" y="14"/>
                      </a:lnTo>
                      <a:lnTo>
                        <a:pt x="61" y="18"/>
                      </a:lnTo>
                      <a:lnTo>
                        <a:pt x="66" y="21"/>
                      </a:lnTo>
                      <a:lnTo>
                        <a:pt x="69" y="21"/>
                      </a:lnTo>
                      <a:lnTo>
                        <a:pt x="73" y="21"/>
                      </a:lnTo>
                      <a:lnTo>
                        <a:pt x="76" y="18"/>
                      </a:lnTo>
                      <a:lnTo>
                        <a:pt x="78" y="12"/>
                      </a:lnTo>
                      <a:lnTo>
                        <a:pt x="78" y="12"/>
                      </a:lnTo>
                      <a:lnTo>
                        <a:pt x="81" y="16"/>
                      </a:lnTo>
                      <a:lnTo>
                        <a:pt x="83" y="21"/>
                      </a:lnTo>
                      <a:lnTo>
                        <a:pt x="85" y="28"/>
                      </a:lnTo>
                      <a:lnTo>
                        <a:pt x="88" y="37"/>
                      </a:lnTo>
                      <a:lnTo>
                        <a:pt x="88" y="37"/>
                      </a:lnTo>
                      <a:lnTo>
                        <a:pt x="97" y="49"/>
                      </a:lnTo>
                      <a:lnTo>
                        <a:pt x="106" y="58"/>
                      </a:lnTo>
                      <a:lnTo>
                        <a:pt x="113" y="65"/>
                      </a:lnTo>
                      <a:lnTo>
                        <a:pt x="116" y="72"/>
                      </a:lnTo>
                      <a:lnTo>
                        <a:pt x="116" y="7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0" name="Freeform 1997">
                  <a:extLst>
                    <a:ext uri="{FF2B5EF4-FFF2-40B4-BE49-F238E27FC236}">
                      <a16:creationId xmlns:a16="http://schemas.microsoft.com/office/drawing/2014/main" id="{98832E32-78B8-BF6D-F46A-2ACCCD847E53}"/>
                    </a:ext>
                  </a:extLst>
                </p:cNvPr>
                <p:cNvSpPr>
                  <a:spLocks/>
                </p:cNvSpPr>
                <p:nvPr/>
              </p:nvSpPr>
              <p:spPr bwMode="auto">
                <a:xfrm>
                  <a:off x="2668769" y="3933838"/>
                  <a:ext cx="177963" cy="107483"/>
                </a:xfrm>
                <a:custGeom>
                  <a:avLst/>
                  <a:gdLst/>
                  <a:ahLst/>
                  <a:cxnLst>
                    <a:cxn ang="0">
                      <a:pos x="24" y="28"/>
                    </a:cxn>
                    <a:cxn ang="0">
                      <a:pos x="8" y="42"/>
                    </a:cxn>
                    <a:cxn ang="0">
                      <a:pos x="8" y="59"/>
                    </a:cxn>
                    <a:cxn ang="0">
                      <a:pos x="0" y="68"/>
                    </a:cxn>
                    <a:cxn ang="0">
                      <a:pos x="14" y="77"/>
                    </a:cxn>
                    <a:cxn ang="0">
                      <a:pos x="31" y="94"/>
                    </a:cxn>
                    <a:cxn ang="0">
                      <a:pos x="38" y="92"/>
                    </a:cxn>
                    <a:cxn ang="0">
                      <a:pos x="55" y="94"/>
                    </a:cxn>
                    <a:cxn ang="0">
                      <a:pos x="57" y="103"/>
                    </a:cxn>
                    <a:cxn ang="0">
                      <a:pos x="55" y="113"/>
                    </a:cxn>
                    <a:cxn ang="0">
                      <a:pos x="61" y="111"/>
                    </a:cxn>
                    <a:cxn ang="0">
                      <a:pos x="64" y="117"/>
                    </a:cxn>
                    <a:cxn ang="0">
                      <a:pos x="73" y="129"/>
                    </a:cxn>
                    <a:cxn ang="0">
                      <a:pos x="78" y="132"/>
                    </a:cxn>
                    <a:cxn ang="0">
                      <a:pos x="87" y="122"/>
                    </a:cxn>
                    <a:cxn ang="0">
                      <a:pos x="89" y="118"/>
                    </a:cxn>
                    <a:cxn ang="0">
                      <a:pos x="94" y="117"/>
                    </a:cxn>
                    <a:cxn ang="0">
                      <a:pos x="90" y="101"/>
                    </a:cxn>
                    <a:cxn ang="0">
                      <a:pos x="97" y="97"/>
                    </a:cxn>
                    <a:cxn ang="0">
                      <a:pos x="106" y="97"/>
                    </a:cxn>
                    <a:cxn ang="0">
                      <a:pos x="115" y="85"/>
                    </a:cxn>
                    <a:cxn ang="0">
                      <a:pos x="118" y="87"/>
                    </a:cxn>
                    <a:cxn ang="0">
                      <a:pos x="127" y="94"/>
                    </a:cxn>
                    <a:cxn ang="0">
                      <a:pos x="129" y="89"/>
                    </a:cxn>
                    <a:cxn ang="0">
                      <a:pos x="149" y="66"/>
                    </a:cxn>
                    <a:cxn ang="0">
                      <a:pos x="155" y="57"/>
                    </a:cxn>
                    <a:cxn ang="0">
                      <a:pos x="160" y="52"/>
                    </a:cxn>
                    <a:cxn ang="0">
                      <a:pos x="169" y="59"/>
                    </a:cxn>
                    <a:cxn ang="0">
                      <a:pos x="195" y="54"/>
                    </a:cxn>
                    <a:cxn ang="0">
                      <a:pos x="203" y="45"/>
                    </a:cxn>
                    <a:cxn ang="0">
                      <a:pos x="219" y="45"/>
                    </a:cxn>
                    <a:cxn ang="0">
                      <a:pos x="216" y="40"/>
                    </a:cxn>
                    <a:cxn ang="0">
                      <a:pos x="205" y="30"/>
                    </a:cxn>
                    <a:cxn ang="0">
                      <a:pos x="183" y="14"/>
                    </a:cxn>
                    <a:cxn ang="0">
                      <a:pos x="156" y="2"/>
                    </a:cxn>
                    <a:cxn ang="0">
                      <a:pos x="148" y="5"/>
                    </a:cxn>
                    <a:cxn ang="0">
                      <a:pos x="130" y="3"/>
                    </a:cxn>
                    <a:cxn ang="0">
                      <a:pos x="118" y="0"/>
                    </a:cxn>
                    <a:cxn ang="0">
                      <a:pos x="120" y="3"/>
                    </a:cxn>
                    <a:cxn ang="0">
                      <a:pos x="108" y="10"/>
                    </a:cxn>
                    <a:cxn ang="0">
                      <a:pos x="85" y="9"/>
                    </a:cxn>
                    <a:cxn ang="0">
                      <a:pos x="68" y="9"/>
                    </a:cxn>
                    <a:cxn ang="0">
                      <a:pos x="62" y="5"/>
                    </a:cxn>
                    <a:cxn ang="0">
                      <a:pos x="57" y="5"/>
                    </a:cxn>
                    <a:cxn ang="0">
                      <a:pos x="45" y="14"/>
                    </a:cxn>
                    <a:cxn ang="0">
                      <a:pos x="40" y="14"/>
                    </a:cxn>
                  </a:cxnLst>
                  <a:rect l="0" t="0" r="r" b="b"/>
                  <a:pathLst>
                    <a:path w="219" h="132">
                      <a:moveTo>
                        <a:pt x="40" y="14"/>
                      </a:moveTo>
                      <a:lnTo>
                        <a:pt x="40" y="14"/>
                      </a:lnTo>
                      <a:lnTo>
                        <a:pt x="24" y="28"/>
                      </a:lnTo>
                      <a:lnTo>
                        <a:pt x="10" y="40"/>
                      </a:lnTo>
                      <a:lnTo>
                        <a:pt x="10" y="40"/>
                      </a:lnTo>
                      <a:lnTo>
                        <a:pt x="8" y="42"/>
                      </a:lnTo>
                      <a:lnTo>
                        <a:pt x="7" y="45"/>
                      </a:lnTo>
                      <a:lnTo>
                        <a:pt x="7" y="54"/>
                      </a:lnTo>
                      <a:lnTo>
                        <a:pt x="8" y="59"/>
                      </a:lnTo>
                      <a:lnTo>
                        <a:pt x="7" y="63"/>
                      </a:lnTo>
                      <a:lnTo>
                        <a:pt x="5" y="66"/>
                      </a:lnTo>
                      <a:lnTo>
                        <a:pt x="0" y="68"/>
                      </a:lnTo>
                      <a:lnTo>
                        <a:pt x="0" y="68"/>
                      </a:lnTo>
                      <a:lnTo>
                        <a:pt x="7" y="71"/>
                      </a:lnTo>
                      <a:lnTo>
                        <a:pt x="14" y="77"/>
                      </a:lnTo>
                      <a:lnTo>
                        <a:pt x="24" y="85"/>
                      </a:lnTo>
                      <a:lnTo>
                        <a:pt x="29" y="92"/>
                      </a:lnTo>
                      <a:lnTo>
                        <a:pt x="31" y="94"/>
                      </a:lnTo>
                      <a:lnTo>
                        <a:pt x="33" y="94"/>
                      </a:lnTo>
                      <a:lnTo>
                        <a:pt x="33" y="94"/>
                      </a:lnTo>
                      <a:lnTo>
                        <a:pt x="38" y="92"/>
                      </a:lnTo>
                      <a:lnTo>
                        <a:pt x="45" y="90"/>
                      </a:lnTo>
                      <a:lnTo>
                        <a:pt x="52" y="92"/>
                      </a:lnTo>
                      <a:lnTo>
                        <a:pt x="55" y="94"/>
                      </a:lnTo>
                      <a:lnTo>
                        <a:pt x="55" y="96"/>
                      </a:lnTo>
                      <a:lnTo>
                        <a:pt x="55" y="96"/>
                      </a:lnTo>
                      <a:lnTo>
                        <a:pt x="57" y="103"/>
                      </a:lnTo>
                      <a:lnTo>
                        <a:pt x="57" y="108"/>
                      </a:lnTo>
                      <a:lnTo>
                        <a:pt x="55" y="113"/>
                      </a:lnTo>
                      <a:lnTo>
                        <a:pt x="55" y="113"/>
                      </a:lnTo>
                      <a:lnTo>
                        <a:pt x="57" y="115"/>
                      </a:lnTo>
                      <a:lnTo>
                        <a:pt x="59" y="113"/>
                      </a:lnTo>
                      <a:lnTo>
                        <a:pt x="61" y="111"/>
                      </a:lnTo>
                      <a:lnTo>
                        <a:pt x="61" y="111"/>
                      </a:lnTo>
                      <a:lnTo>
                        <a:pt x="64" y="117"/>
                      </a:lnTo>
                      <a:lnTo>
                        <a:pt x="64" y="117"/>
                      </a:lnTo>
                      <a:lnTo>
                        <a:pt x="68" y="124"/>
                      </a:lnTo>
                      <a:lnTo>
                        <a:pt x="71" y="125"/>
                      </a:lnTo>
                      <a:lnTo>
                        <a:pt x="73" y="129"/>
                      </a:lnTo>
                      <a:lnTo>
                        <a:pt x="71" y="131"/>
                      </a:lnTo>
                      <a:lnTo>
                        <a:pt x="71" y="131"/>
                      </a:lnTo>
                      <a:lnTo>
                        <a:pt x="78" y="132"/>
                      </a:lnTo>
                      <a:lnTo>
                        <a:pt x="82" y="131"/>
                      </a:lnTo>
                      <a:lnTo>
                        <a:pt x="85" y="127"/>
                      </a:lnTo>
                      <a:lnTo>
                        <a:pt x="87" y="122"/>
                      </a:lnTo>
                      <a:lnTo>
                        <a:pt x="87" y="122"/>
                      </a:lnTo>
                      <a:lnTo>
                        <a:pt x="89" y="120"/>
                      </a:lnTo>
                      <a:lnTo>
                        <a:pt x="89" y="118"/>
                      </a:lnTo>
                      <a:lnTo>
                        <a:pt x="92" y="118"/>
                      </a:lnTo>
                      <a:lnTo>
                        <a:pt x="92" y="118"/>
                      </a:lnTo>
                      <a:lnTo>
                        <a:pt x="94" y="117"/>
                      </a:lnTo>
                      <a:lnTo>
                        <a:pt x="92" y="110"/>
                      </a:lnTo>
                      <a:lnTo>
                        <a:pt x="92" y="110"/>
                      </a:lnTo>
                      <a:lnTo>
                        <a:pt x="90" y="101"/>
                      </a:lnTo>
                      <a:lnTo>
                        <a:pt x="92" y="99"/>
                      </a:lnTo>
                      <a:lnTo>
                        <a:pt x="92" y="97"/>
                      </a:lnTo>
                      <a:lnTo>
                        <a:pt x="97" y="97"/>
                      </a:lnTo>
                      <a:lnTo>
                        <a:pt x="102" y="97"/>
                      </a:lnTo>
                      <a:lnTo>
                        <a:pt x="102" y="97"/>
                      </a:lnTo>
                      <a:lnTo>
                        <a:pt x="106" y="97"/>
                      </a:lnTo>
                      <a:lnTo>
                        <a:pt x="108" y="96"/>
                      </a:lnTo>
                      <a:lnTo>
                        <a:pt x="111" y="90"/>
                      </a:lnTo>
                      <a:lnTo>
                        <a:pt x="115" y="85"/>
                      </a:lnTo>
                      <a:lnTo>
                        <a:pt x="116" y="85"/>
                      </a:lnTo>
                      <a:lnTo>
                        <a:pt x="118" y="87"/>
                      </a:lnTo>
                      <a:lnTo>
                        <a:pt x="118" y="87"/>
                      </a:lnTo>
                      <a:lnTo>
                        <a:pt x="122" y="92"/>
                      </a:lnTo>
                      <a:lnTo>
                        <a:pt x="125" y="94"/>
                      </a:lnTo>
                      <a:lnTo>
                        <a:pt x="127" y="94"/>
                      </a:lnTo>
                      <a:lnTo>
                        <a:pt x="129" y="92"/>
                      </a:lnTo>
                      <a:lnTo>
                        <a:pt x="129" y="92"/>
                      </a:lnTo>
                      <a:lnTo>
                        <a:pt x="129" y="89"/>
                      </a:lnTo>
                      <a:lnTo>
                        <a:pt x="130" y="85"/>
                      </a:lnTo>
                      <a:lnTo>
                        <a:pt x="139" y="77"/>
                      </a:lnTo>
                      <a:lnTo>
                        <a:pt x="149" y="66"/>
                      </a:lnTo>
                      <a:lnTo>
                        <a:pt x="153" y="63"/>
                      </a:lnTo>
                      <a:lnTo>
                        <a:pt x="155" y="57"/>
                      </a:lnTo>
                      <a:lnTo>
                        <a:pt x="155" y="57"/>
                      </a:lnTo>
                      <a:lnTo>
                        <a:pt x="156" y="52"/>
                      </a:lnTo>
                      <a:lnTo>
                        <a:pt x="158" y="52"/>
                      </a:lnTo>
                      <a:lnTo>
                        <a:pt x="160" y="52"/>
                      </a:lnTo>
                      <a:lnTo>
                        <a:pt x="162" y="56"/>
                      </a:lnTo>
                      <a:lnTo>
                        <a:pt x="162" y="56"/>
                      </a:lnTo>
                      <a:lnTo>
                        <a:pt x="169" y="59"/>
                      </a:lnTo>
                      <a:lnTo>
                        <a:pt x="179" y="57"/>
                      </a:lnTo>
                      <a:lnTo>
                        <a:pt x="191" y="56"/>
                      </a:lnTo>
                      <a:lnTo>
                        <a:pt x="195" y="54"/>
                      </a:lnTo>
                      <a:lnTo>
                        <a:pt x="198" y="50"/>
                      </a:lnTo>
                      <a:lnTo>
                        <a:pt x="198" y="50"/>
                      </a:lnTo>
                      <a:lnTo>
                        <a:pt x="203" y="45"/>
                      </a:lnTo>
                      <a:lnTo>
                        <a:pt x="209" y="43"/>
                      </a:lnTo>
                      <a:lnTo>
                        <a:pt x="212" y="43"/>
                      </a:lnTo>
                      <a:lnTo>
                        <a:pt x="219" y="45"/>
                      </a:lnTo>
                      <a:lnTo>
                        <a:pt x="219" y="45"/>
                      </a:lnTo>
                      <a:lnTo>
                        <a:pt x="217" y="43"/>
                      </a:lnTo>
                      <a:lnTo>
                        <a:pt x="216" y="40"/>
                      </a:lnTo>
                      <a:lnTo>
                        <a:pt x="212" y="35"/>
                      </a:lnTo>
                      <a:lnTo>
                        <a:pt x="205" y="30"/>
                      </a:lnTo>
                      <a:lnTo>
                        <a:pt x="205" y="30"/>
                      </a:lnTo>
                      <a:lnTo>
                        <a:pt x="191" y="23"/>
                      </a:lnTo>
                      <a:lnTo>
                        <a:pt x="183" y="14"/>
                      </a:lnTo>
                      <a:lnTo>
                        <a:pt x="183" y="14"/>
                      </a:lnTo>
                      <a:lnTo>
                        <a:pt x="176" y="9"/>
                      </a:lnTo>
                      <a:lnTo>
                        <a:pt x="165" y="5"/>
                      </a:lnTo>
                      <a:lnTo>
                        <a:pt x="156" y="2"/>
                      </a:lnTo>
                      <a:lnTo>
                        <a:pt x="151" y="3"/>
                      </a:lnTo>
                      <a:lnTo>
                        <a:pt x="151" y="3"/>
                      </a:lnTo>
                      <a:lnTo>
                        <a:pt x="148" y="5"/>
                      </a:lnTo>
                      <a:lnTo>
                        <a:pt x="143" y="5"/>
                      </a:lnTo>
                      <a:lnTo>
                        <a:pt x="136" y="5"/>
                      </a:lnTo>
                      <a:lnTo>
                        <a:pt x="130" y="3"/>
                      </a:lnTo>
                      <a:lnTo>
                        <a:pt x="130" y="3"/>
                      </a:lnTo>
                      <a:lnTo>
                        <a:pt x="120" y="0"/>
                      </a:lnTo>
                      <a:lnTo>
                        <a:pt x="118" y="0"/>
                      </a:lnTo>
                      <a:lnTo>
                        <a:pt x="120" y="2"/>
                      </a:lnTo>
                      <a:lnTo>
                        <a:pt x="120" y="2"/>
                      </a:lnTo>
                      <a:lnTo>
                        <a:pt x="120" y="3"/>
                      </a:lnTo>
                      <a:lnTo>
                        <a:pt x="120" y="3"/>
                      </a:lnTo>
                      <a:lnTo>
                        <a:pt x="116" y="7"/>
                      </a:lnTo>
                      <a:lnTo>
                        <a:pt x="108" y="10"/>
                      </a:lnTo>
                      <a:lnTo>
                        <a:pt x="108" y="10"/>
                      </a:lnTo>
                      <a:lnTo>
                        <a:pt x="94" y="10"/>
                      </a:lnTo>
                      <a:lnTo>
                        <a:pt x="85" y="9"/>
                      </a:lnTo>
                      <a:lnTo>
                        <a:pt x="76" y="9"/>
                      </a:lnTo>
                      <a:lnTo>
                        <a:pt x="68" y="9"/>
                      </a:lnTo>
                      <a:lnTo>
                        <a:pt x="68" y="9"/>
                      </a:lnTo>
                      <a:lnTo>
                        <a:pt x="64" y="10"/>
                      </a:lnTo>
                      <a:lnTo>
                        <a:pt x="62" y="9"/>
                      </a:lnTo>
                      <a:lnTo>
                        <a:pt x="62" y="5"/>
                      </a:lnTo>
                      <a:lnTo>
                        <a:pt x="61" y="5"/>
                      </a:lnTo>
                      <a:lnTo>
                        <a:pt x="61" y="5"/>
                      </a:lnTo>
                      <a:lnTo>
                        <a:pt x="57" y="5"/>
                      </a:lnTo>
                      <a:lnTo>
                        <a:pt x="54" y="5"/>
                      </a:lnTo>
                      <a:lnTo>
                        <a:pt x="50" y="10"/>
                      </a:lnTo>
                      <a:lnTo>
                        <a:pt x="45" y="14"/>
                      </a:lnTo>
                      <a:lnTo>
                        <a:pt x="43" y="16"/>
                      </a:lnTo>
                      <a:lnTo>
                        <a:pt x="40" y="14"/>
                      </a:lnTo>
                      <a:lnTo>
                        <a:pt x="40"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1" name="Freeform 1998">
                  <a:extLst>
                    <a:ext uri="{FF2B5EF4-FFF2-40B4-BE49-F238E27FC236}">
                      <a16:creationId xmlns:a16="http://schemas.microsoft.com/office/drawing/2014/main" id="{7F44C4F7-14DD-C6B9-2D03-48818E23C675}"/>
                    </a:ext>
                  </a:extLst>
                </p:cNvPr>
                <p:cNvSpPr>
                  <a:spLocks/>
                </p:cNvSpPr>
                <p:nvPr/>
              </p:nvSpPr>
              <p:spPr bwMode="auto">
                <a:xfrm>
                  <a:off x="2819780" y="4373381"/>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2" name="Freeform 1999">
                  <a:extLst>
                    <a:ext uri="{FF2B5EF4-FFF2-40B4-BE49-F238E27FC236}">
                      <a16:creationId xmlns:a16="http://schemas.microsoft.com/office/drawing/2014/main" id="{C4B986F0-69B5-03B9-4E7C-A1A58588787B}"/>
                    </a:ext>
                  </a:extLst>
                </p:cNvPr>
                <p:cNvSpPr>
                  <a:spLocks/>
                </p:cNvSpPr>
                <p:nvPr/>
              </p:nvSpPr>
              <p:spPr bwMode="auto">
                <a:xfrm>
                  <a:off x="2980644" y="3847500"/>
                  <a:ext cx="61670" cy="26429"/>
                </a:xfrm>
                <a:custGeom>
                  <a:avLst/>
                  <a:gdLst/>
                  <a:ahLst/>
                  <a:cxnLst>
                    <a:cxn ang="0">
                      <a:pos x="4" y="9"/>
                    </a:cxn>
                    <a:cxn ang="0">
                      <a:pos x="4" y="9"/>
                    </a:cxn>
                    <a:cxn ang="0">
                      <a:pos x="9" y="4"/>
                    </a:cxn>
                    <a:cxn ang="0">
                      <a:pos x="18" y="0"/>
                    </a:cxn>
                    <a:cxn ang="0">
                      <a:pos x="28" y="2"/>
                    </a:cxn>
                    <a:cxn ang="0">
                      <a:pos x="44" y="5"/>
                    </a:cxn>
                    <a:cxn ang="0">
                      <a:pos x="44" y="5"/>
                    </a:cxn>
                    <a:cxn ang="0">
                      <a:pos x="58" y="9"/>
                    </a:cxn>
                    <a:cxn ang="0">
                      <a:pos x="68" y="14"/>
                    </a:cxn>
                    <a:cxn ang="0">
                      <a:pos x="73" y="19"/>
                    </a:cxn>
                    <a:cxn ang="0">
                      <a:pos x="77" y="25"/>
                    </a:cxn>
                    <a:cxn ang="0">
                      <a:pos x="77" y="25"/>
                    </a:cxn>
                    <a:cxn ang="0">
                      <a:pos x="77" y="28"/>
                    </a:cxn>
                    <a:cxn ang="0">
                      <a:pos x="77" y="30"/>
                    </a:cxn>
                    <a:cxn ang="0">
                      <a:pos x="72" y="30"/>
                    </a:cxn>
                    <a:cxn ang="0">
                      <a:pos x="65" y="28"/>
                    </a:cxn>
                    <a:cxn ang="0">
                      <a:pos x="54" y="28"/>
                    </a:cxn>
                    <a:cxn ang="0">
                      <a:pos x="54" y="28"/>
                    </a:cxn>
                    <a:cxn ang="0">
                      <a:pos x="51" y="28"/>
                    </a:cxn>
                    <a:cxn ang="0">
                      <a:pos x="49" y="30"/>
                    </a:cxn>
                    <a:cxn ang="0">
                      <a:pos x="47" y="33"/>
                    </a:cxn>
                    <a:cxn ang="0">
                      <a:pos x="47" y="33"/>
                    </a:cxn>
                    <a:cxn ang="0">
                      <a:pos x="44" y="35"/>
                    </a:cxn>
                    <a:cxn ang="0">
                      <a:pos x="33" y="33"/>
                    </a:cxn>
                    <a:cxn ang="0">
                      <a:pos x="33" y="33"/>
                    </a:cxn>
                    <a:cxn ang="0">
                      <a:pos x="21" y="28"/>
                    </a:cxn>
                    <a:cxn ang="0">
                      <a:pos x="18" y="25"/>
                    </a:cxn>
                    <a:cxn ang="0">
                      <a:pos x="16" y="21"/>
                    </a:cxn>
                    <a:cxn ang="0">
                      <a:pos x="11" y="18"/>
                    </a:cxn>
                    <a:cxn ang="0">
                      <a:pos x="11" y="18"/>
                    </a:cxn>
                    <a:cxn ang="0">
                      <a:pos x="0" y="14"/>
                    </a:cxn>
                    <a:cxn ang="0">
                      <a:pos x="2" y="12"/>
                    </a:cxn>
                    <a:cxn ang="0">
                      <a:pos x="4" y="9"/>
                    </a:cxn>
                    <a:cxn ang="0">
                      <a:pos x="4" y="9"/>
                    </a:cxn>
                  </a:cxnLst>
                  <a:rect l="0" t="0" r="r" b="b"/>
                  <a:pathLst>
                    <a:path w="77" h="35">
                      <a:moveTo>
                        <a:pt x="4" y="9"/>
                      </a:moveTo>
                      <a:lnTo>
                        <a:pt x="4" y="9"/>
                      </a:lnTo>
                      <a:lnTo>
                        <a:pt x="9" y="4"/>
                      </a:lnTo>
                      <a:lnTo>
                        <a:pt x="18" y="0"/>
                      </a:lnTo>
                      <a:lnTo>
                        <a:pt x="28" y="2"/>
                      </a:lnTo>
                      <a:lnTo>
                        <a:pt x="44" y="5"/>
                      </a:lnTo>
                      <a:lnTo>
                        <a:pt x="44" y="5"/>
                      </a:lnTo>
                      <a:lnTo>
                        <a:pt x="58" y="9"/>
                      </a:lnTo>
                      <a:lnTo>
                        <a:pt x="68" y="14"/>
                      </a:lnTo>
                      <a:lnTo>
                        <a:pt x="73" y="19"/>
                      </a:lnTo>
                      <a:lnTo>
                        <a:pt x="77" y="25"/>
                      </a:lnTo>
                      <a:lnTo>
                        <a:pt x="77" y="25"/>
                      </a:lnTo>
                      <a:lnTo>
                        <a:pt x="77" y="28"/>
                      </a:lnTo>
                      <a:lnTo>
                        <a:pt x="77" y="30"/>
                      </a:lnTo>
                      <a:lnTo>
                        <a:pt x="72" y="30"/>
                      </a:lnTo>
                      <a:lnTo>
                        <a:pt x="65" y="28"/>
                      </a:lnTo>
                      <a:lnTo>
                        <a:pt x="54" y="28"/>
                      </a:lnTo>
                      <a:lnTo>
                        <a:pt x="54" y="28"/>
                      </a:lnTo>
                      <a:lnTo>
                        <a:pt x="51" y="28"/>
                      </a:lnTo>
                      <a:lnTo>
                        <a:pt x="49" y="30"/>
                      </a:lnTo>
                      <a:lnTo>
                        <a:pt x="47" y="33"/>
                      </a:lnTo>
                      <a:lnTo>
                        <a:pt x="47" y="33"/>
                      </a:lnTo>
                      <a:lnTo>
                        <a:pt x="44" y="35"/>
                      </a:lnTo>
                      <a:lnTo>
                        <a:pt x="33" y="33"/>
                      </a:lnTo>
                      <a:lnTo>
                        <a:pt x="33" y="33"/>
                      </a:lnTo>
                      <a:lnTo>
                        <a:pt x="21" y="28"/>
                      </a:lnTo>
                      <a:lnTo>
                        <a:pt x="18" y="25"/>
                      </a:lnTo>
                      <a:lnTo>
                        <a:pt x="16" y="21"/>
                      </a:lnTo>
                      <a:lnTo>
                        <a:pt x="11" y="18"/>
                      </a:lnTo>
                      <a:lnTo>
                        <a:pt x="11" y="18"/>
                      </a:lnTo>
                      <a:lnTo>
                        <a:pt x="0" y="14"/>
                      </a:lnTo>
                      <a:lnTo>
                        <a:pt x="2" y="12"/>
                      </a:lnTo>
                      <a:lnTo>
                        <a:pt x="4" y="9"/>
                      </a:lnTo>
                      <a:lnTo>
                        <a:pt x="4"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3" name="Freeform 2000">
                  <a:extLst>
                    <a:ext uri="{FF2B5EF4-FFF2-40B4-BE49-F238E27FC236}">
                      <a16:creationId xmlns:a16="http://schemas.microsoft.com/office/drawing/2014/main" id="{EF407C8F-3BB2-8FF8-42BE-5F1EABAC5FCC}"/>
                    </a:ext>
                  </a:extLst>
                </p:cNvPr>
                <p:cNvSpPr>
                  <a:spLocks/>
                </p:cNvSpPr>
                <p:nvPr/>
              </p:nvSpPr>
              <p:spPr bwMode="auto">
                <a:xfrm>
                  <a:off x="3091649" y="5968950"/>
                  <a:ext cx="29954" cy="63432"/>
                </a:xfrm>
                <a:custGeom>
                  <a:avLst/>
                  <a:gdLst/>
                  <a:ahLst/>
                  <a:cxnLst>
                    <a:cxn ang="0">
                      <a:pos x="10" y="8"/>
                    </a:cxn>
                    <a:cxn ang="0">
                      <a:pos x="10" y="1"/>
                    </a:cxn>
                    <a:cxn ang="0">
                      <a:pos x="15" y="1"/>
                    </a:cxn>
                    <a:cxn ang="0">
                      <a:pos x="17" y="1"/>
                    </a:cxn>
                    <a:cxn ang="0">
                      <a:pos x="17" y="3"/>
                    </a:cxn>
                    <a:cxn ang="0">
                      <a:pos x="20" y="3"/>
                    </a:cxn>
                    <a:cxn ang="0">
                      <a:pos x="29" y="3"/>
                    </a:cxn>
                    <a:cxn ang="0">
                      <a:pos x="31" y="10"/>
                    </a:cxn>
                    <a:cxn ang="0">
                      <a:pos x="36" y="24"/>
                    </a:cxn>
                    <a:cxn ang="0">
                      <a:pos x="33" y="26"/>
                    </a:cxn>
                    <a:cxn ang="0">
                      <a:pos x="24" y="28"/>
                    </a:cxn>
                    <a:cxn ang="0">
                      <a:pos x="24" y="33"/>
                    </a:cxn>
                    <a:cxn ang="0">
                      <a:pos x="26" y="35"/>
                    </a:cxn>
                    <a:cxn ang="0">
                      <a:pos x="22" y="36"/>
                    </a:cxn>
                    <a:cxn ang="0">
                      <a:pos x="24" y="43"/>
                    </a:cxn>
                    <a:cxn ang="0">
                      <a:pos x="31" y="52"/>
                    </a:cxn>
                    <a:cxn ang="0">
                      <a:pos x="27" y="55"/>
                    </a:cxn>
                    <a:cxn ang="0">
                      <a:pos x="26" y="55"/>
                    </a:cxn>
                    <a:cxn ang="0">
                      <a:pos x="29" y="61"/>
                    </a:cxn>
                    <a:cxn ang="0">
                      <a:pos x="29" y="66"/>
                    </a:cxn>
                    <a:cxn ang="0">
                      <a:pos x="26" y="66"/>
                    </a:cxn>
                    <a:cxn ang="0">
                      <a:pos x="22" y="69"/>
                    </a:cxn>
                    <a:cxn ang="0">
                      <a:pos x="24" y="76"/>
                    </a:cxn>
                    <a:cxn ang="0">
                      <a:pos x="22" y="80"/>
                    </a:cxn>
                    <a:cxn ang="0">
                      <a:pos x="17" y="80"/>
                    </a:cxn>
                    <a:cxn ang="0">
                      <a:pos x="1" y="75"/>
                    </a:cxn>
                    <a:cxn ang="0">
                      <a:pos x="0" y="69"/>
                    </a:cxn>
                    <a:cxn ang="0">
                      <a:pos x="3" y="59"/>
                    </a:cxn>
                    <a:cxn ang="0">
                      <a:pos x="7" y="41"/>
                    </a:cxn>
                    <a:cxn ang="0">
                      <a:pos x="5" y="31"/>
                    </a:cxn>
                    <a:cxn ang="0">
                      <a:pos x="7" y="24"/>
                    </a:cxn>
                    <a:cxn ang="0">
                      <a:pos x="12" y="14"/>
                    </a:cxn>
                    <a:cxn ang="0">
                      <a:pos x="10" y="8"/>
                    </a:cxn>
                  </a:cxnLst>
                  <a:rect l="0" t="0" r="r" b="b"/>
                  <a:pathLst>
                    <a:path w="36" h="80">
                      <a:moveTo>
                        <a:pt x="10" y="8"/>
                      </a:moveTo>
                      <a:lnTo>
                        <a:pt x="10" y="8"/>
                      </a:lnTo>
                      <a:lnTo>
                        <a:pt x="10" y="3"/>
                      </a:lnTo>
                      <a:lnTo>
                        <a:pt x="10" y="1"/>
                      </a:lnTo>
                      <a:lnTo>
                        <a:pt x="14" y="0"/>
                      </a:lnTo>
                      <a:lnTo>
                        <a:pt x="15" y="1"/>
                      </a:lnTo>
                      <a:lnTo>
                        <a:pt x="15" y="1"/>
                      </a:lnTo>
                      <a:lnTo>
                        <a:pt x="17" y="1"/>
                      </a:lnTo>
                      <a:lnTo>
                        <a:pt x="17" y="3"/>
                      </a:lnTo>
                      <a:lnTo>
                        <a:pt x="17" y="3"/>
                      </a:lnTo>
                      <a:lnTo>
                        <a:pt x="20" y="3"/>
                      </a:lnTo>
                      <a:lnTo>
                        <a:pt x="20" y="3"/>
                      </a:lnTo>
                      <a:lnTo>
                        <a:pt x="26" y="3"/>
                      </a:lnTo>
                      <a:lnTo>
                        <a:pt x="29" y="3"/>
                      </a:lnTo>
                      <a:lnTo>
                        <a:pt x="31" y="10"/>
                      </a:lnTo>
                      <a:lnTo>
                        <a:pt x="31" y="10"/>
                      </a:lnTo>
                      <a:lnTo>
                        <a:pt x="36" y="21"/>
                      </a:lnTo>
                      <a:lnTo>
                        <a:pt x="36" y="24"/>
                      </a:lnTo>
                      <a:lnTo>
                        <a:pt x="34" y="26"/>
                      </a:lnTo>
                      <a:lnTo>
                        <a:pt x="33" y="26"/>
                      </a:lnTo>
                      <a:lnTo>
                        <a:pt x="33" y="26"/>
                      </a:lnTo>
                      <a:lnTo>
                        <a:pt x="24" y="28"/>
                      </a:lnTo>
                      <a:lnTo>
                        <a:pt x="24" y="29"/>
                      </a:lnTo>
                      <a:lnTo>
                        <a:pt x="24" y="33"/>
                      </a:lnTo>
                      <a:lnTo>
                        <a:pt x="24" y="33"/>
                      </a:lnTo>
                      <a:lnTo>
                        <a:pt x="26" y="35"/>
                      </a:lnTo>
                      <a:lnTo>
                        <a:pt x="24" y="36"/>
                      </a:lnTo>
                      <a:lnTo>
                        <a:pt x="22" y="36"/>
                      </a:lnTo>
                      <a:lnTo>
                        <a:pt x="20" y="38"/>
                      </a:lnTo>
                      <a:lnTo>
                        <a:pt x="24" y="43"/>
                      </a:lnTo>
                      <a:lnTo>
                        <a:pt x="24" y="43"/>
                      </a:lnTo>
                      <a:lnTo>
                        <a:pt x="31" y="52"/>
                      </a:lnTo>
                      <a:lnTo>
                        <a:pt x="31" y="54"/>
                      </a:lnTo>
                      <a:lnTo>
                        <a:pt x="27" y="55"/>
                      </a:lnTo>
                      <a:lnTo>
                        <a:pt x="27" y="55"/>
                      </a:lnTo>
                      <a:lnTo>
                        <a:pt x="26" y="55"/>
                      </a:lnTo>
                      <a:lnTo>
                        <a:pt x="26" y="57"/>
                      </a:lnTo>
                      <a:lnTo>
                        <a:pt x="29" y="61"/>
                      </a:lnTo>
                      <a:lnTo>
                        <a:pt x="29" y="66"/>
                      </a:lnTo>
                      <a:lnTo>
                        <a:pt x="29" y="66"/>
                      </a:lnTo>
                      <a:lnTo>
                        <a:pt x="26" y="66"/>
                      </a:lnTo>
                      <a:lnTo>
                        <a:pt x="26" y="66"/>
                      </a:lnTo>
                      <a:lnTo>
                        <a:pt x="22" y="68"/>
                      </a:lnTo>
                      <a:lnTo>
                        <a:pt x="22" y="69"/>
                      </a:lnTo>
                      <a:lnTo>
                        <a:pt x="24" y="75"/>
                      </a:lnTo>
                      <a:lnTo>
                        <a:pt x="24" y="76"/>
                      </a:lnTo>
                      <a:lnTo>
                        <a:pt x="24" y="78"/>
                      </a:lnTo>
                      <a:lnTo>
                        <a:pt x="22" y="80"/>
                      </a:lnTo>
                      <a:lnTo>
                        <a:pt x="17" y="80"/>
                      </a:lnTo>
                      <a:lnTo>
                        <a:pt x="17" y="80"/>
                      </a:lnTo>
                      <a:lnTo>
                        <a:pt x="8" y="78"/>
                      </a:lnTo>
                      <a:lnTo>
                        <a:pt x="1" y="75"/>
                      </a:lnTo>
                      <a:lnTo>
                        <a:pt x="0" y="73"/>
                      </a:lnTo>
                      <a:lnTo>
                        <a:pt x="0" y="69"/>
                      </a:lnTo>
                      <a:lnTo>
                        <a:pt x="3" y="59"/>
                      </a:lnTo>
                      <a:lnTo>
                        <a:pt x="3" y="59"/>
                      </a:lnTo>
                      <a:lnTo>
                        <a:pt x="7" y="47"/>
                      </a:lnTo>
                      <a:lnTo>
                        <a:pt x="7" y="41"/>
                      </a:lnTo>
                      <a:lnTo>
                        <a:pt x="5" y="36"/>
                      </a:lnTo>
                      <a:lnTo>
                        <a:pt x="5" y="31"/>
                      </a:lnTo>
                      <a:lnTo>
                        <a:pt x="5" y="31"/>
                      </a:lnTo>
                      <a:lnTo>
                        <a:pt x="7" y="24"/>
                      </a:lnTo>
                      <a:lnTo>
                        <a:pt x="10" y="19"/>
                      </a:lnTo>
                      <a:lnTo>
                        <a:pt x="12" y="14"/>
                      </a:lnTo>
                      <a:lnTo>
                        <a:pt x="10" y="8"/>
                      </a:lnTo>
                      <a:lnTo>
                        <a:pt x="10"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4" name="Freeform 2001">
                  <a:extLst>
                    <a:ext uri="{FF2B5EF4-FFF2-40B4-BE49-F238E27FC236}">
                      <a16:creationId xmlns:a16="http://schemas.microsoft.com/office/drawing/2014/main" id="{03EF9CE3-4D55-6501-B06D-E7E2671C89CE}"/>
                    </a:ext>
                  </a:extLst>
                </p:cNvPr>
                <p:cNvSpPr>
                  <a:spLocks/>
                </p:cNvSpPr>
                <p:nvPr/>
              </p:nvSpPr>
              <p:spPr bwMode="auto">
                <a:xfrm>
                  <a:off x="2982406" y="3611389"/>
                  <a:ext cx="19381" cy="31716"/>
                </a:xfrm>
                <a:custGeom>
                  <a:avLst/>
                  <a:gdLst/>
                  <a:ahLst/>
                  <a:cxnLst>
                    <a:cxn ang="0">
                      <a:pos x="10" y="38"/>
                    </a:cxn>
                    <a:cxn ang="0">
                      <a:pos x="10" y="38"/>
                    </a:cxn>
                    <a:cxn ang="0">
                      <a:pos x="5" y="33"/>
                    </a:cxn>
                    <a:cxn ang="0">
                      <a:pos x="2" y="29"/>
                    </a:cxn>
                    <a:cxn ang="0">
                      <a:pos x="0" y="26"/>
                    </a:cxn>
                    <a:cxn ang="0">
                      <a:pos x="4" y="19"/>
                    </a:cxn>
                    <a:cxn ang="0">
                      <a:pos x="4" y="19"/>
                    </a:cxn>
                    <a:cxn ang="0">
                      <a:pos x="5" y="10"/>
                    </a:cxn>
                    <a:cxn ang="0">
                      <a:pos x="5" y="5"/>
                    </a:cxn>
                    <a:cxn ang="0">
                      <a:pos x="5" y="1"/>
                    </a:cxn>
                    <a:cxn ang="0">
                      <a:pos x="9" y="0"/>
                    </a:cxn>
                    <a:cxn ang="0">
                      <a:pos x="9" y="0"/>
                    </a:cxn>
                    <a:cxn ang="0">
                      <a:pos x="12" y="1"/>
                    </a:cxn>
                    <a:cxn ang="0">
                      <a:pos x="12" y="5"/>
                    </a:cxn>
                    <a:cxn ang="0">
                      <a:pos x="14" y="10"/>
                    </a:cxn>
                    <a:cxn ang="0">
                      <a:pos x="17" y="15"/>
                    </a:cxn>
                    <a:cxn ang="0">
                      <a:pos x="17" y="15"/>
                    </a:cxn>
                    <a:cxn ang="0">
                      <a:pos x="23" y="21"/>
                    </a:cxn>
                    <a:cxn ang="0">
                      <a:pos x="24" y="26"/>
                    </a:cxn>
                    <a:cxn ang="0">
                      <a:pos x="23" y="29"/>
                    </a:cxn>
                    <a:cxn ang="0">
                      <a:pos x="21" y="33"/>
                    </a:cxn>
                    <a:cxn ang="0">
                      <a:pos x="21" y="33"/>
                    </a:cxn>
                    <a:cxn ang="0">
                      <a:pos x="16" y="38"/>
                    </a:cxn>
                    <a:cxn ang="0">
                      <a:pos x="14" y="40"/>
                    </a:cxn>
                    <a:cxn ang="0">
                      <a:pos x="10" y="38"/>
                    </a:cxn>
                    <a:cxn ang="0">
                      <a:pos x="10" y="38"/>
                    </a:cxn>
                  </a:cxnLst>
                  <a:rect l="0" t="0" r="r" b="b"/>
                  <a:pathLst>
                    <a:path w="24" h="40">
                      <a:moveTo>
                        <a:pt x="10" y="38"/>
                      </a:moveTo>
                      <a:lnTo>
                        <a:pt x="10" y="38"/>
                      </a:lnTo>
                      <a:lnTo>
                        <a:pt x="5" y="33"/>
                      </a:lnTo>
                      <a:lnTo>
                        <a:pt x="2" y="29"/>
                      </a:lnTo>
                      <a:lnTo>
                        <a:pt x="0" y="26"/>
                      </a:lnTo>
                      <a:lnTo>
                        <a:pt x="4" y="19"/>
                      </a:lnTo>
                      <a:lnTo>
                        <a:pt x="4" y="19"/>
                      </a:lnTo>
                      <a:lnTo>
                        <a:pt x="5" y="10"/>
                      </a:lnTo>
                      <a:lnTo>
                        <a:pt x="5" y="5"/>
                      </a:lnTo>
                      <a:lnTo>
                        <a:pt x="5" y="1"/>
                      </a:lnTo>
                      <a:lnTo>
                        <a:pt x="9" y="0"/>
                      </a:lnTo>
                      <a:lnTo>
                        <a:pt x="9" y="0"/>
                      </a:lnTo>
                      <a:lnTo>
                        <a:pt x="12" y="1"/>
                      </a:lnTo>
                      <a:lnTo>
                        <a:pt x="12" y="5"/>
                      </a:lnTo>
                      <a:lnTo>
                        <a:pt x="14" y="10"/>
                      </a:lnTo>
                      <a:lnTo>
                        <a:pt x="17" y="15"/>
                      </a:lnTo>
                      <a:lnTo>
                        <a:pt x="17" y="15"/>
                      </a:lnTo>
                      <a:lnTo>
                        <a:pt x="23" y="21"/>
                      </a:lnTo>
                      <a:lnTo>
                        <a:pt x="24" y="26"/>
                      </a:lnTo>
                      <a:lnTo>
                        <a:pt x="23" y="29"/>
                      </a:lnTo>
                      <a:lnTo>
                        <a:pt x="21" y="33"/>
                      </a:lnTo>
                      <a:lnTo>
                        <a:pt x="21" y="33"/>
                      </a:lnTo>
                      <a:lnTo>
                        <a:pt x="16" y="38"/>
                      </a:lnTo>
                      <a:lnTo>
                        <a:pt x="14" y="40"/>
                      </a:lnTo>
                      <a:lnTo>
                        <a:pt x="10" y="38"/>
                      </a:lnTo>
                      <a:lnTo>
                        <a:pt x="10"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5" name="Freeform 2002">
                  <a:extLst>
                    <a:ext uri="{FF2B5EF4-FFF2-40B4-BE49-F238E27FC236}">
                      <a16:creationId xmlns:a16="http://schemas.microsoft.com/office/drawing/2014/main" id="{BC1B73CF-E475-4373-DE12-BCE6D3853604}"/>
                    </a:ext>
                  </a:extLst>
                </p:cNvPr>
                <p:cNvSpPr>
                  <a:spLocks/>
                </p:cNvSpPr>
                <p:nvPr/>
              </p:nvSpPr>
              <p:spPr bwMode="auto">
                <a:xfrm>
                  <a:off x="2992979" y="3549721"/>
                  <a:ext cx="24669" cy="38764"/>
                </a:xfrm>
                <a:custGeom>
                  <a:avLst/>
                  <a:gdLst/>
                  <a:ahLst/>
                  <a:cxnLst>
                    <a:cxn ang="0">
                      <a:pos x="21" y="45"/>
                    </a:cxn>
                    <a:cxn ang="0">
                      <a:pos x="21" y="45"/>
                    </a:cxn>
                    <a:cxn ang="0">
                      <a:pos x="15" y="40"/>
                    </a:cxn>
                    <a:cxn ang="0">
                      <a:pos x="15" y="40"/>
                    </a:cxn>
                    <a:cxn ang="0">
                      <a:pos x="17" y="38"/>
                    </a:cxn>
                    <a:cxn ang="0">
                      <a:pos x="19" y="37"/>
                    </a:cxn>
                    <a:cxn ang="0">
                      <a:pos x="21" y="35"/>
                    </a:cxn>
                    <a:cxn ang="0">
                      <a:pos x="21" y="31"/>
                    </a:cxn>
                    <a:cxn ang="0">
                      <a:pos x="21" y="31"/>
                    </a:cxn>
                    <a:cxn ang="0">
                      <a:pos x="22" y="25"/>
                    </a:cxn>
                    <a:cxn ang="0">
                      <a:pos x="24" y="21"/>
                    </a:cxn>
                    <a:cxn ang="0">
                      <a:pos x="24" y="19"/>
                    </a:cxn>
                    <a:cxn ang="0">
                      <a:pos x="21" y="16"/>
                    </a:cxn>
                    <a:cxn ang="0">
                      <a:pos x="21" y="16"/>
                    </a:cxn>
                    <a:cxn ang="0">
                      <a:pos x="17" y="12"/>
                    </a:cxn>
                    <a:cxn ang="0">
                      <a:pos x="14" y="9"/>
                    </a:cxn>
                    <a:cxn ang="0">
                      <a:pos x="12" y="5"/>
                    </a:cxn>
                    <a:cxn ang="0">
                      <a:pos x="8" y="4"/>
                    </a:cxn>
                    <a:cxn ang="0">
                      <a:pos x="8" y="4"/>
                    </a:cxn>
                    <a:cxn ang="0">
                      <a:pos x="0" y="0"/>
                    </a:cxn>
                    <a:cxn ang="0">
                      <a:pos x="0" y="0"/>
                    </a:cxn>
                    <a:cxn ang="0">
                      <a:pos x="0" y="0"/>
                    </a:cxn>
                    <a:cxn ang="0">
                      <a:pos x="5" y="0"/>
                    </a:cxn>
                    <a:cxn ang="0">
                      <a:pos x="5" y="0"/>
                    </a:cxn>
                    <a:cxn ang="0">
                      <a:pos x="12" y="2"/>
                    </a:cxn>
                    <a:cxn ang="0">
                      <a:pos x="17" y="7"/>
                    </a:cxn>
                    <a:cxn ang="0">
                      <a:pos x="21" y="11"/>
                    </a:cxn>
                    <a:cxn ang="0">
                      <a:pos x="26" y="14"/>
                    </a:cxn>
                    <a:cxn ang="0">
                      <a:pos x="26" y="14"/>
                    </a:cxn>
                    <a:cxn ang="0">
                      <a:pos x="29" y="18"/>
                    </a:cxn>
                    <a:cxn ang="0">
                      <a:pos x="29" y="23"/>
                    </a:cxn>
                    <a:cxn ang="0">
                      <a:pos x="29" y="28"/>
                    </a:cxn>
                    <a:cxn ang="0">
                      <a:pos x="28" y="30"/>
                    </a:cxn>
                    <a:cxn ang="0">
                      <a:pos x="28" y="30"/>
                    </a:cxn>
                    <a:cxn ang="0">
                      <a:pos x="26" y="35"/>
                    </a:cxn>
                    <a:cxn ang="0">
                      <a:pos x="24" y="40"/>
                    </a:cxn>
                    <a:cxn ang="0">
                      <a:pos x="22" y="45"/>
                    </a:cxn>
                    <a:cxn ang="0">
                      <a:pos x="22" y="47"/>
                    </a:cxn>
                    <a:cxn ang="0">
                      <a:pos x="21" y="45"/>
                    </a:cxn>
                  </a:cxnLst>
                  <a:rect l="0" t="0" r="r" b="b"/>
                  <a:pathLst>
                    <a:path w="29" h="47">
                      <a:moveTo>
                        <a:pt x="21" y="45"/>
                      </a:moveTo>
                      <a:lnTo>
                        <a:pt x="21" y="45"/>
                      </a:lnTo>
                      <a:lnTo>
                        <a:pt x="15" y="40"/>
                      </a:lnTo>
                      <a:lnTo>
                        <a:pt x="15" y="40"/>
                      </a:lnTo>
                      <a:lnTo>
                        <a:pt x="17" y="38"/>
                      </a:lnTo>
                      <a:lnTo>
                        <a:pt x="19" y="37"/>
                      </a:lnTo>
                      <a:lnTo>
                        <a:pt x="21" y="35"/>
                      </a:lnTo>
                      <a:lnTo>
                        <a:pt x="21" y="31"/>
                      </a:lnTo>
                      <a:lnTo>
                        <a:pt x="21" y="31"/>
                      </a:lnTo>
                      <a:lnTo>
                        <a:pt x="22" y="25"/>
                      </a:lnTo>
                      <a:lnTo>
                        <a:pt x="24" y="21"/>
                      </a:lnTo>
                      <a:lnTo>
                        <a:pt x="24" y="19"/>
                      </a:lnTo>
                      <a:lnTo>
                        <a:pt x="21" y="16"/>
                      </a:lnTo>
                      <a:lnTo>
                        <a:pt x="21" y="16"/>
                      </a:lnTo>
                      <a:lnTo>
                        <a:pt x="17" y="12"/>
                      </a:lnTo>
                      <a:lnTo>
                        <a:pt x="14" y="9"/>
                      </a:lnTo>
                      <a:lnTo>
                        <a:pt x="12" y="5"/>
                      </a:lnTo>
                      <a:lnTo>
                        <a:pt x="8" y="4"/>
                      </a:lnTo>
                      <a:lnTo>
                        <a:pt x="8" y="4"/>
                      </a:lnTo>
                      <a:lnTo>
                        <a:pt x="0" y="0"/>
                      </a:lnTo>
                      <a:lnTo>
                        <a:pt x="0" y="0"/>
                      </a:lnTo>
                      <a:lnTo>
                        <a:pt x="0" y="0"/>
                      </a:lnTo>
                      <a:lnTo>
                        <a:pt x="5" y="0"/>
                      </a:lnTo>
                      <a:lnTo>
                        <a:pt x="5" y="0"/>
                      </a:lnTo>
                      <a:lnTo>
                        <a:pt x="12" y="2"/>
                      </a:lnTo>
                      <a:lnTo>
                        <a:pt x="17" y="7"/>
                      </a:lnTo>
                      <a:lnTo>
                        <a:pt x="21" y="11"/>
                      </a:lnTo>
                      <a:lnTo>
                        <a:pt x="26" y="14"/>
                      </a:lnTo>
                      <a:lnTo>
                        <a:pt x="26" y="14"/>
                      </a:lnTo>
                      <a:lnTo>
                        <a:pt x="29" y="18"/>
                      </a:lnTo>
                      <a:lnTo>
                        <a:pt x="29" y="23"/>
                      </a:lnTo>
                      <a:lnTo>
                        <a:pt x="29" y="28"/>
                      </a:lnTo>
                      <a:lnTo>
                        <a:pt x="28" y="30"/>
                      </a:lnTo>
                      <a:lnTo>
                        <a:pt x="28" y="30"/>
                      </a:lnTo>
                      <a:lnTo>
                        <a:pt x="26" y="35"/>
                      </a:lnTo>
                      <a:lnTo>
                        <a:pt x="24" y="40"/>
                      </a:lnTo>
                      <a:lnTo>
                        <a:pt x="22" y="45"/>
                      </a:lnTo>
                      <a:lnTo>
                        <a:pt x="22" y="47"/>
                      </a:lnTo>
                      <a:lnTo>
                        <a:pt x="21" y="4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6" name="Freeform 2003">
                  <a:extLst>
                    <a:ext uri="{FF2B5EF4-FFF2-40B4-BE49-F238E27FC236}">
                      <a16:creationId xmlns:a16="http://schemas.microsoft.com/office/drawing/2014/main" id="{64FB740A-ED44-356D-97C4-ED41A6C91844}"/>
                    </a:ext>
                  </a:extLst>
                </p:cNvPr>
                <p:cNvSpPr>
                  <a:spLocks/>
                </p:cNvSpPr>
                <p:nvPr/>
              </p:nvSpPr>
              <p:spPr bwMode="auto">
                <a:xfrm>
                  <a:off x="3063460" y="3666013"/>
                  <a:ext cx="15857" cy="29955"/>
                </a:xfrm>
                <a:custGeom>
                  <a:avLst/>
                  <a:gdLst/>
                  <a:ahLst/>
                  <a:cxnLst>
                    <a:cxn ang="0">
                      <a:pos x="12" y="26"/>
                    </a:cxn>
                    <a:cxn ang="0">
                      <a:pos x="12" y="26"/>
                    </a:cxn>
                    <a:cxn ang="0">
                      <a:pos x="7" y="22"/>
                    </a:cxn>
                    <a:cxn ang="0">
                      <a:pos x="7" y="21"/>
                    </a:cxn>
                    <a:cxn ang="0">
                      <a:pos x="8" y="21"/>
                    </a:cxn>
                    <a:cxn ang="0">
                      <a:pos x="7" y="15"/>
                    </a:cxn>
                    <a:cxn ang="0">
                      <a:pos x="7" y="15"/>
                    </a:cxn>
                    <a:cxn ang="0">
                      <a:pos x="2" y="3"/>
                    </a:cxn>
                    <a:cxn ang="0">
                      <a:pos x="0" y="0"/>
                    </a:cxn>
                    <a:cxn ang="0">
                      <a:pos x="2" y="1"/>
                    </a:cxn>
                    <a:cxn ang="0">
                      <a:pos x="2" y="1"/>
                    </a:cxn>
                    <a:cxn ang="0">
                      <a:pos x="5" y="5"/>
                    </a:cxn>
                    <a:cxn ang="0">
                      <a:pos x="8" y="10"/>
                    </a:cxn>
                    <a:cxn ang="0">
                      <a:pos x="12" y="19"/>
                    </a:cxn>
                    <a:cxn ang="0">
                      <a:pos x="12" y="19"/>
                    </a:cxn>
                    <a:cxn ang="0">
                      <a:pos x="12" y="21"/>
                    </a:cxn>
                    <a:cxn ang="0">
                      <a:pos x="14" y="24"/>
                    </a:cxn>
                    <a:cxn ang="0">
                      <a:pos x="19" y="31"/>
                    </a:cxn>
                    <a:cxn ang="0">
                      <a:pos x="19" y="31"/>
                    </a:cxn>
                    <a:cxn ang="0">
                      <a:pos x="19" y="36"/>
                    </a:cxn>
                    <a:cxn ang="0">
                      <a:pos x="17" y="33"/>
                    </a:cxn>
                    <a:cxn ang="0">
                      <a:pos x="17" y="33"/>
                    </a:cxn>
                    <a:cxn ang="0">
                      <a:pos x="12" y="26"/>
                    </a:cxn>
                    <a:cxn ang="0">
                      <a:pos x="12" y="26"/>
                    </a:cxn>
                  </a:cxnLst>
                  <a:rect l="0" t="0" r="r" b="b"/>
                  <a:pathLst>
                    <a:path w="19" h="36">
                      <a:moveTo>
                        <a:pt x="12" y="26"/>
                      </a:moveTo>
                      <a:lnTo>
                        <a:pt x="12" y="26"/>
                      </a:lnTo>
                      <a:lnTo>
                        <a:pt x="7" y="22"/>
                      </a:lnTo>
                      <a:lnTo>
                        <a:pt x="7" y="21"/>
                      </a:lnTo>
                      <a:lnTo>
                        <a:pt x="8" y="21"/>
                      </a:lnTo>
                      <a:lnTo>
                        <a:pt x="7" y="15"/>
                      </a:lnTo>
                      <a:lnTo>
                        <a:pt x="7" y="15"/>
                      </a:lnTo>
                      <a:lnTo>
                        <a:pt x="2" y="3"/>
                      </a:lnTo>
                      <a:lnTo>
                        <a:pt x="0" y="0"/>
                      </a:lnTo>
                      <a:lnTo>
                        <a:pt x="2" y="1"/>
                      </a:lnTo>
                      <a:lnTo>
                        <a:pt x="2" y="1"/>
                      </a:lnTo>
                      <a:lnTo>
                        <a:pt x="5" y="5"/>
                      </a:lnTo>
                      <a:lnTo>
                        <a:pt x="8" y="10"/>
                      </a:lnTo>
                      <a:lnTo>
                        <a:pt x="12" y="19"/>
                      </a:lnTo>
                      <a:lnTo>
                        <a:pt x="12" y="19"/>
                      </a:lnTo>
                      <a:lnTo>
                        <a:pt x="12" y="21"/>
                      </a:lnTo>
                      <a:lnTo>
                        <a:pt x="14" y="24"/>
                      </a:lnTo>
                      <a:lnTo>
                        <a:pt x="19" y="31"/>
                      </a:lnTo>
                      <a:lnTo>
                        <a:pt x="19" y="31"/>
                      </a:lnTo>
                      <a:lnTo>
                        <a:pt x="19" y="36"/>
                      </a:lnTo>
                      <a:lnTo>
                        <a:pt x="17" y="33"/>
                      </a:lnTo>
                      <a:lnTo>
                        <a:pt x="17" y="33"/>
                      </a:lnTo>
                      <a:lnTo>
                        <a:pt x="12" y="26"/>
                      </a:lnTo>
                      <a:lnTo>
                        <a:pt x="1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7" name="Freeform 2004">
                  <a:extLst>
                    <a:ext uri="{FF2B5EF4-FFF2-40B4-BE49-F238E27FC236}">
                      <a16:creationId xmlns:a16="http://schemas.microsoft.com/office/drawing/2014/main" id="{A0C7FC17-61C6-F463-FF27-EE2F5B681986}"/>
                    </a:ext>
                  </a:extLst>
                </p:cNvPr>
                <p:cNvSpPr>
                  <a:spLocks/>
                </p:cNvSpPr>
                <p:nvPr/>
              </p:nvSpPr>
              <p:spPr bwMode="auto">
                <a:xfrm>
                  <a:off x="3447574" y="3921504"/>
                  <a:ext cx="7048" cy="12334"/>
                </a:xfrm>
                <a:custGeom>
                  <a:avLst/>
                  <a:gdLst/>
                  <a:ahLst/>
                  <a:cxnLst>
                    <a:cxn ang="0">
                      <a:pos x="7" y="16"/>
                    </a:cxn>
                    <a:cxn ang="0">
                      <a:pos x="7" y="16"/>
                    </a:cxn>
                    <a:cxn ang="0">
                      <a:pos x="1" y="16"/>
                    </a:cxn>
                    <a:cxn ang="0">
                      <a:pos x="0" y="12"/>
                    </a:cxn>
                    <a:cxn ang="0">
                      <a:pos x="0" y="9"/>
                    </a:cxn>
                    <a:cxn ang="0">
                      <a:pos x="0" y="2"/>
                    </a:cxn>
                    <a:cxn ang="0">
                      <a:pos x="0" y="2"/>
                    </a:cxn>
                    <a:cxn ang="0">
                      <a:pos x="0" y="0"/>
                    </a:cxn>
                    <a:cxn ang="0">
                      <a:pos x="1" y="0"/>
                    </a:cxn>
                    <a:cxn ang="0">
                      <a:pos x="3" y="2"/>
                    </a:cxn>
                    <a:cxn ang="0">
                      <a:pos x="5" y="4"/>
                    </a:cxn>
                    <a:cxn ang="0">
                      <a:pos x="7" y="7"/>
                    </a:cxn>
                    <a:cxn ang="0">
                      <a:pos x="7" y="7"/>
                    </a:cxn>
                    <a:cxn ang="0">
                      <a:pos x="7" y="12"/>
                    </a:cxn>
                    <a:cxn ang="0">
                      <a:pos x="7" y="14"/>
                    </a:cxn>
                    <a:cxn ang="0">
                      <a:pos x="7" y="16"/>
                    </a:cxn>
                  </a:cxnLst>
                  <a:rect l="0" t="0" r="r" b="b"/>
                  <a:pathLst>
                    <a:path w="7" h="16">
                      <a:moveTo>
                        <a:pt x="7" y="16"/>
                      </a:moveTo>
                      <a:lnTo>
                        <a:pt x="7" y="16"/>
                      </a:lnTo>
                      <a:lnTo>
                        <a:pt x="1" y="16"/>
                      </a:lnTo>
                      <a:lnTo>
                        <a:pt x="0" y="12"/>
                      </a:lnTo>
                      <a:lnTo>
                        <a:pt x="0" y="9"/>
                      </a:lnTo>
                      <a:lnTo>
                        <a:pt x="0" y="2"/>
                      </a:lnTo>
                      <a:lnTo>
                        <a:pt x="0" y="2"/>
                      </a:lnTo>
                      <a:lnTo>
                        <a:pt x="0" y="0"/>
                      </a:lnTo>
                      <a:lnTo>
                        <a:pt x="1" y="0"/>
                      </a:lnTo>
                      <a:lnTo>
                        <a:pt x="3" y="2"/>
                      </a:lnTo>
                      <a:lnTo>
                        <a:pt x="5" y="4"/>
                      </a:lnTo>
                      <a:lnTo>
                        <a:pt x="7" y="7"/>
                      </a:lnTo>
                      <a:lnTo>
                        <a:pt x="7" y="7"/>
                      </a:lnTo>
                      <a:lnTo>
                        <a:pt x="7" y="12"/>
                      </a:lnTo>
                      <a:lnTo>
                        <a:pt x="7" y="14"/>
                      </a:lnTo>
                      <a:lnTo>
                        <a:pt x="7"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8" name="Freeform 2005">
                  <a:extLst>
                    <a:ext uri="{FF2B5EF4-FFF2-40B4-BE49-F238E27FC236}">
                      <a16:creationId xmlns:a16="http://schemas.microsoft.com/office/drawing/2014/main" id="{866BAF1B-9A63-5F24-0CC6-787CEEB0665E}"/>
                    </a:ext>
                  </a:extLst>
                </p:cNvPr>
                <p:cNvSpPr>
                  <a:spLocks/>
                </p:cNvSpPr>
                <p:nvPr/>
              </p:nvSpPr>
              <p:spPr bwMode="auto">
                <a:xfrm>
                  <a:off x="3294279" y="3847498"/>
                  <a:ext cx="45813" cy="19381"/>
                </a:xfrm>
                <a:custGeom>
                  <a:avLst/>
                  <a:gdLst/>
                  <a:ahLst/>
                  <a:cxnLst>
                    <a:cxn ang="0">
                      <a:pos x="0" y="16"/>
                    </a:cxn>
                    <a:cxn ang="0">
                      <a:pos x="0" y="16"/>
                    </a:cxn>
                    <a:cxn ang="0">
                      <a:pos x="0" y="9"/>
                    </a:cxn>
                    <a:cxn ang="0">
                      <a:pos x="0" y="5"/>
                    </a:cxn>
                    <a:cxn ang="0">
                      <a:pos x="3" y="2"/>
                    </a:cxn>
                    <a:cxn ang="0">
                      <a:pos x="7" y="0"/>
                    </a:cxn>
                    <a:cxn ang="0">
                      <a:pos x="19" y="0"/>
                    </a:cxn>
                    <a:cxn ang="0">
                      <a:pos x="36" y="2"/>
                    </a:cxn>
                    <a:cxn ang="0">
                      <a:pos x="36" y="2"/>
                    </a:cxn>
                    <a:cxn ang="0">
                      <a:pos x="45" y="3"/>
                    </a:cxn>
                    <a:cxn ang="0">
                      <a:pos x="50" y="5"/>
                    </a:cxn>
                    <a:cxn ang="0">
                      <a:pos x="54" y="9"/>
                    </a:cxn>
                    <a:cxn ang="0">
                      <a:pos x="56" y="10"/>
                    </a:cxn>
                    <a:cxn ang="0">
                      <a:pos x="54" y="14"/>
                    </a:cxn>
                    <a:cxn ang="0">
                      <a:pos x="50" y="17"/>
                    </a:cxn>
                    <a:cxn ang="0">
                      <a:pos x="42" y="23"/>
                    </a:cxn>
                    <a:cxn ang="0">
                      <a:pos x="42" y="23"/>
                    </a:cxn>
                    <a:cxn ang="0">
                      <a:pos x="33" y="24"/>
                    </a:cxn>
                    <a:cxn ang="0">
                      <a:pos x="28" y="23"/>
                    </a:cxn>
                    <a:cxn ang="0">
                      <a:pos x="24" y="23"/>
                    </a:cxn>
                    <a:cxn ang="0">
                      <a:pos x="14" y="23"/>
                    </a:cxn>
                    <a:cxn ang="0">
                      <a:pos x="14" y="23"/>
                    </a:cxn>
                    <a:cxn ang="0">
                      <a:pos x="5" y="24"/>
                    </a:cxn>
                    <a:cxn ang="0">
                      <a:pos x="2" y="23"/>
                    </a:cxn>
                    <a:cxn ang="0">
                      <a:pos x="0" y="21"/>
                    </a:cxn>
                    <a:cxn ang="0">
                      <a:pos x="0" y="16"/>
                    </a:cxn>
                  </a:cxnLst>
                  <a:rect l="0" t="0" r="r" b="b"/>
                  <a:pathLst>
                    <a:path w="56" h="24">
                      <a:moveTo>
                        <a:pt x="0" y="16"/>
                      </a:moveTo>
                      <a:lnTo>
                        <a:pt x="0" y="16"/>
                      </a:lnTo>
                      <a:lnTo>
                        <a:pt x="0" y="9"/>
                      </a:lnTo>
                      <a:lnTo>
                        <a:pt x="0" y="5"/>
                      </a:lnTo>
                      <a:lnTo>
                        <a:pt x="3" y="2"/>
                      </a:lnTo>
                      <a:lnTo>
                        <a:pt x="7" y="0"/>
                      </a:lnTo>
                      <a:lnTo>
                        <a:pt x="19" y="0"/>
                      </a:lnTo>
                      <a:lnTo>
                        <a:pt x="36" y="2"/>
                      </a:lnTo>
                      <a:lnTo>
                        <a:pt x="36" y="2"/>
                      </a:lnTo>
                      <a:lnTo>
                        <a:pt x="45" y="3"/>
                      </a:lnTo>
                      <a:lnTo>
                        <a:pt x="50" y="5"/>
                      </a:lnTo>
                      <a:lnTo>
                        <a:pt x="54" y="9"/>
                      </a:lnTo>
                      <a:lnTo>
                        <a:pt x="56" y="10"/>
                      </a:lnTo>
                      <a:lnTo>
                        <a:pt x="54" y="14"/>
                      </a:lnTo>
                      <a:lnTo>
                        <a:pt x="50" y="17"/>
                      </a:lnTo>
                      <a:lnTo>
                        <a:pt x="42" y="23"/>
                      </a:lnTo>
                      <a:lnTo>
                        <a:pt x="42" y="23"/>
                      </a:lnTo>
                      <a:lnTo>
                        <a:pt x="33" y="24"/>
                      </a:lnTo>
                      <a:lnTo>
                        <a:pt x="28" y="23"/>
                      </a:lnTo>
                      <a:lnTo>
                        <a:pt x="24" y="23"/>
                      </a:lnTo>
                      <a:lnTo>
                        <a:pt x="14" y="23"/>
                      </a:lnTo>
                      <a:lnTo>
                        <a:pt x="14" y="23"/>
                      </a:lnTo>
                      <a:lnTo>
                        <a:pt x="5" y="24"/>
                      </a:lnTo>
                      <a:lnTo>
                        <a:pt x="2" y="23"/>
                      </a:lnTo>
                      <a:lnTo>
                        <a:pt x="0" y="21"/>
                      </a:lnTo>
                      <a:lnTo>
                        <a:pt x="0"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9" name="Freeform 2006">
                  <a:extLst>
                    <a:ext uri="{FF2B5EF4-FFF2-40B4-BE49-F238E27FC236}">
                      <a16:creationId xmlns:a16="http://schemas.microsoft.com/office/drawing/2014/main" id="{1461D89E-8670-B87F-3287-B8778454F1D7}"/>
                    </a:ext>
                  </a:extLst>
                </p:cNvPr>
                <p:cNvSpPr>
                  <a:spLocks/>
                </p:cNvSpPr>
                <p:nvPr/>
              </p:nvSpPr>
              <p:spPr bwMode="auto">
                <a:xfrm>
                  <a:off x="6975104" y="3458096"/>
                  <a:ext cx="227298" cy="146247"/>
                </a:xfrm>
                <a:custGeom>
                  <a:avLst/>
                  <a:gdLst/>
                  <a:ahLst/>
                  <a:cxnLst>
                    <a:cxn ang="0">
                      <a:pos x="18" y="23"/>
                    </a:cxn>
                    <a:cxn ang="0">
                      <a:pos x="11" y="40"/>
                    </a:cxn>
                    <a:cxn ang="0">
                      <a:pos x="4" y="47"/>
                    </a:cxn>
                    <a:cxn ang="0">
                      <a:pos x="2" y="59"/>
                    </a:cxn>
                    <a:cxn ang="0">
                      <a:pos x="2" y="73"/>
                    </a:cxn>
                    <a:cxn ang="0">
                      <a:pos x="16" y="82"/>
                    </a:cxn>
                    <a:cxn ang="0">
                      <a:pos x="21" y="78"/>
                    </a:cxn>
                    <a:cxn ang="0">
                      <a:pos x="58" y="110"/>
                    </a:cxn>
                    <a:cxn ang="0">
                      <a:pos x="70" y="113"/>
                    </a:cxn>
                    <a:cxn ang="0">
                      <a:pos x="82" y="122"/>
                    </a:cxn>
                    <a:cxn ang="0">
                      <a:pos x="91" y="120"/>
                    </a:cxn>
                    <a:cxn ang="0">
                      <a:pos x="99" y="132"/>
                    </a:cxn>
                    <a:cxn ang="0">
                      <a:pos x="126" y="134"/>
                    </a:cxn>
                    <a:cxn ang="0">
                      <a:pos x="136" y="138"/>
                    </a:cxn>
                    <a:cxn ang="0">
                      <a:pos x="146" y="132"/>
                    </a:cxn>
                    <a:cxn ang="0">
                      <a:pos x="160" y="141"/>
                    </a:cxn>
                    <a:cxn ang="0">
                      <a:pos x="162" y="153"/>
                    </a:cxn>
                    <a:cxn ang="0">
                      <a:pos x="178" y="162"/>
                    </a:cxn>
                    <a:cxn ang="0">
                      <a:pos x="190" y="162"/>
                    </a:cxn>
                    <a:cxn ang="0">
                      <a:pos x="199" y="169"/>
                    </a:cxn>
                    <a:cxn ang="0">
                      <a:pos x="206" y="171"/>
                    </a:cxn>
                    <a:cxn ang="0">
                      <a:pos x="230" y="178"/>
                    </a:cxn>
                    <a:cxn ang="0">
                      <a:pos x="244" y="174"/>
                    </a:cxn>
                    <a:cxn ang="0">
                      <a:pos x="251" y="181"/>
                    </a:cxn>
                    <a:cxn ang="0">
                      <a:pos x="272" y="181"/>
                    </a:cxn>
                    <a:cxn ang="0">
                      <a:pos x="284" y="172"/>
                    </a:cxn>
                    <a:cxn ang="0">
                      <a:pos x="282" y="153"/>
                    </a:cxn>
                    <a:cxn ang="0">
                      <a:pos x="280" y="132"/>
                    </a:cxn>
                    <a:cxn ang="0">
                      <a:pos x="284" y="115"/>
                    </a:cxn>
                    <a:cxn ang="0">
                      <a:pos x="272" y="117"/>
                    </a:cxn>
                    <a:cxn ang="0">
                      <a:pos x="263" y="115"/>
                    </a:cxn>
                    <a:cxn ang="0">
                      <a:pos x="249" y="115"/>
                    </a:cxn>
                    <a:cxn ang="0">
                      <a:pos x="228" y="106"/>
                    </a:cxn>
                    <a:cxn ang="0">
                      <a:pos x="220" y="111"/>
                    </a:cxn>
                    <a:cxn ang="0">
                      <a:pos x="213" y="101"/>
                    </a:cxn>
                    <a:cxn ang="0">
                      <a:pos x="209" y="113"/>
                    </a:cxn>
                    <a:cxn ang="0">
                      <a:pos x="202" y="104"/>
                    </a:cxn>
                    <a:cxn ang="0">
                      <a:pos x="192" y="94"/>
                    </a:cxn>
                    <a:cxn ang="0">
                      <a:pos x="176" y="94"/>
                    </a:cxn>
                    <a:cxn ang="0">
                      <a:pos x="179" y="80"/>
                    </a:cxn>
                    <a:cxn ang="0">
                      <a:pos x="171" y="84"/>
                    </a:cxn>
                    <a:cxn ang="0">
                      <a:pos x="146" y="64"/>
                    </a:cxn>
                    <a:cxn ang="0">
                      <a:pos x="143" y="52"/>
                    </a:cxn>
                    <a:cxn ang="0">
                      <a:pos x="129" y="54"/>
                    </a:cxn>
                    <a:cxn ang="0">
                      <a:pos x="112" y="38"/>
                    </a:cxn>
                    <a:cxn ang="0">
                      <a:pos x="99" y="33"/>
                    </a:cxn>
                    <a:cxn ang="0">
                      <a:pos x="84" y="19"/>
                    </a:cxn>
                    <a:cxn ang="0">
                      <a:pos x="73" y="14"/>
                    </a:cxn>
                    <a:cxn ang="0">
                      <a:pos x="68" y="2"/>
                    </a:cxn>
                    <a:cxn ang="0">
                      <a:pos x="49" y="3"/>
                    </a:cxn>
                    <a:cxn ang="0">
                      <a:pos x="40" y="17"/>
                    </a:cxn>
                  </a:cxnLst>
                  <a:rect l="0" t="0" r="r" b="b"/>
                  <a:pathLst>
                    <a:path w="286" h="181">
                      <a:moveTo>
                        <a:pt x="33" y="9"/>
                      </a:moveTo>
                      <a:lnTo>
                        <a:pt x="33" y="9"/>
                      </a:lnTo>
                      <a:lnTo>
                        <a:pt x="25" y="16"/>
                      </a:lnTo>
                      <a:lnTo>
                        <a:pt x="18" y="23"/>
                      </a:lnTo>
                      <a:lnTo>
                        <a:pt x="14" y="26"/>
                      </a:lnTo>
                      <a:lnTo>
                        <a:pt x="12" y="30"/>
                      </a:lnTo>
                      <a:lnTo>
                        <a:pt x="11" y="37"/>
                      </a:lnTo>
                      <a:lnTo>
                        <a:pt x="11" y="40"/>
                      </a:lnTo>
                      <a:lnTo>
                        <a:pt x="7" y="42"/>
                      </a:lnTo>
                      <a:lnTo>
                        <a:pt x="7" y="42"/>
                      </a:lnTo>
                      <a:lnTo>
                        <a:pt x="5" y="45"/>
                      </a:lnTo>
                      <a:lnTo>
                        <a:pt x="4" y="47"/>
                      </a:lnTo>
                      <a:lnTo>
                        <a:pt x="5" y="50"/>
                      </a:lnTo>
                      <a:lnTo>
                        <a:pt x="5" y="54"/>
                      </a:lnTo>
                      <a:lnTo>
                        <a:pt x="5" y="57"/>
                      </a:lnTo>
                      <a:lnTo>
                        <a:pt x="2" y="59"/>
                      </a:lnTo>
                      <a:lnTo>
                        <a:pt x="2" y="59"/>
                      </a:lnTo>
                      <a:lnTo>
                        <a:pt x="0" y="63"/>
                      </a:lnTo>
                      <a:lnTo>
                        <a:pt x="0" y="68"/>
                      </a:lnTo>
                      <a:lnTo>
                        <a:pt x="2" y="73"/>
                      </a:lnTo>
                      <a:lnTo>
                        <a:pt x="5" y="77"/>
                      </a:lnTo>
                      <a:lnTo>
                        <a:pt x="9" y="80"/>
                      </a:lnTo>
                      <a:lnTo>
                        <a:pt x="12" y="82"/>
                      </a:lnTo>
                      <a:lnTo>
                        <a:pt x="16" y="82"/>
                      </a:lnTo>
                      <a:lnTo>
                        <a:pt x="16" y="80"/>
                      </a:lnTo>
                      <a:lnTo>
                        <a:pt x="16" y="80"/>
                      </a:lnTo>
                      <a:lnTo>
                        <a:pt x="18" y="77"/>
                      </a:lnTo>
                      <a:lnTo>
                        <a:pt x="21" y="78"/>
                      </a:lnTo>
                      <a:lnTo>
                        <a:pt x="30" y="85"/>
                      </a:lnTo>
                      <a:lnTo>
                        <a:pt x="51" y="104"/>
                      </a:lnTo>
                      <a:lnTo>
                        <a:pt x="51" y="104"/>
                      </a:lnTo>
                      <a:lnTo>
                        <a:pt x="58" y="110"/>
                      </a:lnTo>
                      <a:lnTo>
                        <a:pt x="61" y="113"/>
                      </a:lnTo>
                      <a:lnTo>
                        <a:pt x="65" y="113"/>
                      </a:lnTo>
                      <a:lnTo>
                        <a:pt x="66" y="113"/>
                      </a:lnTo>
                      <a:lnTo>
                        <a:pt x="70" y="113"/>
                      </a:lnTo>
                      <a:lnTo>
                        <a:pt x="72" y="115"/>
                      </a:lnTo>
                      <a:lnTo>
                        <a:pt x="77" y="118"/>
                      </a:lnTo>
                      <a:lnTo>
                        <a:pt x="77" y="118"/>
                      </a:lnTo>
                      <a:lnTo>
                        <a:pt x="82" y="122"/>
                      </a:lnTo>
                      <a:lnTo>
                        <a:pt x="84" y="124"/>
                      </a:lnTo>
                      <a:lnTo>
                        <a:pt x="87" y="124"/>
                      </a:lnTo>
                      <a:lnTo>
                        <a:pt x="89" y="122"/>
                      </a:lnTo>
                      <a:lnTo>
                        <a:pt x="91" y="120"/>
                      </a:lnTo>
                      <a:lnTo>
                        <a:pt x="92" y="125"/>
                      </a:lnTo>
                      <a:lnTo>
                        <a:pt x="92" y="125"/>
                      </a:lnTo>
                      <a:lnTo>
                        <a:pt x="96" y="131"/>
                      </a:lnTo>
                      <a:lnTo>
                        <a:pt x="99" y="132"/>
                      </a:lnTo>
                      <a:lnTo>
                        <a:pt x="103" y="134"/>
                      </a:lnTo>
                      <a:lnTo>
                        <a:pt x="108" y="134"/>
                      </a:lnTo>
                      <a:lnTo>
                        <a:pt x="120" y="132"/>
                      </a:lnTo>
                      <a:lnTo>
                        <a:pt x="126" y="134"/>
                      </a:lnTo>
                      <a:lnTo>
                        <a:pt x="131" y="136"/>
                      </a:lnTo>
                      <a:lnTo>
                        <a:pt x="131" y="136"/>
                      </a:lnTo>
                      <a:lnTo>
                        <a:pt x="134" y="138"/>
                      </a:lnTo>
                      <a:lnTo>
                        <a:pt x="136" y="138"/>
                      </a:lnTo>
                      <a:lnTo>
                        <a:pt x="138" y="134"/>
                      </a:lnTo>
                      <a:lnTo>
                        <a:pt x="139" y="132"/>
                      </a:lnTo>
                      <a:lnTo>
                        <a:pt x="141" y="132"/>
                      </a:lnTo>
                      <a:lnTo>
                        <a:pt x="146" y="132"/>
                      </a:lnTo>
                      <a:lnTo>
                        <a:pt x="152" y="134"/>
                      </a:lnTo>
                      <a:lnTo>
                        <a:pt x="152" y="134"/>
                      </a:lnTo>
                      <a:lnTo>
                        <a:pt x="157" y="138"/>
                      </a:lnTo>
                      <a:lnTo>
                        <a:pt x="160" y="141"/>
                      </a:lnTo>
                      <a:lnTo>
                        <a:pt x="162" y="144"/>
                      </a:lnTo>
                      <a:lnTo>
                        <a:pt x="162" y="148"/>
                      </a:lnTo>
                      <a:lnTo>
                        <a:pt x="162" y="150"/>
                      </a:lnTo>
                      <a:lnTo>
                        <a:pt x="162" y="153"/>
                      </a:lnTo>
                      <a:lnTo>
                        <a:pt x="166" y="155"/>
                      </a:lnTo>
                      <a:lnTo>
                        <a:pt x="171" y="157"/>
                      </a:lnTo>
                      <a:lnTo>
                        <a:pt x="171" y="157"/>
                      </a:lnTo>
                      <a:lnTo>
                        <a:pt x="178" y="162"/>
                      </a:lnTo>
                      <a:lnTo>
                        <a:pt x="181" y="164"/>
                      </a:lnTo>
                      <a:lnTo>
                        <a:pt x="183" y="164"/>
                      </a:lnTo>
                      <a:lnTo>
                        <a:pt x="190" y="162"/>
                      </a:lnTo>
                      <a:lnTo>
                        <a:pt x="190" y="162"/>
                      </a:lnTo>
                      <a:lnTo>
                        <a:pt x="193" y="160"/>
                      </a:lnTo>
                      <a:lnTo>
                        <a:pt x="197" y="162"/>
                      </a:lnTo>
                      <a:lnTo>
                        <a:pt x="199" y="167"/>
                      </a:lnTo>
                      <a:lnTo>
                        <a:pt x="199" y="169"/>
                      </a:lnTo>
                      <a:lnTo>
                        <a:pt x="200" y="171"/>
                      </a:lnTo>
                      <a:lnTo>
                        <a:pt x="202" y="172"/>
                      </a:lnTo>
                      <a:lnTo>
                        <a:pt x="206" y="171"/>
                      </a:lnTo>
                      <a:lnTo>
                        <a:pt x="206" y="171"/>
                      </a:lnTo>
                      <a:lnTo>
                        <a:pt x="211" y="169"/>
                      </a:lnTo>
                      <a:lnTo>
                        <a:pt x="216" y="169"/>
                      </a:lnTo>
                      <a:lnTo>
                        <a:pt x="223" y="174"/>
                      </a:lnTo>
                      <a:lnTo>
                        <a:pt x="230" y="178"/>
                      </a:lnTo>
                      <a:lnTo>
                        <a:pt x="235" y="179"/>
                      </a:lnTo>
                      <a:lnTo>
                        <a:pt x="239" y="176"/>
                      </a:lnTo>
                      <a:lnTo>
                        <a:pt x="239" y="176"/>
                      </a:lnTo>
                      <a:lnTo>
                        <a:pt x="244" y="174"/>
                      </a:lnTo>
                      <a:lnTo>
                        <a:pt x="246" y="174"/>
                      </a:lnTo>
                      <a:lnTo>
                        <a:pt x="247" y="178"/>
                      </a:lnTo>
                      <a:lnTo>
                        <a:pt x="247" y="179"/>
                      </a:lnTo>
                      <a:lnTo>
                        <a:pt x="251" y="181"/>
                      </a:lnTo>
                      <a:lnTo>
                        <a:pt x="254" y="181"/>
                      </a:lnTo>
                      <a:lnTo>
                        <a:pt x="261" y="181"/>
                      </a:lnTo>
                      <a:lnTo>
                        <a:pt x="261" y="181"/>
                      </a:lnTo>
                      <a:lnTo>
                        <a:pt x="272" y="181"/>
                      </a:lnTo>
                      <a:lnTo>
                        <a:pt x="279" y="181"/>
                      </a:lnTo>
                      <a:lnTo>
                        <a:pt x="279" y="181"/>
                      </a:lnTo>
                      <a:lnTo>
                        <a:pt x="280" y="181"/>
                      </a:lnTo>
                      <a:lnTo>
                        <a:pt x="284" y="172"/>
                      </a:lnTo>
                      <a:lnTo>
                        <a:pt x="284" y="172"/>
                      </a:lnTo>
                      <a:lnTo>
                        <a:pt x="286" y="167"/>
                      </a:lnTo>
                      <a:lnTo>
                        <a:pt x="286" y="162"/>
                      </a:lnTo>
                      <a:lnTo>
                        <a:pt x="282" y="153"/>
                      </a:lnTo>
                      <a:lnTo>
                        <a:pt x="279" y="144"/>
                      </a:lnTo>
                      <a:lnTo>
                        <a:pt x="279" y="139"/>
                      </a:lnTo>
                      <a:lnTo>
                        <a:pt x="280" y="132"/>
                      </a:lnTo>
                      <a:lnTo>
                        <a:pt x="280" y="132"/>
                      </a:lnTo>
                      <a:lnTo>
                        <a:pt x="286" y="124"/>
                      </a:lnTo>
                      <a:lnTo>
                        <a:pt x="286" y="118"/>
                      </a:lnTo>
                      <a:lnTo>
                        <a:pt x="286" y="117"/>
                      </a:lnTo>
                      <a:lnTo>
                        <a:pt x="284" y="115"/>
                      </a:lnTo>
                      <a:lnTo>
                        <a:pt x="284" y="115"/>
                      </a:lnTo>
                      <a:lnTo>
                        <a:pt x="279" y="113"/>
                      </a:lnTo>
                      <a:lnTo>
                        <a:pt x="275" y="113"/>
                      </a:lnTo>
                      <a:lnTo>
                        <a:pt x="272" y="117"/>
                      </a:lnTo>
                      <a:lnTo>
                        <a:pt x="272" y="117"/>
                      </a:lnTo>
                      <a:lnTo>
                        <a:pt x="268" y="118"/>
                      </a:lnTo>
                      <a:lnTo>
                        <a:pt x="267" y="117"/>
                      </a:lnTo>
                      <a:lnTo>
                        <a:pt x="263" y="115"/>
                      </a:lnTo>
                      <a:lnTo>
                        <a:pt x="256" y="117"/>
                      </a:lnTo>
                      <a:lnTo>
                        <a:pt x="256" y="117"/>
                      </a:lnTo>
                      <a:lnTo>
                        <a:pt x="253" y="117"/>
                      </a:lnTo>
                      <a:lnTo>
                        <a:pt x="249" y="115"/>
                      </a:lnTo>
                      <a:lnTo>
                        <a:pt x="240" y="110"/>
                      </a:lnTo>
                      <a:lnTo>
                        <a:pt x="233" y="104"/>
                      </a:lnTo>
                      <a:lnTo>
                        <a:pt x="230" y="104"/>
                      </a:lnTo>
                      <a:lnTo>
                        <a:pt x="228" y="106"/>
                      </a:lnTo>
                      <a:lnTo>
                        <a:pt x="228" y="106"/>
                      </a:lnTo>
                      <a:lnTo>
                        <a:pt x="227" y="111"/>
                      </a:lnTo>
                      <a:lnTo>
                        <a:pt x="223" y="113"/>
                      </a:lnTo>
                      <a:lnTo>
                        <a:pt x="220" y="111"/>
                      </a:lnTo>
                      <a:lnTo>
                        <a:pt x="216" y="104"/>
                      </a:lnTo>
                      <a:lnTo>
                        <a:pt x="216" y="104"/>
                      </a:lnTo>
                      <a:lnTo>
                        <a:pt x="213" y="101"/>
                      </a:lnTo>
                      <a:lnTo>
                        <a:pt x="213" y="101"/>
                      </a:lnTo>
                      <a:lnTo>
                        <a:pt x="213" y="104"/>
                      </a:lnTo>
                      <a:lnTo>
                        <a:pt x="213" y="111"/>
                      </a:lnTo>
                      <a:lnTo>
                        <a:pt x="211" y="113"/>
                      </a:lnTo>
                      <a:lnTo>
                        <a:pt x="209" y="113"/>
                      </a:lnTo>
                      <a:lnTo>
                        <a:pt x="209" y="113"/>
                      </a:lnTo>
                      <a:lnTo>
                        <a:pt x="207" y="113"/>
                      </a:lnTo>
                      <a:lnTo>
                        <a:pt x="206" y="111"/>
                      </a:lnTo>
                      <a:lnTo>
                        <a:pt x="202" y="104"/>
                      </a:lnTo>
                      <a:lnTo>
                        <a:pt x="199" y="97"/>
                      </a:lnTo>
                      <a:lnTo>
                        <a:pt x="195" y="96"/>
                      </a:lnTo>
                      <a:lnTo>
                        <a:pt x="192" y="94"/>
                      </a:lnTo>
                      <a:lnTo>
                        <a:pt x="192" y="94"/>
                      </a:lnTo>
                      <a:lnTo>
                        <a:pt x="185" y="96"/>
                      </a:lnTo>
                      <a:lnTo>
                        <a:pt x="179" y="96"/>
                      </a:lnTo>
                      <a:lnTo>
                        <a:pt x="178" y="96"/>
                      </a:lnTo>
                      <a:lnTo>
                        <a:pt x="176" y="94"/>
                      </a:lnTo>
                      <a:lnTo>
                        <a:pt x="178" y="89"/>
                      </a:lnTo>
                      <a:lnTo>
                        <a:pt x="178" y="89"/>
                      </a:lnTo>
                      <a:lnTo>
                        <a:pt x="179" y="82"/>
                      </a:lnTo>
                      <a:lnTo>
                        <a:pt x="179" y="80"/>
                      </a:lnTo>
                      <a:lnTo>
                        <a:pt x="178" y="80"/>
                      </a:lnTo>
                      <a:lnTo>
                        <a:pt x="174" y="84"/>
                      </a:lnTo>
                      <a:lnTo>
                        <a:pt x="174" y="84"/>
                      </a:lnTo>
                      <a:lnTo>
                        <a:pt x="171" y="84"/>
                      </a:lnTo>
                      <a:lnTo>
                        <a:pt x="167" y="84"/>
                      </a:lnTo>
                      <a:lnTo>
                        <a:pt x="159" y="78"/>
                      </a:lnTo>
                      <a:lnTo>
                        <a:pt x="150" y="70"/>
                      </a:lnTo>
                      <a:lnTo>
                        <a:pt x="146" y="64"/>
                      </a:lnTo>
                      <a:lnTo>
                        <a:pt x="146" y="59"/>
                      </a:lnTo>
                      <a:lnTo>
                        <a:pt x="146" y="59"/>
                      </a:lnTo>
                      <a:lnTo>
                        <a:pt x="145" y="54"/>
                      </a:lnTo>
                      <a:lnTo>
                        <a:pt x="143" y="52"/>
                      </a:lnTo>
                      <a:lnTo>
                        <a:pt x="141" y="50"/>
                      </a:lnTo>
                      <a:lnTo>
                        <a:pt x="136" y="52"/>
                      </a:lnTo>
                      <a:lnTo>
                        <a:pt x="129" y="54"/>
                      </a:lnTo>
                      <a:lnTo>
                        <a:pt x="129" y="54"/>
                      </a:lnTo>
                      <a:lnTo>
                        <a:pt x="126" y="54"/>
                      </a:lnTo>
                      <a:lnTo>
                        <a:pt x="124" y="52"/>
                      </a:lnTo>
                      <a:lnTo>
                        <a:pt x="119" y="45"/>
                      </a:lnTo>
                      <a:lnTo>
                        <a:pt x="112" y="38"/>
                      </a:lnTo>
                      <a:lnTo>
                        <a:pt x="108" y="35"/>
                      </a:lnTo>
                      <a:lnTo>
                        <a:pt x="105" y="35"/>
                      </a:lnTo>
                      <a:lnTo>
                        <a:pt x="105" y="35"/>
                      </a:lnTo>
                      <a:lnTo>
                        <a:pt x="99" y="33"/>
                      </a:lnTo>
                      <a:lnTo>
                        <a:pt x="96" y="31"/>
                      </a:lnTo>
                      <a:lnTo>
                        <a:pt x="92" y="28"/>
                      </a:lnTo>
                      <a:lnTo>
                        <a:pt x="87" y="23"/>
                      </a:lnTo>
                      <a:lnTo>
                        <a:pt x="84" y="19"/>
                      </a:lnTo>
                      <a:lnTo>
                        <a:pt x="80" y="17"/>
                      </a:lnTo>
                      <a:lnTo>
                        <a:pt x="80" y="17"/>
                      </a:lnTo>
                      <a:lnTo>
                        <a:pt x="75" y="16"/>
                      </a:lnTo>
                      <a:lnTo>
                        <a:pt x="73" y="14"/>
                      </a:lnTo>
                      <a:lnTo>
                        <a:pt x="73" y="9"/>
                      </a:lnTo>
                      <a:lnTo>
                        <a:pt x="73" y="7"/>
                      </a:lnTo>
                      <a:lnTo>
                        <a:pt x="72" y="3"/>
                      </a:lnTo>
                      <a:lnTo>
                        <a:pt x="68" y="2"/>
                      </a:lnTo>
                      <a:lnTo>
                        <a:pt x="63" y="0"/>
                      </a:lnTo>
                      <a:lnTo>
                        <a:pt x="63" y="0"/>
                      </a:lnTo>
                      <a:lnTo>
                        <a:pt x="54" y="0"/>
                      </a:lnTo>
                      <a:lnTo>
                        <a:pt x="49" y="3"/>
                      </a:lnTo>
                      <a:lnTo>
                        <a:pt x="45" y="7"/>
                      </a:lnTo>
                      <a:lnTo>
                        <a:pt x="44" y="12"/>
                      </a:lnTo>
                      <a:lnTo>
                        <a:pt x="42" y="16"/>
                      </a:lnTo>
                      <a:lnTo>
                        <a:pt x="40" y="17"/>
                      </a:lnTo>
                      <a:lnTo>
                        <a:pt x="37" y="16"/>
                      </a:lnTo>
                      <a:lnTo>
                        <a:pt x="33" y="9"/>
                      </a:lnTo>
                      <a:lnTo>
                        <a:pt x="33"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0" name="Freeform 2007">
                  <a:extLst>
                    <a:ext uri="{FF2B5EF4-FFF2-40B4-BE49-F238E27FC236}">
                      <a16:creationId xmlns:a16="http://schemas.microsoft.com/office/drawing/2014/main" id="{A9B07FCF-E522-6A02-AD23-0F3CBBAA1ED9}"/>
                    </a:ext>
                  </a:extLst>
                </p:cNvPr>
                <p:cNvSpPr>
                  <a:spLocks/>
                </p:cNvSpPr>
                <p:nvPr/>
              </p:nvSpPr>
              <p:spPr bwMode="auto">
                <a:xfrm>
                  <a:off x="7220019" y="3533864"/>
                  <a:ext cx="93387" cy="58146"/>
                </a:xfrm>
                <a:custGeom>
                  <a:avLst/>
                  <a:gdLst/>
                  <a:ahLst/>
                  <a:cxnLst>
                    <a:cxn ang="0">
                      <a:pos x="3" y="45"/>
                    </a:cxn>
                    <a:cxn ang="0">
                      <a:pos x="0" y="52"/>
                    </a:cxn>
                    <a:cxn ang="0">
                      <a:pos x="3" y="59"/>
                    </a:cxn>
                    <a:cxn ang="0">
                      <a:pos x="15" y="66"/>
                    </a:cxn>
                    <a:cxn ang="0">
                      <a:pos x="19" y="66"/>
                    </a:cxn>
                    <a:cxn ang="0">
                      <a:pos x="24" y="66"/>
                    </a:cxn>
                    <a:cxn ang="0">
                      <a:pos x="31" y="71"/>
                    </a:cxn>
                    <a:cxn ang="0">
                      <a:pos x="40" y="71"/>
                    </a:cxn>
                    <a:cxn ang="0">
                      <a:pos x="47" y="70"/>
                    </a:cxn>
                    <a:cxn ang="0">
                      <a:pos x="57" y="66"/>
                    </a:cxn>
                    <a:cxn ang="0">
                      <a:pos x="64" y="68"/>
                    </a:cxn>
                    <a:cxn ang="0">
                      <a:pos x="69" y="71"/>
                    </a:cxn>
                    <a:cxn ang="0">
                      <a:pos x="80" y="70"/>
                    </a:cxn>
                    <a:cxn ang="0">
                      <a:pos x="87" y="68"/>
                    </a:cxn>
                    <a:cxn ang="0">
                      <a:pos x="97" y="68"/>
                    </a:cxn>
                    <a:cxn ang="0">
                      <a:pos x="102" y="68"/>
                    </a:cxn>
                    <a:cxn ang="0">
                      <a:pos x="106" y="66"/>
                    </a:cxn>
                    <a:cxn ang="0">
                      <a:pos x="113" y="66"/>
                    </a:cxn>
                    <a:cxn ang="0">
                      <a:pos x="115" y="64"/>
                    </a:cxn>
                    <a:cxn ang="0">
                      <a:pos x="115" y="59"/>
                    </a:cxn>
                    <a:cxn ang="0">
                      <a:pos x="115" y="50"/>
                    </a:cxn>
                    <a:cxn ang="0">
                      <a:pos x="116" y="42"/>
                    </a:cxn>
                    <a:cxn ang="0">
                      <a:pos x="113" y="40"/>
                    </a:cxn>
                    <a:cxn ang="0">
                      <a:pos x="108" y="40"/>
                    </a:cxn>
                    <a:cxn ang="0">
                      <a:pos x="101" y="40"/>
                    </a:cxn>
                    <a:cxn ang="0">
                      <a:pos x="99" y="35"/>
                    </a:cxn>
                    <a:cxn ang="0">
                      <a:pos x="99" y="24"/>
                    </a:cxn>
                    <a:cxn ang="0">
                      <a:pos x="101" y="19"/>
                    </a:cxn>
                    <a:cxn ang="0">
                      <a:pos x="88" y="10"/>
                    </a:cxn>
                    <a:cxn ang="0">
                      <a:pos x="85" y="10"/>
                    </a:cxn>
                    <a:cxn ang="0">
                      <a:pos x="80" y="14"/>
                    </a:cxn>
                    <a:cxn ang="0">
                      <a:pos x="76" y="14"/>
                    </a:cxn>
                    <a:cxn ang="0">
                      <a:pos x="62" y="12"/>
                    </a:cxn>
                    <a:cxn ang="0">
                      <a:pos x="55" y="10"/>
                    </a:cxn>
                    <a:cxn ang="0">
                      <a:pos x="57" y="9"/>
                    </a:cxn>
                    <a:cxn ang="0">
                      <a:pos x="55" y="3"/>
                    </a:cxn>
                    <a:cxn ang="0">
                      <a:pos x="47" y="0"/>
                    </a:cxn>
                    <a:cxn ang="0">
                      <a:pos x="36" y="2"/>
                    </a:cxn>
                    <a:cxn ang="0">
                      <a:pos x="27" y="10"/>
                    </a:cxn>
                    <a:cxn ang="0">
                      <a:pos x="22" y="17"/>
                    </a:cxn>
                    <a:cxn ang="0">
                      <a:pos x="15" y="23"/>
                    </a:cxn>
                    <a:cxn ang="0">
                      <a:pos x="14" y="28"/>
                    </a:cxn>
                    <a:cxn ang="0">
                      <a:pos x="8" y="37"/>
                    </a:cxn>
                    <a:cxn ang="0">
                      <a:pos x="3" y="45"/>
                    </a:cxn>
                  </a:cxnLst>
                  <a:rect l="0" t="0" r="r" b="b"/>
                  <a:pathLst>
                    <a:path w="116" h="71">
                      <a:moveTo>
                        <a:pt x="3" y="45"/>
                      </a:moveTo>
                      <a:lnTo>
                        <a:pt x="3" y="45"/>
                      </a:lnTo>
                      <a:lnTo>
                        <a:pt x="0" y="49"/>
                      </a:lnTo>
                      <a:lnTo>
                        <a:pt x="0" y="52"/>
                      </a:lnTo>
                      <a:lnTo>
                        <a:pt x="0" y="56"/>
                      </a:lnTo>
                      <a:lnTo>
                        <a:pt x="3" y="59"/>
                      </a:lnTo>
                      <a:lnTo>
                        <a:pt x="10" y="66"/>
                      </a:lnTo>
                      <a:lnTo>
                        <a:pt x="15" y="66"/>
                      </a:lnTo>
                      <a:lnTo>
                        <a:pt x="19" y="66"/>
                      </a:lnTo>
                      <a:lnTo>
                        <a:pt x="19" y="66"/>
                      </a:lnTo>
                      <a:lnTo>
                        <a:pt x="20" y="66"/>
                      </a:lnTo>
                      <a:lnTo>
                        <a:pt x="24" y="66"/>
                      </a:lnTo>
                      <a:lnTo>
                        <a:pt x="29" y="70"/>
                      </a:lnTo>
                      <a:lnTo>
                        <a:pt x="31" y="71"/>
                      </a:lnTo>
                      <a:lnTo>
                        <a:pt x="34" y="71"/>
                      </a:lnTo>
                      <a:lnTo>
                        <a:pt x="40" y="71"/>
                      </a:lnTo>
                      <a:lnTo>
                        <a:pt x="47" y="70"/>
                      </a:lnTo>
                      <a:lnTo>
                        <a:pt x="47" y="70"/>
                      </a:lnTo>
                      <a:lnTo>
                        <a:pt x="54" y="66"/>
                      </a:lnTo>
                      <a:lnTo>
                        <a:pt x="57" y="66"/>
                      </a:lnTo>
                      <a:lnTo>
                        <a:pt x="61" y="66"/>
                      </a:lnTo>
                      <a:lnTo>
                        <a:pt x="64" y="68"/>
                      </a:lnTo>
                      <a:lnTo>
                        <a:pt x="66" y="70"/>
                      </a:lnTo>
                      <a:lnTo>
                        <a:pt x="69" y="71"/>
                      </a:lnTo>
                      <a:lnTo>
                        <a:pt x="74" y="71"/>
                      </a:lnTo>
                      <a:lnTo>
                        <a:pt x="80" y="70"/>
                      </a:lnTo>
                      <a:lnTo>
                        <a:pt x="80" y="70"/>
                      </a:lnTo>
                      <a:lnTo>
                        <a:pt x="87" y="68"/>
                      </a:lnTo>
                      <a:lnTo>
                        <a:pt x="92" y="68"/>
                      </a:lnTo>
                      <a:lnTo>
                        <a:pt x="97" y="68"/>
                      </a:lnTo>
                      <a:lnTo>
                        <a:pt x="101" y="70"/>
                      </a:lnTo>
                      <a:lnTo>
                        <a:pt x="102" y="68"/>
                      </a:lnTo>
                      <a:lnTo>
                        <a:pt x="102" y="68"/>
                      </a:lnTo>
                      <a:lnTo>
                        <a:pt x="106" y="66"/>
                      </a:lnTo>
                      <a:lnTo>
                        <a:pt x="108" y="64"/>
                      </a:lnTo>
                      <a:lnTo>
                        <a:pt x="113" y="66"/>
                      </a:lnTo>
                      <a:lnTo>
                        <a:pt x="115" y="66"/>
                      </a:lnTo>
                      <a:lnTo>
                        <a:pt x="115" y="64"/>
                      </a:lnTo>
                      <a:lnTo>
                        <a:pt x="115" y="59"/>
                      </a:lnTo>
                      <a:lnTo>
                        <a:pt x="115" y="59"/>
                      </a:lnTo>
                      <a:lnTo>
                        <a:pt x="113" y="54"/>
                      </a:lnTo>
                      <a:lnTo>
                        <a:pt x="115" y="50"/>
                      </a:lnTo>
                      <a:lnTo>
                        <a:pt x="115" y="44"/>
                      </a:lnTo>
                      <a:lnTo>
                        <a:pt x="116" y="42"/>
                      </a:lnTo>
                      <a:lnTo>
                        <a:pt x="115" y="40"/>
                      </a:lnTo>
                      <a:lnTo>
                        <a:pt x="113" y="40"/>
                      </a:lnTo>
                      <a:lnTo>
                        <a:pt x="108" y="40"/>
                      </a:lnTo>
                      <a:lnTo>
                        <a:pt x="108" y="40"/>
                      </a:lnTo>
                      <a:lnTo>
                        <a:pt x="104" y="40"/>
                      </a:lnTo>
                      <a:lnTo>
                        <a:pt x="101" y="40"/>
                      </a:lnTo>
                      <a:lnTo>
                        <a:pt x="101" y="38"/>
                      </a:lnTo>
                      <a:lnTo>
                        <a:pt x="99" y="35"/>
                      </a:lnTo>
                      <a:lnTo>
                        <a:pt x="99" y="30"/>
                      </a:lnTo>
                      <a:lnTo>
                        <a:pt x="99" y="24"/>
                      </a:lnTo>
                      <a:lnTo>
                        <a:pt x="99" y="24"/>
                      </a:lnTo>
                      <a:lnTo>
                        <a:pt x="101" y="19"/>
                      </a:lnTo>
                      <a:lnTo>
                        <a:pt x="97" y="16"/>
                      </a:lnTo>
                      <a:lnTo>
                        <a:pt x="88" y="10"/>
                      </a:lnTo>
                      <a:lnTo>
                        <a:pt x="88" y="10"/>
                      </a:lnTo>
                      <a:lnTo>
                        <a:pt x="85" y="10"/>
                      </a:lnTo>
                      <a:lnTo>
                        <a:pt x="83" y="12"/>
                      </a:lnTo>
                      <a:lnTo>
                        <a:pt x="80" y="14"/>
                      </a:lnTo>
                      <a:lnTo>
                        <a:pt x="76" y="14"/>
                      </a:lnTo>
                      <a:lnTo>
                        <a:pt x="76" y="14"/>
                      </a:lnTo>
                      <a:lnTo>
                        <a:pt x="71" y="12"/>
                      </a:lnTo>
                      <a:lnTo>
                        <a:pt x="62" y="12"/>
                      </a:lnTo>
                      <a:lnTo>
                        <a:pt x="57" y="12"/>
                      </a:lnTo>
                      <a:lnTo>
                        <a:pt x="55" y="10"/>
                      </a:lnTo>
                      <a:lnTo>
                        <a:pt x="57" y="9"/>
                      </a:lnTo>
                      <a:lnTo>
                        <a:pt x="57" y="9"/>
                      </a:lnTo>
                      <a:lnTo>
                        <a:pt x="57" y="5"/>
                      </a:lnTo>
                      <a:lnTo>
                        <a:pt x="55" y="3"/>
                      </a:lnTo>
                      <a:lnTo>
                        <a:pt x="52" y="2"/>
                      </a:lnTo>
                      <a:lnTo>
                        <a:pt x="47" y="0"/>
                      </a:lnTo>
                      <a:lnTo>
                        <a:pt x="41" y="2"/>
                      </a:lnTo>
                      <a:lnTo>
                        <a:pt x="36" y="2"/>
                      </a:lnTo>
                      <a:lnTo>
                        <a:pt x="31" y="5"/>
                      </a:lnTo>
                      <a:lnTo>
                        <a:pt x="27" y="10"/>
                      </a:lnTo>
                      <a:lnTo>
                        <a:pt x="27" y="10"/>
                      </a:lnTo>
                      <a:lnTo>
                        <a:pt x="22" y="17"/>
                      </a:lnTo>
                      <a:lnTo>
                        <a:pt x="19" y="19"/>
                      </a:lnTo>
                      <a:lnTo>
                        <a:pt x="15" y="23"/>
                      </a:lnTo>
                      <a:lnTo>
                        <a:pt x="14" y="28"/>
                      </a:lnTo>
                      <a:lnTo>
                        <a:pt x="14" y="28"/>
                      </a:lnTo>
                      <a:lnTo>
                        <a:pt x="12" y="35"/>
                      </a:lnTo>
                      <a:lnTo>
                        <a:pt x="8" y="37"/>
                      </a:lnTo>
                      <a:lnTo>
                        <a:pt x="7" y="38"/>
                      </a:lnTo>
                      <a:lnTo>
                        <a:pt x="3" y="45"/>
                      </a:lnTo>
                      <a:lnTo>
                        <a:pt x="3" y="4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1" name="Freeform 2008">
                  <a:extLst>
                    <a:ext uri="{FF2B5EF4-FFF2-40B4-BE49-F238E27FC236}">
                      <a16:creationId xmlns:a16="http://schemas.microsoft.com/office/drawing/2014/main" id="{954822FF-ECCF-7ED3-AA30-2F1C4E327B20}"/>
                    </a:ext>
                  </a:extLst>
                </p:cNvPr>
                <p:cNvSpPr>
                  <a:spLocks/>
                </p:cNvSpPr>
                <p:nvPr/>
              </p:nvSpPr>
              <p:spPr bwMode="auto">
                <a:xfrm>
                  <a:off x="7198876" y="3597295"/>
                  <a:ext cx="128627" cy="202630"/>
                </a:xfrm>
                <a:custGeom>
                  <a:avLst/>
                  <a:gdLst/>
                  <a:ahLst/>
                  <a:cxnLst>
                    <a:cxn ang="0">
                      <a:pos x="42" y="214"/>
                    </a:cxn>
                    <a:cxn ang="0">
                      <a:pos x="53" y="214"/>
                    </a:cxn>
                    <a:cxn ang="0">
                      <a:pos x="56" y="217"/>
                    </a:cxn>
                    <a:cxn ang="0">
                      <a:pos x="70" y="210"/>
                    </a:cxn>
                    <a:cxn ang="0">
                      <a:pos x="81" y="209"/>
                    </a:cxn>
                    <a:cxn ang="0">
                      <a:pos x="88" y="184"/>
                    </a:cxn>
                    <a:cxn ang="0">
                      <a:pos x="86" y="162"/>
                    </a:cxn>
                    <a:cxn ang="0">
                      <a:pos x="84" y="142"/>
                    </a:cxn>
                    <a:cxn ang="0">
                      <a:pos x="89" y="135"/>
                    </a:cxn>
                    <a:cxn ang="0">
                      <a:pos x="95" y="165"/>
                    </a:cxn>
                    <a:cxn ang="0">
                      <a:pos x="105" y="179"/>
                    </a:cxn>
                    <a:cxn ang="0">
                      <a:pos x="115" y="172"/>
                    </a:cxn>
                    <a:cxn ang="0">
                      <a:pos x="129" y="189"/>
                    </a:cxn>
                    <a:cxn ang="0">
                      <a:pos x="140" y="219"/>
                    </a:cxn>
                    <a:cxn ang="0">
                      <a:pos x="138" y="231"/>
                    </a:cxn>
                    <a:cxn ang="0">
                      <a:pos x="147" y="254"/>
                    </a:cxn>
                    <a:cxn ang="0">
                      <a:pos x="148" y="233"/>
                    </a:cxn>
                    <a:cxn ang="0">
                      <a:pos x="155" y="233"/>
                    </a:cxn>
                    <a:cxn ang="0">
                      <a:pos x="161" y="224"/>
                    </a:cxn>
                    <a:cxn ang="0">
                      <a:pos x="157" y="182"/>
                    </a:cxn>
                    <a:cxn ang="0">
                      <a:pos x="148" y="141"/>
                    </a:cxn>
                    <a:cxn ang="0">
                      <a:pos x="147" y="128"/>
                    </a:cxn>
                    <a:cxn ang="0">
                      <a:pos x="136" y="139"/>
                    </a:cxn>
                    <a:cxn ang="0">
                      <a:pos x="126" y="162"/>
                    </a:cxn>
                    <a:cxn ang="0">
                      <a:pos x="114" y="144"/>
                    </a:cxn>
                    <a:cxn ang="0">
                      <a:pos x="114" y="118"/>
                    </a:cxn>
                    <a:cxn ang="0">
                      <a:pos x="140" y="101"/>
                    </a:cxn>
                    <a:cxn ang="0">
                      <a:pos x="147" y="81"/>
                    </a:cxn>
                    <a:cxn ang="0">
                      <a:pos x="157" y="78"/>
                    </a:cxn>
                    <a:cxn ang="0">
                      <a:pos x="148" y="68"/>
                    </a:cxn>
                    <a:cxn ang="0">
                      <a:pos x="74" y="62"/>
                    </a:cxn>
                    <a:cxn ang="0">
                      <a:pos x="61" y="54"/>
                    </a:cxn>
                    <a:cxn ang="0">
                      <a:pos x="58" y="17"/>
                    </a:cxn>
                    <a:cxn ang="0">
                      <a:pos x="49" y="27"/>
                    </a:cxn>
                    <a:cxn ang="0">
                      <a:pos x="35" y="14"/>
                    </a:cxn>
                    <a:cxn ang="0">
                      <a:pos x="25" y="15"/>
                    </a:cxn>
                    <a:cxn ang="0">
                      <a:pos x="20" y="3"/>
                    </a:cxn>
                    <a:cxn ang="0">
                      <a:pos x="9" y="1"/>
                    </a:cxn>
                    <a:cxn ang="0">
                      <a:pos x="16" y="10"/>
                    </a:cxn>
                    <a:cxn ang="0">
                      <a:pos x="0" y="33"/>
                    </a:cxn>
                    <a:cxn ang="0">
                      <a:pos x="11" y="40"/>
                    </a:cxn>
                    <a:cxn ang="0">
                      <a:pos x="21" y="50"/>
                    </a:cxn>
                    <a:cxn ang="0">
                      <a:pos x="32" y="57"/>
                    </a:cxn>
                    <a:cxn ang="0">
                      <a:pos x="25" y="62"/>
                    </a:cxn>
                    <a:cxn ang="0">
                      <a:pos x="13" y="68"/>
                    </a:cxn>
                    <a:cxn ang="0">
                      <a:pos x="9" y="76"/>
                    </a:cxn>
                    <a:cxn ang="0">
                      <a:pos x="2" y="83"/>
                    </a:cxn>
                    <a:cxn ang="0">
                      <a:pos x="7" y="97"/>
                    </a:cxn>
                    <a:cxn ang="0">
                      <a:pos x="25" y="113"/>
                    </a:cxn>
                    <a:cxn ang="0">
                      <a:pos x="20" y="127"/>
                    </a:cxn>
                    <a:cxn ang="0">
                      <a:pos x="23" y="139"/>
                    </a:cxn>
                    <a:cxn ang="0">
                      <a:pos x="28" y="151"/>
                    </a:cxn>
                    <a:cxn ang="0">
                      <a:pos x="30" y="163"/>
                    </a:cxn>
                    <a:cxn ang="0">
                      <a:pos x="37" y="198"/>
                    </a:cxn>
                  </a:cxnLst>
                  <a:rect l="0" t="0" r="r" b="b"/>
                  <a:pathLst>
                    <a:path w="161" h="254">
                      <a:moveTo>
                        <a:pt x="37" y="205"/>
                      </a:moveTo>
                      <a:lnTo>
                        <a:pt x="37" y="205"/>
                      </a:lnTo>
                      <a:lnTo>
                        <a:pt x="39" y="210"/>
                      </a:lnTo>
                      <a:lnTo>
                        <a:pt x="42" y="214"/>
                      </a:lnTo>
                      <a:lnTo>
                        <a:pt x="44" y="214"/>
                      </a:lnTo>
                      <a:lnTo>
                        <a:pt x="46" y="214"/>
                      </a:lnTo>
                      <a:lnTo>
                        <a:pt x="51" y="212"/>
                      </a:lnTo>
                      <a:lnTo>
                        <a:pt x="53" y="214"/>
                      </a:lnTo>
                      <a:lnTo>
                        <a:pt x="53" y="215"/>
                      </a:lnTo>
                      <a:lnTo>
                        <a:pt x="53" y="215"/>
                      </a:lnTo>
                      <a:lnTo>
                        <a:pt x="54" y="217"/>
                      </a:lnTo>
                      <a:lnTo>
                        <a:pt x="56" y="217"/>
                      </a:lnTo>
                      <a:lnTo>
                        <a:pt x="61" y="212"/>
                      </a:lnTo>
                      <a:lnTo>
                        <a:pt x="65" y="207"/>
                      </a:lnTo>
                      <a:lnTo>
                        <a:pt x="68" y="207"/>
                      </a:lnTo>
                      <a:lnTo>
                        <a:pt x="70" y="210"/>
                      </a:lnTo>
                      <a:lnTo>
                        <a:pt x="70" y="210"/>
                      </a:lnTo>
                      <a:lnTo>
                        <a:pt x="74" y="212"/>
                      </a:lnTo>
                      <a:lnTo>
                        <a:pt x="77" y="212"/>
                      </a:lnTo>
                      <a:lnTo>
                        <a:pt x="81" y="209"/>
                      </a:lnTo>
                      <a:lnTo>
                        <a:pt x="84" y="203"/>
                      </a:lnTo>
                      <a:lnTo>
                        <a:pt x="86" y="198"/>
                      </a:lnTo>
                      <a:lnTo>
                        <a:pt x="88" y="191"/>
                      </a:lnTo>
                      <a:lnTo>
                        <a:pt x="88" y="184"/>
                      </a:lnTo>
                      <a:lnTo>
                        <a:pt x="88" y="179"/>
                      </a:lnTo>
                      <a:lnTo>
                        <a:pt x="88" y="179"/>
                      </a:lnTo>
                      <a:lnTo>
                        <a:pt x="84" y="170"/>
                      </a:lnTo>
                      <a:lnTo>
                        <a:pt x="86" y="162"/>
                      </a:lnTo>
                      <a:lnTo>
                        <a:pt x="86" y="155"/>
                      </a:lnTo>
                      <a:lnTo>
                        <a:pt x="86" y="148"/>
                      </a:lnTo>
                      <a:lnTo>
                        <a:pt x="86" y="148"/>
                      </a:lnTo>
                      <a:lnTo>
                        <a:pt x="84" y="142"/>
                      </a:lnTo>
                      <a:lnTo>
                        <a:pt x="86" y="142"/>
                      </a:lnTo>
                      <a:lnTo>
                        <a:pt x="88" y="137"/>
                      </a:lnTo>
                      <a:lnTo>
                        <a:pt x="88" y="137"/>
                      </a:lnTo>
                      <a:lnTo>
                        <a:pt x="89" y="135"/>
                      </a:lnTo>
                      <a:lnTo>
                        <a:pt x="91" y="135"/>
                      </a:lnTo>
                      <a:lnTo>
                        <a:pt x="93" y="142"/>
                      </a:lnTo>
                      <a:lnTo>
                        <a:pt x="95" y="165"/>
                      </a:lnTo>
                      <a:lnTo>
                        <a:pt x="95" y="165"/>
                      </a:lnTo>
                      <a:lnTo>
                        <a:pt x="98" y="174"/>
                      </a:lnTo>
                      <a:lnTo>
                        <a:pt x="100" y="177"/>
                      </a:lnTo>
                      <a:lnTo>
                        <a:pt x="101" y="179"/>
                      </a:lnTo>
                      <a:lnTo>
                        <a:pt x="105" y="179"/>
                      </a:lnTo>
                      <a:lnTo>
                        <a:pt x="108" y="179"/>
                      </a:lnTo>
                      <a:lnTo>
                        <a:pt x="114" y="175"/>
                      </a:lnTo>
                      <a:lnTo>
                        <a:pt x="114" y="175"/>
                      </a:lnTo>
                      <a:lnTo>
                        <a:pt x="115" y="172"/>
                      </a:lnTo>
                      <a:lnTo>
                        <a:pt x="119" y="172"/>
                      </a:lnTo>
                      <a:lnTo>
                        <a:pt x="121" y="174"/>
                      </a:lnTo>
                      <a:lnTo>
                        <a:pt x="124" y="177"/>
                      </a:lnTo>
                      <a:lnTo>
                        <a:pt x="129" y="189"/>
                      </a:lnTo>
                      <a:lnTo>
                        <a:pt x="136" y="207"/>
                      </a:lnTo>
                      <a:lnTo>
                        <a:pt x="136" y="207"/>
                      </a:lnTo>
                      <a:lnTo>
                        <a:pt x="138" y="215"/>
                      </a:lnTo>
                      <a:lnTo>
                        <a:pt x="140" y="219"/>
                      </a:lnTo>
                      <a:lnTo>
                        <a:pt x="142" y="221"/>
                      </a:lnTo>
                      <a:lnTo>
                        <a:pt x="140" y="224"/>
                      </a:lnTo>
                      <a:lnTo>
                        <a:pt x="140" y="224"/>
                      </a:lnTo>
                      <a:lnTo>
                        <a:pt x="138" y="231"/>
                      </a:lnTo>
                      <a:lnTo>
                        <a:pt x="138" y="236"/>
                      </a:lnTo>
                      <a:lnTo>
                        <a:pt x="143" y="247"/>
                      </a:lnTo>
                      <a:lnTo>
                        <a:pt x="143" y="247"/>
                      </a:lnTo>
                      <a:lnTo>
                        <a:pt x="147" y="254"/>
                      </a:lnTo>
                      <a:lnTo>
                        <a:pt x="147" y="252"/>
                      </a:lnTo>
                      <a:lnTo>
                        <a:pt x="147" y="243"/>
                      </a:lnTo>
                      <a:lnTo>
                        <a:pt x="147" y="243"/>
                      </a:lnTo>
                      <a:lnTo>
                        <a:pt x="148" y="233"/>
                      </a:lnTo>
                      <a:lnTo>
                        <a:pt x="148" y="229"/>
                      </a:lnTo>
                      <a:lnTo>
                        <a:pt x="150" y="229"/>
                      </a:lnTo>
                      <a:lnTo>
                        <a:pt x="152" y="229"/>
                      </a:lnTo>
                      <a:lnTo>
                        <a:pt x="155" y="233"/>
                      </a:lnTo>
                      <a:lnTo>
                        <a:pt x="159" y="236"/>
                      </a:lnTo>
                      <a:lnTo>
                        <a:pt x="161" y="236"/>
                      </a:lnTo>
                      <a:lnTo>
                        <a:pt x="161" y="235"/>
                      </a:lnTo>
                      <a:lnTo>
                        <a:pt x="161" y="224"/>
                      </a:lnTo>
                      <a:lnTo>
                        <a:pt x="161" y="205"/>
                      </a:lnTo>
                      <a:lnTo>
                        <a:pt x="161" y="205"/>
                      </a:lnTo>
                      <a:lnTo>
                        <a:pt x="159" y="193"/>
                      </a:lnTo>
                      <a:lnTo>
                        <a:pt x="157" y="182"/>
                      </a:lnTo>
                      <a:lnTo>
                        <a:pt x="152" y="168"/>
                      </a:lnTo>
                      <a:lnTo>
                        <a:pt x="148" y="156"/>
                      </a:lnTo>
                      <a:lnTo>
                        <a:pt x="148" y="149"/>
                      </a:lnTo>
                      <a:lnTo>
                        <a:pt x="148" y="141"/>
                      </a:lnTo>
                      <a:lnTo>
                        <a:pt x="148" y="141"/>
                      </a:lnTo>
                      <a:lnTo>
                        <a:pt x="148" y="135"/>
                      </a:lnTo>
                      <a:lnTo>
                        <a:pt x="148" y="130"/>
                      </a:lnTo>
                      <a:lnTo>
                        <a:pt x="147" y="128"/>
                      </a:lnTo>
                      <a:lnTo>
                        <a:pt x="145" y="128"/>
                      </a:lnTo>
                      <a:lnTo>
                        <a:pt x="142" y="128"/>
                      </a:lnTo>
                      <a:lnTo>
                        <a:pt x="140" y="132"/>
                      </a:lnTo>
                      <a:lnTo>
                        <a:pt x="136" y="139"/>
                      </a:lnTo>
                      <a:lnTo>
                        <a:pt x="136" y="139"/>
                      </a:lnTo>
                      <a:lnTo>
                        <a:pt x="133" y="151"/>
                      </a:lnTo>
                      <a:lnTo>
                        <a:pt x="129" y="158"/>
                      </a:lnTo>
                      <a:lnTo>
                        <a:pt x="126" y="162"/>
                      </a:lnTo>
                      <a:lnTo>
                        <a:pt x="122" y="162"/>
                      </a:lnTo>
                      <a:lnTo>
                        <a:pt x="119" y="158"/>
                      </a:lnTo>
                      <a:lnTo>
                        <a:pt x="115" y="153"/>
                      </a:lnTo>
                      <a:lnTo>
                        <a:pt x="114" y="144"/>
                      </a:lnTo>
                      <a:lnTo>
                        <a:pt x="110" y="134"/>
                      </a:lnTo>
                      <a:lnTo>
                        <a:pt x="110" y="134"/>
                      </a:lnTo>
                      <a:lnTo>
                        <a:pt x="112" y="125"/>
                      </a:lnTo>
                      <a:lnTo>
                        <a:pt x="114" y="118"/>
                      </a:lnTo>
                      <a:lnTo>
                        <a:pt x="121" y="113"/>
                      </a:lnTo>
                      <a:lnTo>
                        <a:pt x="126" y="109"/>
                      </a:lnTo>
                      <a:lnTo>
                        <a:pt x="133" y="104"/>
                      </a:lnTo>
                      <a:lnTo>
                        <a:pt x="140" y="101"/>
                      </a:lnTo>
                      <a:lnTo>
                        <a:pt x="143" y="95"/>
                      </a:lnTo>
                      <a:lnTo>
                        <a:pt x="145" y="87"/>
                      </a:lnTo>
                      <a:lnTo>
                        <a:pt x="145" y="87"/>
                      </a:lnTo>
                      <a:lnTo>
                        <a:pt x="147" y="81"/>
                      </a:lnTo>
                      <a:lnTo>
                        <a:pt x="148" y="78"/>
                      </a:lnTo>
                      <a:lnTo>
                        <a:pt x="152" y="76"/>
                      </a:lnTo>
                      <a:lnTo>
                        <a:pt x="154" y="76"/>
                      </a:lnTo>
                      <a:lnTo>
                        <a:pt x="157" y="78"/>
                      </a:lnTo>
                      <a:lnTo>
                        <a:pt x="154" y="73"/>
                      </a:lnTo>
                      <a:lnTo>
                        <a:pt x="154" y="73"/>
                      </a:lnTo>
                      <a:lnTo>
                        <a:pt x="152" y="69"/>
                      </a:lnTo>
                      <a:lnTo>
                        <a:pt x="148" y="68"/>
                      </a:lnTo>
                      <a:lnTo>
                        <a:pt x="136" y="66"/>
                      </a:lnTo>
                      <a:lnTo>
                        <a:pt x="105" y="66"/>
                      </a:lnTo>
                      <a:lnTo>
                        <a:pt x="88" y="64"/>
                      </a:lnTo>
                      <a:lnTo>
                        <a:pt x="74" y="62"/>
                      </a:lnTo>
                      <a:lnTo>
                        <a:pt x="65" y="59"/>
                      </a:lnTo>
                      <a:lnTo>
                        <a:pt x="63" y="57"/>
                      </a:lnTo>
                      <a:lnTo>
                        <a:pt x="61" y="54"/>
                      </a:lnTo>
                      <a:lnTo>
                        <a:pt x="61" y="54"/>
                      </a:lnTo>
                      <a:lnTo>
                        <a:pt x="61" y="40"/>
                      </a:lnTo>
                      <a:lnTo>
                        <a:pt x="61" y="26"/>
                      </a:lnTo>
                      <a:lnTo>
                        <a:pt x="60" y="17"/>
                      </a:lnTo>
                      <a:lnTo>
                        <a:pt x="58" y="17"/>
                      </a:lnTo>
                      <a:lnTo>
                        <a:pt x="54" y="20"/>
                      </a:lnTo>
                      <a:lnTo>
                        <a:pt x="54" y="20"/>
                      </a:lnTo>
                      <a:lnTo>
                        <a:pt x="53" y="26"/>
                      </a:lnTo>
                      <a:lnTo>
                        <a:pt x="49" y="27"/>
                      </a:lnTo>
                      <a:lnTo>
                        <a:pt x="46" y="26"/>
                      </a:lnTo>
                      <a:lnTo>
                        <a:pt x="44" y="22"/>
                      </a:lnTo>
                      <a:lnTo>
                        <a:pt x="39" y="15"/>
                      </a:lnTo>
                      <a:lnTo>
                        <a:pt x="35" y="14"/>
                      </a:lnTo>
                      <a:lnTo>
                        <a:pt x="32" y="14"/>
                      </a:lnTo>
                      <a:lnTo>
                        <a:pt x="32" y="14"/>
                      </a:lnTo>
                      <a:lnTo>
                        <a:pt x="28" y="15"/>
                      </a:lnTo>
                      <a:lnTo>
                        <a:pt x="25" y="15"/>
                      </a:lnTo>
                      <a:lnTo>
                        <a:pt x="23" y="14"/>
                      </a:lnTo>
                      <a:lnTo>
                        <a:pt x="23" y="12"/>
                      </a:lnTo>
                      <a:lnTo>
                        <a:pt x="21" y="7"/>
                      </a:lnTo>
                      <a:lnTo>
                        <a:pt x="20" y="3"/>
                      </a:lnTo>
                      <a:lnTo>
                        <a:pt x="16" y="1"/>
                      </a:lnTo>
                      <a:lnTo>
                        <a:pt x="16" y="1"/>
                      </a:lnTo>
                      <a:lnTo>
                        <a:pt x="11" y="0"/>
                      </a:lnTo>
                      <a:lnTo>
                        <a:pt x="9" y="1"/>
                      </a:lnTo>
                      <a:lnTo>
                        <a:pt x="11" y="3"/>
                      </a:lnTo>
                      <a:lnTo>
                        <a:pt x="14" y="8"/>
                      </a:lnTo>
                      <a:lnTo>
                        <a:pt x="14" y="8"/>
                      </a:lnTo>
                      <a:lnTo>
                        <a:pt x="16" y="10"/>
                      </a:lnTo>
                      <a:lnTo>
                        <a:pt x="14" y="14"/>
                      </a:lnTo>
                      <a:lnTo>
                        <a:pt x="7" y="22"/>
                      </a:lnTo>
                      <a:lnTo>
                        <a:pt x="0" y="31"/>
                      </a:lnTo>
                      <a:lnTo>
                        <a:pt x="0" y="33"/>
                      </a:lnTo>
                      <a:lnTo>
                        <a:pt x="4" y="36"/>
                      </a:lnTo>
                      <a:lnTo>
                        <a:pt x="4" y="36"/>
                      </a:lnTo>
                      <a:lnTo>
                        <a:pt x="7" y="38"/>
                      </a:lnTo>
                      <a:lnTo>
                        <a:pt x="11" y="40"/>
                      </a:lnTo>
                      <a:lnTo>
                        <a:pt x="14" y="45"/>
                      </a:lnTo>
                      <a:lnTo>
                        <a:pt x="16" y="48"/>
                      </a:lnTo>
                      <a:lnTo>
                        <a:pt x="18" y="50"/>
                      </a:lnTo>
                      <a:lnTo>
                        <a:pt x="21" y="50"/>
                      </a:lnTo>
                      <a:lnTo>
                        <a:pt x="21" y="50"/>
                      </a:lnTo>
                      <a:lnTo>
                        <a:pt x="27" y="50"/>
                      </a:lnTo>
                      <a:lnTo>
                        <a:pt x="28" y="50"/>
                      </a:lnTo>
                      <a:lnTo>
                        <a:pt x="32" y="57"/>
                      </a:lnTo>
                      <a:lnTo>
                        <a:pt x="32" y="57"/>
                      </a:lnTo>
                      <a:lnTo>
                        <a:pt x="34" y="62"/>
                      </a:lnTo>
                      <a:lnTo>
                        <a:pt x="34" y="64"/>
                      </a:lnTo>
                      <a:lnTo>
                        <a:pt x="25" y="62"/>
                      </a:lnTo>
                      <a:lnTo>
                        <a:pt x="16" y="62"/>
                      </a:lnTo>
                      <a:lnTo>
                        <a:pt x="14" y="64"/>
                      </a:lnTo>
                      <a:lnTo>
                        <a:pt x="13" y="68"/>
                      </a:lnTo>
                      <a:lnTo>
                        <a:pt x="13" y="68"/>
                      </a:lnTo>
                      <a:lnTo>
                        <a:pt x="13" y="73"/>
                      </a:lnTo>
                      <a:lnTo>
                        <a:pt x="13" y="76"/>
                      </a:lnTo>
                      <a:lnTo>
                        <a:pt x="11" y="76"/>
                      </a:lnTo>
                      <a:lnTo>
                        <a:pt x="9" y="76"/>
                      </a:lnTo>
                      <a:lnTo>
                        <a:pt x="7" y="76"/>
                      </a:lnTo>
                      <a:lnTo>
                        <a:pt x="4" y="76"/>
                      </a:lnTo>
                      <a:lnTo>
                        <a:pt x="2" y="78"/>
                      </a:lnTo>
                      <a:lnTo>
                        <a:pt x="2" y="83"/>
                      </a:lnTo>
                      <a:lnTo>
                        <a:pt x="2" y="83"/>
                      </a:lnTo>
                      <a:lnTo>
                        <a:pt x="0" y="90"/>
                      </a:lnTo>
                      <a:lnTo>
                        <a:pt x="4" y="95"/>
                      </a:lnTo>
                      <a:lnTo>
                        <a:pt x="7" y="97"/>
                      </a:lnTo>
                      <a:lnTo>
                        <a:pt x="11" y="99"/>
                      </a:lnTo>
                      <a:lnTo>
                        <a:pt x="20" y="102"/>
                      </a:lnTo>
                      <a:lnTo>
                        <a:pt x="23" y="106"/>
                      </a:lnTo>
                      <a:lnTo>
                        <a:pt x="25" y="113"/>
                      </a:lnTo>
                      <a:lnTo>
                        <a:pt x="25" y="113"/>
                      </a:lnTo>
                      <a:lnTo>
                        <a:pt x="25" y="118"/>
                      </a:lnTo>
                      <a:lnTo>
                        <a:pt x="23" y="123"/>
                      </a:lnTo>
                      <a:lnTo>
                        <a:pt x="20" y="127"/>
                      </a:lnTo>
                      <a:lnTo>
                        <a:pt x="18" y="130"/>
                      </a:lnTo>
                      <a:lnTo>
                        <a:pt x="21" y="135"/>
                      </a:lnTo>
                      <a:lnTo>
                        <a:pt x="21" y="135"/>
                      </a:lnTo>
                      <a:lnTo>
                        <a:pt x="23" y="139"/>
                      </a:lnTo>
                      <a:lnTo>
                        <a:pt x="25" y="141"/>
                      </a:lnTo>
                      <a:lnTo>
                        <a:pt x="25" y="146"/>
                      </a:lnTo>
                      <a:lnTo>
                        <a:pt x="23" y="149"/>
                      </a:lnTo>
                      <a:lnTo>
                        <a:pt x="28" y="151"/>
                      </a:lnTo>
                      <a:lnTo>
                        <a:pt x="28" y="151"/>
                      </a:lnTo>
                      <a:lnTo>
                        <a:pt x="32" y="153"/>
                      </a:lnTo>
                      <a:lnTo>
                        <a:pt x="32" y="155"/>
                      </a:lnTo>
                      <a:lnTo>
                        <a:pt x="30" y="163"/>
                      </a:lnTo>
                      <a:lnTo>
                        <a:pt x="32" y="177"/>
                      </a:lnTo>
                      <a:lnTo>
                        <a:pt x="32" y="177"/>
                      </a:lnTo>
                      <a:lnTo>
                        <a:pt x="35" y="193"/>
                      </a:lnTo>
                      <a:lnTo>
                        <a:pt x="37" y="198"/>
                      </a:lnTo>
                      <a:lnTo>
                        <a:pt x="37" y="205"/>
                      </a:lnTo>
                      <a:lnTo>
                        <a:pt x="37" y="20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2" name="Freeform 2009">
                  <a:extLst>
                    <a:ext uri="{FF2B5EF4-FFF2-40B4-BE49-F238E27FC236}">
                      <a16:creationId xmlns:a16="http://schemas.microsoft.com/office/drawing/2014/main" id="{0A4585FC-EC3C-3D2E-1B51-7F5AFF14205E}"/>
                    </a:ext>
                  </a:extLst>
                </p:cNvPr>
                <p:cNvSpPr>
                  <a:spLocks/>
                </p:cNvSpPr>
                <p:nvPr/>
              </p:nvSpPr>
              <p:spPr bwMode="auto">
                <a:xfrm>
                  <a:off x="6196298" y="2992927"/>
                  <a:ext cx="401737" cy="288969"/>
                </a:xfrm>
                <a:custGeom>
                  <a:avLst/>
                  <a:gdLst/>
                  <a:ahLst/>
                  <a:cxnLst>
                    <a:cxn ang="0">
                      <a:pos x="7" y="65"/>
                    </a:cxn>
                    <a:cxn ang="0">
                      <a:pos x="18" y="56"/>
                    </a:cxn>
                    <a:cxn ang="0">
                      <a:pos x="23" y="35"/>
                    </a:cxn>
                    <a:cxn ang="0">
                      <a:pos x="53" y="39"/>
                    </a:cxn>
                    <a:cxn ang="0">
                      <a:pos x="73" y="75"/>
                    </a:cxn>
                    <a:cxn ang="0">
                      <a:pos x="77" y="94"/>
                    </a:cxn>
                    <a:cxn ang="0">
                      <a:pos x="68" y="98"/>
                    </a:cxn>
                    <a:cxn ang="0">
                      <a:pos x="46" y="100"/>
                    </a:cxn>
                    <a:cxn ang="0">
                      <a:pos x="35" y="96"/>
                    </a:cxn>
                    <a:cxn ang="0">
                      <a:pos x="23" y="89"/>
                    </a:cxn>
                    <a:cxn ang="0">
                      <a:pos x="12" y="108"/>
                    </a:cxn>
                    <a:cxn ang="0">
                      <a:pos x="21" y="145"/>
                    </a:cxn>
                    <a:cxn ang="0">
                      <a:pos x="25" y="136"/>
                    </a:cxn>
                    <a:cxn ang="0">
                      <a:pos x="35" y="148"/>
                    </a:cxn>
                    <a:cxn ang="0">
                      <a:pos x="37" y="159"/>
                    </a:cxn>
                    <a:cxn ang="0">
                      <a:pos x="28" y="152"/>
                    </a:cxn>
                    <a:cxn ang="0">
                      <a:pos x="28" y="173"/>
                    </a:cxn>
                    <a:cxn ang="0">
                      <a:pos x="40" y="169"/>
                    </a:cxn>
                    <a:cxn ang="0">
                      <a:pos x="54" y="192"/>
                    </a:cxn>
                    <a:cxn ang="0">
                      <a:pos x="53" y="260"/>
                    </a:cxn>
                    <a:cxn ang="0">
                      <a:pos x="89" y="237"/>
                    </a:cxn>
                    <a:cxn ang="0">
                      <a:pos x="136" y="227"/>
                    </a:cxn>
                    <a:cxn ang="0">
                      <a:pos x="157" y="220"/>
                    </a:cxn>
                    <a:cxn ang="0">
                      <a:pos x="171" y="222"/>
                    </a:cxn>
                    <a:cxn ang="0">
                      <a:pos x="204" y="242"/>
                    </a:cxn>
                    <a:cxn ang="0">
                      <a:pos x="230" y="246"/>
                    </a:cxn>
                    <a:cxn ang="0">
                      <a:pos x="249" y="267"/>
                    </a:cxn>
                    <a:cxn ang="0">
                      <a:pos x="279" y="293"/>
                    </a:cxn>
                    <a:cxn ang="0">
                      <a:pos x="308" y="300"/>
                    </a:cxn>
                    <a:cxn ang="0">
                      <a:pos x="305" y="324"/>
                    </a:cxn>
                    <a:cxn ang="0">
                      <a:pos x="312" y="342"/>
                    </a:cxn>
                    <a:cxn ang="0">
                      <a:pos x="329" y="350"/>
                    </a:cxn>
                    <a:cxn ang="0">
                      <a:pos x="347" y="361"/>
                    </a:cxn>
                    <a:cxn ang="0">
                      <a:pos x="383" y="335"/>
                    </a:cxn>
                    <a:cxn ang="0">
                      <a:pos x="422" y="312"/>
                    </a:cxn>
                    <a:cxn ang="0">
                      <a:pos x="443" y="269"/>
                    </a:cxn>
                    <a:cxn ang="0">
                      <a:pos x="472" y="251"/>
                    </a:cxn>
                    <a:cxn ang="0">
                      <a:pos x="495" y="244"/>
                    </a:cxn>
                    <a:cxn ang="0">
                      <a:pos x="481" y="220"/>
                    </a:cxn>
                    <a:cxn ang="0">
                      <a:pos x="441" y="201"/>
                    </a:cxn>
                    <a:cxn ang="0">
                      <a:pos x="396" y="171"/>
                    </a:cxn>
                    <a:cxn ang="0">
                      <a:pos x="349" y="117"/>
                    </a:cxn>
                    <a:cxn ang="0">
                      <a:pos x="335" y="82"/>
                    </a:cxn>
                    <a:cxn ang="0">
                      <a:pos x="315" y="75"/>
                    </a:cxn>
                    <a:cxn ang="0">
                      <a:pos x="291" y="75"/>
                    </a:cxn>
                    <a:cxn ang="0">
                      <a:pos x="268" y="61"/>
                    </a:cxn>
                    <a:cxn ang="0">
                      <a:pos x="268" y="51"/>
                    </a:cxn>
                    <a:cxn ang="0">
                      <a:pos x="267" y="35"/>
                    </a:cxn>
                    <a:cxn ang="0">
                      <a:pos x="260" y="23"/>
                    </a:cxn>
                    <a:cxn ang="0">
                      <a:pos x="234" y="13"/>
                    </a:cxn>
                    <a:cxn ang="0">
                      <a:pos x="216" y="0"/>
                    </a:cxn>
                    <a:cxn ang="0">
                      <a:pos x="202" y="9"/>
                    </a:cxn>
                    <a:cxn ang="0">
                      <a:pos x="194" y="21"/>
                    </a:cxn>
                    <a:cxn ang="0">
                      <a:pos x="162" y="42"/>
                    </a:cxn>
                    <a:cxn ang="0">
                      <a:pos x="166" y="68"/>
                    </a:cxn>
                    <a:cxn ang="0">
                      <a:pos x="126" y="70"/>
                    </a:cxn>
                    <a:cxn ang="0">
                      <a:pos x="103" y="68"/>
                    </a:cxn>
                    <a:cxn ang="0">
                      <a:pos x="56" y="21"/>
                    </a:cxn>
                    <a:cxn ang="0">
                      <a:pos x="0" y="49"/>
                    </a:cxn>
                  </a:cxnLst>
                  <a:rect l="0" t="0" r="r" b="b"/>
                  <a:pathLst>
                    <a:path w="500" h="361">
                      <a:moveTo>
                        <a:pt x="0" y="49"/>
                      </a:moveTo>
                      <a:lnTo>
                        <a:pt x="0" y="49"/>
                      </a:lnTo>
                      <a:lnTo>
                        <a:pt x="6" y="54"/>
                      </a:lnTo>
                      <a:lnTo>
                        <a:pt x="7" y="58"/>
                      </a:lnTo>
                      <a:lnTo>
                        <a:pt x="6" y="60"/>
                      </a:lnTo>
                      <a:lnTo>
                        <a:pt x="7" y="65"/>
                      </a:lnTo>
                      <a:lnTo>
                        <a:pt x="7" y="65"/>
                      </a:lnTo>
                      <a:lnTo>
                        <a:pt x="12" y="74"/>
                      </a:lnTo>
                      <a:lnTo>
                        <a:pt x="14" y="75"/>
                      </a:lnTo>
                      <a:lnTo>
                        <a:pt x="14" y="72"/>
                      </a:lnTo>
                      <a:lnTo>
                        <a:pt x="14" y="72"/>
                      </a:lnTo>
                      <a:lnTo>
                        <a:pt x="16" y="67"/>
                      </a:lnTo>
                      <a:lnTo>
                        <a:pt x="18" y="61"/>
                      </a:lnTo>
                      <a:lnTo>
                        <a:pt x="18" y="56"/>
                      </a:lnTo>
                      <a:lnTo>
                        <a:pt x="16" y="54"/>
                      </a:lnTo>
                      <a:lnTo>
                        <a:pt x="16" y="54"/>
                      </a:lnTo>
                      <a:lnTo>
                        <a:pt x="14" y="51"/>
                      </a:lnTo>
                      <a:lnTo>
                        <a:pt x="14" y="46"/>
                      </a:lnTo>
                      <a:lnTo>
                        <a:pt x="16" y="42"/>
                      </a:lnTo>
                      <a:lnTo>
                        <a:pt x="19" y="39"/>
                      </a:lnTo>
                      <a:lnTo>
                        <a:pt x="23" y="35"/>
                      </a:lnTo>
                      <a:lnTo>
                        <a:pt x="30" y="34"/>
                      </a:lnTo>
                      <a:lnTo>
                        <a:pt x="30" y="34"/>
                      </a:lnTo>
                      <a:lnTo>
                        <a:pt x="40" y="32"/>
                      </a:lnTo>
                      <a:lnTo>
                        <a:pt x="47" y="30"/>
                      </a:lnTo>
                      <a:lnTo>
                        <a:pt x="49" y="32"/>
                      </a:lnTo>
                      <a:lnTo>
                        <a:pt x="51" y="32"/>
                      </a:lnTo>
                      <a:lnTo>
                        <a:pt x="53" y="39"/>
                      </a:lnTo>
                      <a:lnTo>
                        <a:pt x="53" y="39"/>
                      </a:lnTo>
                      <a:lnTo>
                        <a:pt x="54" y="49"/>
                      </a:lnTo>
                      <a:lnTo>
                        <a:pt x="56" y="58"/>
                      </a:lnTo>
                      <a:lnTo>
                        <a:pt x="58" y="63"/>
                      </a:lnTo>
                      <a:lnTo>
                        <a:pt x="61" y="67"/>
                      </a:lnTo>
                      <a:lnTo>
                        <a:pt x="66" y="72"/>
                      </a:lnTo>
                      <a:lnTo>
                        <a:pt x="73" y="75"/>
                      </a:lnTo>
                      <a:lnTo>
                        <a:pt x="73" y="75"/>
                      </a:lnTo>
                      <a:lnTo>
                        <a:pt x="79" y="79"/>
                      </a:lnTo>
                      <a:lnTo>
                        <a:pt x="80" y="82"/>
                      </a:lnTo>
                      <a:lnTo>
                        <a:pt x="82" y="88"/>
                      </a:lnTo>
                      <a:lnTo>
                        <a:pt x="80" y="91"/>
                      </a:lnTo>
                      <a:lnTo>
                        <a:pt x="79" y="93"/>
                      </a:lnTo>
                      <a:lnTo>
                        <a:pt x="77" y="94"/>
                      </a:lnTo>
                      <a:lnTo>
                        <a:pt x="73" y="94"/>
                      </a:lnTo>
                      <a:lnTo>
                        <a:pt x="72" y="94"/>
                      </a:lnTo>
                      <a:lnTo>
                        <a:pt x="72" y="94"/>
                      </a:lnTo>
                      <a:lnTo>
                        <a:pt x="70" y="91"/>
                      </a:lnTo>
                      <a:lnTo>
                        <a:pt x="66" y="91"/>
                      </a:lnTo>
                      <a:lnTo>
                        <a:pt x="66" y="93"/>
                      </a:lnTo>
                      <a:lnTo>
                        <a:pt x="68" y="98"/>
                      </a:lnTo>
                      <a:lnTo>
                        <a:pt x="68" y="98"/>
                      </a:lnTo>
                      <a:lnTo>
                        <a:pt x="66" y="100"/>
                      </a:lnTo>
                      <a:lnTo>
                        <a:pt x="65" y="100"/>
                      </a:lnTo>
                      <a:lnTo>
                        <a:pt x="56" y="103"/>
                      </a:lnTo>
                      <a:lnTo>
                        <a:pt x="53" y="103"/>
                      </a:lnTo>
                      <a:lnTo>
                        <a:pt x="47" y="103"/>
                      </a:lnTo>
                      <a:lnTo>
                        <a:pt x="46" y="100"/>
                      </a:lnTo>
                      <a:lnTo>
                        <a:pt x="44" y="96"/>
                      </a:lnTo>
                      <a:lnTo>
                        <a:pt x="44" y="96"/>
                      </a:lnTo>
                      <a:lnTo>
                        <a:pt x="42" y="91"/>
                      </a:lnTo>
                      <a:lnTo>
                        <a:pt x="40" y="93"/>
                      </a:lnTo>
                      <a:lnTo>
                        <a:pt x="39" y="96"/>
                      </a:lnTo>
                      <a:lnTo>
                        <a:pt x="37" y="96"/>
                      </a:lnTo>
                      <a:lnTo>
                        <a:pt x="35" y="96"/>
                      </a:lnTo>
                      <a:lnTo>
                        <a:pt x="35" y="96"/>
                      </a:lnTo>
                      <a:lnTo>
                        <a:pt x="32" y="94"/>
                      </a:lnTo>
                      <a:lnTo>
                        <a:pt x="30" y="96"/>
                      </a:lnTo>
                      <a:lnTo>
                        <a:pt x="26" y="96"/>
                      </a:lnTo>
                      <a:lnTo>
                        <a:pt x="25" y="94"/>
                      </a:lnTo>
                      <a:lnTo>
                        <a:pt x="25" y="94"/>
                      </a:lnTo>
                      <a:lnTo>
                        <a:pt x="23" y="89"/>
                      </a:lnTo>
                      <a:lnTo>
                        <a:pt x="19" y="86"/>
                      </a:lnTo>
                      <a:lnTo>
                        <a:pt x="18" y="84"/>
                      </a:lnTo>
                      <a:lnTo>
                        <a:pt x="18" y="84"/>
                      </a:lnTo>
                      <a:lnTo>
                        <a:pt x="16" y="89"/>
                      </a:lnTo>
                      <a:lnTo>
                        <a:pt x="16" y="89"/>
                      </a:lnTo>
                      <a:lnTo>
                        <a:pt x="16" y="100"/>
                      </a:lnTo>
                      <a:lnTo>
                        <a:pt x="12" y="108"/>
                      </a:lnTo>
                      <a:lnTo>
                        <a:pt x="11" y="117"/>
                      </a:lnTo>
                      <a:lnTo>
                        <a:pt x="9" y="124"/>
                      </a:lnTo>
                      <a:lnTo>
                        <a:pt x="9" y="124"/>
                      </a:lnTo>
                      <a:lnTo>
                        <a:pt x="11" y="131"/>
                      </a:lnTo>
                      <a:lnTo>
                        <a:pt x="14" y="138"/>
                      </a:lnTo>
                      <a:lnTo>
                        <a:pt x="19" y="145"/>
                      </a:lnTo>
                      <a:lnTo>
                        <a:pt x="21" y="145"/>
                      </a:lnTo>
                      <a:lnTo>
                        <a:pt x="21" y="145"/>
                      </a:lnTo>
                      <a:lnTo>
                        <a:pt x="21" y="145"/>
                      </a:lnTo>
                      <a:lnTo>
                        <a:pt x="23" y="143"/>
                      </a:lnTo>
                      <a:lnTo>
                        <a:pt x="21" y="140"/>
                      </a:lnTo>
                      <a:lnTo>
                        <a:pt x="21" y="136"/>
                      </a:lnTo>
                      <a:lnTo>
                        <a:pt x="25" y="136"/>
                      </a:lnTo>
                      <a:lnTo>
                        <a:pt x="25" y="136"/>
                      </a:lnTo>
                      <a:lnTo>
                        <a:pt x="30" y="136"/>
                      </a:lnTo>
                      <a:lnTo>
                        <a:pt x="35" y="136"/>
                      </a:lnTo>
                      <a:lnTo>
                        <a:pt x="39" y="136"/>
                      </a:lnTo>
                      <a:lnTo>
                        <a:pt x="37" y="140"/>
                      </a:lnTo>
                      <a:lnTo>
                        <a:pt x="37" y="140"/>
                      </a:lnTo>
                      <a:lnTo>
                        <a:pt x="35" y="145"/>
                      </a:lnTo>
                      <a:lnTo>
                        <a:pt x="35" y="148"/>
                      </a:lnTo>
                      <a:lnTo>
                        <a:pt x="37" y="150"/>
                      </a:lnTo>
                      <a:lnTo>
                        <a:pt x="39" y="150"/>
                      </a:lnTo>
                      <a:lnTo>
                        <a:pt x="39" y="150"/>
                      </a:lnTo>
                      <a:lnTo>
                        <a:pt x="42" y="152"/>
                      </a:lnTo>
                      <a:lnTo>
                        <a:pt x="44" y="155"/>
                      </a:lnTo>
                      <a:lnTo>
                        <a:pt x="42" y="159"/>
                      </a:lnTo>
                      <a:lnTo>
                        <a:pt x="37" y="159"/>
                      </a:lnTo>
                      <a:lnTo>
                        <a:pt x="37" y="159"/>
                      </a:lnTo>
                      <a:lnTo>
                        <a:pt x="32" y="157"/>
                      </a:lnTo>
                      <a:lnTo>
                        <a:pt x="30" y="155"/>
                      </a:lnTo>
                      <a:lnTo>
                        <a:pt x="32" y="152"/>
                      </a:lnTo>
                      <a:lnTo>
                        <a:pt x="30" y="150"/>
                      </a:lnTo>
                      <a:lnTo>
                        <a:pt x="30" y="150"/>
                      </a:lnTo>
                      <a:lnTo>
                        <a:pt x="28" y="152"/>
                      </a:lnTo>
                      <a:lnTo>
                        <a:pt x="26" y="154"/>
                      </a:lnTo>
                      <a:lnTo>
                        <a:pt x="25" y="162"/>
                      </a:lnTo>
                      <a:lnTo>
                        <a:pt x="25" y="169"/>
                      </a:lnTo>
                      <a:lnTo>
                        <a:pt x="25" y="173"/>
                      </a:lnTo>
                      <a:lnTo>
                        <a:pt x="26" y="173"/>
                      </a:lnTo>
                      <a:lnTo>
                        <a:pt x="26" y="173"/>
                      </a:lnTo>
                      <a:lnTo>
                        <a:pt x="28" y="173"/>
                      </a:lnTo>
                      <a:lnTo>
                        <a:pt x="28" y="173"/>
                      </a:lnTo>
                      <a:lnTo>
                        <a:pt x="28" y="169"/>
                      </a:lnTo>
                      <a:lnTo>
                        <a:pt x="28" y="166"/>
                      </a:lnTo>
                      <a:lnTo>
                        <a:pt x="33" y="166"/>
                      </a:lnTo>
                      <a:lnTo>
                        <a:pt x="33" y="166"/>
                      </a:lnTo>
                      <a:lnTo>
                        <a:pt x="37" y="168"/>
                      </a:lnTo>
                      <a:lnTo>
                        <a:pt x="40" y="169"/>
                      </a:lnTo>
                      <a:lnTo>
                        <a:pt x="44" y="178"/>
                      </a:lnTo>
                      <a:lnTo>
                        <a:pt x="44" y="178"/>
                      </a:lnTo>
                      <a:lnTo>
                        <a:pt x="47" y="182"/>
                      </a:lnTo>
                      <a:lnTo>
                        <a:pt x="53" y="183"/>
                      </a:lnTo>
                      <a:lnTo>
                        <a:pt x="54" y="187"/>
                      </a:lnTo>
                      <a:lnTo>
                        <a:pt x="54" y="188"/>
                      </a:lnTo>
                      <a:lnTo>
                        <a:pt x="54" y="192"/>
                      </a:lnTo>
                      <a:lnTo>
                        <a:pt x="54" y="192"/>
                      </a:lnTo>
                      <a:lnTo>
                        <a:pt x="51" y="199"/>
                      </a:lnTo>
                      <a:lnTo>
                        <a:pt x="49" y="213"/>
                      </a:lnTo>
                      <a:lnTo>
                        <a:pt x="49" y="232"/>
                      </a:lnTo>
                      <a:lnTo>
                        <a:pt x="53" y="258"/>
                      </a:lnTo>
                      <a:lnTo>
                        <a:pt x="53" y="260"/>
                      </a:lnTo>
                      <a:lnTo>
                        <a:pt x="53" y="260"/>
                      </a:lnTo>
                      <a:lnTo>
                        <a:pt x="68" y="260"/>
                      </a:lnTo>
                      <a:lnTo>
                        <a:pt x="77" y="256"/>
                      </a:lnTo>
                      <a:lnTo>
                        <a:pt x="80" y="255"/>
                      </a:lnTo>
                      <a:lnTo>
                        <a:pt x="82" y="251"/>
                      </a:lnTo>
                      <a:lnTo>
                        <a:pt x="82" y="248"/>
                      </a:lnTo>
                      <a:lnTo>
                        <a:pt x="84" y="242"/>
                      </a:lnTo>
                      <a:lnTo>
                        <a:pt x="89" y="237"/>
                      </a:lnTo>
                      <a:lnTo>
                        <a:pt x="98" y="230"/>
                      </a:lnTo>
                      <a:lnTo>
                        <a:pt x="98" y="230"/>
                      </a:lnTo>
                      <a:lnTo>
                        <a:pt x="105" y="227"/>
                      </a:lnTo>
                      <a:lnTo>
                        <a:pt x="113" y="227"/>
                      </a:lnTo>
                      <a:lnTo>
                        <a:pt x="126" y="227"/>
                      </a:lnTo>
                      <a:lnTo>
                        <a:pt x="133" y="229"/>
                      </a:lnTo>
                      <a:lnTo>
                        <a:pt x="136" y="227"/>
                      </a:lnTo>
                      <a:lnTo>
                        <a:pt x="138" y="223"/>
                      </a:lnTo>
                      <a:lnTo>
                        <a:pt x="138" y="223"/>
                      </a:lnTo>
                      <a:lnTo>
                        <a:pt x="141" y="218"/>
                      </a:lnTo>
                      <a:lnTo>
                        <a:pt x="147" y="216"/>
                      </a:lnTo>
                      <a:lnTo>
                        <a:pt x="152" y="216"/>
                      </a:lnTo>
                      <a:lnTo>
                        <a:pt x="157" y="220"/>
                      </a:lnTo>
                      <a:lnTo>
                        <a:pt x="157" y="220"/>
                      </a:lnTo>
                      <a:lnTo>
                        <a:pt x="160" y="220"/>
                      </a:lnTo>
                      <a:lnTo>
                        <a:pt x="162" y="220"/>
                      </a:lnTo>
                      <a:lnTo>
                        <a:pt x="166" y="218"/>
                      </a:lnTo>
                      <a:lnTo>
                        <a:pt x="166" y="216"/>
                      </a:lnTo>
                      <a:lnTo>
                        <a:pt x="167" y="216"/>
                      </a:lnTo>
                      <a:lnTo>
                        <a:pt x="169" y="218"/>
                      </a:lnTo>
                      <a:lnTo>
                        <a:pt x="171" y="222"/>
                      </a:lnTo>
                      <a:lnTo>
                        <a:pt x="171" y="222"/>
                      </a:lnTo>
                      <a:lnTo>
                        <a:pt x="174" y="227"/>
                      </a:lnTo>
                      <a:lnTo>
                        <a:pt x="178" y="230"/>
                      </a:lnTo>
                      <a:lnTo>
                        <a:pt x="188" y="234"/>
                      </a:lnTo>
                      <a:lnTo>
                        <a:pt x="199" y="237"/>
                      </a:lnTo>
                      <a:lnTo>
                        <a:pt x="202" y="239"/>
                      </a:lnTo>
                      <a:lnTo>
                        <a:pt x="204" y="242"/>
                      </a:lnTo>
                      <a:lnTo>
                        <a:pt x="204" y="242"/>
                      </a:lnTo>
                      <a:lnTo>
                        <a:pt x="206" y="248"/>
                      </a:lnTo>
                      <a:lnTo>
                        <a:pt x="209" y="246"/>
                      </a:lnTo>
                      <a:lnTo>
                        <a:pt x="218" y="244"/>
                      </a:lnTo>
                      <a:lnTo>
                        <a:pt x="223" y="244"/>
                      </a:lnTo>
                      <a:lnTo>
                        <a:pt x="230" y="246"/>
                      </a:lnTo>
                      <a:lnTo>
                        <a:pt x="230" y="246"/>
                      </a:lnTo>
                      <a:lnTo>
                        <a:pt x="237" y="249"/>
                      </a:lnTo>
                      <a:lnTo>
                        <a:pt x="242" y="251"/>
                      </a:lnTo>
                      <a:lnTo>
                        <a:pt x="244" y="255"/>
                      </a:lnTo>
                      <a:lnTo>
                        <a:pt x="244" y="258"/>
                      </a:lnTo>
                      <a:lnTo>
                        <a:pt x="244" y="262"/>
                      </a:lnTo>
                      <a:lnTo>
                        <a:pt x="246" y="263"/>
                      </a:lnTo>
                      <a:lnTo>
                        <a:pt x="249" y="267"/>
                      </a:lnTo>
                      <a:lnTo>
                        <a:pt x="256" y="270"/>
                      </a:lnTo>
                      <a:lnTo>
                        <a:pt x="256" y="270"/>
                      </a:lnTo>
                      <a:lnTo>
                        <a:pt x="263" y="274"/>
                      </a:lnTo>
                      <a:lnTo>
                        <a:pt x="268" y="277"/>
                      </a:lnTo>
                      <a:lnTo>
                        <a:pt x="274" y="284"/>
                      </a:lnTo>
                      <a:lnTo>
                        <a:pt x="277" y="291"/>
                      </a:lnTo>
                      <a:lnTo>
                        <a:pt x="279" y="293"/>
                      </a:lnTo>
                      <a:lnTo>
                        <a:pt x="284" y="293"/>
                      </a:lnTo>
                      <a:lnTo>
                        <a:pt x="284" y="293"/>
                      </a:lnTo>
                      <a:lnTo>
                        <a:pt x="300" y="293"/>
                      </a:lnTo>
                      <a:lnTo>
                        <a:pt x="305" y="293"/>
                      </a:lnTo>
                      <a:lnTo>
                        <a:pt x="308" y="296"/>
                      </a:lnTo>
                      <a:lnTo>
                        <a:pt x="308" y="296"/>
                      </a:lnTo>
                      <a:lnTo>
                        <a:pt x="308" y="300"/>
                      </a:lnTo>
                      <a:lnTo>
                        <a:pt x="307" y="303"/>
                      </a:lnTo>
                      <a:lnTo>
                        <a:pt x="307" y="305"/>
                      </a:lnTo>
                      <a:lnTo>
                        <a:pt x="307" y="310"/>
                      </a:lnTo>
                      <a:lnTo>
                        <a:pt x="307" y="310"/>
                      </a:lnTo>
                      <a:lnTo>
                        <a:pt x="308" y="316"/>
                      </a:lnTo>
                      <a:lnTo>
                        <a:pt x="307" y="321"/>
                      </a:lnTo>
                      <a:lnTo>
                        <a:pt x="305" y="324"/>
                      </a:lnTo>
                      <a:lnTo>
                        <a:pt x="308" y="326"/>
                      </a:lnTo>
                      <a:lnTo>
                        <a:pt x="308" y="326"/>
                      </a:lnTo>
                      <a:lnTo>
                        <a:pt x="310" y="330"/>
                      </a:lnTo>
                      <a:lnTo>
                        <a:pt x="310" y="333"/>
                      </a:lnTo>
                      <a:lnTo>
                        <a:pt x="308" y="338"/>
                      </a:lnTo>
                      <a:lnTo>
                        <a:pt x="312" y="342"/>
                      </a:lnTo>
                      <a:lnTo>
                        <a:pt x="312" y="342"/>
                      </a:lnTo>
                      <a:lnTo>
                        <a:pt x="314" y="343"/>
                      </a:lnTo>
                      <a:lnTo>
                        <a:pt x="315" y="345"/>
                      </a:lnTo>
                      <a:lnTo>
                        <a:pt x="317" y="349"/>
                      </a:lnTo>
                      <a:lnTo>
                        <a:pt x="319" y="350"/>
                      </a:lnTo>
                      <a:lnTo>
                        <a:pt x="321" y="350"/>
                      </a:lnTo>
                      <a:lnTo>
                        <a:pt x="324" y="350"/>
                      </a:lnTo>
                      <a:lnTo>
                        <a:pt x="329" y="350"/>
                      </a:lnTo>
                      <a:lnTo>
                        <a:pt x="329" y="350"/>
                      </a:lnTo>
                      <a:lnTo>
                        <a:pt x="335" y="349"/>
                      </a:lnTo>
                      <a:lnTo>
                        <a:pt x="338" y="350"/>
                      </a:lnTo>
                      <a:lnTo>
                        <a:pt x="340" y="352"/>
                      </a:lnTo>
                      <a:lnTo>
                        <a:pt x="342" y="356"/>
                      </a:lnTo>
                      <a:lnTo>
                        <a:pt x="343" y="359"/>
                      </a:lnTo>
                      <a:lnTo>
                        <a:pt x="347" y="361"/>
                      </a:lnTo>
                      <a:lnTo>
                        <a:pt x="352" y="361"/>
                      </a:lnTo>
                      <a:lnTo>
                        <a:pt x="359" y="359"/>
                      </a:lnTo>
                      <a:lnTo>
                        <a:pt x="359" y="359"/>
                      </a:lnTo>
                      <a:lnTo>
                        <a:pt x="364" y="356"/>
                      </a:lnTo>
                      <a:lnTo>
                        <a:pt x="369" y="352"/>
                      </a:lnTo>
                      <a:lnTo>
                        <a:pt x="376" y="343"/>
                      </a:lnTo>
                      <a:lnTo>
                        <a:pt x="383" y="335"/>
                      </a:lnTo>
                      <a:lnTo>
                        <a:pt x="387" y="330"/>
                      </a:lnTo>
                      <a:lnTo>
                        <a:pt x="390" y="328"/>
                      </a:lnTo>
                      <a:lnTo>
                        <a:pt x="390" y="328"/>
                      </a:lnTo>
                      <a:lnTo>
                        <a:pt x="401" y="324"/>
                      </a:lnTo>
                      <a:lnTo>
                        <a:pt x="411" y="321"/>
                      </a:lnTo>
                      <a:lnTo>
                        <a:pt x="416" y="317"/>
                      </a:lnTo>
                      <a:lnTo>
                        <a:pt x="422" y="312"/>
                      </a:lnTo>
                      <a:lnTo>
                        <a:pt x="425" y="305"/>
                      </a:lnTo>
                      <a:lnTo>
                        <a:pt x="427" y="293"/>
                      </a:lnTo>
                      <a:lnTo>
                        <a:pt x="427" y="293"/>
                      </a:lnTo>
                      <a:lnTo>
                        <a:pt x="430" y="283"/>
                      </a:lnTo>
                      <a:lnTo>
                        <a:pt x="434" y="276"/>
                      </a:lnTo>
                      <a:lnTo>
                        <a:pt x="439" y="270"/>
                      </a:lnTo>
                      <a:lnTo>
                        <a:pt x="443" y="269"/>
                      </a:lnTo>
                      <a:lnTo>
                        <a:pt x="453" y="263"/>
                      </a:lnTo>
                      <a:lnTo>
                        <a:pt x="458" y="260"/>
                      </a:lnTo>
                      <a:lnTo>
                        <a:pt x="463" y="255"/>
                      </a:lnTo>
                      <a:lnTo>
                        <a:pt x="463" y="255"/>
                      </a:lnTo>
                      <a:lnTo>
                        <a:pt x="467" y="251"/>
                      </a:lnTo>
                      <a:lnTo>
                        <a:pt x="470" y="251"/>
                      </a:lnTo>
                      <a:lnTo>
                        <a:pt x="472" y="251"/>
                      </a:lnTo>
                      <a:lnTo>
                        <a:pt x="476" y="255"/>
                      </a:lnTo>
                      <a:lnTo>
                        <a:pt x="484" y="260"/>
                      </a:lnTo>
                      <a:lnTo>
                        <a:pt x="490" y="262"/>
                      </a:lnTo>
                      <a:lnTo>
                        <a:pt x="495" y="262"/>
                      </a:lnTo>
                      <a:lnTo>
                        <a:pt x="495" y="262"/>
                      </a:lnTo>
                      <a:lnTo>
                        <a:pt x="495" y="251"/>
                      </a:lnTo>
                      <a:lnTo>
                        <a:pt x="495" y="244"/>
                      </a:lnTo>
                      <a:lnTo>
                        <a:pt x="497" y="239"/>
                      </a:lnTo>
                      <a:lnTo>
                        <a:pt x="498" y="235"/>
                      </a:lnTo>
                      <a:lnTo>
                        <a:pt x="500" y="232"/>
                      </a:lnTo>
                      <a:lnTo>
                        <a:pt x="498" y="230"/>
                      </a:lnTo>
                      <a:lnTo>
                        <a:pt x="497" y="229"/>
                      </a:lnTo>
                      <a:lnTo>
                        <a:pt x="497" y="229"/>
                      </a:lnTo>
                      <a:lnTo>
                        <a:pt x="481" y="220"/>
                      </a:lnTo>
                      <a:lnTo>
                        <a:pt x="474" y="216"/>
                      </a:lnTo>
                      <a:lnTo>
                        <a:pt x="470" y="216"/>
                      </a:lnTo>
                      <a:lnTo>
                        <a:pt x="469" y="218"/>
                      </a:lnTo>
                      <a:lnTo>
                        <a:pt x="469" y="218"/>
                      </a:lnTo>
                      <a:lnTo>
                        <a:pt x="463" y="218"/>
                      </a:lnTo>
                      <a:lnTo>
                        <a:pt x="456" y="215"/>
                      </a:lnTo>
                      <a:lnTo>
                        <a:pt x="441" y="201"/>
                      </a:lnTo>
                      <a:lnTo>
                        <a:pt x="427" y="188"/>
                      </a:lnTo>
                      <a:lnTo>
                        <a:pt x="420" y="185"/>
                      </a:lnTo>
                      <a:lnTo>
                        <a:pt x="416" y="183"/>
                      </a:lnTo>
                      <a:lnTo>
                        <a:pt x="416" y="183"/>
                      </a:lnTo>
                      <a:lnTo>
                        <a:pt x="411" y="183"/>
                      </a:lnTo>
                      <a:lnTo>
                        <a:pt x="408" y="182"/>
                      </a:lnTo>
                      <a:lnTo>
                        <a:pt x="396" y="171"/>
                      </a:lnTo>
                      <a:lnTo>
                        <a:pt x="383" y="159"/>
                      </a:lnTo>
                      <a:lnTo>
                        <a:pt x="368" y="147"/>
                      </a:lnTo>
                      <a:lnTo>
                        <a:pt x="368" y="147"/>
                      </a:lnTo>
                      <a:lnTo>
                        <a:pt x="361" y="141"/>
                      </a:lnTo>
                      <a:lnTo>
                        <a:pt x="357" y="136"/>
                      </a:lnTo>
                      <a:lnTo>
                        <a:pt x="352" y="126"/>
                      </a:lnTo>
                      <a:lnTo>
                        <a:pt x="349" y="117"/>
                      </a:lnTo>
                      <a:lnTo>
                        <a:pt x="347" y="114"/>
                      </a:lnTo>
                      <a:lnTo>
                        <a:pt x="343" y="110"/>
                      </a:lnTo>
                      <a:lnTo>
                        <a:pt x="343" y="110"/>
                      </a:lnTo>
                      <a:lnTo>
                        <a:pt x="340" y="107"/>
                      </a:lnTo>
                      <a:lnTo>
                        <a:pt x="338" y="103"/>
                      </a:lnTo>
                      <a:lnTo>
                        <a:pt x="336" y="93"/>
                      </a:lnTo>
                      <a:lnTo>
                        <a:pt x="335" y="82"/>
                      </a:lnTo>
                      <a:lnTo>
                        <a:pt x="331" y="79"/>
                      </a:lnTo>
                      <a:lnTo>
                        <a:pt x="326" y="75"/>
                      </a:lnTo>
                      <a:lnTo>
                        <a:pt x="326" y="75"/>
                      </a:lnTo>
                      <a:lnTo>
                        <a:pt x="321" y="72"/>
                      </a:lnTo>
                      <a:lnTo>
                        <a:pt x="319" y="72"/>
                      </a:lnTo>
                      <a:lnTo>
                        <a:pt x="317" y="74"/>
                      </a:lnTo>
                      <a:lnTo>
                        <a:pt x="315" y="75"/>
                      </a:lnTo>
                      <a:lnTo>
                        <a:pt x="312" y="77"/>
                      </a:lnTo>
                      <a:lnTo>
                        <a:pt x="310" y="77"/>
                      </a:lnTo>
                      <a:lnTo>
                        <a:pt x="307" y="77"/>
                      </a:lnTo>
                      <a:lnTo>
                        <a:pt x="307" y="77"/>
                      </a:lnTo>
                      <a:lnTo>
                        <a:pt x="303" y="75"/>
                      </a:lnTo>
                      <a:lnTo>
                        <a:pt x="300" y="74"/>
                      </a:lnTo>
                      <a:lnTo>
                        <a:pt x="291" y="75"/>
                      </a:lnTo>
                      <a:lnTo>
                        <a:pt x="282" y="75"/>
                      </a:lnTo>
                      <a:lnTo>
                        <a:pt x="279" y="74"/>
                      </a:lnTo>
                      <a:lnTo>
                        <a:pt x="274" y="70"/>
                      </a:lnTo>
                      <a:lnTo>
                        <a:pt x="274" y="70"/>
                      </a:lnTo>
                      <a:lnTo>
                        <a:pt x="270" y="67"/>
                      </a:lnTo>
                      <a:lnTo>
                        <a:pt x="268" y="63"/>
                      </a:lnTo>
                      <a:lnTo>
                        <a:pt x="268" y="61"/>
                      </a:lnTo>
                      <a:lnTo>
                        <a:pt x="270" y="61"/>
                      </a:lnTo>
                      <a:lnTo>
                        <a:pt x="272" y="58"/>
                      </a:lnTo>
                      <a:lnTo>
                        <a:pt x="272" y="56"/>
                      </a:lnTo>
                      <a:lnTo>
                        <a:pt x="270" y="54"/>
                      </a:lnTo>
                      <a:lnTo>
                        <a:pt x="270" y="54"/>
                      </a:lnTo>
                      <a:lnTo>
                        <a:pt x="268" y="51"/>
                      </a:lnTo>
                      <a:lnTo>
                        <a:pt x="268" y="51"/>
                      </a:lnTo>
                      <a:lnTo>
                        <a:pt x="272" y="49"/>
                      </a:lnTo>
                      <a:lnTo>
                        <a:pt x="275" y="47"/>
                      </a:lnTo>
                      <a:lnTo>
                        <a:pt x="275" y="47"/>
                      </a:lnTo>
                      <a:lnTo>
                        <a:pt x="274" y="44"/>
                      </a:lnTo>
                      <a:lnTo>
                        <a:pt x="274" y="44"/>
                      </a:lnTo>
                      <a:lnTo>
                        <a:pt x="268" y="40"/>
                      </a:lnTo>
                      <a:lnTo>
                        <a:pt x="267" y="35"/>
                      </a:lnTo>
                      <a:lnTo>
                        <a:pt x="267" y="32"/>
                      </a:lnTo>
                      <a:lnTo>
                        <a:pt x="268" y="28"/>
                      </a:lnTo>
                      <a:lnTo>
                        <a:pt x="268" y="27"/>
                      </a:lnTo>
                      <a:lnTo>
                        <a:pt x="268" y="25"/>
                      </a:lnTo>
                      <a:lnTo>
                        <a:pt x="267" y="23"/>
                      </a:lnTo>
                      <a:lnTo>
                        <a:pt x="260" y="23"/>
                      </a:lnTo>
                      <a:lnTo>
                        <a:pt x="260" y="23"/>
                      </a:lnTo>
                      <a:lnTo>
                        <a:pt x="249" y="21"/>
                      </a:lnTo>
                      <a:lnTo>
                        <a:pt x="244" y="21"/>
                      </a:lnTo>
                      <a:lnTo>
                        <a:pt x="241" y="20"/>
                      </a:lnTo>
                      <a:lnTo>
                        <a:pt x="241" y="18"/>
                      </a:lnTo>
                      <a:lnTo>
                        <a:pt x="239" y="14"/>
                      </a:lnTo>
                      <a:lnTo>
                        <a:pt x="239" y="13"/>
                      </a:lnTo>
                      <a:lnTo>
                        <a:pt x="234" y="13"/>
                      </a:lnTo>
                      <a:lnTo>
                        <a:pt x="234" y="13"/>
                      </a:lnTo>
                      <a:lnTo>
                        <a:pt x="230" y="11"/>
                      </a:lnTo>
                      <a:lnTo>
                        <a:pt x="227" y="9"/>
                      </a:lnTo>
                      <a:lnTo>
                        <a:pt x="223" y="4"/>
                      </a:lnTo>
                      <a:lnTo>
                        <a:pt x="220" y="0"/>
                      </a:lnTo>
                      <a:lnTo>
                        <a:pt x="218" y="0"/>
                      </a:lnTo>
                      <a:lnTo>
                        <a:pt x="216" y="0"/>
                      </a:lnTo>
                      <a:lnTo>
                        <a:pt x="216" y="0"/>
                      </a:lnTo>
                      <a:lnTo>
                        <a:pt x="211" y="4"/>
                      </a:lnTo>
                      <a:lnTo>
                        <a:pt x="204" y="4"/>
                      </a:lnTo>
                      <a:lnTo>
                        <a:pt x="201" y="6"/>
                      </a:lnTo>
                      <a:lnTo>
                        <a:pt x="201" y="7"/>
                      </a:lnTo>
                      <a:lnTo>
                        <a:pt x="202" y="9"/>
                      </a:lnTo>
                      <a:lnTo>
                        <a:pt x="202" y="9"/>
                      </a:lnTo>
                      <a:lnTo>
                        <a:pt x="207" y="14"/>
                      </a:lnTo>
                      <a:lnTo>
                        <a:pt x="206" y="16"/>
                      </a:lnTo>
                      <a:lnTo>
                        <a:pt x="204" y="14"/>
                      </a:lnTo>
                      <a:lnTo>
                        <a:pt x="197" y="14"/>
                      </a:lnTo>
                      <a:lnTo>
                        <a:pt x="195" y="16"/>
                      </a:lnTo>
                      <a:lnTo>
                        <a:pt x="194" y="21"/>
                      </a:lnTo>
                      <a:lnTo>
                        <a:pt x="194" y="21"/>
                      </a:lnTo>
                      <a:lnTo>
                        <a:pt x="192" y="25"/>
                      </a:lnTo>
                      <a:lnTo>
                        <a:pt x="188" y="28"/>
                      </a:lnTo>
                      <a:lnTo>
                        <a:pt x="180" y="30"/>
                      </a:lnTo>
                      <a:lnTo>
                        <a:pt x="174" y="30"/>
                      </a:lnTo>
                      <a:lnTo>
                        <a:pt x="171" y="32"/>
                      </a:lnTo>
                      <a:lnTo>
                        <a:pt x="166" y="35"/>
                      </a:lnTo>
                      <a:lnTo>
                        <a:pt x="162" y="42"/>
                      </a:lnTo>
                      <a:lnTo>
                        <a:pt x="162" y="42"/>
                      </a:lnTo>
                      <a:lnTo>
                        <a:pt x="160" y="49"/>
                      </a:lnTo>
                      <a:lnTo>
                        <a:pt x="160" y="54"/>
                      </a:lnTo>
                      <a:lnTo>
                        <a:pt x="160" y="58"/>
                      </a:lnTo>
                      <a:lnTo>
                        <a:pt x="162" y="61"/>
                      </a:lnTo>
                      <a:lnTo>
                        <a:pt x="166" y="65"/>
                      </a:lnTo>
                      <a:lnTo>
                        <a:pt x="166" y="68"/>
                      </a:lnTo>
                      <a:lnTo>
                        <a:pt x="166" y="70"/>
                      </a:lnTo>
                      <a:lnTo>
                        <a:pt x="166" y="70"/>
                      </a:lnTo>
                      <a:lnTo>
                        <a:pt x="162" y="72"/>
                      </a:lnTo>
                      <a:lnTo>
                        <a:pt x="159" y="72"/>
                      </a:lnTo>
                      <a:lnTo>
                        <a:pt x="148" y="72"/>
                      </a:lnTo>
                      <a:lnTo>
                        <a:pt x="136" y="70"/>
                      </a:lnTo>
                      <a:lnTo>
                        <a:pt x="126" y="70"/>
                      </a:lnTo>
                      <a:lnTo>
                        <a:pt x="126" y="70"/>
                      </a:lnTo>
                      <a:lnTo>
                        <a:pt x="119" y="72"/>
                      </a:lnTo>
                      <a:lnTo>
                        <a:pt x="113" y="74"/>
                      </a:lnTo>
                      <a:lnTo>
                        <a:pt x="108" y="74"/>
                      </a:lnTo>
                      <a:lnTo>
                        <a:pt x="107" y="72"/>
                      </a:lnTo>
                      <a:lnTo>
                        <a:pt x="103" y="68"/>
                      </a:lnTo>
                      <a:lnTo>
                        <a:pt x="103" y="68"/>
                      </a:lnTo>
                      <a:lnTo>
                        <a:pt x="91" y="46"/>
                      </a:lnTo>
                      <a:lnTo>
                        <a:pt x="87" y="39"/>
                      </a:lnTo>
                      <a:lnTo>
                        <a:pt x="84" y="35"/>
                      </a:lnTo>
                      <a:lnTo>
                        <a:pt x="84" y="35"/>
                      </a:lnTo>
                      <a:lnTo>
                        <a:pt x="70" y="25"/>
                      </a:lnTo>
                      <a:lnTo>
                        <a:pt x="59" y="21"/>
                      </a:lnTo>
                      <a:lnTo>
                        <a:pt x="56" y="21"/>
                      </a:lnTo>
                      <a:lnTo>
                        <a:pt x="51" y="21"/>
                      </a:lnTo>
                      <a:lnTo>
                        <a:pt x="51" y="21"/>
                      </a:lnTo>
                      <a:lnTo>
                        <a:pt x="32" y="25"/>
                      </a:lnTo>
                      <a:lnTo>
                        <a:pt x="23" y="30"/>
                      </a:lnTo>
                      <a:lnTo>
                        <a:pt x="16" y="34"/>
                      </a:lnTo>
                      <a:lnTo>
                        <a:pt x="16" y="34"/>
                      </a:lnTo>
                      <a:lnTo>
                        <a:pt x="0" y="49"/>
                      </a:lnTo>
                      <a:lnTo>
                        <a:pt x="0" y="4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3" name="Freeform 2010">
                  <a:extLst>
                    <a:ext uri="{FF2B5EF4-FFF2-40B4-BE49-F238E27FC236}">
                      <a16:creationId xmlns:a16="http://schemas.microsoft.com/office/drawing/2014/main" id="{A31A253B-9B49-2519-E36E-5152A00435A9}"/>
                    </a:ext>
                  </a:extLst>
                </p:cNvPr>
                <p:cNvSpPr>
                  <a:spLocks/>
                </p:cNvSpPr>
                <p:nvPr/>
              </p:nvSpPr>
              <p:spPr bwMode="auto">
                <a:xfrm>
                  <a:off x="6296731" y="2881922"/>
                  <a:ext cx="484551" cy="325970"/>
                </a:xfrm>
                <a:custGeom>
                  <a:avLst/>
                  <a:gdLst/>
                  <a:ahLst/>
                  <a:cxnLst>
                    <a:cxn ang="0">
                      <a:pos x="176" y="91"/>
                    </a:cxn>
                    <a:cxn ang="0">
                      <a:pos x="146" y="101"/>
                    </a:cxn>
                    <a:cxn ang="0">
                      <a:pos x="130" y="98"/>
                    </a:cxn>
                    <a:cxn ang="0">
                      <a:pos x="87" y="98"/>
                    </a:cxn>
                    <a:cxn ang="0">
                      <a:pos x="78" y="56"/>
                    </a:cxn>
                    <a:cxn ang="0">
                      <a:pos x="83" y="16"/>
                    </a:cxn>
                    <a:cxn ang="0">
                      <a:pos x="0" y="30"/>
                    </a:cxn>
                    <a:cxn ang="0">
                      <a:pos x="36" y="211"/>
                    </a:cxn>
                    <a:cxn ang="0">
                      <a:pos x="34" y="188"/>
                    </a:cxn>
                    <a:cxn ang="0">
                      <a:pos x="66" y="164"/>
                    </a:cxn>
                    <a:cxn ang="0">
                      <a:pos x="76" y="148"/>
                    </a:cxn>
                    <a:cxn ang="0">
                      <a:pos x="92" y="139"/>
                    </a:cxn>
                    <a:cxn ang="0">
                      <a:pos x="113" y="153"/>
                    </a:cxn>
                    <a:cxn ang="0">
                      <a:pos x="142" y="164"/>
                    </a:cxn>
                    <a:cxn ang="0">
                      <a:pos x="149" y="186"/>
                    </a:cxn>
                    <a:cxn ang="0">
                      <a:pos x="146" y="197"/>
                    </a:cxn>
                    <a:cxn ang="0">
                      <a:pos x="156" y="214"/>
                    </a:cxn>
                    <a:cxn ang="0">
                      <a:pos x="189" y="214"/>
                    </a:cxn>
                    <a:cxn ang="0">
                      <a:pos x="210" y="232"/>
                    </a:cxn>
                    <a:cxn ang="0">
                      <a:pos x="231" y="275"/>
                    </a:cxn>
                    <a:cxn ang="0">
                      <a:pos x="290" y="322"/>
                    </a:cxn>
                    <a:cxn ang="0">
                      <a:pos x="343" y="357"/>
                    </a:cxn>
                    <a:cxn ang="0">
                      <a:pos x="372" y="374"/>
                    </a:cxn>
                    <a:cxn ang="0">
                      <a:pos x="388" y="399"/>
                    </a:cxn>
                    <a:cxn ang="0">
                      <a:pos x="412" y="408"/>
                    </a:cxn>
                    <a:cxn ang="0">
                      <a:pos x="433" y="364"/>
                    </a:cxn>
                    <a:cxn ang="0">
                      <a:pos x="425" y="334"/>
                    </a:cxn>
                    <a:cxn ang="0">
                      <a:pos x="411" y="321"/>
                    </a:cxn>
                    <a:cxn ang="0">
                      <a:pos x="397" y="307"/>
                    </a:cxn>
                    <a:cxn ang="0">
                      <a:pos x="435" y="294"/>
                    </a:cxn>
                    <a:cxn ang="0">
                      <a:pos x="447" y="263"/>
                    </a:cxn>
                    <a:cxn ang="0">
                      <a:pos x="468" y="237"/>
                    </a:cxn>
                    <a:cxn ang="0">
                      <a:pos x="485" y="239"/>
                    </a:cxn>
                    <a:cxn ang="0">
                      <a:pos x="510" y="225"/>
                    </a:cxn>
                    <a:cxn ang="0">
                      <a:pos x="512" y="244"/>
                    </a:cxn>
                    <a:cxn ang="0">
                      <a:pos x="513" y="263"/>
                    </a:cxn>
                    <a:cxn ang="0">
                      <a:pos x="548" y="265"/>
                    </a:cxn>
                    <a:cxn ang="0">
                      <a:pos x="569" y="254"/>
                    </a:cxn>
                    <a:cxn ang="0">
                      <a:pos x="599" y="230"/>
                    </a:cxn>
                    <a:cxn ang="0">
                      <a:pos x="548" y="202"/>
                    </a:cxn>
                    <a:cxn ang="0">
                      <a:pos x="501" y="200"/>
                    </a:cxn>
                    <a:cxn ang="0">
                      <a:pos x="531" y="169"/>
                    </a:cxn>
                    <a:cxn ang="0">
                      <a:pos x="515" y="174"/>
                    </a:cxn>
                    <a:cxn ang="0">
                      <a:pos x="492" y="186"/>
                    </a:cxn>
                    <a:cxn ang="0">
                      <a:pos x="461" y="206"/>
                    </a:cxn>
                    <a:cxn ang="0">
                      <a:pos x="444" y="227"/>
                    </a:cxn>
                    <a:cxn ang="0">
                      <a:pos x="435" y="244"/>
                    </a:cxn>
                    <a:cxn ang="0">
                      <a:pos x="425" y="223"/>
                    </a:cxn>
                    <a:cxn ang="0">
                      <a:pos x="395" y="218"/>
                    </a:cxn>
                    <a:cxn ang="0">
                      <a:pos x="371" y="179"/>
                    </a:cxn>
                    <a:cxn ang="0">
                      <a:pos x="353" y="152"/>
                    </a:cxn>
                    <a:cxn ang="0">
                      <a:pos x="346" y="132"/>
                    </a:cxn>
                    <a:cxn ang="0">
                      <a:pos x="322" y="103"/>
                    </a:cxn>
                    <a:cxn ang="0">
                      <a:pos x="290" y="101"/>
                    </a:cxn>
                    <a:cxn ang="0">
                      <a:pos x="212" y="105"/>
                    </a:cxn>
                    <a:cxn ang="0">
                      <a:pos x="179" y="63"/>
                    </a:cxn>
                  </a:cxnLst>
                  <a:rect l="0" t="0" r="r" b="b"/>
                  <a:pathLst>
                    <a:path w="602" h="408">
                      <a:moveTo>
                        <a:pt x="179" y="63"/>
                      </a:moveTo>
                      <a:lnTo>
                        <a:pt x="179" y="63"/>
                      </a:lnTo>
                      <a:lnTo>
                        <a:pt x="169" y="75"/>
                      </a:lnTo>
                      <a:lnTo>
                        <a:pt x="167" y="80"/>
                      </a:lnTo>
                      <a:lnTo>
                        <a:pt x="169" y="84"/>
                      </a:lnTo>
                      <a:lnTo>
                        <a:pt x="174" y="87"/>
                      </a:lnTo>
                      <a:lnTo>
                        <a:pt x="174" y="87"/>
                      </a:lnTo>
                      <a:lnTo>
                        <a:pt x="176" y="91"/>
                      </a:lnTo>
                      <a:lnTo>
                        <a:pt x="176" y="92"/>
                      </a:lnTo>
                      <a:lnTo>
                        <a:pt x="174" y="94"/>
                      </a:lnTo>
                      <a:lnTo>
                        <a:pt x="170" y="96"/>
                      </a:lnTo>
                      <a:lnTo>
                        <a:pt x="163" y="98"/>
                      </a:lnTo>
                      <a:lnTo>
                        <a:pt x="153" y="98"/>
                      </a:lnTo>
                      <a:lnTo>
                        <a:pt x="153" y="98"/>
                      </a:lnTo>
                      <a:lnTo>
                        <a:pt x="148" y="98"/>
                      </a:lnTo>
                      <a:lnTo>
                        <a:pt x="146" y="101"/>
                      </a:lnTo>
                      <a:lnTo>
                        <a:pt x="142" y="105"/>
                      </a:lnTo>
                      <a:lnTo>
                        <a:pt x="141" y="105"/>
                      </a:lnTo>
                      <a:lnTo>
                        <a:pt x="135" y="106"/>
                      </a:lnTo>
                      <a:lnTo>
                        <a:pt x="135" y="106"/>
                      </a:lnTo>
                      <a:lnTo>
                        <a:pt x="132" y="106"/>
                      </a:lnTo>
                      <a:lnTo>
                        <a:pt x="130" y="105"/>
                      </a:lnTo>
                      <a:lnTo>
                        <a:pt x="130" y="99"/>
                      </a:lnTo>
                      <a:lnTo>
                        <a:pt x="130" y="98"/>
                      </a:lnTo>
                      <a:lnTo>
                        <a:pt x="129" y="94"/>
                      </a:lnTo>
                      <a:lnTo>
                        <a:pt x="127" y="92"/>
                      </a:lnTo>
                      <a:lnTo>
                        <a:pt x="120" y="89"/>
                      </a:lnTo>
                      <a:lnTo>
                        <a:pt x="120" y="89"/>
                      </a:lnTo>
                      <a:lnTo>
                        <a:pt x="111" y="89"/>
                      </a:lnTo>
                      <a:lnTo>
                        <a:pt x="104" y="91"/>
                      </a:lnTo>
                      <a:lnTo>
                        <a:pt x="92" y="94"/>
                      </a:lnTo>
                      <a:lnTo>
                        <a:pt x="87" y="98"/>
                      </a:lnTo>
                      <a:lnTo>
                        <a:pt x="83" y="98"/>
                      </a:lnTo>
                      <a:lnTo>
                        <a:pt x="81" y="96"/>
                      </a:lnTo>
                      <a:lnTo>
                        <a:pt x="81" y="92"/>
                      </a:lnTo>
                      <a:lnTo>
                        <a:pt x="81" y="92"/>
                      </a:lnTo>
                      <a:lnTo>
                        <a:pt x="80" y="80"/>
                      </a:lnTo>
                      <a:lnTo>
                        <a:pt x="78" y="68"/>
                      </a:lnTo>
                      <a:lnTo>
                        <a:pt x="78" y="59"/>
                      </a:lnTo>
                      <a:lnTo>
                        <a:pt x="78" y="56"/>
                      </a:lnTo>
                      <a:lnTo>
                        <a:pt x="80" y="52"/>
                      </a:lnTo>
                      <a:lnTo>
                        <a:pt x="80" y="52"/>
                      </a:lnTo>
                      <a:lnTo>
                        <a:pt x="80" y="49"/>
                      </a:lnTo>
                      <a:lnTo>
                        <a:pt x="80" y="47"/>
                      </a:lnTo>
                      <a:lnTo>
                        <a:pt x="76" y="40"/>
                      </a:lnTo>
                      <a:lnTo>
                        <a:pt x="76" y="35"/>
                      </a:lnTo>
                      <a:lnTo>
                        <a:pt x="78" y="26"/>
                      </a:lnTo>
                      <a:lnTo>
                        <a:pt x="83" y="16"/>
                      </a:lnTo>
                      <a:lnTo>
                        <a:pt x="90" y="0"/>
                      </a:lnTo>
                      <a:lnTo>
                        <a:pt x="90" y="0"/>
                      </a:lnTo>
                      <a:lnTo>
                        <a:pt x="75" y="4"/>
                      </a:lnTo>
                      <a:lnTo>
                        <a:pt x="50" y="12"/>
                      </a:lnTo>
                      <a:lnTo>
                        <a:pt x="7" y="26"/>
                      </a:lnTo>
                      <a:lnTo>
                        <a:pt x="7" y="26"/>
                      </a:lnTo>
                      <a:lnTo>
                        <a:pt x="1" y="28"/>
                      </a:lnTo>
                      <a:lnTo>
                        <a:pt x="0" y="30"/>
                      </a:lnTo>
                      <a:lnTo>
                        <a:pt x="0" y="44"/>
                      </a:lnTo>
                      <a:lnTo>
                        <a:pt x="0" y="44"/>
                      </a:lnTo>
                      <a:lnTo>
                        <a:pt x="0" y="209"/>
                      </a:lnTo>
                      <a:lnTo>
                        <a:pt x="0" y="209"/>
                      </a:lnTo>
                      <a:lnTo>
                        <a:pt x="10" y="209"/>
                      </a:lnTo>
                      <a:lnTo>
                        <a:pt x="22" y="211"/>
                      </a:lnTo>
                      <a:lnTo>
                        <a:pt x="33" y="211"/>
                      </a:lnTo>
                      <a:lnTo>
                        <a:pt x="36" y="211"/>
                      </a:lnTo>
                      <a:lnTo>
                        <a:pt x="40" y="209"/>
                      </a:lnTo>
                      <a:lnTo>
                        <a:pt x="40" y="209"/>
                      </a:lnTo>
                      <a:lnTo>
                        <a:pt x="40" y="207"/>
                      </a:lnTo>
                      <a:lnTo>
                        <a:pt x="40" y="204"/>
                      </a:lnTo>
                      <a:lnTo>
                        <a:pt x="36" y="200"/>
                      </a:lnTo>
                      <a:lnTo>
                        <a:pt x="34" y="197"/>
                      </a:lnTo>
                      <a:lnTo>
                        <a:pt x="34" y="193"/>
                      </a:lnTo>
                      <a:lnTo>
                        <a:pt x="34" y="188"/>
                      </a:lnTo>
                      <a:lnTo>
                        <a:pt x="36" y="181"/>
                      </a:lnTo>
                      <a:lnTo>
                        <a:pt x="36" y="181"/>
                      </a:lnTo>
                      <a:lnTo>
                        <a:pt x="40" y="174"/>
                      </a:lnTo>
                      <a:lnTo>
                        <a:pt x="45" y="171"/>
                      </a:lnTo>
                      <a:lnTo>
                        <a:pt x="48" y="169"/>
                      </a:lnTo>
                      <a:lnTo>
                        <a:pt x="54" y="169"/>
                      </a:lnTo>
                      <a:lnTo>
                        <a:pt x="62" y="167"/>
                      </a:lnTo>
                      <a:lnTo>
                        <a:pt x="66" y="164"/>
                      </a:lnTo>
                      <a:lnTo>
                        <a:pt x="68" y="160"/>
                      </a:lnTo>
                      <a:lnTo>
                        <a:pt x="68" y="160"/>
                      </a:lnTo>
                      <a:lnTo>
                        <a:pt x="69" y="155"/>
                      </a:lnTo>
                      <a:lnTo>
                        <a:pt x="71" y="153"/>
                      </a:lnTo>
                      <a:lnTo>
                        <a:pt x="78" y="153"/>
                      </a:lnTo>
                      <a:lnTo>
                        <a:pt x="80" y="155"/>
                      </a:lnTo>
                      <a:lnTo>
                        <a:pt x="81" y="153"/>
                      </a:lnTo>
                      <a:lnTo>
                        <a:pt x="76" y="148"/>
                      </a:lnTo>
                      <a:lnTo>
                        <a:pt x="76" y="148"/>
                      </a:lnTo>
                      <a:lnTo>
                        <a:pt x="75" y="146"/>
                      </a:lnTo>
                      <a:lnTo>
                        <a:pt x="75" y="145"/>
                      </a:lnTo>
                      <a:lnTo>
                        <a:pt x="78" y="143"/>
                      </a:lnTo>
                      <a:lnTo>
                        <a:pt x="85" y="143"/>
                      </a:lnTo>
                      <a:lnTo>
                        <a:pt x="90" y="139"/>
                      </a:lnTo>
                      <a:lnTo>
                        <a:pt x="90" y="139"/>
                      </a:lnTo>
                      <a:lnTo>
                        <a:pt x="92" y="139"/>
                      </a:lnTo>
                      <a:lnTo>
                        <a:pt x="94" y="139"/>
                      </a:lnTo>
                      <a:lnTo>
                        <a:pt x="97" y="143"/>
                      </a:lnTo>
                      <a:lnTo>
                        <a:pt x="101" y="148"/>
                      </a:lnTo>
                      <a:lnTo>
                        <a:pt x="104" y="150"/>
                      </a:lnTo>
                      <a:lnTo>
                        <a:pt x="108" y="152"/>
                      </a:lnTo>
                      <a:lnTo>
                        <a:pt x="108" y="152"/>
                      </a:lnTo>
                      <a:lnTo>
                        <a:pt x="113" y="152"/>
                      </a:lnTo>
                      <a:lnTo>
                        <a:pt x="113" y="153"/>
                      </a:lnTo>
                      <a:lnTo>
                        <a:pt x="115" y="157"/>
                      </a:lnTo>
                      <a:lnTo>
                        <a:pt x="115" y="159"/>
                      </a:lnTo>
                      <a:lnTo>
                        <a:pt x="118" y="160"/>
                      </a:lnTo>
                      <a:lnTo>
                        <a:pt x="123" y="160"/>
                      </a:lnTo>
                      <a:lnTo>
                        <a:pt x="134" y="162"/>
                      </a:lnTo>
                      <a:lnTo>
                        <a:pt x="134" y="162"/>
                      </a:lnTo>
                      <a:lnTo>
                        <a:pt x="141" y="162"/>
                      </a:lnTo>
                      <a:lnTo>
                        <a:pt x="142" y="164"/>
                      </a:lnTo>
                      <a:lnTo>
                        <a:pt x="142" y="166"/>
                      </a:lnTo>
                      <a:lnTo>
                        <a:pt x="142" y="167"/>
                      </a:lnTo>
                      <a:lnTo>
                        <a:pt x="141" y="171"/>
                      </a:lnTo>
                      <a:lnTo>
                        <a:pt x="141" y="174"/>
                      </a:lnTo>
                      <a:lnTo>
                        <a:pt x="142" y="179"/>
                      </a:lnTo>
                      <a:lnTo>
                        <a:pt x="148" y="183"/>
                      </a:lnTo>
                      <a:lnTo>
                        <a:pt x="148" y="183"/>
                      </a:lnTo>
                      <a:lnTo>
                        <a:pt x="149" y="186"/>
                      </a:lnTo>
                      <a:lnTo>
                        <a:pt x="149" y="186"/>
                      </a:lnTo>
                      <a:lnTo>
                        <a:pt x="146" y="188"/>
                      </a:lnTo>
                      <a:lnTo>
                        <a:pt x="142" y="190"/>
                      </a:lnTo>
                      <a:lnTo>
                        <a:pt x="142" y="190"/>
                      </a:lnTo>
                      <a:lnTo>
                        <a:pt x="144" y="193"/>
                      </a:lnTo>
                      <a:lnTo>
                        <a:pt x="144" y="193"/>
                      </a:lnTo>
                      <a:lnTo>
                        <a:pt x="146" y="195"/>
                      </a:lnTo>
                      <a:lnTo>
                        <a:pt x="146" y="197"/>
                      </a:lnTo>
                      <a:lnTo>
                        <a:pt x="144" y="200"/>
                      </a:lnTo>
                      <a:lnTo>
                        <a:pt x="142" y="200"/>
                      </a:lnTo>
                      <a:lnTo>
                        <a:pt x="142" y="202"/>
                      </a:lnTo>
                      <a:lnTo>
                        <a:pt x="144" y="206"/>
                      </a:lnTo>
                      <a:lnTo>
                        <a:pt x="148" y="209"/>
                      </a:lnTo>
                      <a:lnTo>
                        <a:pt x="148" y="209"/>
                      </a:lnTo>
                      <a:lnTo>
                        <a:pt x="153" y="213"/>
                      </a:lnTo>
                      <a:lnTo>
                        <a:pt x="156" y="214"/>
                      </a:lnTo>
                      <a:lnTo>
                        <a:pt x="165" y="214"/>
                      </a:lnTo>
                      <a:lnTo>
                        <a:pt x="174" y="213"/>
                      </a:lnTo>
                      <a:lnTo>
                        <a:pt x="177" y="214"/>
                      </a:lnTo>
                      <a:lnTo>
                        <a:pt x="181" y="216"/>
                      </a:lnTo>
                      <a:lnTo>
                        <a:pt x="181" y="216"/>
                      </a:lnTo>
                      <a:lnTo>
                        <a:pt x="184" y="216"/>
                      </a:lnTo>
                      <a:lnTo>
                        <a:pt x="186" y="216"/>
                      </a:lnTo>
                      <a:lnTo>
                        <a:pt x="189" y="214"/>
                      </a:lnTo>
                      <a:lnTo>
                        <a:pt x="191" y="213"/>
                      </a:lnTo>
                      <a:lnTo>
                        <a:pt x="193" y="211"/>
                      </a:lnTo>
                      <a:lnTo>
                        <a:pt x="195" y="211"/>
                      </a:lnTo>
                      <a:lnTo>
                        <a:pt x="200" y="214"/>
                      </a:lnTo>
                      <a:lnTo>
                        <a:pt x="200" y="214"/>
                      </a:lnTo>
                      <a:lnTo>
                        <a:pt x="205" y="218"/>
                      </a:lnTo>
                      <a:lnTo>
                        <a:pt x="209" y="221"/>
                      </a:lnTo>
                      <a:lnTo>
                        <a:pt x="210" y="232"/>
                      </a:lnTo>
                      <a:lnTo>
                        <a:pt x="212" y="242"/>
                      </a:lnTo>
                      <a:lnTo>
                        <a:pt x="214" y="246"/>
                      </a:lnTo>
                      <a:lnTo>
                        <a:pt x="217" y="249"/>
                      </a:lnTo>
                      <a:lnTo>
                        <a:pt x="217" y="249"/>
                      </a:lnTo>
                      <a:lnTo>
                        <a:pt x="221" y="253"/>
                      </a:lnTo>
                      <a:lnTo>
                        <a:pt x="223" y="256"/>
                      </a:lnTo>
                      <a:lnTo>
                        <a:pt x="226" y="265"/>
                      </a:lnTo>
                      <a:lnTo>
                        <a:pt x="231" y="275"/>
                      </a:lnTo>
                      <a:lnTo>
                        <a:pt x="235" y="280"/>
                      </a:lnTo>
                      <a:lnTo>
                        <a:pt x="242" y="286"/>
                      </a:lnTo>
                      <a:lnTo>
                        <a:pt x="242" y="286"/>
                      </a:lnTo>
                      <a:lnTo>
                        <a:pt x="257" y="298"/>
                      </a:lnTo>
                      <a:lnTo>
                        <a:pt x="270" y="310"/>
                      </a:lnTo>
                      <a:lnTo>
                        <a:pt x="282" y="321"/>
                      </a:lnTo>
                      <a:lnTo>
                        <a:pt x="285" y="322"/>
                      </a:lnTo>
                      <a:lnTo>
                        <a:pt x="290" y="322"/>
                      </a:lnTo>
                      <a:lnTo>
                        <a:pt x="290" y="322"/>
                      </a:lnTo>
                      <a:lnTo>
                        <a:pt x="294" y="324"/>
                      </a:lnTo>
                      <a:lnTo>
                        <a:pt x="301" y="327"/>
                      </a:lnTo>
                      <a:lnTo>
                        <a:pt x="315" y="340"/>
                      </a:lnTo>
                      <a:lnTo>
                        <a:pt x="330" y="354"/>
                      </a:lnTo>
                      <a:lnTo>
                        <a:pt x="337" y="357"/>
                      </a:lnTo>
                      <a:lnTo>
                        <a:pt x="343" y="357"/>
                      </a:lnTo>
                      <a:lnTo>
                        <a:pt x="343" y="357"/>
                      </a:lnTo>
                      <a:lnTo>
                        <a:pt x="344" y="355"/>
                      </a:lnTo>
                      <a:lnTo>
                        <a:pt x="348" y="355"/>
                      </a:lnTo>
                      <a:lnTo>
                        <a:pt x="355" y="359"/>
                      </a:lnTo>
                      <a:lnTo>
                        <a:pt x="371" y="368"/>
                      </a:lnTo>
                      <a:lnTo>
                        <a:pt x="371" y="368"/>
                      </a:lnTo>
                      <a:lnTo>
                        <a:pt x="372" y="369"/>
                      </a:lnTo>
                      <a:lnTo>
                        <a:pt x="374" y="371"/>
                      </a:lnTo>
                      <a:lnTo>
                        <a:pt x="372" y="374"/>
                      </a:lnTo>
                      <a:lnTo>
                        <a:pt x="371" y="378"/>
                      </a:lnTo>
                      <a:lnTo>
                        <a:pt x="369" y="383"/>
                      </a:lnTo>
                      <a:lnTo>
                        <a:pt x="369" y="390"/>
                      </a:lnTo>
                      <a:lnTo>
                        <a:pt x="369" y="401"/>
                      </a:lnTo>
                      <a:lnTo>
                        <a:pt x="369" y="401"/>
                      </a:lnTo>
                      <a:lnTo>
                        <a:pt x="378" y="397"/>
                      </a:lnTo>
                      <a:lnTo>
                        <a:pt x="383" y="397"/>
                      </a:lnTo>
                      <a:lnTo>
                        <a:pt x="388" y="399"/>
                      </a:lnTo>
                      <a:lnTo>
                        <a:pt x="390" y="402"/>
                      </a:lnTo>
                      <a:lnTo>
                        <a:pt x="393" y="406"/>
                      </a:lnTo>
                      <a:lnTo>
                        <a:pt x="395" y="408"/>
                      </a:lnTo>
                      <a:lnTo>
                        <a:pt x="397" y="408"/>
                      </a:lnTo>
                      <a:lnTo>
                        <a:pt x="397" y="408"/>
                      </a:lnTo>
                      <a:lnTo>
                        <a:pt x="402" y="406"/>
                      </a:lnTo>
                      <a:lnTo>
                        <a:pt x="405" y="404"/>
                      </a:lnTo>
                      <a:lnTo>
                        <a:pt x="412" y="408"/>
                      </a:lnTo>
                      <a:lnTo>
                        <a:pt x="412" y="408"/>
                      </a:lnTo>
                      <a:lnTo>
                        <a:pt x="414" y="404"/>
                      </a:lnTo>
                      <a:lnTo>
                        <a:pt x="414" y="401"/>
                      </a:lnTo>
                      <a:lnTo>
                        <a:pt x="416" y="394"/>
                      </a:lnTo>
                      <a:lnTo>
                        <a:pt x="421" y="383"/>
                      </a:lnTo>
                      <a:lnTo>
                        <a:pt x="421" y="383"/>
                      </a:lnTo>
                      <a:lnTo>
                        <a:pt x="428" y="371"/>
                      </a:lnTo>
                      <a:lnTo>
                        <a:pt x="433" y="364"/>
                      </a:lnTo>
                      <a:lnTo>
                        <a:pt x="433" y="361"/>
                      </a:lnTo>
                      <a:lnTo>
                        <a:pt x="433" y="357"/>
                      </a:lnTo>
                      <a:lnTo>
                        <a:pt x="431" y="354"/>
                      </a:lnTo>
                      <a:lnTo>
                        <a:pt x="428" y="350"/>
                      </a:lnTo>
                      <a:lnTo>
                        <a:pt x="428" y="350"/>
                      </a:lnTo>
                      <a:lnTo>
                        <a:pt x="425" y="347"/>
                      </a:lnTo>
                      <a:lnTo>
                        <a:pt x="423" y="341"/>
                      </a:lnTo>
                      <a:lnTo>
                        <a:pt x="425" y="334"/>
                      </a:lnTo>
                      <a:lnTo>
                        <a:pt x="426" y="327"/>
                      </a:lnTo>
                      <a:lnTo>
                        <a:pt x="426" y="324"/>
                      </a:lnTo>
                      <a:lnTo>
                        <a:pt x="425" y="322"/>
                      </a:lnTo>
                      <a:lnTo>
                        <a:pt x="425" y="322"/>
                      </a:lnTo>
                      <a:lnTo>
                        <a:pt x="421" y="322"/>
                      </a:lnTo>
                      <a:lnTo>
                        <a:pt x="416" y="322"/>
                      </a:lnTo>
                      <a:lnTo>
                        <a:pt x="412" y="322"/>
                      </a:lnTo>
                      <a:lnTo>
                        <a:pt x="411" y="321"/>
                      </a:lnTo>
                      <a:lnTo>
                        <a:pt x="411" y="317"/>
                      </a:lnTo>
                      <a:lnTo>
                        <a:pt x="411" y="317"/>
                      </a:lnTo>
                      <a:lnTo>
                        <a:pt x="409" y="314"/>
                      </a:lnTo>
                      <a:lnTo>
                        <a:pt x="407" y="312"/>
                      </a:lnTo>
                      <a:lnTo>
                        <a:pt x="400" y="312"/>
                      </a:lnTo>
                      <a:lnTo>
                        <a:pt x="400" y="312"/>
                      </a:lnTo>
                      <a:lnTo>
                        <a:pt x="398" y="310"/>
                      </a:lnTo>
                      <a:lnTo>
                        <a:pt x="397" y="307"/>
                      </a:lnTo>
                      <a:lnTo>
                        <a:pt x="402" y="300"/>
                      </a:lnTo>
                      <a:lnTo>
                        <a:pt x="405" y="296"/>
                      </a:lnTo>
                      <a:lnTo>
                        <a:pt x="409" y="293"/>
                      </a:lnTo>
                      <a:lnTo>
                        <a:pt x="414" y="291"/>
                      </a:lnTo>
                      <a:lnTo>
                        <a:pt x="419" y="293"/>
                      </a:lnTo>
                      <a:lnTo>
                        <a:pt x="419" y="293"/>
                      </a:lnTo>
                      <a:lnTo>
                        <a:pt x="430" y="294"/>
                      </a:lnTo>
                      <a:lnTo>
                        <a:pt x="435" y="294"/>
                      </a:lnTo>
                      <a:lnTo>
                        <a:pt x="440" y="289"/>
                      </a:lnTo>
                      <a:lnTo>
                        <a:pt x="447" y="280"/>
                      </a:lnTo>
                      <a:lnTo>
                        <a:pt x="447" y="280"/>
                      </a:lnTo>
                      <a:lnTo>
                        <a:pt x="449" y="275"/>
                      </a:lnTo>
                      <a:lnTo>
                        <a:pt x="449" y="272"/>
                      </a:lnTo>
                      <a:lnTo>
                        <a:pt x="447" y="265"/>
                      </a:lnTo>
                      <a:lnTo>
                        <a:pt x="447" y="263"/>
                      </a:lnTo>
                      <a:lnTo>
                        <a:pt x="447" y="263"/>
                      </a:lnTo>
                      <a:lnTo>
                        <a:pt x="456" y="261"/>
                      </a:lnTo>
                      <a:lnTo>
                        <a:pt x="456" y="261"/>
                      </a:lnTo>
                      <a:lnTo>
                        <a:pt x="461" y="260"/>
                      </a:lnTo>
                      <a:lnTo>
                        <a:pt x="465" y="256"/>
                      </a:lnTo>
                      <a:lnTo>
                        <a:pt x="466" y="253"/>
                      </a:lnTo>
                      <a:lnTo>
                        <a:pt x="468" y="249"/>
                      </a:lnTo>
                      <a:lnTo>
                        <a:pt x="468" y="240"/>
                      </a:lnTo>
                      <a:lnTo>
                        <a:pt x="468" y="237"/>
                      </a:lnTo>
                      <a:lnTo>
                        <a:pt x="470" y="235"/>
                      </a:lnTo>
                      <a:lnTo>
                        <a:pt x="470" y="235"/>
                      </a:lnTo>
                      <a:lnTo>
                        <a:pt x="472" y="233"/>
                      </a:lnTo>
                      <a:lnTo>
                        <a:pt x="473" y="235"/>
                      </a:lnTo>
                      <a:lnTo>
                        <a:pt x="475" y="237"/>
                      </a:lnTo>
                      <a:lnTo>
                        <a:pt x="478" y="239"/>
                      </a:lnTo>
                      <a:lnTo>
                        <a:pt x="480" y="239"/>
                      </a:lnTo>
                      <a:lnTo>
                        <a:pt x="485" y="239"/>
                      </a:lnTo>
                      <a:lnTo>
                        <a:pt x="491" y="237"/>
                      </a:lnTo>
                      <a:lnTo>
                        <a:pt x="491" y="237"/>
                      </a:lnTo>
                      <a:lnTo>
                        <a:pt x="499" y="232"/>
                      </a:lnTo>
                      <a:lnTo>
                        <a:pt x="503" y="227"/>
                      </a:lnTo>
                      <a:lnTo>
                        <a:pt x="505" y="223"/>
                      </a:lnTo>
                      <a:lnTo>
                        <a:pt x="506" y="223"/>
                      </a:lnTo>
                      <a:lnTo>
                        <a:pt x="506" y="223"/>
                      </a:lnTo>
                      <a:lnTo>
                        <a:pt x="510" y="225"/>
                      </a:lnTo>
                      <a:lnTo>
                        <a:pt x="512" y="228"/>
                      </a:lnTo>
                      <a:lnTo>
                        <a:pt x="513" y="233"/>
                      </a:lnTo>
                      <a:lnTo>
                        <a:pt x="515" y="237"/>
                      </a:lnTo>
                      <a:lnTo>
                        <a:pt x="515" y="237"/>
                      </a:lnTo>
                      <a:lnTo>
                        <a:pt x="519" y="237"/>
                      </a:lnTo>
                      <a:lnTo>
                        <a:pt x="519" y="239"/>
                      </a:lnTo>
                      <a:lnTo>
                        <a:pt x="512" y="244"/>
                      </a:lnTo>
                      <a:lnTo>
                        <a:pt x="512" y="244"/>
                      </a:lnTo>
                      <a:lnTo>
                        <a:pt x="503" y="251"/>
                      </a:lnTo>
                      <a:lnTo>
                        <a:pt x="503" y="254"/>
                      </a:lnTo>
                      <a:lnTo>
                        <a:pt x="506" y="256"/>
                      </a:lnTo>
                      <a:lnTo>
                        <a:pt x="506" y="256"/>
                      </a:lnTo>
                      <a:lnTo>
                        <a:pt x="510" y="256"/>
                      </a:lnTo>
                      <a:lnTo>
                        <a:pt x="510" y="258"/>
                      </a:lnTo>
                      <a:lnTo>
                        <a:pt x="512" y="261"/>
                      </a:lnTo>
                      <a:lnTo>
                        <a:pt x="513" y="263"/>
                      </a:lnTo>
                      <a:lnTo>
                        <a:pt x="515" y="263"/>
                      </a:lnTo>
                      <a:lnTo>
                        <a:pt x="526" y="261"/>
                      </a:lnTo>
                      <a:lnTo>
                        <a:pt x="526" y="261"/>
                      </a:lnTo>
                      <a:lnTo>
                        <a:pt x="531" y="260"/>
                      </a:lnTo>
                      <a:lnTo>
                        <a:pt x="536" y="260"/>
                      </a:lnTo>
                      <a:lnTo>
                        <a:pt x="541" y="261"/>
                      </a:lnTo>
                      <a:lnTo>
                        <a:pt x="548" y="265"/>
                      </a:lnTo>
                      <a:lnTo>
                        <a:pt x="548" y="265"/>
                      </a:lnTo>
                      <a:lnTo>
                        <a:pt x="553" y="268"/>
                      </a:lnTo>
                      <a:lnTo>
                        <a:pt x="555" y="267"/>
                      </a:lnTo>
                      <a:lnTo>
                        <a:pt x="557" y="265"/>
                      </a:lnTo>
                      <a:lnTo>
                        <a:pt x="559" y="261"/>
                      </a:lnTo>
                      <a:lnTo>
                        <a:pt x="564" y="256"/>
                      </a:lnTo>
                      <a:lnTo>
                        <a:pt x="566" y="254"/>
                      </a:lnTo>
                      <a:lnTo>
                        <a:pt x="569" y="254"/>
                      </a:lnTo>
                      <a:lnTo>
                        <a:pt x="569" y="254"/>
                      </a:lnTo>
                      <a:lnTo>
                        <a:pt x="576" y="254"/>
                      </a:lnTo>
                      <a:lnTo>
                        <a:pt x="579" y="253"/>
                      </a:lnTo>
                      <a:lnTo>
                        <a:pt x="585" y="246"/>
                      </a:lnTo>
                      <a:lnTo>
                        <a:pt x="595" y="239"/>
                      </a:lnTo>
                      <a:lnTo>
                        <a:pt x="595" y="239"/>
                      </a:lnTo>
                      <a:lnTo>
                        <a:pt x="602" y="233"/>
                      </a:lnTo>
                      <a:lnTo>
                        <a:pt x="602" y="232"/>
                      </a:lnTo>
                      <a:lnTo>
                        <a:pt x="599" y="230"/>
                      </a:lnTo>
                      <a:lnTo>
                        <a:pt x="588" y="228"/>
                      </a:lnTo>
                      <a:lnTo>
                        <a:pt x="571" y="223"/>
                      </a:lnTo>
                      <a:lnTo>
                        <a:pt x="571" y="223"/>
                      </a:lnTo>
                      <a:lnTo>
                        <a:pt x="562" y="218"/>
                      </a:lnTo>
                      <a:lnTo>
                        <a:pt x="557" y="213"/>
                      </a:lnTo>
                      <a:lnTo>
                        <a:pt x="552" y="206"/>
                      </a:lnTo>
                      <a:lnTo>
                        <a:pt x="550" y="202"/>
                      </a:lnTo>
                      <a:lnTo>
                        <a:pt x="548" y="202"/>
                      </a:lnTo>
                      <a:lnTo>
                        <a:pt x="541" y="211"/>
                      </a:lnTo>
                      <a:lnTo>
                        <a:pt x="541" y="211"/>
                      </a:lnTo>
                      <a:lnTo>
                        <a:pt x="538" y="216"/>
                      </a:lnTo>
                      <a:lnTo>
                        <a:pt x="532" y="218"/>
                      </a:lnTo>
                      <a:lnTo>
                        <a:pt x="529" y="218"/>
                      </a:lnTo>
                      <a:lnTo>
                        <a:pt x="524" y="216"/>
                      </a:lnTo>
                      <a:lnTo>
                        <a:pt x="512" y="209"/>
                      </a:lnTo>
                      <a:lnTo>
                        <a:pt x="501" y="200"/>
                      </a:lnTo>
                      <a:lnTo>
                        <a:pt x="501" y="200"/>
                      </a:lnTo>
                      <a:lnTo>
                        <a:pt x="499" y="199"/>
                      </a:lnTo>
                      <a:lnTo>
                        <a:pt x="499" y="197"/>
                      </a:lnTo>
                      <a:lnTo>
                        <a:pt x="503" y="192"/>
                      </a:lnTo>
                      <a:lnTo>
                        <a:pt x="517" y="181"/>
                      </a:lnTo>
                      <a:lnTo>
                        <a:pt x="526" y="176"/>
                      </a:lnTo>
                      <a:lnTo>
                        <a:pt x="531" y="173"/>
                      </a:lnTo>
                      <a:lnTo>
                        <a:pt x="531" y="169"/>
                      </a:lnTo>
                      <a:lnTo>
                        <a:pt x="531" y="167"/>
                      </a:lnTo>
                      <a:lnTo>
                        <a:pt x="529" y="166"/>
                      </a:lnTo>
                      <a:lnTo>
                        <a:pt x="526" y="164"/>
                      </a:lnTo>
                      <a:lnTo>
                        <a:pt x="524" y="166"/>
                      </a:lnTo>
                      <a:lnTo>
                        <a:pt x="524" y="166"/>
                      </a:lnTo>
                      <a:lnTo>
                        <a:pt x="517" y="167"/>
                      </a:lnTo>
                      <a:lnTo>
                        <a:pt x="515" y="171"/>
                      </a:lnTo>
                      <a:lnTo>
                        <a:pt x="515" y="174"/>
                      </a:lnTo>
                      <a:lnTo>
                        <a:pt x="513" y="176"/>
                      </a:lnTo>
                      <a:lnTo>
                        <a:pt x="513" y="176"/>
                      </a:lnTo>
                      <a:lnTo>
                        <a:pt x="510" y="174"/>
                      </a:lnTo>
                      <a:lnTo>
                        <a:pt x="510" y="173"/>
                      </a:lnTo>
                      <a:lnTo>
                        <a:pt x="506" y="171"/>
                      </a:lnTo>
                      <a:lnTo>
                        <a:pt x="503" y="174"/>
                      </a:lnTo>
                      <a:lnTo>
                        <a:pt x="503" y="174"/>
                      </a:lnTo>
                      <a:lnTo>
                        <a:pt x="492" y="186"/>
                      </a:lnTo>
                      <a:lnTo>
                        <a:pt x="478" y="193"/>
                      </a:lnTo>
                      <a:lnTo>
                        <a:pt x="478" y="193"/>
                      </a:lnTo>
                      <a:lnTo>
                        <a:pt x="475" y="197"/>
                      </a:lnTo>
                      <a:lnTo>
                        <a:pt x="472" y="199"/>
                      </a:lnTo>
                      <a:lnTo>
                        <a:pt x="470" y="202"/>
                      </a:lnTo>
                      <a:lnTo>
                        <a:pt x="465" y="204"/>
                      </a:lnTo>
                      <a:lnTo>
                        <a:pt x="465" y="204"/>
                      </a:lnTo>
                      <a:lnTo>
                        <a:pt x="461" y="206"/>
                      </a:lnTo>
                      <a:lnTo>
                        <a:pt x="459" y="206"/>
                      </a:lnTo>
                      <a:lnTo>
                        <a:pt x="458" y="211"/>
                      </a:lnTo>
                      <a:lnTo>
                        <a:pt x="458" y="214"/>
                      </a:lnTo>
                      <a:lnTo>
                        <a:pt x="458" y="216"/>
                      </a:lnTo>
                      <a:lnTo>
                        <a:pt x="456" y="218"/>
                      </a:lnTo>
                      <a:lnTo>
                        <a:pt x="456" y="218"/>
                      </a:lnTo>
                      <a:lnTo>
                        <a:pt x="449" y="223"/>
                      </a:lnTo>
                      <a:lnTo>
                        <a:pt x="444" y="227"/>
                      </a:lnTo>
                      <a:lnTo>
                        <a:pt x="440" y="232"/>
                      </a:lnTo>
                      <a:lnTo>
                        <a:pt x="440" y="235"/>
                      </a:lnTo>
                      <a:lnTo>
                        <a:pt x="442" y="239"/>
                      </a:lnTo>
                      <a:lnTo>
                        <a:pt x="442" y="239"/>
                      </a:lnTo>
                      <a:lnTo>
                        <a:pt x="444" y="242"/>
                      </a:lnTo>
                      <a:lnTo>
                        <a:pt x="442" y="244"/>
                      </a:lnTo>
                      <a:lnTo>
                        <a:pt x="438" y="244"/>
                      </a:lnTo>
                      <a:lnTo>
                        <a:pt x="435" y="244"/>
                      </a:lnTo>
                      <a:lnTo>
                        <a:pt x="435" y="244"/>
                      </a:lnTo>
                      <a:lnTo>
                        <a:pt x="421" y="235"/>
                      </a:lnTo>
                      <a:lnTo>
                        <a:pt x="421" y="235"/>
                      </a:lnTo>
                      <a:lnTo>
                        <a:pt x="425" y="230"/>
                      </a:lnTo>
                      <a:lnTo>
                        <a:pt x="426" y="225"/>
                      </a:lnTo>
                      <a:lnTo>
                        <a:pt x="426" y="223"/>
                      </a:lnTo>
                      <a:lnTo>
                        <a:pt x="426" y="223"/>
                      </a:lnTo>
                      <a:lnTo>
                        <a:pt x="425" y="223"/>
                      </a:lnTo>
                      <a:lnTo>
                        <a:pt x="423" y="223"/>
                      </a:lnTo>
                      <a:lnTo>
                        <a:pt x="421" y="223"/>
                      </a:lnTo>
                      <a:lnTo>
                        <a:pt x="419" y="220"/>
                      </a:lnTo>
                      <a:lnTo>
                        <a:pt x="419" y="220"/>
                      </a:lnTo>
                      <a:lnTo>
                        <a:pt x="418" y="216"/>
                      </a:lnTo>
                      <a:lnTo>
                        <a:pt x="414" y="216"/>
                      </a:lnTo>
                      <a:lnTo>
                        <a:pt x="395" y="218"/>
                      </a:lnTo>
                      <a:lnTo>
                        <a:pt x="395" y="218"/>
                      </a:lnTo>
                      <a:lnTo>
                        <a:pt x="381" y="218"/>
                      </a:lnTo>
                      <a:lnTo>
                        <a:pt x="376" y="216"/>
                      </a:lnTo>
                      <a:lnTo>
                        <a:pt x="374" y="214"/>
                      </a:lnTo>
                      <a:lnTo>
                        <a:pt x="372" y="211"/>
                      </a:lnTo>
                      <a:lnTo>
                        <a:pt x="372" y="204"/>
                      </a:lnTo>
                      <a:lnTo>
                        <a:pt x="372" y="204"/>
                      </a:lnTo>
                      <a:lnTo>
                        <a:pt x="372" y="185"/>
                      </a:lnTo>
                      <a:lnTo>
                        <a:pt x="371" y="179"/>
                      </a:lnTo>
                      <a:lnTo>
                        <a:pt x="369" y="178"/>
                      </a:lnTo>
                      <a:lnTo>
                        <a:pt x="367" y="176"/>
                      </a:lnTo>
                      <a:lnTo>
                        <a:pt x="367" y="176"/>
                      </a:lnTo>
                      <a:lnTo>
                        <a:pt x="351" y="176"/>
                      </a:lnTo>
                      <a:lnTo>
                        <a:pt x="351" y="176"/>
                      </a:lnTo>
                      <a:lnTo>
                        <a:pt x="351" y="171"/>
                      </a:lnTo>
                      <a:lnTo>
                        <a:pt x="351" y="164"/>
                      </a:lnTo>
                      <a:lnTo>
                        <a:pt x="353" y="152"/>
                      </a:lnTo>
                      <a:lnTo>
                        <a:pt x="353" y="152"/>
                      </a:lnTo>
                      <a:lnTo>
                        <a:pt x="357" y="132"/>
                      </a:lnTo>
                      <a:lnTo>
                        <a:pt x="355" y="129"/>
                      </a:lnTo>
                      <a:lnTo>
                        <a:pt x="355" y="129"/>
                      </a:lnTo>
                      <a:lnTo>
                        <a:pt x="351" y="129"/>
                      </a:lnTo>
                      <a:lnTo>
                        <a:pt x="350" y="131"/>
                      </a:lnTo>
                      <a:lnTo>
                        <a:pt x="350" y="131"/>
                      </a:lnTo>
                      <a:lnTo>
                        <a:pt x="346" y="132"/>
                      </a:lnTo>
                      <a:lnTo>
                        <a:pt x="343" y="132"/>
                      </a:lnTo>
                      <a:lnTo>
                        <a:pt x="339" y="126"/>
                      </a:lnTo>
                      <a:lnTo>
                        <a:pt x="336" y="115"/>
                      </a:lnTo>
                      <a:lnTo>
                        <a:pt x="332" y="112"/>
                      </a:lnTo>
                      <a:lnTo>
                        <a:pt x="329" y="108"/>
                      </a:lnTo>
                      <a:lnTo>
                        <a:pt x="329" y="108"/>
                      </a:lnTo>
                      <a:lnTo>
                        <a:pt x="324" y="106"/>
                      </a:lnTo>
                      <a:lnTo>
                        <a:pt x="322" y="103"/>
                      </a:lnTo>
                      <a:lnTo>
                        <a:pt x="317" y="96"/>
                      </a:lnTo>
                      <a:lnTo>
                        <a:pt x="315" y="94"/>
                      </a:lnTo>
                      <a:lnTo>
                        <a:pt x="313" y="92"/>
                      </a:lnTo>
                      <a:lnTo>
                        <a:pt x="310" y="92"/>
                      </a:lnTo>
                      <a:lnTo>
                        <a:pt x="306" y="94"/>
                      </a:lnTo>
                      <a:lnTo>
                        <a:pt x="306" y="94"/>
                      </a:lnTo>
                      <a:lnTo>
                        <a:pt x="297" y="99"/>
                      </a:lnTo>
                      <a:lnTo>
                        <a:pt x="290" y="101"/>
                      </a:lnTo>
                      <a:lnTo>
                        <a:pt x="283" y="101"/>
                      </a:lnTo>
                      <a:lnTo>
                        <a:pt x="277" y="99"/>
                      </a:lnTo>
                      <a:lnTo>
                        <a:pt x="259" y="98"/>
                      </a:lnTo>
                      <a:lnTo>
                        <a:pt x="249" y="98"/>
                      </a:lnTo>
                      <a:lnTo>
                        <a:pt x="236" y="99"/>
                      </a:lnTo>
                      <a:lnTo>
                        <a:pt x="236" y="99"/>
                      </a:lnTo>
                      <a:lnTo>
                        <a:pt x="223" y="103"/>
                      </a:lnTo>
                      <a:lnTo>
                        <a:pt x="212" y="105"/>
                      </a:lnTo>
                      <a:lnTo>
                        <a:pt x="209" y="103"/>
                      </a:lnTo>
                      <a:lnTo>
                        <a:pt x="207" y="101"/>
                      </a:lnTo>
                      <a:lnTo>
                        <a:pt x="200" y="92"/>
                      </a:lnTo>
                      <a:lnTo>
                        <a:pt x="200" y="92"/>
                      </a:lnTo>
                      <a:lnTo>
                        <a:pt x="181" y="68"/>
                      </a:lnTo>
                      <a:lnTo>
                        <a:pt x="181" y="68"/>
                      </a:lnTo>
                      <a:lnTo>
                        <a:pt x="179" y="65"/>
                      </a:lnTo>
                      <a:lnTo>
                        <a:pt x="179" y="63"/>
                      </a:lnTo>
                      <a:lnTo>
                        <a:pt x="179" y="6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4" name="Freeform 2011">
                  <a:extLst>
                    <a:ext uri="{FF2B5EF4-FFF2-40B4-BE49-F238E27FC236}">
                      <a16:creationId xmlns:a16="http://schemas.microsoft.com/office/drawing/2014/main" id="{71A8A893-1BC7-7E44-0D79-EC0787BFAAA9}"/>
                    </a:ext>
                  </a:extLst>
                </p:cNvPr>
                <p:cNvSpPr>
                  <a:spLocks/>
                </p:cNvSpPr>
                <p:nvPr/>
              </p:nvSpPr>
              <p:spPr bwMode="auto">
                <a:xfrm>
                  <a:off x="6670276" y="2975306"/>
                  <a:ext cx="311875" cy="155057"/>
                </a:xfrm>
                <a:custGeom>
                  <a:avLst/>
                  <a:gdLst/>
                  <a:ahLst/>
                  <a:cxnLst>
                    <a:cxn ang="0">
                      <a:pos x="66" y="48"/>
                    </a:cxn>
                    <a:cxn ang="0">
                      <a:pos x="52" y="62"/>
                    </a:cxn>
                    <a:cxn ang="0">
                      <a:pos x="36" y="81"/>
                    </a:cxn>
                    <a:cxn ang="0">
                      <a:pos x="64" y="99"/>
                    </a:cxn>
                    <a:cxn ang="0">
                      <a:pos x="76" y="92"/>
                    </a:cxn>
                    <a:cxn ang="0">
                      <a:pos x="92" y="94"/>
                    </a:cxn>
                    <a:cxn ang="0">
                      <a:pos x="123" y="109"/>
                    </a:cxn>
                    <a:cxn ang="0">
                      <a:pos x="130" y="120"/>
                    </a:cxn>
                    <a:cxn ang="0">
                      <a:pos x="111" y="135"/>
                    </a:cxn>
                    <a:cxn ang="0">
                      <a:pos x="99" y="137"/>
                    </a:cxn>
                    <a:cxn ang="0">
                      <a:pos x="88" y="149"/>
                    </a:cxn>
                    <a:cxn ang="0">
                      <a:pos x="71" y="141"/>
                    </a:cxn>
                    <a:cxn ang="0">
                      <a:pos x="57" y="146"/>
                    </a:cxn>
                    <a:cxn ang="0">
                      <a:pos x="48" y="155"/>
                    </a:cxn>
                    <a:cxn ang="0">
                      <a:pos x="41" y="149"/>
                    </a:cxn>
                    <a:cxn ang="0">
                      <a:pos x="20" y="146"/>
                    </a:cxn>
                    <a:cxn ang="0">
                      <a:pos x="8" y="153"/>
                    </a:cxn>
                    <a:cxn ang="0">
                      <a:pos x="1" y="158"/>
                    </a:cxn>
                    <a:cxn ang="0">
                      <a:pos x="0" y="167"/>
                    </a:cxn>
                    <a:cxn ang="0">
                      <a:pos x="13" y="175"/>
                    </a:cxn>
                    <a:cxn ang="0">
                      <a:pos x="50" y="179"/>
                    </a:cxn>
                    <a:cxn ang="0">
                      <a:pos x="66" y="177"/>
                    </a:cxn>
                    <a:cxn ang="0">
                      <a:pos x="83" y="181"/>
                    </a:cxn>
                    <a:cxn ang="0">
                      <a:pos x="94" y="188"/>
                    </a:cxn>
                    <a:cxn ang="0">
                      <a:pos x="102" y="189"/>
                    </a:cxn>
                    <a:cxn ang="0">
                      <a:pos x="113" y="186"/>
                    </a:cxn>
                    <a:cxn ang="0">
                      <a:pos x="128" y="184"/>
                    </a:cxn>
                    <a:cxn ang="0">
                      <a:pos x="155" y="181"/>
                    </a:cxn>
                    <a:cxn ang="0">
                      <a:pos x="165" y="170"/>
                    </a:cxn>
                    <a:cxn ang="0">
                      <a:pos x="168" y="153"/>
                    </a:cxn>
                    <a:cxn ang="0">
                      <a:pos x="191" y="142"/>
                    </a:cxn>
                    <a:cxn ang="0">
                      <a:pos x="200" y="130"/>
                    </a:cxn>
                    <a:cxn ang="0">
                      <a:pos x="214" y="130"/>
                    </a:cxn>
                    <a:cxn ang="0">
                      <a:pos x="226" y="132"/>
                    </a:cxn>
                    <a:cxn ang="0">
                      <a:pos x="233" y="141"/>
                    </a:cxn>
                    <a:cxn ang="0">
                      <a:pos x="247" y="137"/>
                    </a:cxn>
                    <a:cxn ang="0">
                      <a:pos x="254" y="132"/>
                    </a:cxn>
                    <a:cxn ang="0">
                      <a:pos x="268" y="108"/>
                    </a:cxn>
                    <a:cxn ang="0">
                      <a:pos x="301" y="106"/>
                    </a:cxn>
                    <a:cxn ang="0">
                      <a:pos x="320" y="92"/>
                    </a:cxn>
                    <a:cxn ang="0">
                      <a:pos x="336" y="76"/>
                    </a:cxn>
                    <a:cxn ang="0">
                      <a:pos x="369" y="62"/>
                    </a:cxn>
                    <a:cxn ang="0">
                      <a:pos x="383" y="55"/>
                    </a:cxn>
                    <a:cxn ang="0">
                      <a:pos x="376" y="40"/>
                    </a:cxn>
                    <a:cxn ang="0">
                      <a:pos x="355" y="31"/>
                    </a:cxn>
                    <a:cxn ang="0">
                      <a:pos x="346" y="19"/>
                    </a:cxn>
                    <a:cxn ang="0">
                      <a:pos x="275" y="12"/>
                    </a:cxn>
                    <a:cxn ang="0">
                      <a:pos x="229" y="15"/>
                    </a:cxn>
                    <a:cxn ang="0">
                      <a:pos x="214" y="17"/>
                    </a:cxn>
                    <a:cxn ang="0">
                      <a:pos x="177" y="0"/>
                    </a:cxn>
                    <a:cxn ang="0">
                      <a:pos x="156" y="5"/>
                    </a:cxn>
                    <a:cxn ang="0">
                      <a:pos x="149" y="36"/>
                    </a:cxn>
                    <a:cxn ang="0">
                      <a:pos x="130" y="31"/>
                    </a:cxn>
                    <a:cxn ang="0">
                      <a:pos x="83" y="17"/>
                    </a:cxn>
                    <a:cxn ang="0">
                      <a:pos x="69" y="24"/>
                    </a:cxn>
                    <a:cxn ang="0">
                      <a:pos x="61" y="45"/>
                    </a:cxn>
                  </a:cxnLst>
                  <a:rect l="0" t="0" r="r" b="b"/>
                  <a:pathLst>
                    <a:path w="388" h="191">
                      <a:moveTo>
                        <a:pt x="61" y="45"/>
                      </a:moveTo>
                      <a:lnTo>
                        <a:pt x="61" y="45"/>
                      </a:lnTo>
                      <a:lnTo>
                        <a:pt x="64" y="47"/>
                      </a:lnTo>
                      <a:lnTo>
                        <a:pt x="66" y="48"/>
                      </a:lnTo>
                      <a:lnTo>
                        <a:pt x="66" y="50"/>
                      </a:lnTo>
                      <a:lnTo>
                        <a:pt x="66" y="54"/>
                      </a:lnTo>
                      <a:lnTo>
                        <a:pt x="61" y="57"/>
                      </a:lnTo>
                      <a:lnTo>
                        <a:pt x="52" y="62"/>
                      </a:lnTo>
                      <a:lnTo>
                        <a:pt x="38" y="73"/>
                      </a:lnTo>
                      <a:lnTo>
                        <a:pt x="34" y="78"/>
                      </a:lnTo>
                      <a:lnTo>
                        <a:pt x="34" y="80"/>
                      </a:lnTo>
                      <a:lnTo>
                        <a:pt x="36" y="81"/>
                      </a:lnTo>
                      <a:lnTo>
                        <a:pt x="36" y="81"/>
                      </a:lnTo>
                      <a:lnTo>
                        <a:pt x="47" y="90"/>
                      </a:lnTo>
                      <a:lnTo>
                        <a:pt x="59" y="97"/>
                      </a:lnTo>
                      <a:lnTo>
                        <a:pt x="64" y="99"/>
                      </a:lnTo>
                      <a:lnTo>
                        <a:pt x="67" y="99"/>
                      </a:lnTo>
                      <a:lnTo>
                        <a:pt x="73" y="97"/>
                      </a:lnTo>
                      <a:lnTo>
                        <a:pt x="76" y="92"/>
                      </a:lnTo>
                      <a:lnTo>
                        <a:pt x="76" y="92"/>
                      </a:lnTo>
                      <a:lnTo>
                        <a:pt x="83" y="83"/>
                      </a:lnTo>
                      <a:lnTo>
                        <a:pt x="85" y="83"/>
                      </a:lnTo>
                      <a:lnTo>
                        <a:pt x="87" y="87"/>
                      </a:lnTo>
                      <a:lnTo>
                        <a:pt x="92" y="94"/>
                      </a:lnTo>
                      <a:lnTo>
                        <a:pt x="97" y="99"/>
                      </a:lnTo>
                      <a:lnTo>
                        <a:pt x="106" y="104"/>
                      </a:lnTo>
                      <a:lnTo>
                        <a:pt x="106" y="104"/>
                      </a:lnTo>
                      <a:lnTo>
                        <a:pt x="123" y="109"/>
                      </a:lnTo>
                      <a:lnTo>
                        <a:pt x="134" y="111"/>
                      </a:lnTo>
                      <a:lnTo>
                        <a:pt x="137" y="113"/>
                      </a:lnTo>
                      <a:lnTo>
                        <a:pt x="137" y="114"/>
                      </a:lnTo>
                      <a:lnTo>
                        <a:pt x="130" y="120"/>
                      </a:lnTo>
                      <a:lnTo>
                        <a:pt x="130" y="120"/>
                      </a:lnTo>
                      <a:lnTo>
                        <a:pt x="120" y="127"/>
                      </a:lnTo>
                      <a:lnTo>
                        <a:pt x="114" y="134"/>
                      </a:lnTo>
                      <a:lnTo>
                        <a:pt x="111" y="135"/>
                      </a:lnTo>
                      <a:lnTo>
                        <a:pt x="104" y="135"/>
                      </a:lnTo>
                      <a:lnTo>
                        <a:pt x="104" y="135"/>
                      </a:lnTo>
                      <a:lnTo>
                        <a:pt x="101" y="135"/>
                      </a:lnTo>
                      <a:lnTo>
                        <a:pt x="99" y="137"/>
                      </a:lnTo>
                      <a:lnTo>
                        <a:pt x="94" y="142"/>
                      </a:lnTo>
                      <a:lnTo>
                        <a:pt x="92" y="146"/>
                      </a:lnTo>
                      <a:lnTo>
                        <a:pt x="90" y="148"/>
                      </a:lnTo>
                      <a:lnTo>
                        <a:pt x="88" y="149"/>
                      </a:lnTo>
                      <a:lnTo>
                        <a:pt x="83" y="146"/>
                      </a:lnTo>
                      <a:lnTo>
                        <a:pt x="83" y="146"/>
                      </a:lnTo>
                      <a:lnTo>
                        <a:pt x="76" y="142"/>
                      </a:lnTo>
                      <a:lnTo>
                        <a:pt x="71" y="141"/>
                      </a:lnTo>
                      <a:lnTo>
                        <a:pt x="66" y="141"/>
                      </a:lnTo>
                      <a:lnTo>
                        <a:pt x="61" y="142"/>
                      </a:lnTo>
                      <a:lnTo>
                        <a:pt x="61" y="142"/>
                      </a:lnTo>
                      <a:lnTo>
                        <a:pt x="57" y="146"/>
                      </a:lnTo>
                      <a:lnTo>
                        <a:pt x="55" y="148"/>
                      </a:lnTo>
                      <a:lnTo>
                        <a:pt x="52" y="149"/>
                      </a:lnTo>
                      <a:lnTo>
                        <a:pt x="48" y="155"/>
                      </a:lnTo>
                      <a:lnTo>
                        <a:pt x="48" y="155"/>
                      </a:lnTo>
                      <a:lnTo>
                        <a:pt x="45" y="158"/>
                      </a:lnTo>
                      <a:lnTo>
                        <a:pt x="45" y="156"/>
                      </a:lnTo>
                      <a:lnTo>
                        <a:pt x="43" y="153"/>
                      </a:lnTo>
                      <a:lnTo>
                        <a:pt x="41" y="149"/>
                      </a:lnTo>
                      <a:lnTo>
                        <a:pt x="38" y="149"/>
                      </a:lnTo>
                      <a:lnTo>
                        <a:pt x="38" y="149"/>
                      </a:lnTo>
                      <a:lnTo>
                        <a:pt x="29" y="146"/>
                      </a:lnTo>
                      <a:lnTo>
                        <a:pt x="20" y="146"/>
                      </a:lnTo>
                      <a:lnTo>
                        <a:pt x="13" y="148"/>
                      </a:lnTo>
                      <a:lnTo>
                        <a:pt x="10" y="149"/>
                      </a:lnTo>
                      <a:lnTo>
                        <a:pt x="8" y="153"/>
                      </a:lnTo>
                      <a:lnTo>
                        <a:pt x="8" y="153"/>
                      </a:lnTo>
                      <a:lnTo>
                        <a:pt x="8" y="156"/>
                      </a:lnTo>
                      <a:lnTo>
                        <a:pt x="7" y="158"/>
                      </a:lnTo>
                      <a:lnTo>
                        <a:pt x="3" y="158"/>
                      </a:lnTo>
                      <a:lnTo>
                        <a:pt x="1" y="158"/>
                      </a:lnTo>
                      <a:lnTo>
                        <a:pt x="0" y="158"/>
                      </a:lnTo>
                      <a:lnTo>
                        <a:pt x="0" y="161"/>
                      </a:lnTo>
                      <a:lnTo>
                        <a:pt x="0" y="167"/>
                      </a:lnTo>
                      <a:lnTo>
                        <a:pt x="0" y="167"/>
                      </a:lnTo>
                      <a:lnTo>
                        <a:pt x="0" y="168"/>
                      </a:lnTo>
                      <a:lnTo>
                        <a:pt x="1" y="172"/>
                      </a:lnTo>
                      <a:lnTo>
                        <a:pt x="7" y="174"/>
                      </a:lnTo>
                      <a:lnTo>
                        <a:pt x="13" y="175"/>
                      </a:lnTo>
                      <a:lnTo>
                        <a:pt x="22" y="175"/>
                      </a:lnTo>
                      <a:lnTo>
                        <a:pt x="40" y="175"/>
                      </a:lnTo>
                      <a:lnTo>
                        <a:pt x="47" y="175"/>
                      </a:lnTo>
                      <a:lnTo>
                        <a:pt x="50" y="179"/>
                      </a:lnTo>
                      <a:lnTo>
                        <a:pt x="50" y="179"/>
                      </a:lnTo>
                      <a:lnTo>
                        <a:pt x="54" y="181"/>
                      </a:lnTo>
                      <a:lnTo>
                        <a:pt x="57" y="181"/>
                      </a:lnTo>
                      <a:lnTo>
                        <a:pt x="66" y="177"/>
                      </a:lnTo>
                      <a:lnTo>
                        <a:pt x="71" y="175"/>
                      </a:lnTo>
                      <a:lnTo>
                        <a:pt x="76" y="175"/>
                      </a:lnTo>
                      <a:lnTo>
                        <a:pt x="80" y="177"/>
                      </a:lnTo>
                      <a:lnTo>
                        <a:pt x="83" y="181"/>
                      </a:lnTo>
                      <a:lnTo>
                        <a:pt x="83" y="181"/>
                      </a:lnTo>
                      <a:lnTo>
                        <a:pt x="87" y="184"/>
                      </a:lnTo>
                      <a:lnTo>
                        <a:pt x="88" y="186"/>
                      </a:lnTo>
                      <a:lnTo>
                        <a:pt x="94" y="188"/>
                      </a:lnTo>
                      <a:lnTo>
                        <a:pt x="99" y="188"/>
                      </a:lnTo>
                      <a:lnTo>
                        <a:pt x="101" y="188"/>
                      </a:lnTo>
                      <a:lnTo>
                        <a:pt x="102" y="189"/>
                      </a:lnTo>
                      <a:lnTo>
                        <a:pt x="102" y="189"/>
                      </a:lnTo>
                      <a:lnTo>
                        <a:pt x="104" y="191"/>
                      </a:lnTo>
                      <a:lnTo>
                        <a:pt x="106" y="191"/>
                      </a:lnTo>
                      <a:lnTo>
                        <a:pt x="109" y="188"/>
                      </a:lnTo>
                      <a:lnTo>
                        <a:pt x="113" y="186"/>
                      </a:lnTo>
                      <a:lnTo>
                        <a:pt x="116" y="184"/>
                      </a:lnTo>
                      <a:lnTo>
                        <a:pt x="121" y="182"/>
                      </a:lnTo>
                      <a:lnTo>
                        <a:pt x="128" y="184"/>
                      </a:lnTo>
                      <a:lnTo>
                        <a:pt x="128" y="184"/>
                      </a:lnTo>
                      <a:lnTo>
                        <a:pt x="139" y="186"/>
                      </a:lnTo>
                      <a:lnTo>
                        <a:pt x="144" y="184"/>
                      </a:lnTo>
                      <a:lnTo>
                        <a:pt x="148" y="181"/>
                      </a:lnTo>
                      <a:lnTo>
                        <a:pt x="155" y="181"/>
                      </a:lnTo>
                      <a:lnTo>
                        <a:pt x="155" y="181"/>
                      </a:lnTo>
                      <a:lnTo>
                        <a:pt x="161" y="177"/>
                      </a:lnTo>
                      <a:lnTo>
                        <a:pt x="165" y="174"/>
                      </a:lnTo>
                      <a:lnTo>
                        <a:pt x="165" y="170"/>
                      </a:lnTo>
                      <a:lnTo>
                        <a:pt x="163" y="167"/>
                      </a:lnTo>
                      <a:lnTo>
                        <a:pt x="163" y="161"/>
                      </a:lnTo>
                      <a:lnTo>
                        <a:pt x="163" y="158"/>
                      </a:lnTo>
                      <a:lnTo>
                        <a:pt x="168" y="153"/>
                      </a:lnTo>
                      <a:lnTo>
                        <a:pt x="179" y="149"/>
                      </a:lnTo>
                      <a:lnTo>
                        <a:pt x="179" y="149"/>
                      </a:lnTo>
                      <a:lnTo>
                        <a:pt x="186" y="146"/>
                      </a:lnTo>
                      <a:lnTo>
                        <a:pt x="191" y="142"/>
                      </a:lnTo>
                      <a:lnTo>
                        <a:pt x="195" y="139"/>
                      </a:lnTo>
                      <a:lnTo>
                        <a:pt x="196" y="135"/>
                      </a:lnTo>
                      <a:lnTo>
                        <a:pt x="198" y="132"/>
                      </a:lnTo>
                      <a:lnTo>
                        <a:pt x="200" y="130"/>
                      </a:lnTo>
                      <a:lnTo>
                        <a:pt x="205" y="132"/>
                      </a:lnTo>
                      <a:lnTo>
                        <a:pt x="205" y="132"/>
                      </a:lnTo>
                      <a:lnTo>
                        <a:pt x="210" y="132"/>
                      </a:lnTo>
                      <a:lnTo>
                        <a:pt x="214" y="130"/>
                      </a:lnTo>
                      <a:lnTo>
                        <a:pt x="219" y="127"/>
                      </a:lnTo>
                      <a:lnTo>
                        <a:pt x="221" y="125"/>
                      </a:lnTo>
                      <a:lnTo>
                        <a:pt x="222" y="125"/>
                      </a:lnTo>
                      <a:lnTo>
                        <a:pt x="226" y="132"/>
                      </a:lnTo>
                      <a:lnTo>
                        <a:pt x="226" y="132"/>
                      </a:lnTo>
                      <a:lnTo>
                        <a:pt x="228" y="137"/>
                      </a:lnTo>
                      <a:lnTo>
                        <a:pt x="229" y="141"/>
                      </a:lnTo>
                      <a:lnTo>
                        <a:pt x="233" y="141"/>
                      </a:lnTo>
                      <a:lnTo>
                        <a:pt x="235" y="139"/>
                      </a:lnTo>
                      <a:lnTo>
                        <a:pt x="242" y="137"/>
                      </a:lnTo>
                      <a:lnTo>
                        <a:pt x="243" y="135"/>
                      </a:lnTo>
                      <a:lnTo>
                        <a:pt x="247" y="137"/>
                      </a:lnTo>
                      <a:lnTo>
                        <a:pt x="247" y="137"/>
                      </a:lnTo>
                      <a:lnTo>
                        <a:pt x="249" y="137"/>
                      </a:lnTo>
                      <a:lnTo>
                        <a:pt x="252" y="137"/>
                      </a:lnTo>
                      <a:lnTo>
                        <a:pt x="254" y="132"/>
                      </a:lnTo>
                      <a:lnTo>
                        <a:pt x="262" y="113"/>
                      </a:lnTo>
                      <a:lnTo>
                        <a:pt x="262" y="113"/>
                      </a:lnTo>
                      <a:lnTo>
                        <a:pt x="264" y="109"/>
                      </a:lnTo>
                      <a:lnTo>
                        <a:pt x="268" y="108"/>
                      </a:lnTo>
                      <a:lnTo>
                        <a:pt x="275" y="104"/>
                      </a:lnTo>
                      <a:lnTo>
                        <a:pt x="283" y="104"/>
                      </a:lnTo>
                      <a:lnTo>
                        <a:pt x="292" y="106"/>
                      </a:lnTo>
                      <a:lnTo>
                        <a:pt x="301" y="106"/>
                      </a:lnTo>
                      <a:lnTo>
                        <a:pt x="308" y="104"/>
                      </a:lnTo>
                      <a:lnTo>
                        <a:pt x="315" y="101"/>
                      </a:lnTo>
                      <a:lnTo>
                        <a:pt x="318" y="97"/>
                      </a:lnTo>
                      <a:lnTo>
                        <a:pt x="320" y="92"/>
                      </a:lnTo>
                      <a:lnTo>
                        <a:pt x="320" y="92"/>
                      </a:lnTo>
                      <a:lnTo>
                        <a:pt x="323" y="87"/>
                      </a:lnTo>
                      <a:lnTo>
                        <a:pt x="329" y="81"/>
                      </a:lnTo>
                      <a:lnTo>
                        <a:pt x="336" y="76"/>
                      </a:lnTo>
                      <a:lnTo>
                        <a:pt x="343" y="74"/>
                      </a:lnTo>
                      <a:lnTo>
                        <a:pt x="358" y="67"/>
                      </a:lnTo>
                      <a:lnTo>
                        <a:pt x="365" y="66"/>
                      </a:lnTo>
                      <a:lnTo>
                        <a:pt x="369" y="62"/>
                      </a:lnTo>
                      <a:lnTo>
                        <a:pt x="369" y="62"/>
                      </a:lnTo>
                      <a:lnTo>
                        <a:pt x="376" y="59"/>
                      </a:lnTo>
                      <a:lnTo>
                        <a:pt x="379" y="57"/>
                      </a:lnTo>
                      <a:lnTo>
                        <a:pt x="383" y="55"/>
                      </a:lnTo>
                      <a:lnTo>
                        <a:pt x="388" y="50"/>
                      </a:lnTo>
                      <a:lnTo>
                        <a:pt x="388" y="50"/>
                      </a:lnTo>
                      <a:lnTo>
                        <a:pt x="383" y="43"/>
                      </a:lnTo>
                      <a:lnTo>
                        <a:pt x="376" y="40"/>
                      </a:lnTo>
                      <a:lnTo>
                        <a:pt x="370" y="36"/>
                      </a:lnTo>
                      <a:lnTo>
                        <a:pt x="365" y="36"/>
                      </a:lnTo>
                      <a:lnTo>
                        <a:pt x="357" y="34"/>
                      </a:lnTo>
                      <a:lnTo>
                        <a:pt x="355" y="31"/>
                      </a:lnTo>
                      <a:lnTo>
                        <a:pt x="353" y="27"/>
                      </a:lnTo>
                      <a:lnTo>
                        <a:pt x="353" y="27"/>
                      </a:lnTo>
                      <a:lnTo>
                        <a:pt x="350" y="22"/>
                      </a:lnTo>
                      <a:lnTo>
                        <a:pt x="346" y="19"/>
                      </a:lnTo>
                      <a:lnTo>
                        <a:pt x="339" y="17"/>
                      </a:lnTo>
                      <a:lnTo>
                        <a:pt x="330" y="15"/>
                      </a:lnTo>
                      <a:lnTo>
                        <a:pt x="308" y="13"/>
                      </a:lnTo>
                      <a:lnTo>
                        <a:pt x="275" y="12"/>
                      </a:lnTo>
                      <a:lnTo>
                        <a:pt x="275" y="12"/>
                      </a:lnTo>
                      <a:lnTo>
                        <a:pt x="259" y="12"/>
                      </a:lnTo>
                      <a:lnTo>
                        <a:pt x="245" y="12"/>
                      </a:lnTo>
                      <a:lnTo>
                        <a:pt x="229" y="15"/>
                      </a:lnTo>
                      <a:lnTo>
                        <a:pt x="221" y="17"/>
                      </a:lnTo>
                      <a:lnTo>
                        <a:pt x="217" y="17"/>
                      </a:lnTo>
                      <a:lnTo>
                        <a:pt x="214" y="17"/>
                      </a:lnTo>
                      <a:lnTo>
                        <a:pt x="214" y="17"/>
                      </a:lnTo>
                      <a:lnTo>
                        <a:pt x="203" y="12"/>
                      </a:lnTo>
                      <a:lnTo>
                        <a:pt x="191" y="5"/>
                      </a:lnTo>
                      <a:lnTo>
                        <a:pt x="184" y="1"/>
                      </a:lnTo>
                      <a:lnTo>
                        <a:pt x="177" y="0"/>
                      </a:lnTo>
                      <a:lnTo>
                        <a:pt x="172" y="0"/>
                      </a:lnTo>
                      <a:lnTo>
                        <a:pt x="163" y="1"/>
                      </a:lnTo>
                      <a:lnTo>
                        <a:pt x="163" y="1"/>
                      </a:lnTo>
                      <a:lnTo>
                        <a:pt x="156" y="5"/>
                      </a:lnTo>
                      <a:lnTo>
                        <a:pt x="151" y="12"/>
                      </a:lnTo>
                      <a:lnTo>
                        <a:pt x="149" y="19"/>
                      </a:lnTo>
                      <a:lnTo>
                        <a:pt x="149" y="26"/>
                      </a:lnTo>
                      <a:lnTo>
                        <a:pt x="149" y="36"/>
                      </a:lnTo>
                      <a:lnTo>
                        <a:pt x="148" y="38"/>
                      </a:lnTo>
                      <a:lnTo>
                        <a:pt x="144" y="38"/>
                      </a:lnTo>
                      <a:lnTo>
                        <a:pt x="144" y="38"/>
                      </a:lnTo>
                      <a:lnTo>
                        <a:pt x="130" y="31"/>
                      </a:lnTo>
                      <a:lnTo>
                        <a:pt x="114" y="22"/>
                      </a:lnTo>
                      <a:lnTo>
                        <a:pt x="99" y="17"/>
                      </a:lnTo>
                      <a:lnTo>
                        <a:pt x="90" y="17"/>
                      </a:lnTo>
                      <a:lnTo>
                        <a:pt x="83" y="17"/>
                      </a:lnTo>
                      <a:lnTo>
                        <a:pt x="83" y="17"/>
                      </a:lnTo>
                      <a:lnTo>
                        <a:pt x="76" y="19"/>
                      </a:lnTo>
                      <a:lnTo>
                        <a:pt x="73" y="20"/>
                      </a:lnTo>
                      <a:lnTo>
                        <a:pt x="69" y="24"/>
                      </a:lnTo>
                      <a:lnTo>
                        <a:pt x="66" y="29"/>
                      </a:lnTo>
                      <a:lnTo>
                        <a:pt x="62" y="38"/>
                      </a:lnTo>
                      <a:lnTo>
                        <a:pt x="61" y="45"/>
                      </a:lnTo>
                      <a:lnTo>
                        <a:pt x="61" y="4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5" name="Freeform 2012">
                  <a:extLst>
                    <a:ext uri="{FF2B5EF4-FFF2-40B4-BE49-F238E27FC236}">
                      <a16:creationId xmlns:a16="http://schemas.microsoft.com/office/drawing/2014/main" id="{36519407-7EAD-1B09-21D3-72C2323DDBCD}"/>
                    </a:ext>
                  </a:extLst>
                </p:cNvPr>
                <p:cNvSpPr>
                  <a:spLocks/>
                </p:cNvSpPr>
                <p:nvPr/>
              </p:nvSpPr>
              <p:spPr bwMode="auto">
                <a:xfrm>
                  <a:off x="6615655" y="3061646"/>
                  <a:ext cx="220251" cy="163866"/>
                </a:xfrm>
                <a:custGeom>
                  <a:avLst/>
                  <a:gdLst/>
                  <a:ahLst/>
                  <a:cxnLst>
                    <a:cxn ang="0">
                      <a:pos x="115" y="38"/>
                    </a:cxn>
                    <a:cxn ang="0">
                      <a:pos x="106" y="31"/>
                    </a:cxn>
                    <a:cxn ang="0">
                      <a:pos x="122" y="14"/>
                    </a:cxn>
                    <a:cxn ang="0">
                      <a:pos x="113" y="2"/>
                    </a:cxn>
                    <a:cxn ang="0">
                      <a:pos x="102" y="9"/>
                    </a:cxn>
                    <a:cxn ang="0">
                      <a:pos x="81" y="16"/>
                    </a:cxn>
                    <a:cxn ang="0">
                      <a:pos x="73" y="12"/>
                    </a:cxn>
                    <a:cxn ang="0">
                      <a:pos x="68" y="33"/>
                    </a:cxn>
                    <a:cxn ang="0">
                      <a:pos x="50" y="40"/>
                    </a:cxn>
                    <a:cxn ang="0">
                      <a:pos x="50" y="57"/>
                    </a:cxn>
                    <a:cxn ang="0">
                      <a:pos x="22" y="70"/>
                    </a:cxn>
                    <a:cxn ang="0">
                      <a:pos x="0" y="84"/>
                    </a:cxn>
                    <a:cxn ang="0">
                      <a:pos x="12" y="91"/>
                    </a:cxn>
                    <a:cxn ang="0">
                      <a:pos x="19" y="99"/>
                    </a:cxn>
                    <a:cxn ang="0">
                      <a:pos x="29" y="104"/>
                    </a:cxn>
                    <a:cxn ang="0">
                      <a:pos x="31" y="127"/>
                    </a:cxn>
                    <a:cxn ang="0">
                      <a:pos x="31" y="148"/>
                    </a:cxn>
                    <a:cxn ang="0">
                      <a:pos x="17" y="181"/>
                    </a:cxn>
                    <a:cxn ang="0">
                      <a:pos x="26" y="197"/>
                    </a:cxn>
                    <a:cxn ang="0">
                      <a:pos x="40" y="183"/>
                    </a:cxn>
                    <a:cxn ang="0">
                      <a:pos x="64" y="183"/>
                    </a:cxn>
                    <a:cxn ang="0">
                      <a:pos x="73" y="186"/>
                    </a:cxn>
                    <a:cxn ang="0">
                      <a:pos x="78" y="165"/>
                    </a:cxn>
                    <a:cxn ang="0">
                      <a:pos x="95" y="167"/>
                    </a:cxn>
                    <a:cxn ang="0">
                      <a:pos x="104" y="162"/>
                    </a:cxn>
                    <a:cxn ang="0">
                      <a:pos x="104" y="145"/>
                    </a:cxn>
                    <a:cxn ang="0">
                      <a:pos x="120" y="127"/>
                    </a:cxn>
                    <a:cxn ang="0">
                      <a:pos x="141" y="131"/>
                    </a:cxn>
                    <a:cxn ang="0">
                      <a:pos x="137" y="148"/>
                    </a:cxn>
                    <a:cxn ang="0">
                      <a:pos x="146" y="148"/>
                    </a:cxn>
                    <a:cxn ang="0">
                      <a:pos x="146" y="195"/>
                    </a:cxn>
                    <a:cxn ang="0">
                      <a:pos x="163" y="204"/>
                    </a:cxn>
                    <a:cxn ang="0">
                      <a:pos x="189" y="190"/>
                    </a:cxn>
                    <a:cxn ang="0">
                      <a:pos x="200" y="176"/>
                    </a:cxn>
                    <a:cxn ang="0">
                      <a:pos x="224" y="172"/>
                    </a:cxn>
                    <a:cxn ang="0">
                      <a:pos x="223" y="183"/>
                    </a:cxn>
                    <a:cxn ang="0">
                      <a:pos x="242" y="174"/>
                    </a:cxn>
                    <a:cxn ang="0">
                      <a:pos x="261" y="178"/>
                    </a:cxn>
                    <a:cxn ang="0">
                      <a:pos x="273" y="176"/>
                    </a:cxn>
                    <a:cxn ang="0">
                      <a:pos x="266" y="162"/>
                    </a:cxn>
                    <a:cxn ang="0">
                      <a:pos x="264" y="141"/>
                    </a:cxn>
                    <a:cxn ang="0">
                      <a:pos x="263" y="124"/>
                    </a:cxn>
                    <a:cxn ang="0">
                      <a:pos x="242" y="113"/>
                    </a:cxn>
                    <a:cxn ang="0">
                      <a:pos x="233" y="120"/>
                    </a:cxn>
                    <a:cxn ang="0">
                      <a:pos x="228" y="103"/>
                    </a:cxn>
                    <a:cxn ang="0">
                      <a:pos x="223" y="87"/>
                    </a:cxn>
                    <a:cxn ang="0">
                      <a:pos x="212" y="80"/>
                    </a:cxn>
                    <a:cxn ang="0">
                      <a:pos x="184" y="80"/>
                    </a:cxn>
                    <a:cxn ang="0">
                      <a:pos x="170" y="85"/>
                    </a:cxn>
                    <a:cxn ang="0">
                      <a:pos x="156" y="82"/>
                    </a:cxn>
                    <a:cxn ang="0">
                      <a:pos x="144" y="71"/>
                    </a:cxn>
                    <a:cxn ang="0">
                      <a:pos x="118" y="75"/>
                    </a:cxn>
                    <a:cxn ang="0">
                      <a:pos x="81" y="71"/>
                    </a:cxn>
                    <a:cxn ang="0">
                      <a:pos x="68" y="63"/>
                    </a:cxn>
                    <a:cxn ang="0">
                      <a:pos x="75" y="54"/>
                    </a:cxn>
                    <a:cxn ang="0">
                      <a:pos x="81" y="44"/>
                    </a:cxn>
                    <a:cxn ang="0">
                      <a:pos x="109" y="45"/>
                    </a:cxn>
                    <a:cxn ang="0">
                      <a:pos x="116" y="51"/>
                    </a:cxn>
                    <a:cxn ang="0">
                      <a:pos x="129" y="38"/>
                    </a:cxn>
                  </a:cxnLst>
                  <a:rect l="0" t="0" r="r" b="b"/>
                  <a:pathLst>
                    <a:path w="273" h="207">
                      <a:moveTo>
                        <a:pt x="129" y="38"/>
                      </a:moveTo>
                      <a:lnTo>
                        <a:pt x="129" y="38"/>
                      </a:lnTo>
                      <a:lnTo>
                        <a:pt x="118" y="40"/>
                      </a:lnTo>
                      <a:lnTo>
                        <a:pt x="116" y="40"/>
                      </a:lnTo>
                      <a:lnTo>
                        <a:pt x="115" y="38"/>
                      </a:lnTo>
                      <a:lnTo>
                        <a:pt x="113" y="35"/>
                      </a:lnTo>
                      <a:lnTo>
                        <a:pt x="113" y="33"/>
                      </a:lnTo>
                      <a:lnTo>
                        <a:pt x="109" y="33"/>
                      </a:lnTo>
                      <a:lnTo>
                        <a:pt x="109" y="33"/>
                      </a:lnTo>
                      <a:lnTo>
                        <a:pt x="106" y="31"/>
                      </a:lnTo>
                      <a:lnTo>
                        <a:pt x="106" y="28"/>
                      </a:lnTo>
                      <a:lnTo>
                        <a:pt x="115" y="21"/>
                      </a:lnTo>
                      <a:lnTo>
                        <a:pt x="115" y="21"/>
                      </a:lnTo>
                      <a:lnTo>
                        <a:pt x="122" y="16"/>
                      </a:lnTo>
                      <a:lnTo>
                        <a:pt x="122" y="14"/>
                      </a:lnTo>
                      <a:lnTo>
                        <a:pt x="118" y="14"/>
                      </a:lnTo>
                      <a:lnTo>
                        <a:pt x="118" y="14"/>
                      </a:lnTo>
                      <a:lnTo>
                        <a:pt x="116" y="10"/>
                      </a:lnTo>
                      <a:lnTo>
                        <a:pt x="115" y="5"/>
                      </a:lnTo>
                      <a:lnTo>
                        <a:pt x="113" y="2"/>
                      </a:lnTo>
                      <a:lnTo>
                        <a:pt x="109" y="0"/>
                      </a:lnTo>
                      <a:lnTo>
                        <a:pt x="109" y="0"/>
                      </a:lnTo>
                      <a:lnTo>
                        <a:pt x="108" y="0"/>
                      </a:lnTo>
                      <a:lnTo>
                        <a:pt x="106" y="4"/>
                      </a:lnTo>
                      <a:lnTo>
                        <a:pt x="102" y="9"/>
                      </a:lnTo>
                      <a:lnTo>
                        <a:pt x="94" y="14"/>
                      </a:lnTo>
                      <a:lnTo>
                        <a:pt x="94" y="14"/>
                      </a:lnTo>
                      <a:lnTo>
                        <a:pt x="88" y="16"/>
                      </a:lnTo>
                      <a:lnTo>
                        <a:pt x="83" y="16"/>
                      </a:lnTo>
                      <a:lnTo>
                        <a:pt x="81" y="16"/>
                      </a:lnTo>
                      <a:lnTo>
                        <a:pt x="78" y="14"/>
                      </a:lnTo>
                      <a:lnTo>
                        <a:pt x="76" y="12"/>
                      </a:lnTo>
                      <a:lnTo>
                        <a:pt x="75" y="10"/>
                      </a:lnTo>
                      <a:lnTo>
                        <a:pt x="73" y="12"/>
                      </a:lnTo>
                      <a:lnTo>
                        <a:pt x="73" y="12"/>
                      </a:lnTo>
                      <a:lnTo>
                        <a:pt x="71" y="14"/>
                      </a:lnTo>
                      <a:lnTo>
                        <a:pt x="71" y="17"/>
                      </a:lnTo>
                      <a:lnTo>
                        <a:pt x="71" y="26"/>
                      </a:lnTo>
                      <a:lnTo>
                        <a:pt x="69" y="30"/>
                      </a:lnTo>
                      <a:lnTo>
                        <a:pt x="68" y="33"/>
                      </a:lnTo>
                      <a:lnTo>
                        <a:pt x="64" y="37"/>
                      </a:lnTo>
                      <a:lnTo>
                        <a:pt x="59" y="38"/>
                      </a:lnTo>
                      <a:lnTo>
                        <a:pt x="59" y="38"/>
                      </a:lnTo>
                      <a:lnTo>
                        <a:pt x="50" y="40"/>
                      </a:lnTo>
                      <a:lnTo>
                        <a:pt x="50" y="40"/>
                      </a:lnTo>
                      <a:lnTo>
                        <a:pt x="50" y="42"/>
                      </a:lnTo>
                      <a:lnTo>
                        <a:pt x="52" y="49"/>
                      </a:lnTo>
                      <a:lnTo>
                        <a:pt x="52" y="52"/>
                      </a:lnTo>
                      <a:lnTo>
                        <a:pt x="50" y="57"/>
                      </a:lnTo>
                      <a:lnTo>
                        <a:pt x="50" y="57"/>
                      </a:lnTo>
                      <a:lnTo>
                        <a:pt x="43" y="66"/>
                      </a:lnTo>
                      <a:lnTo>
                        <a:pt x="38" y="71"/>
                      </a:lnTo>
                      <a:lnTo>
                        <a:pt x="33" y="71"/>
                      </a:lnTo>
                      <a:lnTo>
                        <a:pt x="22" y="70"/>
                      </a:lnTo>
                      <a:lnTo>
                        <a:pt x="22" y="70"/>
                      </a:lnTo>
                      <a:lnTo>
                        <a:pt x="17" y="68"/>
                      </a:lnTo>
                      <a:lnTo>
                        <a:pt x="12" y="70"/>
                      </a:lnTo>
                      <a:lnTo>
                        <a:pt x="8" y="73"/>
                      </a:lnTo>
                      <a:lnTo>
                        <a:pt x="5" y="77"/>
                      </a:lnTo>
                      <a:lnTo>
                        <a:pt x="0" y="84"/>
                      </a:lnTo>
                      <a:lnTo>
                        <a:pt x="1" y="87"/>
                      </a:lnTo>
                      <a:lnTo>
                        <a:pt x="3" y="89"/>
                      </a:lnTo>
                      <a:lnTo>
                        <a:pt x="3" y="89"/>
                      </a:lnTo>
                      <a:lnTo>
                        <a:pt x="10" y="89"/>
                      </a:lnTo>
                      <a:lnTo>
                        <a:pt x="12" y="91"/>
                      </a:lnTo>
                      <a:lnTo>
                        <a:pt x="14" y="94"/>
                      </a:lnTo>
                      <a:lnTo>
                        <a:pt x="14" y="94"/>
                      </a:lnTo>
                      <a:lnTo>
                        <a:pt x="14" y="98"/>
                      </a:lnTo>
                      <a:lnTo>
                        <a:pt x="15" y="99"/>
                      </a:lnTo>
                      <a:lnTo>
                        <a:pt x="19" y="99"/>
                      </a:lnTo>
                      <a:lnTo>
                        <a:pt x="24" y="99"/>
                      </a:lnTo>
                      <a:lnTo>
                        <a:pt x="28" y="99"/>
                      </a:lnTo>
                      <a:lnTo>
                        <a:pt x="28" y="99"/>
                      </a:lnTo>
                      <a:lnTo>
                        <a:pt x="29" y="101"/>
                      </a:lnTo>
                      <a:lnTo>
                        <a:pt x="29" y="104"/>
                      </a:lnTo>
                      <a:lnTo>
                        <a:pt x="28" y="111"/>
                      </a:lnTo>
                      <a:lnTo>
                        <a:pt x="26" y="118"/>
                      </a:lnTo>
                      <a:lnTo>
                        <a:pt x="28" y="124"/>
                      </a:lnTo>
                      <a:lnTo>
                        <a:pt x="31" y="127"/>
                      </a:lnTo>
                      <a:lnTo>
                        <a:pt x="31" y="127"/>
                      </a:lnTo>
                      <a:lnTo>
                        <a:pt x="34" y="131"/>
                      </a:lnTo>
                      <a:lnTo>
                        <a:pt x="36" y="134"/>
                      </a:lnTo>
                      <a:lnTo>
                        <a:pt x="36" y="138"/>
                      </a:lnTo>
                      <a:lnTo>
                        <a:pt x="36" y="141"/>
                      </a:lnTo>
                      <a:lnTo>
                        <a:pt x="31" y="148"/>
                      </a:lnTo>
                      <a:lnTo>
                        <a:pt x="24" y="160"/>
                      </a:lnTo>
                      <a:lnTo>
                        <a:pt x="24" y="160"/>
                      </a:lnTo>
                      <a:lnTo>
                        <a:pt x="19" y="171"/>
                      </a:lnTo>
                      <a:lnTo>
                        <a:pt x="17" y="178"/>
                      </a:lnTo>
                      <a:lnTo>
                        <a:pt x="17" y="181"/>
                      </a:lnTo>
                      <a:lnTo>
                        <a:pt x="15" y="185"/>
                      </a:lnTo>
                      <a:lnTo>
                        <a:pt x="15" y="185"/>
                      </a:lnTo>
                      <a:lnTo>
                        <a:pt x="21" y="195"/>
                      </a:lnTo>
                      <a:lnTo>
                        <a:pt x="22" y="197"/>
                      </a:lnTo>
                      <a:lnTo>
                        <a:pt x="26" y="197"/>
                      </a:lnTo>
                      <a:lnTo>
                        <a:pt x="28" y="195"/>
                      </a:lnTo>
                      <a:lnTo>
                        <a:pt x="31" y="192"/>
                      </a:lnTo>
                      <a:lnTo>
                        <a:pt x="31" y="192"/>
                      </a:lnTo>
                      <a:lnTo>
                        <a:pt x="34" y="186"/>
                      </a:lnTo>
                      <a:lnTo>
                        <a:pt x="40" y="183"/>
                      </a:lnTo>
                      <a:lnTo>
                        <a:pt x="54" y="179"/>
                      </a:lnTo>
                      <a:lnTo>
                        <a:pt x="54" y="179"/>
                      </a:lnTo>
                      <a:lnTo>
                        <a:pt x="55" y="179"/>
                      </a:lnTo>
                      <a:lnTo>
                        <a:pt x="59" y="179"/>
                      </a:lnTo>
                      <a:lnTo>
                        <a:pt x="64" y="183"/>
                      </a:lnTo>
                      <a:lnTo>
                        <a:pt x="68" y="186"/>
                      </a:lnTo>
                      <a:lnTo>
                        <a:pt x="69" y="186"/>
                      </a:lnTo>
                      <a:lnTo>
                        <a:pt x="71" y="186"/>
                      </a:lnTo>
                      <a:lnTo>
                        <a:pt x="71" y="186"/>
                      </a:lnTo>
                      <a:lnTo>
                        <a:pt x="73" y="186"/>
                      </a:lnTo>
                      <a:lnTo>
                        <a:pt x="73" y="183"/>
                      </a:lnTo>
                      <a:lnTo>
                        <a:pt x="73" y="178"/>
                      </a:lnTo>
                      <a:lnTo>
                        <a:pt x="73" y="171"/>
                      </a:lnTo>
                      <a:lnTo>
                        <a:pt x="75" y="167"/>
                      </a:lnTo>
                      <a:lnTo>
                        <a:pt x="78" y="165"/>
                      </a:lnTo>
                      <a:lnTo>
                        <a:pt x="78" y="165"/>
                      </a:lnTo>
                      <a:lnTo>
                        <a:pt x="81" y="164"/>
                      </a:lnTo>
                      <a:lnTo>
                        <a:pt x="85" y="164"/>
                      </a:lnTo>
                      <a:lnTo>
                        <a:pt x="90" y="165"/>
                      </a:lnTo>
                      <a:lnTo>
                        <a:pt x="95" y="167"/>
                      </a:lnTo>
                      <a:lnTo>
                        <a:pt x="99" y="167"/>
                      </a:lnTo>
                      <a:lnTo>
                        <a:pt x="102" y="165"/>
                      </a:lnTo>
                      <a:lnTo>
                        <a:pt x="102" y="165"/>
                      </a:lnTo>
                      <a:lnTo>
                        <a:pt x="104" y="164"/>
                      </a:lnTo>
                      <a:lnTo>
                        <a:pt x="104" y="162"/>
                      </a:lnTo>
                      <a:lnTo>
                        <a:pt x="102" y="157"/>
                      </a:lnTo>
                      <a:lnTo>
                        <a:pt x="101" y="150"/>
                      </a:lnTo>
                      <a:lnTo>
                        <a:pt x="101" y="148"/>
                      </a:lnTo>
                      <a:lnTo>
                        <a:pt x="104" y="145"/>
                      </a:lnTo>
                      <a:lnTo>
                        <a:pt x="104" y="145"/>
                      </a:lnTo>
                      <a:lnTo>
                        <a:pt x="108" y="143"/>
                      </a:lnTo>
                      <a:lnTo>
                        <a:pt x="109" y="139"/>
                      </a:lnTo>
                      <a:lnTo>
                        <a:pt x="115" y="132"/>
                      </a:lnTo>
                      <a:lnTo>
                        <a:pt x="116" y="129"/>
                      </a:lnTo>
                      <a:lnTo>
                        <a:pt x="120" y="127"/>
                      </a:lnTo>
                      <a:lnTo>
                        <a:pt x="125" y="125"/>
                      </a:lnTo>
                      <a:lnTo>
                        <a:pt x="132" y="125"/>
                      </a:lnTo>
                      <a:lnTo>
                        <a:pt x="132" y="125"/>
                      </a:lnTo>
                      <a:lnTo>
                        <a:pt x="137" y="129"/>
                      </a:lnTo>
                      <a:lnTo>
                        <a:pt x="141" y="131"/>
                      </a:lnTo>
                      <a:lnTo>
                        <a:pt x="142" y="132"/>
                      </a:lnTo>
                      <a:lnTo>
                        <a:pt x="141" y="136"/>
                      </a:lnTo>
                      <a:lnTo>
                        <a:pt x="137" y="143"/>
                      </a:lnTo>
                      <a:lnTo>
                        <a:pt x="137" y="146"/>
                      </a:lnTo>
                      <a:lnTo>
                        <a:pt x="137" y="148"/>
                      </a:lnTo>
                      <a:lnTo>
                        <a:pt x="137" y="148"/>
                      </a:lnTo>
                      <a:lnTo>
                        <a:pt x="139" y="150"/>
                      </a:lnTo>
                      <a:lnTo>
                        <a:pt x="142" y="150"/>
                      </a:lnTo>
                      <a:lnTo>
                        <a:pt x="146" y="148"/>
                      </a:lnTo>
                      <a:lnTo>
                        <a:pt x="146" y="148"/>
                      </a:lnTo>
                      <a:lnTo>
                        <a:pt x="148" y="150"/>
                      </a:lnTo>
                      <a:lnTo>
                        <a:pt x="146" y="160"/>
                      </a:lnTo>
                      <a:lnTo>
                        <a:pt x="146" y="160"/>
                      </a:lnTo>
                      <a:lnTo>
                        <a:pt x="144" y="186"/>
                      </a:lnTo>
                      <a:lnTo>
                        <a:pt x="146" y="195"/>
                      </a:lnTo>
                      <a:lnTo>
                        <a:pt x="148" y="202"/>
                      </a:lnTo>
                      <a:lnTo>
                        <a:pt x="149" y="205"/>
                      </a:lnTo>
                      <a:lnTo>
                        <a:pt x="153" y="207"/>
                      </a:lnTo>
                      <a:lnTo>
                        <a:pt x="158" y="207"/>
                      </a:lnTo>
                      <a:lnTo>
                        <a:pt x="163" y="204"/>
                      </a:lnTo>
                      <a:lnTo>
                        <a:pt x="163" y="204"/>
                      </a:lnTo>
                      <a:lnTo>
                        <a:pt x="174" y="197"/>
                      </a:lnTo>
                      <a:lnTo>
                        <a:pt x="181" y="193"/>
                      </a:lnTo>
                      <a:lnTo>
                        <a:pt x="188" y="192"/>
                      </a:lnTo>
                      <a:lnTo>
                        <a:pt x="189" y="190"/>
                      </a:lnTo>
                      <a:lnTo>
                        <a:pt x="189" y="186"/>
                      </a:lnTo>
                      <a:lnTo>
                        <a:pt x="189" y="186"/>
                      </a:lnTo>
                      <a:lnTo>
                        <a:pt x="193" y="181"/>
                      </a:lnTo>
                      <a:lnTo>
                        <a:pt x="196" y="179"/>
                      </a:lnTo>
                      <a:lnTo>
                        <a:pt x="200" y="176"/>
                      </a:lnTo>
                      <a:lnTo>
                        <a:pt x="205" y="174"/>
                      </a:lnTo>
                      <a:lnTo>
                        <a:pt x="205" y="174"/>
                      </a:lnTo>
                      <a:lnTo>
                        <a:pt x="212" y="171"/>
                      </a:lnTo>
                      <a:lnTo>
                        <a:pt x="219" y="171"/>
                      </a:lnTo>
                      <a:lnTo>
                        <a:pt x="224" y="172"/>
                      </a:lnTo>
                      <a:lnTo>
                        <a:pt x="226" y="174"/>
                      </a:lnTo>
                      <a:lnTo>
                        <a:pt x="224" y="178"/>
                      </a:lnTo>
                      <a:lnTo>
                        <a:pt x="224" y="178"/>
                      </a:lnTo>
                      <a:lnTo>
                        <a:pt x="223" y="181"/>
                      </a:lnTo>
                      <a:lnTo>
                        <a:pt x="223" y="183"/>
                      </a:lnTo>
                      <a:lnTo>
                        <a:pt x="224" y="183"/>
                      </a:lnTo>
                      <a:lnTo>
                        <a:pt x="229" y="181"/>
                      </a:lnTo>
                      <a:lnTo>
                        <a:pt x="238" y="176"/>
                      </a:lnTo>
                      <a:lnTo>
                        <a:pt x="238" y="176"/>
                      </a:lnTo>
                      <a:lnTo>
                        <a:pt x="242" y="174"/>
                      </a:lnTo>
                      <a:lnTo>
                        <a:pt x="247" y="172"/>
                      </a:lnTo>
                      <a:lnTo>
                        <a:pt x="254" y="172"/>
                      </a:lnTo>
                      <a:lnTo>
                        <a:pt x="257" y="174"/>
                      </a:lnTo>
                      <a:lnTo>
                        <a:pt x="261" y="176"/>
                      </a:lnTo>
                      <a:lnTo>
                        <a:pt x="261" y="178"/>
                      </a:lnTo>
                      <a:lnTo>
                        <a:pt x="261" y="181"/>
                      </a:lnTo>
                      <a:lnTo>
                        <a:pt x="261" y="181"/>
                      </a:lnTo>
                      <a:lnTo>
                        <a:pt x="268" y="181"/>
                      </a:lnTo>
                      <a:lnTo>
                        <a:pt x="273" y="179"/>
                      </a:lnTo>
                      <a:lnTo>
                        <a:pt x="273" y="176"/>
                      </a:lnTo>
                      <a:lnTo>
                        <a:pt x="273" y="174"/>
                      </a:lnTo>
                      <a:lnTo>
                        <a:pt x="270" y="169"/>
                      </a:lnTo>
                      <a:lnTo>
                        <a:pt x="270" y="169"/>
                      </a:lnTo>
                      <a:lnTo>
                        <a:pt x="266" y="165"/>
                      </a:lnTo>
                      <a:lnTo>
                        <a:pt x="266" y="162"/>
                      </a:lnTo>
                      <a:lnTo>
                        <a:pt x="266" y="155"/>
                      </a:lnTo>
                      <a:lnTo>
                        <a:pt x="268" y="148"/>
                      </a:lnTo>
                      <a:lnTo>
                        <a:pt x="266" y="145"/>
                      </a:lnTo>
                      <a:lnTo>
                        <a:pt x="264" y="141"/>
                      </a:lnTo>
                      <a:lnTo>
                        <a:pt x="264" y="141"/>
                      </a:lnTo>
                      <a:lnTo>
                        <a:pt x="263" y="139"/>
                      </a:lnTo>
                      <a:lnTo>
                        <a:pt x="263" y="138"/>
                      </a:lnTo>
                      <a:lnTo>
                        <a:pt x="263" y="131"/>
                      </a:lnTo>
                      <a:lnTo>
                        <a:pt x="263" y="125"/>
                      </a:lnTo>
                      <a:lnTo>
                        <a:pt x="263" y="124"/>
                      </a:lnTo>
                      <a:lnTo>
                        <a:pt x="261" y="120"/>
                      </a:lnTo>
                      <a:lnTo>
                        <a:pt x="261" y="120"/>
                      </a:lnTo>
                      <a:lnTo>
                        <a:pt x="256" y="117"/>
                      </a:lnTo>
                      <a:lnTo>
                        <a:pt x="249" y="113"/>
                      </a:lnTo>
                      <a:lnTo>
                        <a:pt x="242" y="113"/>
                      </a:lnTo>
                      <a:lnTo>
                        <a:pt x="238" y="113"/>
                      </a:lnTo>
                      <a:lnTo>
                        <a:pt x="236" y="117"/>
                      </a:lnTo>
                      <a:lnTo>
                        <a:pt x="236" y="117"/>
                      </a:lnTo>
                      <a:lnTo>
                        <a:pt x="236" y="120"/>
                      </a:lnTo>
                      <a:lnTo>
                        <a:pt x="233" y="120"/>
                      </a:lnTo>
                      <a:lnTo>
                        <a:pt x="231" y="118"/>
                      </a:lnTo>
                      <a:lnTo>
                        <a:pt x="229" y="117"/>
                      </a:lnTo>
                      <a:lnTo>
                        <a:pt x="226" y="110"/>
                      </a:lnTo>
                      <a:lnTo>
                        <a:pt x="226" y="106"/>
                      </a:lnTo>
                      <a:lnTo>
                        <a:pt x="228" y="103"/>
                      </a:lnTo>
                      <a:lnTo>
                        <a:pt x="228" y="103"/>
                      </a:lnTo>
                      <a:lnTo>
                        <a:pt x="228" y="99"/>
                      </a:lnTo>
                      <a:lnTo>
                        <a:pt x="228" y="98"/>
                      </a:lnTo>
                      <a:lnTo>
                        <a:pt x="224" y="92"/>
                      </a:lnTo>
                      <a:lnTo>
                        <a:pt x="223" y="87"/>
                      </a:lnTo>
                      <a:lnTo>
                        <a:pt x="221" y="82"/>
                      </a:lnTo>
                      <a:lnTo>
                        <a:pt x="223" y="77"/>
                      </a:lnTo>
                      <a:lnTo>
                        <a:pt x="223" y="77"/>
                      </a:lnTo>
                      <a:lnTo>
                        <a:pt x="216" y="77"/>
                      </a:lnTo>
                      <a:lnTo>
                        <a:pt x="212" y="80"/>
                      </a:lnTo>
                      <a:lnTo>
                        <a:pt x="207" y="82"/>
                      </a:lnTo>
                      <a:lnTo>
                        <a:pt x="196" y="80"/>
                      </a:lnTo>
                      <a:lnTo>
                        <a:pt x="196" y="80"/>
                      </a:lnTo>
                      <a:lnTo>
                        <a:pt x="189" y="78"/>
                      </a:lnTo>
                      <a:lnTo>
                        <a:pt x="184" y="80"/>
                      </a:lnTo>
                      <a:lnTo>
                        <a:pt x="181" y="82"/>
                      </a:lnTo>
                      <a:lnTo>
                        <a:pt x="177" y="84"/>
                      </a:lnTo>
                      <a:lnTo>
                        <a:pt x="174" y="87"/>
                      </a:lnTo>
                      <a:lnTo>
                        <a:pt x="172" y="87"/>
                      </a:lnTo>
                      <a:lnTo>
                        <a:pt x="170" y="85"/>
                      </a:lnTo>
                      <a:lnTo>
                        <a:pt x="170" y="85"/>
                      </a:lnTo>
                      <a:lnTo>
                        <a:pt x="169" y="84"/>
                      </a:lnTo>
                      <a:lnTo>
                        <a:pt x="167" y="84"/>
                      </a:lnTo>
                      <a:lnTo>
                        <a:pt x="162" y="84"/>
                      </a:lnTo>
                      <a:lnTo>
                        <a:pt x="156" y="82"/>
                      </a:lnTo>
                      <a:lnTo>
                        <a:pt x="155" y="80"/>
                      </a:lnTo>
                      <a:lnTo>
                        <a:pt x="151" y="77"/>
                      </a:lnTo>
                      <a:lnTo>
                        <a:pt x="151" y="77"/>
                      </a:lnTo>
                      <a:lnTo>
                        <a:pt x="148" y="73"/>
                      </a:lnTo>
                      <a:lnTo>
                        <a:pt x="144" y="71"/>
                      </a:lnTo>
                      <a:lnTo>
                        <a:pt x="139" y="71"/>
                      </a:lnTo>
                      <a:lnTo>
                        <a:pt x="134" y="73"/>
                      </a:lnTo>
                      <a:lnTo>
                        <a:pt x="125" y="77"/>
                      </a:lnTo>
                      <a:lnTo>
                        <a:pt x="122" y="77"/>
                      </a:lnTo>
                      <a:lnTo>
                        <a:pt x="118" y="75"/>
                      </a:lnTo>
                      <a:lnTo>
                        <a:pt x="118" y="75"/>
                      </a:lnTo>
                      <a:lnTo>
                        <a:pt x="115" y="71"/>
                      </a:lnTo>
                      <a:lnTo>
                        <a:pt x="108" y="71"/>
                      </a:lnTo>
                      <a:lnTo>
                        <a:pt x="90" y="71"/>
                      </a:lnTo>
                      <a:lnTo>
                        <a:pt x="81" y="71"/>
                      </a:lnTo>
                      <a:lnTo>
                        <a:pt x="75" y="70"/>
                      </a:lnTo>
                      <a:lnTo>
                        <a:pt x="69" y="68"/>
                      </a:lnTo>
                      <a:lnTo>
                        <a:pt x="68" y="64"/>
                      </a:lnTo>
                      <a:lnTo>
                        <a:pt x="68" y="63"/>
                      </a:lnTo>
                      <a:lnTo>
                        <a:pt x="68" y="63"/>
                      </a:lnTo>
                      <a:lnTo>
                        <a:pt x="68" y="57"/>
                      </a:lnTo>
                      <a:lnTo>
                        <a:pt x="68" y="54"/>
                      </a:lnTo>
                      <a:lnTo>
                        <a:pt x="69" y="54"/>
                      </a:lnTo>
                      <a:lnTo>
                        <a:pt x="71" y="54"/>
                      </a:lnTo>
                      <a:lnTo>
                        <a:pt x="75" y="54"/>
                      </a:lnTo>
                      <a:lnTo>
                        <a:pt x="76" y="52"/>
                      </a:lnTo>
                      <a:lnTo>
                        <a:pt x="76" y="49"/>
                      </a:lnTo>
                      <a:lnTo>
                        <a:pt x="76" y="49"/>
                      </a:lnTo>
                      <a:lnTo>
                        <a:pt x="78" y="45"/>
                      </a:lnTo>
                      <a:lnTo>
                        <a:pt x="81" y="44"/>
                      </a:lnTo>
                      <a:lnTo>
                        <a:pt x="88" y="42"/>
                      </a:lnTo>
                      <a:lnTo>
                        <a:pt x="97" y="42"/>
                      </a:lnTo>
                      <a:lnTo>
                        <a:pt x="106" y="45"/>
                      </a:lnTo>
                      <a:lnTo>
                        <a:pt x="106" y="45"/>
                      </a:lnTo>
                      <a:lnTo>
                        <a:pt x="109" y="45"/>
                      </a:lnTo>
                      <a:lnTo>
                        <a:pt x="111" y="49"/>
                      </a:lnTo>
                      <a:lnTo>
                        <a:pt x="113" y="52"/>
                      </a:lnTo>
                      <a:lnTo>
                        <a:pt x="113" y="54"/>
                      </a:lnTo>
                      <a:lnTo>
                        <a:pt x="116" y="51"/>
                      </a:lnTo>
                      <a:lnTo>
                        <a:pt x="116" y="51"/>
                      </a:lnTo>
                      <a:lnTo>
                        <a:pt x="120" y="45"/>
                      </a:lnTo>
                      <a:lnTo>
                        <a:pt x="123" y="44"/>
                      </a:lnTo>
                      <a:lnTo>
                        <a:pt x="125" y="42"/>
                      </a:lnTo>
                      <a:lnTo>
                        <a:pt x="129" y="38"/>
                      </a:lnTo>
                      <a:lnTo>
                        <a:pt x="129"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6" name="Freeform 2013">
                  <a:extLst>
                    <a:ext uri="{FF2B5EF4-FFF2-40B4-BE49-F238E27FC236}">
                      <a16:creationId xmlns:a16="http://schemas.microsoft.com/office/drawing/2014/main" id="{DBC8DF3B-BB06-EFBB-86AA-E218869A2165}"/>
                    </a:ext>
                  </a:extLst>
                </p:cNvPr>
                <p:cNvSpPr>
                  <a:spLocks/>
                </p:cNvSpPr>
                <p:nvPr/>
              </p:nvSpPr>
              <p:spPr bwMode="auto">
                <a:xfrm>
                  <a:off x="8855157" y="2883683"/>
                  <a:ext cx="56385" cy="44050"/>
                </a:xfrm>
                <a:custGeom>
                  <a:avLst/>
                  <a:gdLst/>
                  <a:ahLst/>
                  <a:cxnLst>
                    <a:cxn ang="0">
                      <a:pos x="1" y="48"/>
                    </a:cxn>
                    <a:cxn ang="0">
                      <a:pos x="1" y="48"/>
                    </a:cxn>
                    <a:cxn ang="0">
                      <a:pos x="7" y="38"/>
                    </a:cxn>
                    <a:cxn ang="0">
                      <a:pos x="15" y="29"/>
                    </a:cxn>
                    <a:cxn ang="0">
                      <a:pos x="22" y="22"/>
                    </a:cxn>
                    <a:cxn ang="0">
                      <a:pos x="31" y="17"/>
                    </a:cxn>
                    <a:cxn ang="0">
                      <a:pos x="31" y="17"/>
                    </a:cxn>
                    <a:cxn ang="0">
                      <a:pos x="34" y="15"/>
                    </a:cxn>
                    <a:cxn ang="0">
                      <a:pos x="36" y="14"/>
                    </a:cxn>
                    <a:cxn ang="0">
                      <a:pos x="36" y="8"/>
                    </a:cxn>
                    <a:cxn ang="0">
                      <a:pos x="36" y="5"/>
                    </a:cxn>
                    <a:cxn ang="0">
                      <a:pos x="40" y="7"/>
                    </a:cxn>
                    <a:cxn ang="0">
                      <a:pos x="40" y="7"/>
                    </a:cxn>
                    <a:cxn ang="0">
                      <a:pos x="43" y="8"/>
                    </a:cxn>
                    <a:cxn ang="0">
                      <a:pos x="48" y="8"/>
                    </a:cxn>
                    <a:cxn ang="0">
                      <a:pos x="55" y="3"/>
                    </a:cxn>
                    <a:cxn ang="0">
                      <a:pos x="61" y="0"/>
                    </a:cxn>
                    <a:cxn ang="0">
                      <a:pos x="64" y="0"/>
                    </a:cxn>
                    <a:cxn ang="0">
                      <a:pos x="66" y="0"/>
                    </a:cxn>
                    <a:cxn ang="0">
                      <a:pos x="66" y="0"/>
                    </a:cxn>
                    <a:cxn ang="0">
                      <a:pos x="69" y="5"/>
                    </a:cxn>
                    <a:cxn ang="0">
                      <a:pos x="67" y="7"/>
                    </a:cxn>
                    <a:cxn ang="0">
                      <a:pos x="66" y="8"/>
                    </a:cxn>
                    <a:cxn ang="0">
                      <a:pos x="62" y="10"/>
                    </a:cxn>
                    <a:cxn ang="0">
                      <a:pos x="54" y="12"/>
                    </a:cxn>
                    <a:cxn ang="0">
                      <a:pos x="48" y="15"/>
                    </a:cxn>
                    <a:cxn ang="0">
                      <a:pos x="45" y="19"/>
                    </a:cxn>
                    <a:cxn ang="0">
                      <a:pos x="45" y="19"/>
                    </a:cxn>
                    <a:cxn ang="0">
                      <a:pos x="38" y="24"/>
                    </a:cxn>
                    <a:cxn ang="0">
                      <a:pos x="31" y="28"/>
                    </a:cxn>
                    <a:cxn ang="0">
                      <a:pos x="26" y="31"/>
                    </a:cxn>
                    <a:cxn ang="0">
                      <a:pos x="19" y="38"/>
                    </a:cxn>
                    <a:cxn ang="0">
                      <a:pos x="19" y="38"/>
                    </a:cxn>
                    <a:cxn ang="0">
                      <a:pos x="10" y="48"/>
                    </a:cxn>
                    <a:cxn ang="0">
                      <a:pos x="3" y="54"/>
                    </a:cxn>
                    <a:cxn ang="0">
                      <a:pos x="1" y="54"/>
                    </a:cxn>
                    <a:cxn ang="0">
                      <a:pos x="0" y="54"/>
                    </a:cxn>
                    <a:cxn ang="0">
                      <a:pos x="0" y="52"/>
                    </a:cxn>
                    <a:cxn ang="0">
                      <a:pos x="1" y="48"/>
                    </a:cxn>
                    <a:cxn ang="0">
                      <a:pos x="1" y="48"/>
                    </a:cxn>
                  </a:cxnLst>
                  <a:rect l="0" t="0" r="r" b="b"/>
                  <a:pathLst>
                    <a:path w="69" h="54">
                      <a:moveTo>
                        <a:pt x="1" y="48"/>
                      </a:moveTo>
                      <a:lnTo>
                        <a:pt x="1" y="48"/>
                      </a:lnTo>
                      <a:lnTo>
                        <a:pt x="7" y="38"/>
                      </a:lnTo>
                      <a:lnTo>
                        <a:pt x="15" y="29"/>
                      </a:lnTo>
                      <a:lnTo>
                        <a:pt x="22" y="22"/>
                      </a:lnTo>
                      <a:lnTo>
                        <a:pt x="31" y="17"/>
                      </a:lnTo>
                      <a:lnTo>
                        <a:pt x="31" y="17"/>
                      </a:lnTo>
                      <a:lnTo>
                        <a:pt x="34" y="15"/>
                      </a:lnTo>
                      <a:lnTo>
                        <a:pt x="36" y="14"/>
                      </a:lnTo>
                      <a:lnTo>
                        <a:pt x="36" y="8"/>
                      </a:lnTo>
                      <a:lnTo>
                        <a:pt x="36" y="5"/>
                      </a:lnTo>
                      <a:lnTo>
                        <a:pt x="40" y="7"/>
                      </a:lnTo>
                      <a:lnTo>
                        <a:pt x="40" y="7"/>
                      </a:lnTo>
                      <a:lnTo>
                        <a:pt x="43" y="8"/>
                      </a:lnTo>
                      <a:lnTo>
                        <a:pt x="48" y="8"/>
                      </a:lnTo>
                      <a:lnTo>
                        <a:pt x="55" y="3"/>
                      </a:lnTo>
                      <a:lnTo>
                        <a:pt x="61" y="0"/>
                      </a:lnTo>
                      <a:lnTo>
                        <a:pt x="64" y="0"/>
                      </a:lnTo>
                      <a:lnTo>
                        <a:pt x="66" y="0"/>
                      </a:lnTo>
                      <a:lnTo>
                        <a:pt x="66" y="0"/>
                      </a:lnTo>
                      <a:lnTo>
                        <a:pt x="69" y="5"/>
                      </a:lnTo>
                      <a:lnTo>
                        <a:pt x="67" y="7"/>
                      </a:lnTo>
                      <a:lnTo>
                        <a:pt x="66" y="8"/>
                      </a:lnTo>
                      <a:lnTo>
                        <a:pt x="62" y="10"/>
                      </a:lnTo>
                      <a:lnTo>
                        <a:pt x="54" y="12"/>
                      </a:lnTo>
                      <a:lnTo>
                        <a:pt x="48" y="15"/>
                      </a:lnTo>
                      <a:lnTo>
                        <a:pt x="45" y="19"/>
                      </a:lnTo>
                      <a:lnTo>
                        <a:pt x="45" y="19"/>
                      </a:lnTo>
                      <a:lnTo>
                        <a:pt x="38" y="24"/>
                      </a:lnTo>
                      <a:lnTo>
                        <a:pt x="31" y="28"/>
                      </a:lnTo>
                      <a:lnTo>
                        <a:pt x="26" y="31"/>
                      </a:lnTo>
                      <a:lnTo>
                        <a:pt x="19" y="38"/>
                      </a:lnTo>
                      <a:lnTo>
                        <a:pt x="19" y="38"/>
                      </a:lnTo>
                      <a:lnTo>
                        <a:pt x="10" y="48"/>
                      </a:lnTo>
                      <a:lnTo>
                        <a:pt x="3" y="54"/>
                      </a:lnTo>
                      <a:lnTo>
                        <a:pt x="1" y="54"/>
                      </a:lnTo>
                      <a:lnTo>
                        <a:pt x="0" y="54"/>
                      </a:lnTo>
                      <a:lnTo>
                        <a:pt x="0" y="52"/>
                      </a:lnTo>
                      <a:lnTo>
                        <a:pt x="1" y="48"/>
                      </a:lnTo>
                      <a:lnTo>
                        <a:pt x="1" y="4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7" name="Freeform 2014">
                  <a:extLst>
                    <a:ext uri="{FF2B5EF4-FFF2-40B4-BE49-F238E27FC236}">
                      <a16:creationId xmlns:a16="http://schemas.microsoft.com/office/drawing/2014/main" id="{FE6B60D0-D7F6-8F83-28CC-563DE266575E}"/>
                    </a:ext>
                  </a:extLst>
                </p:cNvPr>
                <p:cNvSpPr>
                  <a:spLocks/>
                </p:cNvSpPr>
                <p:nvPr/>
              </p:nvSpPr>
              <p:spPr bwMode="auto">
                <a:xfrm>
                  <a:off x="8929162" y="2855489"/>
                  <a:ext cx="26432" cy="26430"/>
                </a:xfrm>
                <a:custGeom>
                  <a:avLst/>
                  <a:gdLst/>
                  <a:ahLst/>
                  <a:cxnLst>
                    <a:cxn ang="0">
                      <a:pos x="2" y="26"/>
                    </a:cxn>
                    <a:cxn ang="0">
                      <a:pos x="2" y="26"/>
                    </a:cxn>
                    <a:cxn ang="0">
                      <a:pos x="5" y="21"/>
                    </a:cxn>
                    <a:cxn ang="0">
                      <a:pos x="9" y="14"/>
                    </a:cxn>
                    <a:cxn ang="0">
                      <a:pos x="19" y="5"/>
                    </a:cxn>
                    <a:cxn ang="0">
                      <a:pos x="30" y="0"/>
                    </a:cxn>
                    <a:cxn ang="0">
                      <a:pos x="33" y="0"/>
                    </a:cxn>
                    <a:cxn ang="0">
                      <a:pos x="35" y="0"/>
                    </a:cxn>
                    <a:cxn ang="0">
                      <a:pos x="35" y="0"/>
                    </a:cxn>
                    <a:cxn ang="0">
                      <a:pos x="35" y="3"/>
                    </a:cxn>
                    <a:cxn ang="0">
                      <a:pos x="31" y="9"/>
                    </a:cxn>
                    <a:cxn ang="0">
                      <a:pos x="18" y="22"/>
                    </a:cxn>
                    <a:cxn ang="0">
                      <a:pos x="11" y="28"/>
                    </a:cxn>
                    <a:cxn ang="0">
                      <a:pos x="4" y="31"/>
                    </a:cxn>
                    <a:cxn ang="0">
                      <a:pos x="0" y="31"/>
                    </a:cxn>
                    <a:cxn ang="0">
                      <a:pos x="2" y="26"/>
                    </a:cxn>
                    <a:cxn ang="0">
                      <a:pos x="2" y="26"/>
                    </a:cxn>
                  </a:cxnLst>
                  <a:rect l="0" t="0" r="r" b="b"/>
                  <a:pathLst>
                    <a:path w="35" h="31">
                      <a:moveTo>
                        <a:pt x="2" y="26"/>
                      </a:moveTo>
                      <a:lnTo>
                        <a:pt x="2" y="26"/>
                      </a:lnTo>
                      <a:lnTo>
                        <a:pt x="5" y="21"/>
                      </a:lnTo>
                      <a:lnTo>
                        <a:pt x="9" y="14"/>
                      </a:lnTo>
                      <a:lnTo>
                        <a:pt x="19" y="5"/>
                      </a:lnTo>
                      <a:lnTo>
                        <a:pt x="30" y="0"/>
                      </a:lnTo>
                      <a:lnTo>
                        <a:pt x="33" y="0"/>
                      </a:lnTo>
                      <a:lnTo>
                        <a:pt x="35" y="0"/>
                      </a:lnTo>
                      <a:lnTo>
                        <a:pt x="35" y="0"/>
                      </a:lnTo>
                      <a:lnTo>
                        <a:pt x="35" y="3"/>
                      </a:lnTo>
                      <a:lnTo>
                        <a:pt x="31" y="9"/>
                      </a:lnTo>
                      <a:lnTo>
                        <a:pt x="18" y="22"/>
                      </a:lnTo>
                      <a:lnTo>
                        <a:pt x="11" y="28"/>
                      </a:lnTo>
                      <a:lnTo>
                        <a:pt x="4" y="31"/>
                      </a:lnTo>
                      <a:lnTo>
                        <a:pt x="0" y="31"/>
                      </a:lnTo>
                      <a:lnTo>
                        <a:pt x="2" y="26"/>
                      </a:lnTo>
                      <a:lnTo>
                        <a:pt x="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8" name="Freeform 2015">
                  <a:extLst>
                    <a:ext uri="{FF2B5EF4-FFF2-40B4-BE49-F238E27FC236}">
                      <a16:creationId xmlns:a16="http://schemas.microsoft.com/office/drawing/2014/main" id="{166D6836-CF2C-1188-7920-8953C49B1097}"/>
                    </a:ext>
                  </a:extLst>
                </p:cNvPr>
                <p:cNvSpPr>
                  <a:spLocks/>
                </p:cNvSpPr>
                <p:nvPr/>
              </p:nvSpPr>
              <p:spPr bwMode="auto">
                <a:xfrm>
                  <a:off x="9057791" y="2746247"/>
                  <a:ext cx="5285" cy="8811"/>
                </a:xfrm>
                <a:custGeom>
                  <a:avLst/>
                  <a:gdLst/>
                  <a:ahLst/>
                  <a:cxnLst>
                    <a:cxn ang="0">
                      <a:pos x="0" y="9"/>
                    </a:cxn>
                    <a:cxn ang="0">
                      <a:pos x="0" y="9"/>
                    </a:cxn>
                    <a:cxn ang="0">
                      <a:pos x="6" y="2"/>
                    </a:cxn>
                    <a:cxn ang="0">
                      <a:pos x="7" y="0"/>
                    </a:cxn>
                    <a:cxn ang="0">
                      <a:pos x="9" y="0"/>
                    </a:cxn>
                    <a:cxn ang="0">
                      <a:pos x="9" y="0"/>
                    </a:cxn>
                    <a:cxn ang="0">
                      <a:pos x="7" y="4"/>
                    </a:cxn>
                    <a:cxn ang="0">
                      <a:pos x="4" y="7"/>
                    </a:cxn>
                    <a:cxn ang="0">
                      <a:pos x="0" y="11"/>
                    </a:cxn>
                    <a:cxn ang="0">
                      <a:pos x="0" y="11"/>
                    </a:cxn>
                    <a:cxn ang="0">
                      <a:pos x="0" y="9"/>
                    </a:cxn>
                    <a:cxn ang="0">
                      <a:pos x="0" y="9"/>
                    </a:cxn>
                  </a:cxnLst>
                  <a:rect l="0" t="0" r="r" b="b"/>
                  <a:pathLst>
                    <a:path w="9" h="11">
                      <a:moveTo>
                        <a:pt x="0" y="9"/>
                      </a:moveTo>
                      <a:lnTo>
                        <a:pt x="0" y="9"/>
                      </a:lnTo>
                      <a:lnTo>
                        <a:pt x="6" y="2"/>
                      </a:lnTo>
                      <a:lnTo>
                        <a:pt x="7" y="0"/>
                      </a:lnTo>
                      <a:lnTo>
                        <a:pt x="9" y="0"/>
                      </a:lnTo>
                      <a:lnTo>
                        <a:pt x="9" y="0"/>
                      </a:lnTo>
                      <a:lnTo>
                        <a:pt x="7" y="4"/>
                      </a:lnTo>
                      <a:lnTo>
                        <a:pt x="4" y="7"/>
                      </a:lnTo>
                      <a:lnTo>
                        <a:pt x="0" y="11"/>
                      </a:lnTo>
                      <a:lnTo>
                        <a:pt x="0" y="11"/>
                      </a:lnTo>
                      <a:lnTo>
                        <a:pt x="0" y="9"/>
                      </a:lnTo>
                      <a:lnTo>
                        <a:pt x="0"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9" name="Freeform 2016">
                  <a:extLst>
                    <a:ext uri="{FF2B5EF4-FFF2-40B4-BE49-F238E27FC236}">
                      <a16:creationId xmlns:a16="http://schemas.microsoft.com/office/drawing/2014/main" id="{12C1C704-EFD1-D03B-BE52-AD7D947251B1}"/>
                    </a:ext>
                  </a:extLst>
                </p:cNvPr>
                <p:cNvSpPr>
                  <a:spLocks/>
                </p:cNvSpPr>
                <p:nvPr/>
              </p:nvSpPr>
              <p:spPr bwMode="auto">
                <a:xfrm>
                  <a:off x="8220839" y="2985878"/>
                  <a:ext cx="177963" cy="202631"/>
                </a:xfrm>
                <a:custGeom>
                  <a:avLst/>
                  <a:gdLst/>
                  <a:ahLst/>
                  <a:cxnLst>
                    <a:cxn ang="0">
                      <a:pos x="5" y="157"/>
                    </a:cxn>
                    <a:cxn ang="0">
                      <a:pos x="14" y="160"/>
                    </a:cxn>
                    <a:cxn ang="0">
                      <a:pos x="31" y="167"/>
                    </a:cxn>
                    <a:cxn ang="0">
                      <a:pos x="35" y="179"/>
                    </a:cxn>
                    <a:cxn ang="0">
                      <a:pos x="28" y="205"/>
                    </a:cxn>
                    <a:cxn ang="0">
                      <a:pos x="23" y="214"/>
                    </a:cxn>
                    <a:cxn ang="0">
                      <a:pos x="14" y="230"/>
                    </a:cxn>
                    <a:cxn ang="0">
                      <a:pos x="17" y="237"/>
                    </a:cxn>
                    <a:cxn ang="0">
                      <a:pos x="24" y="240"/>
                    </a:cxn>
                    <a:cxn ang="0">
                      <a:pos x="26" y="245"/>
                    </a:cxn>
                    <a:cxn ang="0">
                      <a:pos x="35" y="251"/>
                    </a:cxn>
                    <a:cxn ang="0">
                      <a:pos x="37" y="254"/>
                    </a:cxn>
                    <a:cxn ang="0">
                      <a:pos x="45" y="242"/>
                    </a:cxn>
                    <a:cxn ang="0">
                      <a:pos x="61" y="252"/>
                    </a:cxn>
                    <a:cxn ang="0">
                      <a:pos x="64" y="247"/>
                    </a:cxn>
                    <a:cxn ang="0">
                      <a:pos x="82" y="247"/>
                    </a:cxn>
                    <a:cxn ang="0">
                      <a:pos x="89" y="232"/>
                    </a:cxn>
                    <a:cxn ang="0">
                      <a:pos x="117" y="225"/>
                    </a:cxn>
                    <a:cxn ang="0">
                      <a:pos x="136" y="219"/>
                    </a:cxn>
                    <a:cxn ang="0">
                      <a:pos x="139" y="211"/>
                    </a:cxn>
                    <a:cxn ang="0">
                      <a:pos x="124" y="193"/>
                    </a:cxn>
                    <a:cxn ang="0">
                      <a:pos x="111" y="185"/>
                    </a:cxn>
                    <a:cxn ang="0">
                      <a:pos x="106" y="178"/>
                    </a:cxn>
                    <a:cxn ang="0">
                      <a:pos x="111" y="176"/>
                    </a:cxn>
                    <a:cxn ang="0">
                      <a:pos x="111" y="158"/>
                    </a:cxn>
                    <a:cxn ang="0">
                      <a:pos x="122" y="150"/>
                    </a:cxn>
                    <a:cxn ang="0">
                      <a:pos x="129" y="143"/>
                    </a:cxn>
                    <a:cxn ang="0">
                      <a:pos x="143" y="141"/>
                    </a:cxn>
                    <a:cxn ang="0">
                      <a:pos x="176" y="108"/>
                    </a:cxn>
                    <a:cxn ang="0">
                      <a:pos x="186" y="101"/>
                    </a:cxn>
                    <a:cxn ang="0">
                      <a:pos x="188" y="82"/>
                    </a:cxn>
                    <a:cxn ang="0">
                      <a:pos x="186" y="71"/>
                    </a:cxn>
                    <a:cxn ang="0">
                      <a:pos x="202" y="44"/>
                    </a:cxn>
                    <a:cxn ang="0">
                      <a:pos x="216" y="35"/>
                    </a:cxn>
                    <a:cxn ang="0">
                      <a:pos x="218" y="26"/>
                    </a:cxn>
                    <a:cxn ang="0">
                      <a:pos x="209" y="17"/>
                    </a:cxn>
                    <a:cxn ang="0">
                      <a:pos x="204" y="3"/>
                    </a:cxn>
                    <a:cxn ang="0">
                      <a:pos x="193" y="2"/>
                    </a:cxn>
                    <a:cxn ang="0">
                      <a:pos x="186" y="26"/>
                    </a:cxn>
                    <a:cxn ang="0">
                      <a:pos x="176" y="26"/>
                    </a:cxn>
                    <a:cxn ang="0">
                      <a:pos x="165" y="44"/>
                    </a:cxn>
                    <a:cxn ang="0">
                      <a:pos x="155" y="47"/>
                    </a:cxn>
                    <a:cxn ang="0">
                      <a:pos x="136" y="47"/>
                    </a:cxn>
                    <a:cxn ang="0">
                      <a:pos x="129" y="54"/>
                    </a:cxn>
                    <a:cxn ang="0">
                      <a:pos x="138" y="70"/>
                    </a:cxn>
                    <a:cxn ang="0">
                      <a:pos x="134" y="77"/>
                    </a:cxn>
                    <a:cxn ang="0">
                      <a:pos x="120" y="75"/>
                    </a:cxn>
                    <a:cxn ang="0">
                      <a:pos x="103" y="73"/>
                    </a:cxn>
                    <a:cxn ang="0">
                      <a:pos x="91" y="59"/>
                    </a:cxn>
                    <a:cxn ang="0">
                      <a:pos x="85" y="63"/>
                    </a:cxn>
                    <a:cxn ang="0">
                      <a:pos x="80" y="64"/>
                    </a:cxn>
                    <a:cxn ang="0">
                      <a:pos x="73" y="80"/>
                    </a:cxn>
                    <a:cxn ang="0">
                      <a:pos x="56" y="101"/>
                    </a:cxn>
                    <a:cxn ang="0">
                      <a:pos x="45" y="104"/>
                    </a:cxn>
                    <a:cxn ang="0">
                      <a:pos x="40" y="110"/>
                    </a:cxn>
                    <a:cxn ang="0">
                      <a:pos x="31" y="115"/>
                    </a:cxn>
                    <a:cxn ang="0">
                      <a:pos x="21" y="122"/>
                    </a:cxn>
                    <a:cxn ang="0">
                      <a:pos x="5" y="134"/>
                    </a:cxn>
                  </a:cxnLst>
                  <a:rect l="0" t="0" r="r" b="b"/>
                  <a:pathLst>
                    <a:path w="223" h="254">
                      <a:moveTo>
                        <a:pt x="0" y="145"/>
                      </a:moveTo>
                      <a:lnTo>
                        <a:pt x="0" y="145"/>
                      </a:lnTo>
                      <a:lnTo>
                        <a:pt x="2" y="151"/>
                      </a:lnTo>
                      <a:lnTo>
                        <a:pt x="5" y="157"/>
                      </a:lnTo>
                      <a:lnTo>
                        <a:pt x="9" y="160"/>
                      </a:lnTo>
                      <a:lnTo>
                        <a:pt x="10" y="160"/>
                      </a:lnTo>
                      <a:lnTo>
                        <a:pt x="14" y="160"/>
                      </a:lnTo>
                      <a:lnTo>
                        <a:pt x="14" y="160"/>
                      </a:lnTo>
                      <a:lnTo>
                        <a:pt x="16" y="158"/>
                      </a:lnTo>
                      <a:lnTo>
                        <a:pt x="19" y="158"/>
                      </a:lnTo>
                      <a:lnTo>
                        <a:pt x="28" y="164"/>
                      </a:lnTo>
                      <a:lnTo>
                        <a:pt x="31" y="167"/>
                      </a:lnTo>
                      <a:lnTo>
                        <a:pt x="35" y="171"/>
                      </a:lnTo>
                      <a:lnTo>
                        <a:pt x="37" y="174"/>
                      </a:lnTo>
                      <a:lnTo>
                        <a:pt x="35" y="179"/>
                      </a:lnTo>
                      <a:lnTo>
                        <a:pt x="35" y="179"/>
                      </a:lnTo>
                      <a:lnTo>
                        <a:pt x="28" y="195"/>
                      </a:lnTo>
                      <a:lnTo>
                        <a:pt x="26" y="200"/>
                      </a:lnTo>
                      <a:lnTo>
                        <a:pt x="26" y="204"/>
                      </a:lnTo>
                      <a:lnTo>
                        <a:pt x="28" y="205"/>
                      </a:lnTo>
                      <a:lnTo>
                        <a:pt x="28" y="205"/>
                      </a:lnTo>
                      <a:lnTo>
                        <a:pt x="30" y="209"/>
                      </a:lnTo>
                      <a:lnTo>
                        <a:pt x="26" y="211"/>
                      </a:lnTo>
                      <a:lnTo>
                        <a:pt x="23" y="214"/>
                      </a:lnTo>
                      <a:lnTo>
                        <a:pt x="19" y="223"/>
                      </a:lnTo>
                      <a:lnTo>
                        <a:pt x="19" y="223"/>
                      </a:lnTo>
                      <a:lnTo>
                        <a:pt x="17" y="226"/>
                      </a:lnTo>
                      <a:lnTo>
                        <a:pt x="14" y="230"/>
                      </a:lnTo>
                      <a:lnTo>
                        <a:pt x="10" y="233"/>
                      </a:lnTo>
                      <a:lnTo>
                        <a:pt x="9" y="235"/>
                      </a:lnTo>
                      <a:lnTo>
                        <a:pt x="10" y="235"/>
                      </a:lnTo>
                      <a:lnTo>
                        <a:pt x="17" y="237"/>
                      </a:lnTo>
                      <a:lnTo>
                        <a:pt x="17" y="237"/>
                      </a:lnTo>
                      <a:lnTo>
                        <a:pt x="23" y="237"/>
                      </a:lnTo>
                      <a:lnTo>
                        <a:pt x="24" y="239"/>
                      </a:lnTo>
                      <a:lnTo>
                        <a:pt x="24" y="240"/>
                      </a:lnTo>
                      <a:lnTo>
                        <a:pt x="23" y="242"/>
                      </a:lnTo>
                      <a:lnTo>
                        <a:pt x="21" y="244"/>
                      </a:lnTo>
                      <a:lnTo>
                        <a:pt x="21" y="245"/>
                      </a:lnTo>
                      <a:lnTo>
                        <a:pt x="26" y="245"/>
                      </a:lnTo>
                      <a:lnTo>
                        <a:pt x="26" y="245"/>
                      </a:lnTo>
                      <a:lnTo>
                        <a:pt x="31" y="247"/>
                      </a:lnTo>
                      <a:lnTo>
                        <a:pt x="33" y="249"/>
                      </a:lnTo>
                      <a:lnTo>
                        <a:pt x="35" y="251"/>
                      </a:lnTo>
                      <a:lnTo>
                        <a:pt x="33" y="252"/>
                      </a:lnTo>
                      <a:lnTo>
                        <a:pt x="33" y="254"/>
                      </a:lnTo>
                      <a:lnTo>
                        <a:pt x="37" y="254"/>
                      </a:lnTo>
                      <a:lnTo>
                        <a:pt x="37" y="254"/>
                      </a:lnTo>
                      <a:lnTo>
                        <a:pt x="40" y="251"/>
                      </a:lnTo>
                      <a:lnTo>
                        <a:pt x="42" y="249"/>
                      </a:lnTo>
                      <a:lnTo>
                        <a:pt x="44" y="244"/>
                      </a:lnTo>
                      <a:lnTo>
                        <a:pt x="45" y="242"/>
                      </a:lnTo>
                      <a:lnTo>
                        <a:pt x="47" y="242"/>
                      </a:lnTo>
                      <a:lnTo>
                        <a:pt x="52" y="244"/>
                      </a:lnTo>
                      <a:lnTo>
                        <a:pt x="52" y="244"/>
                      </a:lnTo>
                      <a:lnTo>
                        <a:pt x="61" y="252"/>
                      </a:lnTo>
                      <a:lnTo>
                        <a:pt x="61" y="251"/>
                      </a:lnTo>
                      <a:lnTo>
                        <a:pt x="63" y="249"/>
                      </a:lnTo>
                      <a:lnTo>
                        <a:pt x="63" y="249"/>
                      </a:lnTo>
                      <a:lnTo>
                        <a:pt x="64" y="247"/>
                      </a:lnTo>
                      <a:lnTo>
                        <a:pt x="66" y="245"/>
                      </a:lnTo>
                      <a:lnTo>
                        <a:pt x="70" y="247"/>
                      </a:lnTo>
                      <a:lnTo>
                        <a:pt x="75" y="247"/>
                      </a:lnTo>
                      <a:lnTo>
                        <a:pt x="82" y="247"/>
                      </a:lnTo>
                      <a:lnTo>
                        <a:pt x="82" y="247"/>
                      </a:lnTo>
                      <a:lnTo>
                        <a:pt x="82" y="242"/>
                      </a:lnTo>
                      <a:lnTo>
                        <a:pt x="84" y="237"/>
                      </a:lnTo>
                      <a:lnTo>
                        <a:pt x="89" y="232"/>
                      </a:lnTo>
                      <a:lnTo>
                        <a:pt x="98" y="226"/>
                      </a:lnTo>
                      <a:lnTo>
                        <a:pt x="98" y="226"/>
                      </a:lnTo>
                      <a:lnTo>
                        <a:pt x="108" y="225"/>
                      </a:lnTo>
                      <a:lnTo>
                        <a:pt x="117" y="225"/>
                      </a:lnTo>
                      <a:lnTo>
                        <a:pt x="125" y="225"/>
                      </a:lnTo>
                      <a:lnTo>
                        <a:pt x="132" y="223"/>
                      </a:lnTo>
                      <a:lnTo>
                        <a:pt x="132" y="223"/>
                      </a:lnTo>
                      <a:lnTo>
                        <a:pt x="136" y="219"/>
                      </a:lnTo>
                      <a:lnTo>
                        <a:pt x="136" y="216"/>
                      </a:lnTo>
                      <a:lnTo>
                        <a:pt x="136" y="212"/>
                      </a:lnTo>
                      <a:lnTo>
                        <a:pt x="139" y="211"/>
                      </a:lnTo>
                      <a:lnTo>
                        <a:pt x="139" y="211"/>
                      </a:lnTo>
                      <a:lnTo>
                        <a:pt x="138" y="205"/>
                      </a:lnTo>
                      <a:lnTo>
                        <a:pt x="134" y="204"/>
                      </a:lnTo>
                      <a:lnTo>
                        <a:pt x="131" y="202"/>
                      </a:lnTo>
                      <a:lnTo>
                        <a:pt x="124" y="193"/>
                      </a:lnTo>
                      <a:lnTo>
                        <a:pt x="124" y="193"/>
                      </a:lnTo>
                      <a:lnTo>
                        <a:pt x="120" y="188"/>
                      </a:lnTo>
                      <a:lnTo>
                        <a:pt x="117" y="186"/>
                      </a:lnTo>
                      <a:lnTo>
                        <a:pt x="111" y="185"/>
                      </a:lnTo>
                      <a:lnTo>
                        <a:pt x="108" y="183"/>
                      </a:lnTo>
                      <a:lnTo>
                        <a:pt x="106" y="179"/>
                      </a:lnTo>
                      <a:lnTo>
                        <a:pt x="106" y="179"/>
                      </a:lnTo>
                      <a:lnTo>
                        <a:pt x="106" y="178"/>
                      </a:lnTo>
                      <a:lnTo>
                        <a:pt x="106" y="178"/>
                      </a:lnTo>
                      <a:lnTo>
                        <a:pt x="110" y="178"/>
                      </a:lnTo>
                      <a:lnTo>
                        <a:pt x="110" y="178"/>
                      </a:lnTo>
                      <a:lnTo>
                        <a:pt x="111" y="176"/>
                      </a:lnTo>
                      <a:lnTo>
                        <a:pt x="111" y="169"/>
                      </a:lnTo>
                      <a:lnTo>
                        <a:pt x="111" y="169"/>
                      </a:lnTo>
                      <a:lnTo>
                        <a:pt x="110" y="162"/>
                      </a:lnTo>
                      <a:lnTo>
                        <a:pt x="111" y="158"/>
                      </a:lnTo>
                      <a:lnTo>
                        <a:pt x="111" y="155"/>
                      </a:lnTo>
                      <a:lnTo>
                        <a:pt x="113" y="153"/>
                      </a:lnTo>
                      <a:lnTo>
                        <a:pt x="118" y="151"/>
                      </a:lnTo>
                      <a:lnTo>
                        <a:pt x="122" y="150"/>
                      </a:lnTo>
                      <a:lnTo>
                        <a:pt x="124" y="146"/>
                      </a:lnTo>
                      <a:lnTo>
                        <a:pt x="124" y="146"/>
                      </a:lnTo>
                      <a:lnTo>
                        <a:pt x="127" y="143"/>
                      </a:lnTo>
                      <a:lnTo>
                        <a:pt x="129" y="143"/>
                      </a:lnTo>
                      <a:lnTo>
                        <a:pt x="132" y="143"/>
                      </a:lnTo>
                      <a:lnTo>
                        <a:pt x="136" y="145"/>
                      </a:lnTo>
                      <a:lnTo>
                        <a:pt x="139" y="143"/>
                      </a:lnTo>
                      <a:lnTo>
                        <a:pt x="143" y="141"/>
                      </a:lnTo>
                      <a:lnTo>
                        <a:pt x="148" y="136"/>
                      </a:lnTo>
                      <a:lnTo>
                        <a:pt x="148" y="136"/>
                      </a:lnTo>
                      <a:lnTo>
                        <a:pt x="169" y="115"/>
                      </a:lnTo>
                      <a:lnTo>
                        <a:pt x="176" y="108"/>
                      </a:lnTo>
                      <a:lnTo>
                        <a:pt x="183" y="104"/>
                      </a:lnTo>
                      <a:lnTo>
                        <a:pt x="183" y="104"/>
                      </a:lnTo>
                      <a:lnTo>
                        <a:pt x="186" y="104"/>
                      </a:lnTo>
                      <a:lnTo>
                        <a:pt x="186" y="101"/>
                      </a:lnTo>
                      <a:lnTo>
                        <a:pt x="188" y="96"/>
                      </a:lnTo>
                      <a:lnTo>
                        <a:pt x="188" y="87"/>
                      </a:lnTo>
                      <a:lnTo>
                        <a:pt x="188" y="82"/>
                      </a:lnTo>
                      <a:lnTo>
                        <a:pt x="188" y="82"/>
                      </a:lnTo>
                      <a:lnTo>
                        <a:pt x="190" y="78"/>
                      </a:lnTo>
                      <a:lnTo>
                        <a:pt x="188" y="77"/>
                      </a:lnTo>
                      <a:lnTo>
                        <a:pt x="186" y="73"/>
                      </a:lnTo>
                      <a:lnTo>
                        <a:pt x="186" y="71"/>
                      </a:lnTo>
                      <a:lnTo>
                        <a:pt x="186" y="70"/>
                      </a:lnTo>
                      <a:lnTo>
                        <a:pt x="190" y="61"/>
                      </a:lnTo>
                      <a:lnTo>
                        <a:pt x="190" y="61"/>
                      </a:lnTo>
                      <a:lnTo>
                        <a:pt x="202" y="44"/>
                      </a:lnTo>
                      <a:lnTo>
                        <a:pt x="211" y="35"/>
                      </a:lnTo>
                      <a:lnTo>
                        <a:pt x="211" y="35"/>
                      </a:lnTo>
                      <a:lnTo>
                        <a:pt x="214" y="33"/>
                      </a:lnTo>
                      <a:lnTo>
                        <a:pt x="216" y="35"/>
                      </a:lnTo>
                      <a:lnTo>
                        <a:pt x="219" y="35"/>
                      </a:lnTo>
                      <a:lnTo>
                        <a:pt x="223" y="33"/>
                      </a:lnTo>
                      <a:lnTo>
                        <a:pt x="218" y="26"/>
                      </a:lnTo>
                      <a:lnTo>
                        <a:pt x="218" y="26"/>
                      </a:lnTo>
                      <a:lnTo>
                        <a:pt x="216" y="19"/>
                      </a:lnTo>
                      <a:lnTo>
                        <a:pt x="214" y="19"/>
                      </a:lnTo>
                      <a:lnTo>
                        <a:pt x="212" y="19"/>
                      </a:lnTo>
                      <a:lnTo>
                        <a:pt x="209" y="17"/>
                      </a:lnTo>
                      <a:lnTo>
                        <a:pt x="209" y="17"/>
                      </a:lnTo>
                      <a:lnTo>
                        <a:pt x="207" y="12"/>
                      </a:lnTo>
                      <a:lnTo>
                        <a:pt x="206" y="7"/>
                      </a:lnTo>
                      <a:lnTo>
                        <a:pt x="204" y="3"/>
                      </a:lnTo>
                      <a:lnTo>
                        <a:pt x="200" y="2"/>
                      </a:lnTo>
                      <a:lnTo>
                        <a:pt x="197" y="0"/>
                      </a:lnTo>
                      <a:lnTo>
                        <a:pt x="197" y="0"/>
                      </a:lnTo>
                      <a:lnTo>
                        <a:pt x="193" y="2"/>
                      </a:lnTo>
                      <a:lnTo>
                        <a:pt x="190" y="5"/>
                      </a:lnTo>
                      <a:lnTo>
                        <a:pt x="188" y="16"/>
                      </a:lnTo>
                      <a:lnTo>
                        <a:pt x="188" y="23"/>
                      </a:lnTo>
                      <a:lnTo>
                        <a:pt x="186" y="26"/>
                      </a:lnTo>
                      <a:lnTo>
                        <a:pt x="185" y="28"/>
                      </a:lnTo>
                      <a:lnTo>
                        <a:pt x="179" y="28"/>
                      </a:lnTo>
                      <a:lnTo>
                        <a:pt x="179" y="28"/>
                      </a:lnTo>
                      <a:lnTo>
                        <a:pt x="176" y="26"/>
                      </a:lnTo>
                      <a:lnTo>
                        <a:pt x="174" y="28"/>
                      </a:lnTo>
                      <a:lnTo>
                        <a:pt x="172" y="31"/>
                      </a:lnTo>
                      <a:lnTo>
                        <a:pt x="169" y="38"/>
                      </a:lnTo>
                      <a:lnTo>
                        <a:pt x="165" y="44"/>
                      </a:lnTo>
                      <a:lnTo>
                        <a:pt x="165" y="44"/>
                      </a:lnTo>
                      <a:lnTo>
                        <a:pt x="160" y="47"/>
                      </a:lnTo>
                      <a:lnTo>
                        <a:pt x="159" y="47"/>
                      </a:lnTo>
                      <a:lnTo>
                        <a:pt x="155" y="47"/>
                      </a:lnTo>
                      <a:lnTo>
                        <a:pt x="150" y="47"/>
                      </a:lnTo>
                      <a:lnTo>
                        <a:pt x="150" y="47"/>
                      </a:lnTo>
                      <a:lnTo>
                        <a:pt x="143" y="47"/>
                      </a:lnTo>
                      <a:lnTo>
                        <a:pt x="136" y="47"/>
                      </a:lnTo>
                      <a:lnTo>
                        <a:pt x="134" y="47"/>
                      </a:lnTo>
                      <a:lnTo>
                        <a:pt x="131" y="47"/>
                      </a:lnTo>
                      <a:lnTo>
                        <a:pt x="131" y="49"/>
                      </a:lnTo>
                      <a:lnTo>
                        <a:pt x="129" y="54"/>
                      </a:lnTo>
                      <a:lnTo>
                        <a:pt x="129" y="54"/>
                      </a:lnTo>
                      <a:lnTo>
                        <a:pt x="132" y="59"/>
                      </a:lnTo>
                      <a:lnTo>
                        <a:pt x="136" y="64"/>
                      </a:lnTo>
                      <a:lnTo>
                        <a:pt x="138" y="70"/>
                      </a:lnTo>
                      <a:lnTo>
                        <a:pt x="138" y="71"/>
                      </a:lnTo>
                      <a:lnTo>
                        <a:pt x="136" y="75"/>
                      </a:lnTo>
                      <a:lnTo>
                        <a:pt x="136" y="75"/>
                      </a:lnTo>
                      <a:lnTo>
                        <a:pt x="134" y="77"/>
                      </a:lnTo>
                      <a:lnTo>
                        <a:pt x="132" y="77"/>
                      </a:lnTo>
                      <a:lnTo>
                        <a:pt x="129" y="77"/>
                      </a:lnTo>
                      <a:lnTo>
                        <a:pt x="125" y="75"/>
                      </a:lnTo>
                      <a:lnTo>
                        <a:pt x="120" y="75"/>
                      </a:lnTo>
                      <a:lnTo>
                        <a:pt x="120" y="75"/>
                      </a:lnTo>
                      <a:lnTo>
                        <a:pt x="117" y="77"/>
                      </a:lnTo>
                      <a:lnTo>
                        <a:pt x="111" y="77"/>
                      </a:lnTo>
                      <a:lnTo>
                        <a:pt x="103" y="73"/>
                      </a:lnTo>
                      <a:lnTo>
                        <a:pt x="103" y="73"/>
                      </a:lnTo>
                      <a:lnTo>
                        <a:pt x="98" y="70"/>
                      </a:lnTo>
                      <a:lnTo>
                        <a:pt x="94" y="64"/>
                      </a:lnTo>
                      <a:lnTo>
                        <a:pt x="91" y="59"/>
                      </a:lnTo>
                      <a:lnTo>
                        <a:pt x="89" y="59"/>
                      </a:lnTo>
                      <a:lnTo>
                        <a:pt x="87" y="59"/>
                      </a:lnTo>
                      <a:lnTo>
                        <a:pt x="87" y="59"/>
                      </a:lnTo>
                      <a:lnTo>
                        <a:pt x="85" y="63"/>
                      </a:lnTo>
                      <a:lnTo>
                        <a:pt x="84" y="63"/>
                      </a:lnTo>
                      <a:lnTo>
                        <a:pt x="82" y="61"/>
                      </a:lnTo>
                      <a:lnTo>
                        <a:pt x="80" y="64"/>
                      </a:lnTo>
                      <a:lnTo>
                        <a:pt x="80" y="64"/>
                      </a:lnTo>
                      <a:lnTo>
                        <a:pt x="77" y="70"/>
                      </a:lnTo>
                      <a:lnTo>
                        <a:pt x="77" y="73"/>
                      </a:lnTo>
                      <a:lnTo>
                        <a:pt x="77" y="77"/>
                      </a:lnTo>
                      <a:lnTo>
                        <a:pt x="73" y="80"/>
                      </a:lnTo>
                      <a:lnTo>
                        <a:pt x="73" y="80"/>
                      </a:lnTo>
                      <a:lnTo>
                        <a:pt x="64" y="94"/>
                      </a:lnTo>
                      <a:lnTo>
                        <a:pt x="59" y="99"/>
                      </a:lnTo>
                      <a:lnTo>
                        <a:pt x="56" y="101"/>
                      </a:lnTo>
                      <a:lnTo>
                        <a:pt x="52" y="101"/>
                      </a:lnTo>
                      <a:lnTo>
                        <a:pt x="52" y="101"/>
                      </a:lnTo>
                      <a:lnTo>
                        <a:pt x="47" y="103"/>
                      </a:lnTo>
                      <a:lnTo>
                        <a:pt x="45" y="104"/>
                      </a:lnTo>
                      <a:lnTo>
                        <a:pt x="45" y="106"/>
                      </a:lnTo>
                      <a:lnTo>
                        <a:pt x="44" y="108"/>
                      </a:lnTo>
                      <a:lnTo>
                        <a:pt x="44" y="108"/>
                      </a:lnTo>
                      <a:lnTo>
                        <a:pt x="40" y="110"/>
                      </a:lnTo>
                      <a:lnTo>
                        <a:pt x="38" y="111"/>
                      </a:lnTo>
                      <a:lnTo>
                        <a:pt x="37" y="113"/>
                      </a:lnTo>
                      <a:lnTo>
                        <a:pt x="31" y="115"/>
                      </a:lnTo>
                      <a:lnTo>
                        <a:pt x="31" y="115"/>
                      </a:lnTo>
                      <a:lnTo>
                        <a:pt x="26" y="117"/>
                      </a:lnTo>
                      <a:lnTo>
                        <a:pt x="24" y="118"/>
                      </a:lnTo>
                      <a:lnTo>
                        <a:pt x="23" y="120"/>
                      </a:lnTo>
                      <a:lnTo>
                        <a:pt x="21" y="122"/>
                      </a:lnTo>
                      <a:lnTo>
                        <a:pt x="21" y="122"/>
                      </a:lnTo>
                      <a:lnTo>
                        <a:pt x="16" y="124"/>
                      </a:lnTo>
                      <a:lnTo>
                        <a:pt x="10" y="127"/>
                      </a:lnTo>
                      <a:lnTo>
                        <a:pt x="5" y="134"/>
                      </a:lnTo>
                      <a:lnTo>
                        <a:pt x="0" y="143"/>
                      </a:lnTo>
                      <a:lnTo>
                        <a:pt x="0" y="14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0" name="Freeform 2017">
                  <a:extLst>
                    <a:ext uri="{FF2B5EF4-FFF2-40B4-BE49-F238E27FC236}">
                      <a16:creationId xmlns:a16="http://schemas.microsoft.com/office/drawing/2014/main" id="{10B82AD7-BA15-8943-84D2-BC1510C47F61}"/>
                    </a:ext>
                  </a:extLst>
                </p:cNvPr>
                <p:cNvSpPr>
                  <a:spLocks/>
                </p:cNvSpPr>
                <p:nvPr/>
              </p:nvSpPr>
              <p:spPr bwMode="auto">
                <a:xfrm>
                  <a:off x="8270175" y="3153271"/>
                  <a:ext cx="96911" cy="162104"/>
                </a:xfrm>
                <a:custGeom>
                  <a:avLst/>
                  <a:gdLst/>
                  <a:ahLst/>
                  <a:cxnLst>
                    <a:cxn ang="0">
                      <a:pos x="21" y="41"/>
                    </a:cxn>
                    <a:cxn ang="0">
                      <a:pos x="16" y="43"/>
                    </a:cxn>
                    <a:cxn ang="0">
                      <a:pos x="19" y="54"/>
                    </a:cxn>
                    <a:cxn ang="0">
                      <a:pos x="21" y="64"/>
                    </a:cxn>
                    <a:cxn ang="0">
                      <a:pos x="19" y="68"/>
                    </a:cxn>
                    <a:cxn ang="0">
                      <a:pos x="28" y="78"/>
                    </a:cxn>
                    <a:cxn ang="0">
                      <a:pos x="26" y="83"/>
                    </a:cxn>
                    <a:cxn ang="0">
                      <a:pos x="21" y="76"/>
                    </a:cxn>
                    <a:cxn ang="0">
                      <a:pos x="9" y="75"/>
                    </a:cxn>
                    <a:cxn ang="0">
                      <a:pos x="9" y="78"/>
                    </a:cxn>
                    <a:cxn ang="0">
                      <a:pos x="7" y="83"/>
                    </a:cxn>
                    <a:cxn ang="0">
                      <a:pos x="3" y="82"/>
                    </a:cxn>
                    <a:cxn ang="0">
                      <a:pos x="2" y="92"/>
                    </a:cxn>
                    <a:cxn ang="0">
                      <a:pos x="9" y="92"/>
                    </a:cxn>
                    <a:cxn ang="0">
                      <a:pos x="14" y="95"/>
                    </a:cxn>
                    <a:cxn ang="0">
                      <a:pos x="16" y="118"/>
                    </a:cxn>
                    <a:cxn ang="0">
                      <a:pos x="19" y="123"/>
                    </a:cxn>
                    <a:cxn ang="0">
                      <a:pos x="19" y="129"/>
                    </a:cxn>
                    <a:cxn ang="0">
                      <a:pos x="16" y="139"/>
                    </a:cxn>
                    <a:cxn ang="0">
                      <a:pos x="7" y="160"/>
                    </a:cxn>
                    <a:cxn ang="0">
                      <a:pos x="5" y="167"/>
                    </a:cxn>
                    <a:cxn ang="0">
                      <a:pos x="9" y="176"/>
                    </a:cxn>
                    <a:cxn ang="0">
                      <a:pos x="10" y="181"/>
                    </a:cxn>
                    <a:cxn ang="0">
                      <a:pos x="5" y="186"/>
                    </a:cxn>
                    <a:cxn ang="0">
                      <a:pos x="9" y="189"/>
                    </a:cxn>
                    <a:cxn ang="0">
                      <a:pos x="12" y="193"/>
                    </a:cxn>
                    <a:cxn ang="0">
                      <a:pos x="17" y="200"/>
                    </a:cxn>
                    <a:cxn ang="0">
                      <a:pos x="24" y="189"/>
                    </a:cxn>
                    <a:cxn ang="0">
                      <a:pos x="24" y="195"/>
                    </a:cxn>
                    <a:cxn ang="0">
                      <a:pos x="28" y="195"/>
                    </a:cxn>
                    <a:cxn ang="0">
                      <a:pos x="35" y="184"/>
                    </a:cxn>
                    <a:cxn ang="0">
                      <a:pos x="42" y="181"/>
                    </a:cxn>
                    <a:cxn ang="0">
                      <a:pos x="38" y="186"/>
                    </a:cxn>
                    <a:cxn ang="0">
                      <a:pos x="42" y="195"/>
                    </a:cxn>
                    <a:cxn ang="0">
                      <a:pos x="47" y="191"/>
                    </a:cxn>
                    <a:cxn ang="0">
                      <a:pos x="47" y="182"/>
                    </a:cxn>
                    <a:cxn ang="0">
                      <a:pos x="49" y="177"/>
                    </a:cxn>
                    <a:cxn ang="0">
                      <a:pos x="52" y="186"/>
                    </a:cxn>
                    <a:cxn ang="0">
                      <a:pos x="56" y="182"/>
                    </a:cxn>
                    <a:cxn ang="0">
                      <a:pos x="54" y="176"/>
                    </a:cxn>
                    <a:cxn ang="0">
                      <a:pos x="56" y="172"/>
                    </a:cxn>
                    <a:cxn ang="0">
                      <a:pos x="77" y="176"/>
                    </a:cxn>
                    <a:cxn ang="0">
                      <a:pos x="82" y="174"/>
                    </a:cxn>
                    <a:cxn ang="0">
                      <a:pos x="85" y="167"/>
                    </a:cxn>
                    <a:cxn ang="0">
                      <a:pos x="98" y="165"/>
                    </a:cxn>
                    <a:cxn ang="0">
                      <a:pos x="104" y="165"/>
                    </a:cxn>
                    <a:cxn ang="0">
                      <a:pos x="118" y="137"/>
                    </a:cxn>
                    <a:cxn ang="0">
                      <a:pos x="120" y="122"/>
                    </a:cxn>
                    <a:cxn ang="0">
                      <a:pos x="115" y="115"/>
                    </a:cxn>
                    <a:cxn ang="0">
                      <a:pos x="117" y="101"/>
                    </a:cxn>
                    <a:cxn ang="0">
                      <a:pos x="117" y="82"/>
                    </a:cxn>
                    <a:cxn ang="0">
                      <a:pos x="101" y="41"/>
                    </a:cxn>
                    <a:cxn ang="0">
                      <a:pos x="87" y="21"/>
                    </a:cxn>
                    <a:cxn ang="0">
                      <a:pos x="78" y="0"/>
                    </a:cxn>
                    <a:cxn ang="0">
                      <a:pos x="75" y="8"/>
                    </a:cxn>
                    <a:cxn ang="0">
                      <a:pos x="64" y="14"/>
                    </a:cxn>
                    <a:cxn ang="0">
                      <a:pos x="37" y="15"/>
                    </a:cxn>
                    <a:cxn ang="0">
                      <a:pos x="23" y="26"/>
                    </a:cxn>
                    <a:cxn ang="0">
                      <a:pos x="21" y="36"/>
                    </a:cxn>
                  </a:cxnLst>
                  <a:rect l="0" t="0" r="r" b="b"/>
                  <a:pathLst>
                    <a:path w="120" h="202">
                      <a:moveTo>
                        <a:pt x="21" y="36"/>
                      </a:moveTo>
                      <a:lnTo>
                        <a:pt x="21" y="36"/>
                      </a:lnTo>
                      <a:lnTo>
                        <a:pt x="21" y="41"/>
                      </a:lnTo>
                      <a:lnTo>
                        <a:pt x="19" y="41"/>
                      </a:lnTo>
                      <a:lnTo>
                        <a:pt x="17" y="41"/>
                      </a:lnTo>
                      <a:lnTo>
                        <a:pt x="16" y="43"/>
                      </a:lnTo>
                      <a:lnTo>
                        <a:pt x="16" y="43"/>
                      </a:lnTo>
                      <a:lnTo>
                        <a:pt x="17" y="48"/>
                      </a:lnTo>
                      <a:lnTo>
                        <a:pt x="19" y="54"/>
                      </a:lnTo>
                      <a:lnTo>
                        <a:pt x="21" y="59"/>
                      </a:lnTo>
                      <a:lnTo>
                        <a:pt x="21" y="61"/>
                      </a:lnTo>
                      <a:lnTo>
                        <a:pt x="21" y="64"/>
                      </a:lnTo>
                      <a:lnTo>
                        <a:pt x="21" y="64"/>
                      </a:lnTo>
                      <a:lnTo>
                        <a:pt x="19" y="66"/>
                      </a:lnTo>
                      <a:lnTo>
                        <a:pt x="19" y="68"/>
                      </a:lnTo>
                      <a:lnTo>
                        <a:pt x="23" y="71"/>
                      </a:lnTo>
                      <a:lnTo>
                        <a:pt x="26" y="76"/>
                      </a:lnTo>
                      <a:lnTo>
                        <a:pt x="28" y="78"/>
                      </a:lnTo>
                      <a:lnTo>
                        <a:pt x="28" y="82"/>
                      </a:lnTo>
                      <a:lnTo>
                        <a:pt x="28" y="82"/>
                      </a:lnTo>
                      <a:lnTo>
                        <a:pt x="26" y="83"/>
                      </a:lnTo>
                      <a:lnTo>
                        <a:pt x="26" y="82"/>
                      </a:lnTo>
                      <a:lnTo>
                        <a:pt x="23" y="78"/>
                      </a:lnTo>
                      <a:lnTo>
                        <a:pt x="21" y="76"/>
                      </a:lnTo>
                      <a:lnTo>
                        <a:pt x="17" y="76"/>
                      </a:lnTo>
                      <a:lnTo>
                        <a:pt x="17" y="76"/>
                      </a:lnTo>
                      <a:lnTo>
                        <a:pt x="9" y="75"/>
                      </a:lnTo>
                      <a:lnTo>
                        <a:pt x="7" y="76"/>
                      </a:lnTo>
                      <a:lnTo>
                        <a:pt x="9" y="78"/>
                      </a:lnTo>
                      <a:lnTo>
                        <a:pt x="9" y="78"/>
                      </a:lnTo>
                      <a:lnTo>
                        <a:pt x="9" y="82"/>
                      </a:lnTo>
                      <a:lnTo>
                        <a:pt x="9" y="83"/>
                      </a:lnTo>
                      <a:lnTo>
                        <a:pt x="7" y="83"/>
                      </a:lnTo>
                      <a:lnTo>
                        <a:pt x="5" y="82"/>
                      </a:lnTo>
                      <a:lnTo>
                        <a:pt x="5" y="82"/>
                      </a:lnTo>
                      <a:lnTo>
                        <a:pt x="3" y="82"/>
                      </a:lnTo>
                      <a:lnTo>
                        <a:pt x="2" y="83"/>
                      </a:lnTo>
                      <a:lnTo>
                        <a:pt x="0" y="88"/>
                      </a:lnTo>
                      <a:lnTo>
                        <a:pt x="2" y="92"/>
                      </a:lnTo>
                      <a:lnTo>
                        <a:pt x="2" y="92"/>
                      </a:lnTo>
                      <a:lnTo>
                        <a:pt x="7" y="92"/>
                      </a:lnTo>
                      <a:lnTo>
                        <a:pt x="9" y="92"/>
                      </a:lnTo>
                      <a:lnTo>
                        <a:pt x="12" y="92"/>
                      </a:lnTo>
                      <a:lnTo>
                        <a:pt x="14" y="95"/>
                      </a:lnTo>
                      <a:lnTo>
                        <a:pt x="14" y="95"/>
                      </a:lnTo>
                      <a:lnTo>
                        <a:pt x="14" y="109"/>
                      </a:lnTo>
                      <a:lnTo>
                        <a:pt x="14" y="115"/>
                      </a:lnTo>
                      <a:lnTo>
                        <a:pt x="16" y="118"/>
                      </a:lnTo>
                      <a:lnTo>
                        <a:pt x="16" y="118"/>
                      </a:lnTo>
                      <a:lnTo>
                        <a:pt x="19" y="122"/>
                      </a:lnTo>
                      <a:lnTo>
                        <a:pt x="19" y="123"/>
                      </a:lnTo>
                      <a:lnTo>
                        <a:pt x="19" y="125"/>
                      </a:lnTo>
                      <a:lnTo>
                        <a:pt x="19" y="129"/>
                      </a:lnTo>
                      <a:lnTo>
                        <a:pt x="19" y="129"/>
                      </a:lnTo>
                      <a:lnTo>
                        <a:pt x="23" y="132"/>
                      </a:lnTo>
                      <a:lnTo>
                        <a:pt x="19" y="134"/>
                      </a:lnTo>
                      <a:lnTo>
                        <a:pt x="16" y="139"/>
                      </a:lnTo>
                      <a:lnTo>
                        <a:pt x="12" y="144"/>
                      </a:lnTo>
                      <a:lnTo>
                        <a:pt x="12" y="144"/>
                      </a:lnTo>
                      <a:lnTo>
                        <a:pt x="7" y="160"/>
                      </a:lnTo>
                      <a:lnTo>
                        <a:pt x="5" y="163"/>
                      </a:lnTo>
                      <a:lnTo>
                        <a:pt x="5" y="167"/>
                      </a:lnTo>
                      <a:lnTo>
                        <a:pt x="5" y="167"/>
                      </a:lnTo>
                      <a:lnTo>
                        <a:pt x="7" y="169"/>
                      </a:lnTo>
                      <a:lnTo>
                        <a:pt x="9" y="172"/>
                      </a:lnTo>
                      <a:lnTo>
                        <a:pt x="9" y="176"/>
                      </a:lnTo>
                      <a:lnTo>
                        <a:pt x="9" y="179"/>
                      </a:lnTo>
                      <a:lnTo>
                        <a:pt x="9" y="179"/>
                      </a:lnTo>
                      <a:lnTo>
                        <a:pt x="10" y="181"/>
                      </a:lnTo>
                      <a:lnTo>
                        <a:pt x="9" y="182"/>
                      </a:lnTo>
                      <a:lnTo>
                        <a:pt x="5" y="182"/>
                      </a:lnTo>
                      <a:lnTo>
                        <a:pt x="5" y="186"/>
                      </a:lnTo>
                      <a:lnTo>
                        <a:pt x="5" y="186"/>
                      </a:lnTo>
                      <a:lnTo>
                        <a:pt x="7" y="189"/>
                      </a:lnTo>
                      <a:lnTo>
                        <a:pt x="9" y="189"/>
                      </a:lnTo>
                      <a:lnTo>
                        <a:pt x="12" y="189"/>
                      </a:lnTo>
                      <a:lnTo>
                        <a:pt x="12" y="193"/>
                      </a:lnTo>
                      <a:lnTo>
                        <a:pt x="12" y="193"/>
                      </a:lnTo>
                      <a:lnTo>
                        <a:pt x="12" y="198"/>
                      </a:lnTo>
                      <a:lnTo>
                        <a:pt x="14" y="202"/>
                      </a:lnTo>
                      <a:lnTo>
                        <a:pt x="17" y="200"/>
                      </a:lnTo>
                      <a:lnTo>
                        <a:pt x="21" y="195"/>
                      </a:lnTo>
                      <a:lnTo>
                        <a:pt x="21" y="195"/>
                      </a:lnTo>
                      <a:lnTo>
                        <a:pt x="24" y="189"/>
                      </a:lnTo>
                      <a:lnTo>
                        <a:pt x="24" y="189"/>
                      </a:lnTo>
                      <a:lnTo>
                        <a:pt x="24" y="191"/>
                      </a:lnTo>
                      <a:lnTo>
                        <a:pt x="24" y="195"/>
                      </a:lnTo>
                      <a:lnTo>
                        <a:pt x="26" y="196"/>
                      </a:lnTo>
                      <a:lnTo>
                        <a:pt x="26" y="196"/>
                      </a:lnTo>
                      <a:lnTo>
                        <a:pt x="28" y="195"/>
                      </a:lnTo>
                      <a:lnTo>
                        <a:pt x="30" y="191"/>
                      </a:lnTo>
                      <a:lnTo>
                        <a:pt x="31" y="188"/>
                      </a:lnTo>
                      <a:lnTo>
                        <a:pt x="35" y="184"/>
                      </a:lnTo>
                      <a:lnTo>
                        <a:pt x="35" y="184"/>
                      </a:lnTo>
                      <a:lnTo>
                        <a:pt x="38" y="181"/>
                      </a:lnTo>
                      <a:lnTo>
                        <a:pt x="42" y="181"/>
                      </a:lnTo>
                      <a:lnTo>
                        <a:pt x="42" y="182"/>
                      </a:lnTo>
                      <a:lnTo>
                        <a:pt x="38" y="186"/>
                      </a:lnTo>
                      <a:lnTo>
                        <a:pt x="38" y="186"/>
                      </a:lnTo>
                      <a:lnTo>
                        <a:pt x="37" y="189"/>
                      </a:lnTo>
                      <a:lnTo>
                        <a:pt x="38" y="193"/>
                      </a:lnTo>
                      <a:lnTo>
                        <a:pt x="42" y="195"/>
                      </a:lnTo>
                      <a:lnTo>
                        <a:pt x="45" y="193"/>
                      </a:lnTo>
                      <a:lnTo>
                        <a:pt x="45" y="193"/>
                      </a:lnTo>
                      <a:lnTo>
                        <a:pt x="47" y="191"/>
                      </a:lnTo>
                      <a:lnTo>
                        <a:pt x="49" y="188"/>
                      </a:lnTo>
                      <a:lnTo>
                        <a:pt x="47" y="182"/>
                      </a:lnTo>
                      <a:lnTo>
                        <a:pt x="47" y="182"/>
                      </a:lnTo>
                      <a:lnTo>
                        <a:pt x="45" y="179"/>
                      </a:lnTo>
                      <a:lnTo>
                        <a:pt x="47" y="177"/>
                      </a:lnTo>
                      <a:lnTo>
                        <a:pt x="49" y="177"/>
                      </a:lnTo>
                      <a:lnTo>
                        <a:pt x="49" y="181"/>
                      </a:lnTo>
                      <a:lnTo>
                        <a:pt x="49" y="181"/>
                      </a:lnTo>
                      <a:lnTo>
                        <a:pt x="52" y="186"/>
                      </a:lnTo>
                      <a:lnTo>
                        <a:pt x="52" y="186"/>
                      </a:lnTo>
                      <a:lnTo>
                        <a:pt x="56" y="182"/>
                      </a:lnTo>
                      <a:lnTo>
                        <a:pt x="56" y="182"/>
                      </a:lnTo>
                      <a:lnTo>
                        <a:pt x="57" y="181"/>
                      </a:lnTo>
                      <a:lnTo>
                        <a:pt x="57" y="179"/>
                      </a:lnTo>
                      <a:lnTo>
                        <a:pt x="54" y="176"/>
                      </a:lnTo>
                      <a:lnTo>
                        <a:pt x="52" y="174"/>
                      </a:lnTo>
                      <a:lnTo>
                        <a:pt x="56" y="172"/>
                      </a:lnTo>
                      <a:lnTo>
                        <a:pt x="56" y="172"/>
                      </a:lnTo>
                      <a:lnTo>
                        <a:pt x="64" y="172"/>
                      </a:lnTo>
                      <a:lnTo>
                        <a:pt x="71" y="174"/>
                      </a:lnTo>
                      <a:lnTo>
                        <a:pt x="77" y="176"/>
                      </a:lnTo>
                      <a:lnTo>
                        <a:pt x="80" y="176"/>
                      </a:lnTo>
                      <a:lnTo>
                        <a:pt x="80" y="176"/>
                      </a:lnTo>
                      <a:lnTo>
                        <a:pt x="82" y="174"/>
                      </a:lnTo>
                      <a:lnTo>
                        <a:pt x="82" y="172"/>
                      </a:lnTo>
                      <a:lnTo>
                        <a:pt x="82" y="169"/>
                      </a:lnTo>
                      <a:lnTo>
                        <a:pt x="85" y="167"/>
                      </a:lnTo>
                      <a:lnTo>
                        <a:pt x="85" y="167"/>
                      </a:lnTo>
                      <a:lnTo>
                        <a:pt x="92" y="165"/>
                      </a:lnTo>
                      <a:lnTo>
                        <a:pt x="98" y="165"/>
                      </a:lnTo>
                      <a:lnTo>
                        <a:pt x="101" y="167"/>
                      </a:lnTo>
                      <a:lnTo>
                        <a:pt x="104" y="165"/>
                      </a:lnTo>
                      <a:lnTo>
                        <a:pt x="104" y="165"/>
                      </a:lnTo>
                      <a:lnTo>
                        <a:pt x="110" y="158"/>
                      </a:lnTo>
                      <a:lnTo>
                        <a:pt x="115" y="149"/>
                      </a:lnTo>
                      <a:lnTo>
                        <a:pt x="118" y="137"/>
                      </a:lnTo>
                      <a:lnTo>
                        <a:pt x="120" y="127"/>
                      </a:lnTo>
                      <a:lnTo>
                        <a:pt x="120" y="127"/>
                      </a:lnTo>
                      <a:lnTo>
                        <a:pt x="120" y="122"/>
                      </a:lnTo>
                      <a:lnTo>
                        <a:pt x="118" y="122"/>
                      </a:lnTo>
                      <a:lnTo>
                        <a:pt x="115" y="122"/>
                      </a:lnTo>
                      <a:lnTo>
                        <a:pt x="115" y="115"/>
                      </a:lnTo>
                      <a:lnTo>
                        <a:pt x="115" y="115"/>
                      </a:lnTo>
                      <a:lnTo>
                        <a:pt x="115" y="106"/>
                      </a:lnTo>
                      <a:lnTo>
                        <a:pt x="117" y="101"/>
                      </a:lnTo>
                      <a:lnTo>
                        <a:pt x="117" y="92"/>
                      </a:lnTo>
                      <a:lnTo>
                        <a:pt x="117" y="82"/>
                      </a:lnTo>
                      <a:lnTo>
                        <a:pt x="117" y="82"/>
                      </a:lnTo>
                      <a:lnTo>
                        <a:pt x="113" y="68"/>
                      </a:lnTo>
                      <a:lnTo>
                        <a:pt x="108" y="54"/>
                      </a:lnTo>
                      <a:lnTo>
                        <a:pt x="101" y="41"/>
                      </a:lnTo>
                      <a:lnTo>
                        <a:pt x="94" y="31"/>
                      </a:lnTo>
                      <a:lnTo>
                        <a:pt x="94" y="31"/>
                      </a:lnTo>
                      <a:lnTo>
                        <a:pt x="87" y="21"/>
                      </a:lnTo>
                      <a:lnTo>
                        <a:pt x="84" y="12"/>
                      </a:lnTo>
                      <a:lnTo>
                        <a:pt x="78" y="0"/>
                      </a:lnTo>
                      <a:lnTo>
                        <a:pt x="78" y="0"/>
                      </a:lnTo>
                      <a:lnTo>
                        <a:pt x="75" y="1"/>
                      </a:lnTo>
                      <a:lnTo>
                        <a:pt x="75" y="5"/>
                      </a:lnTo>
                      <a:lnTo>
                        <a:pt x="75" y="8"/>
                      </a:lnTo>
                      <a:lnTo>
                        <a:pt x="71" y="12"/>
                      </a:lnTo>
                      <a:lnTo>
                        <a:pt x="71" y="12"/>
                      </a:lnTo>
                      <a:lnTo>
                        <a:pt x="64" y="14"/>
                      </a:lnTo>
                      <a:lnTo>
                        <a:pt x="56" y="14"/>
                      </a:lnTo>
                      <a:lnTo>
                        <a:pt x="47" y="14"/>
                      </a:lnTo>
                      <a:lnTo>
                        <a:pt x="37" y="15"/>
                      </a:lnTo>
                      <a:lnTo>
                        <a:pt x="37" y="15"/>
                      </a:lnTo>
                      <a:lnTo>
                        <a:pt x="28" y="21"/>
                      </a:lnTo>
                      <a:lnTo>
                        <a:pt x="23" y="26"/>
                      </a:lnTo>
                      <a:lnTo>
                        <a:pt x="21" y="31"/>
                      </a:lnTo>
                      <a:lnTo>
                        <a:pt x="21" y="36"/>
                      </a:lnTo>
                      <a:lnTo>
                        <a:pt x="21" y="3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1" name="Freeform 2018">
                  <a:extLst>
                    <a:ext uri="{FF2B5EF4-FFF2-40B4-BE49-F238E27FC236}">
                      <a16:creationId xmlns:a16="http://schemas.microsoft.com/office/drawing/2014/main" id="{ABD90B75-8A19-6320-253C-47BD5484725F}"/>
                    </a:ext>
                  </a:extLst>
                </p:cNvPr>
                <p:cNvSpPr>
                  <a:spLocks/>
                </p:cNvSpPr>
                <p:nvPr/>
              </p:nvSpPr>
              <p:spPr bwMode="auto">
                <a:xfrm>
                  <a:off x="8270174" y="3341802"/>
                  <a:ext cx="21144" cy="15858"/>
                </a:xfrm>
                <a:custGeom>
                  <a:avLst/>
                  <a:gdLst/>
                  <a:ahLst/>
                  <a:cxnLst>
                    <a:cxn ang="0">
                      <a:pos x="0" y="15"/>
                    </a:cxn>
                    <a:cxn ang="0">
                      <a:pos x="0" y="15"/>
                    </a:cxn>
                    <a:cxn ang="0">
                      <a:pos x="0" y="12"/>
                    </a:cxn>
                    <a:cxn ang="0">
                      <a:pos x="2" y="8"/>
                    </a:cxn>
                    <a:cxn ang="0">
                      <a:pos x="7" y="5"/>
                    </a:cxn>
                    <a:cxn ang="0">
                      <a:pos x="12" y="3"/>
                    </a:cxn>
                    <a:cxn ang="0">
                      <a:pos x="17" y="1"/>
                    </a:cxn>
                    <a:cxn ang="0">
                      <a:pos x="23" y="0"/>
                    </a:cxn>
                    <a:cxn ang="0">
                      <a:pos x="26" y="1"/>
                    </a:cxn>
                    <a:cxn ang="0">
                      <a:pos x="28" y="3"/>
                    </a:cxn>
                    <a:cxn ang="0">
                      <a:pos x="28" y="3"/>
                    </a:cxn>
                    <a:cxn ang="0">
                      <a:pos x="28" y="7"/>
                    </a:cxn>
                    <a:cxn ang="0">
                      <a:pos x="26" y="10"/>
                    </a:cxn>
                    <a:cxn ang="0">
                      <a:pos x="17" y="15"/>
                    </a:cxn>
                    <a:cxn ang="0">
                      <a:pos x="7" y="19"/>
                    </a:cxn>
                    <a:cxn ang="0">
                      <a:pos x="3" y="17"/>
                    </a:cxn>
                    <a:cxn ang="0">
                      <a:pos x="0" y="15"/>
                    </a:cxn>
                    <a:cxn ang="0">
                      <a:pos x="0" y="15"/>
                    </a:cxn>
                  </a:cxnLst>
                  <a:rect l="0" t="0" r="r" b="b"/>
                  <a:pathLst>
                    <a:path w="28" h="19">
                      <a:moveTo>
                        <a:pt x="0" y="15"/>
                      </a:moveTo>
                      <a:lnTo>
                        <a:pt x="0" y="15"/>
                      </a:lnTo>
                      <a:lnTo>
                        <a:pt x="0" y="12"/>
                      </a:lnTo>
                      <a:lnTo>
                        <a:pt x="2" y="8"/>
                      </a:lnTo>
                      <a:lnTo>
                        <a:pt x="7" y="5"/>
                      </a:lnTo>
                      <a:lnTo>
                        <a:pt x="12" y="3"/>
                      </a:lnTo>
                      <a:lnTo>
                        <a:pt x="17" y="1"/>
                      </a:lnTo>
                      <a:lnTo>
                        <a:pt x="23" y="0"/>
                      </a:lnTo>
                      <a:lnTo>
                        <a:pt x="26" y="1"/>
                      </a:lnTo>
                      <a:lnTo>
                        <a:pt x="28" y="3"/>
                      </a:lnTo>
                      <a:lnTo>
                        <a:pt x="28" y="3"/>
                      </a:lnTo>
                      <a:lnTo>
                        <a:pt x="28" y="7"/>
                      </a:lnTo>
                      <a:lnTo>
                        <a:pt x="26" y="10"/>
                      </a:lnTo>
                      <a:lnTo>
                        <a:pt x="17" y="15"/>
                      </a:lnTo>
                      <a:lnTo>
                        <a:pt x="7" y="19"/>
                      </a:lnTo>
                      <a:lnTo>
                        <a:pt x="3" y="17"/>
                      </a:lnTo>
                      <a:lnTo>
                        <a:pt x="0" y="15"/>
                      </a:lnTo>
                      <a:lnTo>
                        <a:pt x="0" y="1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2" name="Freeform 2019">
                  <a:extLst>
                    <a:ext uri="{FF2B5EF4-FFF2-40B4-BE49-F238E27FC236}">
                      <a16:creationId xmlns:a16="http://schemas.microsoft.com/office/drawing/2014/main" id="{C2F87F0B-06C3-E1B1-1500-927798DC9050}"/>
                    </a:ext>
                  </a:extLst>
                </p:cNvPr>
                <p:cNvSpPr>
                  <a:spLocks/>
                </p:cNvSpPr>
                <p:nvPr/>
              </p:nvSpPr>
              <p:spPr bwMode="auto">
                <a:xfrm>
                  <a:off x="7316934" y="3528574"/>
                  <a:ext cx="251965" cy="648417"/>
                </a:xfrm>
                <a:custGeom>
                  <a:avLst/>
                  <a:gdLst/>
                  <a:ahLst/>
                  <a:cxnLst>
                    <a:cxn ang="0">
                      <a:pos x="33" y="385"/>
                    </a:cxn>
                    <a:cxn ang="0">
                      <a:pos x="50" y="389"/>
                    </a:cxn>
                    <a:cxn ang="0">
                      <a:pos x="52" y="408"/>
                    </a:cxn>
                    <a:cxn ang="0">
                      <a:pos x="55" y="427"/>
                    </a:cxn>
                    <a:cxn ang="0">
                      <a:pos x="69" y="441"/>
                    </a:cxn>
                    <a:cxn ang="0">
                      <a:pos x="68" y="552"/>
                    </a:cxn>
                    <a:cxn ang="0">
                      <a:pos x="85" y="538"/>
                    </a:cxn>
                    <a:cxn ang="0">
                      <a:pos x="92" y="559"/>
                    </a:cxn>
                    <a:cxn ang="0">
                      <a:pos x="116" y="559"/>
                    </a:cxn>
                    <a:cxn ang="0">
                      <a:pos x="162" y="517"/>
                    </a:cxn>
                    <a:cxn ang="0">
                      <a:pos x="172" y="503"/>
                    </a:cxn>
                    <a:cxn ang="0">
                      <a:pos x="191" y="526"/>
                    </a:cxn>
                    <a:cxn ang="0">
                      <a:pos x="190" y="554"/>
                    </a:cxn>
                    <a:cxn ang="0">
                      <a:pos x="205" y="653"/>
                    </a:cxn>
                    <a:cxn ang="0">
                      <a:pos x="221" y="685"/>
                    </a:cxn>
                    <a:cxn ang="0">
                      <a:pos x="224" y="719"/>
                    </a:cxn>
                    <a:cxn ang="0">
                      <a:pos x="230" y="744"/>
                    </a:cxn>
                    <a:cxn ang="0">
                      <a:pos x="221" y="808"/>
                    </a:cxn>
                    <a:cxn ang="0">
                      <a:pos x="238" y="768"/>
                    </a:cxn>
                    <a:cxn ang="0">
                      <a:pos x="259" y="723"/>
                    </a:cxn>
                    <a:cxn ang="0">
                      <a:pos x="249" y="690"/>
                    </a:cxn>
                    <a:cxn ang="0">
                      <a:pos x="226" y="624"/>
                    </a:cxn>
                    <a:cxn ang="0">
                      <a:pos x="214" y="584"/>
                    </a:cxn>
                    <a:cxn ang="0">
                      <a:pos x="223" y="566"/>
                    </a:cxn>
                    <a:cxn ang="0">
                      <a:pos x="233" y="533"/>
                    </a:cxn>
                    <a:cxn ang="0">
                      <a:pos x="219" y="516"/>
                    </a:cxn>
                    <a:cxn ang="0">
                      <a:pos x="191" y="460"/>
                    </a:cxn>
                    <a:cxn ang="0">
                      <a:pos x="181" y="446"/>
                    </a:cxn>
                    <a:cxn ang="0">
                      <a:pos x="191" y="427"/>
                    </a:cxn>
                    <a:cxn ang="0">
                      <a:pos x="197" y="401"/>
                    </a:cxn>
                    <a:cxn ang="0">
                      <a:pos x="217" y="392"/>
                    </a:cxn>
                    <a:cxn ang="0">
                      <a:pos x="249" y="375"/>
                    </a:cxn>
                    <a:cxn ang="0">
                      <a:pos x="259" y="362"/>
                    </a:cxn>
                    <a:cxn ang="0">
                      <a:pos x="282" y="345"/>
                    </a:cxn>
                    <a:cxn ang="0">
                      <a:pos x="308" y="315"/>
                    </a:cxn>
                    <a:cxn ang="0">
                      <a:pos x="296" y="312"/>
                    </a:cxn>
                    <a:cxn ang="0">
                      <a:pos x="278" y="315"/>
                    </a:cxn>
                    <a:cxn ang="0">
                      <a:pos x="266" y="288"/>
                    </a:cxn>
                    <a:cxn ang="0">
                      <a:pos x="250" y="263"/>
                    </a:cxn>
                    <a:cxn ang="0">
                      <a:pos x="245" y="241"/>
                    </a:cxn>
                    <a:cxn ang="0">
                      <a:pos x="228" y="213"/>
                    </a:cxn>
                    <a:cxn ang="0">
                      <a:pos x="214" y="197"/>
                    </a:cxn>
                    <a:cxn ang="0">
                      <a:pos x="193" y="195"/>
                    </a:cxn>
                    <a:cxn ang="0">
                      <a:pos x="191" y="167"/>
                    </a:cxn>
                    <a:cxn ang="0">
                      <a:pos x="203" y="143"/>
                    </a:cxn>
                    <a:cxn ang="0">
                      <a:pos x="219" y="124"/>
                    </a:cxn>
                    <a:cxn ang="0">
                      <a:pos x="228" y="91"/>
                    </a:cxn>
                    <a:cxn ang="0">
                      <a:pos x="228" y="54"/>
                    </a:cxn>
                    <a:cxn ang="0">
                      <a:pos x="212" y="40"/>
                    </a:cxn>
                    <a:cxn ang="0">
                      <a:pos x="186" y="0"/>
                    </a:cxn>
                    <a:cxn ang="0">
                      <a:pos x="169" y="39"/>
                    </a:cxn>
                    <a:cxn ang="0">
                      <a:pos x="167" y="63"/>
                    </a:cxn>
                    <a:cxn ang="0">
                      <a:pos x="120" y="75"/>
                    </a:cxn>
                    <a:cxn ang="0">
                      <a:pos x="101" y="96"/>
                    </a:cxn>
                    <a:cxn ang="0">
                      <a:pos x="85" y="140"/>
                    </a:cxn>
                    <a:cxn ang="0">
                      <a:pos x="78" y="174"/>
                    </a:cxn>
                    <a:cxn ang="0">
                      <a:pos x="52" y="202"/>
                    </a:cxn>
                    <a:cxn ang="0">
                      <a:pos x="42" y="242"/>
                    </a:cxn>
                    <a:cxn ang="0">
                      <a:pos x="33" y="272"/>
                    </a:cxn>
                    <a:cxn ang="0">
                      <a:pos x="19" y="284"/>
                    </a:cxn>
                    <a:cxn ang="0">
                      <a:pos x="5" y="315"/>
                    </a:cxn>
                  </a:cxnLst>
                  <a:rect l="0" t="0" r="r" b="b"/>
                  <a:pathLst>
                    <a:path w="313" h="810">
                      <a:moveTo>
                        <a:pt x="0" y="329"/>
                      </a:moveTo>
                      <a:lnTo>
                        <a:pt x="0" y="329"/>
                      </a:lnTo>
                      <a:lnTo>
                        <a:pt x="1" y="335"/>
                      </a:lnTo>
                      <a:lnTo>
                        <a:pt x="5" y="343"/>
                      </a:lnTo>
                      <a:lnTo>
                        <a:pt x="8" y="352"/>
                      </a:lnTo>
                      <a:lnTo>
                        <a:pt x="14" y="362"/>
                      </a:lnTo>
                      <a:lnTo>
                        <a:pt x="14" y="362"/>
                      </a:lnTo>
                      <a:lnTo>
                        <a:pt x="29" y="383"/>
                      </a:lnTo>
                      <a:lnTo>
                        <a:pt x="33" y="385"/>
                      </a:lnTo>
                      <a:lnTo>
                        <a:pt x="33" y="380"/>
                      </a:lnTo>
                      <a:lnTo>
                        <a:pt x="33" y="380"/>
                      </a:lnTo>
                      <a:lnTo>
                        <a:pt x="35" y="376"/>
                      </a:lnTo>
                      <a:lnTo>
                        <a:pt x="36" y="375"/>
                      </a:lnTo>
                      <a:lnTo>
                        <a:pt x="38" y="375"/>
                      </a:lnTo>
                      <a:lnTo>
                        <a:pt x="42" y="376"/>
                      </a:lnTo>
                      <a:lnTo>
                        <a:pt x="47" y="382"/>
                      </a:lnTo>
                      <a:lnTo>
                        <a:pt x="50" y="389"/>
                      </a:lnTo>
                      <a:lnTo>
                        <a:pt x="50" y="389"/>
                      </a:lnTo>
                      <a:lnTo>
                        <a:pt x="55" y="396"/>
                      </a:lnTo>
                      <a:lnTo>
                        <a:pt x="59" y="401"/>
                      </a:lnTo>
                      <a:lnTo>
                        <a:pt x="62" y="404"/>
                      </a:lnTo>
                      <a:lnTo>
                        <a:pt x="62" y="406"/>
                      </a:lnTo>
                      <a:lnTo>
                        <a:pt x="61" y="408"/>
                      </a:lnTo>
                      <a:lnTo>
                        <a:pt x="61" y="408"/>
                      </a:lnTo>
                      <a:lnTo>
                        <a:pt x="57" y="409"/>
                      </a:lnTo>
                      <a:lnTo>
                        <a:pt x="55" y="409"/>
                      </a:lnTo>
                      <a:lnTo>
                        <a:pt x="52" y="408"/>
                      </a:lnTo>
                      <a:lnTo>
                        <a:pt x="49" y="404"/>
                      </a:lnTo>
                      <a:lnTo>
                        <a:pt x="47" y="404"/>
                      </a:lnTo>
                      <a:lnTo>
                        <a:pt x="45" y="404"/>
                      </a:lnTo>
                      <a:lnTo>
                        <a:pt x="45" y="404"/>
                      </a:lnTo>
                      <a:lnTo>
                        <a:pt x="43" y="408"/>
                      </a:lnTo>
                      <a:lnTo>
                        <a:pt x="45" y="411"/>
                      </a:lnTo>
                      <a:lnTo>
                        <a:pt x="49" y="420"/>
                      </a:lnTo>
                      <a:lnTo>
                        <a:pt x="54" y="425"/>
                      </a:lnTo>
                      <a:lnTo>
                        <a:pt x="55" y="427"/>
                      </a:lnTo>
                      <a:lnTo>
                        <a:pt x="55" y="425"/>
                      </a:lnTo>
                      <a:lnTo>
                        <a:pt x="55" y="425"/>
                      </a:lnTo>
                      <a:lnTo>
                        <a:pt x="57" y="420"/>
                      </a:lnTo>
                      <a:lnTo>
                        <a:pt x="59" y="416"/>
                      </a:lnTo>
                      <a:lnTo>
                        <a:pt x="61" y="415"/>
                      </a:lnTo>
                      <a:lnTo>
                        <a:pt x="62" y="416"/>
                      </a:lnTo>
                      <a:lnTo>
                        <a:pt x="64" y="425"/>
                      </a:lnTo>
                      <a:lnTo>
                        <a:pt x="64" y="425"/>
                      </a:lnTo>
                      <a:lnTo>
                        <a:pt x="69" y="441"/>
                      </a:lnTo>
                      <a:lnTo>
                        <a:pt x="78" y="460"/>
                      </a:lnTo>
                      <a:lnTo>
                        <a:pt x="82" y="469"/>
                      </a:lnTo>
                      <a:lnTo>
                        <a:pt x="83" y="477"/>
                      </a:lnTo>
                      <a:lnTo>
                        <a:pt x="83" y="488"/>
                      </a:lnTo>
                      <a:lnTo>
                        <a:pt x="82" y="496"/>
                      </a:lnTo>
                      <a:lnTo>
                        <a:pt x="82" y="496"/>
                      </a:lnTo>
                      <a:lnTo>
                        <a:pt x="71" y="533"/>
                      </a:lnTo>
                      <a:lnTo>
                        <a:pt x="68" y="547"/>
                      </a:lnTo>
                      <a:lnTo>
                        <a:pt x="68" y="552"/>
                      </a:lnTo>
                      <a:lnTo>
                        <a:pt x="71" y="554"/>
                      </a:lnTo>
                      <a:lnTo>
                        <a:pt x="71" y="554"/>
                      </a:lnTo>
                      <a:lnTo>
                        <a:pt x="73" y="554"/>
                      </a:lnTo>
                      <a:lnTo>
                        <a:pt x="75" y="552"/>
                      </a:lnTo>
                      <a:lnTo>
                        <a:pt x="78" y="547"/>
                      </a:lnTo>
                      <a:lnTo>
                        <a:pt x="80" y="542"/>
                      </a:lnTo>
                      <a:lnTo>
                        <a:pt x="82" y="540"/>
                      </a:lnTo>
                      <a:lnTo>
                        <a:pt x="85" y="538"/>
                      </a:lnTo>
                      <a:lnTo>
                        <a:pt x="85" y="538"/>
                      </a:lnTo>
                      <a:lnTo>
                        <a:pt x="87" y="540"/>
                      </a:lnTo>
                      <a:lnTo>
                        <a:pt x="87" y="542"/>
                      </a:lnTo>
                      <a:lnTo>
                        <a:pt x="85" y="545"/>
                      </a:lnTo>
                      <a:lnTo>
                        <a:pt x="83" y="549"/>
                      </a:lnTo>
                      <a:lnTo>
                        <a:pt x="83" y="552"/>
                      </a:lnTo>
                      <a:lnTo>
                        <a:pt x="87" y="556"/>
                      </a:lnTo>
                      <a:lnTo>
                        <a:pt x="87" y="556"/>
                      </a:lnTo>
                      <a:lnTo>
                        <a:pt x="90" y="559"/>
                      </a:lnTo>
                      <a:lnTo>
                        <a:pt x="92" y="559"/>
                      </a:lnTo>
                      <a:lnTo>
                        <a:pt x="96" y="557"/>
                      </a:lnTo>
                      <a:lnTo>
                        <a:pt x="97" y="556"/>
                      </a:lnTo>
                      <a:lnTo>
                        <a:pt x="99" y="556"/>
                      </a:lnTo>
                      <a:lnTo>
                        <a:pt x="101" y="557"/>
                      </a:lnTo>
                      <a:lnTo>
                        <a:pt x="104" y="561"/>
                      </a:lnTo>
                      <a:lnTo>
                        <a:pt x="104" y="561"/>
                      </a:lnTo>
                      <a:lnTo>
                        <a:pt x="109" y="563"/>
                      </a:lnTo>
                      <a:lnTo>
                        <a:pt x="113" y="563"/>
                      </a:lnTo>
                      <a:lnTo>
                        <a:pt x="116" y="559"/>
                      </a:lnTo>
                      <a:lnTo>
                        <a:pt x="118" y="556"/>
                      </a:lnTo>
                      <a:lnTo>
                        <a:pt x="127" y="544"/>
                      </a:lnTo>
                      <a:lnTo>
                        <a:pt x="130" y="540"/>
                      </a:lnTo>
                      <a:lnTo>
                        <a:pt x="136" y="537"/>
                      </a:lnTo>
                      <a:lnTo>
                        <a:pt x="136" y="537"/>
                      </a:lnTo>
                      <a:lnTo>
                        <a:pt x="148" y="531"/>
                      </a:lnTo>
                      <a:lnTo>
                        <a:pt x="153" y="528"/>
                      </a:lnTo>
                      <a:lnTo>
                        <a:pt x="158" y="523"/>
                      </a:lnTo>
                      <a:lnTo>
                        <a:pt x="162" y="517"/>
                      </a:lnTo>
                      <a:lnTo>
                        <a:pt x="165" y="510"/>
                      </a:lnTo>
                      <a:lnTo>
                        <a:pt x="165" y="502"/>
                      </a:lnTo>
                      <a:lnTo>
                        <a:pt x="163" y="490"/>
                      </a:lnTo>
                      <a:lnTo>
                        <a:pt x="163" y="490"/>
                      </a:lnTo>
                      <a:lnTo>
                        <a:pt x="167" y="495"/>
                      </a:lnTo>
                      <a:lnTo>
                        <a:pt x="169" y="496"/>
                      </a:lnTo>
                      <a:lnTo>
                        <a:pt x="170" y="500"/>
                      </a:lnTo>
                      <a:lnTo>
                        <a:pt x="170" y="500"/>
                      </a:lnTo>
                      <a:lnTo>
                        <a:pt x="172" y="503"/>
                      </a:lnTo>
                      <a:lnTo>
                        <a:pt x="174" y="507"/>
                      </a:lnTo>
                      <a:lnTo>
                        <a:pt x="176" y="510"/>
                      </a:lnTo>
                      <a:lnTo>
                        <a:pt x="177" y="519"/>
                      </a:lnTo>
                      <a:lnTo>
                        <a:pt x="177" y="519"/>
                      </a:lnTo>
                      <a:lnTo>
                        <a:pt x="181" y="528"/>
                      </a:lnTo>
                      <a:lnTo>
                        <a:pt x="183" y="530"/>
                      </a:lnTo>
                      <a:lnTo>
                        <a:pt x="184" y="530"/>
                      </a:lnTo>
                      <a:lnTo>
                        <a:pt x="188" y="528"/>
                      </a:lnTo>
                      <a:lnTo>
                        <a:pt x="191" y="526"/>
                      </a:lnTo>
                      <a:lnTo>
                        <a:pt x="191" y="526"/>
                      </a:lnTo>
                      <a:lnTo>
                        <a:pt x="193" y="526"/>
                      </a:lnTo>
                      <a:lnTo>
                        <a:pt x="193" y="528"/>
                      </a:lnTo>
                      <a:lnTo>
                        <a:pt x="191" y="531"/>
                      </a:lnTo>
                      <a:lnTo>
                        <a:pt x="188" y="537"/>
                      </a:lnTo>
                      <a:lnTo>
                        <a:pt x="186" y="544"/>
                      </a:lnTo>
                      <a:lnTo>
                        <a:pt x="186" y="544"/>
                      </a:lnTo>
                      <a:lnTo>
                        <a:pt x="188" y="549"/>
                      </a:lnTo>
                      <a:lnTo>
                        <a:pt x="190" y="554"/>
                      </a:lnTo>
                      <a:lnTo>
                        <a:pt x="193" y="564"/>
                      </a:lnTo>
                      <a:lnTo>
                        <a:pt x="193" y="582"/>
                      </a:lnTo>
                      <a:lnTo>
                        <a:pt x="193" y="582"/>
                      </a:lnTo>
                      <a:lnTo>
                        <a:pt x="195" y="601"/>
                      </a:lnTo>
                      <a:lnTo>
                        <a:pt x="198" y="615"/>
                      </a:lnTo>
                      <a:lnTo>
                        <a:pt x="203" y="625"/>
                      </a:lnTo>
                      <a:lnTo>
                        <a:pt x="205" y="638"/>
                      </a:lnTo>
                      <a:lnTo>
                        <a:pt x="205" y="638"/>
                      </a:lnTo>
                      <a:lnTo>
                        <a:pt x="205" y="653"/>
                      </a:lnTo>
                      <a:lnTo>
                        <a:pt x="207" y="653"/>
                      </a:lnTo>
                      <a:lnTo>
                        <a:pt x="207" y="651"/>
                      </a:lnTo>
                      <a:lnTo>
                        <a:pt x="209" y="648"/>
                      </a:lnTo>
                      <a:lnTo>
                        <a:pt x="210" y="648"/>
                      </a:lnTo>
                      <a:lnTo>
                        <a:pt x="212" y="653"/>
                      </a:lnTo>
                      <a:lnTo>
                        <a:pt x="212" y="653"/>
                      </a:lnTo>
                      <a:lnTo>
                        <a:pt x="217" y="664"/>
                      </a:lnTo>
                      <a:lnTo>
                        <a:pt x="219" y="676"/>
                      </a:lnTo>
                      <a:lnTo>
                        <a:pt x="221" y="685"/>
                      </a:lnTo>
                      <a:lnTo>
                        <a:pt x="223" y="691"/>
                      </a:lnTo>
                      <a:lnTo>
                        <a:pt x="223" y="691"/>
                      </a:lnTo>
                      <a:lnTo>
                        <a:pt x="224" y="698"/>
                      </a:lnTo>
                      <a:lnTo>
                        <a:pt x="223" y="705"/>
                      </a:lnTo>
                      <a:lnTo>
                        <a:pt x="223" y="712"/>
                      </a:lnTo>
                      <a:lnTo>
                        <a:pt x="223" y="714"/>
                      </a:lnTo>
                      <a:lnTo>
                        <a:pt x="224" y="716"/>
                      </a:lnTo>
                      <a:lnTo>
                        <a:pt x="224" y="716"/>
                      </a:lnTo>
                      <a:lnTo>
                        <a:pt x="224" y="719"/>
                      </a:lnTo>
                      <a:lnTo>
                        <a:pt x="224" y="721"/>
                      </a:lnTo>
                      <a:lnTo>
                        <a:pt x="223" y="728"/>
                      </a:lnTo>
                      <a:lnTo>
                        <a:pt x="223" y="733"/>
                      </a:lnTo>
                      <a:lnTo>
                        <a:pt x="223" y="735"/>
                      </a:lnTo>
                      <a:lnTo>
                        <a:pt x="226" y="737"/>
                      </a:lnTo>
                      <a:lnTo>
                        <a:pt x="226" y="737"/>
                      </a:lnTo>
                      <a:lnTo>
                        <a:pt x="230" y="737"/>
                      </a:lnTo>
                      <a:lnTo>
                        <a:pt x="230" y="739"/>
                      </a:lnTo>
                      <a:lnTo>
                        <a:pt x="230" y="744"/>
                      </a:lnTo>
                      <a:lnTo>
                        <a:pt x="226" y="752"/>
                      </a:lnTo>
                      <a:lnTo>
                        <a:pt x="226" y="761"/>
                      </a:lnTo>
                      <a:lnTo>
                        <a:pt x="226" y="761"/>
                      </a:lnTo>
                      <a:lnTo>
                        <a:pt x="226" y="768"/>
                      </a:lnTo>
                      <a:lnTo>
                        <a:pt x="223" y="773"/>
                      </a:lnTo>
                      <a:lnTo>
                        <a:pt x="221" y="782"/>
                      </a:lnTo>
                      <a:lnTo>
                        <a:pt x="219" y="801"/>
                      </a:lnTo>
                      <a:lnTo>
                        <a:pt x="219" y="801"/>
                      </a:lnTo>
                      <a:lnTo>
                        <a:pt x="221" y="808"/>
                      </a:lnTo>
                      <a:lnTo>
                        <a:pt x="221" y="810"/>
                      </a:lnTo>
                      <a:lnTo>
                        <a:pt x="221" y="810"/>
                      </a:lnTo>
                      <a:lnTo>
                        <a:pt x="228" y="796"/>
                      </a:lnTo>
                      <a:lnTo>
                        <a:pt x="228" y="796"/>
                      </a:lnTo>
                      <a:lnTo>
                        <a:pt x="230" y="789"/>
                      </a:lnTo>
                      <a:lnTo>
                        <a:pt x="231" y="782"/>
                      </a:lnTo>
                      <a:lnTo>
                        <a:pt x="231" y="777"/>
                      </a:lnTo>
                      <a:lnTo>
                        <a:pt x="238" y="768"/>
                      </a:lnTo>
                      <a:lnTo>
                        <a:pt x="238" y="768"/>
                      </a:lnTo>
                      <a:lnTo>
                        <a:pt x="247" y="758"/>
                      </a:lnTo>
                      <a:lnTo>
                        <a:pt x="250" y="751"/>
                      </a:lnTo>
                      <a:lnTo>
                        <a:pt x="252" y="745"/>
                      </a:lnTo>
                      <a:lnTo>
                        <a:pt x="257" y="739"/>
                      </a:lnTo>
                      <a:lnTo>
                        <a:pt x="257" y="739"/>
                      </a:lnTo>
                      <a:lnTo>
                        <a:pt x="261" y="733"/>
                      </a:lnTo>
                      <a:lnTo>
                        <a:pt x="261" y="732"/>
                      </a:lnTo>
                      <a:lnTo>
                        <a:pt x="259" y="728"/>
                      </a:lnTo>
                      <a:lnTo>
                        <a:pt x="259" y="723"/>
                      </a:lnTo>
                      <a:lnTo>
                        <a:pt x="259" y="723"/>
                      </a:lnTo>
                      <a:lnTo>
                        <a:pt x="257" y="719"/>
                      </a:lnTo>
                      <a:lnTo>
                        <a:pt x="257" y="718"/>
                      </a:lnTo>
                      <a:lnTo>
                        <a:pt x="254" y="718"/>
                      </a:lnTo>
                      <a:lnTo>
                        <a:pt x="254" y="714"/>
                      </a:lnTo>
                      <a:lnTo>
                        <a:pt x="254" y="714"/>
                      </a:lnTo>
                      <a:lnTo>
                        <a:pt x="252" y="709"/>
                      </a:lnTo>
                      <a:lnTo>
                        <a:pt x="252" y="702"/>
                      </a:lnTo>
                      <a:lnTo>
                        <a:pt x="249" y="690"/>
                      </a:lnTo>
                      <a:lnTo>
                        <a:pt x="240" y="676"/>
                      </a:lnTo>
                      <a:lnTo>
                        <a:pt x="240" y="676"/>
                      </a:lnTo>
                      <a:lnTo>
                        <a:pt x="244" y="669"/>
                      </a:lnTo>
                      <a:lnTo>
                        <a:pt x="245" y="662"/>
                      </a:lnTo>
                      <a:lnTo>
                        <a:pt x="245" y="657"/>
                      </a:lnTo>
                      <a:lnTo>
                        <a:pt x="244" y="650"/>
                      </a:lnTo>
                      <a:lnTo>
                        <a:pt x="242" y="644"/>
                      </a:lnTo>
                      <a:lnTo>
                        <a:pt x="238" y="638"/>
                      </a:lnTo>
                      <a:lnTo>
                        <a:pt x="226" y="624"/>
                      </a:lnTo>
                      <a:lnTo>
                        <a:pt x="226" y="624"/>
                      </a:lnTo>
                      <a:lnTo>
                        <a:pt x="219" y="617"/>
                      </a:lnTo>
                      <a:lnTo>
                        <a:pt x="216" y="610"/>
                      </a:lnTo>
                      <a:lnTo>
                        <a:pt x="212" y="601"/>
                      </a:lnTo>
                      <a:lnTo>
                        <a:pt x="210" y="596"/>
                      </a:lnTo>
                      <a:lnTo>
                        <a:pt x="210" y="589"/>
                      </a:lnTo>
                      <a:lnTo>
                        <a:pt x="210" y="585"/>
                      </a:lnTo>
                      <a:lnTo>
                        <a:pt x="212" y="584"/>
                      </a:lnTo>
                      <a:lnTo>
                        <a:pt x="214" y="584"/>
                      </a:lnTo>
                      <a:lnTo>
                        <a:pt x="214" y="584"/>
                      </a:lnTo>
                      <a:lnTo>
                        <a:pt x="217" y="584"/>
                      </a:lnTo>
                      <a:lnTo>
                        <a:pt x="217" y="582"/>
                      </a:lnTo>
                      <a:lnTo>
                        <a:pt x="217" y="580"/>
                      </a:lnTo>
                      <a:lnTo>
                        <a:pt x="221" y="580"/>
                      </a:lnTo>
                      <a:lnTo>
                        <a:pt x="221" y="580"/>
                      </a:lnTo>
                      <a:lnTo>
                        <a:pt x="223" y="578"/>
                      </a:lnTo>
                      <a:lnTo>
                        <a:pt x="224" y="577"/>
                      </a:lnTo>
                      <a:lnTo>
                        <a:pt x="223" y="566"/>
                      </a:lnTo>
                      <a:lnTo>
                        <a:pt x="223" y="554"/>
                      </a:lnTo>
                      <a:lnTo>
                        <a:pt x="224" y="550"/>
                      </a:lnTo>
                      <a:lnTo>
                        <a:pt x="228" y="547"/>
                      </a:lnTo>
                      <a:lnTo>
                        <a:pt x="228" y="547"/>
                      </a:lnTo>
                      <a:lnTo>
                        <a:pt x="231" y="545"/>
                      </a:lnTo>
                      <a:lnTo>
                        <a:pt x="233" y="542"/>
                      </a:lnTo>
                      <a:lnTo>
                        <a:pt x="235" y="535"/>
                      </a:lnTo>
                      <a:lnTo>
                        <a:pt x="233" y="533"/>
                      </a:lnTo>
                      <a:lnTo>
                        <a:pt x="233" y="533"/>
                      </a:lnTo>
                      <a:lnTo>
                        <a:pt x="230" y="533"/>
                      </a:lnTo>
                      <a:lnTo>
                        <a:pt x="228" y="538"/>
                      </a:lnTo>
                      <a:lnTo>
                        <a:pt x="228" y="538"/>
                      </a:lnTo>
                      <a:lnTo>
                        <a:pt x="226" y="540"/>
                      </a:lnTo>
                      <a:lnTo>
                        <a:pt x="226" y="540"/>
                      </a:lnTo>
                      <a:lnTo>
                        <a:pt x="223" y="535"/>
                      </a:lnTo>
                      <a:lnTo>
                        <a:pt x="221" y="526"/>
                      </a:lnTo>
                      <a:lnTo>
                        <a:pt x="219" y="516"/>
                      </a:lnTo>
                      <a:lnTo>
                        <a:pt x="219" y="516"/>
                      </a:lnTo>
                      <a:lnTo>
                        <a:pt x="219" y="510"/>
                      </a:lnTo>
                      <a:lnTo>
                        <a:pt x="219" y="507"/>
                      </a:lnTo>
                      <a:lnTo>
                        <a:pt x="216" y="505"/>
                      </a:lnTo>
                      <a:lnTo>
                        <a:pt x="210" y="500"/>
                      </a:lnTo>
                      <a:lnTo>
                        <a:pt x="210" y="500"/>
                      </a:lnTo>
                      <a:lnTo>
                        <a:pt x="203" y="491"/>
                      </a:lnTo>
                      <a:lnTo>
                        <a:pt x="198" y="483"/>
                      </a:lnTo>
                      <a:lnTo>
                        <a:pt x="193" y="472"/>
                      </a:lnTo>
                      <a:lnTo>
                        <a:pt x="191" y="460"/>
                      </a:lnTo>
                      <a:lnTo>
                        <a:pt x="191" y="460"/>
                      </a:lnTo>
                      <a:lnTo>
                        <a:pt x="190" y="453"/>
                      </a:lnTo>
                      <a:lnTo>
                        <a:pt x="190" y="453"/>
                      </a:lnTo>
                      <a:lnTo>
                        <a:pt x="188" y="453"/>
                      </a:lnTo>
                      <a:lnTo>
                        <a:pt x="186" y="453"/>
                      </a:lnTo>
                      <a:lnTo>
                        <a:pt x="184" y="453"/>
                      </a:lnTo>
                      <a:lnTo>
                        <a:pt x="183" y="451"/>
                      </a:lnTo>
                      <a:lnTo>
                        <a:pt x="181" y="446"/>
                      </a:lnTo>
                      <a:lnTo>
                        <a:pt x="181" y="446"/>
                      </a:lnTo>
                      <a:lnTo>
                        <a:pt x="181" y="443"/>
                      </a:lnTo>
                      <a:lnTo>
                        <a:pt x="183" y="441"/>
                      </a:lnTo>
                      <a:lnTo>
                        <a:pt x="188" y="441"/>
                      </a:lnTo>
                      <a:lnTo>
                        <a:pt x="191" y="441"/>
                      </a:lnTo>
                      <a:lnTo>
                        <a:pt x="193" y="441"/>
                      </a:lnTo>
                      <a:lnTo>
                        <a:pt x="195" y="437"/>
                      </a:lnTo>
                      <a:lnTo>
                        <a:pt x="193" y="432"/>
                      </a:lnTo>
                      <a:lnTo>
                        <a:pt x="193" y="432"/>
                      </a:lnTo>
                      <a:lnTo>
                        <a:pt x="191" y="427"/>
                      </a:lnTo>
                      <a:lnTo>
                        <a:pt x="191" y="423"/>
                      </a:lnTo>
                      <a:lnTo>
                        <a:pt x="193" y="422"/>
                      </a:lnTo>
                      <a:lnTo>
                        <a:pt x="195" y="420"/>
                      </a:lnTo>
                      <a:lnTo>
                        <a:pt x="198" y="416"/>
                      </a:lnTo>
                      <a:lnTo>
                        <a:pt x="198" y="415"/>
                      </a:lnTo>
                      <a:lnTo>
                        <a:pt x="197" y="411"/>
                      </a:lnTo>
                      <a:lnTo>
                        <a:pt x="197" y="411"/>
                      </a:lnTo>
                      <a:lnTo>
                        <a:pt x="195" y="404"/>
                      </a:lnTo>
                      <a:lnTo>
                        <a:pt x="197" y="401"/>
                      </a:lnTo>
                      <a:lnTo>
                        <a:pt x="200" y="397"/>
                      </a:lnTo>
                      <a:lnTo>
                        <a:pt x="203" y="390"/>
                      </a:lnTo>
                      <a:lnTo>
                        <a:pt x="203" y="390"/>
                      </a:lnTo>
                      <a:lnTo>
                        <a:pt x="205" y="387"/>
                      </a:lnTo>
                      <a:lnTo>
                        <a:pt x="209" y="389"/>
                      </a:lnTo>
                      <a:lnTo>
                        <a:pt x="212" y="392"/>
                      </a:lnTo>
                      <a:lnTo>
                        <a:pt x="214" y="392"/>
                      </a:lnTo>
                      <a:lnTo>
                        <a:pt x="217" y="392"/>
                      </a:lnTo>
                      <a:lnTo>
                        <a:pt x="217" y="392"/>
                      </a:lnTo>
                      <a:lnTo>
                        <a:pt x="228" y="389"/>
                      </a:lnTo>
                      <a:lnTo>
                        <a:pt x="233" y="387"/>
                      </a:lnTo>
                      <a:lnTo>
                        <a:pt x="237" y="387"/>
                      </a:lnTo>
                      <a:lnTo>
                        <a:pt x="238" y="382"/>
                      </a:lnTo>
                      <a:lnTo>
                        <a:pt x="238" y="382"/>
                      </a:lnTo>
                      <a:lnTo>
                        <a:pt x="242" y="373"/>
                      </a:lnTo>
                      <a:lnTo>
                        <a:pt x="244" y="371"/>
                      </a:lnTo>
                      <a:lnTo>
                        <a:pt x="245" y="373"/>
                      </a:lnTo>
                      <a:lnTo>
                        <a:pt x="249" y="375"/>
                      </a:lnTo>
                      <a:lnTo>
                        <a:pt x="250" y="375"/>
                      </a:lnTo>
                      <a:lnTo>
                        <a:pt x="252" y="373"/>
                      </a:lnTo>
                      <a:lnTo>
                        <a:pt x="252" y="373"/>
                      </a:lnTo>
                      <a:lnTo>
                        <a:pt x="254" y="373"/>
                      </a:lnTo>
                      <a:lnTo>
                        <a:pt x="256" y="369"/>
                      </a:lnTo>
                      <a:lnTo>
                        <a:pt x="254" y="366"/>
                      </a:lnTo>
                      <a:lnTo>
                        <a:pt x="254" y="362"/>
                      </a:lnTo>
                      <a:lnTo>
                        <a:pt x="256" y="362"/>
                      </a:lnTo>
                      <a:lnTo>
                        <a:pt x="259" y="362"/>
                      </a:lnTo>
                      <a:lnTo>
                        <a:pt x="259" y="362"/>
                      </a:lnTo>
                      <a:lnTo>
                        <a:pt x="266" y="362"/>
                      </a:lnTo>
                      <a:lnTo>
                        <a:pt x="268" y="361"/>
                      </a:lnTo>
                      <a:lnTo>
                        <a:pt x="271" y="359"/>
                      </a:lnTo>
                      <a:lnTo>
                        <a:pt x="277" y="361"/>
                      </a:lnTo>
                      <a:lnTo>
                        <a:pt x="277" y="361"/>
                      </a:lnTo>
                      <a:lnTo>
                        <a:pt x="278" y="352"/>
                      </a:lnTo>
                      <a:lnTo>
                        <a:pt x="280" y="349"/>
                      </a:lnTo>
                      <a:lnTo>
                        <a:pt x="282" y="345"/>
                      </a:lnTo>
                      <a:lnTo>
                        <a:pt x="285" y="343"/>
                      </a:lnTo>
                      <a:lnTo>
                        <a:pt x="289" y="340"/>
                      </a:lnTo>
                      <a:lnTo>
                        <a:pt x="291" y="336"/>
                      </a:lnTo>
                      <a:lnTo>
                        <a:pt x="292" y="329"/>
                      </a:lnTo>
                      <a:lnTo>
                        <a:pt x="292" y="329"/>
                      </a:lnTo>
                      <a:lnTo>
                        <a:pt x="294" y="324"/>
                      </a:lnTo>
                      <a:lnTo>
                        <a:pt x="296" y="321"/>
                      </a:lnTo>
                      <a:lnTo>
                        <a:pt x="301" y="317"/>
                      </a:lnTo>
                      <a:lnTo>
                        <a:pt x="308" y="315"/>
                      </a:lnTo>
                      <a:lnTo>
                        <a:pt x="313" y="312"/>
                      </a:lnTo>
                      <a:lnTo>
                        <a:pt x="313" y="312"/>
                      </a:lnTo>
                      <a:lnTo>
                        <a:pt x="313" y="305"/>
                      </a:lnTo>
                      <a:lnTo>
                        <a:pt x="311" y="301"/>
                      </a:lnTo>
                      <a:lnTo>
                        <a:pt x="310" y="300"/>
                      </a:lnTo>
                      <a:lnTo>
                        <a:pt x="306" y="301"/>
                      </a:lnTo>
                      <a:lnTo>
                        <a:pt x="299" y="308"/>
                      </a:lnTo>
                      <a:lnTo>
                        <a:pt x="299" y="308"/>
                      </a:lnTo>
                      <a:lnTo>
                        <a:pt x="296" y="312"/>
                      </a:lnTo>
                      <a:lnTo>
                        <a:pt x="292" y="314"/>
                      </a:lnTo>
                      <a:lnTo>
                        <a:pt x="291" y="315"/>
                      </a:lnTo>
                      <a:lnTo>
                        <a:pt x="289" y="315"/>
                      </a:lnTo>
                      <a:lnTo>
                        <a:pt x="285" y="314"/>
                      </a:lnTo>
                      <a:lnTo>
                        <a:pt x="284" y="314"/>
                      </a:lnTo>
                      <a:lnTo>
                        <a:pt x="282" y="314"/>
                      </a:lnTo>
                      <a:lnTo>
                        <a:pt x="282" y="314"/>
                      </a:lnTo>
                      <a:lnTo>
                        <a:pt x="280" y="315"/>
                      </a:lnTo>
                      <a:lnTo>
                        <a:pt x="278" y="315"/>
                      </a:lnTo>
                      <a:lnTo>
                        <a:pt x="277" y="312"/>
                      </a:lnTo>
                      <a:lnTo>
                        <a:pt x="277" y="307"/>
                      </a:lnTo>
                      <a:lnTo>
                        <a:pt x="273" y="303"/>
                      </a:lnTo>
                      <a:lnTo>
                        <a:pt x="273" y="303"/>
                      </a:lnTo>
                      <a:lnTo>
                        <a:pt x="271" y="300"/>
                      </a:lnTo>
                      <a:lnTo>
                        <a:pt x="271" y="296"/>
                      </a:lnTo>
                      <a:lnTo>
                        <a:pt x="271" y="291"/>
                      </a:lnTo>
                      <a:lnTo>
                        <a:pt x="266" y="288"/>
                      </a:lnTo>
                      <a:lnTo>
                        <a:pt x="266" y="288"/>
                      </a:lnTo>
                      <a:lnTo>
                        <a:pt x="257" y="286"/>
                      </a:lnTo>
                      <a:lnTo>
                        <a:pt x="249" y="284"/>
                      </a:lnTo>
                      <a:lnTo>
                        <a:pt x="245" y="284"/>
                      </a:lnTo>
                      <a:lnTo>
                        <a:pt x="244" y="282"/>
                      </a:lnTo>
                      <a:lnTo>
                        <a:pt x="244" y="279"/>
                      </a:lnTo>
                      <a:lnTo>
                        <a:pt x="245" y="275"/>
                      </a:lnTo>
                      <a:lnTo>
                        <a:pt x="245" y="275"/>
                      </a:lnTo>
                      <a:lnTo>
                        <a:pt x="250" y="267"/>
                      </a:lnTo>
                      <a:lnTo>
                        <a:pt x="250" y="263"/>
                      </a:lnTo>
                      <a:lnTo>
                        <a:pt x="249" y="260"/>
                      </a:lnTo>
                      <a:lnTo>
                        <a:pt x="249" y="254"/>
                      </a:lnTo>
                      <a:lnTo>
                        <a:pt x="249" y="254"/>
                      </a:lnTo>
                      <a:lnTo>
                        <a:pt x="250" y="251"/>
                      </a:lnTo>
                      <a:lnTo>
                        <a:pt x="252" y="249"/>
                      </a:lnTo>
                      <a:lnTo>
                        <a:pt x="257" y="244"/>
                      </a:lnTo>
                      <a:lnTo>
                        <a:pt x="257" y="242"/>
                      </a:lnTo>
                      <a:lnTo>
                        <a:pt x="256" y="242"/>
                      </a:lnTo>
                      <a:lnTo>
                        <a:pt x="245" y="241"/>
                      </a:lnTo>
                      <a:lnTo>
                        <a:pt x="245" y="241"/>
                      </a:lnTo>
                      <a:lnTo>
                        <a:pt x="240" y="241"/>
                      </a:lnTo>
                      <a:lnTo>
                        <a:pt x="237" y="239"/>
                      </a:lnTo>
                      <a:lnTo>
                        <a:pt x="233" y="237"/>
                      </a:lnTo>
                      <a:lnTo>
                        <a:pt x="233" y="234"/>
                      </a:lnTo>
                      <a:lnTo>
                        <a:pt x="231" y="227"/>
                      </a:lnTo>
                      <a:lnTo>
                        <a:pt x="228" y="218"/>
                      </a:lnTo>
                      <a:lnTo>
                        <a:pt x="228" y="218"/>
                      </a:lnTo>
                      <a:lnTo>
                        <a:pt x="228" y="213"/>
                      </a:lnTo>
                      <a:lnTo>
                        <a:pt x="228" y="209"/>
                      </a:lnTo>
                      <a:lnTo>
                        <a:pt x="230" y="201"/>
                      </a:lnTo>
                      <a:lnTo>
                        <a:pt x="231" y="197"/>
                      </a:lnTo>
                      <a:lnTo>
                        <a:pt x="231" y="195"/>
                      </a:lnTo>
                      <a:lnTo>
                        <a:pt x="228" y="197"/>
                      </a:lnTo>
                      <a:lnTo>
                        <a:pt x="228" y="197"/>
                      </a:lnTo>
                      <a:lnTo>
                        <a:pt x="224" y="199"/>
                      </a:lnTo>
                      <a:lnTo>
                        <a:pt x="221" y="199"/>
                      </a:lnTo>
                      <a:lnTo>
                        <a:pt x="214" y="197"/>
                      </a:lnTo>
                      <a:lnTo>
                        <a:pt x="207" y="197"/>
                      </a:lnTo>
                      <a:lnTo>
                        <a:pt x="203" y="199"/>
                      </a:lnTo>
                      <a:lnTo>
                        <a:pt x="198" y="202"/>
                      </a:lnTo>
                      <a:lnTo>
                        <a:pt x="198" y="202"/>
                      </a:lnTo>
                      <a:lnTo>
                        <a:pt x="191" y="207"/>
                      </a:lnTo>
                      <a:lnTo>
                        <a:pt x="190" y="207"/>
                      </a:lnTo>
                      <a:lnTo>
                        <a:pt x="188" y="206"/>
                      </a:lnTo>
                      <a:lnTo>
                        <a:pt x="188" y="202"/>
                      </a:lnTo>
                      <a:lnTo>
                        <a:pt x="193" y="195"/>
                      </a:lnTo>
                      <a:lnTo>
                        <a:pt x="193" y="195"/>
                      </a:lnTo>
                      <a:lnTo>
                        <a:pt x="193" y="192"/>
                      </a:lnTo>
                      <a:lnTo>
                        <a:pt x="193" y="188"/>
                      </a:lnTo>
                      <a:lnTo>
                        <a:pt x="188" y="181"/>
                      </a:lnTo>
                      <a:lnTo>
                        <a:pt x="186" y="176"/>
                      </a:lnTo>
                      <a:lnTo>
                        <a:pt x="184" y="173"/>
                      </a:lnTo>
                      <a:lnTo>
                        <a:pt x="186" y="169"/>
                      </a:lnTo>
                      <a:lnTo>
                        <a:pt x="191" y="167"/>
                      </a:lnTo>
                      <a:lnTo>
                        <a:pt x="191" y="167"/>
                      </a:lnTo>
                      <a:lnTo>
                        <a:pt x="193" y="166"/>
                      </a:lnTo>
                      <a:lnTo>
                        <a:pt x="195" y="162"/>
                      </a:lnTo>
                      <a:lnTo>
                        <a:pt x="193" y="157"/>
                      </a:lnTo>
                      <a:lnTo>
                        <a:pt x="193" y="150"/>
                      </a:lnTo>
                      <a:lnTo>
                        <a:pt x="195" y="148"/>
                      </a:lnTo>
                      <a:lnTo>
                        <a:pt x="198" y="147"/>
                      </a:lnTo>
                      <a:lnTo>
                        <a:pt x="198" y="147"/>
                      </a:lnTo>
                      <a:lnTo>
                        <a:pt x="202" y="145"/>
                      </a:lnTo>
                      <a:lnTo>
                        <a:pt x="203" y="143"/>
                      </a:lnTo>
                      <a:lnTo>
                        <a:pt x="207" y="138"/>
                      </a:lnTo>
                      <a:lnTo>
                        <a:pt x="209" y="133"/>
                      </a:lnTo>
                      <a:lnTo>
                        <a:pt x="210" y="133"/>
                      </a:lnTo>
                      <a:lnTo>
                        <a:pt x="212" y="133"/>
                      </a:lnTo>
                      <a:lnTo>
                        <a:pt x="212" y="133"/>
                      </a:lnTo>
                      <a:lnTo>
                        <a:pt x="216" y="133"/>
                      </a:lnTo>
                      <a:lnTo>
                        <a:pt x="217" y="133"/>
                      </a:lnTo>
                      <a:lnTo>
                        <a:pt x="219" y="129"/>
                      </a:lnTo>
                      <a:lnTo>
                        <a:pt x="219" y="124"/>
                      </a:lnTo>
                      <a:lnTo>
                        <a:pt x="221" y="122"/>
                      </a:lnTo>
                      <a:lnTo>
                        <a:pt x="224" y="122"/>
                      </a:lnTo>
                      <a:lnTo>
                        <a:pt x="224" y="122"/>
                      </a:lnTo>
                      <a:lnTo>
                        <a:pt x="228" y="120"/>
                      </a:lnTo>
                      <a:lnTo>
                        <a:pt x="228" y="119"/>
                      </a:lnTo>
                      <a:lnTo>
                        <a:pt x="228" y="113"/>
                      </a:lnTo>
                      <a:lnTo>
                        <a:pt x="226" y="105"/>
                      </a:lnTo>
                      <a:lnTo>
                        <a:pt x="226" y="98"/>
                      </a:lnTo>
                      <a:lnTo>
                        <a:pt x="228" y="91"/>
                      </a:lnTo>
                      <a:lnTo>
                        <a:pt x="228" y="91"/>
                      </a:lnTo>
                      <a:lnTo>
                        <a:pt x="230" y="84"/>
                      </a:lnTo>
                      <a:lnTo>
                        <a:pt x="230" y="77"/>
                      </a:lnTo>
                      <a:lnTo>
                        <a:pt x="228" y="68"/>
                      </a:lnTo>
                      <a:lnTo>
                        <a:pt x="226" y="63"/>
                      </a:lnTo>
                      <a:lnTo>
                        <a:pt x="226" y="61"/>
                      </a:lnTo>
                      <a:lnTo>
                        <a:pt x="226" y="58"/>
                      </a:lnTo>
                      <a:lnTo>
                        <a:pt x="226" y="58"/>
                      </a:lnTo>
                      <a:lnTo>
                        <a:pt x="228" y="54"/>
                      </a:lnTo>
                      <a:lnTo>
                        <a:pt x="230" y="51"/>
                      </a:lnTo>
                      <a:lnTo>
                        <a:pt x="228" y="42"/>
                      </a:lnTo>
                      <a:lnTo>
                        <a:pt x="224" y="40"/>
                      </a:lnTo>
                      <a:lnTo>
                        <a:pt x="223" y="39"/>
                      </a:lnTo>
                      <a:lnTo>
                        <a:pt x="219" y="39"/>
                      </a:lnTo>
                      <a:lnTo>
                        <a:pt x="216" y="40"/>
                      </a:lnTo>
                      <a:lnTo>
                        <a:pt x="216" y="40"/>
                      </a:lnTo>
                      <a:lnTo>
                        <a:pt x="214" y="40"/>
                      </a:lnTo>
                      <a:lnTo>
                        <a:pt x="212" y="40"/>
                      </a:lnTo>
                      <a:lnTo>
                        <a:pt x="210" y="32"/>
                      </a:lnTo>
                      <a:lnTo>
                        <a:pt x="209" y="25"/>
                      </a:lnTo>
                      <a:lnTo>
                        <a:pt x="207" y="19"/>
                      </a:lnTo>
                      <a:lnTo>
                        <a:pt x="203" y="12"/>
                      </a:lnTo>
                      <a:lnTo>
                        <a:pt x="198" y="6"/>
                      </a:lnTo>
                      <a:lnTo>
                        <a:pt x="198" y="6"/>
                      </a:lnTo>
                      <a:lnTo>
                        <a:pt x="193" y="2"/>
                      </a:lnTo>
                      <a:lnTo>
                        <a:pt x="190" y="0"/>
                      </a:lnTo>
                      <a:lnTo>
                        <a:pt x="186" y="0"/>
                      </a:lnTo>
                      <a:lnTo>
                        <a:pt x="184" y="2"/>
                      </a:lnTo>
                      <a:lnTo>
                        <a:pt x="183" y="7"/>
                      </a:lnTo>
                      <a:lnTo>
                        <a:pt x="179" y="14"/>
                      </a:lnTo>
                      <a:lnTo>
                        <a:pt x="179" y="14"/>
                      </a:lnTo>
                      <a:lnTo>
                        <a:pt x="179" y="21"/>
                      </a:lnTo>
                      <a:lnTo>
                        <a:pt x="177" y="26"/>
                      </a:lnTo>
                      <a:lnTo>
                        <a:pt x="174" y="32"/>
                      </a:lnTo>
                      <a:lnTo>
                        <a:pt x="170" y="35"/>
                      </a:lnTo>
                      <a:lnTo>
                        <a:pt x="169" y="39"/>
                      </a:lnTo>
                      <a:lnTo>
                        <a:pt x="165" y="42"/>
                      </a:lnTo>
                      <a:lnTo>
                        <a:pt x="165" y="46"/>
                      </a:lnTo>
                      <a:lnTo>
                        <a:pt x="167" y="51"/>
                      </a:lnTo>
                      <a:lnTo>
                        <a:pt x="167" y="51"/>
                      </a:lnTo>
                      <a:lnTo>
                        <a:pt x="170" y="61"/>
                      </a:lnTo>
                      <a:lnTo>
                        <a:pt x="170" y="63"/>
                      </a:lnTo>
                      <a:lnTo>
                        <a:pt x="170" y="65"/>
                      </a:lnTo>
                      <a:lnTo>
                        <a:pt x="169" y="65"/>
                      </a:lnTo>
                      <a:lnTo>
                        <a:pt x="167" y="63"/>
                      </a:lnTo>
                      <a:lnTo>
                        <a:pt x="162" y="58"/>
                      </a:lnTo>
                      <a:lnTo>
                        <a:pt x="162" y="58"/>
                      </a:lnTo>
                      <a:lnTo>
                        <a:pt x="158" y="53"/>
                      </a:lnTo>
                      <a:lnTo>
                        <a:pt x="153" y="53"/>
                      </a:lnTo>
                      <a:lnTo>
                        <a:pt x="146" y="53"/>
                      </a:lnTo>
                      <a:lnTo>
                        <a:pt x="141" y="56"/>
                      </a:lnTo>
                      <a:lnTo>
                        <a:pt x="129" y="65"/>
                      </a:lnTo>
                      <a:lnTo>
                        <a:pt x="120" y="75"/>
                      </a:lnTo>
                      <a:lnTo>
                        <a:pt x="120" y="75"/>
                      </a:lnTo>
                      <a:lnTo>
                        <a:pt x="115" y="80"/>
                      </a:lnTo>
                      <a:lnTo>
                        <a:pt x="111" y="82"/>
                      </a:lnTo>
                      <a:lnTo>
                        <a:pt x="109" y="84"/>
                      </a:lnTo>
                      <a:lnTo>
                        <a:pt x="108" y="84"/>
                      </a:lnTo>
                      <a:lnTo>
                        <a:pt x="104" y="84"/>
                      </a:lnTo>
                      <a:lnTo>
                        <a:pt x="101" y="89"/>
                      </a:lnTo>
                      <a:lnTo>
                        <a:pt x="101" y="89"/>
                      </a:lnTo>
                      <a:lnTo>
                        <a:pt x="99" y="93"/>
                      </a:lnTo>
                      <a:lnTo>
                        <a:pt x="101" y="96"/>
                      </a:lnTo>
                      <a:lnTo>
                        <a:pt x="102" y="101"/>
                      </a:lnTo>
                      <a:lnTo>
                        <a:pt x="104" y="103"/>
                      </a:lnTo>
                      <a:lnTo>
                        <a:pt x="104" y="106"/>
                      </a:lnTo>
                      <a:lnTo>
                        <a:pt x="104" y="112"/>
                      </a:lnTo>
                      <a:lnTo>
                        <a:pt x="101" y="120"/>
                      </a:lnTo>
                      <a:lnTo>
                        <a:pt x="101" y="120"/>
                      </a:lnTo>
                      <a:lnTo>
                        <a:pt x="97" y="127"/>
                      </a:lnTo>
                      <a:lnTo>
                        <a:pt x="94" y="133"/>
                      </a:lnTo>
                      <a:lnTo>
                        <a:pt x="85" y="140"/>
                      </a:lnTo>
                      <a:lnTo>
                        <a:pt x="83" y="143"/>
                      </a:lnTo>
                      <a:lnTo>
                        <a:pt x="82" y="145"/>
                      </a:lnTo>
                      <a:lnTo>
                        <a:pt x="83" y="147"/>
                      </a:lnTo>
                      <a:lnTo>
                        <a:pt x="85" y="150"/>
                      </a:lnTo>
                      <a:lnTo>
                        <a:pt x="85" y="150"/>
                      </a:lnTo>
                      <a:lnTo>
                        <a:pt x="89" y="154"/>
                      </a:lnTo>
                      <a:lnTo>
                        <a:pt x="89" y="157"/>
                      </a:lnTo>
                      <a:lnTo>
                        <a:pt x="85" y="164"/>
                      </a:lnTo>
                      <a:lnTo>
                        <a:pt x="78" y="174"/>
                      </a:lnTo>
                      <a:lnTo>
                        <a:pt x="75" y="181"/>
                      </a:lnTo>
                      <a:lnTo>
                        <a:pt x="71" y="192"/>
                      </a:lnTo>
                      <a:lnTo>
                        <a:pt x="71" y="192"/>
                      </a:lnTo>
                      <a:lnTo>
                        <a:pt x="68" y="206"/>
                      </a:lnTo>
                      <a:lnTo>
                        <a:pt x="66" y="209"/>
                      </a:lnTo>
                      <a:lnTo>
                        <a:pt x="64" y="209"/>
                      </a:lnTo>
                      <a:lnTo>
                        <a:pt x="61" y="207"/>
                      </a:lnTo>
                      <a:lnTo>
                        <a:pt x="57" y="204"/>
                      </a:lnTo>
                      <a:lnTo>
                        <a:pt x="52" y="202"/>
                      </a:lnTo>
                      <a:lnTo>
                        <a:pt x="52" y="202"/>
                      </a:lnTo>
                      <a:lnTo>
                        <a:pt x="43" y="199"/>
                      </a:lnTo>
                      <a:lnTo>
                        <a:pt x="38" y="197"/>
                      </a:lnTo>
                      <a:lnTo>
                        <a:pt x="38" y="199"/>
                      </a:lnTo>
                      <a:lnTo>
                        <a:pt x="38" y="202"/>
                      </a:lnTo>
                      <a:lnTo>
                        <a:pt x="40" y="218"/>
                      </a:lnTo>
                      <a:lnTo>
                        <a:pt x="40" y="218"/>
                      </a:lnTo>
                      <a:lnTo>
                        <a:pt x="42" y="234"/>
                      </a:lnTo>
                      <a:lnTo>
                        <a:pt x="42" y="242"/>
                      </a:lnTo>
                      <a:lnTo>
                        <a:pt x="40" y="246"/>
                      </a:lnTo>
                      <a:lnTo>
                        <a:pt x="36" y="246"/>
                      </a:lnTo>
                      <a:lnTo>
                        <a:pt x="35" y="246"/>
                      </a:lnTo>
                      <a:lnTo>
                        <a:pt x="31" y="246"/>
                      </a:lnTo>
                      <a:lnTo>
                        <a:pt x="29" y="251"/>
                      </a:lnTo>
                      <a:lnTo>
                        <a:pt x="29" y="261"/>
                      </a:lnTo>
                      <a:lnTo>
                        <a:pt x="29" y="261"/>
                      </a:lnTo>
                      <a:lnTo>
                        <a:pt x="31" y="267"/>
                      </a:lnTo>
                      <a:lnTo>
                        <a:pt x="33" y="272"/>
                      </a:lnTo>
                      <a:lnTo>
                        <a:pt x="33" y="277"/>
                      </a:lnTo>
                      <a:lnTo>
                        <a:pt x="29" y="288"/>
                      </a:lnTo>
                      <a:lnTo>
                        <a:pt x="29" y="288"/>
                      </a:lnTo>
                      <a:lnTo>
                        <a:pt x="26" y="291"/>
                      </a:lnTo>
                      <a:lnTo>
                        <a:pt x="24" y="293"/>
                      </a:lnTo>
                      <a:lnTo>
                        <a:pt x="22" y="291"/>
                      </a:lnTo>
                      <a:lnTo>
                        <a:pt x="21" y="288"/>
                      </a:lnTo>
                      <a:lnTo>
                        <a:pt x="19" y="286"/>
                      </a:lnTo>
                      <a:lnTo>
                        <a:pt x="19" y="284"/>
                      </a:lnTo>
                      <a:lnTo>
                        <a:pt x="15" y="286"/>
                      </a:lnTo>
                      <a:lnTo>
                        <a:pt x="14" y="291"/>
                      </a:lnTo>
                      <a:lnTo>
                        <a:pt x="14" y="291"/>
                      </a:lnTo>
                      <a:lnTo>
                        <a:pt x="14" y="310"/>
                      </a:lnTo>
                      <a:lnTo>
                        <a:pt x="14" y="321"/>
                      </a:lnTo>
                      <a:lnTo>
                        <a:pt x="14" y="322"/>
                      </a:lnTo>
                      <a:lnTo>
                        <a:pt x="12" y="322"/>
                      </a:lnTo>
                      <a:lnTo>
                        <a:pt x="8" y="319"/>
                      </a:lnTo>
                      <a:lnTo>
                        <a:pt x="5" y="315"/>
                      </a:lnTo>
                      <a:lnTo>
                        <a:pt x="3" y="315"/>
                      </a:lnTo>
                      <a:lnTo>
                        <a:pt x="1" y="315"/>
                      </a:lnTo>
                      <a:lnTo>
                        <a:pt x="1" y="319"/>
                      </a:lnTo>
                      <a:lnTo>
                        <a:pt x="0" y="329"/>
                      </a:lnTo>
                      <a:lnTo>
                        <a:pt x="0" y="32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3" name="Freeform 2020">
                  <a:extLst>
                    <a:ext uri="{FF2B5EF4-FFF2-40B4-BE49-F238E27FC236}">
                      <a16:creationId xmlns:a16="http://schemas.microsoft.com/office/drawing/2014/main" id="{35D1E470-7C3D-17CD-1E41-1F430E7C28B5}"/>
                    </a:ext>
                  </a:extLst>
                </p:cNvPr>
                <p:cNvSpPr>
                  <a:spLocks/>
                </p:cNvSpPr>
                <p:nvPr/>
              </p:nvSpPr>
              <p:spPr bwMode="auto">
                <a:xfrm>
                  <a:off x="7538946" y="3743540"/>
                  <a:ext cx="213202" cy="299540"/>
                </a:xfrm>
                <a:custGeom>
                  <a:avLst/>
                  <a:gdLst/>
                  <a:ahLst/>
                  <a:cxnLst>
                    <a:cxn ang="0">
                      <a:pos x="7" y="92"/>
                    </a:cxn>
                    <a:cxn ang="0">
                      <a:pos x="15" y="105"/>
                    </a:cxn>
                    <a:cxn ang="0">
                      <a:pos x="15" y="129"/>
                    </a:cxn>
                    <a:cxn ang="0">
                      <a:pos x="34" y="124"/>
                    </a:cxn>
                    <a:cxn ang="0">
                      <a:pos x="38" y="138"/>
                    </a:cxn>
                    <a:cxn ang="0">
                      <a:pos x="43" y="153"/>
                    </a:cxn>
                    <a:cxn ang="0">
                      <a:pos x="34" y="179"/>
                    </a:cxn>
                    <a:cxn ang="0">
                      <a:pos x="29" y="213"/>
                    </a:cxn>
                    <a:cxn ang="0">
                      <a:pos x="45" y="211"/>
                    </a:cxn>
                    <a:cxn ang="0">
                      <a:pos x="69" y="186"/>
                    </a:cxn>
                    <a:cxn ang="0">
                      <a:pos x="81" y="195"/>
                    </a:cxn>
                    <a:cxn ang="0">
                      <a:pos x="92" y="200"/>
                    </a:cxn>
                    <a:cxn ang="0">
                      <a:pos x="109" y="179"/>
                    </a:cxn>
                    <a:cxn ang="0">
                      <a:pos x="125" y="181"/>
                    </a:cxn>
                    <a:cxn ang="0">
                      <a:pos x="142" y="192"/>
                    </a:cxn>
                    <a:cxn ang="0">
                      <a:pos x="162" y="218"/>
                    </a:cxn>
                    <a:cxn ang="0">
                      <a:pos x="162" y="253"/>
                    </a:cxn>
                    <a:cxn ang="0">
                      <a:pos x="184" y="282"/>
                    </a:cxn>
                    <a:cxn ang="0">
                      <a:pos x="189" y="294"/>
                    </a:cxn>
                    <a:cxn ang="0">
                      <a:pos x="189" y="331"/>
                    </a:cxn>
                    <a:cxn ang="0">
                      <a:pos x="179" y="355"/>
                    </a:cxn>
                    <a:cxn ang="0">
                      <a:pos x="195" y="362"/>
                    </a:cxn>
                    <a:cxn ang="0">
                      <a:pos x="205" y="371"/>
                    </a:cxn>
                    <a:cxn ang="0">
                      <a:pos x="210" y="362"/>
                    </a:cxn>
                    <a:cxn ang="0">
                      <a:pos x="209" y="352"/>
                    </a:cxn>
                    <a:cxn ang="0">
                      <a:pos x="226" y="343"/>
                    </a:cxn>
                    <a:cxn ang="0">
                      <a:pos x="238" y="354"/>
                    </a:cxn>
                    <a:cxn ang="0">
                      <a:pos x="254" y="341"/>
                    </a:cxn>
                    <a:cxn ang="0">
                      <a:pos x="259" y="340"/>
                    </a:cxn>
                    <a:cxn ang="0">
                      <a:pos x="264" y="312"/>
                    </a:cxn>
                    <a:cxn ang="0">
                      <a:pos x="249" y="291"/>
                    </a:cxn>
                    <a:cxn ang="0">
                      <a:pos x="257" y="282"/>
                    </a:cxn>
                    <a:cxn ang="0">
                      <a:pos x="252" y="279"/>
                    </a:cxn>
                    <a:cxn ang="0">
                      <a:pos x="235" y="261"/>
                    </a:cxn>
                    <a:cxn ang="0">
                      <a:pos x="222" y="233"/>
                    </a:cxn>
                    <a:cxn ang="0">
                      <a:pos x="202" y="214"/>
                    </a:cxn>
                    <a:cxn ang="0">
                      <a:pos x="184" y="185"/>
                    </a:cxn>
                    <a:cxn ang="0">
                      <a:pos x="177" y="171"/>
                    </a:cxn>
                    <a:cxn ang="0">
                      <a:pos x="167" y="160"/>
                    </a:cxn>
                    <a:cxn ang="0">
                      <a:pos x="135" y="139"/>
                    </a:cxn>
                    <a:cxn ang="0">
                      <a:pos x="139" y="127"/>
                    </a:cxn>
                    <a:cxn ang="0">
                      <a:pos x="156" y="124"/>
                    </a:cxn>
                    <a:cxn ang="0">
                      <a:pos x="165" y="112"/>
                    </a:cxn>
                    <a:cxn ang="0">
                      <a:pos x="170" y="101"/>
                    </a:cxn>
                    <a:cxn ang="0">
                      <a:pos x="160" y="96"/>
                    </a:cxn>
                    <a:cxn ang="0">
                      <a:pos x="153" y="87"/>
                    </a:cxn>
                    <a:cxn ang="0">
                      <a:pos x="151" y="72"/>
                    </a:cxn>
                    <a:cxn ang="0">
                      <a:pos x="134" y="65"/>
                    </a:cxn>
                    <a:cxn ang="0">
                      <a:pos x="123" y="77"/>
                    </a:cxn>
                    <a:cxn ang="0">
                      <a:pos x="111" y="72"/>
                    </a:cxn>
                    <a:cxn ang="0">
                      <a:pos x="97" y="56"/>
                    </a:cxn>
                    <a:cxn ang="0">
                      <a:pos x="99" y="45"/>
                    </a:cxn>
                    <a:cxn ang="0">
                      <a:pos x="102" y="35"/>
                    </a:cxn>
                    <a:cxn ang="0">
                      <a:pos x="95" y="30"/>
                    </a:cxn>
                    <a:cxn ang="0">
                      <a:pos x="88" y="30"/>
                    </a:cxn>
                    <a:cxn ang="0">
                      <a:pos x="62" y="0"/>
                    </a:cxn>
                    <a:cxn ang="0">
                      <a:pos x="52" y="12"/>
                    </a:cxn>
                    <a:cxn ang="0">
                      <a:pos x="57" y="44"/>
                    </a:cxn>
                    <a:cxn ang="0">
                      <a:pos x="57" y="58"/>
                    </a:cxn>
                    <a:cxn ang="0">
                      <a:pos x="43" y="56"/>
                    </a:cxn>
                    <a:cxn ang="0">
                      <a:pos x="36" y="42"/>
                    </a:cxn>
                    <a:cxn ang="0">
                      <a:pos x="15" y="59"/>
                    </a:cxn>
                    <a:cxn ang="0">
                      <a:pos x="5" y="75"/>
                    </a:cxn>
                  </a:cxnLst>
                  <a:rect l="0" t="0" r="r" b="b"/>
                  <a:pathLst>
                    <a:path w="264" h="371">
                      <a:moveTo>
                        <a:pt x="0" y="91"/>
                      </a:moveTo>
                      <a:lnTo>
                        <a:pt x="0" y="91"/>
                      </a:lnTo>
                      <a:lnTo>
                        <a:pt x="0" y="96"/>
                      </a:lnTo>
                      <a:lnTo>
                        <a:pt x="3" y="94"/>
                      </a:lnTo>
                      <a:lnTo>
                        <a:pt x="7" y="92"/>
                      </a:lnTo>
                      <a:lnTo>
                        <a:pt x="8" y="92"/>
                      </a:lnTo>
                      <a:lnTo>
                        <a:pt x="12" y="96"/>
                      </a:lnTo>
                      <a:lnTo>
                        <a:pt x="12" y="96"/>
                      </a:lnTo>
                      <a:lnTo>
                        <a:pt x="15" y="99"/>
                      </a:lnTo>
                      <a:lnTo>
                        <a:pt x="15" y="105"/>
                      </a:lnTo>
                      <a:lnTo>
                        <a:pt x="12" y="117"/>
                      </a:lnTo>
                      <a:lnTo>
                        <a:pt x="10" y="120"/>
                      </a:lnTo>
                      <a:lnTo>
                        <a:pt x="10" y="126"/>
                      </a:lnTo>
                      <a:lnTo>
                        <a:pt x="12" y="127"/>
                      </a:lnTo>
                      <a:lnTo>
                        <a:pt x="15" y="129"/>
                      </a:lnTo>
                      <a:lnTo>
                        <a:pt x="15" y="129"/>
                      </a:lnTo>
                      <a:lnTo>
                        <a:pt x="24" y="129"/>
                      </a:lnTo>
                      <a:lnTo>
                        <a:pt x="26" y="126"/>
                      </a:lnTo>
                      <a:lnTo>
                        <a:pt x="29" y="124"/>
                      </a:lnTo>
                      <a:lnTo>
                        <a:pt x="34" y="124"/>
                      </a:lnTo>
                      <a:lnTo>
                        <a:pt x="34" y="124"/>
                      </a:lnTo>
                      <a:lnTo>
                        <a:pt x="38" y="126"/>
                      </a:lnTo>
                      <a:lnTo>
                        <a:pt x="40" y="127"/>
                      </a:lnTo>
                      <a:lnTo>
                        <a:pt x="40" y="131"/>
                      </a:lnTo>
                      <a:lnTo>
                        <a:pt x="38" y="138"/>
                      </a:lnTo>
                      <a:lnTo>
                        <a:pt x="40" y="141"/>
                      </a:lnTo>
                      <a:lnTo>
                        <a:pt x="41" y="145"/>
                      </a:lnTo>
                      <a:lnTo>
                        <a:pt x="41" y="145"/>
                      </a:lnTo>
                      <a:lnTo>
                        <a:pt x="43" y="150"/>
                      </a:lnTo>
                      <a:lnTo>
                        <a:pt x="43" y="153"/>
                      </a:lnTo>
                      <a:lnTo>
                        <a:pt x="38" y="166"/>
                      </a:lnTo>
                      <a:lnTo>
                        <a:pt x="34" y="174"/>
                      </a:lnTo>
                      <a:lnTo>
                        <a:pt x="33" y="178"/>
                      </a:lnTo>
                      <a:lnTo>
                        <a:pt x="34" y="179"/>
                      </a:lnTo>
                      <a:lnTo>
                        <a:pt x="34" y="179"/>
                      </a:lnTo>
                      <a:lnTo>
                        <a:pt x="38" y="183"/>
                      </a:lnTo>
                      <a:lnTo>
                        <a:pt x="38" y="188"/>
                      </a:lnTo>
                      <a:lnTo>
                        <a:pt x="34" y="199"/>
                      </a:lnTo>
                      <a:lnTo>
                        <a:pt x="29" y="209"/>
                      </a:lnTo>
                      <a:lnTo>
                        <a:pt x="29" y="213"/>
                      </a:lnTo>
                      <a:lnTo>
                        <a:pt x="29" y="214"/>
                      </a:lnTo>
                      <a:lnTo>
                        <a:pt x="29" y="214"/>
                      </a:lnTo>
                      <a:lnTo>
                        <a:pt x="34" y="216"/>
                      </a:lnTo>
                      <a:lnTo>
                        <a:pt x="38" y="216"/>
                      </a:lnTo>
                      <a:lnTo>
                        <a:pt x="45" y="211"/>
                      </a:lnTo>
                      <a:lnTo>
                        <a:pt x="55" y="197"/>
                      </a:lnTo>
                      <a:lnTo>
                        <a:pt x="55" y="197"/>
                      </a:lnTo>
                      <a:lnTo>
                        <a:pt x="62" y="192"/>
                      </a:lnTo>
                      <a:lnTo>
                        <a:pt x="66" y="188"/>
                      </a:lnTo>
                      <a:lnTo>
                        <a:pt x="69" y="186"/>
                      </a:lnTo>
                      <a:lnTo>
                        <a:pt x="73" y="188"/>
                      </a:lnTo>
                      <a:lnTo>
                        <a:pt x="76" y="192"/>
                      </a:lnTo>
                      <a:lnTo>
                        <a:pt x="78" y="195"/>
                      </a:lnTo>
                      <a:lnTo>
                        <a:pt x="81" y="195"/>
                      </a:lnTo>
                      <a:lnTo>
                        <a:pt x="81" y="195"/>
                      </a:lnTo>
                      <a:lnTo>
                        <a:pt x="83" y="195"/>
                      </a:lnTo>
                      <a:lnTo>
                        <a:pt x="85" y="197"/>
                      </a:lnTo>
                      <a:lnTo>
                        <a:pt x="87" y="200"/>
                      </a:lnTo>
                      <a:lnTo>
                        <a:pt x="87" y="202"/>
                      </a:lnTo>
                      <a:lnTo>
                        <a:pt x="92" y="200"/>
                      </a:lnTo>
                      <a:lnTo>
                        <a:pt x="92" y="200"/>
                      </a:lnTo>
                      <a:lnTo>
                        <a:pt x="97" y="197"/>
                      </a:lnTo>
                      <a:lnTo>
                        <a:pt x="102" y="192"/>
                      </a:lnTo>
                      <a:lnTo>
                        <a:pt x="108" y="183"/>
                      </a:lnTo>
                      <a:lnTo>
                        <a:pt x="109" y="179"/>
                      </a:lnTo>
                      <a:lnTo>
                        <a:pt x="113" y="178"/>
                      </a:lnTo>
                      <a:lnTo>
                        <a:pt x="116" y="178"/>
                      </a:lnTo>
                      <a:lnTo>
                        <a:pt x="120" y="178"/>
                      </a:lnTo>
                      <a:lnTo>
                        <a:pt x="120" y="178"/>
                      </a:lnTo>
                      <a:lnTo>
                        <a:pt x="125" y="181"/>
                      </a:lnTo>
                      <a:lnTo>
                        <a:pt x="128" y="181"/>
                      </a:lnTo>
                      <a:lnTo>
                        <a:pt x="134" y="181"/>
                      </a:lnTo>
                      <a:lnTo>
                        <a:pt x="137" y="181"/>
                      </a:lnTo>
                      <a:lnTo>
                        <a:pt x="139" y="183"/>
                      </a:lnTo>
                      <a:lnTo>
                        <a:pt x="142" y="192"/>
                      </a:lnTo>
                      <a:lnTo>
                        <a:pt x="142" y="192"/>
                      </a:lnTo>
                      <a:lnTo>
                        <a:pt x="146" y="200"/>
                      </a:lnTo>
                      <a:lnTo>
                        <a:pt x="151" y="206"/>
                      </a:lnTo>
                      <a:lnTo>
                        <a:pt x="158" y="213"/>
                      </a:lnTo>
                      <a:lnTo>
                        <a:pt x="162" y="218"/>
                      </a:lnTo>
                      <a:lnTo>
                        <a:pt x="163" y="223"/>
                      </a:lnTo>
                      <a:lnTo>
                        <a:pt x="165" y="230"/>
                      </a:lnTo>
                      <a:lnTo>
                        <a:pt x="163" y="242"/>
                      </a:lnTo>
                      <a:lnTo>
                        <a:pt x="163" y="242"/>
                      </a:lnTo>
                      <a:lnTo>
                        <a:pt x="162" y="253"/>
                      </a:lnTo>
                      <a:lnTo>
                        <a:pt x="163" y="261"/>
                      </a:lnTo>
                      <a:lnTo>
                        <a:pt x="168" y="268"/>
                      </a:lnTo>
                      <a:lnTo>
                        <a:pt x="172" y="274"/>
                      </a:lnTo>
                      <a:lnTo>
                        <a:pt x="181" y="279"/>
                      </a:lnTo>
                      <a:lnTo>
                        <a:pt x="184" y="282"/>
                      </a:lnTo>
                      <a:lnTo>
                        <a:pt x="184" y="284"/>
                      </a:lnTo>
                      <a:lnTo>
                        <a:pt x="184" y="284"/>
                      </a:lnTo>
                      <a:lnTo>
                        <a:pt x="184" y="286"/>
                      </a:lnTo>
                      <a:lnTo>
                        <a:pt x="186" y="289"/>
                      </a:lnTo>
                      <a:lnTo>
                        <a:pt x="189" y="294"/>
                      </a:lnTo>
                      <a:lnTo>
                        <a:pt x="191" y="300"/>
                      </a:lnTo>
                      <a:lnTo>
                        <a:pt x="193" y="307"/>
                      </a:lnTo>
                      <a:lnTo>
                        <a:pt x="193" y="317"/>
                      </a:lnTo>
                      <a:lnTo>
                        <a:pt x="189" y="331"/>
                      </a:lnTo>
                      <a:lnTo>
                        <a:pt x="189" y="331"/>
                      </a:lnTo>
                      <a:lnTo>
                        <a:pt x="189" y="336"/>
                      </a:lnTo>
                      <a:lnTo>
                        <a:pt x="189" y="341"/>
                      </a:lnTo>
                      <a:lnTo>
                        <a:pt x="188" y="347"/>
                      </a:lnTo>
                      <a:lnTo>
                        <a:pt x="179" y="355"/>
                      </a:lnTo>
                      <a:lnTo>
                        <a:pt x="179" y="355"/>
                      </a:lnTo>
                      <a:lnTo>
                        <a:pt x="181" y="359"/>
                      </a:lnTo>
                      <a:lnTo>
                        <a:pt x="184" y="362"/>
                      </a:lnTo>
                      <a:lnTo>
                        <a:pt x="186" y="362"/>
                      </a:lnTo>
                      <a:lnTo>
                        <a:pt x="189" y="362"/>
                      </a:lnTo>
                      <a:lnTo>
                        <a:pt x="195" y="362"/>
                      </a:lnTo>
                      <a:lnTo>
                        <a:pt x="196" y="362"/>
                      </a:lnTo>
                      <a:lnTo>
                        <a:pt x="200" y="366"/>
                      </a:lnTo>
                      <a:lnTo>
                        <a:pt x="200" y="366"/>
                      </a:lnTo>
                      <a:lnTo>
                        <a:pt x="202" y="369"/>
                      </a:lnTo>
                      <a:lnTo>
                        <a:pt x="205" y="371"/>
                      </a:lnTo>
                      <a:lnTo>
                        <a:pt x="209" y="371"/>
                      </a:lnTo>
                      <a:lnTo>
                        <a:pt x="210" y="371"/>
                      </a:lnTo>
                      <a:lnTo>
                        <a:pt x="210" y="369"/>
                      </a:lnTo>
                      <a:lnTo>
                        <a:pt x="212" y="366"/>
                      </a:lnTo>
                      <a:lnTo>
                        <a:pt x="210" y="362"/>
                      </a:lnTo>
                      <a:lnTo>
                        <a:pt x="209" y="359"/>
                      </a:lnTo>
                      <a:lnTo>
                        <a:pt x="209" y="359"/>
                      </a:lnTo>
                      <a:lnTo>
                        <a:pt x="207" y="355"/>
                      </a:lnTo>
                      <a:lnTo>
                        <a:pt x="207" y="354"/>
                      </a:lnTo>
                      <a:lnTo>
                        <a:pt x="209" y="352"/>
                      </a:lnTo>
                      <a:lnTo>
                        <a:pt x="210" y="350"/>
                      </a:lnTo>
                      <a:lnTo>
                        <a:pt x="217" y="348"/>
                      </a:lnTo>
                      <a:lnTo>
                        <a:pt x="222" y="345"/>
                      </a:lnTo>
                      <a:lnTo>
                        <a:pt x="222" y="345"/>
                      </a:lnTo>
                      <a:lnTo>
                        <a:pt x="226" y="343"/>
                      </a:lnTo>
                      <a:lnTo>
                        <a:pt x="228" y="343"/>
                      </a:lnTo>
                      <a:lnTo>
                        <a:pt x="231" y="348"/>
                      </a:lnTo>
                      <a:lnTo>
                        <a:pt x="233" y="352"/>
                      </a:lnTo>
                      <a:lnTo>
                        <a:pt x="235" y="354"/>
                      </a:lnTo>
                      <a:lnTo>
                        <a:pt x="238" y="354"/>
                      </a:lnTo>
                      <a:lnTo>
                        <a:pt x="238" y="354"/>
                      </a:lnTo>
                      <a:lnTo>
                        <a:pt x="243" y="350"/>
                      </a:lnTo>
                      <a:lnTo>
                        <a:pt x="247" y="345"/>
                      </a:lnTo>
                      <a:lnTo>
                        <a:pt x="250" y="343"/>
                      </a:lnTo>
                      <a:lnTo>
                        <a:pt x="254" y="341"/>
                      </a:lnTo>
                      <a:lnTo>
                        <a:pt x="254" y="341"/>
                      </a:lnTo>
                      <a:lnTo>
                        <a:pt x="256" y="343"/>
                      </a:lnTo>
                      <a:lnTo>
                        <a:pt x="257" y="343"/>
                      </a:lnTo>
                      <a:lnTo>
                        <a:pt x="259" y="340"/>
                      </a:lnTo>
                      <a:lnTo>
                        <a:pt x="259" y="340"/>
                      </a:lnTo>
                      <a:lnTo>
                        <a:pt x="259" y="334"/>
                      </a:lnTo>
                      <a:lnTo>
                        <a:pt x="261" y="329"/>
                      </a:lnTo>
                      <a:lnTo>
                        <a:pt x="264" y="321"/>
                      </a:lnTo>
                      <a:lnTo>
                        <a:pt x="264" y="317"/>
                      </a:lnTo>
                      <a:lnTo>
                        <a:pt x="264" y="312"/>
                      </a:lnTo>
                      <a:lnTo>
                        <a:pt x="264" y="308"/>
                      </a:lnTo>
                      <a:lnTo>
                        <a:pt x="259" y="305"/>
                      </a:lnTo>
                      <a:lnTo>
                        <a:pt x="259" y="305"/>
                      </a:lnTo>
                      <a:lnTo>
                        <a:pt x="252" y="296"/>
                      </a:lnTo>
                      <a:lnTo>
                        <a:pt x="249" y="291"/>
                      </a:lnTo>
                      <a:lnTo>
                        <a:pt x="249" y="289"/>
                      </a:lnTo>
                      <a:lnTo>
                        <a:pt x="249" y="287"/>
                      </a:lnTo>
                      <a:lnTo>
                        <a:pt x="254" y="286"/>
                      </a:lnTo>
                      <a:lnTo>
                        <a:pt x="254" y="286"/>
                      </a:lnTo>
                      <a:lnTo>
                        <a:pt x="257" y="282"/>
                      </a:lnTo>
                      <a:lnTo>
                        <a:pt x="259" y="280"/>
                      </a:lnTo>
                      <a:lnTo>
                        <a:pt x="257" y="279"/>
                      </a:lnTo>
                      <a:lnTo>
                        <a:pt x="254" y="279"/>
                      </a:lnTo>
                      <a:lnTo>
                        <a:pt x="254" y="279"/>
                      </a:lnTo>
                      <a:lnTo>
                        <a:pt x="252" y="279"/>
                      </a:lnTo>
                      <a:lnTo>
                        <a:pt x="250" y="277"/>
                      </a:lnTo>
                      <a:lnTo>
                        <a:pt x="245" y="270"/>
                      </a:lnTo>
                      <a:lnTo>
                        <a:pt x="240" y="263"/>
                      </a:lnTo>
                      <a:lnTo>
                        <a:pt x="236" y="261"/>
                      </a:lnTo>
                      <a:lnTo>
                        <a:pt x="235" y="261"/>
                      </a:lnTo>
                      <a:lnTo>
                        <a:pt x="235" y="261"/>
                      </a:lnTo>
                      <a:lnTo>
                        <a:pt x="231" y="261"/>
                      </a:lnTo>
                      <a:lnTo>
                        <a:pt x="229" y="260"/>
                      </a:lnTo>
                      <a:lnTo>
                        <a:pt x="226" y="247"/>
                      </a:lnTo>
                      <a:lnTo>
                        <a:pt x="222" y="233"/>
                      </a:lnTo>
                      <a:lnTo>
                        <a:pt x="219" y="228"/>
                      </a:lnTo>
                      <a:lnTo>
                        <a:pt x="216" y="226"/>
                      </a:lnTo>
                      <a:lnTo>
                        <a:pt x="216" y="226"/>
                      </a:lnTo>
                      <a:lnTo>
                        <a:pt x="209" y="223"/>
                      </a:lnTo>
                      <a:lnTo>
                        <a:pt x="202" y="214"/>
                      </a:lnTo>
                      <a:lnTo>
                        <a:pt x="195" y="204"/>
                      </a:lnTo>
                      <a:lnTo>
                        <a:pt x="191" y="193"/>
                      </a:lnTo>
                      <a:lnTo>
                        <a:pt x="191" y="193"/>
                      </a:lnTo>
                      <a:lnTo>
                        <a:pt x="188" y="186"/>
                      </a:lnTo>
                      <a:lnTo>
                        <a:pt x="184" y="185"/>
                      </a:lnTo>
                      <a:lnTo>
                        <a:pt x="181" y="183"/>
                      </a:lnTo>
                      <a:lnTo>
                        <a:pt x="177" y="179"/>
                      </a:lnTo>
                      <a:lnTo>
                        <a:pt x="177" y="179"/>
                      </a:lnTo>
                      <a:lnTo>
                        <a:pt x="175" y="174"/>
                      </a:lnTo>
                      <a:lnTo>
                        <a:pt x="177" y="171"/>
                      </a:lnTo>
                      <a:lnTo>
                        <a:pt x="177" y="169"/>
                      </a:lnTo>
                      <a:lnTo>
                        <a:pt x="177" y="166"/>
                      </a:lnTo>
                      <a:lnTo>
                        <a:pt x="177" y="166"/>
                      </a:lnTo>
                      <a:lnTo>
                        <a:pt x="174" y="162"/>
                      </a:lnTo>
                      <a:lnTo>
                        <a:pt x="167" y="160"/>
                      </a:lnTo>
                      <a:lnTo>
                        <a:pt x="156" y="157"/>
                      </a:lnTo>
                      <a:lnTo>
                        <a:pt x="146" y="150"/>
                      </a:lnTo>
                      <a:lnTo>
                        <a:pt x="146" y="150"/>
                      </a:lnTo>
                      <a:lnTo>
                        <a:pt x="139" y="143"/>
                      </a:lnTo>
                      <a:lnTo>
                        <a:pt x="135" y="139"/>
                      </a:lnTo>
                      <a:lnTo>
                        <a:pt x="134" y="136"/>
                      </a:lnTo>
                      <a:lnTo>
                        <a:pt x="135" y="134"/>
                      </a:lnTo>
                      <a:lnTo>
                        <a:pt x="137" y="131"/>
                      </a:lnTo>
                      <a:lnTo>
                        <a:pt x="139" y="129"/>
                      </a:lnTo>
                      <a:lnTo>
                        <a:pt x="139" y="127"/>
                      </a:lnTo>
                      <a:lnTo>
                        <a:pt x="139" y="127"/>
                      </a:lnTo>
                      <a:lnTo>
                        <a:pt x="137" y="122"/>
                      </a:lnTo>
                      <a:lnTo>
                        <a:pt x="139" y="120"/>
                      </a:lnTo>
                      <a:lnTo>
                        <a:pt x="148" y="122"/>
                      </a:lnTo>
                      <a:lnTo>
                        <a:pt x="156" y="124"/>
                      </a:lnTo>
                      <a:lnTo>
                        <a:pt x="160" y="122"/>
                      </a:lnTo>
                      <a:lnTo>
                        <a:pt x="162" y="119"/>
                      </a:lnTo>
                      <a:lnTo>
                        <a:pt x="162" y="119"/>
                      </a:lnTo>
                      <a:lnTo>
                        <a:pt x="163" y="115"/>
                      </a:lnTo>
                      <a:lnTo>
                        <a:pt x="165" y="112"/>
                      </a:lnTo>
                      <a:lnTo>
                        <a:pt x="168" y="108"/>
                      </a:lnTo>
                      <a:lnTo>
                        <a:pt x="170" y="106"/>
                      </a:lnTo>
                      <a:lnTo>
                        <a:pt x="172" y="105"/>
                      </a:lnTo>
                      <a:lnTo>
                        <a:pt x="170" y="101"/>
                      </a:lnTo>
                      <a:lnTo>
                        <a:pt x="170" y="101"/>
                      </a:lnTo>
                      <a:lnTo>
                        <a:pt x="167" y="99"/>
                      </a:lnTo>
                      <a:lnTo>
                        <a:pt x="163" y="99"/>
                      </a:lnTo>
                      <a:lnTo>
                        <a:pt x="162" y="99"/>
                      </a:lnTo>
                      <a:lnTo>
                        <a:pt x="160" y="96"/>
                      </a:lnTo>
                      <a:lnTo>
                        <a:pt x="160" y="96"/>
                      </a:lnTo>
                      <a:lnTo>
                        <a:pt x="160" y="92"/>
                      </a:lnTo>
                      <a:lnTo>
                        <a:pt x="158" y="91"/>
                      </a:lnTo>
                      <a:lnTo>
                        <a:pt x="153" y="91"/>
                      </a:lnTo>
                      <a:lnTo>
                        <a:pt x="151" y="89"/>
                      </a:lnTo>
                      <a:lnTo>
                        <a:pt x="153" y="87"/>
                      </a:lnTo>
                      <a:lnTo>
                        <a:pt x="153" y="87"/>
                      </a:lnTo>
                      <a:lnTo>
                        <a:pt x="158" y="82"/>
                      </a:lnTo>
                      <a:lnTo>
                        <a:pt x="160" y="79"/>
                      </a:lnTo>
                      <a:lnTo>
                        <a:pt x="156" y="77"/>
                      </a:lnTo>
                      <a:lnTo>
                        <a:pt x="151" y="72"/>
                      </a:lnTo>
                      <a:lnTo>
                        <a:pt x="151" y="72"/>
                      </a:lnTo>
                      <a:lnTo>
                        <a:pt x="142" y="68"/>
                      </a:lnTo>
                      <a:lnTo>
                        <a:pt x="137" y="65"/>
                      </a:lnTo>
                      <a:lnTo>
                        <a:pt x="135" y="65"/>
                      </a:lnTo>
                      <a:lnTo>
                        <a:pt x="134" y="65"/>
                      </a:lnTo>
                      <a:lnTo>
                        <a:pt x="130" y="70"/>
                      </a:lnTo>
                      <a:lnTo>
                        <a:pt x="130" y="70"/>
                      </a:lnTo>
                      <a:lnTo>
                        <a:pt x="128" y="75"/>
                      </a:lnTo>
                      <a:lnTo>
                        <a:pt x="127" y="77"/>
                      </a:lnTo>
                      <a:lnTo>
                        <a:pt x="123" y="77"/>
                      </a:lnTo>
                      <a:lnTo>
                        <a:pt x="121" y="77"/>
                      </a:lnTo>
                      <a:lnTo>
                        <a:pt x="116" y="72"/>
                      </a:lnTo>
                      <a:lnTo>
                        <a:pt x="115" y="72"/>
                      </a:lnTo>
                      <a:lnTo>
                        <a:pt x="111" y="72"/>
                      </a:lnTo>
                      <a:lnTo>
                        <a:pt x="111" y="72"/>
                      </a:lnTo>
                      <a:lnTo>
                        <a:pt x="108" y="72"/>
                      </a:lnTo>
                      <a:lnTo>
                        <a:pt x="106" y="70"/>
                      </a:lnTo>
                      <a:lnTo>
                        <a:pt x="102" y="66"/>
                      </a:lnTo>
                      <a:lnTo>
                        <a:pt x="101" y="61"/>
                      </a:lnTo>
                      <a:lnTo>
                        <a:pt x="97" y="56"/>
                      </a:lnTo>
                      <a:lnTo>
                        <a:pt x="97" y="56"/>
                      </a:lnTo>
                      <a:lnTo>
                        <a:pt x="97" y="52"/>
                      </a:lnTo>
                      <a:lnTo>
                        <a:pt x="99" y="49"/>
                      </a:lnTo>
                      <a:lnTo>
                        <a:pt x="99" y="47"/>
                      </a:lnTo>
                      <a:lnTo>
                        <a:pt x="99" y="45"/>
                      </a:lnTo>
                      <a:lnTo>
                        <a:pt x="99" y="45"/>
                      </a:lnTo>
                      <a:lnTo>
                        <a:pt x="97" y="44"/>
                      </a:lnTo>
                      <a:lnTo>
                        <a:pt x="99" y="42"/>
                      </a:lnTo>
                      <a:lnTo>
                        <a:pt x="101" y="38"/>
                      </a:lnTo>
                      <a:lnTo>
                        <a:pt x="102" y="35"/>
                      </a:lnTo>
                      <a:lnTo>
                        <a:pt x="101" y="33"/>
                      </a:lnTo>
                      <a:lnTo>
                        <a:pt x="101" y="33"/>
                      </a:lnTo>
                      <a:lnTo>
                        <a:pt x="101" y="33"/>
                      </a:lnTo>
                      <a:lnTo>
                        <a:pt x="97" y="31"/>
                      </a:lnTo>
                      <a:lnTo>
                        <a:pt x="95" y="30"/>
                      </a:lnTo>
                      <a:lnTo>
                        <a:pt x="95" y="28"/>
                      </a:lnTo>
                      <a:lnTo>
                        <a:pt x="92" y="31"/>
                      </a:lnTo>
                      <a:lnTo>
                        <a:pt x="92" y="31"/>
                      </a:lnTo>
                      <a:lnTo>
                        <a:pt x="90" y="35"/>
                      </a:lnTo>
                      <a:lnTo>
                        <a:pt x="88" y="30"/>
                      </a:lnTo>
                      <a:lnTo>
                        <a:pt x="83" y="19"/>
                      </a:lnTo>
                      <a:lnTo>
                        <a:pt x="78" y="12"/>
                      </a:lnTo>
                      <a:lnTo>
                        <a:pt x="71" y="4"/>
                      </a:lnTo>
                      <a:lnTo>
                        <a:pt x="71" y="4"/>
                      </a:lnTo>
                      <a:lnTo>
                        <a:pt x="62" y="0"/>
                      </a:lnTo>
                      <a:lnTo>
                        <a:pt x="59" y="2"/>
                      </a:lnTo>
                      <a:lnTo>
                        <a:pt x="55" y="2"/>
                      </a:lnTo>
                      <a:lnTo>
                        <a:pt x="52" y="5"/>
                      </a:lnTo>
                      <a:lnTo>
                        <a:pt x="52" y="9"/>
                      </a:lnTo>
                      <a:lnTo>
                        <a:pt x="52" y="12"/>
                      </a:lnTo>
                      <a:lnTo>
                        <a:pt x="54" y="19"/>
                      </a:lnTo>
                      <a:lnTo>
                        <a:pt x="54" y="19"/>
                      </a:lnTo>
                      <a:lnTo>
                        <a:pt x="59" y="33"/>
                      </a:lnTo>
                      <a:lnTo>
                        <a:pt x="59" y="40"/>
                      </a:lnTo>
                      <a:lnTo>
                        <a:pt x="57" y="44"/>
                      </a:lnTo>
                      <a:lnTo>
                        <a:pt x="57" y="47"/>
                      </a:lnTo>
                      <a:lnTo>
                        <a:pt x="57" y="47"/>
                      </a:lnTo>
                      <a:lnTo>
                        <a:pt x="61" y="54"/>
                      </a:lnTo>
                      <a:lnTo>
                        <a:pt x="59" y="56"/>
                      </a:lnTo>
                      <a:lnTo>
                        <a:pt x="57" y="58"/>
                      </a:lnTo>
                      <a:lnTo>
                        <a:pt x="54" y="54"/>
                      </a:lnTo>
                      <a:lnTo>
                        <a:pt x="54" y="54"/>
                      </a:lnTo>
                      <a:lnTo>
                        <a:pt x="50" y="52"/>
                      </a:lnTo>
                      <a:lnTo>
                        <a:pt x="48" y="54"/>
                      </a:lnTo>
                      <a:lnTo>
                        <a:pt x="43" y="56"/>
                      </a:lnTo>
                      <a:lnTo>
                        <a:pt x="41" y="56"/>
                      </a:lnTo>
                      <a:lnTo>
                        <a:pt x="40" y="54"/>
                      </a:lnTo>
                      <a:lnTo>
                        <a:pt x="38" y="49"/>
                      </a:lnTo>
                      <a:lnTo>
                        <a:pt x="36" y="42"/>
                      </a:lnTo>
                      <a:lnTo>
                        <a:pt x="36" y="42"/>
                      </a:lnTo>
                      <a:lnTo>
                        <a:pt x="31" y="45"/>
                      </a:lnTo>
                      <a:lnTo>
                        <a:pt x="24" y="47"/>
                      </a:lnTo>
                      <a:lnTo>
                        <a:pt x="19" y="51"/>
                      </a:lnTo>
                      <a:lnTo>
                        <a:pt x="17" y="54"/>
                      </a:lnTo>
                      <a:lnTo>
                        <a:pt x="15" y="59"/>
                      </a:lnTo>
                      <a:lnTo>
                        <a:pt x="15" y="59"/>
                      </a:lnTo>
                      <a:lnTo>
                        <a:pt x="14" y="66"/>
                      </a:lnTo>
                      <a:lnTo>
                        <a:pt x="12" y="70"/>
                      </a:lnTo>
                      <a:lnTo>
                        <a:pt x="8" y="73"/>
                      </a:lnTo>
                      <a:lnTo>
                        <a:pt x="5" y="75"/>
                      </a:lnTo>
                      <a:lnTo>
                        <a:pt x="3" y="79"/>
                      </a:lnTo>
                      <a:lnTo>
                        <a:pt x="1" y="82"/>
                      </a:lnTo>
                      <a:lnTo>
                        <a:pt x="0" y="91"/>
                      </a:lnTo>
                      <a:lnTo>
                        <a:pt x="0" y="9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4" name="Freeform 2021">
                  <a:extLst>
                    <a:ext uri="{FF2B5EF4-FFF2-40B4-BE49-F238E27FC236}">
                      <a16:creationId xmlns:a16="http://schemas.microsoft.com/office/drawing/2014/main" id="{C339A105-E7EC-58FF-83F7-68BE2D1B894D}"/>
                    </a:ext>
                  </a:extLst>
                </p:cNvPr>
                <p:cNvSpPr>
                  <a:spLocks/>
                </p:cNvSpPr>
                <p:nvPr/>
              </p:nvSpPr>
              <p:spPr bwMode="auto">
                <a:xfrm>
                  <a:off x="7600613" y="4016652"/>
                  <a:ext cx="149772" cy="146246"/>
                </a:xfrm>
                <a:custGeom>
                  <a:avLst/>
                  <a:gdLst/>
                  <a:ahLst/>
                  <a:cxnLst>
                    <a:cxn ang="0">
                      <a:pos x="180" y="15"/>
                    </a:cxn>
                    <a:cxn ang="0">
                      <a:pos x="180" y="28"/>
                    </a:cxn>
                    <a:cxn ang="0">
                      <a:pos x="185" y="43"/>
                    </a:cxn>
                    <a:cxn ang="0">
                      <a:pos x="185" y="61"/>
                    </a:cxn>
                    <a:cxn ang="0">
                      <a:pos x="183" y="78"/>
                    </a:cxn>
                    <a:cxn ang="0">
                      <a:pos x="183" y="101"/>
                    </a:cxn>
                    <a:cxn ang="0">
                      <a:pos x="174" y="102"/>
                    </a:cxn>
                    <a:cxn ang="0">
                      <a:pos x="159" y="115"/>
                    </a:cxn>
                    <a:cxn ang="0">
                      <a:pos x="146" y="116"/>
                    </a:cxn>
                    <a:cxn ang="0">
                      <a:pos x="146" y="129"/>
                    </a:cxn>
                    <a:cxn ang="0">
                      <a:pos x="136" y="123"/>
                    </a:cxn>
                    <a:cxn ang="0">
                      <a:pos x="126" y="130"/>
                    </a:cxn>
                    <a:cxn ang="0">
                      <a:pos x="127" y="142"/>
                    </a:cxn>
                    <a:cxn ang="0">
                      <a:pos x="136" y="156"/>
                    </a:cxn>
                    <a:cxn ang="0">
                      <a:pos x="133" y="165"/>
                    </a:cxn>
                    <a:cxn ang="0">
                      <a:pos x="124" y="160"/>
                    </a:cxn>
                    <a:cxn ang="0">
                      <a:pos x="108" y="162"/>
                    </a:cxn>
                    <a:cxn ang="0">
                      <a:pos x="99" y="158"/>
                    </a:cxn>
                    <a:cxn ang="0">
                      <a:pos x="98" y="170"/>
                    </a:cxn>
                    <a:cxn ang="0">
                      <a:pos x="82" y="177"/>
                    </a:cxn>
                    <a:cxn ang="0">
                      <a:pos x="72" y="179"/>
                    </a:cxn>
                    <a:cxn ang="0">
                      <a:pos x="58" y="174"/>
                    </a:cxn>
                    <a:cxn ang="0">
                      <a:pos x="52" y="176"/>
                    </a:cxn>
                    <a:cxn ang="0">
                      <a:pos x="45" y="176"/>
                    </a:cxn>
                    <a:cxn ang="0">
                      <a:pos x="51" y="162"/>
                    </a:cxn>
                    <a:cxn ang="0">
                      <a:pos x="44" y="151"/>
                    </a:cxn>
                    <a:cxn ang="0">
                      <a:pos x="40" y="158"/>
                    </a:cxn>
                    <a:cxn ang="0">
                      <a:pos x="35" y="162"/>
                    </a:cxn>
                    <a:cxn ang="0">
                      <a:pos x="28" y="155"/>
                    </a:cxn>
                    <a:cxn ang="0">
                      <a:pos x="28" y="137"/>
                    </a:cxn>
                    <a:cxn ang="0">
                      <a:pos x="18" y="113"/>
                    </a:cxn>
                    <a:cxn ang="0">
                      <a:pos x="14" y="90"/>
                    </a:cxn>
                    <a:cxn ang="0">
                      <a:pos x="7" y="71"/>
                    </a:cxn>
                    <a:cxn ang="0">
                      <a:pos x="0" y="48"/>
                    </a:cxn>
                    <a:cxn ang="0">
                      <a:pos x="9" y="45"/>
                    </a:cxn>
                    <a:cxn ang="0">
                      <a:pos x="11" y="41"/>
                    </a:cxn>
                    <a:cxn ang="0">
                      <a:pos x="23" y="19"/>
                    </a:cxn>
                    <a:cxn ang="0">
                      <a:pos x="65" y="10"/>
                    </a:cxn>
                    <a:cxn ang="0">
                      <a:pos x="92" y="10"/>
                    </a:cxn>
                    <a:cxn ang="0">
                      <a:pos x="99" y="17"/>
                    </a:cxn>
                    <a:cxn ang="0">
                      <a:pos x="108" y="22"/>
                    </a:cxn>
                    <a:cxn ang="0">
                      <a:pos x="120" y="22"/>
                    </a:cxn>
                    <a:cxn ang="0">
                      <a:pos x="129" y="31"/>
                    </a:cxn>
                    <a:cxn ang="0">
                      <a:pos x="136" y="26"/>
                    </a:cxn>
                    <a:cxn ang="0">
                      <a:pos x="131" y="15"/>
                    </a:cxn>
                    <a:cxn ang="0">
                      <a:pos x="141" y="8"/>
                    </a:cxn>
                    <a:cxn ang="0">
                      <a:pos x="152" y="3"/>
                    </a:cxn>
                    <a:cxn ang="0">
                      <a:pos x="162" y="14"/>
                    </a:cxn>
                    <a:cxn ang="0">
                      <a:pos x="174" y="3"/>
                    </a:cxn>
                    <a:cxn ang="0">
                      <a:pos x="181" y="3"/>
                    </a:cxn>
                  </a:cxnLst>
                  <a:rect l="0" t="0" r="r" b="b"/>
                  <a:pathLst>
                    <a:path w="187" h="182">
                      <a:moveTo>
                        <a:pt x="183" y="0"/>
                      </a:moveTo>
                      <a:lnTo>
                        <a:pt x="183" y="0"/>
                      </a:lnTo>
                      <a:lnTo>
                        <a:pt x="183" y="7"/>
                      </a:lnTo>
                      <a:lnTo>
                        <a:pt x="180" y="15"/>
                      </a:lnTo>
                      <a:lnTo>
                        <a:pt x="178" y="22"/>
                      </a:lnTo>
                      <a:lnTo>
                        <a:pt x="178" y="26"/>
                      </a:lnTo>
                      <a:lnTo>
                        <a:pt x="180" y="28"/>
                      </a:lnTo>
                      <a:lnTo>
                        <a:pt x="180" y="28"/>
                      </a:lnTo>
                      <a:lnTo>
                        <a:pt x="181" y="29"/>
                      </a:lnTo>
                      <a:lnTo>
                        <a:pt x="181" y="33"/>
                      </a:lnTo>
                      <a:lnTo>
                        <a:pt x="183" y="36"/>
                      </a:lnTo>
                      <a:lnTo>
                        <a:pt x="185" y="43"/>
                      </a:lnTo>
                      <a:lnTo>
                        <a:pt x="185" y="43"/>
                      </a:lnTo>
                      <a:lnTo>
                        <a:pt x="187" y="48"/>
                      </a:lnTo>
                      <a:lnTo>
                        <a:pt x="187" y="52"/>
                      </a:lnTo>
                      <a:lnTo>
                        <a:pt x="185" y="61"/>
                      </a:lnTo>
                      <a:lnTo>
                        <a:pt x="183" y="69"/>
                      </a:lnTo>
                      <a:lnTo>
                        <a:pt x="183" y="73"/>
                      </a:lnTo>
                      <a:lnTo>
                        <a:pt x="183" y="78"/>
                      </a:lnTo>
                      <a:lnTo>
                        <a:pt x="183" y="78"/>
                      </a:lnTo>
                      <a:lnTo>
                        <a:pt x="187" y="88"/>
                      </a:lnTo>
                      <a:lnTo>
                        <a:pt x="187" y="95"/>
                      </a:lnTo>
                      <a:lnTo>
                        <a:pt x="185" y="99"/>
                      </a:lnTo>
                      <a:lnTo>
                        <a:pt x="183" y="101"/>
                      </a:lnTo>
                      <a:lnTo>
                        <a:pt x="181" y="102"/>
                      </a:lnTo>
                      <a:lnTo>
                        <a:pt x="178" y="102"/>
                      </a:lnTo>
                      <a:lnTo>
                        <a:pt x="178" y="102"/>
                      </a:lnTo>
                      <a:lnTo>
                        <a:pt x="174" y="102"/>
                      </a:lnTo>
                      <a:lnTo>
                        <a:pt x="171" y="102"/>
                      </a:lnTo>
                      <a:lnTo>
                        <a:pt x="167" y="108"/>
                      </a:lnTo>
                      <a:lnTo>
                        <a:pt x="162" y="113"/>
                      </a:lnTo>
                      <a:lnTo>
                        <a:pt x="159" y="115"/>
                      </a:lnTo>
                      <a:lnTo>
                        <a:pt x="153" y="115"/>
                      </a:lnTo>
                      <a:lnTo>
                        <a:pt x="153" y="115"/>
                      </a:lnTo>
                      <a:lnTo>
                        <a:pt x="148" y="115"/>
                      </a:lnTo>
                      <a:lnTo>
                        <a:pt x="146" y="116"/>
                      </a:lnTo>
                      <a:lnTo>
                        <a:pt x="146" y="120"/>
                      </a:lnTo>
                      <a:lnTo>
                        <a:pt x="146" y="123"/>
                      </a:lnTo>
                      <a:lnTo>
                        <a:pt x="146" y="127"/>
                      </a:lnTo>
                      <a:lnTo>
                        <a:pt x="146" y="129"/>
                      </a:lnTo>
                      <a:lnTo>
                        <a:pt x="145" y="129"/>
                      </a:lnTo>
                      <a:lnTo>
                        <a:pt x="140" y="125"/>
                      </a:lnTo>
                      <a:lnTo>
                        <a:pt x="140" y="125"/>
                      </a:lnTo>
                      <a:lnTo>
                        <a:pt x="136" y="123"/>
                      </a:lnTo>
                      <a:lnTo>
                        <a:pt x="133" y="123"/>
                      </a:lnTo>
                      <a:lnTo>
                        <a:pt x="129" y="123"/>
                      </a:lnTo>
                      <a:lnTo>
                        <a:pt x="127" y="125"/>
                      </a:lnTo>
                      <a:lnTo>
                        <a:pt x="126" y="130"/>
                      </a:lnTo>
                      <a:lnTo>
                        <a:pt x="126" y="135"/>
                      </a:lnTo>
                      <a:lnTo>
                        <a:pt x="126" y="135"/>
                      </a:lnTo>
                      <a:lnTo>
                        <a:pt x="127" y="139"/>
                      </a:lnTo>
                      <a:lnTo>
                        <a:pt x="127" y="142"/>
                      </a:lnTo>
                      <a:lnTo>
                        <a:pt x="127" y="146"/>
                      </a:lnTo>
                      <a:lnTo>
                        <a:pt x="131" y="151"/>
                      </a:lnTo>
                      <a:lnTo>
                        <a:pt x="131" y="151"/>
                      </a:lnTo>
                      <a:lnTo>
                        <a:pt x="136" y="156"/>
                      </a:lnTo>
                      <a:lnTo>
                        <a:pt x="140" y="160"/>
                      </a:lnTo>
                      <a:lnTo>
                        <a:pt x="138" y="163"/>
                      </a:lnTo>
                      <a:lnTo>
                        <a:pt x="136" y="165"/>
                      </a:lnTo>
                      <a:lnTo>
                        <a:pt x="133" y="165"/>
                      </a:lnTo>
                      <a:lnTo>
                        <a:pt x="129" y="165"/>
                      </a:lnTo>
                      <a:lnTo>
                        <a:pt x="126" y="162"/>
                      </a:lnTo>
                      <a:lnTo>
                        <a:pt x="124" y="160"/>
                      </a:lnTo>
                      <a:lnTo>
                        <a:pt x="124" y="160"/>
                      </a:lnTo>
                      <a:lnTo>
                        <a:pt x="122" y="156"/>
                      </a:lnTo>
                      <a:lnTo>
                        <a:pt x="119" y="156"/>
                      </a:lnTo>
                      <a:lnTo>
                        <a:pt x="113" y="158"/>
                      </a:lnTo>
                      <a:lnTo>
                        <a:pt x="108" y="162"/>
                      </a:lnTo>
                      <a:lnTo>
                        <a:pt x="106" y="162"/>
                      </a:lnTo>
                      <a:lnTo>
                        <a:pt x="103" y="160"/>
                      </a:lnTo>
                      <a:lnTo>
                        <a:pt x="103" y="160"/>
                      </a:lnTo>
                      <a:lnTo>
                        <a:pt x="99" y="158"/>
                      </a:lnTo>
                      <a:lnTo>
                        <a:pt x="98" y="160"/>
                      </a:lnTo>
                      <a:lnTo>
                        <a:pt x="98" y="167"/>
                      </a:lnTo>
                      <a:lnTo>
                        <a:pt x="98" y="167"/>
                      </a:lnTo>
                      <a:lnTo>
                        <a:pt x="98" y="170"/>
                      </a:lnTo>
                      <a:lnTo>
                        <a:pt x="96" y="174"/>
                      </a:lnTo>
                      <a:lnTo>
                        <a:pt x="94" y="176"/>
                      </a:lnTo>
                      <a:lnTo>
                        <a:pt x="91" y="176"/>
                      </a:lnTo>
                      <a:lnTo>
                        <a:pt x="82" y="177"/>
                      </a:lnTo>
                      <a:lnTo>
                        <a:pt x="79" y="179"/>
                      </a:lnTo>
                      <a:lnTo>
                        <a:pt x="75" y="182"/>
                      </a:lnTo>
                      <a:lnTo>
                        <a:pt x="75" y="182"/>
                      </a:lnTo>
                      <a:lnTo>
                        <a:pt x="72" y="179"/>
                      </a:lnTo>
                      <a:lnTo>
                        <a:pt x="70" y="177"/>
                      </a:lnTo>
                      <a:lnTo>
                        <a:pt x="65" y="176"/>
                      </a:lnTo>
                      <a:lnTo>
                        <a:pt x="61" y="176"/>
                      </a:lnTo>
                      <a:lnTo>
                        <a:pt x="58" y="174"/>
                      </a:lnTo>
                      <a:lnTo>
                        <a:pt x="58" y="174"/>
                      </a:lnTo>
                      <a:lnTo>
                        <a:pt x="56" y="172"/>
                      </a:lnTo>
                      <a:lnTo>
                        <a:pt x="54" y="172"/>
                      </a:lnTo>
                      <a:lnTo>
                        <a:pt x="52" y="176"/>
                      </a:lnTo>
                      <a:lnTo>
                        <a:pt x="49" y="177"/>
                      </a:lnTo>
                      <a:lnTo>
                        <a:pt x="47" y="177"/>
                      </a:lnTo>
                      <a:lnTo>
                        <a:pt x="45" y="176"/>
                      </a:lnTo>
                      <a:lnTo>
                        <a:pt x="45" y="176"/>
                      </a:lnTo>
                      <a:lnTo>
                        <a:pt x="44" y="174"/>
                      </a:lnTo>
                      <a:lnTo>
                        <a:pt x="44" y="170"/>
                      </a:lnTo>
                      <a:lnTo>
                        <a:pt x="47" y="167"/>
                      </a:lnTo>
                      <a:lnTo>
                        <a:pt x="51" y="162"/>
                      </a:lnTo>
                      <a:lnTo>
                        <a:pt x="49" y="158"/>
                      </a:lnTo>
                      <a:lnTo>
                        <a:pt x="47" y="155"/>
                      </a:lnTo>
                      <a:lnTo>
                        <a:pt x="47" y="155"/>
                      </a:lnTo>
                      <a:lnTo>
                        <a:pt x="44" y="151"/>
                      </a:lnTo>
                      <a:lnTo>
                        <a:pt x="42" y="149"/>
                      </a:lnTo>
                      <a:lnTo>
                        <a:pt x="40" y="151"/>
                      </a:lnTo>
                      <a:lnTo>
                        <a:pt x="40" y="153"/>
                      </a:lnTo>
                      <a:lnTo>
                        <a:pt x="40" y="158"/>
                      </a:lnTo>
                      <a:lnTo>
                        <a:pt x="40" y="160"/>
                      </a:lnTo>
                      <a:lnTo>
                        <a:pt x="39" y="162"/>
                      </a:lnTo>
                      <a:lnTo>
                        <a:pt x="39" y="162"/>
                      </a:lnTo>
                      <a:lnTo>
                        <a:pt x="35" y="162"/>
                      </a:lnTo>
                      <a:lnTo>
                        <a:pt x="32" y="163"/>
                      </a:lnTo>
                      <a:lnTo>
                        <a:pt x="30" y="163"/>
                      </a:lnTo>
                      <a:lnTo>
                        <a:pt x="30" y="162"/>
                      </a:lnTo>
                      <a:lnTo>
                        <a:pt x="28" y="155"/>
                      </a:lnTo>
                      <a:lnTo>
                        <a:pt x="28" y="155"/>
                      </a:lnTo>
                      <a:lnTo>
                        <a:pt x="28" y="146"/>
                      </a:lnTo>
                      <a:lnTo>
                        <a:pt x="30" y="142"/>
                      </a:lnTo>
                      <a:lnTo>
                        <a:pt x="28" y="137"/>
                      </a:lnTo>
                      <a:lnTo>
                        <a:pt x="23" y="127"/>
                      </a:lnTo>
                      <a:lnTo>
                        <a:pt x="23" y="127"/>
                      </a:lnTo>
                      <a:lnTo>
                        <a:pt x="19" y="118"/>
                      </a:lnTo>
                      <a:lnTo>
                        <a:pt x="18" y="113"/>
                      </a:lnTo>
                      <a:lnTo>
                        <a:pt x="18" y="102"/>
                      </a:lnTo>
                      <a:lnTo>
                        <a:pt x="18" y="97"/>
                      </a:lnTo>
                      <a:lnTo>
                        <a:pt x="16" y="94"/>
                      </a:lnTo>
                      <a:lnTo>
                        <a:pt x="14" y="90"/>
                      </a:lnTo>
                      <a:lnTo>
                        <a:pt x="14" y="90"/>
                      </a:lnTo>
                      <a:lnTo>
                        <a:pt x="9" y="85"/>
                      </a:lnTo>
                      <a:lnTo>
                        <a:pt x="7" y="80"/>
                      </a:lnTo>
                      <a:lnTo>
                        <a:pt x="7" y="71"/>
                      </a:lnTo>
                      <a:lnTo>
                        <a:pt x="4" y="59"/>
                      </a:lnTo>
                      <a:lnTo>
                        <a:pt x="4" y="59"/>
                      </a:lnTo>
                      <a:lnTo>
                        <a:pt x="0" y="52"/>
                      </a:lnTo>
                      <a:lnTo>
                        <a:pt x="0" y="48"/>
                      </a:lnTo>
                      <a:lnTo>
                        <a:pt x="2" y="47"/>
                      </a:lnTo>
                      <a:lnTo>
                        <a:pt x="4" y="47"/>
                      </a:lnTo>
                      <a:lnTo>
                        <a:pt x="7" y="47"/>
                      </a:lnTo>
                      <a:lnTo>
                        <a:pt x="9" y="45"/>
                      </a:lnTo>
                      <a:lnTo>
                        <a:pt x="9" y="43"/>
                      </a:lnTo>
                      <a:lnTo>
                        <a:pt x="9" y="43"/>
                      </a:lnTo>
                      <a:lnTo>
                        <a:pt x="9" y="41"/>
                      </a:lnTo>
                      <a:lnTo>
                        <a:pt x="11" y="41"/>
                      </a:lnTo>
                      <a:lnTo>
                        <a:pt x="14" y="36"/>
                      </a:lnTo>
                      <a:lnTo>
                        <a:pt x="19" y="26"/>
                      </a:lnTo>
                      <a:lnTo>
                        <a:pt x="19" y="26"/>
                      </a:lnTo>
                      <a:lnTo>
                        <a:pt x="23" y="19"/>
                      </a:lnTo>
                      <a:lnTo>
                        <a:pt x="30" y="14"/>
                      </a:lnTo>
                      <a:lnTo>
                        <a:pt x="37" y="12"/>
                      </a:lnTo>
                      <a:lnTo>
                        <a:pt x="45" y="10"/>
                      </a:lnTo>
                      <a:lnTo>
                        <a:pt x="65" y="10"/>
                      </a:lnTo>
                      <a:lnTo>
                        <a:pt x="82" y="8"/>
                      </a:lnTo>
                      <a:lnTo>
                        <a:pt x="82" y="8"/>
                      </a:lnTo>
                      <a:lnTo>
                        <a:pt x="87" y="8"/>
                      </a:lnTo>
                      <a:lnTo>
                        <a:pt x="92" y="10"/>
                      </a:lnTo>
                      <a:lnTo>
                        <a:pt x="94" y="12"/>
                      </a:lnTo>
                      <a:lnTo>
                        <a:pt x="96" y="14"/>
                      </a:lnTo>
                      <a:lnTo>
                        <a:pt x="98" y="17"/>
                      </a:lnTo>
                      <a:lnTo>
                        <a:pt x="99" y="17"/>
                      </a:lnTo>
                      <a:lnTo>
                        <a:pt x="103" y="15"/>
                      </a:lnTo>
                      <a:lnTo>
                        <a:pt x="103" y="15"/>
                      </a:lnTo>
                      <a:lnTo>
                        <a:pt x="105" y="19"/>
                      </a:lnTo>
                      <a:lnTo>
                        <a:pt x="108" y="22"/>
                      </a:lnTo>
                      <a:lnTo>
                        <a:pt x="110" y="22"/>
                      </a:lnTo>
                      <a:lnTo>
                        <a:pt x="113" y="22"/>
                      </a:lnTo>
                      <a:lnTo>
                        <a:pt x="119" y="22"/>
                      </a:lnTo>
                      <a:lnTo>
                        <a:pt x="120" y="22"/>
                      </a:lnTo>
                      <a:lnTo>
                        <a:pt x="124" y="26"/>
                      </a:lnTo>
                      <a:lnTo>
                        <a:pt x="124" y="26"/>
                      </a:lnTo>
                      <a:lnTo>
                        <a:pt x="126" y="29"/>
                      </a:lnTo>
                      <a:lnTo>
                        <a:pt x="129" y="31"/>
                      </a:lnTo>
                      <a:lnTo>
                        <a:pt x="133" y="31"/>
                      </a:lnTo>
                      <a:lnTo>
                        <a:pt x="134" y="31"/>
                      </a:lnTo>
                      <a:lnTo>
                        <a:pt x="134" y="29"/>
                      </a:lnTo>
                      <a:lnTo>
                        <a:pt x="136" y="26"/>
                      </a:lnTo>
                      <a:lnTo>
                        <a:pt x="134" y="22"/>
                      </a:lnTo>
                      <a:lnTo>
                        <a:pt x="133" y="19"/>
                      </a:lnTo>
                      <a:lnTo>
                        <a:pt x="133" y="19"/>
                      </a:lnTo>
                      <a:lnTo>
                        <a:pt x="131" y="15"/>
                      </a:lnTo>
                      <a:lnTo>
                        <a:pt x="131" y="14"/>
                      </a:lnTo>
                      <a:lnTo>
                        <a:pt x="133" y="12"/>
                      </a:lnTo>
                      <a:lnTo>
                        <a:pt x="134" y="10"/>
                      </a:lnTo>
                      <a:lnTo>
                        <a:pt x="141" y="8"/>
                      </a:lnTo>
                      <a:lnTo>
                        <a:pt x="146" y="5"/>
                      </a:lnTo>
                      <a:lnTo>
                        <a:pt x="146" y="5"/>
                      </a:lnTo>
                      <a:lnTo>
                        <a:pt x="150" y="3"/>
                      </a:lnTo>
                      <a:lnTo>
                        <a:pt x="152" y="3"/>
                      </a:lnTo>
                      <a:lnTo>
                        <a:pt x="155" y="8"/>
                      </a:lnTo>
                      <a:lnTo>
                        <a:pt x="157" y="12"/>
                      </a:lnTo>
                      <a:lnTo>
                        <a:pt x="159" y="14"/>
                      </a:lnTo>
                      <a:lnTo>
                        <a:pt x="162" y="14"/>
                      </a:lnTo>
                      <a:lnTo>
                        <a:pt x="162" y="14"/>
                      </a:lnTo>
                      <a:lnTo>
                        <a:pt x="167" y="10"/>
                      </a:lnTo>
                      <a:lnTo>
                        <a:pt x="171" y="5"/>
                      </a:lnTo>
                      <a:lnTo>
                        <a:pt x="174" y="3"/>
                      </a:lnTo>
                      <a:lnTo>
                        <a:pt x="178" y="1"/>
                      </a:lnTo>
                      <a:lnTo>
                        <a:pt x="178" y="1"/>
                      </a:lnTo>
                      <a:lnTo>
                        <a:pt x="180" y="3"/>
                      </a:lnTo>
                      <a:lnTo>
                        <a:pt x="181" y="3"/>
                      </a:lnTo>
                      <a:lnTo>
                        <a:pt x="183" y="0"/>
                      </a:lnTo>
                      <a:lnTo>
                        <a:pt x="18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5" name="Freeform 2022">
                  <a:extLst>
                    <a:ext uri="{FF2B5EF4-FFF2-40B4-BE49-F238E27FC236}">
                      <a16:creationId xmlns:a16="http://schemas.microsoft.com/office/drawing/2014/main" id="{87F641D7-A646-54C5-AAF6-3041B245FE6E}"/>
                    </a:ext>
                  </a:extLst>
                </p:cNvPr>
                <p:cNvSpPr>
                  <a:spLocks/>
                </p:cNvSpPr>
                <p:nvPr/>
              </p:nvSpPr>
              <p:spPr bwMode="auto">
                <a:xfrm>
                  <a:off x="4932941" y="3202607"/>
                  <a:ext cx="116292" cy="262537"/>
                </a:xfrm>
                <a:custGeom>
                  <a:avLst/>
                  <a:gdLst/>
                  <a:ahLst/>
                  <a:cxnLst>
                    <a:cxn ang="0">
                      <a:pos x="38" y="22"/>
                    </a:cxn>
                    <a:cxn ang="0">
                      <a:pos x="24" y="36"/>
                    </a:cxn>
                    <a:cxn ang="0">
                      <a:pos x="26" y="40"/>
                    </a:cxn>
                    <a:cxn ang="0">
                      <a:pos x="27" y="54"/>
                    </a:cxn>
                    <a:cxn ang="0">
                      <a:pos x="27" y="80"/>
                    </a:cxn>
                    <a:cxn ang="0">
                      <a:pos x="33" y="102"/>
                    </a:cxn>
                    <a:cxn ang="0">
                      <a:pos x="27" y="115"/>
                    </a:cxn>
                    <a:cxn ang="0">
                      <a:pos x="26" y="123"/>
                    </a:cxn>
                    <a:cxn ang="0">
                      <a:pos x="5" y="146"/>
                    </a:cxn>
                    <a:cxn ang="0">
                      <a:pos x="0" y="156"/>
                    </a:cxn>
                    <a:cxn ang="0">
                      <a:pos x="12" y="184"/>
                    </a:cxn>
                    <a:cxn ang="0">
                      <a:pos x="27" y="212"/>
                    </a:cxn>
                    <a:cxn ang="0">
                      <a:pos x="38" y="229"/>
                    </a:cxn>
                    <a:cxn ang="0">
                      <a:pos x="57" y="247"/>
                    </a:cxn>
                    <a:cxn ang="0">
                      <a:pos x="73" y="327"/>
                    </a:cxn>
                    <a:cxn ang="0">
                      <a:pos x="87" y="316"/>
                    </a:cxn>
                    <a:cxn ang="0">
                      <a:pos x="97" y="297"/>
                    </a:cxn>
                    <a:cxn ang="0">
                      <a:pos x="92" y="266"/>
                    </a:cxn>
                    <a:cxn ang="0">
                      <a:pos x="97" y="259"/>
                    </a:cxn>
                    <a:cxn ang="0">
                      <a:pos x="137" y="229"/>
                    </a:cxn>
                    <a:cxn ang="0">
                      <a:pos x="142" y="226"/>
                    </a:cxn>
                    <a:cxn ang="0">
                      <a:pos x="139" y="210"/>
                    </a:cxn>
                    <a:cxn ang="0">
                      <a:pos x="144" y="195"/>
                    </a:cxn>
                    <a:cxn ang="0">
                      <a:pos x="128" y="179"/>
                    </a:cxn>
                    <a:cxn ang="0">
                      <a:pos x="125" y="172"/>
                    </a:cxn>
                    <a:cxn ang="0">
                      <a:pos x="118" y="172"/>
                    </a:cxn>
                    <a:cxn ang="0">
                      <a:pos x="109" y="170"/>
                    </a:cxn>
                    <a:cxn ang="0">
                      <a:pos x="94" y="165"/>
                    </a:cxn>
                    <a:cxn ang="0">
                      <a:pos x="88" y="153"/>
                    </a:cxn>
                    <a:cxn ang="0">
                      <a:pos x="111" y="123"/>
                    </a:cxn>
                    <a:cxn ang="0">
                      <a:pos x="128" y="101"/>
                    </a:cxn>
                    <a:cxn ang="0">
                      <a:pos x="127" y="95"/>
                    </a:cxn>
                    <a:cxn ang="0">
                      <a:pos x="125" y="83"/>
                    </a:cxn>
                    <a:cxn ang="0">
                      <a:pos x="120" y="74"/>
                    </a:cxn>
                    <a:cxn ang="0">
                      <a:pos x="109" y="68"/>
                    </a:cxn>
                    <a:cxn ang="0">
                      <a:pos x="102" y="52"/>
                    </a:cxn>
                    <a:cxn ang="0">
                      <a:pos x="107" y="41"/>
                    </a:cxn>
                    <a:cxn ang="0">
                      <a:pos x="123" y="29"/>
                    </a:cxn>
                    <a:cxn ang="0">
                      <a:pos x="127" y="14"/>
                    </a:cxn>
                    <a:cxn ang="0">
                      <a:pos x="121" y="12"/>
                    </a:cxn>
                    <a:cxn ang="0">
                      <a:pos x="104" y="26"/>
                    </a:cxn>
                    <a:cxn ang="0">
                      <a:pos x="99" y="26"/>
                    </a:cxn>
                    <a:cxn ang="0">
                      <a:pos x="95" y="7"/>
                    </a:cxn>
                    <a:cxn ang="0">
                      <a:pos x="88" y="1"/>
                    </a:cxn>
                    <a:cxn ang="0">
                      <a:pos x="64" y="1"/>
                    </a:cxn>
                    <a:cxn ang="0">
                      <a:pos x="45" y="17"/>
                    </a:cxn>
                    <a:cxn ang="0">
                      <a:pos x="40" y="19"/>
                    </a:cxn>
                  </a:cxnLst>
                  <a:rect l="0" t="0" r="r" b="b"/>
                  <a:pathLst>
                    <a:path w="144" h="327">
                      <a:moveTo>
                        <a:pt x="40" y="19"/>
                      </a:moveTo>
                      <a:lnTo>
                        <a:pt x="40" y="19"/>
                      </a:lnTo>
                      <a:lnTo>
                        <a:pt x="38" y="22"/>
                      </a:lnTo>
                      <a:lnTo>
                        <a:pt x="34" y="26"/>
                      </a:lnTo>
                      <a:lnTo>
                        <a:pt x="29" y="31"/>
                      </a:lnTo>
                      <a:lnTo>
                        <a:pt x="24" y="36"/>
                      </a:lnTo>
                      <a:lnTo>
                        <a:pt x="24" y="38"/>
                      </a:lnTo>
                      <a:lnTo>
                        <a:pt x="26" y="40"/>
                      </a:lnTo>
                      <a:lnTo>
                        <a:pt x="26" y="40"/>
                      </a:lnTo>
                      <a:lnTo>
                        <a:pt x="29" y="41"/>
                      </a:lnTo>
                      <a:lnTo>
                        <a:pt x="29" y="45"/>
                      </a:lnTo>
                      <a:lnTo>
                        <a:pt x="27" y="54"/>
                      </a:lnTo>
                      <a:lnTo>
                        <a:pt x="26" y="64"/>
                      </a:lnTo>
                      <a:lnTo>
                        <a:pt x="26" y="71"/>
                      </a:lnTo>
                      <a:lnTo>
                        <a:pt x="27" y="80"/>
                      </a:lnTo>
                      <a:lnTo>
                        <a:pt x="27" y="80"/>
                      </a:lnTo>
                      <a:lnTo>
                        <a:pt x="33" y="97"/>
                      </a:lnTo>
                      <a:lnTo>
                        <a:pt x="33" y="102"/>
                      </a:lnTo>
                      <a:lnTo>
                        <a:pt x="31" y="104"/>
                      </a:lnTo>
                      <a:lnTo>
                        <a:pt x="27" y="109"/>
                      </a:lnTo>
                      <a:lnTo>
                        <a:pt x="27" y="115"/>
                      </a:lnTo>
                      <a:lnTo>
                        <a:pt x="27" y="120"/>
                      </a:lnTo>
                      <a:lnTo>
                        <a:pt x="27" y="120"/>
                      </a:lnTo>
                      <a:lnTo>
                        <a:pt x="26" y="123"/>
                      </a:lnTo>
                      <a:lnTo>
                        <a:pt x="24" y="128"/>
                      </a:lnTo>
                      <a:lnTo>
                        <a:pt x="15" y="137"/>
                      </a:lnTo>
                      <a:lnTo>
                        <a:pt x="5" y="146"/>
                      </a:lnTo>
                      <a:lnTo>
                        <a:pt x="1" y="151"/>
                      </a:lnTo>
                      <a:lnTo>
                        <a:pt x="0" y="156"/>
                      </a:lnTo>
                      <a:lnTo>
                        <a:pt x="0" y="156"/>
                      </a:lnTo>
                      <a:lnTo>
                        <a:pt x="1" y="162"/>
                      </a:lnTo>
                      <a:lnTo>
                        <a:pt x="3" y="168"/>
                      </a:lnTo>
                      <a:lnTo>
                        <a:pt x="12" y="184"/>
                      </a:lnTo>
                      <a:lnTo>
                        <a:pt x="20" y="198"/>
                      </a:lnTo>
                      <a:lnTo>
                        <a:pt x="26" y="205"/>
                      </a:lnTo>
                      <a:lnTo>
                        <a:pt x="27" y="212"/>
                      </a:lnTo>
                      <a:lnTo>
                        <a:pt x="27" y="212"/>
                      </a:lnTo>
                      <a:lnTo>
                        <a:pt x="33" y="222"/>
                      </a:lnTo>
                      <a:lnTo>
                        <a:pt x="38" y="229"/>
                      </a:lnTo>
                      <a:lnTo>
                        <a:pt x="43" y="233"/>
                      </a:lnTo>
                      <a:lnTo>
                        <a:pt x="50" y="238"/>
                      </a:lnTo>
                      <a:lnTo>
                        <a:pt x="57" y="247"/>
                      </a:lnTo>
                      <a:lnTo>
                        <a:pt x="62" y="264"/>
                      </a:lnTo>
                      <a:lnTo>
                        <a:pt x="67" y="289"/>
                      </a:lnTo>
                      <a:lnTo>
                        <a:pt x="73" y="327"/>
                      </a:lnTo>
                      <a:lnTo>
                        <a:pt x="73" y="327"/>
                      </a:lnTo>
                      <a:lnTo>
                        <a:pt x="81" y="322"/>
                      </a:lnTo>
                      <a:lnTo>
                        <a:pt x="87" y="316"/>
                      </a:lnTo>
                      <a:lnTo>
                        <a:pt x="92" y="311"/>
                      </a:lnTo>
                      <a:lnTo>
                        <a:pt x="94" y="308"/>
                      </a:lnTo>
                      <a:lnTo>
                        <a:pt x="97" y="297"/>
                      </a:lnTo>
                      <a:lnTo>
                        <a:pt x="95" y="289"/>
                      </a:lnTo>
                      <a:lnTo>
                        <a:pt x="92" y="273"/>
                      </a:lnTo>
                      <a:lnTo>
                        <a:pt x="92" y="266"/>
                      </a:lnTo>
                      <a:lnTo>
                        <a:pt x="94" y="263"/>
                      </a:lnTo>
                      <a:lnTo>
                        <a:pt x="97" y="259"/>
                      </a:lnTo>
                      <a:lnTo>
                        <a:pt x="97" y="259"/>
                      </a:lnTo>
                      <a:lnTo>
                        <a:pt x="118" y="242"/>
                      </a:lnTo>
                      <a:lnTo>
                        <a:pt x="128" y="235"/>
                      </a:lnTo>
                      <a:lnTo>
                        <a:pt x="137" y="229"/>
                      </a:lnTo>
                      <a:lnTo>
                        <a:pt x="137" y="229"/>
                      </a:lnTo>
                      <a:lnTo>
                        <a:pt x="141" y="228"/>
                      </a:lnTo>
                      <a:lnTo>
                        <a:pt x="142" y="226"/>
                      </a:lnTo>
                      <a:lnTo>
                        <a:pt x="141" y="221"/>
                      </a:lnTo>
                      <a:lnTo>
                        <a:pt x="141" y="216"/>
                      </a:lnTo>
                      <a:lnTo>
                        <a:pt x="139" y="210"/>
                      </a:lnTo>
                      <a:lnTo>
                        <a:pt x="141" y="203"/>
                      </a:lnTo>
                      <a:lnTo>
                        <a:pt x="144" y="195"/>
                      </a:lnTo>
                      <a:lnTo>
                        <a:pt x="144" y="195"/>
                      </a:lnTo>
                      <a:lnTo>
                        <a:pt x="134" y="189"/>
                      </a:lnTo>
                      <a:lnTo>
                        <a:pt x="130" y="186"/>
                      </a:lnTo>
                      <a:lnTo>
                        <a:pt x="128" y="179"/>
                      </a:lnTo>
                      <a:lnTo>
                        <a:pt x="128" y="179"/>
                      </a:lnTo>
                      <a:lnTo>
                        <a:pt x="127" y="172"/>
                      </a:lnTo>
                      <a:lnTo>
                        <a:pt x="125" y="172"/>
                      </a:lnTo>
                      <a:lnTo>
                        <a:pt x="123" y="172"/>
                      </a:lnTo>
                      <a:lnTo>
                        <a:pt x="120" y="172"/>
                      </a:lnTo>
                      <a:lnTo>
                        <a:pt x="118" y="172"/>
                      </a:lnTo>
                      <a:lnTo>
                        <a:pt x="116" y="172"/>
                      </a:lnTo>
                      <a:lnTo>
                        <a:pt x="116" y="172"/>
                      </a:lnTo>
                      <a:lnTo>
                        <a:pt x="109" y="170"/>
                      </a:lnTo>
                      <a:lnTo>
                        <a:pt x="102" y="168"/>
                      </a:lnTo>
                      <a:lnTo>
                        <a:pt x="97" y="167"/>
                      </a:lnTo>
                      <a:lnTo>
                        <a:pt x="94" y="165"/>
                      </a:lnTo>
                      <a:lnTo>
                        <a:pt x="92" y="160"/>
                      </a:lnTo>
                      <a:lnTo>
                        <a:pt x="88" y="153"/>
                      </a:lnTo>
                      <a:lnTo>
                        <a:pt x="88" y="153"/>
                      </a:lnTo>
                      <a:lnTo>
                        <a:pt x="90" y="148"/>
                      </a:lnTo>
                      <a:lnTo>
                        <a:pt x="95" y="141"/>
                      </a:lnTo>
                      <a:lnTo>
                        <a:pt x="111" y="123"/>
                      </a:lnTo>
                      <a:lnTo>
                        <a:pt x="120" y="116"/>
                      </a:lnTo>
                      <a:lnTo>
                        <a:pt x="125" y="108"/>
                      </a:lnTo>
                      <a:lnTo>
                        <a:pt x="128" y="101"/>
                      </a:lnTo>
                      <a:lnTo>
                        <a:pt x="128" y="97"/>
                      </a:lnTo>
                      <a:lnTo>
                        <a:pt x="127" y="95"/>
                      </a:lnTo>
                      <a:lnTo>
                        <a:pt x="127" y="95"/>
                      </a:lnTo>
                      <a:lnTo>
                        <a:pt x="125" y="92"/>
                      </a:lnTo>
                      <a:lnTo>
                        <a:pt x="125" y="88"/>
                      </a:lnTo>
                      <a:lnTo>
                        <a:pt x="125" y="83"/>
                      </a:lnTo>
                      <a:lnTo>
                        <a:pt x="123" y="80"/>
                      </a:lnTo>
                      <a:lnTo>
                        <a:pt x="121" y="76"/>
                      </a:lnTo>
                      <a:lnTo>
                        <a:pt x="120" y="74"/>
                      </a:lnTo>
                      <a:lnTo>
                        <a:pt x="113" y="69"/>
                      </a:lnTo>
                      <a:lnTo>
                        <a:pt x="113" y="69"/>
                      </a:lnTo>
                      <a:lnTo>
                        <a:pt x="109" y="68"/>
                      </a:lnTo>
                      <a:lnTo>
                        <a:pt x="106" y="64"/>
                      </a:lnTo>
                      <a:lnTo>
                        <a:pt x="102" y="55"/>
                      </a:lnTo>
                      <a:lnTo>
                        <a:pt x="102" y="52"/>
                      </a:lnTo>
                      <a:lnTo>
                        <a:pt x="102" y="48"/>
                      </a:lnTo>
                      <a:lnTo>
                        <a:pt x="104" y="45"/>
                      </a:lnTo>
                      <a:lnTo>
                        <a:pt x="107" y="41"/>
                      </a:lnTo>
                      <a:lnTo>
                        <a:pt x="107" y="41"/>
                      </a:lnTo>
                      <a:lnTo>
                        <a:pt x="116" y="36"/>
                      </a:lnTo>
                      <a:lnTo>
                        <a:pt x="123" y="29"/>
                      </a:lnTo>
                      <a:lnTo>
                        <a:pt x="127" y="21"/>
                      </a:lnTo>
                      <a:lnTo>
                        <a:pt x="127" y="17"/>
                      </a:lnTo>
                      <a:lnTo>
                        <a:pt x="127" y="14"/>
                      </a:lnTo>
                      <a:lnTo>
                        <a:pt x="127" y="14"/>
                      </a:lnTo>
                      <a:lnTo>
                        <a:pt x="123" y="12"/>
                      </a:lnTo>
                      <a:lnTo>
                        <a:pt x="121" y="12"/>
                      </a:lnTo>
                      <a:lnTo>
                        <a:pt x="114" y="17"/>
                      </a:lnTo>
                      <a:lnTo>
                        <a:pt x="106" y="24"/>
                      </a:lnTo>
                      <a:lnTo>
                        <a:pt x="104" y="26"/>
                      </a:lnTo>
                      <a:lnTo>
                        <a:pt x="100" y="27"/>
                      </a:lnTo>
                      <a:lnTo>
                        <a:pt x="100" y="27"/>
                      </a:lnTo>
                      <a:lnTo>
                        <a:pt x="99" y="26"/>
                      </a:lnTo>
                      <a:lnTo>
                        <a:pt x="99" y="22"/>
                      </a:lnTo>
                      <a:lnTo>
                        <a:pt x="97" y="15"/>
                      </a:lnTo>
                      <a:lnTo>
                        <a:pt x="95" y="7"/>
                      </a:lnTo>
                      <a:lnTo>
                        <a:pt x="92" y="5"/>
                      </a:lnTo>
                      <a:lnTo>
                        <a:pt x="88" y="1"/>
                      </a:lnTo>
                      <a:lnTo>
                        <a:pt x="88" y="1"/>
                      </a:lnTo>
                      <a:lnTo>
                        <a:pt x="80" y="0"/>
                      </a:lnTo>
                      <a:lnTo>
                        <a:pt x="71" y="0"/>
                      </a:lnTo>
                      <a:lnTo>
                        <a:pt x="64" y="1"/>
                      </a:lnTo>
                      <a:lnTo>
                        <a:pt x="59" y="5"/>
                      </a:lnTo>
                      <a:lnTo>
                        <a:pt x="50" y="12"/>
                      </a:lnTo>
                      <a:lnTo>
                        <a:pt x="45" y="17"/>
                      </a:lnTo>
                      <a:lnTo>
                        <a:pt x="45" y="17"/>
                      </a:lnTo>
                      <a:lnTo>
                        <a:pt x="40" y="19"/>
                      </a:lnTo>
                      <a:lnTo>
                        <a:pt x="40" y="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6" name="Freeform 2023">
                  <a:extLst>
                    <a:ext uri="{FF2B5EF4-FFF2-40B4-BE49-F238E27FC236}">
                      <a16:creationId xmlns:a16="http://schemas.microsoft.com/office/drawing/2014/main" id="{B92C60E0-D29B-E07F-E63B-98BF12DEC17C}"/>
                    </a:ext>
                  </a:extLst>
                </p:cNvPr>
                <p:cNvSpPr>
                  <a:spLocks/>
                </p:cNvSpPr>
                <p:nvPr/>
              </p:nvSpPr>
              <p:spPr bwMode="auto">
                <a:xfrm>
                  <a:off x="5724080" y="3202607"/>
                  <a:ext cx="188535" cy="186772"/>
                </a:xfrm>
                <a:custGeom>
                  <a:avLst/>
                  <a:gdLst/>
                  <a:ahLst/>
                  <a:cxnLst>
                    <a:cxn ang="0">
                      <a:pos x="17" y="125"/>
                    </a:cxn>
                    <a:cxn ang="0">
                      <a:pos x="24" y="123"/>
                    </a:cxn>
                    <a:cxn ang="0">
                      <a:pos x="28" y="127"/>
                    </a:cxn>
                    <a:cxn ang="0">
                      <a:pos x="26" y="130"/>
                    </a:cxn>
                    <a:cxn ang="0">
                      <a:pos x="35" y="139"/>
                    </a:cxn>
                    <a:cxn ang="0">
                      <a:pos x="35" y="149"/>
                    </a:cxn>
                    <a:cxn ang="0">
                      <a:pos x="24" y="158"/>
                    </a:cxn>
                    <a:cxn ang="0">
                      <a:pos x="26" y="162"/>
                    </a:cxn>
                    <a:cxn ang="0">
                      <a:pos x="23" y="163"/>
                    </a:cxn>
                    <a:cxn ang="0">
                      <a:pos x="16" y="165"/>
                    </a:cxn>
                    <a:cxn ang="0">
                      <a:pos x="12" y="170"/>
                    </a:cxn>
                    <a:cxn ang="0">
                      <a:pos x="16" y="174"/>
                    </a:cxn>
                    <a:cxn ang="0">
                      <a:pos x="4" y="188"/>
                    </a:cxn>
                    <a:cxn ang="0">
                      <a:pos x="0" y="191"/>
                    </a:cxn>
                    <a:cxn ang="0">
                      <a:pos x="4" y="191"/>
                    </a:cxn>
                    <a:cxn ang="0">
                      <a:pos x="4" y="195"/>
                    </a:cxn>
                    <a:cxn ang="0">
                      <a:pos x="4" y="207"/>
                    </a:cxn>
                    <a:cxn ang="0">
                      <a:pos x="2" y="212"/>
                    </a:cxn>
                    <a:cxn ang="0">
                      <a:pos x="5" y="214"/>
                    </a:cxn>
                    <a:cxn ang="0">
                      <a:pos x="12" y="216"/>
                    </a:cxn>
                    <a:cxn ang="0">
                      <a:pos x="17" y="222"/>
                    </a:cxn>
                    <a:cxn ang="0">
                      <a:pos x="44" y="233"/>
                    </a:cxn>
                    <a:cxn ang="0">
                      <a:pos x="61" y="221"/>
                    </a:cxn>
                    <a:cxn ang="0">
                      <a:pos x="111" y="184"/>
                    </a:cxn>
                    <a:cxn ang="0">
                      <a:pos x="157" y="155"/>
                    </a:cxn>
                    <a:cxn ang="0">
                      <a:pos x="190" y="135"/>
                    </a:cxn>
                    <a:cxn ang="0">
                      <a:pos x="197" y="118"/>
                    </a:cxn>
                    <a:cxn ang="0">
                      <a:pos x="197" y="116"/>
                    </a:cxn>
                    <a:cxn ang="0">
                      <a:pos x="197" y="99"/>
                    </a:cxn>
                    <a:cxn ang="0">
                      <a:pos x="200" y="85"/>
                    </a:cxn>
                    <a:cxn ang="0">
                      <a:pos x="202" y="69"/>
                    </a:cxn>
                    <a:cxn ang="0">
                      <a:pos x="199" y="45"/>
                    </a:cxn>
                    <a:cxn ang="0">
                      <a:pos x="207" y="36"/>
                    </a:cxn>
                    <a:cxn ang="0">
                      <a:pos x="218" y="33"/>
                    </a:cxn>
                    <a:cxn ang="0">
                      <a:pos x="233" y="17"/>
                    </a:cxn>
                    <a:cxn ang="0">
                      <a:pos x="237" y="7"/>
                    </a:cxn>
                    <a:cxn ang="0">
                      <a:pos x="233" y="1"/>
                    </a:cxn>
                    <a:cxn ang="0">
                      <a:pos x="232" y="0"/>
                    </a:cxn>
                    <a:cxn ang="0">
                      <a:pos x="211" y="10"/>
                    </a:cxn>
                    <a:cxn ang="0">
                      <a:pos x="188" y="8"/>
                    </a:cxn>
                    <a:cxn ang="0">
                      <a:pos x="167" y="14"/>
                    </a:cxn>
                    <a:cxn ang="0">
                      <a:pos x="134" y="29"/>
                    </a:cxn>
                    <a:cxn ang="0">
                      <a:pos x="117" y="29"/>
                    </a:cxn>
                    <a:cxn ang="0">
                      <a:pos x="98" y="19"/>
                    </a:cxn>
                    <a:cxn ang="0">
                      <a:pos x="89" y="19"/>
                    </a:cxn>
                    <a:cxn ang="0">
                      <a:pos x="64" y="33"/>
                    </a:cxn>
                    <a:cxn ang="0">
                      <a:pos x="56" y="31"/>
                    </a:cxn>
                    <a:cxn ang="0">
                      <a:pos x="45" y="26"/>
                    </a:cxn>
                    <a:cxn ang="0">
                      <a:pos x="35" y="26"/>
                    </a:cxn>
                    <a:cxn ang="0">
                      <a:pos x="35" y="43"/>
                    </a:cxn>
                    <a:cxn ang="0">
                      <a:pos x="38" y="50"/>
                    </a:cxn>
                    <a:cxn ang="0">
                      <a:pos x="33" y="52"/>
                    </a:cxn>
                    <a:cxn ang="0">
                      <a:pos x="23" y="61"/>
                    </a:cxn>
                    <a:cxn ang="0">
                      <a:pos x="19" y="71"/>
                    </a:cxn>
                    <a:cxn ang="0">
                      <a:pos x="12" y="66"/>
                    </a:cxn>
                    <a:cxn ang="0">
                      <a:pos x="5" y="74"/>
                    </a:cxn>
                    <a:cxn ang="0">
                      <a:pos x="7" y="87"/>
                    </a:cxn>
                    <a:cxn ang="0">
                      <a:pos x="10" y="111"/>
                    </a:cxn>
                  </a:cxnLst>
                  <a:rect l="0" t="0" r="r" b="b"/>
                  <a:pathLst>
                    <a:path w="237" h="233">
                      <a:moveTo>
                        <a:pt x="12" y="123"/>
                      </a:moveTo>
                      <a:lnTo>
                        <a:pt x="12" y="123"/>
                      </a:lnTo>
                      <a:lnTo>
                        <a:pt x="17" y="125"/>
                      </a:lnTo>
                      <a:lnTo>
                        <a:pt x="21" y="125"/>
                      </a:lnTo>
                      <a:lnTo>
                        <a:pt x="21" y="125"/>
                      </a:lnTo>
                      <a:lnTo>
                        <a:pt x="24" y="123"/>
                      </a:lnTo>
                      <a:lnTo>
                        <a:pt x="26" y="123"/>
                      </a:lnTo>
                      <a:lnTo>
                        <a:pt x="26" y="123"/>
                      </a:lnTo>
                      <a:lnTo>
                        <a:pt x="28" y="127"/>
                      </a:lnTo>
                      <a:lnTo>
                        <a:pt x="28" y="128"/>
                      </a:lnTo>
                      <a:lnTo>
                        <a:pt x="26" y="128"/>
                      </a:lnTo>
                      <a:lnTo>
                        <a:pt x="26" y="130"/>
                      </a:lnTo>
                      <a:lnTo>
                        <a:pt x="26" y="130"/>
                      </a:lnTo>
                      <a:lnTo>
                        <a:pt x="31" y="135"/>
                      </a:lnTo>
                      <a:lnTo>
                        <a:pt x="35" y="139"/>
                      </a:lnTo>
                      <a:lnTo>
                        <a:pt x="37" y="146"/>
                      </a:lnTo>
                      <a:lnTo>
                        <a:pt x="37" y="146"/>
                      </a:lnTo>
                      <a:lnTo>
                        <a:pt x="35" y="149"/>
                      </a:lnTo>
                      <a:lnTo>
                        <a:pt x="30" y="151"/>
                      </a:lnTo>
                      <a:lnTo>
                        <a:pt x="26" y="155"/>
                      </a:lnTo>
                      <a:lnTo>
                        <a:pt x="24" y="158"/>
                      </a:lnTo>
                      <a:lnTo>
                        <a:pt x="24" y="158"/>
                      </a:lnTo>
                      <a:lnTo>
                        <a:pt x="26" y="160"/>
                      </a:lnTo>
                      <a:lnTo>
                        <a:pt x="26" y="162"/>
                      </a:lnTo>
                      <a:lnTo>
                        <a:pt x="28" y="163"/>
                      </a:lnTo>
                      <a:lnTo>
                        <a:pt x="28" y="163"/>
                      </a:lnTo>
                      <a:lnTo>
                        <a:pt x="23" y="163"/>
                      </a:lnTo>
                      <a:lnTo>
                        <a:pt x="17" y="163"/>
                      </a:lnTo>
                      <a:lnTo>
                        <a:pt x="17" y="163"/>
                      </a:lnTo>
                      <a:lnTo>
                        <a:pt x="16" y="165"/>
                      </a:lnTo>
                      <a:lnTo>
                        <a:pt x="12" y="168"/>
                      </a:lnTo>
                      <a:lnTo>
                        <a:pt x="12" y="168"/>
                      </a:lnTo>
                      <a:lnTo>
                        <a:pt x="12" y="170"/>
                      </a:lnTo>
                      <a:lnTo>
                        <a:pt x="14" y="172"/>
                      </a:lnTo>
                      <a:lnTo>
                        <a:pt x="16" y="174"/>
                      </a:lnTo>
                      <a:lnTo>
                        <a:pt x="16" y="174"/>
                      </a:lnTo>
                      <a:lnTo>
                        <a:pt x="16" y="174"/>
                      </a:lnTo>
                      <a:lnTo>
                        <a:pt x="9" y="182"/>
                      </a:lnTo>
                      <a:lnTo>
                        <a:pt x="4" y="188"/>
                      </a:lnTo>
                      <a:lnTo>
                        <a:pt x="0" y="189"/>
                      </a:lnTo>
                      <a:lnTo>
                        <a:pt x="0" y="189"/>
                      </a:lnTo>
                      <a:lnTo>
                        <a:pt x="0" y="191"/>
                      </a:lnTo>
                      <a:lnTo>
                        <a:pt x="2" y="191"/>
                      </a:lnTo>
                      <a:lnTo>
                        <a:pt x="2" y="191"/>
                      </a:lnTo>
                      <a:lnTo>
                        <a:pt x="4" y="191"/>
                      </a:lnTo>
                      <a:lnTo>
                        <a:pt x="4" y="191"/>
                      </a:lnTo>
                      <a:lnTo>
                        <a:pt x="4" y="195"/>
                      </a:lnTo>
                      <a:lnTo>
                        <a:pt x="4" y="195"/>
                      </a:lnTo>
                      <a:lnTo>
                        <a:pt x="4" y="196"/>
                      </a:lnTo>
                      <a:lnTo>
                        <a:pt x="4" y="200"/>
                      </a:lnTo>
                      <a:lnTo>
                        <a:pt x="4" y="207"/>
                      </a:lnTo>
                      <a:lnTo>
                        <a:pt x="4" y="207"/>
                      </a:lnTo>
                      <a:lnTo>
                        <a:pt x="4" y="209"/>
                      </a:lnTo>
                      <a:lnTo>
                        <a:pt x="2" y="212"/>
                      </a:lnTo>
                      <a:lnTo>
                        <a:pt x="2" y="212"/>
                      </a:lnTo>
                      <a:lnTo>
                        <a:pt x="4" y="214"/>
                      </a:lnTo>
                      <a:lnTo>
                        <a:pt x="5" y="214"/>
                      </a:lnTo>
                      <a:lnTo>
                        <a:pt x="9" y="214"/>
                      </a:lnTo>
                      <a:lnTo>
                        <a:pt x="12" y="216"/>
                      </a:lnTo>
                      <a:lnTo>
                        <a:pt x="12" y="216"/>
                      </a:lnTo>
                      <a:lnTo>
                        <a:pt x="14" y="219"/>
                      </a:lnTo>
                      <a:lnTo>
                        <a:pt x="17" y="222"/>
                      </a:lnTo>
                      <a:lnTo>
                        <a:pt x="17" y="222"/>
                      </a:lnTo>
                      <a:lnTo>
                        <a:pt x="30" y="229"/>
                      </a:lnTo>
                      <a:lnTo>
                        <a:pt x="37" y="233"/>
                      </a:lnTo>
                      <a:lnTo>
                        <a:pt x="44" y="233"/>
                      </a:lnTo>
                      <a:lnTo>
                        <a:pt x="44" y="233"/>
                      </a:lnTo>
                      <a:lnTo>
                        <a:pt x="51" y="228"/>
                      </a:lnTo>
                      <a:lnTo>
                        <a:pt x="61" y="221"/>
                      </a:lnTo>
                      <a:lnTo>
                        <a:pt x="80" y="205"/>
                      </a:lnTo>
                      <a:lnTo>
                        <a:pt x="80" y="205"/>
                      </a:lnTo>
                      <a:lnTo>
                        <a:pt x="111" y="184"/>
                      </a:lnTo>
                      <a:lnTo>
                        <a:pt x="111" y="184"/>
                      </a:lnTo>
                      <a:lnTo>
                        <a:pt x="157" y="155"/>
                      </a:lnTo>
                      <a:lnTo>
                        <a:pt x="157" y="155"/>
                      </a:lnTo>
                      <a:lnTo>
                        <a:pt x="174" y="146"/>
                      </a:lnTo>
                      <a:lnTo>
                        <a:pt x="183" y="141"/>
                      </a:lnTo>
                      <a:lnTo>
                        <a:pt x="190" y="135"/>
                      </a:lnTo>
                      <a:lnTo>
                        <a:pt x="190" y="135"/>
                      </a:lnTo>
                      <a:lnTo>
                        <a:pt x="193" y="127"/>
                      </a:lnTo>
                      <a:lnTo>
                        <a:pt x="197" y="118"/>
                      </a:lnTo>
                      <a:lnTo>
                        <a:pt x="197" y="118"/>
                      </a:lnTo>
                      <a:lnTo>
                        <a:pt x="197" y="116"/>
                      </a:lnTo>
                      <a:lnTo>
                        <a:pt x="197" y="116"/>
                      </a:lnTo>
                      <a:lnTo>
                        <a:pt x="197" y="113"/>
                      </a:lnTo>
                      <a:lnTo>
                        <a:pt x="197" y="113"/>
                      </a:lnTo>
                      <a:lnTo>
                        <a:pt x="197" y="99"/>
                      </a:lnTo>
                      <a:lnTo>
                        <a:pt x="197" y="99"/>
                      </a:lnTo>
                      <a:lnTo>
                        <a:pt x="199" y="92"/>
                      </a:lnTo>
                      <a:lnTo>
                        <a:pt x="200" y="85"/>
                      </a:lnTo>
                      <a:lnTo>
                        <a:pt x="202" y="76"/>
                      </a:lnTo>
                      <a:lnTo>
                        <a:pt x="202" y="69"/>
                      </a:lnTo>
                      <a:lnTo>
                        <a:pt x="202" y="69"/>
                      </a:lnTo>
                      <a:lnTo>
                        <a:pt x="199" y="57"/>
                      </a:lnTo>
                      <a:lnTo>
                        <a:pt x="199" y="52"/>
                      </a:lnTo>
                      <a:lnTo>
                        <a:pt x="199" y="45"/>
                      </a:lnTo>
                      <a:lnTo>
                        <a:pt x="199" y="45"/>
                      </a:lnTo>
                      <a:lnTo>
                        <a:pt x="202" y="40"/>
                      </a:lnTo>
                      <a:lnTo>
                        <a:pt x="207" y="36"/>
                      </a:lnTo>
                      <a:lnTo>
                        <a:pt x="212" y="36"/>
                      </a:lnTo>
                      <a:lnTo>
                        <a:pt x="218" y="33"/>
                      </a:lnTo>
                      <a:lnTo>
                        <a:pt x="218" y="33"/>
                      </a:lnTo>
                      <a:lnTo>
                        <a:pt x="223" y="29"/>
                      </a:lnTo>
                      <a:lnTo>
                        <a:pt x="228" y="24"/>
                      </a:lnTo>
                      <a:lnTo>
                        <a:pt x="233" y="17"/>
                      </a:lnTo>
                      <a:lnTo>
                        <a:pt x="237" y="10"/>
                      </a:lnTo>
                      <a:lnTo>
                        <a:pt x="237" y="10"/>
                      </a:lnTo>
                      <a:lnTo>
                        <a:pt x="237" y="7"/>
                      </a:lnTo>
                      <a:lnTo>
                        <a:pt x="237" y="3"/>
                      </a:lnTo>
                      <a:lnTo>
                        <a:pt x="237" y="3"/>
                      </a:lnTo>
                      <a:lnTo>
                        <a:pt x="233" y="1"/>
                      </a:lnTo>
                      <a:lnTo>
                        <a:pt x="233" y="0"/>
                      </a:lnTo>
                      <a:lnTo>
                        <a:pt x="232" y="0"/>
                      </a:lnTo>
                      <a:lnTo>
                        <a:pt x="232" y="0"/>
                      </a:lnTo>
                      <a:lnTo>
                        <a:pt x="223" y="7"/>
                      </a:lnTo>
                      <a:lnTo>
                        <a:pt x="211" y="10"/>
                      </a:lnTo>
                      <a:lnTo>
                        <a:pt x="211" y="10"/>
                      </a:lnTo>
                      <a:lnTo>
                        <a:pt x="204" y="10"/>
                      </a:lnTo>
                      <a:lnTo>
                        <a:pt x="197" y="10"/>
                      </a:lnTo>
                      <a:lnTo>
                        <a:pt x="188" y="8"/>
                      </a:lnTo>
                      <a:lnTo>
                        <a:pt x="181" y="10"/>
                      </a:lnTo>
                      <a:lnTo>
                        <a:pt x="181" y="10"/>
                      </a:lnTo>
                      <a:lnTo>
                        <a:pt x="167" y="14"/>
                      </a:lnTo>
                      <a:lnTo>
                        <a:pt x="155" y="21"/>
                      </a:lnTo>
                      <a:lnTo>
                        <a:pt x="141" y="27"/>
                      </a:lnTo>
                      <a:lnTo>
                        <a:pt x="134" y="29"/>
                      </a:lnTo>
                      <a:lnTo>
                        <a:pt x="125" y="31"/>
                      </a:lnTo>
                      <a:lnTo>
                        <a:pt x="125" y="31"/>
                      </a:lnTo>
                      <a:lnTo>
                        <a:pt x="117" y="29"/>
                      </a:lnTo>
                      <a:lnTo>
                        <a:pt x="110" y="27"/>
                      </a:lnTo>
                      <a:lnTo>
                        <a:pt x="104" y="22"/>
                      </a:lnTo>
                      <a:lnTo>
                        <a:pt x="98" y="19"/>
                      </a:lnTo>
                      <a:lnTo>
                        <a:pt x="98" y="19"/>
                      </a:lnTo>
                      <a:lnTo>
                        <a:pt x="94" y="19"/>
                      </a:lnTo>
                      <a:lnTo>
                        <a:pt x="89" y="19"/>
                      </a:lnTo>
                      <a:lnTo>
                        <a:pt x="80" y="24"/>
                      </a:lnTo>
                      <a:lnTo>
                        <a:pt x="71" y="29"/>
                      </a:lnTo>
                      <a:lnTo>
                        <a:pt x="64" y="33"/>
                      </a:lnTo>
                      <a:lnTo>
                        <a:pt x="64" y="33"/>
                      </a:lnTo>
                      <a:lnTo>
                        <a:pt x="59" y="31"/>
                      </a:lnTo>
                      <a:lnTo>
                        <a:pt x="56" y="31"/>
                      </a:lnTo>
                      <a:lnTo>
                        <a:pt x="54" y="31"/>
                      </a:lnTo>
                      <a:lnTo>
                        <a:pt x="54" y="31"/>
                      </a:lnTo>
                      <a:lnTo>
                        <a:pt x="45" y="26"/>
                      </a:lnTo>
                      <a:lnTo>
                        <a:pt x="37" y="22"/>
                      </a:lnTo>
                      <a:lnTo>
                        <a:pt x="37" y="22"/>
                      </a:lnTo>
                      <a:lnTo>
                        <a:pt x="35" y="26"/>
                      </a:lnTo>
                      <a:lnTo>
                        <a:pt x="33" y="33"/>
                      </a:lnTo>
                      <a:lnTo>
                        <a:pt x="35" y="43"/>
                      </a:lnTo>
                      <a:lnTo>
                        <a:pt x="35" y="43"/>
                      </a:lnTo>
                      <a:lnTo>
                        <a:pt x="37" y="47"/>
                      </a:lnTo>
                      <a:lnTo>
                        <a:pt x="38" y="48"/>
                      </a:lnTo>
                      <a:lnTo>
                        <a:pt x="38" y="50"/>
                      </a:lnTo>
                      <a:lnTo>
                        <a:pt x="38" y="50"/>
                      </a:lnTo>
                      <a:lnTo>
                        <a:pt x="37" y="52"/>
                      </a:lnTo>
                      <a:lnTo>
                        <a:pt x="33" y="52"/>
                      </a:lnTo>
                      <a:lnTo>
                        <a:pt x="28" y="52"/>
                      </a:lnTo>
                      <a:lnTo>
                        <a:pt x="28" y="52"/>
                      </a:lnTo>
                      <a:lnTo>
                        <a:pt x="23" y="61"/>
                      </a:lnTo>
                      <a:lnTo>
                        <a:pt x="21" y="68"/>
                      </a:lnTo>
                      <a:lnTo>
                        <a:pt x="19" y="71"/>
                      </a:lnTo>
                      <a:lnTo>
                        <a:pt x="19" y="71"/>
                      </a:lnTo>
                      <a:lnTo>
                        <a:pt x="17" y="69"/>
                      </a:lnTo>
                      <a:lnTo>
                        <a:pt x="16" y="68"/>
                      </a:lnTo>
                      <a:lnTo>
                        <a:pt x="12" y="66"/>
                      </a:lnTo>
                      <a:lnTo>
                        <a:pt x="12" y="66"/>
                      </a:lnTo>
                      <a:lnTo>
                        <a:pt x="9" y="69"/>
                      </a:lnTo>
                      <a:lnTo>
                        <a:pt x="5" y="74"/>
                      </a:lnTo>
                      <a:lnTo>
                        <a:pt x="4" y="80"/>
                      </a:lnTo>
                      <a:lnTo>
                        <a:pt x="7" y="87"/>
                      </a:lnTo>
                      <a:lnTo>
                        <a:pt x="7" y="87"/>
                      </a:lnTo>
                      <a:lnTo>
                        <a:pt x="10" y="94"/>
                      </a:lnTo>
                      <a:lnTo>
                        <a:pt x="10" y="101"/>
                      </a:lnTo>
                      <a:lnTo>
                        <a:pt x="10" y="111"/>
                      </a:lnTo>
                      <a:lnTo>
                        <a:pt x="12" y="123"/>
                      </a:lnTo>
                      <a:lnTo>
                        <a:pt x="12" y="12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7" name="Freeform 2024">
                  <a:extLst>
                    <a:ext uri="{FF2B5EF4-FFF2-40B4-BE49-F238E27FC236}">
                      <a16:creationId xmlns:a16="http://schemas.microsoft.com/office/drawing/2014/main" id="{C099FA25-15A7-1297-ECA7-3AC75DE3A565}"/>
                    </a:ext>
                  </a:extLst>
                </p:cNvPr>
                <p:cNvSpPr>
                  <a:spLocks/>
                </p:cNvSpPr>
                <p:nvPr/>
              </p:nvSpPr>
              <p:spPr bwMode="auto">
                <a:xfrm>
                  <a:off x="5748749" y="3900360"/>
                  <a:ext cx="185010" cy="193821"/>
                </a:xfrm>
                <a:custGeom>
                  <a:avLst/>
                  <a:gdLst/>
                  <a:ahLst/>
                  <a:cxnLst>
                    <a:cxn ang="0">
                      <a:pos x="13" y="162"/>
                    </a:cxn>
                    <a:cxn ang="0">
                      <a:pos x="25" y="155"/>
                    </a:cxn>
                    <a:cxn ang="0">
                      <a:pos x="30" y="154"/>
                    </a:cxn>
                    <a:cxn ang="0">
                      <a:pos x="37" y="164"/>
                    </a:cxn>
                    <a:cxn ang="0">
                      <a:pos x="44" y="159"/>
                    </a:cxn>
                    <a:cxn ang="0">
                      <a:pos x="51" y="140"/>
                    </a:cxn>
                    <a:cxn ang="0">
                      <a:pos x="58" y="141"/>
                    </a:cxn>
                    <a:cxn ang="0">
                      <a:pos x="73" y="155"/>
                    </a:cxn>
                    <a:cxn ang="0">
                      <a:pos x="89" y="148"/>
                    </a:cxn>
                    <a:cxn ang="0">
                      <a:pos x="96" y="150"/>
                    </a:cxn>
                    <a:cxn ang="0">
                      <a:pos x="105" y="152"/>
                    </a:cxn>
                    <a:cxn ang="0">
                      <a:pos x="115" y="152"/>
                    </a:cxn>
                    <a:cxn ang="0">
                      <a:pos x="141" y="162"/>
                    </a:cxn>
                    <a:cxn ang="0">
                      <a:pos x="152" y="168"/>
                    </a:cxn>
                    <a:cxn ang="0">
                      <a:pos x="171" y="192"/>
                    </a:cxn>
                    <a:cxn ang="0">
                      <a:pos x="183" y="204"/>
                    </a:cxn>
                    <a:cxn ang="0">
                      <a:pos x="197" y="227"/>
                    </a:cxn>
                    <a:cxn ang="0">
                      <a:pos x="208" y="237"/>
                    </a:cxn>
                    <a:cxn ang="0">
                      <a:pos x="216" y="241"/>
                    </a:cxn>
                    <a:cxn ang="0">
                      <a:pos x="227" y="235"/>
                    </a:cxn>
                    <a:cxn ang="0">
                      <a:pos x="230" y="225"/>
                    </a:cxn>
                    <a:cxn ang="0">
                      <a:pos x="216" y="215"/>
                    </a:cxn>
                    <a:cxn ang="0">
                      <a:pos x="211" y="208"/>
                    </a:cxn>
                    <a:cxn ang="0">
                      <a:pos x="206" y="197"/>
                    </a:cxn>
                    <a:cxn ang="0">
                      <a:pos x="199" y="188"/>
                    </a:cxn>
                    <a:cxn ang="0">
                      <a:pos x="195" y="183"/>
                    </a:cxn>
                    <a:cxn ang="0">
                      <a:pos x="187" y="178"/>
                    </a:cxn>
                    <a:cxn ang="0">
                      <a:pos x="178" y="169"/>
                    </a:cxn>
                    <a:cxn ang="0">
                      <a:pos x="168" y="150"/>
                    </a:cxn>
                    <a:cxn ang="0">
                      <a:pos x="159" y="145"/>
                    </a:cxn>
                    <a:cxn ang="0">
                      <a:pos x="152" y="143"/>
                    </a:cxn>
                    <a:cxn ang="0">
                      <a:pos x="145" y="133"/>
                    </a:cxn>
                    <a:cxn ang="0">
                      <a:pos x="138" y="134"/>
                    </a:cxn>
                    <a:cxn ang="0">
                      <a:pos x="129" y="128"/>
                    </a:cxn>
                    <a:cxn ang="0">
                      <a:pos x="121" y="110"/>
                    </a:cxn>
                    <a:cxn ang="0">
                      <a:pos x="117" y="114"/>
                    </a:cxn>
                    <a:cxn ang="0">
                      <a:pos x="115" y="128"/>
                    </a:cxn>
                    <a:cxn ang="0">
                      <a:pos x="112" y="121"/>
                    </a:cxn>
                    <a:cxn ang="0">
                      <a:pos x="101" y="98"/>
                    </a:cxn>
                    <a:cxn ang="0">
                      <a:pos x="93" y="51"/>
                    </a:cxn>
                    <a:cxn ang="0">
                      <a:pos x="82" y="11"/>
                    </a:cxn>
                    <a:cxn ang="0">
                      <a:pos x="68" y="11"/>
                    </a:cxn>
                    <a:cxn ang="0">
                      <a:pos x="53" y="25"/>
                    </a:cxn>
                    <a:cxn ang="0">
                      <a:pos x="39" y="32"/>
                    </a:cxn>
                    <a:cxn ang="0">
                      <a:pos x="30" y="44"/>
                    </a:cxn>
                    <a:cxn ang="0">
                      <a:pos x="20" y="40"/>
                    </a:cxn>
                    <a:cxn ang="0">
                      <a:pos x="18" y="53"/>
                    </a:cxn>
                    <a:cxn ang="0">
                      <a:pos x="16" y="77"/>
                    </a:cxn>
                    <a:cxn ang="0">
                      <a:pos x="2" y="122"/>
                    </a:cxn>
                    <a:cxn ang="0">
                      <a:pos x="0" y="131"/>
                    </a:cxn>
                    <a:cxn ang="0">
                      <a:pos x="4" y="161"/>
                    </a:cxn>
                  </a:cxnLst>
                  <a:rect l="0" t="0" r="r" b="b"/>
                  <a:pathLst>
                    <a:path w="232" h="242">
                      <a:moveTo>
                        <a:pt x="4" y="161"/>
                      </a:moveTo>
                      <a:lnTo>
                        <a:pt x="4" y="161"/>
                      </a:lnTo>
                      <a:lnTo>
                        <a:pt x="13" y="162"/>
                      </a:lnTo>
                      <a:lnTo>
                        <a:pt x="18" y="161"/>
                      </a:lnTo>
                      <a:lnTo>
                        <a:pt x="21" y="159"/>
                      </a:lnTo>
                      <a:lnTo>
                        <a:pt x="25" y="155"/>
                      </a:lnTo>
                      <a:lnTo>
                        <a:pt x="26" y="154"/>
                      </a:lnTo>
                      <a:lnTo>
                        <a:pt x="28" y="152"/>
                      </a:lnTo>
                      <a:lnTo>
                        <a:pt x="30" y="154"/>
                      </a:lnTo>
                      <a:lnTo>
                        <a:pt x="33" y="161"/>
                      </a:lnTo>
                      <a:lnTo>
                        <a:pt x="33" y="161"/>
                      </a:lnTo>
                      <a:lnTo>
                        <a:pt x="37" y="164"/>
                      </a:lnTo>
                      <a:lnTo>
                        <a:pt x="39" y="164"/>
                      </a:lnTo>
                      <a:lnTo>
                        <a:pt x="40" y="164"/>
                      </a:lnTo>
                      <a:lnTo>
                        <a:pt x="44" y="159"/>
                      </a:lnTo>
                      <a:lnTo>
                        <a:pt x="46" y="152"/>
                      </a:lnTo>
                      <a:lnTo>
                        <a:pt x="47" y="145"/>
                      </a:lnTo>
                      <a:lnTo>
                        <a:pt x="51" y="140"/>
                      </a:lnTo>
                      <a:lnTo>
                        <a:pt x="54" y="138"/>
                      </a:lnTo>
                      <a:lnTo>
                        <a:pt x="56" y="138"/>
                      </a:lnTo>
                      <a:lnTo>
                        <a:pt x="58" y="141"/>
                      </a:lnTo>
                      <a:lnTo>
                        <a:pt x="58" y="141"/>
                      </a:lnTo>
                      <a:lnTo>
                        <a:pt x="67" y="150"/>
                      </a:lnTo>
                      <a:lnTo>
                        <a:pt x="73" y="155"/>
                      </a:lnTo>
                      <a:lnTo>
                        <a:pt x="79" y="155"/>
                      </a:lnTo>
                      <a:lnTo>
                        <a:pt x="84" y="154"/>
                      </a:lnTo>
                      <a:lnTo>
                        <a:pt x="89" y="148"/>
                      </a:lnTo>
                      <a:lnTo>
                        <a:pt x="93" y="148"/>
                      </a:lnTo>
                      <a:lnTo>
                        <a:pt x="96" y="150"/>
                      </a:lnTo>
                      <a:lnTo>
                        <a:pt x="96" y="150"/>
                      </a:lnTo>
                      <a:lnTo>
                        <a:pt x="100" y="155"/>
                      </a:lnTo>
                      <a:lnTo>
                        <a:pt x="101" y="154"/>
                      </a:lnTo>
                      <a:lnTo>
                        <a:pt x="105" y="152"/>
                      </a:lnTo>
                      <a:lnTo>
                        <a:pt x="110" y="150"/>
                      </a:lnTo>
                      <a:lnTo>
                        <a:pt x="115" y="152"/>
                      </a:lnTo>
                      <a:lnTo>
                        <a:pt x="115" y="152"/>
                      </a:lnTo>
                      <a:lnTo>
                        <a:pt x="127" y="154"/>
                      </a:lnTo>
                      <a:lnTo>
                        <a:pt x="134" y="159"/>
                      </a:lnTo>
                      <a:lnTo>
                        <a:pt x="141" y="162"/>
                      </a:lnTo>
                      <a:lnTo>
                        <a:pt x="148" y="166"/>
                      </a:lnTo>
                      <a:lnTo>
                        <a:pt x="148" y="166"/>
                      </a:lnTo>
                      <a:lnTo>
                        <a:pt x="152" y="168"/>
                      </a:lnTo>
                      <a:lnTo>
                        <a:pt x="155" y="171"/>
                      </a:lnTo>
                      <a:lnTo>
                        <a:pt x="162" y="180"/>
                      </a:lnTo>
                      <a:lnTo>
                        <a:pt x="171" y="192"/>
                      </a:lnTo>
                      <a:lnTo>
                        <a:pt x="180" y="201"/>
                      </a:lnTo>
                      <a:lnTo>
                        <a:pt x="180" y="201"/>
                      </a:lnTo>
                      <a:lnTo>
                        <a:pt x="183" y="204"/>
                      </a:lnTo>
                      <a:lnTo>
                        <a:pt x="187" y="208"/>
                      </a:lnTo>
                      <a:lnTo>
                        <a:pt x="192" y="218"/>
                      </a:lnTo>
                      <a:lnTo>
                        <a:pt x="197" y="227"/>
                      </a:lnTo>
                      <a:lnTo>
                        <a:pt x="201" y="232"/>
                      </a:lnTo>
                      <a:lnTo>
                        <a:pt x="208" y="237"/>
                      </a:lnTo>
                      <a:lnTo>
                        <a:pt x="208" y="237"/>
                      </a:lnTo>
                      <a:lnTo>
                        <a:pt x="209" y="237"/>
                      </a:lnTo>
                      <a:lnTo>
                        <a:pt x="211" y="239"/>
                      </a:lnTo>
                      <a:lnTo>
                        <a:pt x="216" y="241"/>
                      </a:lnTo>
                      <a:lnTo>
                        <a:pt x="218" y="242"/>
                      </a:lnTo>
                      <a:lnTo>
                        <a:pt x="222" y="241"/>
                      </a:lnTo>
                      <a:lnTo>
                        <a:pt x="227" y="235"/>
                      </a:lnTo>
                      <a:lnTo>
                        <a:pt x="232" y="228"/>
                      </a:lnTo>
                      <a:lnTo>
                        <a:pt x="232" y="228"/>
                      </a:lnTo>
                      <a:lnTo>
                        <a:pt x="230" y="225"/>
                      </a:lnTo>
                      <a:lnTo>
                        <a:pt x="225" y="223"/>
                      </a:lnTo>
                      <a:lnTo>
                        <a:pt x="222" y="222"/>
                      </a:lnTo>
                      <a:lnTo>
                        <a:pt x="216" y="215"/>
                      </a:lnTo>
                      <a:lnTo>
                        <a:pt x="216" y="215"/>
                      </a:lnTo>
                      <a:lnTo>
                        <a:pt x="215" y="209"/>
                      </a:lnTo>
                      <a:lnTo>
                        <a:pt x="211" y="208"/>
                      </a:lnTo>
                      <a:lnTo>
                        <a:pt x="209" y="204"/>
                      </a:lnTo>
                      <a:lnTo>
                        <a:pt x="206" y="197"/>
                      </a:lnTo>
                      <a:lnTo>
                        <a:pt x="206" y="197"/>
                      </a:lnTo>
                      <a:lnTo>
                        <a:pt x="201" y="188"/>
                      </a:lnTo>
                      <a:lnTo>
                        <a:pt x="201" y="187"/>
                      </a:lnTo>
                      <a:lnTo>
                        <a:pt x="199" y="188"/>
                      </a:lnTo>
                      <a:lnTo>
                        <a:pt x="199" y="188"/>
                      </a:lnTo>
                      <a:lnTo>
                        <a:pt x="195" y="183"/>
                      </a:lnTo>
                      <a:lnTo>
                        <a:pt x="195" y="183"/>
                      </a:lnTo>
                      <a:lnTo>
                        <a:pt x="192" y="180"/>
                      </a:lnTo>
                      <a:lnTo>
                        <a:pt x="190" y="178"/>
                      </a:lnTo>
                      <a:lnTo>
                        <a:pt x="187" y="178"/>
                      </a:lnTo>
                      <a:lnTo>
                        <a:pt x="185" y="176"/>
                      </a:lnTo>
                      <a:lnTo>
                        <a:pt x="181" y="175"/>
                      </a:lnTo>
                      <a:lnTo>
                        <a:pt x="178" y="169"/>
                      </a:lnTo>
                      <a:lnTo>
                        <a:pt x="173" y="161"/>
                      </a:lnTo>
                      <a:lnTo>
                        <a:pt x="173" y="161"/>
                      </a:lnTo>
                      <a:lnTo>
                        <a:pt x="168" y="150"/>
                      </a:lnTo>
                      <a:lnTo>
                        <a:pt x="164" y="147"/>
                      </a:lnTo>
                      <a:lnTo>
                        <a:pt x="161" y="145"/>
                      </a:lnTo>
                      <a:lnTo>
                        <a:pt x="159" y="145"/>
                      </a:lnTo>
                      <a:lnTo>
                        <a:pt x="157" y="145"/>
                      </a:lnTo>
                      <a:lnTo>
                        <a:pt x="155" y="145"/>
                      </a:lnTo>
                      <a:lnTo>
                        <a:pt x="152" y="143"/>
                      </a:lnTo>
                      <a:lnTo>
                        <a:pt x="148" y="138"/>
                      </a:lnTo>
                      <a:lnTo>
                        <a:pt x="148" y="138"/>
                      </a:lnTo>
                      <a:lnTo>
                        <a:pt x="145" y="133"/>
                      </a:lnTo>
                      <a:lnTo>
                        <a:pt x="143" y="131"/>
                      </a:lnTo>
                      <a:lnTo>
                        <a:pt x="141" y="133"/>
                      </a:lnTo>
                      <a:lnTo>
                        <a:pt x="138" y="134"/>
                      </a:lnTo>
                      <a:lnTo>
                        <a:pt x="136" y="134"/>
                      </a:lnTo>
                      <a:lnTo>
                        <a:pt x="134" y="133"/>
                      </a:lnTo>
                      <a:lnTo>
                        <a:pt x="129" y="128"/>
                      </a:lnTo>
                      <a:lnTo>
                        <a:pt x="124" y="117"/>
                      </a:lnTo>
                      <a:lnTo>
                        <a:pt x="124" y="117"/>
                      </a:lnTo>
                      <a:lnTo>
                        <a:pt x="121" y="110"/>
                      </a:lnTo>
                      <a:lnTo>
                        <a:pt x="119" y="108"/>
                      </a:lnTo>
                      <a:lnTo>
                        <a:pt x="119" y="108"/>
                      </a:lnTo>
                      <a:lnTo>
                        <a:pt x="117" y="114"/>
                      </a:lnTo>
                      <a:lnTo>
                        <a:pt x="117" y="124"/>
                      </a:lnTo>
                      <a:lnTo>
                        <a:pt x="117" y="128"/>
                      </a:lnTo>
                      <a:lnTo>
                        <a:pt x="115" y="128"/>
                      </a:lnTo>
                      <a:lnTo>
                        <a:pt x="115" y="128"/>
                      </a:lnTo>
                      <a:lnTo>
                        <a:pt x="114" y="126"/>
                      </a:lnTo>
                      <a:lnTo>
                        <a:pt x="112" y="121"/>
                      </a:lnTo>
                      <a:lnTo>
                        <a:pt x="108" y="112"/>
                      </a:lnTo>
                      <a:lnTo>
                        <a:pt x="101" y="98"/>
                      </a:lnTo>
                      <a:lnTo>
                        <a:pt x="101" y="98"/>
                      </a:lnTo>
                      <a:lnTo>
                        <a:pt x="100" y="87"/>
                      </a:lnTo>
                      <a:lnTo>
                        <a:pt x="96" y="77"/>
                      </a:lnTo>
                      <a:lnTo>
                        <a:pt x="93" y="51"/>
                      </a:lnTo>
                      <a:lnTo>
                        <a:pt x="89" y="37"/>
                      </a:lnTo>
                      <a:lnTo>
                        <a:pt x="86" y="25"/>
                      </a:lnTo>
                      <a:lnTo>
                        <a:pt x="82" y="11"/>
                      </a:lnTo>
                      <a:lnTo>
                        <a:pt x="75" y="0"/>
                      </a:lnTo>
                      <a:lnTo>
                        <a:pt x="75" y="0"/>
                      </a:lnTo>
                      <a:lnTo>
                        <a:pt x="68" y="11"/>
                      </a:lnTo>
                      <a:lnTo>
                        <a:pt x="63" y="20"/>
                      </a:lnTo>
                      <a:lnTo>
                        <a:pt x="58" y="23"/>
                      </a:lnTo>
                      <a:lnTo>
                        <a:pt x="53" y="25"/>
                      </a:lnTo>
                      <a:lnTo>
                        <a:pt x="44" y="25"/>
                      </a:lnTo>
                      <a:lnTo>
                        <a:pt x="40" y="28"/>
                      </a:lnTo>
                      <a:lnTo>
                        <a:pt x="39" y="32"/>
                      </a:lnTo>
                      <a:lnTo>
                        <a:pt x="39" y="32"/>
                      </a:lnTo>
                      <a:lnTo>
                        <a:pt x="33" y="40"/>
                      </a:lnTo>
                      <a:lnTo>
                        <a:pt x="30" y="44"/>
                      </a:lnTo>
                      <a:lnTo>
                        <a:pt x="26" y="44"/>
                      </a:lnTo>
                      <a:lnTo>
                        <a:pt x="23" y="42"/>
                      </a:lnTo>
                      <a:lnTo>
                        <a:pt x="20" y="40"/>
                      </a:lnTo>
                      <a:lnTo>
                        <a:pt x="18" y="42"/>
                      </a:lnTo>
                      <a:lnTo>
                        <a:pt x="18" y="46"/>
                      </a:lnTo>
                      <a:lnTo>
                        <a:pt x="18" y="53"/>
                      </a:lnTo>
                      <a:lnTo>
                        <a:pt x="18" y="53"/>
                      </a:lnTo>
                      <a:lnTo>
                        <a:pt x="18" y="67"/>
                      </a:lnTo>
                      <a:lnTo>
                        <a:pt x="16" y="77"/>
                      </a:lnTo>
                      <a:lnTo>
                        <a:pt x="13" y="96"/>
                      </a:lnTo>
                      <a:lnTo>
                        <a:pt x="7" y="110"/>
                      </a:lnTo>
                      <a:lnTo>
                        <a:pt x="2" y="122"/>
                      </a:lnTo>
                      <a:lnTo>
                        <a:pt x="2" y="122"/>
                      </a:lnTo>
                      <a:lnTo>
                        <a:pt x="0" y="126"/>
                      </a:lnTo>
                      <a:lnTo>
                        <a:pt x="0" y="131"/>
                      </a:lnTo>
                      <a:lnTo>
                        <a:pt x="0" y="140"/>
                      </a:lnTo>
                      <a:lnTo>
                        <a:pt x="4" y="150"/>
                      </a:lnTo>
                      <a:lnTo>
                        <a:pt x="4" y="161"/>
                      </a:lnTo>
                      <a:lnTo>
                        <a:pt x="4" y="16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8" name="Freeform 2025">
                  <a:extLst>
                    <a:ext uri="{FF2B5EF4-FFF2-40B4-BE49-F238E27FC236}">
                      <a16:creationId xmlns:a16="http://schemas.microsoft.com/office/drawing/2014/main" id="{7FFC2D9E-131B-5067-0053-8DFC253CAD6D}"/>
                    </a:ext>
                  </a:extLst>
                </p:cNvPr>
                <p:cNvSpPr>
                  <a:spLocks/>
                </p:cNvSpPr>
                <p:nvPr/>
              </p:nvSpPr>
              <p:spPr bwMode="auto">
                <a:xfrm>
                  <a:off x="5554929" y="4372575"/>
                  <a:ext cx="151532" cy="193821"/>
                </a:xfrm>
                <a:custGeom>
                  <a:avLst/>
                  <a:gdLst/>
                  <a:ahLst/>
                  <a:cxnLst>
                    <a:cxn ang="0">
                      <a:pos x="44" y="31"/>
                    </a:cxn>
                    <a:cxn ang="0">
                      <a:pos x="38" y="66"/>
                    </a:cxn>
                    <a:cxn ang="0">
                      <a:pos x="40" y="75"/>
                    </a:cxn>
                    <a:cxn ang="0">
                      <a:pos x="51" y="81"/>
                    </a:cxn>
                    <a:cxn ang="0">
                      <a:pos x="56" y="85"/>
                    </a:cxn>
                    <a:cxn ang="0">
                      <a:pos x="56" y="95"/>
                    </a:cxn>
                    <a:cxn ang="0">
                      <a:pos x="38" y="115"/>
                    </a:cxn>
                    <a:cxn ang="0">
                      <a:pos x="24" y="128"/>
                    </a:cxn>
                    <a:cxn ang="0">
                      <a:pos x="14" y="148"/>
                    </a:cxn>
                    <a:cxn ang="0">
                      <a:pos x="7" y="174"/>
                    </a:cxn>
                    <a:cxn ang="0">
                      <a:pos x="0" y="236"/>
                    </a:cxn>
                    <a:cxn ang="0">
                      <a:pos x="5" y="235"/>
                    </a:cxn>
                    <a:cxn ang="0">
                      <a:pos x="9" y="235"/>
                    </a:cxn>
                    <a:cxn ang="0">
                      <a:pos x="11" y="240"/>
                    </a:cxn>
                    <a:cxn ang="0">
                      <a:pos x="14" y="240"/>
                    </a:cxn>
                    <a:cxn ang="0">
                      <a:pos x="17" y="236"/>
                    </a:cxn>
                    <a:cxn ang="0">
                      <a:pos x="26" y="226"/>
                    </a:cxn>
                    <a:cxn ang="0">
                      <a:pos x="30" y="223"/>
                    </a:cxn>
                    <a:cxn ang="0">
                      <a:pos x="87" y="221"/>
                    </a:cxn>
                    <a:cxn ang="0">
                      <a:pos x="152" y="221"/>
                    </a:cxn>
                    <a:cxn ang="0">
                      <a:pos x="153" y="175"/>
                    </a:cxn>
                    <a:cxn ang="0">
                      <a:pos x="157" y="156"/>
                    </a:cxn>
                    <a:cxn ang="0">
                      <a:pos x="171" y="139"/>
                    </a:cxn>
                    <a:cxn ang="0">
                      <a:pos x="178" y="128"/>
                    </a:cxn>
                    <a:cxn ang="0">
                      <a:pos x="188" y="108"/>
                    </a:cxn>
                    <a:cxn ang="0">
                      <a:pos x="188" y="87"/>
                    </a:cxn>
                    <a:cxn ang="0">
                      <a:pos x="183" y="68"/>
                    </a:cxn>
                    <a:cxn ang="0">
                      <a:pos x="178" y="59"/>
                    </a:cxn>
                    <a:cxn ang="0">
                      <a:pos x="171" y="45"/>
                    </a:cxn>
                    <a:cxn ang="0">
                      <a:pos x="167" y="26"/>
                    </a:cxn>
                    <a:cxn ang="0">
                      <a:pos x="162" y="10"/>
                    </a:cxn>
                    <a:cxn ang="0">
                      <a:pos x="153" y="0"/>
                    </a:cxn>
                    <a:cxn ang="0">
                      <a:pos x="138" y="19"/>
                    </a:cxn>
                    <a:cxn ang="0">
                      <a:pos x="131" y="21"/>
                    </a:cxn>
                    <a:cxn ang="0">
                      <a:pos x="125" y="19"/>
                    </a:cxn>
                    <a:cxn ang="0">
                      <a:pos x="122" y="15"/>
                    </a:cxn>
                    <a:cxn ang="0">
                      <a:pos x="115" y="14"/>
                    </a:cxn>
                    <a:cxn ang="0">
                      <a:pos x="105" y="19"/>
                    </a:cxn>
                    <a:cxn ang="0">
                      <a:pos x="92" y="29"/>
                    </a:cxn>
                    <a:cxn ang="0">
                      <a:pos x="85" y="28"/>
                    </a:cxn>
                    <a:cxn ang="0">
                      <a:pos x="78" y="17"/>
                    </a:cxn>
                    <a:cxn ang="0">
                      <a:pos x="73" y="21"/>
                    </a:cxn>
                    <a:cxn ang="0">
                      <a:pos x="70" y="24"/>
                    </a:cxn>
                    <a:cxn ang="0">
                      <a:pos x="59" y="19"/>
                    </a:cxn>
                    <a:cxn ang="0">
                      <a:pos x="52" y="17"/>
                    </a:cxn>
                    <a:cxn ang="0">
                      <a:pos x="44" y="31"/>
                    </a:cxn>
                  </a:cxnLst>
                  <a:rect l="0" t="0" r="r" b="b"/>
                  <a:pathLst>
                    <a:path w="188" h="240">
                      <a:moveTo>
                        <a:pt x="44" y="31"/>
                      </a:moveTo>
                      <a:lnTo>
                        <a:pt x="44" y="31"/>
                      </a:lnTo>
                      <a:lnTo>
                        <a:pt x="40" y="50"/>
                      </a:lnTo>
                      <a:lnTo>
                        <a:pt x="38" y="66"/>
                      </a:lnTo>
                      <a:lnTo>
                        <a:pt x="38" y="71"/>
                      </a:lnTo>
                      <a:lnTo>
                        <a:pt x="40" y="75"/>
                      </a:lnTo>
                      <a:lnTo>
                        <a:pt x="44" y="78"/>
                      </a:lnTo>
                      <a:lnTo>
                        <a:pt x="51" y="81"/>
                      </a:lnTo>
                      <a:lnTo>
                        <a:pt x="51" y="81"/>
                      </a:lnTo>
                      <a:lnTo>
                        <a:pt x="56" y="85"/>
                      </a:lnTo>
                      <a:lnTo>
                        <a:pt x="58" y="90"/>
                      </a:lnTo>
                      <a:lnTo>
                        <a:pt x="56" y="95"/>
                      </a:lnTo>
                      <a:lnTo>
                        <a:pt x="52" y="101"/>
                      </a:lnTo>
                      <a:lnTo>
                        <a:pt x="38" y="115"/>
                      </a:lnTo>
                      <a:lnTo>
                        <a:pt x="24" y="128"/>
                      </a:lnTo>
                      <a:lnTo>
                        <a:pt x="24" y="128"/>
                      </a:lnTo>
                      <a:lnTo>
                        <a:pt x="17" y="137"/>
                      </a:lnTo>
                      <a:lnTo>
                        <a:pt x="14" y="148"/>
                      </a:lnTo>
                      <a:lnTo>
                        <a:pt x="9" y="160"/>
                      </a:lnTo>
                      <a:lnTo>
                        <a:pt x="7" y="174"/>
                      </a:lnTo>
                      <a:lnTo>
                        <a:pt x="4" y="205"/>
                      </a:lnTo>
                      <a:lnTo>
                        <a:pt x="0" y="236"/>
                      </a:lnTo>
                      <a:lnTo>
                        <a:pt x="0" y="236"/>
                      </a:lnTo>
                      <a:lnTo>
                        <a:pt x="5" y="235"/>
                      </a:lnTo>
                      <a:lnTo>
                        <a:pt x="7" y="235"/>
                      </a:lnTo>
                      <a:lnTo>
                        <a:pt x="9" y="235"/>
                      </a:lnTo>
                      <a:lnTo>
                        <a:pt x="11" y="236"/>
                      </a:lnTo>
                      <a:lnTo>
                        <a:pt x="11" y="240"/>
                      </a:lnTo>
                      <a:lnTo>
                        <a:pt x="12" y="240"/>
                      </a:lnTo>
                      <a:lnTo>
                        <a:pt x="14" y="240"/>
                      </a:lnTo>
                      <a:lnTo>
                        <a:pt x="14" y="240"/>
                      </a:lnTo>
                      <a:lnTo>
                        <a:pt x="17" y="236"/>
                      </a:lnTo>
                      <a:lnTo>
                        <a:pt x="23" y="231"/>
                      </a:lnTo>
                      <a:lnTo>
                        <a:pt x="26" y="226"/>
                      </a:lnTo>
                      <a:lnTo>
                        <a:pt x="30" y="223"/>
                      </a:lnTo>
                      <a:lnTo>
                        <a:pt x="30" y="223"/>
                      </a:lnTo>
                      <a:lnTo>
                        <a:pt x="51" y="221"/>
                      </a:lnTo>
                      <a:lnTo>
                        <a:pt x="87" y="221"/>
                      </a:lnTo>
                      <a:lnTo>
                        <a:pt x="152" y="221"/>
                      </a:lnTo>
                      <a:lnTo>
                        <a:pt x="152" y="221"/>
                      </a:lnTo>
                      <a:lnTo>
                        <a:pt x="152" y="196"/>
                      </a:lnTo>
                      <a:lnTo>
                        <a:pt x="153" y="175"/>
                      </a:lnTo>
                      <a:lnTo>
                        <a:pt x="155" y="167"/>
                      </a:lnTo>
                      <a:lnTo>
                        <a:pt x="157" y="156"/>
                      </a:lnTo>
                      <a:lnTo>
                        <a:pt x="162" y="148"/>
                      </a:lnTo>
                      <a:lnTo>
                        <a:pt x="171" y="139"/>
                      </a:lnTo>
                      <a:lnTo>
                        <a:pt x="171" y="139"/>
                      </a:lnTo>
                      <a:lnTo>
                        <a:pt x="178" y="128"/>
                      </a:lnTo>
                      <a:lnTo>
                        <a:pt x="185" y="118"/>
                      </a:lnTo>
                      <a:lnTo>
                        <a:pt x="188" y="108"/>
                      </a:lnTo>
                      <a:lnTo>
                        <a:pt x="188" y="97"/>
                      </a:lnTo>
                      <a:lnTo>
                        <a:pt x="188" y="87"/>
                      </a:lnTo>
                      <a:lnTo>
                        <a:pt x="186" y="76"/>
                      </a:lnTo>
                      <a:lnTo>
                        <a:pt x="183" y="68"/>
                      </a:lnTo>
                      <a:lnTo>
                        <a:pt x="178" y="59"/>
                      </a:lnTo>
                      <a:lnTo>
                        <a:pt x="178" y="59"/>
                      </a:lnTo>
                      <a:lnTo>
                        <a:pt x="172" y="52"/>
                      </a:lnTo>
                      <a:lnTo>
                        <a:pt x="171" y="45"/>
                      </a:lnTo>
                      <a:lnTo>
                        <a:pt x="169" y="33"/>
                      </a:lnTo>
                      <a:lnTo>
                        <a:pt x="167" y="26"/>
                      </a:lnTo>
                      <a:lnTo>
                        <a:pt x="165" y="19"/>
                      </a:lnTo>
                      <a:lnTo>
                        <a:pt x="162" y="10"/>
                      </a:lnTo>
                      <a:lnTo>
                        <a:pt x="153" y="0"/>
                      </a:lnTo>
                      <a:lnTo>
                        <a:pt x="153" y="0"/>
                      </a:lnTo>
                      <a:lnTo>
                        <a:pt x="143" y="15"/>
                      </a:lnTo>
                      <a:lnTo>
                        <a:pt x="138" y="19"/>
                      </a:lnTo>
                      <a:lnTo>
                        <a:pt x="131" y="21"/>
                      </a:lnTo>
                      <a:lnTo>
                        <a:pt x="131" y="21"/>
                      </a:lnTo>
                      <a:lnTo>
                        <a:pt x="125" y="21"/>
                      </a:lnTo>
                      <a:lnTo>
                        <a:pt x="125" y="19"/>
                      </a:lnTo>
                      <a:lnTo>
                        <a:pt x="125" y="17"/>
                      </a:lnTo>
                      <a:lnTo>
                        <a:pt x="122" y="15"/>
                      </a:lnTo>
                      <a:lnTo>
                        <a:pt x="122" y="15"/>
                      </a:lnTo>
                      <a:lnTo>
                        <a:pt x="115" y="14"/>
                      </a:lnTo>
                      <a:lnTo>
                        <a:pt x="110" y="15"/>
                      </a:lnTo>
                      <a:lnTo>
                        <a:pt x="105" y="19"/>
                      </a:lnTo>
                      <a:lnTo>
                        <a:pt x="99" y="22"/>
                      </a:lnTo>
                      <a:lnTo>
                        <a:pt x="92" y="29"/>
                      </a:lnTo>
                      <a:lnTo>
                        <a:pt x="89" y="29"/>
                      </a:lnTo>
                      <a:lnTo>
                        <a:pt x="85" y="28"/>
                      </a:lnTo>
                      <a:lnTo>
                        <a:pt x="85" y="28"/>
                      </a:lnTo>
                      <a:lnTo>
                        <a:pt x="78" y="17"/>
                      </a:lnTo>
                      <a:lnTo>
                        <a:pt x="75" y="17"/>
                      </a:lnTo>
                      <a:lnTo>
                        <a:pt x="73" y="21"/>
                      </a:lnTo>
                      <a:lnTo>
                        <a:pt x="73" y="21"/>
                      </a:lnTo>
                      <a:lnTo>
                        <a:pt x="70" y="24"/>
                      </a:lnTo>
                      <a:lnTo>
                        <a:pt x="66" y="24"/>
                      </a:lnTo>
                      <a:lnTo>
                        <a:pt x="59" y="19"/>
                      </a:lnTo>
                      <a:lnTo>
                        <a:pt x="56" y="17"/>
                      </a:lnTo>
                      <a:lnTo>
                        <a:pt x="52" y="17"/>
                      </a:lnTo>
                      <a:lnTo>
                        <a:pt x="49" y="21"/>
                      </a:lnTo>
                      <a:lnTo>
                        <a:pt x="44" y="31"/>
                      </a:lnTo>
                      <a:lnTo>
                        <a:pt x="44" y="3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9" name="Freeform 2026">
                  <a:extLst>
                    <a:ext uri="{FF2B5EF4-FFF2-40B4-BE49-F238E27FC236}">
                      <a16:creationId xmlns:a16="http://schemas.microsoft.com/office/drawing/2014/main" id="{FF08F114-7126-9D28-0C1E-6FD2C9B245EC}"/>
                    </a:ext>
                  </a:extLst>
                </p:cNvPr>
                <p:cNvSpPr>
                  <a:spLocks/>
                </p:cNvSpPr>
                <p:nvPr/>
              </p:nvSpPr>
              <p:spPr bwMode="auto">
                <a:xfrm>
                  <a:off x="5643030" y="4835981"/>
                  <a:ext cx="89862" cy="267825"/>
                </a:xfrm>
                <a:custGeom>
                  <a:avLst/>
                  <a:gdLst/>
                  <a:ahLst/>
                  <a:cxnLst>
                    <a:cxn ang="0">
                      <a:pos x="26" y="212"/>
                    </a:cxn>
                    <a:cxn ang="0">
                      <a:pos x="36" y="217"/>
                    </a:cxn>
                    <a:cxn ang="0">
                      <a:pos x="52" y="216"/>
                    </a:cxn>
                    <a:cxn ang="0">
                      <a:pos x="64" y="224"/>
                    </a:cxn>
                    <a:cxn ang="0">
                      <a:pos x="64" y="247"/>
                    </a:cxn>
                    <a:cxn ang="0">
                      <a:pos x="54" y="270"/>
                    </a:cxn>
                    <a:cxn ang="0">
                      <a:pos x="55" y="285"/>
                    </a:cxn>
                    <a:cxn ang="0">
                      <a:pos x="73" y="308"/>
                    </a:cxn>
                    <a:cxn ang="0">
                      <a:pos x="83" y="330"/>
                    </a:cxn>
                    <a:cxn ang="0">
                      <a:pos x="87" y="332"/>
                    </a:cxn>
                    <a:cxn ang="0">
                      <a:pos x="85" y="310"/>
                    </a:cxn>
                    <a:cxn ang="0">
                      <a:pos x="85" y="303"/>
                    </a:cxn>
                    <a:cxn ang="0">
                      <a:pos x="101" y="287"/>
                    </a:cxn>
                    <a:cxn ang="0">
                      <a:pos x="104" y="285"/>
                    </a:cxn>
                    <a:cxn ang="0">
                      <a:pos x="108" y="256"/>
                    </a:cxn>
                    <a:cxn ang="0">
                      <a:pos x="111" y="230"/>
                    </a:cxn>
                    <a:cxn ang="0">
                      <a:pos x="104" y="210"/>
                    </a:cxn>
                    <a:cxn ang="0">
                      <a:pos x="83" y="188"/>
                    </a:cxn>
                    <a:cxn ang="0">
                      <a:pos x="64" y="165"/>
                    </a:cxn>
                    <a:cxn ang="0">
                      <a:pos x="59" y="132"/>
                    </a:cxn>
                    <a:cxn ang="0">
                      <a:pos x="62" y="109"/>
                    </a:cxn>
                    <a:cxn ang="0">
                      <a:pos x="64" y="102"/>
                    </a:cxn>
                    <a:cxn ang="0">
                      <a:pos x="66" y="92"/>
                    </a:cxn>
                    <a:cxn ang="0">
                      <a:pos x="64" y="83"/>
                    </a:cxn>
                    <a:cxn ang="0">
                      <a:pos x="62" y="57"/>
                    </a:cxn>
                    <a:cxn ang="0">
                      <a:pos x="61" y="45"/>
                    </a:cxn>
                    <a:cxn ang="0">
                      <a:pos x="47" y="14"/>
                    </a:cxn>
                    <a:cxn ang="0">
                      <a:pos x="21" y="3"/>
                    </a:cxn>
                    <a:cxn ang="0">
                      <a:pos x="8" y="7"/>
                    </a:cxn>
                    <a:cxn ang="0">
                      <a:pos x="14" y="8"/>
                    </a:cxn>
                    <a:cxn ang="0">
                      <a:pos x="17" y="12"/>
                    </a:cxn>
                    <a:cxn ang="0">
                      <a:pos x="21" y="26"/>
                    </a:cxn>
                    <a:cxn ang="0">
                      <a:pos x="29" y="40"/>
                    </a:cxn>
                    <a:cxn ang="0">
                      <a:pos x="31" y="52"/>
                    </a:cxn>
                    <a:cxn ang="0">
                      <a:pos x="22" y="61"/>
                    </a:cxn>
                    <a:cxn ang="0">
                      <a:pos x="22" y="75"/>
                    </a:cxn>
                    <a:cxn ang="0">
                      <a:pos x="19" y="82"/>
                    </a:cxn>
                    <a:cxn ang="0">
                      <a:pos x="17" y="92"/>
                    </a:cxn>
                    <a:cxn ang="0">
                      <a:pos x="19" y="108"/>
                    </a:cxn>
                    <a:cxn ang="0">
                      <a:pos x="19" y="120"/>
                    </a:cxn>
                    <a:cxn ang="0">
                      <a:pos x="24" y="134"/>
                    </a:cxn>
                    <a:cxn ang="0">
                      <a:pos x="17" y="135"/>
                    </a:cxn>
                    <a:cxn ang="0">
                      <a:pos x="7" y="144"/>
                    </a:cxn>
                    <a:cxn ang="0">
                      <a:pos x="7" y="169"/>
                    </a:cxn>
                    <a:cxn ang="0">
                      <a:pos x="2" y="177"/>
                    </a:cxn>
                    <a:cxn ang="0">
                      <a:pos x="3" y="186"/>
                    </a:cxn>
                  </a:cxnLst>
                  <a:rect l="0" t="0" r="r" b="b"/>
                  <a:pathLst>
                    <a:path w="111" h="332">
                      <a:moveTo>
                        <a:pt x="17" y="196"/>
                      </a:moveTo>
                      <a:lnTo>
                        <a:pt x="17" y="196"/>
                      </a:lnTo>
                      <a:lnTo>
                        <a:pt x="26" y="212"/>
                      </a:lnTo>
                      <a:lnTo>
                        <a:pt x="29" y="217"/>
                      </a:lnTo>
                      <a:lnTo>
                        <a:pt x="33" y="219"/>
                      </a:lnTo>
                      <a:lnTo>
                        <a:pt x="36" y="217"/>
                      </a:lnTo>
                      <a:lnTo>
                        <a:pt x="36" y="217"/>
                      </a:lnTo>
                      <a:lnTo>
                        <a:pt x="45" y="216"/>
                      </a:lnTo>
                      <a:lnTo>
                        <a:pt x="52" y="216"/>
                      </a:lnTo>
                      <a:lnTo>
                        <a:pt x="57" y="217"/>
                      </a:lnTo>
                      <a:lnTo>
                        <a:pt x="62" y="219"/>
                      </a:lnTo>
                      <a:lnTo>
                        <a:pt x="64" y="224"/>
                      </a:lnTo>
                      <a:lnTo>
                        <a:pt x="66" y="230"/>
                      </a:lnTo>
                      <a:lnTo>
                        <a:pt x="64" y="247"/>
                      </a:lnTo>
                      <a:lnTo>
                        <a:pt x="64" y="247"/>
                      </a:lnTo>
                      <a:lnTo>
                        <a:pt x="62" y="256"/>
                      </a:lnTo>
                      <a:lnTo>
                        <a:pt x="61" y="261"/>
                      </a:lnTo>
                      <a:lnTo>
                        <a:pt x="54" y="270"/>
                      </a:lnTo>
                      <a:lnTo>
                        <a:pt x="52" y="275"/>
                      </a:lnTo>
                      <a:lnTo>
                        <a:pt x="52" y="278"/>
                      </a:lnTo>
                      <a:lnTo>
                        <a:pt x="55" y="285"/>
                      </a:lnTo>
                      <a:lnTo>
                        <a:pt x="61" y="292"/>
                      </a:lnTo>
                      <a:lnTo>
                        <a:pt x="61" y="292"/>
                      </a:lnTo>
                      <a:lnTo>
                        <a:pt x="73" y="308"/>
                      </a:lnTo>
                      <a:lnTo>
                        <a:pt x="78" y="320"/>
                      </a:lnTo>
                      <a:lnTo>
                        <a:pt x="82" y="327"/>
                      </a:lnTo>
                      <a:lnTo>
                        <a:pt x="83" y="330"/>
                      </a:lnTo>
                      <a:lnTo>
                        <a:pt x="83" y="330"/>
                      </a:lnTo>
                      <a:lnTo>
                        <a:pt x="85" y="332"/>
                      </a:lnTo>
                      <a:lnTo>
                        <a:pt x="87" y="332"/>
                      </a:lnTo>
                      <a:lnTo>
                        <a:pt x="89" y="327"/>
                      </a:lnTo>
                      <a:lnTo>
                        <a:pt x="89" y="318"/>
                      </a:lnTo>
                      <a:lnTo>
                        <a:pt x="85" y="310"/>
                      </a:lnTo>
                      <a:lnTo>
                        <a:pt x="85" y="310"/>
                      </a:lnTo>
                      <a:lnTo>
                        <a:pt x="83" y="306"/>
                      </a:lnTo>
                      <a:lnTo>
                        <a:pt x="85" y="303"/>
                      </a:lnTo>
                      <a:lnTo>
                        <a:pt x="89" y="296"/>
                      </a:lnTo>
                      <a:lnTo>
                        <a:pt x="94" y="290"/>
                      </a:lnTo>
                      <a:lnTo>
                        <a:pt x="101" y="287"/>
                      </a:lnTo>
                      <a:lnTo>
                        <a:pt x="101" y="287"/>
                      </a:lnTo>
                      <a:lnTo>
                        <a:pt x="103" y="287"/>
                      </a:lnTo>
                      <a:lnTo>
                        <a:pt x="104" y="285"/>
                      </a:lnTo>
                      <a:lnTo>
                        <a:pt x="108" y="278"/>
                      </a:lnTo>
                      <a:lnTo>
                        <a:pt x="108" y="268"/>
                      </a:lnTo>
                      <a:lnTo>
                        <a:pt x="108" y="256"/>
                      </a:lnTo>
                      <a:lnTo>
                        <a:pt x="108" y="256"/>
                      </a:lnTo>
                      <a:lnTo>
                        <a:pt x="109" y="242"/>
                      </a:lnTo>
                      <a:lnTo>
                        <a:pt x="111" y="230"/>
                      </a:lnTo>
                      <a:lnTo>
                        <a:pt x="109" y="224"/>
                      </a:lnTo>
                      <a:lnTo>
                        <a:pt x="108" y="217"/>
                      </a:lnTo>
                      <a:lnTo>
                        <a:pt x="104" y="210"/>
                      </a:lnTo>
                      <a:lnTo>
                        <a:pt x="97" y="202"/>
                      </a:lnTo>
                      <a:lnTo>
                        <a:pt x="97" y="202"/>
                      </a:lnTo>
                      <a:lnTo>
                        <a:pt x="83" y="188"/>
                      </a:lnTo>
                      <a:lnTo>
                        <a:pt x="73" y="179"/>
                      </a:lnTo>
                      <a:lnTo>
                        <a:pt x="66" y="170"/>
                      </a:lnTo>
                      <a:lnTo>
                        <a:pt x="64" y="165"/>
                      </a:lnTo>
                      <a:lnTo>
                        <a:pt x="62" y="160"/>
                      </a:lnTo>
                      <a:lnTo>
                        <a:pt x="62" y="160"/>
                      </a:lnTo>
                      <a:lnTo>
                        <a:pt x="59" y="132"/>
                      </a:lnTo>
                      <a:lnTo>
                        <a:pt x="59" y="118"/>
                      </a:lnTo>
                      <a:lnTo>
                        <a:pt x="59" y="113"/>
                      </a:lnTo>
                      <a:lnTo>
                        <a:pt x="62" y="109"/>
                      </a:lnTo>
                      <a:lnTo>
                        <a:pt x="62" y="109"/>
                      </a:lnTo>
                      <a:lnTo>
                        <a:pt x="64" y="106"/>
                      </a:lnTo>
                      <a:lnTo>
                        <a:pt x="64" y="102"/>
                      </a:lnTo>
                      <a:lnTo>
                        <a:pt x="64" y="97"/>
                      </a:lnTo>
                      <a:lnTo>
                        <a:pt x="66" y="94"/>
                      </a:lnTo>
                      <a:lnTo>
                        <a:pt x="66" y="92"/>
                      </a:lnTo>
                      <a:lnTo>
                        <a:pt x="68" y="90"/>
                      </a:lnTo>
                      <a:lnTo>
                        <a:pt x="68" y="90"/>
                      </a:lnTo>
                      <a:lnTo>
                        <a:pt x="64" y="83"/>
                      </a:lnTo>
                      <a:lnTo>
                        <a:pt x="62" y="76"/>
                      </a:lnTo>
                      <a:lnTo>
                        <a:pt x="61" y="68"/>
                      </a:lnTo>
                      <a:lnTo>
                        <a:pt x="62" y="57"/>
                      </a:lnTo>
                      <a:lnTo>
                        <a:pt x="62" y="52"/>
                      </a:lnTo>
                      <a:lnTo>
                        <a:pt x="61" y="45"/>
                      </a:lnTo>
                      <a:lnTo>
                        <a:pt x="61" y="45"/>
                      </a:lnTo>
                      <a:lnTo>
                        <a:pt x="55" y="31"/>
                      </a:lnTo>
                      <a:lnTo>
                        <a:pt x="52" y="21"/>
                      </a:lnTo>
                      <a:lnTo>
                        <a:pt x="47" y="14"/>
                      </a:lnTo>
                      <a:lnTo>
                        <a:pt x="38" y="8"/>
                      </a:lnTo>
                      <a:lnTo>
                        <a:pt x="38" y="8"/>
                      </a:lnTo>
                      <a:lnTo>
                        <a:pt x="21" y="3"/>
                      </a:lnTo>
                      <a:lnTo>
                        <a:pt x="7" y="0"/>
                      </a:lnTo>
                      <a:lnTo>
                        <a:pt x="7" y="0"/>
                      </a:lnTo>
                      <a:lnTo>
                        <a:pt x="8" y="7"/>
                      </a:lnTo>
                      <a:lnTo>
                        <a:pt x="8" y="8"/>
                      </a:lnTo>
                      <a:lnTo>
                        <a:pt x="10" y="8"/>
                      </a:lnTo>
                      <a:lnTo>
                        <a:pt x="14" y="8"/>
                      </a:lnTo>
                      <a:lnTo>
                        <a:pt x="15" y="8"/>
                      </a:lnTo>
                      <a:lnTo>
                        <a:pt x="17" y="12"/>
                      </a:lnTo>
                      <a:lnTo>
                        <a:pt x="17" y="12"/>
                      </a:lnTo>
                      <a:lnTo>
                        <a:pt x="21" y="17"/>
                      </a:lnTo>
                      <a:lnTo>
                        <a:pt x="21" y="21"/>
                      </a:lnTo>
                      <a:lnTo>
                        <a:pt x="21" y="26"/>
                      </a:lnTo>
                      <a:lnTo>
                        <a:pt x="24" y="33"/>
                      </a:lnTo>
                      <a:lnTo>
                        <a:pt x="24" y="33"/>
                      </a:lnTo>
                      <a:lnTo>
                        <a:pt x="29" y="40"/>
                      </a:lnTo>
                      <a:lnTo>
                        <a:pt x="31" y="45"/>
                      </a:lnTo>
                      <a:lnTo>
                        <a:pt x="31" y="48"/>
                      </a:lnTo>
                      <a:lnTo>
                        <a:pt x="31" y="52"/>
                      </a:lnTo>
                      <a:lnTo>
                        <a:pt x="24" y="57"/>
                      </a:lnTo>
                      <a:lnTo>
                        <a:pt x="24" y="57"/>
                      </a:lnTo>
                      <a:lnTo>
                        <a:pt x="22" y="61"/>
                      </a:lnTo>
                      <a:lnTo>
                        <a:pt x="21" y="64"/>
                      </a:lnTo>
                      <a:lnTo>
                        <a:pt x="21" y="69"/>
                      </a:lnTo>
                      <a:lnTo>
                        <a:pt x="22" y="75"/>
                      </a:lnTo>
                      <a:lnTo>
                        <a:pt x="21" y="78"/>
                      </a:lnTo>
                      <a:lnTo>
                        <a:pt x="19" y="82"/>
                      </a:lnTo>
                      <a:lnTo>
                        <a:pt x="19" y="82"/>
                      </a:lnTo>
                      <a:lnTo>
                        <a:pt x="17" y="85"/>
                      </a:lnTo>
                      <a:lnTo>
                        <a:pt x="17" y="87"/>
                      </a:lnTo>
                      <a:lnTo>
                        <a:pt x="17" y="92"/>
                      </a:lnTo>
                      <a:lnTo>
                        <a:pt x="21" y="99"/>
                      </a:lnTo>
                      <a:lnTo>
                        <a:pt x="21" y="102"/>
                      </a:lnTo>
                      <a:lnTo>
                        <a:pt x="19" y="108"/>
                      </a:lnTo>
                      <a:lnTo>
                        <a:pt x="19" y="108"/>
                      </a:lnTo>
                      <a:lnTo>
                        <a:pt x="19" y="115"/>
                      </a:lnTo>
                      <a:lnTo>
                        <a:pt x="19" y="120"/>
                      </a:lnTo>
                      <a:lnTo>
                        <a:pt x="24" y="129"/>
                      </a:lnTo>
                      <a:lnTo>
                        <a:pt x="24" y="132"/>
                      </a:lnTo>
                      <a:lnTo>
                        <a:pt x="24" y="134"/>
                      </a:lnTo>
                      <a:lnTo>
                        <a:pt x="22" y="135"/>
                      </a:lnTo>
                      <a:lnTo>
                        <a:pt x="17" y="135"/>
                      </a:lnTo>
                      <a:lnTo>
                        <a:pt x="17" y="135"/>
                      </a:lnTo>
                      <a:lnTo>
                        <a:pt x="12" y="135"/>
                      </a:lnTo>
                      <a:lnTo>
                        <a:pt x="8" y="139"/>
                      </a:lnTo>
                      <a:lnTo>
                        <a:pt x="7" y="144"/>
                      </a:lnTo>
                      <a:lnTo>
                        <a:pt x="7" y="149"/>
                      </a:lnTo>
                      <a:lnTo>
                        <a:pt x="7" y="163"/>
                      </a:lnTo>
                      <a:lnTo>
                        <a:pt x="7" y="169"/>
                      </a:lnTo>
                      <a:lnTo>
                        <a:pt x="3" y="174"/>
                      </a:lnTo>
                      <a:lnTo>
                        <a:pt x="3" y="174"/>
                      </a:lnTo>
                      <a:lnTo>
                        <a:pt x="2" y="177"/>
                      </a:lnTo>
                      <a:lnTo>
                        <a:pt x="0" y="181"/>
                      </a:lnTo>
                      <a:lnTo>
                        <a:pt x="2" y="182"/>
                      </a:lnTo>
                      <a:lnTo>
                        <a:pt x="3" y="186"/>
                      </a:lnTo>
                      <a:lnTo>
                        <a:pt x="17" y="196"/>
                      </a:lnTo>
                      <a:lnTo>
                        <a:pt x="17" y="19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0" name="Freeform 2027">
                  <a:extLst>
                    <a:ext uri="{FF2B5EF4-FFF2-40B4-BE49-F238E27FC236}">
                      <a16:creationId xmlns:a16="http://schemas.microsoft.com/office/drawing/2014/main" id="{F69B1A25-9A0B-DEF3-73C4-82DCA288CFC9}"/>
                    </a:ext>
                  </a:extLst>
                </p:cNvPr>
                <p:cNvSpPr>
                  <a:spLocks/>
                </p:cNvSpPr>
                <p:nvPr/>
              </p:nvSpPr>
              <p:spPr bwMode="auto">
                <a:xfrm>
                  <a:off x="4985802" y="4437767"/>
                  <a:ext cx="56385" cy="45812"/>
                </a:xfrm>
                <a:custGeom>
                  <a:avLst/>
                  <a:gdLst/>
                  <a:ahLst/>
                  <a:cxnLst>
                    <a:cxn ang="0">
                      <a:pos x="15" y="0"/>
                    </a:cxn>
                    <a:cxn ang="0">
                      <a:pos x="15" y="0"/>
                    </a:cxn>
                    <a:cxn ang="0">
                      <a:pos x="24" y="5"/>
                    </a:cxn>
                    <a:cxn ang="0">
                      <a:pos x="33" y="7"/>
                    </a:cxn>
                    <a:cxn ang="0">
                      <a:pos x="47" y="7"/>
                    </a:cxn>
                    <a:cxn ang="0">
                      <a:pos x="69" y="7"/>
                    </a:cxn>
                    <a:cxn ang="0">
                      <a:pos x="69" y="57"/>
                    </a:cxn>
                    <a:cxn ang="0">
                      <a:pos x="69" y="57"/>
                    </a:cxn>
                    <a:cxn ang="0">
                      <a:pos x="54" y="57"/>
                    </a:cxn>
                    <a:cxn ang="0">
                      <a:pos x="41" y="55"/>
                    </a:cxn>
                    <a:cxn ang="0">
                      <a:pos x="28" y="55"/>
                    </a:cxn>
                    <a:cxn ang="0">
                      <a:pos x="8" y="55"/>
                    </a:cxn>
                    <a:cxn ang="0">
                      <a:pos x="8" y="55"/>
                    </a:cxn>
                    <a:cxn ang="0">
                      <a:pos x="8" y="52"/>
                    </a:cxn>
                    <a:cxn ang="0">
                      <a:pos x="7" y="52"/>
                    </a:cxn>
                    <a:cxn ang="0">
                      <a:pos x="1" y="52"/>
                    </a:cxn>
                    <a:cxn ang="0">
                      <a:pos x="0" y="50"/>
                    </a:cxn>
                    <a:cxn ang="0">
                      <a:pos x="0" y="48"/>
                    </a:cxn>
                    <a:cxn ang="0">
                      <a:pos x="0" y="48"/>
                    </a:cxn>
                    <a:cxn ang="0">
                      <a:pos x="0" y="43"/>
                    </a:cxn>
                    <a:cxn ang="0">
                      <a:pos x="1" y="40"/>
                    </a:cxn>
                    <a:cxn ang="0">
                      <a:pos x="7" y="31"/>
                    </a:cxn>
                    <a:cxn ang="0">
                      <a:pos x="10" y="26"/>
                    </a:cxn>
                    <a:cxn ang="0">
                      <a:pos x="14" y="19"/>
                    </a:cxn>
                    <a:cxn ang="0">
                      <a:pos x="15" y="10"/>
                    </a:cxn>
                    <a:cxn ang="0">
                      <a:pos x="15" y="0"/>
                    </a:cxn>
                    <a:cxn ang="0">
                      <a:pos x="15" y="0"/>
                    </a:cxn>
                  </a:cxnLst>
                  <a:rect l="0" t="0" r="r" b="b"/>
                  <a:pathLst>
                    <a:path w="69" h="57">
                      <a:moveTo>
                        <a:pt x="15" y="0"/>
                      </a:moveTo>
                      <a:lnTo>
                        <a:pt x="15" y="0"/>
                      </a:lnTo>
                      <a:lnTo>
                        <a:pt x="24" y="5"/>
                      </a:lnTo>
                      <a:lnTo>
                        <a:pt x="33" y="7"/>
                      </a:lnTo>
                      <a:lnTo>
                        <a:pt x="47" y="7"/>
                      </a:lnTo>
                      <a:lnTo>
                        <a:pt x="69" y="7"/>
                      </a:lnTo>
                      <a:lnTo>
                        <a:pt x="69" y="57"/>
                      </a:lnTo>
                      <a:lnTo>
                        <a:pt x="69" y="57"/>
                      </a:lnTo>
                      <a:lnTo>
                        <a:pt x="54" y="57"/>
                      </a:lnTo>
                      <a:lnTo>
                        <a:pt x="41" y="55"/>
                      </a:lnTo>
                      <a:lnTo>
                        <a:pt x="28" y="55"/>
                      </a:lnTo>
                      <a:lnTo>
                        <a:pt x="8" y="55"/>
                      </a:lnTo>
                      <a:lnTo>
                        <a:pt x="8" y="55"/>
                      </a:lnTo>
                      <a:lnTo>
                        <a:pt x="8" y="52"/>
                      </a:lnTo>
                      <a:lnTo>
                        <a:pt x="7" y="52"/>
                      </a:lnTo>
                      <a:lnTo>
                        <a:pt x="1" y="52"/>
                      </a:lnTo>
                      <a:lnTo>
                        <a:pt x="0" y="50"/>
                      </a:lnTo>
                      <a:lnTo>
                        <a:pt x="0" y="48"/>
                      </a:lnTo>
                      <a:lnTo>
                        <a:pt x="0" y="48"/>
                      </a:lnTo>
                      <a:lnTo>
                        <a:pt x="0" y="43"/>
                      </a:lnTo>
                      <a:lnTo>
                        <a:pt x="1" y="40"/>
                      </a:lnTo>
                      <a:lnTo>
                        <a:pt x="7" y="31"/>
                      </a:lnTo>
                      <a:lnTo>
                        <a:pt x="10" y="26"/>
                      </a:lnTo>
                      <a:lnTo>
                        <a:pt x="14" y="19"/>
                      </a:lnTo>
                      <a:lnTo>
                        <a:pt x="15" y="10"/>
                      </a:lnTo>
                      <a:lnTo>
                        <a:pt x="15" y="0"/>
                      </a:lnTo>
                      <a:lnTo>
                        <a:pt x="15"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1" name="Freeform 2028">
                  <a:extLst>
                    <a:ext uri="{FF2B5EF4-FFF2-40B4-BE49-F238E27FC236}">
                      <a16:creationId xmlns:a16="http://schemas.microsoft.com/office/drawing/2014/main" id="{E49B1D67-E45E-540C-443E-1B64EFB6E39E}"/>
                    </a:ext>
                  </a:extLst>
                </p:cNvPr>
                <p:cNvSpPr>
                  <a:spLocks/>
                </p:cNvSpPr>
                <p:nvPr/>
              </p:nvSpPr>
              <p:spPr bwMode="auto">
                <a:xfrm>
                  <a:off x="5539071" y="4594589"/>
                  <a:ext cx="51099" cy="74004"/>
                </a:xfrm>
                <a:custGeom>
                  <a:avLst/>
                  <a:gdLst/>
                  <a:ahLst/>
                  <a:cxnLst>
                    <a:cxn ang="0">
                      <a:pos x="54" y="2"/>
                    </a:cxn>
                    <a:cxn ang="0">
                      <a:pos x="54" y="2"/>
                    </a:cxn>
                    <a:cxn ang="0">
                      <a:pos x="54" y="7"/>
                    </a:cxn>
                    <a:cxn ang="0">
                      <a:pos x="52" y="13"/>
                    </a:cxn>
                    <a:cxn ang="0">
                      <a:pos x="51" y="16"/>
                    </a:cxn>
                    <a:cxn ang="0">
                      <a:pos x="51" y="21"/>
                    </a:cxn>
                    <a:cxn ang="0">
                      <a:pos x="51" y="21"/>
                    </a:cxn>
                    <a:cxn ang="0">
                      <a:pos x="51" y="23"/>
                    </a:cxn>
                    <a:cxn ang="0">
                      <a:pos x="54" y="25"/>
                    </a:cxn>
                    <a:cxn ang="0">
                      <a:pos x="61" y="28"/>
                    </a:cxn>
                    <a:cxn ang="0">
                      <a:pos x="65" y="30"/>
                    </a:cxn>
                    <a:cxn ang="0">
                      <a:pos x="65" y="34"/>
                    </a:cxn>
                    <a:cxn ang="0">
                      <a:pos x="63" y="39"/>
                    </a:cxn>
                    <a:cxn ang="0">
                      <a:pos x="58" y="46"/>
                    </a:cxn>
                    <a:cxn ang="0">
                      <a:pos x="58" y="46"/>
                    </a:cxn>
                    <a:cxn ang="0">
                      <a:pos x="51" y="53"/>
                    </a:cxn>
                    <a:cxn ang="0">
                      <a:pos x="47" y="60"/>
                    </a:cxn>
                    <a:cxn ang="0">
                      <a:pos x="40" y="74"/>
                    </a:cxn>
                    <a:cxn ang="0">
                      <a:pos x="37" y="81"/>
                    </a:cxn>
                    <a:cxn ang="0">
                      <a:pos x="32" y="86"/>
                    </a:cxn>
                    <a:cxn ang="0">
                      <a:pos x="25" y="89"/>
                    </a:cxn>
                    <a:cxn ang="0">
                      <a:pos x="14" y="91"/>
                    </a:cxn>
                    <a:cxn ang="0">
                      <a:pos x="14" y="91"/>
                    </a:cxn>
                    <a:cxn ang="0">
                      <a:pos x="12" y="81"/>
                    </a:cxn>
                    <a:cxn ang="0">
                      <a:pos x="11" y="72"/>
                    </a:cxn>
                    <a:cxn ang="0">
                      <a:pos x="7" y="63"/>
                    </a:cxn>
                    <a:cxn ang="0">
                      <a:pos x="7" y="51"/>
                    </a:cxn>
                    <a:cxn ang="0">
                      <a:pos x="7" y="51"/>
                    </a:cxn>
                    <a:cxn ang="0">
                      <a:pos x="7" y="39"/>
                    </a:cxn>
                    <a:cxn ang="0">
                      <a:pos x="5" y="30"/>
                    </a:cxn>
                    <a:cxn ang="0">
                      <a:pos x="2" y="25"/>
                    </a:cxn>
                    <a:cxn ang="0">
                      <a:pos x="0" y="18"/>
                    </a:cxn>
                    <a:cxn ang="0">
                      <a:pos x="0" y="18"/>
                    </a:cxn>
                    <a:cxn ang="0">
                      <a:pos x="4" y="13"/>
                    </a:cxn>
                    <a:cxn ang="0">
                      <a:pos x="7" y="13"/>
                    </a:cxn>
                    <a:cxn ang="0">
                      <a:pos x="11" y="14"/>
                    </a:cxn>
                    <a:cxn ang="0">
                      <a:pos x="12" y="18"/>
                    </a:cxn>
                    <a:cxn ang="0">
                      <a:pos x="12" y="18"/>
                    </a:cxn>
                    <a:cxn ang="0">
                      <a:pos x="12" y="20"/>
                    </a:cxn>
                    <a:cxn ang="0">
                      <a:pos x="14" y="21"/>
                    </a:cxn>
                    <a:cxn ang="0">
                      <a:pos x="21" y="23"/>
                    </a:cxn>
                    <a:cxn ang="0">
                      <a:pos x="23" y="21"/>
                    </a:cxn>
                    <a:cxn ang="0">
                      <a:pos x="26" y="20"/>
                    </a:cxn>
                    <a:cxn ang="0">
                      <a:pos x="30" y="16"/>
                    </a:cxn>
                    <a:cxn ang="0">
                      <a:pos x="30" y="13"/>
                    </a:cxn>
                    <a:cxn ang="0">
                      <a:pos x="30" y="13"/>
                    </a:cxn>
                    <a:cxn ang="0">
                      <a:pos x="32" y="4"/>
                    </a:cxn>
                    <a:cxn ang="0">
                      <a:pos x="33" y="0"/>
                    </a:cxn>
                    <a:cxn ang="0">
                      <a:pos x="35" y="0"/>
                    </a:cxn>
                    <a:cxn ang="0">
                      <a:pos x="37" y="4"/>
                    </a:cxn>
                    <a:cxn ang="0">
                      <a:pos x="37" y="4"/>
                    </a:cxn>
                    <a:cxn ang="0">
                      <a:pos x="40" y="6"/>
                    </a:cxn>
                    <a:cxn ang="0">
                      <a:pos x="42" y="4"/>
                    </a:cxn>
                    <a:cxn ang="0">
                      <a:pos x="47" y="2"/>
                    </a:cxn>
                    <a:cxn ang="0">
                      <a:pos x="54" y="2"/>
                    </a:cxn>
                    <a:cxn ang="0">
                      <a:pos x="54" y="2"/>
                    </a:cxn>
                  </a:cxnLst>
                  <a:rect l="0" t="0" r="r" b="b"/>
                  <a:pathLst>
                    <a:path w="65" h="91">
                      <a:moveTo>
                        <a:pt x="54" y="2"/>
                      </a:moveTo>
                      <a:lnTo>
                        <a:pt x="54" y="2"/>
                      </a:lnTo>
                      <a:lnTo>
                        <a:pt x="54" y="7"/>
                      </a:lnTo>
                      <a:lnTo>
                        <a:pt x="52" y="13"/>
                      </a:lnTo>
                      <a:lnTo>
                        <a:pt x="51" y="16"/>
                      </a:lnTo>
                      <a:lnTo>
                        <a:pt x="51" y="21"/>
                      </a:lnTo>
                      <a:lnTo>
                        <a:pt x="51" y="21"/>
                      </a:lnTo>
                      <a:lnTo>
                        <a:pt x="51" y="23"/>
                      </a:lnTo>
                      <a:lnTo>
                        <a:pt x="54" y="25"/>
                      </a:lnTo>
                      <a:lnTo>
                        <a:pt x="61" y="28"/>
                      </a:lnTo>
                      <a:lnTo>
                        <a:pt x="65" y="30"/>
                      </a:lnTo>
                      <a:lnTo>
                        <a:pt x="65" y="34"/>
                      </a:lnTo>
                      <a:lnTo>
                        <a:pt x="63" y="39"/>
                      </a:lnTo>
                      <a:lnTo>
                        <a:pt x="58" y="46"/>
                      </a:lnTo>
                      <a:lnTo>
                        <a:pt x="58" y="46"/>
                      </a:lnTo>
                      <a:lnTo>
                        <a:pt x="51" y="53"/>
                      </a:lnTo>
                      <a:lnTo>
                        <a:pt x="47" y="60"/>
                      </a:lnTo>
                      <a:lnTo>
                        <a:pt x="40" y="74"/>
                      </a:lnTo>
                      <a:lnTo>
                        <a:pt x="37" y="81"/>
                      </a:lnTo>
                      <a:lnTo>
                        <a:pt x="32" y="86"/>
                      </a:lnTo>
                      <a:lnTo>
                        <a:pt x="25" y="89"/>
                      </a:lnTo>
                      <a:lnTo>
                        <a:pt x="14" y="91"/>
                      </a:lnTo>
                      <a:lnTo>
                        <a:pt x="14" y="91"/>
                      </a:lnTo>
                      <a:lnTo>
                        <a:pt x="12" y="81"/>
                      </a:lnTo>
                      <a:lnTo>
                        <a:pt x="11" y="72"/>
                      </a:lnTo>
                      <a:lnTo>
                        <a:pt x="7" y="63"/>
                      </a:lnTo>
                      <a:lnTo>
                        <a:pt x="7" y="51"/>
                      </a:lnTo>
                      <a:lnTo>
                        <a:pt x="7" y="51"/>
                      </a:lnTo>
                      <a:lnTo>
                        <a:pt x="7" y="39"/>
                      </a:lnTo>
                      <a:lnTo>
                        <a:pt x="5" y="30"/>
                      </a:lnTo>
                      <a:lnTo>
                        <a:pt x="2" y="25"/>
                      </a:lnTo>
                      <a:lnTo>
                        <a:pt x="0" y="18"/>
                      </a:lnTo>
                      <a:lnTo>
                        <a:pt x="0" y="18"/>
                      </a:lnTo>
                      <a:lnTo>
                        <a:pt x="4" y="13"/>
                      </a:lnTo>
                      <a:lnTo>
                        <a:pt x="7" y="13"/>
                      </a:lnTo>
                      <a:lnTo>
                        <a:pt x="11" y="14"/>
                      </a:lnTo>
                      <a:lnTo>
                        <a:pt x="12" y="18"/>
                      </a:lnTo>
                      <a:lnTo>
                        <a:pt x="12" y="18"/>
                      </a:lnTo>
                      <a:lnTo>
                        <a:pt x="12" y="20"/>
                      </a:lnTo>
                      <a:lnTo>
                        <a:pt x="14" y="21"/>
                      </a:lnTo>
                      <a:lnTo>
                        <a:pt x="21" y="23"/>
                      </a:lnTo>
                      <a:lnTo>
                        <a:pt x="23" y="21"/>
                      </a:lnTo>
                      <a:lnTo>
                        <a:pt x="26" y="20"/>
                      </a:lnTo>
                      <a:lnTo>
                        <a:pt x="30" y="16"/>
                      </a:lnTo>
                      <a:lnTo>
                        <a:pt x="30" y="13"/>
                      </a:lnTo>
                      <a:lnTo>
                        <a:pt x="30" y="13"/>
                      </a:lnTo>
                      <a:lnTo>
                        <a:pt x="32" y="4"/>
                      </a:lnTo>
                      <a:lnTo>
                        <a:pt x="33" y="0"/>
                      </a:lnTo>
                      <a:lnTo>
                        <a:pt x="35" y="0"/>
                      </a:lnTo>
                      <a:lnTo>
                        <a:pt x="37" y="4"/>
                      </a:lnTo>
                      <a:lnTo>
                        <a:pt x="37" y="4"/>
                      </a:lnTo>
                      <a:lnTo>
                        <a:pt x="40" y="6"/>
                      </a:lnTo>
                      <a:lnTo>
                        <a:pt x="42" y="4"/>
                      </a:lnTo>
                      <a:lnTo>
                        <a:pt x="47" y="2"/>
                      </a:lnTo>
                      <a:lnTo>
                        <a:pt x="54" y="2"/>
                      </a:lnTo>
                      <a:lnTo>
                        <a:pt x="54"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2" name="Freeform 2029">
                  <a:extLst>
                    <a:ext uri="{FF2B5EF4-FFF2-40B4-BE49-F238E27FC236}">
                      <a16:creationId xmlns:a16="http://schemas.microsoft.com/office/drawing/2014/main" id="{753F423F-958C-DE7F-A9A6-6C3C170D73D3}"/>
                    </a:ext>
                  </a:extLst>
                </p:cNvPr>
                <p:cNvSpPr>
                  <a:spLocks/>
                </p:cNvSpPr>
                <p:nvPr/>
              </p:nvSpPr>
              <p:spPr bwMode="auto">
                <a:xfrm>
                  <a:off x="4744408" y="4094180"/>
                  <a:ext cx="86339" cy="207916"/>
                </a:xfrm>
                <a:custGeom>
                  <a:avLst/>
                  <a:gdLst/>
                  <a:ahLst/>
                  <a:cxnLst>
                    <a:cxn ang="0">
                      <a:pos x="58" y="23"/>
                    </a:cxn>
                    <a:cxn ang="0">
                      <a:pos x="46" y="39"/>
                    </a:cxn>
                    <a:cxn ang="0">
                      <a:pos x="34" y="42"/>
                    </a:cxn>
                    <a:cxn ang="0">
                      <a:pos x="21" y="46"/>
                    </a:cxn>
                    <a:cxn ang="0">
                      <a:pos x="6" y="61"/>
                    </a:cxn>
                    <a:cxn ang="0">
                      <a:pos x="2" y="77"/>
                    </a:cxn>
                    <a:cxn ang="0">
                      <a:pos x="2" y="86"/>
                    </a:cxn>
                    <a:cxn ang="0">
                      <a:pos x="7" y="93"/>
                    </a:cxn>
                    <a:cxn ang="0">
                      <a:pos x="16" y="96"/>
                    </a:cxn>
                    <a:cxn ang="0">
                      <a:pos x="21" y="105"/>
                    </a:cxn>
                    <a:cxn ang="0">
                      <a:pos x="23" y="128"/>
                    </a:cxn>
                    <a:cxn ang="0">
                      <a:pos x="27" y="134"/>
                    </a:cxn>
                    <a:cxn ang="0">
                      <a:pos x="28" y="134"/>
                    </a:cxn>
                    <a:cxn ang="0">
                      <a:pos x="32" y="147"/>
                    </a:cxn>
                    <a:cxn ang="0">
                      <a:pos x="32" y="223"/>
                    </a:cxn>
                    <a:cxn ang="0">
                      <a:pos x="30" y="229"/>
                    </a:cxn>
                    <a:cxn ang="0">
                      <a:pos x="28" y="230"/>
                    </a:cxn>
                    <a:cxn ang="0">
                      <a:pos x="28" y="234"/>
                    </a:cxn>
                    <a:cxn ang="0">
                      <a:pos x="32" y="248"/>
                    </a:cxn>
                    <a:cxn ang="0">
                      <a:pos x="34" y="262"/>
                    </a:cxn>
                    <a:cxn ang="0">
                      <a:pos x="54" y="260"/>
                    </a:cxn>
                    <a:cxn ang="0">
                      <a:pos x="68" y="258"/>
                    </a:cxn>
                    <a:cxn ang="0">
                      <a:pos x="72" y="213"/>
                    </a:cxn>
                    <a:cxn ang="0">
                      <a:pos x="70" y="166"/>
                    </a:cxn>
                    <a:cxn ang="0">
                      <a:pos x="72" y="148"/>
                    </a:cxn>
                    <a:cxn ang="0">
                      <a:pos x="75" y="143"/>
                    </a:cxn>
                    <a:cxn ang="0">
                      <a:pos x="82" y="138"/>
                    </a:cxn>
                    <a:cxn ang="0">
                      <a:pos x="84" y="131"/>
                    </a:cxn>
                    <a:cxn ang="0">
                      <a:pos x="93" y="114"/>
                    </a:cxn>
                    <a:cxn ang="0">
                      <a:pos x="107" y="86"/>
                    </a:cxn>
                    <a:cxn ang="0">
                      <a:pos x="108" y="75"/>
                    </a:cxn>
                    <a:cxn ang="0">
                      <a:pos x="107" y="61"/>
                    </a:cxn>
                    <a:cxn ang="0">
                      <a:pos x="101" y="49"/>
                    </a:cxn>
                    <a:cxn ang="0">
                      <a:pos x="98" y="39"/>
                    </a:cxn>
                    <a:cxn ang="0">
                      <a:pos x="100" y="30"/>
                    </a:cxn>
                    <a:cxn ang="0">
                      <a:pos x="81" y="7"/>
                    </a:cxn>
                    <a:cxn ang="0">
                      <a:pos x="74" y="0"/>
                    </a:cxn>
                    <a:cxn ang="0">
                      <a:pos x="70" y="0"/>
                    </a:cxn>
                    <a:cxn ang="0">
                      <a:pos x="67" y="6"/>
                    </a:cxn>
                    <a:cxn ang="0">
                      <a:pos x="63" y="7"/>
                    </a:cxn>
                    <a:cxn ang="0">
                      <a:pos x="58" y="7"/>
                    </a:cxn>
                    <a:cxn ang="0">
                      <a:pos x="60" y="16"/>
                    </a:cxn>
                    <a:cxn ang="0">
                      <a:pos x="58" y="23"/>
                    </a:cxn>
                  </a:cxnLst>
                  <a:rect l="0" t="0" r="r" b="b"/>
                  <a:pathLst>
                    <a:path w="108" h="262">
                      <a:moveTo>
                        <a:pt x="58" y="23"/>
                      </a:moveTo>
                      <a:lnTo>
                        <a:pt x="58" y="23"/>
                      </a:lnTo>
                      <a:lnTo>
                        <a:pt x="51" y="32"/>
                      </a:lnTo>
                      <a:lnTo>
                        <a:pt x="46" y="39"/>
                      </a:lnTo>
                      <a:lnTo>
                        <a:pt x="39" y="40"/>
                      </a:lnTo>
                      <a:lnTo>
                        <a:pt x="34" y="42"/>
                      </a:lnTo>
                      <a:lnTo>
                        <a:pt x="28" y="44"/>
                      </a:lnTo>
                      <a:lnTo>
                        <a:pt x="21" y="46"/>
                      </a:lnTo>
                      <a:lnTo>
                        <a:pt x="14" y="51"/>
                      </a:lnTo>
                      <a:lnTo>
                        <a:pt x="6" y="61"/>
                      </a:lnTo>
                      <a:lnTo>
                        <a:pt x="6" y="61"/>
                      </a:lnTo>
                      <a:lnTo>
                        <a:pt x="2" y="77"/>
                      </a:lnTo>
                      <a:lnTo>
                        <a:pt x="0" y="82"/>
                      </a:lnTo>
                      <a:lnTo>
                        <a:pt x="2" y="86"/>
                      </a:lnTo>
                      <a:lnTo>
                        <a:pt x="4" y="89"/>
                      </a:lnTo>
                      <a:lnTo>
                        <a:pt x="7" y="93"/>
                      </a:lnTo>
                      <a:lnTo>
                        <a:pt x="16" y="96"/>
                      </a:lnTo>
                      <a:lnTo>
                        <a:pt x="16" y="96"/>
                      </a:lnTo>
                      <a:lnTo>
                        <a:pt x="20" y="100"/>
                      </a:lnTo>
                      <a:lnTo>
                        <a:pt x="21" y="105"/>
                      </a:lnTo>
                      <a:lnTo>
                        <a:pt x="23" y="115"/>
                      </a:lnTo>
                      <a:lnTo>
                        <a:pt x="23" y="128"/>
                      </a:lnTo>
                      <a:lnTo>
                        <a:pt x="25" y="131"/>
                      </a:lnTo>
                      <a:lnTo>
                        <a:pt x="27" y="134"/>
                      </a:lnTo>
                      <a:lnTo>
                        <a:pt x="27" y="134"/>
                      </a:lnTo>
                      <a:lnTo>
                        <a:pt x="28" y="134"/>
                      </a:lnTo>
                      <a:lnTo>
                        <a:pt x="30" y="138"/>
                      </a:lnTo>
                      <a:lnTo>
                        <a:pt x="32" y="147"/>
                      </a:lnTo>
                      <a:lnTo>
                        <a:pt x="32" y="175"/>
                      </a:lnTo>
                      <a:lnTo>
                        <a:pt x="32" y="223"/>
                      </a:lnTo>
                      <a:lnTo>
                        <a:pt x="32" y="223"/>
                      </a:lnTo>
                      <a:lnTo>
                        <a:pt x="30" y="229"/>
                      </a:lnTo>
                      <a:lnTo>
                        <a:pt x="30" y="230"/>
                      </a:lnTo>
                      <a:lnTo>
                        <a:pt x="28" y="230"/>
                      </a:lnTo>
                      <a:lnTo>
                        <a:pt x="28" y="234"/>
                      </a:lnTo>
                      <a:lnTo>
                        <a:pt x="28" y="234"/>
                      </a:lnTo>
                      <a:lnTo>
                        <a:pt x="30" y="241"/>
                      </a:lnTo>
                      <a:lnTo>
                        <a:pt x="32" y="248"/>
                      </a:lnTo>
                      <a:lnTo>
                        <a:pt x="34" y="255"/>
                      </a:lnTo>
                      <a:lnTo>
                        <a:pt x="34" y="262"/>
                      </a:lnTo>
                      <a:lnTo>
                        <a:pt x="34" y="262"/>
                      </a:lnTo>
                      <a:lnTo>
                        <a:pt x="54" y="260"/>
                      </a:lnTo>
                      <a:lnTo>
                        <a:pt x="68" y="258"/>
                      </a:lnTo>
                      <a:lnTo>
                        <a:pt x="68" y="258"/>
                      </a:lnTo>
                      <a:lnTo>
                        <a:pt x="72" y="234"/>
                      </a:lnTo>
                      <a:lnTo>
                        <a:pt x="72" y="213"/>
                      </a:lnTo>
                      <a:lnTo>
                        <a:pt x="70" y="166"/>
                      </a:lnTo>
                      <a:lnTo>
                        <a:pt x="70" y="166"/>
                      </a:lnTo>
                      <a:lnTo>
                        <a:pt x="70" y="155"/>
                      </a:lnTo>
                      <a:lnTo>
                        <a:pt x="72" y="148"/>
                      </a:lnTo>
                      <a:lnTo>
                        <a:pt x="74" y="145"/>
                      </a:lnTo>
                      <a:lnTo>
                        <a:pt x="75" y="143"/>
                      </a:lnTo>
                      <a:lnTo>
                        <a:pt x="81" y="140"/>
                      </a:lnTo>
                      <a:lnTo>
                        <a:pt x="82" y="138"/>
                      </a:lnTo>
                      <a:lnTo>
                        <a:pt x="84" y="131"/>
                      </a:lnTo>
                      <a:lnTo>
                        <a:pt x="84" y="131"/>
                      </a:lnTo>
                      <a:lnTo>
                        <a:pt x="87" y="121"/>
                      </a:lnTo>
                      <a:lnTo>
                        <a:pt x="93" y="114"/>
                      </a:lnTo>
                      <a:lnTo>
                        <a:pt x="98" y="103"/>
                      </a:lnTo>
                      <a:lnTo>
                        <a:pt x="107" y="86"/>
                      </a:lnTo>
                      <a:lnTo>
                        <a:pt x="107" y="86"/>
                      </a:lnTo>
                      <a:lnTo>
                        <a:pt x="108" y="75"/>
                      </a:lnTo>
                      <a:lnTo>
                        <a:pt x="108" y="67"/>
                      </a:lnTo>
                      <a:lnTo>
                        <a:pt x="107" y="61"/>
                      </a:lnTo>
                      <a:lnTo>
                        <a:pt x="105" y="54"/>
                      </a:lnTo>
                      <a:lnTo>
                        <a:pt x="101" y="49"/>
                      </a:lnTo>
                      <a:lnTo>
                        <a:pt x="98" y="44"/>
                      </a:lnTo>
                      <a:lnTo>
                        <a:pt x="98" y="39"/>
                      </a:lnTo>
                      <a:lnTo>
                        <a:pt x="100" y="30"/>
                      </a:lnTo>
                      <a:lnTo>
                        <a:pt x="100" y="30"/>
                      </a:lnTo>
                      <a:lnTo>
                        <a:pt x="91" y="20"/>
                      </a:lnTo>
                      <a:lnTo>
                        <a:pt x="81" y="7"/>
                      </a:lnTo>
                      <a:lnTo>
                        <a:pt x="81" y="7"/>
                      </a:lnTo>
                      <a:lnTo>
                        <a:pt x="74" y="0"/>
                      </a:lnTo>
                      <a:lnTo>
                        <a:pt x="72" y="0"/>
                      </a:lnTo>
                      <a:lnTo>
                        <a:pt x="70" y="0"/>
                      </a:lnTo>
                      <a:lnTo>
                        <a:pt x="68" y="4"/>
                      </a:lnTo>
                      <a:lnTo>
                        <a:pt x="67" y="6"/>
                      </a:lnTo>
                      <a:lnTo>
                        <a:pt x="63" y="7"/>
                      </a:lnTo>
                      <a:lnTo>
                        <a:pt x="63" y="7"/>
                      </a:lnTo>
                      <a:lnTo>
                        <a:pt x="60" y="7"/>
                      </a:lnTo>
                      <a:lnTo>
                        <a:pt x="58" y="7"/>
                      </a:lnTo>
                      <a:lnTo>
                        <a:pt x="58" y="11"/>
                      </a:lnTo>
                      <a:lnTo>
                        <a:pt x="60" y="16"/>
                      </a:lnTo>
                      <a:lnTo>
                        <a:pt x="60" y="20"/>
                      </a:lnTo>
                      <a:lnTo>
                        <a:pt x="58" y="23"/>
                      </a:lnTo>
                      <a:lnTo>
                        <a:pt x="58" y="2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3" name="Freeform 2030">
                  <a:extLst>
                    <a:ext uri="{FF2B5EF4-FFF2-40B4-BE49-F238E27FC236}">
                      <a16:creationId xmlns:a16="http://schemas.microsoft.com/office/drawing/2014/main" id="{AA3CB3AC-D86B-7D6B-2A64-834BB4AAAE38}"/>
                    </a:ext>
                  </a:extLst>
                </p:cNvPr>
                <p:cNvSpPr>
                  <a:spLocks/>
                </p:cNvSpPr>
                <p:nvPr/>
              </p:nvSpPr>
              <p:spPr bwMode="auto">
                <a:xfrm>
                  <a:off x="4719739" y="4136468"/>
                  <a:ext cx="51098" cy="172676"/>
                </a:xfrm>
                <a:custGeom>
                  <a:avLst/>
                  <a:gdLst/>
                  <a:ahLst/>
                  <a:cxnLst>
                    <a:cxn ang="0">
                      <a:pos x="0" y="0"/>
                    </a:cxn>
                    <a:cxn ang="0">
                      <a:pos x="19" y="6"/>
                    </a:cxn>
                    <a:cxn ang="0">
                      <a:pos x="23" y="9"/>
                    </a:cxn>
                    <a:cxn ang="0">
                      <a:pos x="30" y="7"/>
                    </a:cxn>
                    <a:cxn ang="0">
                      <a:pos x="37" y="7"/>
                    </a:cxn>
                    <a:cxn ang="0">
                      <a:pos x="33" y="23"/>
                    </a:cxn>
                    <a:cxn ang="0">
                      <a:pos x="33" y="32"/>
                    </a:cxn>
                    <a:cxn ang="0">
                      <a:pos x="38" y="39"/>
                    </a:cxn>
                    <a:cxn ang="0">
                      <a:pos x="47" y="42"/>
                    </a:cxn>
                    <a:cxn ang="0">
                      <a:pos x="52" y="51"/>
                    </a:cxn>
                    <a:cxn ang="0">
                      <a:pos x="54" y="74"/>
                    </a:cxn>
                    <a:cxn ang="0">
                      <a:pos x="58" y="80"/>
                    </a:cxn>
                    <a:cxn ang="0">
                      <a:pos x="59" y="80"/>
                    </a:cxn>
                    <a:cxn ang="0">
                      <a:pos x="63" y="93"/>
                    </a:cxn>
                    <a:cxn ang="0">
                      <a:pos x="63" y="169"/>
                    </a:cxn>
                    <a:cxn ang="0">
                      <a:pos x="61" y="175"/>
                    </a:cxn>
                    <a:cxn ang="0">
                      <a:pos x="59" y="176"/>
                    </a:cxn>
                    <a:cxn ang="0">
                      <a:pos x="59" y="180"/>
                    </a:cxn>
                    <a:cxn ang="0">
                      <a:pos x="63" y="194"/>
                    </a:cxn>
                    <a:cxn ang="0">
                      <a:pos x="65" y="208"/>
                    </a:cxn>
                    <a:cxn ang="0">
                      <a:pos x="52" y="211"/>
                    </a:cxn>
                    <a:cxn ang="0">
                      <a:pos x="47" y="215"/>
                    </a:cxn>
                    <a:cxn ang="0">
                      <a:pos x="30" y="195"/>
                    </a:cxn>
                    <a:cxn ang="0">
                      <a:pos x="26" y="185"/>
                    </a:cxn>
                    <a:cxn ang="0">
                      <a:pos x="26" y="171"/>
                    </a:cxn>
                    <a:cxn ang="0">
                      <a:pos x="28" y="164"/>
                    </a:cxn>
                    <a:cxn ang="0">
                      <a:pos x="26" y="161"/>
                    </a:cxn>
                    <a:cxn ang="0">
                      <a:pos x="23" y="161"/>
                    </a:cxn>
                    <a:cxn ang="0">
                      <a:pos x="23" y="150"/>
                    </a:cxn>
                    <a:cxn ang="0">
                      <a:pos x="26" y="140"/>
                    </a:cxn>
                    <a:cxn ang="0">
                      <a:pos x="30" y="121"/>
                    </a:cxn>
                    <a:cxn ang="0">
                      <a:pos x="26" y="112"/>
                    </a:cxn>
                    <a:cxn ang="0">
                      <a:pos x="21" y="105"/>
                    </a:cxn>
                    <a:cxn ang="0">
                      <a:pos x="21" y="89"/>
                    </a:cxn>
                    <a:cxn ang="0">
                      <a:pos x="23" y="80"/>
                    </a:cxn>
                    <a:cxn ang="0">
                      <a:pos x="21" y="74"/>
                    </a:cxn>
                    <a:cxn ang="0">
                      <a:pos x="18" y="74"/>
                    </a:cxn>
                    <a:cxn ang="0">
                      <a:pos x="16" y="67"/>
                    </a:cxn>
                    <a:cxn ang="0">
                      <a:pos x="16" y="56"/>
                    </a:cxn>
                    <a:cxn ang="0">
                      <a:pos x="16" y="37"/>
                    </a:cxn>
                    <a:cxn ang="0">
                      <a:pos x="11" y="28"/>
                    </a:cxn>
                    <a:cxn ang="0">
                      <a:pos x="4" y="20"/>
                    </a:cxn>
                    <a:cxn ang="0">
                      <a:pos x="0" y="0"/>
                    </a:cxn>
                  </a:cxnLst>
                  <a:rect l="0" t="0" r="r" b="b"/>
                  <a:pathLst>
                    <a:path w="65" h="215">
                      <a:moveTo>
                        <a:pt x="0" y="0"/>
                      </a:moveTo>
                      <a:lnTo>
                        <a:pt x="0" y="0"/>
                      </a:lnTo>
                      <a:lnTo>
                        <a:pt x="12" y="2"/>
                      </a:lnTo>
                      <a:lnTo>
                        <a:pt x="19" y="6"/>
                      </a:lnTo>
                      <a:lnTo>
                        <a:pt x="21" y="7"/>
                      </a:lnTo>
                      <a:lnTo>
                        <a:pt x="23" y="9"/>
                      </a:lnTo>
                      <a:lnTo>
                        <a:pt x="23" y="9"/>
                      </a:lnTo>
                      <a:lnTo>
                        <a:pt x="30" y="7"/>
                      </a:lnTo>
                      <a:lnTo>
                        <a:pt x="33" y="7"/>
                      </a:lnTo>
                      <a:lnTo>
                        <a:pt x="37" y="7"/>
                      </a:lnTo>
                      <a:lnTo>
                        <a:pt x="37" y="7"/>
                      </a:lnTo>
                      <a:lnTo>
                        <a:pt x="33" y="23"/>
                      </a:lnTo>
                      <a:lnTo>
                        <a:pt x="31" y="28"/>
                      </a:lnTo>
                      <a:lnTo>
                        <a:pt x="33" y="32"/>
                      </a:lnTo>
                      <a:lnTo>
                        <a:pt x="35" y="35"/>
                      </a:lnTo>
                      <a:lnTo>
                        <a:pt x="38" y="39"/>
                      </a:lnTo>
                      <a:lnTo>
                        <a:pt x="47" y="42"/>
                      </a:lnTo>
                      <a:lnTo>
                        <a:pt x="47" y="42"/>
                      </a:lnTo>
                      <a:lnTo>
                        <a:pt x="51" y="46"/>
                      </a:lnTo>
                      <a:lnTo>
                        <a:pt x="52" y="51"/>
                      </a:lnTo>
                      <a:lnTo>
                        <a:pt x="54" y="61"/>
                      </a:lnTo>
                      <a:lnTo>
                        <a:pt x="54" y="74"/>
                      </a:lnTo>
                      <a:lnTo>
                        <a:pt x="56" y="77"/>
                      </a:lnTo>
                      <a:lnTo>
                        <a:pt x="58" y="80"/>
                      </a:lnTo>
                      <a:lnTo>
                        <a:pt x="58" y="80"/>
                      </a:lnTo>
                      <a:lnTo>
                        <a:pt x="59" y="80"/>
                      </a:lnTo>
                      <a:lnTo>
                        <a:pt x="61" y="84"/>
                      </a:lnTo>
                      <a:lnTo>
                        <a:pt x="63" y="93"/>
                      </a:lnTo>
                      <a:lnTo>
                        <a:pt x="63" y="121"/>
                      </a:lnTo>
                      <a:lnTo>
                        <a:pt x="63" y="169"/>
                      </a:lnTo>
                      <a:lnTo>
                        <a:pt x="63" y="169"/>
                      </a:lnTo>
                      <a:lnTo>
                        <a:pt x="61" y="175"/>
                      </a:lnTo>
                      <a:lnTo>
                        <a:pt x="61" y="176"/>
                      </a:lnTo>
                      <a:lnTo>
                        <a:pt x="59" y="176"/>
                      </a:lnTo>
                      <a:lnTo>
                        <a:pt x="59" y="180"/>
                      </a:lnTo>
                      <a:lnTo>
                        <a:pt x="59" y="180"/>
                      </a:lnTo>
                      <a:lnTo>
                        <a:pt x="61" y="187"/>
                      </a:lnTo>
                      <a:lnTo>
                        <a:pt x="63" y="194"/>
                      </a:lnTo>
                      <a:lnTo>
                        <a:pt x="65" y="201"/>
                      </a:lnTo>
                      <a:lnTo>
                        <a:pt x="65" y="208"/>
                      </a:lnTo>
                      <a:lnTo>
                        <a:pt x="65" y="208"/>
                      </a:lnTo>
                      <a:lnTo>
                        <a:pt x="52" y="211"/>
                      </a:lnTo>
                      <a:lnTo>
                        <a:pt x="47" y="215"/>
                      </a:lnTo>
                      <a:lnTo>
                        <a:pt x="47" y="215"/>
                      </a:lnTo>
                      <a:lnTo>
                        <a:pt x="37" y="204"/>
                      </a:lnTo>
                      <a:lnTo>
                        <a:pt x="30" y="195"/>
                      </a:lnTo>
                      <a:lnTo>
                        <a:pt x="26" y="190"/>
                      </a:lnTo>
                      <a:lnTo>
                        <a:pt x="26" y="185"/>
                      </a:lnTo>
                      <a:lnTo>
                        <a:pt x="24" y="178"/>
                      </a:lnTo>
                      <a:lnTo>
                        <a:pt x="26" y="171"/>
                      </a:lnTo>
                      <a:lnTo>
                        <a:pt x="26" y="171"/>
                      </a:lnTo>
                      <a:lnTo>
                        <a:pt x="28" y="164"/>
                      </a:lnTo>
                      <a:lnTo>
                        <a:pt x="26" y="161"/>
                      </a:lnTo>
                      <a:lnTo>
                        <a:pt x="26" y="161"/>
                      </a:lnTo>
                      <a:lnTo>
                        <a:pt x="23" y="161"/>
                      </a:lnTo>
                      <a:lnTo>
                        <a:pt x="23" y="161"/>
                      </a:lnTo>
                      <a:lnTo>
                        <a:pt x="21" y="157"/>
                      </a:lnTo>
                      <a:lnTo>
                        <a:pt x="23" y="150"/>
                      </a:lnTo>
                      <a:lnTo>
                        <a:pt x="26" y="140"/>
                      </a:lnTo>
                      <a:lnTo>
                        <a:pt x="26" y="140"/>
                      </a:lnTo>
                      <a:lnTo>
                        <a:pt x="28" y="127"/>
                      </a:lnTo>
                      <a:lnTo>
                        <a:pt x="30" y="121"/>
                      </a:lnTo>
                      <a:lnTo>
                        <a:pt x="28" y="115"/>
                      </a:lnTo>
                      <a:lnTo>
                        <a:pt x="26" y="112"/>
                      </a:lnTo>
                      <a:lnTo>
                        <a:pt x="23" y="108"/>
                      </a:lnTo>
                      <a:lnTo>
                        <a:pt x="21" y="105"/>
                      </a:lnTo>
                      <a:lnTo>
                        <a:pt x="21" y="100"/>
                      </a:lnTo>
                      <a:lnTo>
                        <a:pt x="21" y="89"/>
                      </a:lnTo>
                      <a:lnTo>
                        <a:pt x="21" y="89"/>
                      </a:lnTo>
                      <a:lnTo>
                        <a:pt x="23" y="80"/>
                      </a:lnTo>
                      <a:lnTo>
                        <a:pt x="21" y="75"/>
                      </a:lnTo>
                      <a:lnTo>
                        <a:pt x="21" y="74"/>
                      </a:lnTo>
                      <a:lnTo>
                        <a:pt x="19" y="74"/>
                      </a:lnTo>
                      <a:lnTo>
                        <a:pt x="18" y="74"/>
                      </a:lnTo>
                      <a:lnTo>
                        <a:pt x="16" y="72"/>
                      </a:lnTo>
                      <a:lnTo>
                        <a:pt x="16" y="67"/>
                      </a:lnTo>
                      <a:lnTo>
                        <a:pt x="16" y="56"/>
                      </a:lnTo>
                      <a:lnTo>
                        <a:pt x="16" y="56"/>
                      </a:lnTo>
                      <a:lnTo>
                        <a:pt x="18" y="46"/>
                      </a:lnTo>
                      <a:lnTo>
                        <a:pt x="16" y="37"/>
                      </a:lnTo>
                      <a:lnTo>
                        <a:pt x="14" y="32"/>
                      </a:lnTo>
                      <a:lnTo>
                        <a:pt x="11" y="28"/>
                      </a:lnTo>
                      <a:lnTo>
                        <a:pt x="5" y="25"/>
                      </a:lnTo>
                      <a:lnTo>
                        <a:pt x="4" y="20"/>
                      </a:lnTo>
                      <a:lnTo>
                        <a:pt x="0" y="11"/>
                      </a:lnTo>
                      <a:lnTo>
                        <a:pt x="0" y="0"/>
                      </a:lnTo>
                      <a:lnTo>
                        <a:pt x="0"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4" name="Freeform 2031">
                  <a:extLst>
                    <a:ext uri="{FF2B5EF4-FFF2-40B4-BE49-F238E27FC236}">
                      <a16:creationId xmlns:a16="http://schemas.microsoft.com/office/drawing/2014/main" id="{57B67689-EAEB-C266-1405-F3CB199BE57D}"/>
                    </a:ext>
                  </a:extLst>
                </p:cNvPr>
                <p:cNvSpPr>
                  <a:spLocks/>
                </p:cNvSpPr>
                <p:nvPr/>
              </p:nvSpPr>
              <p:spPr bwMode="auto">
                <a:xfrm>
                  <a:off x="4399057" y="4224566"/>
                  <a:ext cx="114530" cy="142722"/>
                </a:xfrm>
                <a:custGeom>
                  <a:avLst/>
                  <a:gdLst/>
                  <a:ahLst/>
                  <a:cxnLst>
                    <a:cxn ang="0">
                      <a:pos x="44" y="2"/>
                    </a:cxn>
                    <a:cxn ang="0">
                      <a:pos x="61" y="0"/>
                    </a:cxn>
                    <a:cxn ang="0">
                      <a:pos x="70" y="3"/>
                    </a:cxn>
                    <a:cxn ang="0">
                      <a:pos x="72" y="10"/>
                    </a:cxn>
                    <a:cxn ang="0">
                      <a:pos x="70" y="17"/>
                    </a:cxn>
                    <a:cxn ang="0">
                      <a:pos x="73" y="31"/>
                    </a:cxn>
                    <a:cxn ang="0">
                      <a:pos x="73" y="42"/>
                    </a:cxn>
                    <a:cxn ang="0">
                      <a:pos x="75" y="49"/>
                    </a:cxn>
                    <a:cxn ang="0">
                      <a:pos x="80" y="50"/>
                    </a:cxn>
                    <a:cxn ang="0">
                      <a:pos x="82" y="54"/>
                    </a:cxn>
                    <a:cxn ang="0">
                      <a:pos x="89" y="56"/>
                    </a:cxn>
                    <a:cxn ang="0">
                      <a:pos x="94" y="47"/>
                    </a:cxn>
                    <a:cxn ang="0">
                      <a:pos x="103" y="36"/>
                    </a:cxn>
                    <a:cxn ang="0">
                      <a:pos x="105" y="36"/>
                    </a:cxn>
                    <a:cxn ang="0">
                      <a:pos x="112" y="59"/>
                    </a:cxn>
                    <a:cxn ang="0">
                      <a:pos x="110" y="73"/>
                    </a:cxn>
                    <a:cxn ang="0">
                      <a:pos x="105" y="80"/>
                    </a:cxn>
                    <a:cxn ang="0">
                      <a:pos x="105" y="87"/>
                    </a:cxn>
                    <a:cxn ang="0">
                      <a:pos x="124" y="94"/>
                    </a:cxn>
                    <a:cxn ang="0">
                      <a:pos x="131" y="101"/>
                    </a:cxn>
                    <a:cxn ang="0">
                      <a:pos x="133" y="106"/>
                    </a:cxn>
                    <a:cxn ang="0">
                      <a:pos x="140" y="110"/>
                    </a:cxn>
                    <a:cxn ang="0">
                      <a:pos x="143" y="113"/>
                    </a:cxn>
                    <a:cxn ang="0">
                      <a:pos x="145" y="122"/>
                    </a:cxn>
                    <a:cxn ang="0">
                      <a:pos x="141" y="148"/>
                    </a:cxn>
                    <a:cxn ang="0">
                      <a:pos x="141" y="177"/>
                    </a:cxn>
                    <a:cxn ang="0">
                      <a:pos x="134" y="177"/>
                    </a:cxn>
                    <a:cxn ang="0">
                      <a:pos x="129" y="172"/>
                    </a:cxn>
                    <a:cxn ang="0">
                      <a:pos x="121" y="169"/>
                    </a:cxn>
                    <a:cxn ang="0">
                      <a:pos x="93" y="153"/>
                    </a:cxn>
                    <a:cxn ang="0">
                      <a:pos x="60" y="122"/>
                    </a:cxn>
                    <a:cxn ang="0">
                      <a:pos x="53" y="113"/>
                    </a:cxn>
                    <a:cxn ang="0">
                      <a:pos x="35" y="101"/>
                    </a:cxn>
                    <a:cxn ang="0">
                      <a:pos x="28" y="96"/>
                    </a:cxn>
                    <a:cxn ang="0">
                      <a:pos x="26" y="92"/>
                    </a:cxn>
                    <a:cxn ang="0">
                      <a:pos x="23" y="87"/>
                    </a:cxn>
                    <a:cxn ang="0">
                      <a:pos x="9" y="76"/>
                    </a:cxn>
                    <a:cxn ang="0">
                      <a:pos x="0" y="68"/>
                    </a:cxn>
                    <a:cxn ang="0">
                      <a:pos x="16" y="47"/>
                    </a:cxn>
                    <a:cxn ang="0">
                      <a:pos x="32" y="31"/>
                    </a:cxn>
                    <a:cxn ang="0">
                      <a:pos x="33" y="24"/>
                    </a:cxn>
                    <a:cxn ang="0">
                      <a:pos x="33" y="21"/>
                    </a:cxn>
                    <a:cxn ang="0">
                      <a:pos x="39" y="17"/>
                    </a:cxn>
                    <a:cxn ang="0">
                      <a:pos x="44" y="12"/>
                    </a:cxn>
                    <a:cxn ang="0">
                      <a:pos x="44" y="2"/>
                    </a:cxn>
                  </a:cxnLst>
                  <a:rect l="0" t="0" r="r" b="b"/>
                  <a:pathLst>
                    <a:path w="145" h="177">
                      <a:moveTo>
                        <a:pt x="44" y="2"/>
                      </a:moveTo>
                      <a:lnTo>
                        <a:pt x="44" y="2"/>
                      </a:lnTo>
                      <a:lnTo>
                        <a:pt x="53" y="0"/>
                      </a:lnTo>
                      <a:lnTo>
                        <a:pt x="61" y="0"/>
                      </a:lnTo>
                      <a:lnTo>
                        <a:pt x="67" y="2"/>
                      </a:lnTo>
                      <a:lnTo>
                        <a:pt x="70" y="3"/>
                      </a:lnTo>
                      <a:lnTo>
                        <a:pt x="72" y="7"/>
                      </a:lnTo>
                      <a:lnTo>
                        <a:pt x="72" y="10"/>
                      </a:lnTo>
                      <a:lnTo>
                        <a:pt x="72" y="10"/>
                      </a:lnTo>
                      <a:lnTo>
                        <a:pt x="70" y="17"/>
                      </a:lnTo>
                      <a:lnTo>
                        <a:pt x="72" y="24"/>
                      </a:lnTo>
                      <a:lnTo>
                        <a:pt x="73" y="31"/>
                      </a:lnTo>
                      <a:lnTo>
                        <a:pt x="73" y="42"/>
                      </a:lnTo>
                      <a:lnTo>
                        <a:pt x="73" y="42"/>
                      </a:lnTo>
                      <a:lnTo>
                        <a:pt x="73" y="47"/>
                      </a:lnTo>
                      <a:lnTo>
                        <a:pt x="75" y="49"/>
                      </a:lnTo>
                      <a:lnTo>
                        <a:pt x="79" y="49"/>
                      </a:lnTo>
                      <a:lnTo>
                        <a:pt x="80" y="50"/>
                      </a:lnTo>
                      <a:lnTo>
                        <a:pt x="82" y="54"/>
                      </a:lnTo>
                      <a:lnTo>
                        <a:pt x="82" y="54"/>
                      </a:lnTo>
                      <a:lnTo>
                        <a:pt x="86" y="56"/>
                      </a:lnTo>
                      <a:lnTo>
                        <a:pt x="89" y="56"/>
                      </a:lnTo>
                      <a:lnTo>
                        <a:pt x="93" y="52"/>
                      </a:lnTo>
                      <a:lnTo>
                        <a:pt x="94" y="47"/>
                      </a:lnTo>
                      <a:lnTo>
                        <a:pt x="100" y="38"/>
                      </a:lnTo>
                      <a:lnTo>
                        <a:pt x="103" y="36"/>
                      </a:lnTo>
                      <a:lnTo>
                        <a:pt x="105" y="36"/>
                      </a:lnTo>
                      <a:lnTo>
                        <a:pt x="105" y="36"/>
                      </a:lnTo>
                      <a:lnTo>
                        <a:pt x="112" y="52"/>
                      </a:lnTo>
                      <a:lnTo>
                        <a:pt x="112" y="59"/>
                      </a:lnTo>
                      <a:lnTo>
                        <a:pt x="112" y="64"/>
                      </a:lnTo>
                      <a:lnTo>
                        <a:pt x="110" y="73"/>
                      </a:lnTo>
                      <a:lnTo>
                        <a:pt x="105" y="80"/>
                      </a:lnTo>
                      <a:lnTo>
                        <a:pt x="105" y="80"/>
                      </a:lnTo>
                      <a:lnTo>
                        <a:pt x="103" y="83"/>
                      </a:lnTo>
                      <a:lnTo>
                        <a:pt x="105" y="87"/>
                      </a:lnTo>
                      <a:lnTo>
                        <a:pt x="114" y="90"/>
                      </a:lnTo>
                      <a:lnTo>
                        <a:pt x="124" y="94"/>
                      </a:lnTo>
                      <a:lnTo>
                        <a:pt x="129" y="97"/>
                      </a:lnTo>
                      <a:lnTo>
                        <a:pt x="131" y="101"/>
                      </a:lnTo>
                      <a:lnTo>
                        <a:pt x="131" y="101"/>
                      </a:lnTo>
                      <a:lnTo>
                        <a:pt x="133" y="106"/>
                      </a:lnTo>
                      <a:lnTo>
                        <a:pt x="134" y="108"/>
                      </a:lnTo>
                      <a:lnTo>
                        <a:pt x="140" y="110"/>
                      </a:lnTo>
                      <a:lnTo>
                        <a:pt x="141" y="111"/>
                      </a:lnTo>
                      <a:lnTo>
                        <a:pt x="143" y="113"/>
                      </a:lnTo>
                      <a:lnTo>
                        <a:pt x="145" y="116"/>
                      </a:lnTo>
                      <a:lnTo>
                        <a:pt x="145" y="122"/>
                      </a:lnTo>
                      <a:lnTo>
                        <a:pt x="145" y="122"/>
                      </a:lnTo>
                      <a:lnTo>
                        <a:pt x="141" y="148"/>
                      </a:lnTo>
                      <a:lnTo>
                        <a:pt x="140" y="163"/>
                      </a:lnTo>
                      <a:lnTo>
                        <a:pt x="141" y="177"/>
                      </a:lnTo>
                      <a:lnTo>
                        <a:pt x="141" y="177"/>
                      </a:lnTo>
                      <a:lnTo>
                        <a:pt x="134" y="177"/>
                      </a:lnTo>
                      <a:lnTo>
                        <a:pt x="131" y="176"/>
                      </a:lnTo>
                      <a:lnTo>
                        <a:pt x="129" y="172"/>
                      </a:lnTo>
                      <a:lnTo>
                        <a:pt x="121" y="169"/>
                      </a:lnTo>
                      <a:lnTo>
                        <a:pt x="121" y="169"/>
                      </a:lnTo>
                      <a:lnTo>
                        <a:pt x="107" y="163"/>
                      </a:lnTo>
                      <a:lnTo>
                        <a:pt x="93" y="153"/>
                      </a:lnTo>
                      <a:lnTo>
                        <a:pt x="75" y="139"/>
                      </a:lnTo>
                      <a:lnTo>
                        <a:pt x="60" y="122"/>
                      </a:lnTo>
                      <a:lnTo>
                        <a:pt x="60" y="122"/>
                      </a:lnTo>
                      <a:lnTo>
                        <a:pt x="53" y="113"/>
                      </a:lnTo>
                      <a:lnTo>
                        <a:pt x="46" y="106"/>
                      </a:lnTo>
                      <a:lnTo>
                        <a:pt x="35" y="101"/>
                      </a:lnTo>
                      <a:lnTo>
                        <a:pt x="30" y="97"/>
                      </a:lnTo>
                      <a:lnTo>
                        <a:pt x="28" y="96"/>
                      </a:lnTo>
                      <a:lnTo>
                        <a:pt x="26" y="92"/>
                      </a:lnTo>
                      <a:lnTo>
                        <a:pt x="26" y="92"/>
                      </a:lnTo>
                      <a:lnTo>
                        <a:pt x="26" y="89"/>
                      </a:lnTo>
                      <a:lnTo>
                        <a:pt x="23" y="87"/>
                      </a:lnTo>
                      <a:lnTo>
                        <a:pt x="16" y="83"/>
                      </a:lnTo>
                      <a:lnTo>
                        <a:pt x="9" y="76"/>
                      </a:lnTo>
                      <a:lnTo>
                        <a:pt x="4" y="73"/>
                      </a:lnTo>
                      <a:lnTo>
                        <a:pt x="0" y="68"/>
                      </a:lnTo>
                      <a:lnTo>
                        <a:pt x="0" y="68"/>
                      </a:lnTo>
                      <a:lnTo>
                        <a:pt x="16" y="47"/>
                      </a:lnTo>
                      <a:lnTo>
                        <a:pt x="25" y="38"/>
                      </a:lnTo>
                      <a:lnTo>
                        <a:pt x="32" y="31"/>
                      </a:lnTo>
                      <a:lnTo>
                        <a:pt x="32" y="29"/>
                      </a:lnTo>
                      <a:lnTo>
                        <a:pt x="33" y="24"/>
                      </a:lnTo>
                      <a:lnTo>
                        <a:pt x="33" y="24"/>
                      </a:lnTo>
                      <a:lnTo>
                        <a:pt x="33" y="21"/>
                      </a:lnTo>
                      <a:lnTo>
                        <a:pt x="35" y="19"/>
                      </a:lnTo>
                      <a:lnTo>
                        <a:pt x="39" y="17"/>
                      </a:lnTo>
                      <a:lnTo>
                        <a:pt x="42" y="15"/>
                      </a:lnTo>
                      <a:lnTo>
                        <a:pt x="44" y="12"/>
                      </a:lnTo>
                      <a:lnTo>
                        <a:pt x="44" y="9"/>
                      </a:lnTo>
                      <a:lnTo>
                        <a:pt x="44" y="2"/>
                      </a:lnTo>
                      <a:lnTo>
                        <a:pt x="44"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5" name="Freeform 2032">
                  <a:extLst>
                    <a:ext uri="{FF2B5EF4-FFF2-40B4-BE49-F238E27FC236}">
                      <a16:creationId xmlns:a16="http://schemas.microsoft.com/office/drawing/2014/main" id="{5EB044F4-75CA-FD76-FF35-8288925352A5}"/>
                    </a:ext>
                  </a:extLst>
                </p:cNvPr>
                <p:cNvSpPr>
                  <a:spLocks/>
                </p:cNvSpPr>
                <p:nvPr/>
              </p:nvSpPr>
              <p:spPr bwMode="auto">
                <a:xfrm>
                  <a:off x="4349721" y="4173469"/>
                  <a:ext cx="84576" cy="105720"/>
                </a:xfrm>
                <a:custGeom>
                  <a:avLst/>
                  <a:gdLst/>
                  <a:ahLst/>
                  <a:cxnLst>
                    <a:cxn ang="0">
                      <a:pos x="62" y="133"/>
                    </a:cxn>
                    <a:cxn ang="0">
                      <a:pos x="87" y="103"/>
                    </a:cxn>
                    <a:cxn ang="0">
                      <a:pos x="94" y="94"/>
                    </a:cxn>
                    <a:cxn ang="0">
                      <a:pos x="95" y="89"/>
                    </a:cxn>
                    <a:cxn ang="0">
                      <a:pos x="97" y="84"/>
                    </a:cxn>
                    <a:cxn ang="0">
                      <a:pos x="104" y="80"/>
                    </a:cxn>
                    <a:cxn ang="0">
                      <a:pos x="106" y="74"/>
                    </a:cxn>
                    <a:cxn ang="0">
                      <a:pos x="106" y="67"/>
                    </a:cxn>
                    <a:cxn ang="0">
                      <a:pos x="95" y="74"/>
                    </a:cxn>
                    <a:cxn ang="0">
                      <a:pos x="95" y="68"/>
                    </a:cxn>
                    <a:cxn ang="0">
                      <a:pos x="97" y="54"/>
                    </a:cxn>
                    <a:cxn ang="0">
                      <a:pos x="95" y="49"/>
                    </a:cxn>
                    <a:cxn ang="0">
                      <a:pos x="92" y="35"/>
                    </a:cxn>
                    <a:cxn ang="0">
                      <a:pos x="92" y="30"/>
                    </a:cxn>
                    <a:cxn ang="0">
                      <a:pos x="87" y="23"/>
                    </a:cxn>
                    <a:cxn ang="0">
                      <a:pos x="80" y="13"/>
                    </a:cxn>
                    <a:cxn ang="0">
                      <a:pos x="73" y="4"/>
                    </a:cxn>
                    <a:cxn ang="0">
                      <a:pos x="61" y="0"/>
                    </a:cxn>
                    <a:cxn ang="0">
                      <a:pos x="47" y="4"/>
                    </a:cxn>
                    <a:cxn ang="0">
                      <a:pos x="45" y="6"/>
                    </a:cxn>
                    <a:cxn ang="0">
                      <a:pos x="43" y="7"/>
                    </a:cxn>
                    <a:cxn ang="0">
                      <a:pos x="34" y="4"/>
                    </a:cxn>
                    <a:cxn ang="0">
                      <a:pos x="29" y="7"/>
                    </a:cxn>
                    <a:cxn ang="0">
                      <a:pos x="28" y="13"/>
                    </a:cxn>
                    <a:cxn ang="0">
                      <a:pos x="15" y="32"/>
                    </a:cxn>
                    <a:cxn ang="0">
                      <a:pos x="0" y="44"/>
                    </a:cxn>
                    <a:cxn ang="0">
                      <a:pos x="5" y="49"/>
                    </a:cxn>
                    <a:cxn ang="0">
                      <a:pos x="5" y="51"/>
                    </a:cxn>
                    <a:cxn ang="0">
                      <a:pos x="1" y="54"/>
                    </a:cxn>
                    <a:cxn ang="0">
                      <a:pos x="1" y="56"/>
                    </a:cxn>
                    <a:cxn ang="0">
                      <a:pos x="5" y="61"/>
                    </a:cxn>
                    <a:cxn ang="0">
                      <a:pos x="14" y="63"/>
                    </a:cxn>
                    <a:cxn ang="0">
                      <a:pos x="10" y="67"/>
                    </a:cxn>
                    <a:cxn ang="0">
                      <a:pos x="3" y="67"/>
                    </a:cxn>
                    <a:cxn ang="0">
                      <a:pos x="0" y="70"/>
                    </a:cxn>
                    <a:cxn ang="0">
                      <a:pos x="5" y="77"/>
                    </a:cxn>
                    <a:cxn ang="0">
                      <a:pos x="10" y="79"/>
                    </a:cxn>
                    <a:cxn ang="0">
                      <a:pos x="14" y="82"/>
                    </a:cxn>
                    <a:cxn ang="0">
                      <a:pos x="12" y="89"/>
                    </a:cxn>
                    <a:cxn ang="0">
                      <a:pos x="10" y="93"/>
                    </a:cxn>
                    <a:cxn ang="0">
                      <a:pos x="14" y="94"/>
                    </a:cxn>
                    <a:cxn ang="0">
                      <a:pos x="24" y="100"/>
                    </a:cxn>
                    <a:cxn ang="0">
                      <a:pos x="28" y="103"/>
                    </a:cxn>
                    <a:cxn ang="0">
                      <a:pos x="29" y="107"/>
                    </a:cxn>
                    <a:cxn ang="0">
                      <a:pos x="28" y="110"/>
                    </a:cxn>
                    <a:cxn ang="0">
                      <a:pos x="33" y="115"/>
                    </a:cxn>
                    <a:cxn ang="0">
                      <a:pos x="50" y="122"/>
                    </a:cxn>
                    <a:cxn ang="0">
                      <a:pos x="62" y="133"/>
                    </a:cxn>
                  </a:cxnLst>
                  <a:rect l="0" t="0" r="r" b="b"/>
                  <a:pathLst>
                    <a:path w="106" h="133">
                      <a:moveTo>
                        <a:pt x="62" y="133"/>
                      </a:moveTo>
                      <a:lnTo>
                        <a:pt x="62" y="133"/>
                      </a:lnTo>
                      <a:lnTo>
                        <a:pt x="78" y="112"/>
                      </a:lnTo>
                      <a:lnTo>
                        <a:pt x="87" y="103"/>
                      </a:lnTo>
                      <a:lnTo>
                        <a:pt x="94" y="96"/>
                      </a:lnTo>
                      <a:lnTo>
                        <a:pt x="94" y="94"/>
                      </a:lnTo>
                      <a:lnTo>
                        <a:pt x="95" y="89"/>
                      </a:lnTo>
                      <a:lnTo>
                        <a:pt x="95" y="89"/>
                      </a:lnTo>
                      <a:lnTo>
                        <a:pt x="95" y="86"/>
                      </a:lnTo>
                      <a:lnTo>
                        <a:pt x="97" y="84"/>
                      </a:lnTo>
                      <a:lnTo>
                        <a:pt x="101" y="82"/>
                      </a:lnTo>
                      <a:lnTo>
                        <a:pt x="104" y="80"/>
                      </a:lnTo>
                      <a:lnTo>
                        <a:pt x="106" y="77"/>
                      </a:lnTo>
                      <a:lnTo>
                        <a:pt x="106" y="74"/>
                      </a:lnTo>
                      <a:lnTo>
                        <a:pt x="106" y="67"/>
                      </a:lnTo>
                      <a:lnTo>
                        <a:pt x="106" y="67"/>
                      </a:lnTo>
                      <a:lnTo>
                        <a:pt x="99" y="72"/>
                      </a:lnTo>
                      <a:lnTo>
                        <a:pt x="95" y="74"/>
                      </a:lnTo>
                      <a:lnTo>
                        <a:pt x="94" y="72"/>
                      </a:lnTo>
                      <a:lnTo>
                        <a:pt x="95" y="68"/>
                      </a:lnTo>
                      <a:lnTo>
                        <a:pt x="97" y="60"/>
                      </a:lnTo>
                      <a:lnTo>
                        <a:pt x="97" y="54"/>
                      </a:lnTo>
                      <a:lnTo>
                        <a:pt x="95" y="49"/>
                      </a:lnTo>
                      <a:lnTo>
                        <a:pt x="95" y="49"/>
                      </a:lnTo>
                      <a:lnTo>
                        <a:pt x="90" y="40"/>
                      </a:lnTo>
                      <a:lnTo>
                        <a:pt x="92" y="35"/>
                      </a:lnTo>
                      <a:lnTo>
                        <a:pt x="92" y="35"/>
                      </a:lnTo>
                      <a:lnTo>
                        <a:pt x="92" y="30"/>
                      </a:lnTo>
                      <a:lnTo>
                        <a:pt x="90" y="28"/>
                      </a:lnTo>
                      <a:lnTo>
                        <a:pt x="87" y="23"/>
                      </a:lnTo>
                      <a:lnTo>
                        <a:pt x="80" y="13"/>
                      </a:lnTo>
                      <a:lnTo>
                        <a:pt x="80" y="13"/>
                      </a:lnTo>
                      <a:lnTo>
                        <a:pt x="78" y="7"/>
                      </a:lnTo>
                      <a:lnTo>
                        <a:pt x="73" y="4"/>
                      </a:lnTo>
                      <a:lnTo>
                        <a:pt x="68" y="2"/>
                      </a:lnTo>
                      <a:lnTo>
                        <a:pt x="61" y="0"/>
                      </a:lnTo>
                      <a:lnTo>
                        <a:pt x="50" y="2"/>
                      </a:lnTo>
                      <a:lnTo>
                        <a:pt x="47" y="4"/>
                      </a:lnTo>
                      <a:lnTo>
                        <a:pt x="45" y="6"/>
                      </a:lnTo>
                      <a:lnTo>
                        <a:pt x="45" y="6"/>
                      </a:lnTo>
                      <a:lnTo>
                        <a:pt x="45" y="7"/>
                      </a:lnTo>
                      <a:lnTo>
                        <a:pt x="43" y="7"/>
                      </a:lnTo>
                      <a:lnTo>
                        <a:pt x="38" y="6"/>
                      </a:lnTo>
                      <a:lnTo>
                        <a:pt x="34" y="4"/>
                      </a:lnTo>
                      <a:lnTo>
                        <a:pt x="31" y="6"/>
                      </a:lnTo>
                      <a:lnTo>
                        <a:pt x="29" y="7"/>
                      </a:lnTo>
                      <a:lnTo>
                        <a:pt x="28" y="13"/>
                      </a:lnTo>
                      <a:lnTo>
                        <a:pt x="28" y="13"/>
                      </a:lnTo>
                      <a:lnTo>
                        <a:pt x="22" y="23"/>
                      </a:lnTo>
                      <a:lnTo>
                        <a:pt x="15" y="32"/>
                      </a:lnTo>
                      <a:lnTo>
                        <a:pt x="8" y="39"/>
                      </a:lnTo>
                      <a:lnTo>
                        <a:pt x="0" y="44"/>
                      </a:lnTo>
                      <a:lnTo>
                        <a:pt x="0" y="44"/>
                      </a:lnTo>
                      <a:lnTo>
                        <a:pt x="5" y="49"/>
                      </a:lnTo>
                      <a:lnTo>
                        <a:pt x="5" y="49"/>
                      </a:lnTo>
                      <a:lnTo>
                        <a:pt x="5" y="51"/>
                      </a:lnTo>
                      <a:lnTo>
                        <a:pt x="1" y="53"/>
                      </a:lnTo>
                      <a:lnTo>
                        <a:pt x="1" y="54"/>
                      </a:lnTo>
                      <a:lnTo>
                        <a:pt x="1" y="56"/>
                      </a:lnTo>
                      <a:lnTo>
                        <a:pt x="1" y="56"/>
                      </a:lnTo>
                      <a:lnTo>
                        <a:pt x="3" y="61"/>
                      </a:lnTo>
                      <a:lnTo>
                        <a:pt x="5" y="61"/>
                      </a:lnTo>
                      <a:lnTo>
                        <a:pt x="8" y="61"/>
                      </a:lnTo>
                      <a:lnTo>
                        <a:pt x="14" y="63"/>
                      </a:lnTo>
                      <a:lnTo>
                        <a:pt x="14" y="63"/>
                      </a:lnTo>
                      <a:lnTo>
                        <a:pt x="10" y="67"/>
                      </a:lnTo>
                      <a:lnTo>
                        <a:pt x="7" y="67"/>
                      </a:lnTo>
                      <a:lnTo>
                        <a:pt x="3" y="67"/>
                      </a:lnTo>
                      <a:lnTo>
                        <a:pt x="0" y="67"/>
                      </a:lnTo>
                      <a:lnTo>
                        <a:pt x="0" y="70"/>
                      </a:lnTo>
                      <a:lnTo>
                        <a:pt x="0" y="70"/>
                      </a:lnTo>
                      <a:lnTo>
                        <a:pt x="5" y="77"/>
                      </a:lnTo>
                      <a:lnTo>
                        <a:pt x="8" y="79"/>
                      </a:lnTo>
                      <a:lnTo>
                        <a:pt x="10" y="79"/>
                      </a:lnTo>
                      <a:lnTo>
                        <a:pt x="14" y="82"/>
                      </a:lnTo>
                      <a:lnTo>
                        <a:pt x="14" y="82"/>
                      </a:lnTo>
                      <a:lnTo>
                        <a:pt x="14" y="87"/>
                      </a:lnTo>
                      <a:lnTo>
                        <a:pt x="12" y="89"/>
                      </a:lnTo>
                      <a:lnTo>
                        <a:pt x="10" y="89"/>
                      </a:lnTo>
                      <a:lnTo>
                        <a:pt x="10" y="93"/>
                      </a:lnTo>
                      <a:lnTo>
                        <a:pt x="10" y="93"/>
                      </a:lnTo>
                      <a:lnTo>
                        <a:pt x="14" y="94"/>
                      </a:lnTo>
                      <a:lnTo>
                        <a:pt x="19" y="96"/>
                      </a:lnTo>
                      <a:lnTo>
                        <a:pt x="24" y="100"/>
                      </a:lnTo>
                      <a:lnTo>
                        <a:pt x="28" y="103"/>
                      </a:lnTo>
                      <a:lnTo>
                        <a:pt x="28" y="103"/>
                      </a:lnTo>
                      <a:lnTo>
                        <a:pt x="29" y="105"/>
                      </a:lnTo>
                      <a:lnTo>
                        <a:pt x="29" y="107"/>
                      </a:lnTo>
                      <a:lnTo>
                        <a:pt x="28" y="110"/>
                      </a:lnTo>
                      <a:lnTo>
                        <a:pt x="28" y="110"/>
                      </a:lnTo>
                      <a:lnTo>
                        <a:pt x="28" y="112"/>
                      </a:lnTo>
                      <a:lnTo>
                        <a:pt x="33" y="115"/>
                      </a:lnTo>
                      <a:lnTo>
                        <a:pt x="33" y="115"/>
                      </a:lnTo>
                      <a:lnTo>
                        <a:pt x="50" y="122"/>
                      </a:lnTo>
                      <a:lnTo>
                        <a:pt x="57" y="128"/>
                      </a:lnTo>
                      <a:lnTo>
                        <a:pt x="62" y="133"/>
                      </a:lnTo>
                      <a:lnTo>
                        <a:pt x="62" y="1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6" name="Freeform 2033">
                  <a:extLst>
                    <a:ext uri="{FF2B5EF4-FFF2-40B4-BE49-F238E27FC236}">
                      <a16:creationId xmlns:a16="http://schemas.microsoft.com/office/drawing/2014/main" id="{DD1A893A-2DEA-0DC6-4AD9-0B7A26C535AF}"/>
                    </a:ext>
                  </a:extLst>
                </p:cNvPr>
                <p:cNvSpPr>
                  <a:spLocks/>
                </p:cNvSpPr>
                <p:nvPr/>
              </p:nvSpPr>
              <p:spPr bwMode="auto">
                <a:xfrm>
                  <a:off x="4256333" y="4083608"/>
                  <a:ext cx="82814" cy="59908"/>
                </a:xfrm>
                <a:custGeom>
                  <a:avLst/>
                  <a:gdLst/>
                  <a:ahLst/>
                  <a:cxnLst>
                    <a:cxn ang="0">
                      <a:pos x="54" y="75"/>
                    </a:cxn>
                    <a:cxn ang="0">
                      <a:pos x="66" y="52"/>
                    </a:cxn>
                    <a:cxn ang="0">
                      <a:pos x="73" y="49"/>
                    </a:cxn>
                    <a:cxn ang="0">
                      <a:pos x="76" y="47"/>
                    </a:cxn>
                    <a:cxn ang="0">
                      <a:pos x="78" y="44"/>
                    </a:cxn>
                    <a:cxn ang="0">
                      <a:pos x="85" y="44"/>
                    </a:cxn>
                    <a:cxn ang="0">
                      <a:pos x="92" y="46"/>
                    </a:cxn>
                    <a:cxn ang="0">
                      <a:pos x="96" y="46"/>
                    </a:cxn>
                    <a:cxn ang="0">
                      <a:pos x="101" y="40"/>
                    </a:cxn>
                    <a:cxn ang="0">
                      <a:pos x="101" y="30"/>
                    </a:cxn>
                    <a:cxn ang="0">
                      <a:pos x="96" y="25"/>
                    </a:cxn>
                    <a:cxn ang="0">
                      <a:pos x="94" y="21"/>
                    </a:cxn>
                    <a:cxn ang="0">
                      <a:pos x="101" y="16"/>
                    </a:cxn>
                    <a:cxn ang="0">
                      <a:pos x="102" y="7"/>
                    </a:cxn>
                    <a:cxn ang="0">
                      <a:pos x="101" y="0"/>
                    </a:cxn>
                    <a:cxn ang="0">
                      <a:pos x="59" y="0"/>
                    </a:cxn>
                    <a:cxn ang="0">
                      <a:pos x="47" y="0"/>
                    </a:cxn>
                    <a:cxn ang="0">
                      <a:pos x="40" y="4"/>
                    </a:cxn>
                    <a:cxn ang="0">
                      <a:pos x="43" y="5"/>
                    </a:cxn>
                    <a:cxn ang="0">
                      <a:pos x="40" y="9"/>
                    </a:cxn>
                    <a:cxn ang="0">
                      <a:pos x="29" y="11"/>
                    </a:cxn>
                    <a:cxn ang="0">
                      <a:pos x="8" y="12"/>
                    </a:cxn>
                    <a:cxn ang="0">
                      <a:pos x="0" y="18"/>
                    </a:cxn>
                    <a:cxn ang="0">
                      <a:pos x="1" y="19"/>
                    </a:cxn>
                    <a:cxn ang="0">
                      <a:pos x="8" y="19"/>
                    </a:cxn>
                    <a:cxn ang="0">
                      <a:pos x="10" y="25"/>
                    </a:cxn>
                    <a:cxn ang="0">
                      <a:pos x="8" y="30"/>
                    </a:cxn>
                    <a:cxn ang="0">
                      <a:pos x="10" y="33"/>
                    </a:cxn>
                    <a:cxn ang="0">
                      <a:pos x="19" y="32"/>
                    </a:cxn>
                    <a:cxn ang="0">
                      <a:pos x="22" y="32"/>
                    </a:cxn>
                    <a:cxn ang="0">
                      <a:pos x="22" y="39"/>
                    </a:cxn>
                    <a:cxn ang="0">
                      <a:pos x="24" y="44"/>
                    </a:cxn>
                    <a:cxn ang="0">
                      <a:pos x="28" y="40"/>
                    </a:cxn>
                    <a:cxn ang="0">
                      <a:pos x="42" y="33"/>
                    </a:cxn>
                    <a:cxn ang="0">
                      <a:pos x="43" y="33"/>
                    </a:cxn>
                    <a:cxn ang="0">
                      <a:pos x="40" y="37"/>
                    </a:cxn>
                    <a:cxn ang="0">
                      <a:pos x="36" y="40"/>
                    </a:cxn>
                    <a:cxn ang="0">
                      <a:pos x="40" y="49"/>
                    </a:cxn>
                    <a:cxn ang="0">
                      <a:pos x="38" y="52"/>
                    </a:cxn>
                    <a:cxn ang="0">
                      <a:pos x="38" y="56"/>
                    </a:cxn>
                    <a:cxn ang="0">
                      <a:pos x="40" y="58"/>
                    </a:cxn>
                    <a:cxn ang="0">
                      <a:pos x="42" y="61"/>
                    </a:cxn>
                    <a:cxn ang="0">
                      <a:pos x="43" y="65"/>
                    </a:cxn>
                    <a:cxn ang="0">
                      <a:pos x="47" y="70"/>
                    </a:cxn>
                    <a:cxn ang="0">
                      <a:pos x="47" y="72"/>
                    </a:cxn>
                    <a:cxn ang="0">
                      <a:pos x="54" y="65"/>
                    </a:cxn>
                    <a:cxn ang="0">
                      <a:pos x="52" y="72"/>
                    </a:cxn>
                    <a:cxn ang="0">
                      <a:pos x="54" y="75"/>
                    </a:cxn>
                  </a:cxnLst>
                  <a:rect l="0" t="0" r="r" b="b"/>
                  <a:pathLst>
                    <a:path w="102" h="75">
                      <a:moveTo>
                        <a:pt x="54" y="75"/>
                      </a:moveTo>
                      <a:lnTo>
                        <a:pt x="54" y="75"/>
                      </a:lnTo>
                      <a:lnTo>
                        <a:pt x="62" y="56"/>
                      </a:lnTo>
                      <a:lnTo>
                        <a:pt x="66" y="52"/>
                      </a:lnTo>
                      <a:lnTo>
                        <a:pt x="68" y="51"/>
                      </a:lnTo>
                      <a:lnTo>
                        <a:pt x="73" y="49"/>
                      </a:lnTo>
                      <a:lnTo>
                        <a:pt x="75" y="49"/>
                      </a:lnTo>
                      <a:lnTo>
                        <a:pt x="76" y="47"/>
                      </a:lnTo>
                      <a:lnTo>
                        <a:pt x="76" y="47"/>
                      </a:lnTo>
                      <a:lnTo>
                        <a:pt x="78" y="44"/>
                      </a:lnTo>
                      <a:lnTo>
                        <a:pt x="82" y="44"/>
                      </a:lnTo>
                      <a:lnTo>
                        <a:pt x="85" y="44"/>
                      </a:lnTo>
                      <a:lnTo>
                        <a:pt x="89" y="46"/>
                      </a:lnTo>
                      <a:lnTo>
                        <a:pt x="92" y="46"/>
                      </a:lnTo>
                      <a:lnTo>
                        <a:pt x="96" y="46"/>
                      </a:lnTo>
                      <a:lnTo>
                        <a:pt x="96" y="46"/>
                      </a:lnTo>
                      <a:lnTo>
                        <a:pt x="99" y="44"/>
                      </a:lnTo>
                      <a:lnTo>
                        <a:pt x="101" y="40"/>
                      </a:lnTo>
                      <a:lnTo>
                        <a:pt x="102" y="35"/>
                      </a:lnTo>
                      <a:lnTo>
                        <a:pt x="101" y="30"/>
                      </a:lnTo>
                      <a:lnTo>
                        <a:pt x="96" y="25"/>
                      </a:lnTo>
                      <a:lnTo>
                        <a:pt x="96" y="25"/>
                      </a:lnTo>
                      <a:lnTo>
                        <a:pt x="94" y="23"/>
                      </a:lnTo>
                      <a:lnTo>
                        <a:pt x="94" y="21"/>
                      </a:lnTo>
                      <a:lnTo>
                        <a:pt x="99" y="19"/>
                      </a:lnTo>
                      <a:lnTo>
                        <a:pt x="101" y="16"/>
                      </a:lnTo>
                      <a:lnTo>
                        <a:pt x="102" y="12"/>
                      </a:lnTo>
                      <a:lnTo>
                        <a:pt x="102" y="7"/>
                      </a:lnTo>
                      <a:lnTo>
                        <a:pt x="101" y="0"/>
                      </a:lnTo>
                      <a:lnTo>
                        <a:pt x="101" y="0"/>
                      </a:lnTo>
                      <a:lnTo>
                        <a:pt x="73" y="0"/>
                      </a:lnTo>
                      <a:lnTo>
                        <a:pt x="59" y="0"/>
                      </a:lnTo>
                      <a:lnTo>
                        <a:pt x="47" y="0"/>
                      </a:lnTo>
                      <a:lnTo>
                        <a:pt x="47" y="0"/>
                      </a:lnTo>
                      <a:lnTo>
                        <a:pt x="38" y="4"/>
                      </a:lnTo>
                      <a:lnTo>
                        <a:pt x="40" y="4"/>
                      </a:lnTo>
                      <a:lnTo>
                        <a:pt x="40" y="5"/>
                      </a:lnTo>
                      <a:lnTo>
                        <a:pt x="43" y="5"/>
                      </a:lnTo>
                      <a:lnTo>
                        <a:pt x="43" y="7"/>
                      </a:lnTo>
                      <a:lnTo>
                        <a:pt x="40" y="9"/>
                      </a:lnTo>
                      <a:lnTo>
                        <a:pt x="40" y="9"/>
                      </a:lnTo>
                      <a:lnTo>
                        <a:pt x="29" y="11"/>
                      </a:lnTo>
                      <a:lnTo>
                        <a:pt x="19" y="12"/>
                      </a:lnTo>
                      <a:lnTo>
                        <a:pt x="8" y="12"/>
                      </a:lnTo>
                      <a:lnTo>
                        <a:pt x="3" y="16"/>
                      </a:lnTo>
                      <a:lnTo>
                        <a:pt x="0" y="18"/>
                      </a:lnTo>
                      <a:lnTo>
                        <a:pt x="0" y="18"/>
                      </a:lnTo>
                      <a:lnTo>
                        <a:pt x="1" y="19"/>
                      </a:lnTo>
                      <a:lnTo>
                        <a:pt x="3" y="21"/>
                      </a:lnTo>
                      <a:lnTo>
                        <a:pt x="8" y="19"/>
                      </a:lnTo>
                      <a:lnTo>
                        <a:pt x="12" y="19"/>
                      </a:lnTo>
                      <a:lnTo>
                        <a:pt x="10" y="25"/>
                      </a:lnTo>
                      <a:lnTo>
                        <a:pt x="10" y="25"/>
                      </a:lnTo>
                      <a:lnTo>
                        <a:pt x="8" y="30"/>
                      </a:lnTo>
                      <a:lnTo>
                        <a:pt x="8" y="32"/>
                      </a:lnTo>
                      <a:lnTo>
                        <a:pt x="10" y="33"/>
                      </a:lnTo>
                      <a:lnTo>
                        <a:pt x="14" y="33"/>
                      </a:lnTo>
                      <a:lnTo>
                        <a:pt x="19" y="32"/>
                      </a:lnTo>
                      <a:lnTo>
                        <a:pt x="19" y="32"/>
                      </a:lnTo>
                      <a:lnTo>
                        <a:pt x="22" y="32"/>
                      </a:lnTo>
                      <a:lnTo>
                        <a:pt x="24" y="33"/>
                      </a:lnTo>
                      <a:lnTo>
                        <a:pt x="22" y="39"/>
                      </a:lnTo>
                      <a:lnTo>
                        <a:pt x="22" y="44"/>
                      </a:lnTo>
                      <a:lnTo>
                        <a:pt x="24" y="44"/>
                      </a:lnTo>
                      <a:lnTo>
                        <a:pt x="28" y="40"/>
                      </a:lnTo>
                      <a:lnTo>
                        <a:pt x="28" y="40"/>
                      </a:lnTo>
                      <a:lnTo>
                        <a:pt x="36" y="35"/>
                      </a:lnTo>
                      <a:lnTo>
                        <a:pt x="42" y="33"/>
                      </a:lnTo>
                      <a:lnTo>
                        <a:pt x="43" y="33"/>
                      </a:lnTo>
                      <a:lnTo>
                        <a:pt x="43" y="33"/>
                      </a:lnTo>
                      <a:lnTo>
                        <a:pt x="40" y="37"/>
                      </a:lnTo>
                      <a:lnTo>
                        <a:pt x="40" y="37"/>
                      </a:lnTo>
                      <a:lnTo>
                        <a:pt x="36" y="39"/>
                      </a:lnTo>
                      <a:lnTo>
                        <a:pt x="36" y="40"/>
                      </a:lnTo>
                      <a:lnTo>
                        <a:pt x="36" y="44"/>
                      </a:lnTo>
                      <a:lnTo>
                        <a:pt x="40" y="49"/>
                      </a:lnTo>
                      <a:lnTo>
                        <a:pt x="40" y="51"/>
                      </a:lnTo>
                      <a:lnTo>
                        <a:pt x="38" y="52"/>
                      </a:lnTo>
                      <a:lnTo>
                        <a:pt x="38" y="52"/>
                      </a:lnTo>
                      <a:lnTo>
                        <a:pt x="38" y="56"/>
                      </a:lnTo>
                      <a:lnTo>
                        <a:pt x="38" y="58"/>
                      </a:lnTo>
                      <a:lnTo>
                        <a:pt x="40" y="58"/>
                      </a:lnTo>
                      <a:lnTo>
                        <a:pt x="42" y="61"/>
                      </a:lnTo>
                      <a:lnTo>
                        <a:pt x="42" y="61"/>
                      </a:lnTo>
                      <a:lnTo>
                        <a:pt x="42" y="65"/>
                      </a:lnTo>
                      <a:lnTo>
                        <a:pt x="43" y="65"/>
                      </a:lnTo>
                      <a:lnTo>
                        <a:pt x="45" y="66"/>
                      </a:lnTo>
                      <a:lnTo>
                        <a:pt x="47" y="70"/>
                      </a:lnTo>
                      <a:lnTo>
                        <a:pt x="47" y="70"/>
                      </a:lnTo>
                      <a:lnTo>
                        <a:pt x="47" y="72"/>
                      </a:lnTo>
                      <a:lnTo>
                        <a:pt x="49" y="72"/>
                      </a:lnTo>
                      <a:lnTo>
                        <a:pt x="54" y="65"/>
                      </a:lnTo>
                      <a:lnTo>
                        <a:pt x="54" y="65"/>
                      </a:lnTo>
                      <a:lnTo>
                        <a:pt x="52" y="72"/>
                      </a:lnTo>
                      <a:lnTo>
                        <a:pt x="54" y="75"/>
                      </a:lnTo>
                      <a:lnTo>
                        <a:pt x="54"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7" name="Freeform 2034">
                  <a:extLst>
                    <a:ext uri="{FF2B5EF4-FFF2-40B4-BE49-F238E27FC236}">
                      <a16:creationId xmlns:a16="http://schemas.microsoft.com/office/drawing/2014/main" id="{BDC0A4D8-EAF1-3DF8-AF00-D4E6095E7C17}"/>
                    </a:ext>
                  </a:extLst>
                </p:cNvPr>
                <p:cNvSpPr>
                  <a:spLocks/>
                </p:cNvSpPr>
                <p:nvPr/>
              </p:nvSpPr>
              <p:spPr bwMode="auto">
                <a:xfrm>
                  <a:off x="5470355" y="2763865"/>
                  <a:ext cx="96911" cy="123340"/>
                </a:xfrm>
                <a:custGeom>
                  <a:avLst/>
                  <a:gdLst/>
                  <a:ahLst/>
                  <a:cxnLst>
                    <a:cxn ang="0">
                      <a:pos x="56" y="153"/>
                    </a:cxn>
                    <a:cxn ang="0">
                      <a:pos x="52" y="144"/>
                    </a:cxn>
                    <a:cxn ang="0">
                      <a:pos x="52" y="130"/>
                    </a:cxn>
                    <a:cxn ang="0">
                      <a:pos x="52" y="125"/>
                    </a:cxn>
                    <a:cxn ang="0">
                      <a:pos x="56" y="104"/>
                    </a:cxn>
                    <a:cxn ang="0">
                      <a:pos x="56" y="90"/>
                    </a:cxn>
                    <a:cxn ang="0">
                      <a:pos x="50" y="78"/>
                    </a:cxn>
                    <a:cxn ang="0">
                      <a:pos x="38" y="64"/>
                    </a:cxn>
                    <a:cxn ang="0">
                      <a:pos x="33" y="54"/>
                    </a:cxn>
                    <a:cxn ang="0">
                      <a:pos x="31" y="52"/>
                    </a:cxn>
                    <a:cxn ang="0">
                      <a:pos x="26" y="42"/>
                    </a:cxn>
                    <a:cxn ang="0">
                      <a:pos x="16" y="21"/>
                    </a:cxn>
                    <a:cxn ang="0">
                      <a:pos x="7" y="12"/>
                    </a:cxn>
                    <a:cxn ang="0">
                      <a:pos x="0" y="12"/>
                    </a:cxn>
                    <a:cxn ang="0">
                      <a:pos x="5" y="7"/>
                    </a:cxn>
                    <a:cxn ang="0">
                      <a:pos x="23" y="3"/>
                    </a:cxn>
                    <a:cxn ang="0">
                      <a:pos x="29" y="2"/>
                    </a:cxn>
                    <a:cxn ang="0">
                      <a:pos x="33" y="0"/>
                    </a:cxn>
                    <a:cxn ang="0">
                      <a:pos x="49" y="7"/>
                    </a:cxn>
                    <a:cxn ang="0">
                      <a:pos x="64" y="16"/>
                    </a:cxn>
                    <a:cxn ang="0">
                      <a:pos x="68" y="16"/>
                    </a:cxn>
                    <a:cxn ang="0">
                      <a:pos x="75" y="17"/>
                    </a:cxn>
                    <a:cxn ang="0">
                      <a:pos x="82" y="26"/>
                    </a:cxn>
                    <a:cxn ang="0">
                      <a:pos x="85" y="26"/>
                    </a:cxn>
                    <a:cxn ang="0">
                      <a:pos x="89" y="24"/>
                    </a:cxn>
                    <a:cxn ang="0">
                      <a:pos x="92" y="30"/>
                    </a:cxn>
                    <a:cxn ang="0">
                      <a:pos x="89" y="42"/>
                    </a:cxn>
                    <a:cxn ang="0">
                      <a:pos x="89" y="47"/>
                    </a:cxn>
                    <a:cxn ang="0">
                      <a:pos x="94" y="57"/>
                    </a:cxn>
                    <a:cxn ang="0">
                      <a:pos x="99" y="57"/>
                    </a:cxn>
                    <a:cxn ang="0">
                      <a:pos x="101" y="57"/>
                    </a:cxn>
                    <a:cxn ang="0">
                      <a:pos x="103" y="66"/>
                    </a:cxn>
                    <a:cxn ang="0">
                      <a:pos x="106" y="78"/>
                    </a:cxn>
                    <a:cxn ang="0">
                      <a:pos x="110" y="80"/>
                    </a:cxn>
                    <a:cxn ang="0">
                      <a:pos x="115" y="87"/>
                    </a:cxn>
                    <a:cxn ang="0">
                      <a:pos x="115" y="97"/>
                    </a:cxn>
                    <a:cxn ang="0">
                      <a:pos x="118" y="103"/>
                    </a:cxn>
                    <a:cxn ang="0">
                      <a:pos x="122" y="106"/>
                    </a:cxn>
                    <a:cxn ang="0">
                      <a:pos x="117" y="108"/>
                    </a:cxn>
                    <a:cxn ang="0">
                      <a:pos x="113" y="106"/>
                    </a:cxn>
                    <a:cxn ang="0">
                      <a:pos x="103" y="106"/>
                    </a:cxn>
                    <a:cxn ang="0">
                      <a:pos x="94" y="104"/>
                    </a:cxn>
                    <a:cxn ang="0">
                      <a:pos x="92" y="103"/>
                    </a:cxn>
                    <a:cxn ang="0">
                      <a:pos x="87" y="101"/>
                    </a:cxn>
                    <a:cxn ang="0">
                      <a:pos x="80" y="106"/>
                    </a:cxn>
                    <a:cxn ang="0">
                      <a:pos x="82" y="111"/>
                    </a:cxn>
                    <a:cxn ang="0">
                      <a:pos x="83" y="117"/>
                    </a:cxn>
                    <a:cxn ang="0">
                      <a:pos x="80" y="125"/>
                    </a:cxn>
                    <a:cxn ang="0">
                      <a:pos x="70" y="137"/>
                    </a:cxn>
                    <a:cxn ang="0">
                      <a:pos x="66" y="144"/>
                    </a:cxn>
                    <a:cxn ang="0">
                      <a:pos x="66" y="150"/>
                    </a:cxn>
                    <a:cxn ang="0">
                      <a:pos x="59" y="151"/>
                    </a:cxn>
                    <a:cxn ang="0">
                      <a:pos x="56" y="153"/>
                    </a:cxn>
                  </a:cxnLst>
                  <a:rect l="0" t="0" r="r" b="b"/>
                  <a:pathLst>
                    <a:path w="122" h="153">
                      <a:moveTo>
                        <a:pt x="56" y="153"/>
                      </a:moveTo>
                      <a:lnTo>
                        <a:pt x="56" y="153"/>
                      </a:lnTo>
                      <a:lnTo>
                        <a:pt x="52" y="148"/>
                      </a:lnTo>
                      <a:lnTo>
                        <a:pt x="52" y="144"/>
                      </a:lnTo>
                      <a:lnTo>
                        <a:pt x="54" y="139"/>
                      </a:lnTo>
                      <a:lnTo>
                        <a:pt x="52" y="130"/>
                      </a:lnTo>
                      <a:lnTo>
                        <a:pt x="52" y="130"/>
                      </a:lnTo>
                      <a:lnTo>
                        <a:pt x="52" y="125"/>
                      </a:lnTo>
                      <a:lnTo>
                        <a:pt x="52" y="118"/>
                      </a:lnTo>
                      <a:lnTo>
                        <a:pt x="56" y="104"/>
                      </a:lnTo>
                      <a:lnTo>
                        <a:pt x="56" y="97"/>
                      </a:lnTo>
                      <a:lnTo>
                        <a:pt x="56" y="90"/>
                      </a:lnTo>
                      <a:lnTo>
                        <a:pt x="54" y="83"/>
                      </a:lnTo>
                      <a:lnTo>
                        <a:pt x="50" y="78"/>
                      </a:lnTo>
                      <a:lnTo>
                        <a:pt x="50" y="78"/>
                      </a:lnTo>
                      <a:lnTo>
                        <a:pt x="38" y="64"/>
                      </a:lnTo>
                      <a:lnTo>
                        <a:pt x="35" y="57"/>
                      </a:lnTo>
                      <a:lnTo>
                        <a:pt x="33" y="54"/>
                      </a:lnTo>
                      <a:lnTo>
                        <a:pt x="31" y="52"/>
                      </a:lnTo>
                      <a:lnTo>
                        <a:pt x="31" y="52"/>
                      </a:lnTo>
                      <a:lnTo>
                        <a:pt x="28" y="49"/>
                      </a:lnTo>
                      <a:lnTo>
                        <a:pt x="26" y="42"/>
                      </a:lnTo>
                      <a:lnTo>
                        <a:pt x="19" y="28"/>
                      </a:lnTo>
                      <a:lnTo>
                        <a:pt x="16" y="21"/>
                      </a:lnTo>
                      <a:lnTo>
                        <a:pt x="10" y="16"/>
                      </a:lnTo>
                      <a:lnTo>
                        <a:pt x="7" y="12"/>
                      </a:lnTo>
                      <a:lnTo>
                        <a:pt x="0" y="12"/>
                      </a:lnTo>
                      <a:lnTo>
                        <a:pt x="0" y="12"/>
                      </a:lnTo>
                      <a:lnTo>
                        <a:pt x="2" y="9"/>
                      </a:lnTo>
                      <a:lnTo>
                        <a:pt x="5" y="7"/>
                      </a:lnTo>
                      <a:lnTo>
                        <a:pt x="14" y="5"/>
                      </a:lnTo>
                      <a:lnTo>
                        <a:pt x="23" y="3"/>
                      </a:lnTo>
                      <a:lnTo>
                        <a:pt x="26" y="3"/>
                      </a:lnTo>
                      <a:lnTo>
                        <a:pt x="29" y="2"/>
                      </a:lnTo>
                      <a:lnTo>
                        <a:pt x="29" y="2"/>
                      </a:lnTo>
                      <a:lnTo>
                        <a:pt x="33" y="0"/>
                      </a:lnTo>
                      <a:lnTo>
                        <a:pt x="38" y="2"/>
                      </a:lnTo>
                      <a:lnTo>
                        <a:pt x="49" y="7"/>
                      </a:lnTo>
                      <a:lnTo>
                        <a:pt x="59" y="14"/>
                      </a:lnTo>
                      <a:lnTo>
                        <a:pt x="64" y="16"/>
                      </a:lnTo>
                      <a:lnTo>
                        <a:pt x="68" y="16"/>
                      </a:lnTo>
                      <a:lnTo>
                        <a:pt x="68" y="16"/>
                      </a:lnTo>
                      <a:lnTo>
                        <a:pt x="71" y="16"/>
                      </a:lnTo>
                      <a:lnTo>
                        <a:pt x="75" y="17"/>
                      </a:lnTo>
                      <a:lnTo>
                        <a:pt x="78" y="21"/>
                      </a:lnTo>
                      <a:lnTo>
                        <a:pt x="82" y="26"/>
                      </a:lnTo>
                      <a:lnTo>
                        <a:pt x="83" y="26"/>
                      </a:lnTo>
                      <a:lnTo>
                        <a:pt x="85" y="26"/>
                      </a:lnTo>
                      <a:lnTo>
                        <a:pt x="85" y="26"/>
                      </a:lnTo>
                      <a:lnTo>
                        <a:pt x="89" y="24"/>
                      </a:lnTo>
                      <a:lnTo>
                        <a:pt x="90" y="26"/>
                      </a:lnTo>
                      <a:lnTo>
                        <a:pt x="92" y="30"/>
                      </a:lnTo>
                      <a:lnTo>
                        <a:pt x="90" y="35"/>
                      </a:lnTo>
                      <a:lnTo>
                        <a:pt x="89" y="42"/>
                      </a:lnTo>
                      <a:lnTo>
                        <a:pt x="89" y="42"/>
                      </a:lnTo>
                      <a:lnTo>
                        <a:pt x="89" y="47"/>
                      </a:lnTo>
                      <a:lnTo>
                        <a:pt x="90" y="54"/>
                      </a:lnTo>
                      <a:lnTo>
                        <a:pt x="94" y="57"/>
                      </a:lnTo>
                      <a:lnTo>
                        <a:pt x="97" y="57"/>
                      </a:lnTo>
                      <a:lnTo>
                        <a:pt x="99" y="57"/>
                      </a:lnTo>
                      <a:lnTo>
                        <a:pt x="99" y="57"/>
                      </a:lnTo>
                      <a:lnTo>
                        <a:pt x="101" y="57"/>
                      </a:lnTo>
                      <a:lnTo>
                        <a:pt x="103" y="59"/>
                      </a:lnTo>
                      <a:lnTo>
                        <a:pt x="103" y="66"/>
                      </a:lnTo>
                      <a:lnTo>
                        <a:pt x="104" y="75"/>
                      </a:lnTo>
                      <a:lnTo>
                        <a:pt x="106" y="78"/>
                      </a:lnTo>
                      <a:lnTo>
                        <a:pt x="110" y="80"/>
                      </a:lnTo>
                      <a:lnTo>
                        <a:pt x="110" y="80"/>
                      </a:lnTo>
                      <a:lnTo>
                        <a:pt x="113" y="83"/>
                      </a:lnTo>
                      <a:lnTo>
                        <a:pt x="115" y="87"/>
                      </a:lnTo>
                      <a:lnTo>
                        <a:pt x="115" y="92"/>
                      </a:lnTo>
                      <a:lnTo>
                        <a:pt x="115" y="97"/>
                      </a:lnTo>
                      <a:lnTo>
                        <a:pt x="117" y="99"/>
                      </a:lnTo>
                      <a:lnTo>
                        <a:pt x="118" y="103"/>
                      </a:lnTo>
                      <a:lnTo>
                        <a:pt x="118" y="103"/>
                      </a:lnTo>
                      <a:lnTo>
                        <a:pt x="122" y="106"/>
                      </a:lnTo>
                      <a:lnTo>
                        <a:pt x="120" y="108"/>
                      </a:lnTo>
                      <a:lnTo>
                        <a:pt x="117" y="108"/>
                      </a:lnTo>
                      <a:lnTo>
                        <a:pt x="113" y="106"/>
                      </a:lnTo>
                      <a:lnTo>
                        <a:pt x="113" y="106"/>
                      </a:lnTo>
                      <a:lnTo>
                        <a:pt x="108" y="104"/>
                      </a:lnTo>
                      <a:lnTo>
                        <a:pt x="103" y="106"/>
                      </a:lnTo>
                      <a:lnTo>
                        <a:pt x="96" y="106"/>
                      </a:lnTo>
                      <a:lnTo>
                        <a:pt x="94" y="104"/>
                      </a:lnTo>
                      <a:lnTo>
                        <a:pt x="92" y="103"/>
                      </a:lnTo>
                      <a:lnTo>
                        <a:pt x="92" y="103"/>
                      </a:lnTo>
                      <a:lnTo>
                        <a:pt x="89" y="101"/>
                      </a:lnTo>
                      <a:lnTo>
                        <a:pt x="87" y="101"/>
                      </a:lnTo>
                      <a:lnTo>
                        <a:pt x="82" y="103"/>
                      </a:lnTo>
                      <a:lnTo>
                        <a:pt x="80" y="106"/>
                      </a:lnTo>
                      <a:lnTo>
                        <a:pt x="80" y="110"/>
                      </a:lnTo>
                      <a:lnTo>
                        <a:pt x="82" y="111"/>
                      </a:lnTo>
                      <a:lnTo>
                        <a:pt x="82" y="111"/>
                      </a:lnTo>
                      <a:lnTo>
                        <a:pt x="83" y="117"/>
                      </a:lnTo>
                      <a:lnTo>
                        <a:pt x="83" y="120"/>
                      </a:lnTo>
                      <a:lnTo>
                        <a:pt x="80" y="125"/>
                      </a:lnTo>
                      <a:lnTo>
                        <a:pt x="76" y="129"/>
                      </a:lnTo>
                      <a:lnTo>
                        <a:pt x="70" y="137"/>
                      </a:lnTo>
                      <a:lnTo>
                        <a:pt x="68" y="141"/>
                      </a:lnTo>
                      <a:lnTo>
                        <a:pt x="66" y="144"/>
                      </a:lnTo>
                      <a:lnTo>
                        <a:pt x="66" y="144"/>
                      </a:lnTo>
                      <a:lnTo>
                        <a:pt x="66" y="150"/>
                      </a:lnTo>
                      <a:lnTo>
                        <a:pt x="63" y="151"/>
                      </a:lnTo>
                      <a:lnTo>
                        <a:pt x="59" y="151"/>
                      </a:lnTo>
                      <a:lnTo>
                        <a:pt x="56" y="153"/>
                      </a:lnTo>
                      <a:lnTo>
                        <a:pt x="56" y="15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8" name="Freeform 2035">
                  <a:extLst>
                    <a:ext uri="{FF2B5EF4-FFF2-40B4-BE49-F238E27FC236}">
                      <a16:creationId xmlns:a16="http://schemas.microsoft.com/office/drawing/2014/main" id="{076C32CB-7E23-7EA8-2498-FB24B76E3A7F}"/>
                    </a:ext>
                  </a:extLst>
                </p:cNvPr>
                <p:cNvSpPr>
                  <a:spLocks/>
                </p:cNvSpPr>
                <p:nvPr/>
              </p:nvSpPr>
              <p:spPr bwMode="auto">
                <a:xfrm>
                  <a:off x="5311774" y="2355083"/>
                  <a:ext cx="202630" cy="107483"/>
                </a:xfrm>
                <a:custGeom>
                  <a:avLst/>
                  <a:gdLst/>
                  <a:ahLst/>
                  <a:cxnLst>
                    <a:cxn ang="0">
                      <a:pos x="21" y="99"/>
                    </a:cxn>
                    <a:cxn ang="0">
                      <a:pos x="68" y="94"/>
                    </a:cxn>
                    <a:cxn ang="0">
                      <a:pos x="103" y="96"/>
                    </a:cxn>
                    <a:cxn ang="0">
                      <a:pos x="121" y="101"/>
                    </a:cxn>
                    <a:cxn ang="0">
                      <a:pos x="131" y="96"/>
                    </a:cxn>
                    <a:cxn ang="0">
                      <a:pos x="140" y="90"/>
                    </a:cxn>
                    <a:cxn ang="0">
                      <a:pos x="143" y="94"/>
                    </a:cxn>
                    <a:cxn ang="0">
                      <a:pos x="147" y="104"/>
                    </a:cxn>
                    <a:cxn ang="0">
                      <a:pos x="155" y="106"/>
                    </a:cxn>
                    <a:cxn ang="0">
                      <a:pos x="176" y="116"/>
                    </a:cxn>
                    <a:cxn ang="0">
                      <a:pos x="199" y="134"/>
                    </a:cxn>
                    <a:cxn ang="0">
                      <a:pos x="211" y="125"/>
                    </a:cxn>
                    <a:cxn ang="0">
                      <a:pos x="228" y="125"/>
                    </a:cxn>
                    <a:cxn ang="0">
                      <a:pos x="234" y="122"/>
                    </a:cxn>
                    <a:cxn ang="0">
                      <a:pos x="253" y="108"/>
                    </a:cxn>
                    <a:cxn ang="0">
                      <a:pos x="255" y="99"/>
                    </a:cxn>
                    <a:cxn ang="0">
                      <a:pos x="249" y="83"/>
                    </a:cxn>
                    <a:cxn ang="0">
                      <a:pos x="244" y="71"/>
                    </a:cxn>
                    <a:cxn ang="0">
                      <a:pos x="241" y="69"/>
                    </a:cxn>
                    <a:cxn ang="0">
                      <a:pos x="237" y="61"/>
                    </a:cxn>
                    <a:cxn ang="0">
                      <a:pos x="241" y="50"/>
                    </a:cxn>
                    <a:cxn ang="0">
                      <a:pos x="242" y="43"/>
                    </a:cxn>
                    <a:cxn ang="0">
                      <a:pos x="225" y="29"/>
                    </a:cxn>
                    <a:cxn ang="0">
                      <a:pos x="220" y="31"/>
                    </a:cxn>
                    <a:cxn ang="0">
                      <a:pos x="208" y="28"/>
                    </a:cxn>
                    <a:cxn ang="0">
                      <a:pos x="197" y="31"/>
                    </a:cxn>
                    <a:cxn ang="0">
                      <a:pos x="187" y="24"/>
                    </a:cxn>
                    <a:cxn ang="0">
                      <a:pos x="176" y="14"/>
                    </a:cxn>
                    <a:cxn ang="0">
                      <a:pos x="162" y="7"/>
                    </a:cxn>
                    <a:cxn ang="0">
                      <a:pos x="150" y="0"/>
                    </a:cxn>
                    <a:cxn ang="0">
                      <a:pos x="131" y="8"/>
                    </a:cxn>
                    <a:cxn ang="0">
                      <a:pos x="117" y="19"/>
                    </a:cxn>
                    <a:cxn ang="0">
                      <a:pos x="122" y="43"/>
                    </a:cxn>
                    <a:cxn ang="0">
                      <a:pos x="108" y="57"/>
                    </a:cxn>
                    <a:cxn ang="0">
                      <a:pos x="89" y="59"/>
                    </a:cxn>
                    <a:cxn ang="0">
                      <a:pos x="75" y="42"/>
                    </a:cxn>
                    <a:cxn ang="0">
                      <a:pos x="67" y="33"/>
                    </a:cxn>
                    <a:cxn ang="0">
                      <a:pos x="58" y="24"/>
                    </a:cxn>
                    <a:cxn ang="0">
                      <a:pos x="56" y="19"/>
                    </a:cxn>
                    <a:cxn ang="0">
                      <a:pos x="30" y="28"/>
                    </a:cxn>
                    <a:cxn ang="0">
                      <a:pos x="21" y="35"/>
                    </a:cxn>
                    <a:cxn ang="0">
                      <a:pos x="16" y="52"/>
                    </a:cxn>
                    <a:cxn ang="0">
                      <a:pos x="16" y="57"/>
                    </a:cxn>
                    <a:cxn ang="0">
                      <a:pos x="4" y="69"/>
                    </a:cxn>
                    <a:cxn ang="0">
                      <a:pos x="0" y="83"/>
                    </a:cxn>
                    <a:cxn ang="0">
                      <a:pos x="0" y="111"/>
                    </a:cxn>
                  </a:cxnLst>
                  <a:rect l="0" t="0" r="r" b="b"/>
                  <a:pathLst>
                    <a:path w="255" h="134">
                      <a:moveTo>
                        <a:pt x="0" y="111"/>
                      </a:moveTo>
                      <a:lnTo>
                        <a:pt x="0" y="111"/>
                      </a:lnTo>
                      <a:lnTo>
                        <a:pt x="21" y="99"/>
                      </a:lnTo>
                      <a:lnTo>
                        <a:pt x="37" y="94"/>
                      </a:lnTo>
                      <a:lnTo>
                        <a:pt x="51" y="92"/>
                      </a:lnTo>
                      <a:lnTo>
                        <a:pt x="68" y="94"/>
                      </a:lnTo>
                      <a:lnTo>
                        <a:pt x="68" y="94"/>
                      </a:lnTo>
                      <a:lnTo>
                        <a:pt x="94" y="96"/>
                      </a:lnTo>
                      <a:lnTo>
                        <a:pt x="103" y="96"/>
                      </a:lnTo>
                      <a:lnTo>
                        <a:pt x="115" y="99"/>
                      </a:lnTo>
                      <a:lnTo>
                        <a:pt x="115" y="99"/>
                      </a:lnTo>
                      <a:lnTo>
                        <a:pt x="121" y="101"/>
                      </a:lnTo>
                      <a:lnTo>
                        <a:pt x="126" y="99"/>
                      </a:lnTo>
                      <a:lnTo>
                        <a:pt x="129" y="99"/>
                      </a:lnTo>
                      <a:lnTo>
                        <a:pt x="131" y="96"/>
                      </a:lnTo>
                      <a:lnTo>
                        <a:pt x="134" y="92"/>
                      </a:lnTo>
                      <a:lnTo>
                        <a:pt x="136" y="90"/>
                      </a:lnTo>
                      <a:lnTo>
                        <a:pt x="140" y="90"/>
                      </a:lnTo>
                      <a:lnTo>
                        <a:pt x="140" y="90"/>
                      </a:lnTo>
                      <a:lnTo>
                        <a:pt x="141" y="92"/>
                      </a:lnTo>
                      <a:lnTo>
                        <a:pt x="143" y="94"/>
                      </a:lnTo>
                      <a:lnTo>
                        <a:pt x="143" y="99"/>
                      </a:lnTo>
                      <a:lnTo>
                        <a:pt x="145" y="101"/>
                      </a:lnTo>
                      <a:lnTo>
                        <a:pt x="147" y="104"/>
                      </a:lnTo>
                      <a:lnTo>
                        <a:pt x="150" y="104"/>
                      </a:lnTo>
                      <a:lnTo>
                        <a:pt x="155" y="106"/>
                      </a:lnTo>
                      <a:lnTo>
                        <a:pt x="155" y="106"/>
                      </a:lnTo>
                      <a:lnTo>
                        <a:pt x="162" y="106"/>
                      </a:lnTo>
                      <a:lnTo>
                        <a:pt x="168" y="108"/>
                      </a:lnTo>
                      <a:lnTo>
                        <a:pt x="176" y="116"/>
                      </a:lnTo>
                      <a:lnTo>
                        <a:pt x="187" y="125"/>
                      </a:lnTo>
                      <a:lnTo>
                        <a:pt x="192" y="129"/>
                      </a:lnTo>
                      <a:lnTo>
                        <a:pt x="199" y="134"/>
                      </a:lnTo>
                      <a:lnTo>
                        <a:pt x="199" y="134"/>
                      </a:lnTo>
                      <a:lnTo>
                        <a:pt x="206" y="129"/>
                      </a:lnTo>
                      <a:lnTo>
                        <a:pt x="211" y="125"/>
                      </a:lnTo>
                      <a:lnTo>
                        <a:pt x="216" y="125"/>
                      </a:lnTo>
                      <a:lnTo>
                        <a:pt x="222" y="125"/>
                      </a:lnTo>
                      <a:lnTo>
                        <a:pt x="228" y="125"/>
                      </a:lnTo>
                      <a:lnTo>
                        <a:pt x="232" y="125"/>
                      </a:lnTo>
                      <a:lnTo>
                        <a:pt x="234" y="122"/>
                      </a:lnTo>
                      <a:lnTo>
                        <a:pt x="234" y="122"/>
                      </a:lnTo>
                      <a:lnTo>
                        <a:pt x="241" y="113"/>
                      </a:lnTo>
                      <a:lnTo>
                        <a:pt x="246" y="109"/>
                      </a:lnTo>
                      <a:lnTo>
                        <a:pt x="253" y="108"/>
                      </a:lnTo>
                      <a:lnTo>
                        <a:pt x="253" y="108"/>
                      </a:lnTo>
                      <a:lnTo>
                        <a:pt x="253" y="104"/>
                      </a:lnTo>
                      <a:lnTo>
                        <a:pt x="255" y="99"/>
                      </a:lnTo>
                      <a:lnTo>
                        <a:pt x="255" y="92"/>
                      </a:lnTo>
                      <a:lnTo>
                        <a:pt x="253" y="87"/>
                      </a:lnTo>
                      <a:lnTo>
                        <a:pt x="249" y="83"/>
                      </a:lnTo>
                      <a:lnTo>
                        <a:pt x="249" y="83"/>
                      </a:lnTo>
                      <a:lnTo>
                        <a:pt x="244" y="76"/>
                      </a:lnTo>
                      <a:lnTo>
                        <a:pt x="244" y="71"/>
                      </a:lnTo>
                      <a:lnTo>
                        <a:pt x="244" y="69"/>
                      </a:lnTo>
                      <a:lnTo>
                        <a:pt x="241" y="69"/>
                      </a:lnTo>
                      <a:lnTo>
                        <a:pt x="241" y="69"/>
                      </a:lnTo>
                      <a:lnTo>
                        <a:pt x="239" y="68"/>
                      </a:lnTo>
                      <a:lnTo>
                        <a:pt x="237" y="68"/>
                      </a:lnTo>
                      <a:lnTo>
                        <a:pt x="237" y="61"/>
                      </a:lnTo>
                      <a:lnTo>
                        <a:pt x="239" y="55"/>
                      </a:lnTo>
                      <a:lnTo>
                        <a:pt x="241" y="50"/>
                      </a:lnTo>
                      <a:lnTo>
                        <a:pt x="241" y="50"/>
                      </a:lnTo>
                      <a:lnTo>
                        <a:pt x="244" y="49"/>
                      </a:lnTo>
                      <a:lnTo>
                        <a:pt x="244" y="45"/>
                      </a:lnTo>
                      <a:lnTo>
                        <a:pt x="242" y="43"/>
                      </a:lnTo>
                      <a:lnTo>
                        <a:pt x="241" y="42"/>
                      </a:lnTo>
                      <a:lnTo>
                        <a:pt x="234" y="36"/>
                      </a:lnTo>
                      <a:lnTo>
                        <a:pt x="225" y="29"/>
                      </a:lnTo>
                      <a:lnTo>
                        <a:pt x="225" y="29"/>
                      </a:lnTo>
                      <a:lnTo>
                        <a:pt x="222" y="31"/>
                      </a:lnTo>
                      <a:lnTo>
                        <a:pt x="220" y="31"/>
                      </a:lnTo>
                      <a:lnTo>
                        <a:pt x="216" y="29"/>
                      </a:lnTo>
                      <a:lnTo>
                        <a:pt x="211" y="28"/>
                      </a:lnTo>
                      <a:lnTo>
                        <a:pt x="208" y="28"/>
                      </a:lnTo>
                      <a:lnTo>
                        <a:pt x="202" y="29"/>
                      </a:lnTo>
                      <a:lnTo>
                        <a:pt x="202" y="29"/>
                      </a:lnTo>
                      <a:lnTo>
                        <a:pt x="197" y="31"/>
                      </a:lnTo>
                      <a:lnTo>
                        <a:pt x="194" y="29"/>
                      </a:lnTo>
                      <a:lnTo>
                        <a:pt x="190" y="28"/>
                      </a:lnTo>
                      <a:lnTo>
                        <a:pt x="187" y="24"/>
                      </a:lnTo>
                      <a:lnTo>
                        <a:pt x="181" y="17"/>
                      </a:lnTo>
                      <a:lnTo>
                        <a:pt x="178" y="15"/>
                      </a:lnTo>
                      <a:lnTo>
                        <a:pt x="176" y="14"/>
                      </a:lnTo>
                      <a:lnTo>
                        <a:pt x="176" y="14"/>
                      </a:lnTo>
                      <a:lnTo>
                        <a:pt x="168" y="12"/>
                      </a:lnTo>
                      <a:lnTo>
                        <a:pt x="162" y="7"/>
                      </a:lnTo>
                      <a:lnTo>
                        <a:pt x="157" y="3"/>
                      </a:lnTo>
                      <a:lnTo>
                        <a:pt x="150" y="0"/>
                      </a:lnTo>
                      <a:lnTo>
                        <a:pt x="150" y="0"/>
                      </a:lnTo>
                      <a:lnTo>
                        <a:pt x="143" y="0"/>
                      </a:lnTo>
                      <a:lnTo>
                        <a:pt x="138" y="3"/>
                      </a:lnTo>
                      <a:lnTo>
                        <a:pt x="131" y="8"/>
                      </a:lnTo>
                      <a:lnTo>
                        <a:pt x="117" y="12"/>
                      </a:lnTo>
                      <a:lnTo>
                        <a:pt x="117" y="12"/>
                      </a:lnTo>
                      <a:lnTo>
                        <a:pt x="117" y="19"/>
                      </a:lnTo>
                      <a:lnTo>
                        <a:pt x="119" y="26"/>
                      </a:lnTo>
                      <a:lnTo>
                        <a:pt x="122" y="38"/>
                      </a:lnTo>
                      <a:lnTo>
                        <a:pt x="122" y="43"/>
                      </a:lnTo>
                      <a:lnTo>
                        <a:pt x="121" y="49"/>
                      </a:lnTo>
                      <a:lnTo>
                        <a:pt x="117" y="54"/>
                      </a:lnTo>
                      <a:lnTo>
                        <a:pt x="108" y="57"/>
                      </a:lnTo>
                      <a:lnTo>
                        <a:pt x="108" y="57"/>
                      </a:lnTo>
                      <a:lnTo>
                        <a:pt x="98" y="61"/>
                      </a:lnTo>
                      <a:lnTo>
                        <a:pt x="89" y="59"/>
                      </a:lnTo>
                      <a:lnTo>
                        <a:pt x="84" y="57"/>
                      </a:lnTo>
                      <a:lnTo>
                        <a:pt x="80" y="52"/>
                      </a:lnTo>
                      <a:lnTo>
                        <a:pt x="75" y="42"/>
                      </a:lnTo>
                      <a:lnTo>
                        <a:pt x="72" y="36"/>
                      </a:lnTo>
                      <a:lnTo>
                        <a:pt x="67" y="33"/>
                      </a:lnTo>
                      <a:lnTo>
                        <a:pt x="67" y="33"/>
                      </a:lnTo>
                      <a:lnTo>
                        <a:pt x="61" y="29"/>
                      </a:lnTo>
                      <a:lnTo>
                        <a:pt x="58" y="28"/>
                      </a:lnTo>
                      <a:lnTo>
                        <a:pt x="58" y="24"/>
                      </a:lnTo>
                      <a:lnTo>
                        <a:pt x="58" y="22"/>
                      </a:lnTo>
                      <a:lnTo>
                        <a:pt x="58" y="21"/>
                      </a:lnTo>
                      <a:lnTo>
                        <a:pt x="56" y="19"/>
                      </a:lnTo>
                      <a:lnTo>
                        <a:pt x="51" y="21"/>
                      </a:lnTo>
                      <a:lnTo>
                        <a:pt x="51" y="21"/>
                      </a:lnTo>
                      <a:lnTo>
                        <a:pt x="30" y="28"/>
                      </a:lnTo>
                      <a:lnTo>
                        <a:pt x="25" y="31"/>
                      </a:lnTo>
                      <a:lnTo>
                        <a:pt x="21" y="35"/>
                      </a:lnTo>
                      <a:lnTo>
                        <a:pt x="21" y="35"/>
                      </a:lnTo>
                      <a:lnTo>
                        <a:pt x="16" y="43"/>
                      </a:lnTo>
                      <a:lnTo>
                        <a:pt x="14" y="47"/>
                      </a:lnTo>
                      <a:lnTo>
                        <a:pt x="16" y="52"/>
                      </a:lnTo>
                      <a:lnTo>
                        <a:pt x="16" y="52"/>
                      </a:lnTo>
                      <a:lnTo>
                        <a:pt x="16" y="55"/>
                      </a:lnTo>
                      <a:lnTo>
                        <a:pt x="16" y="57"/>
                      </a:lnTo>
                      <a:lnTo>
                        <a:pt x="13" y="61"/>
                      </a:lnTo>
                      <a:lnTo>
                        <a:pt x="7" y="66"/>
                      </a:lnTo>
                      <a:lnTo>
                        <a:pt x="4" y="69"/>
                      </a:lnTo>
                      <a:lnTo>
                        <a:pt x="2" y="73"/>
                      </a:lnTo>
                      <a:lnTo>
                        <a:pt x="2" y="73"/>
                      </a:lnTo>
                      <a:lnTo>
                        <a:pt x="0" y="83"/>
                      </a:lnTo>
                      <a:lnTo>
                        <a:pt x="0" y="94"/>
                      </a:lnTo>
                      <a:lnTo>
                        <a:pt x="0" y="111"/>
                      </a:lnTo>
                      <a:lnTo>
                        <a:pt x="0" y="1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9" name="Freeform 2036">
                  <a:extLst>
                    <a:ext uri="{FF2B5EF4-FFF2-40B4-BE49-F238E27FC236}">
                      <a16:creationId xmlns:a16="http://schemas.microsoft.com/office/drawing/2014/main" id="{4521A59B-06F0-2211-8FFD-81C3BEE396AB}"/>
                    </a:ext>
                  </a:extLst>
                </p:cNvPr>
                <p:cNvSpPr>
                  <a:spLocks/>
                </p:cNvSpPr>
                <p:nvPr/>
              </p:nvSpPr>
              <p:spPr bwMode="auto">
                <a:xfrm>
                  <a:off x="5273012" y="2476659"/>
                  <a:ext cx="89862" cy="44049"/>
                </a:xfrm>
                <a:custGeom>
                  <a:avLst/>
                  <a:gdLst/>
                  <a:ahLst/>
                  <a:cxnLst>
                    <a:cxn ang="0">
                      <a:pos x="0" y="44"/>
                    </a:cxn>
                    <a:cxn ang="0">
                      <a:pos x="0" y="44"/>
                    </a:cxn>
                    <a:cxn ang="0">
                      <a:pos x="33" y="49"/>
                    </a:cxn>
                    <a:cxn ang="0">
                      <a:pos x="63" y="52"/>
                    </a:cxn>
                    <a:cxn ang="0">
                      <a:pos x="89" y="52"/>
                    </a:cxn>
                    <a:cxn ang="0">
                      <a:pos x="101" y="50"/>
                    </a:cxn>
                    <a:cxn ang="0">
                      <a:pos x="110" y="49"/>
                    </a:cxn>
                    <a:cxn ang="0">
                      <a:pos x="110" y="49"/>
                    </a:cxn>
                    <a:cxn ang="0">
                      <a:pos x="110" y="42"/>
                    </a:cxn>
                    <a:cxn ang="0">
                      <a:pos x="110" y="37"/>
                    </a:cxn>
                    <a:cxn ang="0">
                      <a:pos x="112" y="28"/>
                    </a:cxn>
                    <a:cxn ang="0">
                      <a:pos x="112" y="23"/>
                    </a:cxn>
                    <a:cxn ang="0">
                      <a:pos x="112" y="21"/>
                    </a:cxn>
                    <a:cxn ang="0">
                      <a:pos x="108" y="17"/>
                    </a:cxn>
                    <a:cxn ang="0">
                      <a:pos x="108" y="17"/>
                    </a:cxn>
                    <a:cxn ang="0">
                      <a:pos x="103" y="14"/>
                    </a:cxn>
                    <a:cxn ang="0">
                      <a:pos x="100" y="12"/>
                    </a:cxn>
                    <a:cxn ang="0">
                      <a:pos x="94" y="12"/>
                    </a:cxn>
                    <a:cxn ang="0">
                      <a:pos x="89" y="12"/>
                    </a:cxn>
                    <a:cxn ang="0">
                      <a:pos x="84" y="12"/>
                    </a:cxn>
                    <a:cxn ang="0">
                      <a:pos x="73" y="9"/>
                    </a:cxn>
                    <a:cxn ang="0">
                      <a:pos x="58" y="2"/>
                    </a:cxn>
                    <a:cxn ang="0">
                      <a:pos x="58" y="2"/>
                    </a:cxn>
                    <a:cxn ang="0">
                      <a:pos x="58" y="5"/>
                    </a:cxn>
                    <a:cxn ang="0">
                      <a:pos x="56" y="5"/>
                    </a:cxn>
                    <a:cxn ang="0">
                      <a:pos x="54" y="7"/>
                    </a:cxn>
                    <a:cxn ang="0">
                      <a:pos x="56" y="14"/>
                    </a:cxn>
                    <a:cxn ang="0">
                      <a:pos x="56" y="14"/>
                    </a:cxn>
                    <a:cxn ang="0">
                      <a:pos x="56" y="16"/>
                    </a:cxn>
                    <a:cxn ang="0">
                      <a:pos x="54" y="17"/>
                    </a:cxn>
                    <a:cxn ang="0">
                      <a:pos x="51" y="21"/>
                    </a:cxn>
                    <a:cxn ang="0">
                      <a:pos x="44" y="21"/>
                    </a:cxn>
                    <a:cxn ang="0">
                      <a:pos x="39" y="21"/>
                    </a:cxn>
                    <a:cxn ang="0">
                      <a:pos x="39" y="21"/>
                    </a:cxn>
                    <a:cxn ang="0">
                      <a:pos x="39" y="19"/>
                    </a:cxn>
                    <a:cxn ang="0">
                      <a:pos x="37" y="19"/>
                    </a:cxn>
                    <a:cxn ang="0">
                      <a:pos x="39" y="14"/>
                    </a:cxn>
                    <a:cxn ang="0">
                      <a:pos x="47" y="3"/>
                    </a:cxn>
                    <a:cxn ang="0">
                      <a:pos x="47" y="3"/>
                    </a:cxn>
                    <a:cxn ang="0">
                      <a:pos x="49" y="0"/>
                    </a:cxn>
                    <a:cxn ang="0">
                      <a:pos x="47" y="0"/>
                    </a:cxn>
                    <a:cxn ang="0">
                      <a:pos x="37" y="10"/>
                    </a:cxn>
                    <a:cxn ang="0">
                      <a:pos x="37" y="10"/>
                    </a:cxn>
                    <a:cxn ang="0">
                      <a:pos x="32" y="17"/>
                    </a:cxn>
                    <a:cxn ang="0">
                      <a:pos x="28" y="17"/>
                    </a:cxn>
                    <a:cxn ang="0">
                      <a:pos x="23" y="17"/>
                    </a:cxn>
                    <a:cxn ang="0">
                      <a:pos x="16" y="17"/>
                    </a:cxn>
                    <a:cxn ang="0">
                      <a:pos x="16" y="17"/>
                    </a:cxn>
                    <a:cxn ang="0">
                      <a:pos x="13" y="19"/>
                    </a:cxn>
                    <a:cxn ang="0">
                      <a:pos x="11" y="21"/>
                    </a:cxn>
                    <a:cxn ang="0">
                      <a:pos x="9" y="26"/>
                    </a:cxn>
                    <a:cxn ang="0">
                      <a:pos x="9" y="30"/>
                    </a:cxn>
                    <a:cxn ang="0">
                      <a:pos x="9" y="35"/>
                    </a:cxn>
                    <a:cxn ang="0">
                      <a:pos x="6" y="40"/>
                    </a:cxn>
                    <a:cxn ang="0">
                      <a:pos x="0" y="44"/>
                    </a:cxn>
                    <a:cxn ang="0">
                      <a:pos x="0" y="44"/>
                    </a:cxn>
                  </a:cxnLst>
                  <a:rect l="0" t="0" r="r" b="b"/>
                  <a:pathLst>
                    <a:path w="112" h="52">
                      <a:moveTo>
                        <a:pt x="0" y="44"/>
                      </a:moveTo>
                      <a:lnTo>
                        <a:pt x="0" y="44"/>
                      </a:lnTo>
                      <a:lnTo>
                        <a:pt x="33" y="49"/>
                      </a:lnTo>
                      <a:lnTo>
                        <a:pt x="63" y="52"/>
                      </a:lnTo>
                      <a:lnTo>
                        <a:pt x="89" y="52"/>
                      </a:lnTo>
                      <a:lnTo>
                        <a:pt x="101" y="50"/>
                      </a:lnTo>
                      <a:lnTo>
                        <a:pt x="110" y="49"/>
                      </a:lnTo>
                      <a:lnTo>
                        <a:pt x="110" y="49"/>
                      </a:lnTo>
                      <a:lnTo>
                        <a:pt x="110" y="42"/>
                      </a:lnTo>
                      <a:lnTo>
                        <a:pt x="110" y="37"/>
                      </a:lnTo>
                      <a:lnTo>
                        <a:pt x="112" y="28"/>
                      </a:lnTo>
                      <a:lnTo>
                        <a:pt x="112" y="23"/>
                      </a:lnTo>
                      <a:lnTo>
                        <a:pt x="112" y="21"/>
                      </a:lnTo>
                      <a:lnTo>
                        <a:pt x="108" y="17"/>
                      </a:lnTo>
                      <a:lnTo>
                        <a:pt x="108" y="17"/>
                      </a:lnTo>
                      <a:lnTo>
                        <a:pt x="103" y="14"/>
                      </a:lnTo>
                      <a:lnTo>
                        <a:pt x="100" y="12"/>
                      </a:lnTo>
                      <a:lnTo>
                        <a:pt x="94" y="12"/>
                      </a:lnTo>
                      <a:lnTo>
                        <a:pt x="89" y="12"/>
                      </a:lnTo>
                      <a:lnTo>
                        <a:pt x="84" y="12"/>
                      </a:lnTo>
                      <a:lnTo>
                        <a:pt x="73" y="9"/>
                      </a:lnTo>
                      <a:lnTo>
                        <a:pt x="58" y="2"/>
                      </a:lnTo>
                      <a:lnTo>
                        <a:pt x="58" y="2"/>
                      </a:lnTo>
                      <a:lnTo>
                        <a:pt x="58" y="5"/>
                      </a:lnTo>
                      <a:lnTo>
                        <a:pt x="56" y="5"/>
                      </a:lnTo>
                      <a:lnTo>
                        <a:pt x="54" y="7"/>
                      </a:lnTo>
                      <a:lnTo>
                        <a:pt x="56" y="14"/>
                      </a:lnTo>
                      <a:lnTo>
                        <a:pt x="56" y="14"/>
                      </a:lnTo>
                      <a:lnTo>
                        <a:pt x="56" y="16"/>
                      </a:lnTo>
                      <a:lnTo>
                        <a:pt x="54" y="17"/>
                      </a:lnTo>
                      <a:lnTo>
                        <a:pt x="51" y="21"/>
                      </a:lnTo>
                      <a:lnTo>
                        <a:pt x="44" y="21"/>
                      </a:lnTo>
                      <a:lnTo>
                        <a:pt x="39" y="21"/>
                      </a:lnTo>
                      <a:lnTo>
                        <a:pt x="39" y="21"/>
                      </a:lnTo>
                      <a:lnTo>
                        <a:pt x="39" y="19"/>
                      </a:lnTo>
                      <a:lnTo>
                        <a:pt x="37" y="19"/>
                      </a:lnTo>
                      <a:lnTo>
                        <a:pt x="39" y="14"/>
                      </a:lnTo>
                      <a:lnTo>
                        <a:pt x="47" y="3"/>
                      </a:lnTo>
                      <a:lnTo>
                        <a:pt x="47" y="3"/>
                      </a:lnTo>
                      <a:lnTo>
                        <a:pt x="49" y="0"/>
                      </a:lnTo>
                      <a:lnTo>
                        <a:pt x="47" y="0"/>
                      </a:lnTo>
                      <a:lnTo>
                        <a:pt x="37" y="10"/>
                      </a:lnTo>
                      <a:lnTo>
                        <a:pt x="37" y="10"/>
                      </a:lnTo>
                      <a:lnTo>
                        <a:pt x="32" y="17"/>
                      </a:lnTo>
                      <a:lnTo>
                        <a:pt x="28" y="17"/>
                      </a:lnTo>
                      <a:lnTo>
                        <a:pt x="23" y="17"/>
                      </a:lnTo>
                      <a:lnTo>
                        <a:pt x="16" y="17"/>
                      </a:lnTo>
                      <a:lnTo>
                        <a:pt x="16" y="17"/>
                      </a:lnTo>
                      <a:lnTo>
                        <a:pt x="13" y="19"/>
                      </a:lnTo>
                      <a:lnTo>
                        <a:pt x="11" y="21"/>
                      </a:lnTo>
                      <a:lnTo>
                        <a:pt x="9" y="26"/>
                      </a:lnTo>
                      <a:lnTo>
                        <a:pt x="9" y="30"/>
                      </a:lnTo>
                      <a:lnTo>
                        <a:pt x="9" y="35"/>
                      </a:lnTo>
                      <a:lnTo>
                        <a:pt x="6" y="40"/>
                      </a:lnTo>
                      <a:lnTo>
                        <a:pt x="0" y="44"/>
                      </a:lnTo>
                      <a:lnTo>
                        <a:pt x="0" y="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0" name="Freeform 2037">
                  <a:extLst>
                    <a:ext uri="{FF2B5EF4-FFF2-40B4-BE49-F238E27FC236}">
                      <a16:creationId xmlns:a16="http://schemas.microsoft.com/office/drawing/2014/main" id="{2EDFFAB7-95CC-CBAE-0C34-BBBF7D0DC849}"/>
                    </a:ext>
                  </a:extLst>
                </p:cNvPr>
                <p:cNvSpPr>
                  <a:spLocks/>
                </p:cNvSpPr>
                <p:nvPr/>
              </p:nvSpPr>
              <p:spPr bwMode="auto">
                <a:xfrm>
                  <a:off x="4451916" y="3017596"/>
                  <a:ext cx="95148" cy="197344"/>
                </a:xfrm>
                <a:custGeom>
                  <a:avLst/>
                  <a:gdLst/>
                  <a:ahLst/>
                  <a:cxnLst>
                    <a:cxn ang="0">
                      <a:pos x="34" y="5"/>
                    </a:cxn>
                    <a:cxn ang="0">
                      <a:pos x="48" y="2"/>
                    </a:cxn>
                    <a:cxn ang="0">
                      <a:pos x="50" y="4"/>
                    </a:cxn>
                    <a:cxn ang="0">
                      <a:pos x="45" y="12"/>
                    </a:cxn>
                    <a:cxn ang="0">
                      <a:pos x="48" y="16"/>
                    </a:cxn>
                    <a:cxn ang="0">
                      <a:pos x="59" y="10"/>
                    </a:cxn>
                    <a:cxn ang="0">
                      <a:pos x="67" y="12"/>
                    </a:cxn>
                    <a:cxn ang="0">
                      <a:pos x="78" y="12"/>
                    </a:cxn>
                    <a:cxn ang="0">
                      <a:pos x="94" y="9"/>
                    </a:cxn>
                    <a:cxn ang="0">
                      <a:pos x="102" y="12"/>
                    </a:cxn>
                    <a:cxn ang="0">
                      <a:pos x="104" y="19"/>
                    </a:cxn>
                    <a:cxn ang="0">
                      <a:pos x="111" y="23"/>
                    </a:cxn>
                    <a:cxn ang="0">
                      <a:pos x="113" y="33"/>
                    </a:cxn>
                    <a:cxn ang="0">
                      <a:pos x="95" y="56"/>
                    </a:cxn>
                    <a:cxn ang="0">
                      <a:pos x="95" y="71"/>
                    </a:cxn>
                    <a:cxn ang="0">
                      <a:pos x="88" y="94"/>
                    </a:cxn>
                    <a:cxn ang="0">
                      <a:pos x="90" y="101"/>
                    </a:cxn>
                    <a:cxn ang="0">
                      <a:pos x="87" y="117"/>
                    </a:cxn>
                    <a:cxn ang="0">
                      <a:pos x="73" y="120"/>
                    </a:cxn>
                    <a:cxn ang="0">
                      <a:pos x="76" y="129"/>
                    </a:cxn>
                    <a:cxn ang="0">
                      <a:pos x="80" y="143"/>
                    </a:cxn>
                    <a:cxn ang="0">
                      <a:pos x="90" y="148"/>
                    </a:cxn>
                    <a:cxn ang="0">
                      <a:pos x="85" y="158"/>
                    </a:cxn>
                    <a:cxn ang="0">
                      <a:pos x="76" y="176"/>
                    </a:cxn>
                    <a:cxn ang="0">
                      <a:pos x="80" y="185"/>
                    </a:cxn>
                    <a:cxn ang="0">
                      <a:pos x="88" y="190"/>
                    </a:cxn>
                    <a:cxn ang="0">
                      <a:pos x="81" y="200"/>
                    </a:cxn>
                    <a:cxn ang="0">
                      <a:pos x="74" y="209"/>
                    </a:cxn>
                    <a:cxn ang="0">
                      <a:pos x="74" y="239"/>
                    </a:cxn>
                    <a:cxn ang="0">
                      <a:pos x="62" y="246"/>
                    </a:cxn>
                    <a:cxn ang="0">
                      <a:pos x="48" y="246"/>
                    </a:cxn>
                    <a:cxn ang="0">
                      <a:pos x="26" y="244"/>
                    </a:cxn>
                    <a:cxn ang="0">
                      <a:pos x="20" y="247"/>
                    </a:cxn>
                    <a:cxn ang="0">
                      <a:pos x="22" y="235"/>
                    </a:cxn>
                    <a:cxn ang="0">
                      <a:pos x="22" y="200"/>
                    </a:cxn>
                    <a:cxn ang="0">
                      <a:pos x="26" y="186"/>
                    </a:cxn>
                    <a:cxn ang="0">
                      <a:pos x="22" y="178"/>
                    </a:cxn>
                    <a:cxn ang="0">
                      <a:pos x="13" y="179"/>
                    </a:cxn>
                    <a:cxn ang="0">
                      <a:pos x="10" y="174"/>
                    </a:cxn>
                    <a:cxn ang="0">
                      <a:pos x="10" y="169"/>
                    </a:cxn>
                    <a:cxn ang="0">
                      <a:pos x="12" y="165"/>
                    </a:cxn>
                    <a:cxn ang="0">
                      <a:pos x="1" y="165"/>
                    </a:cxn>
                    <a:cxn ang="0">
                      <a:pos x="1" y="155"/>
                    </a:cxn>
                    <a:cxn ang="0">
                      <a:pos x="5" y="138"/>
                    </a:cxn>
                    <a:cxn ang="0">
                      <a:pos x="6" y="132"/>
                    </a:cxn>
                    <a:cxn ang="0">
                      <a:pos x="15" y="118"/>
                    </a:cxn>
                    <a:cxn ang="0">
                      <a:pos x="22" y="99"/>
                    </a:cxn>
                    <a:cxn ang="0">
                      <a:pos x="22" y="92"/>
                    </a:cxn>
                    <a:cxn ang="0">
                      <a:pos x="31" y="58"/>
                    </a:cxn>
                    <a:cxn ang="0">
                      <a:pos x="31" y="47"/>
                    </a:cxn>
                    <a:cxn ang="0">
                      <a:pos x="26" y="26"/>
                    </a:cxn>
                    <a:cxn ang="0">
                      <a:pos x="24" y="21"/>
                    </a:cxn>
                    <a:cxn ang="0">
                      <a:pos x="26" y="14"/>
                    </a:cxn>
                  </a:cxnLst>
                  <a:rect l="0" t="0" r="r" b="b"/>
                  <a:pathLst>
                    <a:path w="116" h="247">
                      <a:moveTo>
                        <a:pt x="26" y="14"/>
                      </a:moveTo>
                      <a:lnTo>
                        <a:pt x="26" y="14"/>
                      </a:lnTo>
                      <a:lnTo>
                        <a:pt x="34" y="5"/>
                      </a:lnTo>
                      <a:lnTo>
                        <a:pt x="41" y="0"/>
                      </a:lnTo>
                      <a:lnTo>
                        <a:pt x="45" y="0"/>
                      </a:lnTo>
                      <a:lnTo>
                        <a:pt x="48" y="2"/>
                      </a:lnTo>
                      <a:lnTo>
                        <a:pt x="48" y="2"/>
                      </a:lnTo>
                      <a:lnTo>
                        <a:pt x="50" y="4"/>
                      </a:lnTo>
                      <a:lnTo>
                        <a:pt x="50" y="4"/>
                      </a:lnTo>
                      <a:lnTo>
                        <a:pt x="48" y="9"/>
                      </a:lnTo>
                      <a:lnTo>
                        <a:pt x="45" y="12"/>
                      </a:lnTo>
                      <a:lnTo>
                        <a:pt x="45" y="12"/>
                      </a:lnTo>
                      <a:lnTo>
                        <a:pt x="47" y="14"/>
                      </a:lnTo>
                      <a:lnTo>
                        <a:pt x="47" y="14"/>
                      </a:lnTo>
                      <a:lnTo>
                        <a:pt x="48" y="16"/>
                      </a:lnTo>
                      <a:lnTo>
                        <a:pt x="50" y="16"/>
                      </a:lnTo>
                      <a:lnTo>
                        <a:pt x="54" y="12"/>
                      </a:lnTo>
                      <a:lnTo>
                        <a:pt x="59" y="10"/>
                      </a:lnTo>
                      <a:lnTo>
                        <a:pt x="62" y="10"/>
                      </a:lnTo>
                      <a:lnTo>
                        <a:pt x="67" y="12"/>
                      </a:lnTo>
                      <a:lnTo>
                        <a:pt x="67" y="12"/>
                      </a:lnTo>
                      <a:lnTo>
                        <a:pt x="74" y="16"/>
                      </a:lnTo>
                      <a:lnTo>
                        <a:pt x="76" y="14"/>
                      </a:lnTo>
                      <a:lnTo>
                        <a:pt x="78" y="12"/>
                      </a:lnTo>
                      <a:lnTo>
                        <a:pt x="81" y="9"/>
                      </a:lnTo>
                      <a:lnTo>
                        <a:pt x="87" y="9"/>
                      </a:lnTo>
                      <a:lnTo>
                        <a:pt x="94" y="9"/>
                      </a:lnTo>
                      <a:lnTo>
                        <a:pt x="94" y="9"/>
                      </a:lnTo>
                      <a:lnTo>
                        <a:pt x="99" y="10"/>
                      </a:lnTo>
                      <a:lnTo>
                        <a:pt x="102" y="12"/>
                      </a:lnTo>
                      <a:lnTo>
                        <a:pt x="104" y="14"/>
                      </a:lnTo>
                      <a:lnTo>
                        <a:pt x="104" y="16"/>
                      </a:lnTo>
                      <a:lnTo>
                        <a:pt x="104" y="19"/>
                      </a:lnTo>
                      <a:lnTo>
                        <a:pt x="106" y="21"/>
                      </a:lnTo>
                      <a:lnTo>
                        <a:pt x="111" y="23"/>
                      </a:lnTo>
                      <a:lnTo>
                        <a:pt x="111" y="23"/>
                      </a:lnTo>
                      <a:lnTo>
                        <a:pt x="114" y="24"/>
                      </a:lnTo>
                      <a:lnTo>
                        <a:pt x="116" y="30"/>
                      </a:lnTo>
                      <a:lnTo>
                        <a:pt x="113" y="33"/>
                      </a:lnTo>
                      <a:lnTo>
                        <a:pt x="109" y="40"/>
                      </a:lnTo>
                      <a:lnTo>
                        <a:pt x="99" y="51"/>
                      </a:lnTo>
                      <a:lnTo>
                        <a:pt x="95" y="56"/>
                      </a:lnTo>
                      <a:lnTo>
                        <a:pt x="94" y="61"/>
                      </a:lnTo>
                      <a:lnTo>
                        <a:pt x="94" y="61"/>
                      </a:lnTo>
                      <a:lnTo>
                        <a:pt x="95" y="71"/>
                      </a:lnTo>
                      <a:lnTo>
                        <a:pt x="94" y="78"/>
                      </a:lnTo>
                      <a:lnTo>
                        <a:pt x="92" y="87"/>
                      </a:lnTo>
                      <a:lnTo>
                        <a:pt x="88" y="94"/>
                      </a:lnTo>
                      <a:lnTo>
                        <a:pt x="88" y="98"/>
                      </a:lnTo>
                      <a:lnTo>
                        <a:pt x="90" y="101"/>
                      </a:lnTo>
                      <a:lnTo>
                        <a:pt x="90" y="101"/>
                      </a:lnTo>
                      <a:lnTo>
                        <a:pt x="92" y="108"/>
                      </a:lnTo>
                      <a:lnTo>
                        <a:pt x="92" y="113"/>
                      </a:lnTo>
                      <a:lnTo>
                        <a:pt x="87" y="117"/>
                      </a:lnTo>
                      <a:lnTo>
                        <a:pt x="78" y="118"/>
                      </a:lnTo>
                      <a:lnTo>
                        <a:pt x="78" y="118"/>
                      </a:lnTo>
                      <a:lnTo>
                        <a:pt x="73" y="120"/>
                      </a:lnTo>
                      <a:lnTo>
                        <a:pt x="71" y="122"/>
                      </a:lnTo>
                      <a:lnTo>
                        <a:pt x="73" y="124"/>
                      </a:lnTo>
                      <a:lnTo>
                        <a:pt x="76" y="129"/>
                      </a:lnTo>
                      <a:lnTo>
                        <a:pt x="78" y="138"/>
                      </a:lnTo>
                      <a:lnTo>
                        <a:pt x="78" y="138"/>
                      </a:lnTo>
                      <a:lnTo>
                        <a:pt x="80" y="143"/>
                      </a:lnTo>
                      <a:lnTo>
                        <a:pt x="83" y="145"/>
                      </a:lnTo>
                      <a:lnTo>
                        <a:pt x="88" y="146"/>
                      </a:lnTo>
                      <a:lnTo>
                        <a:pt x="90" y="148"/>
                      </a:lnTo>
                      <a:lnTo>
                        <a:pt x="90" y="150"/>
                      </a:lnTo>
                      <a:lnTo>
                        <a:pt x="85" y="158"/>
                      </a:lnTo>
                      <a:lnTo>
                        <a:pt x="85" y="158"/>
                      </a:lnTo>
                      <a:lnTo>
                        <a:pt x="80" y="165"/>
                      </a:lnTo>
                      <a:lnTo>
                        <a:pt x="78" y="171"/>
                      </a:lnTo>
                      <a:lnTo>
                        <a:pt x="76" y="176"/>
                      </a:lnTo>
                      <a:lnTo>
                        <a:pt x="76" y="179"/>
                      </a:lnTo>
                      <a:lnTo>
                        <a:pt x="78" y="183"/>
                      </a:lnTo>
                      <a:lnTo>
                        <a:pt x="80" y="185"/>
                      </a:lnTo>
                      <a:lnTo>
                        <a:pt x="85" y="188"/>
                      </a:lnTo>
                      <a:lnTo>
                        <a:pt x="85" y="188"/>
                      </a:lnTo>
                      <a:lnTo>
                        <a:pt x="88" y="190"/>
                      </a:lnTo>
                      <a:lnTo>
                        <a:pt x="90" y="190"/>
                      </a:lnTo>
                      <a:lnTo>
                        <a:pt x="88" y="193"/>
                      </a:lnTo>
                      <a:lnTo>
                        <a:pt x="81" y="200"/>
                      </a:lnTo>
                      <a:lnTo>
                        <a:pt x="81" y="200"/>
                      </a:lnTo>
                      <a:lnTo>
                        <a:pt x="78" y="204"/>
                      </a:lnTo>
                      <a:lnTo>
                        <a:pt x="74" y="209"/>
                      </a:lnTo>
                      <a:lnTo>
                        <a:pt x="73" y="219"/>
                      </a:lnTo>
                      <a:lnTo>
                        <a:pt x="73" y="230"/>
                      </a:lnTo>
                      <a:lnTo>
                        <a:pt x="74" y="239"/>
                      </a:lnTo>
                      <a:lnTo>
                        <a:pt x="74" y="239"/>
                      </a:lnTo>
                      <a:lnTo>
                        <a:pt x="66" y="242"/>
                      </a:lnTo>
                      <a:lnTo>
                        <a:pt x="62" y="246"/>
                      </a:lnTo>
                      <a:lnTo>
                        <a:pt x="57" y="247"/>
                      </a:lnTo>
                      <a:lnTo>
                        <a:pt x="48" y="246"/>
                      </a:lnTo>
                      <a:lnTo>
                        <a:pt x="48" y="246"/>
                      </a:lnTo>
                      <a:lnTo>
                        <a:pt x="36" y="242"/>
                      </a:lnTo>
                      <a:lnTo>
                        <a:pt x="29" y="242"/>
                      </a:lnTo>
                      <a:lnTo>
                        <a:pt x="26" y="244"/>
                      </a:lnTo>
                      <a:lnTo>
                        <a:pt x="22" y="246"/>
                      </a:lnTo>
                      <a:lnTo>
                        <a:pt x="22" y="246"/>
                      </a:lnTo>
                      <a:lnTo>
                        <a:pt x="20" y="247"/>
                      </a:lnTo>
                      <a:lnTo>
                        <a:pt x="19" y="247"/>
                      </a:lnTo>
                      <a:lnTo>
                        <a:pt x="22" y="235"/>
                      </a:lnTo>
                      <a:lnTo>
                        <a:pt x="22" y="235"/>
                      </a:lnTo>
                      <a:lnTo>
                        <a:pt x="24" y="216"/>
                      </a:lnTo>
                      <a:lnTo>
                        <a:pt x="24" y="205"/>
                      </a:lnTo>
                      <a:lnTo>
                        <a:pt x="22" y="200"/>
                      </a:lnTo>
                      <a:lnTo>
                        <a:pt x="24" y="192"/>
                      </a:lnTo>
                      <a:lnTo>
                        <a:pt x="24" y="192"/>
                      </a:lnTo>
                      <a:lnTo>
                        <a:pt x="26" y="186"/>
                      </a:lnTo>
                      <a:lnTo>
                        <a:pt x="26" y="183"/>
                      </a:lnTo>
                      <a:lnTo>
                        <a:pt x="24" y="179"/>
                      </a:lnTo>
                      <a:lnTo>
                        <a:pt x="22" y="178"/>
                      </a:lnTo>
                      <a:lnTo>
                        <a:pt x="17" y="178"/>
                      </a:lnTo>
                      <a:lnTo>
                        <a:pt x="13" y="179"/>
                      </a:lnTo>
                      <a:lnTo>
                        <a:pt x="13" y="179"/>
                      </a:lnTo>
                      <a:lnTo>
                        <a:pt x="10" y="179"/>
                      </a:lnTo>
                      <a:lnTo>
                        <a:pt x="10" y="178"/>
                      </a:lnTo>
                      <a:lnTo>
                        <a:pt x="10" y="174"/>
                      </a:lnTo>
                      <a:lnTo>
                        <a:pt x="10" y="171"/>
                      </a:lnTo>
                      <a:lnTo>
                        <a:pt x="10" y="171"/>
                      </a:lnTo>
                      <a:lnTo>
                        <a:pt x="10" y="169"/>
                      </a:lnTo>
                      <a:lnTo>
                        <a:pt x="12" y="167"/>
                      </a:lnTo>
                      <a:lnTo>
                        <a:pt x="12" y="165"/>
                      </a:lnTo>
                      <a:lnTo>
                        <a:pt x="12" y="165"/>
                      </a:lnTo>
                      <a:lnTo>
                        <a:pt x="5" y="165"/>
                      </a:lnTo>
                      <a:lnTo>
                        <a:pt x="5" y="165"/>
                      </a:lnTo>
                      <a:lnTo>
                        <a:pt x="1" y="165"/>
                      </a:lnTo>
                      <a:lnTo>
                        <a:pt x="0" y="164"/>
                      </a:lnTo>
                      <a:lnTo>
                        <a:pt x="0" y="160"/>
                      </a:lnTo>
                      <a:lnTo>
                        <a:pt x="1" y="155"/>
                      </a:lnTo>
                      <a:lnTo>
                        <a:pt x="5" y="146"/>
                      </a:lnTo>
                      <a:lnTo>
                        <a:pt x="5" y="141"/>
                      </a:lnTo>
                      <a:lnTo>
                        <a:pt x="5" y="138"/>
                      </a:lnTo>
                      <a:lnTo>
                        <a:pt x="5" y="138"/>
                      </a:lnTo>
                      <a:lnTo>
                        <a:pt x="5" y="134"/>
                      </a:lnTo>
                      <a:lnTo>
                        <a:pt x="6" y="132"/>
                      </a:lnTo>
                      <a:lnTo>
                        <a:pt x="10" y="129"/>
                      </a:lnTo>
                      <a:lnTo>
                        <a:pt x="13" y="124"/>
                      </a:lnTo>
                      <a:lnTo>
                        <a:pt x="15" y="118"/>
                      </a:lnTo>
                      <a:lnTo>
                        <a:pt x="15" y="118"/>
                      </a:lnTo>
                      <a:lnTo>
                        <a:pt x="19" y="106"/>
                      </a:lnTo>
                      <a:lnTo>
                        <a:pt x="22" y="99"/>
                      </a:lnTo>
                      <a:lnTo>
                        <a:pt x="24" y="96"/>
                      </a:lnTo>
                      <a:lnTo>
                        <a:pt x="22" y="92"/>
                      </a:lnTo>
                      <a:lnTo>
                        <a:pt x="22" y="92"/>
                      </a:lnTo>
                      <a:lnTo>
                        <a:pt x="24" y="84"/>
                      </a:lnTo>
                      <a:lnTo>
                        <a:pt x="29" y="71"/>
                      </a:lnTo>
                      <a:lnTo>
                        <a:pt x="31" y="58"/>
                      </a:lnTo>
                      <a:lnTo>
                        <a:pt x="33" y="52"/>
                      </a:lnTo>
                      <a:lnTo>
                        <a:pt x="31" y="47"/>
                      </a:lnTo>
                      <a:lnTo>
                        <a:pt x="31" y="47"/>
                      </a:lnTo>
                      <a:lnTo>
                        <a:pt x="26" y="35"/>
                      </a:lnTo>
                      <a:lnTo>
                        <a:pt x="24" y="30"/>
                      </a:lnTo>
                      <a:lnTo>
                        <a:pt x="26" y="26"/>
                      </a:lnTo>
                      <a:lnTo>
                        <a:pt x="26" y="26"/>
                      </a:lnTo>
                      <a:lnTo>
                        <a:pt x="26" y="23"/>
                      </a:lnTo>
                      <a:lnTo>
                        <a:pt x="24" y="21"/>
                      </a:lnTo>
                      <a:lnTo>
                        <a:pt x="24" y="17"/>
                      </a:lnTo>
                      <a:lnTo>
                        <a:pt x="26" y="14"/>
                      </a:lnTo>
                      <a:lnTo>
                        <a:pt x="26"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1" name="Freeform 2038">
                  <a:extLst>
                    <a:ext uri="{FF2B5EF4-FFF2-40B4-BE49-F238E27FC236}">
                      <a16:creationId xmlns:a16="http://schemas.microsoft.com/office/drawing/2014/main" id="{3AA43D63-B6FA-FFCE-955C-C03DC80BE287}"/>
                    </a:ext>
                  </a:extLst>
                </p:cNvPr>
                <p:cNvSpPr>
                  <a:spLocks/>
                </p:cNvSpPr>
                <p:nvPr/>
              </p:nvSpPr>
              <p:spPr bwMode="auto">
                <a:xfrm>
                  <a:off x="4962899" y="2984119"/>
                  <a:ext cx="26429" cy="63432"/>
                </a:xfrm>
                <a:custGeom>
                  <a:avLst/>
                  <a:gdLst/>
                  <a:ahLst/>
                  <a:cxnLst>
                    <a:cxn ang="0">
                      <a:pos x="29" y="0"/>
                    </a:cxn>
                    <a:cxn ang="0">
                      <a:pos x="26" y="2"/>
                    </a:cxn>
                    <a:cxn ang="0">
                      <a:pos x="24" y="14"/>
                    </a:cxn>
                    <a:cxn ang="0">
                      <a:pos x="22" y="16"/>
                    </a:cxn>
                    <a:cxn ang="0">
                      <a:pos x="19" y="16"/>
                    </a:cxn>
                    <a:cxn ang="0">
                      <a:pos x="12" y="18"/>
                    </a:cxn>
                    <a:cxn ang="0">
                      <a:pos x="5" y="23"/>
                    </a:cxn>
                    <a:cxn ang="0">
                      <a:pos x="3" y="23"/>
                    </a:cxn>
                    <a:cxn ang="0">
                      <a:pos x="0" y="39"/>
                    </a:cxn>
                    <a:cxn ang="0">
                      <a:pos x="0" y="52"/>
                    </a:cxn>
                    <a:cxn ang="0">
                      <a:pos x="2" y="54"/>
                    </a:cxn>
                    <a:cxn ang="0">
                      <a:pos x="5" y="56"/>
                    </a:cxn>
                    <a:cxn ang="0">
                      <a:pos x="3" y="59"/>
                    </a:cxn>
                    <a:cxn ang="0">
                      <a:pos x="2" y="61"/>
                    </a:cxn>
                    <a:cxn ang="0">
                      <a:pos x="7" y="63"/>
                    </a:cxn>
                    <a:cxn ang="0">
                      <a:pos x="9" y="65"/>
                    </a:cxn>
                    <a:cxn ang="0">
                      <a:pos x="5" y="70"/>
                    </a:cxn>
                    <a:cxn ang="0">
                      <a:pos x="9" y="72"/>
                    </a:cxn>
                    <a:cxn ang="0">
                      <a:pos x="14" y="77"/>
                    </a:cxn>
                    <a:cxn ang="0">
                      <a:pos x="17" y="80"/>
                    </a:cxn>
                    <a:cxn ang="0">
                      <a:pos x="19" y="80"/>
                    </a:cxn>
                    <a:cxn ang="0">
                      <a:pos x="22" y="77"/>
                    </a:cxn>
                    <a:cxn ang="0">
                      <a:pos x="22" y="72"/>
                    </a:cxn>
                    <a:cxn ang="0">
                      <a:pos x="26" y="70"/>
                    </a:cxn>
                    <a:cxn ang="0">
                      <a:pos x="28" y="56"/>
                    </a:cxn>
                    <a:cxn ang="0">
                      <a:pos x="29" y="51"/>
                    </a:cxn>
                    <a:cxn ang="0">
                      <a:pos x="33" y="42"/>
                    </a:cxn>
                    <a:cxn ang="0">
                      <a:pos x="33" y="33"/>
                    </a:cxn>
                    <a:cxn ang="0">
                      <a:pos x="31" y="19"/>
                    </a:cxn>
                    <a:cxn ang="0">
                      <a:pos x="29" y="14"/>
                    </a:cxn>
                    <a:cxn ang="0">
                      <a:pos x="31" y="5"/>
                    </a:cxn>
                    <a:cxn ang="0">
                      <a:pos x="29" y="0"/>
                    </a:cxn>
                  </a:cxnLst>
                  <a:rect l="0" t="0" r="r" b="b"/>
                  <a:pathLst>
                    <a:path w="33" h="80">
                      <a:moveTo>
                        <a:pt x="29" y="0"/>
                      </a:moveTo>
                      <a:lnTo>
                        <a:pt x="29" y="0"/>
                      </a:lnTo>
                      <a:lnTo>
                        <a:pt x="26" y="0"/>
                      </a:lnTo>
                      <a:lnTo>
                        <a:pt x="26" y="2"/>
                      </a:lnTo>
                      <a:lnTo>
                        <a:pt x="26" y="9"/>
                      </a:lnTo>
                      <a:lnTo>
                        <a:pt x="24" y="14"/>
                      </a:lnTo>
                      <a:lnTo>
                        <a:pt x="24" y="16"/>
                      </a:lnTo>
                      <a:lnTo>
                        <a:pt x="22" y="16"/>
                      </a:lnTo>
                      <a:lnTo>
                        <a:pt x="22" y="16"/>
                      </a:lnTo>
                      <a:lnTo>
                        <a:pt x="19" y="16"/>
                      </a:lnTo>
                      <a:lnTo>
                        <a:pt x="15" y="16"/>
                      </a:lnTo>
                      <a:lnTo>
                        <a:pt x="12" y="18"/>
                      </a:lnTo>
                      <a:lnTo>
                        <a:pt x="9" y="21"/>
                      </a:lnTo>
                      <a:lnTo>
                        <a:pt x="5" y="23"/>
                      </a:lnTo>
                      <a:lnTo>
                        <a:pt x="5" y="23"/>
                      </a:lnTo>
                      <a:lnTo>
                        <a:pt x="3" y="23"/>
                      </a:lnTo>
                      <a:lnTo>
                        <a:pt x="2" y="26"/>
                      </a:lnTo>
                      <a:lnTo>
                        <a:pt x="0" y="39"/>
                      </a:lnTo>
                      <a:lnTo>
                        <a:pt x="0" y="49"/>
                      </a:lnTo>
                      <a:lnTo>
                        <a:pt x="0" y="52"/>
                      </a:lnTo>
                      <a:lnTo>
                        <a:pt x="2" y="54"/>
                      </a:lnTo>
                      <a:lnTo>
                        <a:pt x="2" y="54"/>
                      </a:lnTo>
                      <a:lnTo>
                        <a:pt x="5" y="54"/>
                      </a:lnTo>
                      <a:lnTo>
                        <a:pt x="5" y="56"/>
                      </a:lnTo>
                      <a:lnTo>
                        <a:pt x="3" y="59"/>
                      </a:lnTo>
                      <a:lnTo>
                        <a:pt x="3" y="59"/>
                      </a:lnTo>
                      <a:lnTo>
                        <a:pt x="2" y="61"/>
                      </a:lnTo>
                      <a:lnTo>
                        <a:pt x="2" y="61"/>
                      </a:lnTo>
                      <a:lnTo>
                        <a:pt x="7" y="63"/>
                      </a:lnTo>
                      <a:lnTo>
                        <a:pt x="7" y="63"/>
                      </a:lnTo>
                      <a:lnTo>
                        <a:pt x="9" y="65"/>
                      </a:lnTo>
                      <a:lnTo>
                        <a:pt x="9" y="65"/>
                      </a:lnTo>
                      <a:lnTo>
                        <a:pt x="7" y="66"/>
                      </a:lnTo>
                      <a:lnTo>
                        <a:pt x="5" y="70"/>
                      </a:lnTo>
                      <a:lnTo>
                        <a:pt x="5" y="72"/>
                      </a:lnTo>
                      <a:lnTo>
                        <a:pt x="9" y="72"/>
                      </a:lnTo>
                      <a:lnTo>
                        <a:pt x="9" y="72"/>
                      </a:lnTo>
                      <a:lnTo>
                        <a:pt x="14" y="77"/>
                      </a:lnTo>
                      <a:lnTo>
                        <a:pt x="17" y="79"/>
                      </a:lnTo>
                      <a:lnTo>
                        <a:pt x="17" y="80"/>
                      </a:lnTo>
                      <a:lnTo>
                        <a:pt x="19" y="80"/>
                      </a:lnTo>
                      <a:lnTo>
                        <a:pt x="19" y="80"/>
                      </a:lnTo>
                      <a:lnTo>
                        <a:pt x="22" y="80"/>
                      </a:lnTo>
                      <a:lnTo>
                        <a:pt x="22" y="77"/>
                      </a:lnTo>
                      <a:lnTo>
                        <a:pt x="22" y="73"/>
                      </a:lnTo>
                      <a:lnTo>
                        <a:pt x="22" y="72"/>
                      </a:lnTo>
                      <a:lnTo>
                        <a:pt x="22" y="72"/>
                      </a:lnTo>
                      <a:lnTo>
                        <a:pt x="26" y="70"/>
                      </a:lnTo>
                      <a:lnTo>
                        <a:pt x="28" y="66"/>
                      </a:lnTo>
                      <a:lnTo>
                        <a:pt x="28" y="56"/>
                      </a:lnTo>
                      <a:lnTo>
                        <a:pt x="28" y="56"/>
                      </a:lnTo>
                      <a:lnTo>
                        <a:pt x="29" y="51"/>
                      </a:lnTo>
                      <a:lnTo>
                        <a:pt x="31" y="47"/>
                      </a:lnTo>
                      <a:lnTo>
                        <a:pt x="33" y="42"/>
                      </a:lnTo>
                      <a:lnTo>
                        <a:pt x="33" y="33"/>
                      </a:lnTo>
                      <a:lnTo>
                        <a:pt x="33" y="33"/>
                      </a:lnTo>
                      <a:lnTo>
                        <a:pt x="31" y="25"/>
                      </a:lnTo>
                      <a:lnTo>
                        <a:pt x="31" y="19"/>
                      </a:lnTo>
                      <a:lnTo>
                        <a:pt x="29" y="16"/>
                      </a:lnTo>
                      <a:lnTo>
                        <a:pt x="29" y="14"/>
                      </a:lnTo>
                      <a:lnTo>
                        <a:pt x="29" y="14"/>
                      </a:lnTo>
                      <a:lnTo>
                        <a:pt x="31" y="5"/>
                      </a:lnTo>
                      <a:lnTo>
                        <a:pt x="29" y="2"/>
                      </a:lnTo>
                      <a:lnTo>
                        <a:pt x="29" y="0"/>
                      </a:lnTo>
                      <a:lnTo>
                        <a:pt x="2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2" name="Freeform 2039">
                  <a:extLst>
                    <a:ext uri="{FF2B5EF4-FFF2-40B4-BE49-F238E27FC236}">
                      <a16:creationId xmlns:a16="http://schemas.microsoft.com/office/drawing/2014/main" id="{99ECEE30-8CE7-1B3A-521E-E5B3986A751E}"/>
                    </a:ext>
                  </a:extLst>
                </p:cNvPr>
                <p:cNvSpPr>
                  <a:spLocks/>
                </p:cNvSpPr>
                <p:nvPr/>
              </p:nvSpPr>
              <p:spPr bwMode="auto">
                <a:xfrm>
                  <a:off x="5072142" y="3165602"/>
                  <a:ext cx="88102" cy="61670"/>
                </a:xfrm>
                <a:custGeom>
                  <a:avLst/>
                  <a:gdLst/>
                  <a:ahLst/>
                  <a:cxnLst>
                    <a:cxn ang="0">
                      <a:pos x="0" y="26"/>
                    </a:cxn>
                    <a:cxn ang="0">
                      <a:pos x="0" y="26"/>
                    </a:cxn>
                    <a:cxn ang="0">
                      <a:pos x="0" y="15"/>
                    </a:cxn>
                    <a:cxn ang="0">
                      <a:pos x="3" y="8"/>
                    </a:cxn>
                    <a:cxn ang="0">
                      <a:pos x="8" y="7"/>
                    </a:cxn>
                    <a:cxn ang="0">
                      <a:pos x="10" y="7"/>
                    </a:cxn>
                    <a:cxn ang="0">
                      <a:pos x="10" y="8"/>
                    </a:cxn>
                    <a:cxn ang="0">
                      <a:pos x="10" y="8"/>
                    </a:cxn>
                    <a:cxn ang="0">
                      <a:pos x="14" y="12"/>
                    </a:cxn>
                    <a:cxn ang="0">
                      <a:pos x="15" y="14"/>
                    </a:cxn>
                    <a:cxn ang="0">
                      <a:pos x="19" y="8"/>
                    </a:cxn>
                    <a:cxn ang="0">
                      <a:pos x="21" y="5"/>
                    </a:cxn>
                    <a:cxn ang="0">
                      <a:pos x="24" y="5"/>
                    </a:cxn>
                    <a:cxn ang="0">
                      <a:pos x="29" y="5"/>
                    </a:cxn>
                    <a:cxn ang="0">
                      <a:pos x="36" y="10"/>
                    </a:cxn>
                    <a:cxn ang="0">
                      <a:pos x="36" y="10"/>
                    </a:cxn>
                    <a:cxn ang="0">
                      <a:pos x="41" y="14"/>
                    </a:cxn>
                    <a:cxn ang="0">
                      <a:pos x="48" y="15"/>
                    </a:cxn>
                    <a:cxn ang="0">
                      <a:pos x="55" y="15"/>
                    </a:cxn>
                    <a:cxn ang="0">
                      <a:pos x="62" y="14"/>
                    </a:cxn>
                    <a:cxn ang="0">
                      <a:pos x="74" y="8"/>
                    </a:cxn>
                    <a:cxn ang="0">
                      <a:pos x="80" y="7"/>
                    </a:cxn>
                    <a:cxn ang="0">
                      <a:pos x="83" y="7"/>
                    </a:cxn>
                    <a:cxn ang="0">
                      <a:pos x="83" y="7"/>
                    </a:cxn>
                    <a:cxn ang="0">
                      <a:pos x="88" y="7"/>
                    </a:cxn>
                    <a:cxn ang="0">
                      <a:pos x="92" y="7"/>
                    </a:cxn>
                    <a:cxn ang="0">
                      <a:pos x="102" y="3"/>
                    </a:cxn>
                    <a:cxn ang="0">
                      <a:pos x="108" y="0"/>
                    </a:cxn>
                    <a:cxn ang="0">
                      <a:pos x="109" y="0"/>
                    </a:cxn>
                    <a:cxn ang="0">
                      <a:pos x="109" y="1"/>
                    </a:cxn>
                    <a:cxn ang="0">
                      <a:pos x="109" y="1"/>
                    </a:cxn>
                    <a:cxn ang="0">
                      <a:pos x="95" y="24"/>
                    </a:cxn>
                    <a:cxn ang="0">
                      <a:pos x="92" y="38"/>
                    </a:cxn>
                    <a:cxn ang="0">
                      <a:pos x="90" y="43"/>
                    </a:cxn>
                    <a:cxn ang="0">
                      <a:pos x="92" y="45"/>
                    </a:cxn>
                    <a:cxn ang="0">
                      <a:pos x="92" y="45"/>
                    </a:cxn>
                    <a:cxn ang="0">
                      <a:pos x="95" y="48"/>
                    </a:cxn>
                    <a:cxn ang="0">
                      <a:pos x="95" y="52"/>
                    </a:cxn>
                    <a:cxn ang="0">
                      <a:pos x="95" y="59"/>
                    </a:cxn>
                    <a:cxn ang="0">
                      <a:pos x="94" y="66"/>
                    </a:cxn>
                    <a:cxn ang="0">
                      <a:pos x="92" y="73"/>
                    </a:cxn>
                    <a:cxn ang="0">
                      <a:pos x="92" y="73"/>
                    </a:cxn>
                    <a:cxn ang="0">
                      <a:pos x="92" y="76"/>
                    </a:cxn>
                    <a:cxn ang="0">
                      <a:pos x="90" y="78"/>
                    </a:cxn>
                    <a:cxn ang="0">
                      <a:pos x="80" y="73"/>
                    </a:cxn>
                    <a:cxn ang="0">
                      <a:pos x="80" y="73"/>
                    </a:cxn>
                    <a:cxn ang="0">
                      <a:pos x="71" y="69"/>
                    </a:cxn>
                    <a:cxn ang="0">
                      <a:pos x="64" y="64"/>
                    </a:cxn>
                    <a:cxn ang="0">
                      <a:pos x="59" y="59"/>
                    </a:cxn>
                    <a:cxn ang="0">
                      <a:pos x="52" y="57"/>
                    </a:cxn>
                    <a:cxn ang="0">
                      <a:pos x="52" y="57"/>
                    </a:cxn>
                    <a:cxn ang="0">
                      <a:pos x="48" y="55"/>
                    </a:cxn>
                    <a:cxn ang="0">
                      <a:pos x="43" y="54"/>
                    </a:cxn>
                    <a:cxn ang="0">
                      <a:pos x="34" y="48"/>
                    </a:cxn>
                    <a:cxn ang="0">
                      <a:pos x="26" y="41"/>
                    </a:cxn>
                    <a:cxn ang="0">
                      <a:pos x="15" y="36"/>
                    </a:cxn>
                    <a:cxn ang="0">
                      <a:pos x="15" y="36"/>
                    </a:cxn>
                    <a:cxn ang="0">
                      <a:pos x="3" y="33"/>
                    </a:cxn>
                    <a:cxn ang="0">
                      <a:pos x="0" y="29"/>
                    </a:cxn>
                    <a:cxn ang="0">
                      <a:pos x="0" y="26"/>
                    </a:cxn>
                    <a:cxn ang="0">
                      <a:pos x="0" y="26"/>
                    </a:cxn>
                  </a:cxnLst>
                  <a:rect l="0" t="0" r="r" b="b"/>
                  <a:pathLst>
                    <a:path w="109" h="78">
                      <a:moveTo>
                        <a:pt x="0" y="26"/>
                      </a:moveTo>
                      <a:lnTo>
                        <a:pt x="0" y="26"/>
                      </a:lnTo>
                      <a:lnTo>
                        <a:pt x="0" y="15"/>
                      </a:lnTo>
                      <a:lnTo>
                        <a:pt x="3" y="8"/>
                      </a:lnTo>
                      <a:lnTo>
                        <a:pt x="8" y="7"/>
                      </a:lnTo>
                      <a:lnTo>
                        <a:pt x="10" y="7"/>
                      </a:lnTo>
                      <a:lnTo>
                        <a:pt x="10" y="8"/>
                      </a:lnTo>
                      <a:lnTo>
                        <a:pt x="10" y="8"/>
                      </a:lnTo>
                      <a:lnTo>
                        <a:pt x="14" y="12"/>
                      </a:lnTo>
                      <a:lnTo>
                        <a:pt x="15" y="14"/>
                      </a:lnTo>
                      <a:lnTo>
                        <a:pt x="19" y="8"/>
                      </a:lnTo>
                      <a:lnTo>
                        <a:pt x="21" y="5"/>
                      </a:lnTo>
                      <a:lnTo>
                        <a:pt x="24" y="5"/>
                      </a:lnTo>
                      <a:lnTo>
                        <a:pt x="29" y="5"/>
                      </a:lnTo>
                      <a:lnTo>
                        <a:pt x="36" y="10"/>
                      </a:lnTo>
                      <a:lnTo>
                        <a:pt x="36" y="10"/>
                      </a:lnTo>
                      <a:lnTo>
                        <a:pt x="41" y="14"/>
                      </a:lnTo>
                      <a:lnTo>
                        <a:pt x="48" y="15"/>
                      </a:lnTo>
                      <a:lnTo>
                        <a:pt x="55" y="15"/>
                      </a:lnTo>
                      <a:lnTo>
                        <a:pt x="62" y="14"/>
                      </a:lnTo>
                      <a:lnTo>
                        <a:pt x="74" y="8"/>
                      </a:lnTo>
                      <a:lnTo>
                        <a:pt x="80" y="7"/>
                      </a:lnTo>
                      <a:lnTo>
                        <a:pt x="83" y="7"/>
                      </a:lnTo>
                      <a:lnTo>
                        <a:pt x="83" y="7"/>
                      </a:lnTo>
                      <a:lnTo>
                        <a:pt x="88" y="7"/>
                      </a:lnTo>
                      <a:lnTo>
                        <a:pt x="92" y="7"/>
                      </a:lnTo>
                      <a:lnTo>
                        <a:pt x="102" y="3"/>
                      </a:lnTo>
                      <a:lnTo>
                        <a:pt x="108" y="0"/>
                      </a:lnTo>
                      <a:lnTo>
                        <a:pt x="109" y="0"/>
                      </a:lnTo>
                      <a:lnTo>
                        <a:pt x="109" y="1"/>
                      </a:lnTo>
                      <a:lnTo>
                        <a:pt x="109" y="1"/>
                      </a:lnTo>
                      <a:lnTo>
                        <a:pt x="95" y="24"/>
                      </a:lnTo>
                      <a:lnTo>
                        <a:pt x="92" y="38"/>
                      </a:lnTo>
                      <a:lnTo>
                        <a:pt x="90" y="43"/>
                      </a:lnTo>
                      <a:lnTo>
                        <a:pt x="92" y="45"/>
                      </a:lnTo>
                      <a:lnTo>
                        <a:pt x="92" y="45"/>
                      </a:lnTo>
                      <a:lnTo>
                        <a:pt x="95" y="48"/>
                      </a:lnTo>
                      <a:lnTo>
                        <a:pt x="95" y="52"/>
                      </a:lnTo>
                      <a:lnTo>
                        <a:pt x="95" y="59"/>
                      </a:lnTo>
                      <a:lnTo>
                        <a:pt x="94" y="66"/>
                      </a:lnTo>
                      <a:lnTo>
                        <a:pt x="92" y="73"/>
                      </a:lnTo>
                      <a:lnTo>
                        <a:pt x="92" y="73"/>
                      </a:lnTo>
                      <a:lnTo>
                        <a:pt x="92" y="76"/>
                      </a:lnTo>
                      <a:lnTo>
                        <a:pt x="90" y="78"/>
                      </a:lnTo>
                      <a:lnTo>
                        <a:pt x="80" y="73"/>
                      </a:lnTo>
                      <a:lnTo>
                        <a:pt x="80" y="73"/>
                      </a:lnTo>
                      <a:lnTo>
                        <a:pt x="71" y="69"/>
                      </a:lnTo>
                      <a:lnTo>
                        <a:pt x="64" y="64"/>
                      </a:lnTo>
                      <a:lnTo>
                        <a:pt x="59" y="59"/>
                      </a:lnTo>
                      <a:lnTo>
                        <a:pt x="52" y="57"/>
                      </a:lnTo>
                      <a:lnTo>
                        <a:pt x="52" y="57"/>
                      </a:lnTo>
                      <a:lnTo>
                        <a:pt x="48" y="55"/>
                      </a:lnTo>
                      <a:lnTo>
                        <a:pt x="43" y="54"/>
                      </a:lnTo>
                      <a:lnTo>
                        <a:pt x="34" y="48"/>
                      </a:lnTo>
                      <a:lnTo>
                        <a:pt x="26" y="41"/>
                      </a:lnTo>
                      <a:lnTo>
                        <a:pt x="15" y="36"/>
                      </a:lnTo>
                      <a:lnTo>
                        <a:pt x="15" y="36"/>
                      </a:lnTo>
                      <a:lnTo>
                        <a:pt x="3" y="33"/>
                      </a:lnTo>
                      <a:lnTo>
                        <a:pt x="0" y="29"/>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3" name="Freeform 2040">
                  <a:extLst>
                    <a:ext uri="{FF2B5EF4-FFF2-40B4-BE49-F238E27FC236}">
                      <a16:creationId xmlns:a16="http://schemas.microsoft.com/office/drawing/2014/main" id="{27F1B79F-6778-B65B-A133-4704776CFD38}"/>
                    </a:ext>
                  </a:extLst>
                </p:cNvPr>
                <p:cNvSpPr>
                  <a:spLocks/>
                </p:cNvSpPr>
                <p:nvPr/>
              </p:nvSpPr>
              <p:spPr bwMode="auto">
                <a:xfrm>
                  <a:off x="4887130" y="2792057"/>
                  <a:ext cx="128627" cy="79291"/>
                </a:xfrm>
                <a:custGeom>
                  <a:avLst/>
                  <a:gdLst/>
                  <a:ahLst/>
                  <a:cxnLst>
                    <a:cxn ang="0">
                      <a:pos x="130" y="17"/>
                    </a:cxn>
                    <a:cxn ang="0">
                      <a:pos x="123" y="36"/>
                    </a:cxn>
                    <a:cxn ang="0">
                      <a:pos x="127" y="38"/>
                    </a:cxn>
                    <a:cxn ang="0">
                      <a:pos x="141" y="40"/>
                    </a:cxn>
                    <a:cxn ang="0">
                      <a:pos x="143" y="47"/>
                    </a:cxn>
                    <a:cxn ang="0">
                      <a:pos x="148" y="47"/>
                    </a:cxn>
                    <a:cxn ang="0">
                      <a:pos x="156" y="40"/>
                    </a:cxn>
                    <a:cxn ang="0">
                      <a:pos x="158" y="47"/>
                    </a:cxn>
                    <a:cxn ang="0">
                      <a:pos x="158" y="59"/>
                    </a:cxn>
                    <a:cxn ang="0">
                      <a:pos x="160" y="64"/>
                    </a:cxn>
                    <a:cxn ang="0">
                      <a:pos x="156" y="66"/>
                    </a:cxn>
                    <a:cxn ang="0">
                      <a:pos x="148" y="59"/>
                    </a:cxn>
                    <a:cxn ang="0">
                      <a:pos x="146" y="64"/>
                    </a:cxn>
                    <a:cxn ang="0">
                      <a:pos x="148" y="78"/>
                    </a:cxn>
                    <a:cxn ang="0">
                      <a:pos x="144" y="78"/>
                    </a:cxn>
                    <a:cxn ang="0">
                      <a:pos x="137" y="73"/>
                    </a:cxn>
                    <a:cxn ang="0">
                      <a:pos x="132" y="75"/>
                    </a:cxn>
                    <a:cxn ang="0">
                      <a:pos x="127" y="71"/>
                    </a:cxn>
                    <a:cxn ang="0">
                      <a:pos x="120" y="66"/>
                    </a:cxn>
                    <a:cxn ang="0">
                      <a:pos x="118" y="68"/>
                    </a:cxn>
                    <a:cxn ang="0">
                      <a:pos x="115" y="80"/>
                    </a:cxn>
                    <a:cxn ang="0">
                      <a:pos x="109" y="87"/>
                    </a:cxn>
                    <a:cxn ang="0">
                      <a:pos x="111" y="97"/>
                    </a:cxn>
                    <a:cxn ang="0">
                      <a:pos x="109" y="99"/>
                    </a:cxn>
                    <a:cxn ang="0">
                      <a:pos x="103" y="94"/>
                    </a:cxn>
                    <a:cxn ang="0">
                      <a:pos x="94" y="83"/>
                    </a:cxn>
                    <a:cxn ang="0">
                      <a:pos x="89" y="68"/>
                    </a:cxn>
                    <a:cxn ang="0">
                      <a:pos x="85" y="68"/>
                    </a:cxn>
                    <a:cxn ang="0">
                      <a:pos x="78" y="75"/>
                    </a:cxn>
                    <a:cxn ang="0">
                      <a:pos x="78" y="80"/>
                    </a:cxn>
                    <a:cxn ang="0">
                      <a:pos x="76" y="87"/>
                    </a:cxn>
                    <a:cxn ang="0">
                      <a:pos x="66" y="94"/>
                    </a:cxn>
                    <a:cxn ang="0">
                      <a:pos x="52" y="94"/>
                    </a:cxn>
                    <a:cxn ang="0">
                      <a:pos x="42" y="97"/>
                    </a:cxn>
                    <a:cxn ang="0">
                      <a:pos x="35" y="87"/>
                    </a:cxn>
                    <a:cxn ang="0">
                      <a:pos x="28" y="83"/>
                    </a:cxn>
                    <a:cxn ang="0">
                      <a:pos x="31" y="73"/>
                    </a:cxn>
                    <a:cxn ang="0">
                      <a:pos x="26" y="68"/>
                    </a:cxn>
                    <a:cxn ang="0">
                      <a:pos x="17" y="69"/>
                    </a:cxn>
                    <a:cxn ang="0">
                      <a:pos x="12" y="80"/>
                    </a:cxn>
                    <a:cxn ang="0">
                      <a:pos x="8" y="83"/>
                    </a:cxn>
                    <a:cxn ang="0">
                      <a:pos x="0" y="82"/>
                    </a:cxn>
                    <a:cxn ang="0">
                      <a:pos x="5" y="75"/>
                    </a:cxn>
                    <a:cxn ang="0">
                      <a:pos x="7" y="62"/>
                    </a:cxn>
                    <a:cxn ang="0">
                      <a:pos x="10" y="57"/>
                    </a:cxn>
                    <a:cxn ang="0">
                      <a:pos x="17" y="48"/>
                    </a:cxn>
                    <a:cxn ang="0">
                      <a:pos x="22" y="40"/>
                    </a:cxn>
                    <a:cxn ang="0">
                      <a:pos x="28" y="35"/>
                    </a:cxn>
                    <a:cxn ang="0">
                      <a:pos x="33" y="28"/>
                    </a:cxn>
                    <a:cxn ang="0">
                      <a:pos x="35" y="21"/>
                    </a:cxn>
                    <a:cxn ang="0">
                      <a:pos x="42" y="15"/>
                    </a:cxn>
                    <a:cxn ang="0">
                      <a:pos x="57" y="10"/>
                    </a:cxn>
                    <a:cxn ang="0">
                      <a:pos x="69" y="12"/>
                    </a:cxn>
                    <a:cxn ang="0">
                      <a:pos x="82" y="10"/>
                    </a:cxn>
                    <a:cxn ang="0">
                      <a:pos x="89" y="5"/>
                    </a:cxn>
                    <a:cxn ang="0">
                      <a:pos x="92" y="1"/>
                    </a:cxn>
                    <a:cxn ang="0">
                      <a:pos x="101" y="3"/>
                    </a:cxn>
                    <a:cxn ang="0">
                      <a:pos x="108" y="7"/>
                    </a:cxn>
                    <a:cxn ang="0">
                      <a:pos x="120" y="8"/>
                    </a:cxn>
                  </a:cxnLst>
                  <a:rect l="0" t="0" r="r" b="b"/>
                  <a:pathLst>
                    <a:path w="160" h="99">
                      <a:moveTo>
                        <a:pt x="127" y="14"/>
                      </a:moveTo>
                      <a:lnTo>
                        <a:pt x="127" y="14"/>
                      </a:lnTo>
                      <a:lnTo>
                        <a:pt x="130" y="17"/>
                      </a:lnTo>
                      <a:lnTo>
                        <a:pt x="130" y="22"/>
                      </a:lnTo>
                      <a:lnTo>
                        <a:pt x="127" y="29"/>
                      </a:lnTo>
                      <a:lnTo>
                        <a:pt x="123" y="36"/>
                      </a:lnTo>
                      <a:lnTo>
                        <a:pt x="125" y="38"/>
                      </a:lnTo>
                      <a:lnTo>
                        <a:pt x="127" y="38"/>
                      </a:lnTo>
                      <a:lnTo>
                        <a:pt x="127" y="38"/>
                      </a:lnTo>
                      <a:lnTo>
                        <a:pt x="134" y="38"/>
                      </a:lnTo>
                      <a:lnTo>
                        <a:pt x="137" y="38"/>
                      </a:lnTo>
                      <a:lnTo>
                        <a:pt x="141" y="40"/>
                      </a:lnTo>
                      <a:lnTo>
                        <a:pt x="141" y="42"/>
                      </a:lnTo>
                      <a:lnTo>
                        <a:pt x="143" y="45"/>
                      </a:lnTo>
                      <a:lnTo>
                        <a:pt x="143" y="47"/>
                      </a:lnTo>
                      <a:lnTo>
                        <a:pt x="146" y="47"/>
                      </a:lnTo>
                      <a:lnTo>
                        <a:pt x="146" y="47"/>
                      </a:lnTo>
                      <a:lnTo>
                        <a:pt x="148" y="47"/>
                      </a:lnTo>
                      <a:lnTo>
                        <a:pt x="151" y="45"/>
                      </a:lnTo>
                      <a:lnTo>
                        <a:pt x="155" y="42"/>
                      </a:lnTo>
                      <a:lnTo>
                        <a:pt x="156" y="40"/>
                      </a:lnTo>
                      <a:lnTo>
                        <a:pt x="156" y="42"/>
                      </a:lnTo>
                      <a:lnTo>
                        <a:pt x="158" y="47"/>
                      </a:lnTo>
                      <a:lnTo>
                        <a:pt x="158" y="47"/>
                      </a:lnTo>
                      <a:lnTo>
                        <a:pt x="156" y="50"/>
                      </a:lnTo>
                      <a:lnTo>
                        <a:pt x="156" y="54"/>
                      </a:lnTo>
                      <a:lnTo>
                        <a:pt x="158" y="59"/>
                      </a:lnTo>
                      <a:lnTo>
                        <a:pt x="160" y="62"/>
                      </a:lnTo>
                      <a:lnTo>
                        <a:pt x="160" y="62"/>
                      </a:lnTo>
                      <a:lnTo>
                        <a:pt x="160" y="64"/>
                      </a:lnTo>
                      <a:lnTo>
                        <a:pt x="160" y="64"/>
                      </a:lnTo>
                      <a:lnTo>
                        <a:pt x="158" y="66"/>
                      </a:lnTo>
                      <a:lnTo>
                        <a:pt x="156" y="66"/>
                      </a:lnTo>
                      <a:lnTo>
                        <a:pt x="151" y="62"/>
                      </a:lnTo>
                      <a:lnTo>
                        <a:pt x="148" y="61"/>
                      </a:lnTo>
                      <a:lnTo>
                        <a:pt x="148" y="59"/>
                      </a:lnTo>
                      <a:lnTo>
                        <a:pt x="146" y="61"/>
                      </a:lnTo>
                      <a:lnTo>
                        <a:pt x="146" y="61"/>
                      </a:lnTo>
                      <a:lnTo>
                        <a:pt x="146" y="64"/>
                      </a:lnTo>
                      <a:lnTo>
                        <a:pt x="148" y="69"/>
                      </a:lnTo>
                      <a:lnTo>
                        <a:pt x="148" y="75"/>
                      </a:lnTo>
                      <a:lnTo>
                        <a:pt x="148" y="78"/>
                      </a:lnTo>
                      <a:lnTo>
                        <a:pt x="146" y="78"/>
                      </a:lnTo>
                      <a:lnTo>
                        <a:pt x="146" y="78"/>
                      </a:lnTo>
                      <a:lnTo>
                        <a:pt x="144" y="78"/>
                      </a:lnTo>
                      <a:lnTo>
                        <a:pt x="144" y="78"/>
                      </a:lnTo>
                      <a:lnTo>
                        <a:pt x="141" y="75"/>
                      </a:lnTo>
                      <a:lnTo>
                        <a:pt x="137" y="73"/>
                      </a:lnTo>
                      <a:lnTo>
                        <a:pt x="136" y="73"/>
                      </a:lnTo>
                      <a:lnTo>
                        <a:pt x="132" y="75"/>
                      </a:lnTo>
                      <a:lnTo>
                        <a:pt x="132" y="75"/>
                      </a:lnTo>
                      <a:lnTo>
                        <a:pt x="130" y="75"/>
                      </a:lnTo>
                      <a:lnTo>
                        <a:pt x="129" y="75"/>
                      </a:lnTo>
                      <a:lnTo>
                        <a:pt x="127" y="71"/>
                      </a:lnTo>
                      <a:lnTo>
                        <a:pt x="123" y="68"/>
                      </a:lnTo>
                      <a:lnTo>
                        <a:pt x="122" y="66"/>
                      </a:lnTo>
                      <a:lnTo>
                        <a:pt x="120" y="66"/>
                      </a:lnTo>
                      <a:lnTo>
                        <a:pt x="120" y="66"/>
                      </a:lnTo>
                      <a:lnTo>
                        <a:pt x="118" y="66"/>
                      </a:lnTo>
                      <a:lnTo>
                        <a:pt x="118" y="68"/>
                      </a:lnTo>
                      <a:lnTo>
                        <a:pt x="118" y="71"/>
                      </a:lnTo>
                      <a:lnTo>
                        <a:pt x="116" y="78"/>
                      </a:lnTo>
                      <a:lnTo>
                        <a:pt x="115" y="80"/>
                      </a:lnTo>
                      <a:lnTo>
                        <a:pt x="113" y="83"/>
                      </a:lnTo>
                      <a:lnTo>
                        <a:pt x="113" y="83"/>
                      </a:lnTo>
                      <a:lnTo>
                        <a:pt x="109" y="87"/>
                      </a:lnTo>
                      <a:lnTo>
                        <a:pt x="109" y="89"/>
                      </a:lnTo>
                      <a:lnTo>
                        <a:pt x="109" y="94"/>
                      </a:lnTo>
                      <a:lnTo>
                        <a:pt x="111" y="97"/>
                      </a:lnTo>
                      <a:lnTo>
                        <a:pt x="111" y="99"/>
                      </a:lnTo>
                      <a:lnTo>
                        <a:pt x="109" y="99"/>
                      </a:lnTo>
                      <a:lnTo>
                        <a:pt x="109" y="99"/>
                      </a:lnTo>
                      <a:lnTo>
                        <a:pt x="108" y="99"/>
                      </a:lnTo>
                      <a:lnTo>
                        <a:pt x="106" y="99"/>
                      </a:lnTo>
                      <a:lnTo>
                        <a:pt x="103" y="94"/>
                      </a:lnTo>
                      <a:lnTo>
                        <a:pt x="99" y="89"/>
                      </a:lnTo>
                      <a:lnTo>
                        <a:pt x="94" y="83"/>
                      </a:lnTo>
                      <a:lnTo>
                        <a:pt x="94" y="83"/>
                      </a:lnTo>
                      <a:lnTo>
                        <a:pt x="90" y="80"/>
                      </a:lnTo>
                      <a:lnTo>
                        <a:pt x="89" y="76"/>
                      </a:lnTo>
                      <a:lnTo>
                        <a:pt x="89" y="68"/>
                      </a:lnTo>
                      <a:lnTo>
                        <a:pt x="89" y="68"/>
                      </a:lnTo>
                      <a:lnTo>
                        <a:pt x="87" y="66"/>
                      </a:lnTo>
                      <a:lnTo>
                        <a:pt x="85" y="68"/>
                      </a:lnTo>
                      <a:lnTo>
                        <a:pt x="82" y="71"/>
                      </a:lnTo>
                      <a:lnTo>
                        <a:pt x="78" y="75"/>
                      </a:lnTo>
                      <a:lnTo>
                        <a:pt x="78" y="75"/>
                      </a:lnTo>
                      <a:lnTo>
                        <a:pt x="76" y="75"/>
                      </a:lnTo>
                      <a:lnTo>
                        <a:pt x="76" y="76"/>
                      </a:lnTo>
                      <a:lnTo>
                        <a:pt x="78" y="80"/>
                      </a:lnTo>
                      <a:lnTo>
                        <a:pt x="78" y="82"/>
                      </a:lnTo>
                      <a:lnTo>
                        <a:pt x="78" y="83"/>
                      </a:lnTo>
                      <a:lnTo>
                        <a:pt x="76" y="87"/>
                      </a:lnTo>
                      <a:lnTo>
                        <a:pt x="73" y="89"/>
                      </a:lnTo>
                      <a:lnTo>
                        <a:pt x="73" y="89"/>
                      </a:lnTo>
                      <a:lnTo>
                        <a:pt x="66" y="94"/>
                      </a:lnTo>
                      <a:lnTo>
                        <a:pt x="62" y="92"/>
                      </a:lnTo>
                      <a:lnTo>
                        <a:pt x="57" y="92"/>
                      </a:lnTo>
                      <a:lnTo>
                        <a:pt x="52" y="94"/>
                      </a:lnTo>
                      <a:lnTo>
                        <a:pt x="52" y="94"/>
                      </a:lnTo>
                      <a:lnTo>
                        <a:pt x="47" y="97"/>
                      </a:lnTo>
                      <a:lnTo>
                        <a:pt x="42" y="97"/>
                      </a:lnTo>
                      <a:lnTo>
                        <a:pt x="36" y="94"/>
                      </a:lnTo>
                      <a:lnTo>
                        <a:pt x="36" y="94"/>
                      </a:lnTo>
                      <a:lnTo>
                        <a:pt x="35" y="87"/>
                      </a:lnTo>
                      <a:lnTo>
                        <a:pt x="31" y="85"/>
                      </a:lnTo>
                      <a:lnTo>
                        <a:pt x="28" y="85"/>
                      </a:lnTo>
                      <a:lnTo>
                        <a:pt x="28" y="83"/>
                      </a:lnTo>
                      <a:lnTo>
                        <a:pt x="28" y="83"/>
                      </a:lnTo>
                      <a:lnTo>
                        <a:pt x="29" y="78"/>
                      </a:lnTo>
                      <a:lnTo>
                        <a:pt x="31" y="73"/>
                      </a:lnTo>
                      <a:lnTo>
                        <a:pt x="29" y="71"/>
                      </a:lnTo>
                      <a:lnTo>
                        <a:pt x="28" y="69"/>
                      </a:lnTo>
                      <a:lnTo>
                        <a:pt x="26" y="68"/>
                      </a:lnTo>
                      <a:lnTo>
                        <a:pt x="21" y="68"/>
                      </a:lnTo>
                      <a:lnTo>
                        <a:pt x="21" y="68"/>
                      </a:lnTo>
                      <a:lnTo>
                        <a:pt x="17" y="69"/>
                      </a:lnTo>
                      <a:lnTo>
                        <a:pt x="14" y="71"/>
                      </a:lnTo>
                      <a:lnTo>
                        <a:pt x="12" y="75"/>
                      </a:lnTo>
                      <a:lnTo>
                        <a:pt x="12" y="80"/>
                      </a:lnTo>
                      <a:lnTo>
                        <a:pt x="10" y="82"/>
                      </a:lnTo>
                      <a:lnTo>
                        <a:pt x="8" y="83"/>
                      </a:lnTo>
                      <a:lnTo>
                        <a:pt x="8" y="83"/>
                      </a:lnTo>
                      <a:lnTo>
                        <a:pt x="3" y="85"/>
                      </a:lnTo>
                      <a:lnTo>
                        <a:pt x="0" y="83"/>
                      </a:lnTo>
                      <a:lnTo>
                        <a:pt x="0" y="82"/>
                      </a:lnTo>
                      <a:lnTo>
                        <a:pt x="3" y="78"/>
                      </a:lnTo>
                      <a:lnTo>
                        <a:pt x="3" y="78"/>
                      </a:lnTo>
                      <a:lnTo>
                        <a:pt x="5" y="75"/>
                      </a:lnTo>
                      <a:lnTo>
                        <a:pt x="7" y="73"/>
                      </a:lnTo>
                      <a:lnTo>
                        <a:pt x="7" y="68"/>
                      </a:lnTo>
                      <a:lnTo>
                        <a:pt x="7" y="62"/>
                      </a:lnTo>
                      <a:lnTo>
                        <a:pt x="8" y="59"/>
                      </a:lnTo>
                      <a:lnTo>
                        <a:pt x="10" y="57"/>
                      </a:lnTo>
                      <a:lnTo>
                        <a:pt x="10" y="57"/>
                      </a:lnTo>
                      <a:lnTo>
                        <a:pt x="15" y="55"/>
                      </a:lnTo>
                      <a:lnTo>
                        <a:pt x="17" y="52"/>
                      </a:lnTo>
                      <a:lnTo>
                        <a:pt x="17" y="48"/>
                      </a:lnTo>
                      <a:lnTo>
                        <a:pt x="17" y="43"/>
                      </a:lnTo>
                      <a:lnTo>
                        <a:pt x="19" y="42"/>
                      </a:lnTo>
                      <a:lnTo>
                        <a:pt x="22" y="40"/>
                      </a:lnTo>
                      <a:lnTo>
                        <a:pt x="22" y="40"/>
                      </a:lnTo>
                      <a:lnTo>
                        <a:pt x="28" y="38"/>
                      </a:lnTo>
                      <a:lnTo>
                        <a:pt x="28" y="35"/>
                      </a:lnTo>
                      <a:lnTo>
                        <a:pt x="29" y="31"/>
                      </a:lnTo>
                      <a:lnTo>
                        <a:pt x="33" y="28"/>
                      </a:lnTo>
                      <a:lnTo>
                        <a:pt x="33" y="28"/>
                      </a:lnTo>
                      <a:lnTo>
                        <a:pt x="36" y="24"/>
                      </a:lnTo>
                      <a:lnTo>
                        <a:pt x="36" y="22"/>
                      </a:lnTo>
                      <a:lnTo>
                        <a:pt x="35" y="21"/>
                      </a:lnTo>
                      <a:lnTo>
                        <a:pt x="36" y="17"/>
                      </a:lnTo>
                      <a:lnTo>
                        <a:pt x="36" y="17"/>
                      </a:lnTo>
                      <a:lnTo>
                        <a:pt x="42" y="15"/>
                      </a:lnTo>
                      <a:lnTo>
                        <a:pt x="45" y="15"/>
                      </a:lnTo>
                      <a:lnTo>
                        <a:pt x="50" y="15"/>
                      </a:lnTo>
                      <a:lnTo>
                        <a:pt x="57" y="10"/>
                      </a:lnTo>
                      <a:lnTo>
                        <a:pt x="57" y="10"/>
                      </a:lnTo>
                      <a:lnTo>
                        <a:pt x="64" y="12"/>
                      </a:lnTo>
                      <a:lnTo>
                        <a:pt x="69" y="12"/>
                      </a:lnTo>
                      <a:lnTo>
                        <a:pt x="73" y="10"/>
                      </a:lnTo>
                      <a:lnTo>
                        <a:pt x="82" y="10"/>
                      </a:lnTo>
                      <a:lnTo>
                        <a:pt x="82" y="10"/>
                      </a:lnTo>
                      <a:lnTo>
                        <a:pt x="87" y="10"/>
                      </a:lnTo>
                      <a:lnTo>
                        <a:pt x="87" y="8"/>
                      </a:lnTo>
                      <a:lnTo>
                        <a:pt x="89" y="5"/>
                      </a:lnTo>
                      <a:lnTo>
                        <a:pt x="89" y="3"/>
                      </a:lnTo>
                      <a:lnTo>
                        <a:pt x="92" y="1"/>
                      </a:lnTo>
                      <a:lnTo>
                        <a:pt x="92" y="1"/>
                      </a:lnTo>
                      <a:lnTo>
                        <a:pt x="96" y="0"/>
                      </a:lnTo>
                      <a:lnTo>
                        <a:pt x="97" y="0"/>
                      </a:lnTo>
                      <a:lnTo>
                        <a:pt x="101" y="3"/>
                      </a:lnTo>
                      <a:lnTo>
                        <a:pt x="103" y="7"/>
                      </a:lnTo>
                      <a:lnTo>
                        <a:pt x="106" y="7"/>
                      </a:lnTo>
                      <a:lnTo>
                        <a:pt x="108" y="7"/>
                      </a:lnTo>
                      <a:lnTo>
                        <a:pt x="108" y="7"/>
                      </a:lnTo>
                      <a:lnTo>
                        <a:pt x="115" y="7"/>
                      </a:lnTo>
                      <a:lnTo>
                        <a:pt x="120" y="8"/>
                      </a:lnTo>
                      <a:lnTo>
                        <a:pt x="127" y="14"/>
                      </a:lnTo>
                      <a:lnTo>
                        <a:pt x="127"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4" name="Freeform 2041">
                  <a:extLst>
                    <a:ext uri="{FF2B5EF4-FFF2-40B4-BE49-F238E27FC236}">
                      <a16:creationId xmlns:a16="http://schemas.microsoft.com/office/drawing/2014/main" id="{D1DD0B3A-1203-14F7-17BC-815B57E59132}"/>
                    </a:ext>
                  </a:extLst>
                </p:cNvPr>
                <p:cNvSpPr>
                  <a:spLocks/>
                </p:cNvSpPr>
                <p:nvPr/>
              </p:nvSpPr>
              <p:spPr bwMode="auto">
                <a:xfrm>
                  <a:off x="5065092" y="2659909"/>
                  <a:ext cx="185010" cy="100433"/>
                </a:xfrm>
                <a:custGeom>
                  <a:avLst/>
                  <a:gdLst/>
                  <a:ahLst/>
                  <a:cxnLst>
                    <a:cxn ang="0">
                      <a:pos x="61" y="119"/>
                    </a:cxn>
                    <a:cxn ang="0">
                      <a:pos x="65" y="126"/>
                    </a:cxn>
                    <a:cxn ang="0">
                      <a:pos x="73" y="126"/>
                    </a:cxn>
                    <a:cxn ang="0">
                      <a:pos x="96" y="117"/>
                    </a:cxn>
                    <a:cxn ang="0">
                      <a:pos x="98" y="110"/>
                    </a:cxn>
                    <a:cxn ang="0">
                      <a:pos x="101" y="105"/>
                    </a:cxn>
                    <a:cxn ang="0">
                      <a:pos x="110" y="108"/>
                    </a:cxn>
                    <a:cxn ang="0">
                      <a:pos x="119" y="110"/>
                    </a:cxn>
                    <a:cxn ang="0">
                      <a:pos x="143" y="119"/>
                    </a:cxn>
                    <a:cxn ang="0">
                      <a:pos x="150" y="115"/>
                    </a:cxn>
                    <a:cxn ang="0">
                      <a:pos x="167" y="122"/>
                    </a:cxn>
                    <a:cxn ang="0">
                      <a:pos x="174" y="113"/>
                    </a:cxn>
                    <a:cxn ang="0">
                      <a:pos x="188" y="113"/>
                    </a:cxn>
                    <a:cxn ang="0">
                      <a:pos x="197" y="110"/>
                    </a:cxn>
                    <a:cxn ang="0">
                      <a:pos x="209" y="96"/>
                    </a:cxn>
                    <a:cxn ang="0">
                      <a:pos x="223" y="82"/>
                    </a:cxn>
                    <a:cxn ang="0">
                      <a:pos x="232" y="72"/>
                    </a:cxn>
                    <a:cxn ang="0">
                      <a:pos x="213" y="53"/>
                    </a:cxn>
                    <a:cxn ang="0">
                      <a:pos x="200" y="53"/>
                    </a:cxn>
                    <a:cxn ang="0">
                      <a:pos x="195" y="51"/>
                    </a:cxn>
                    <a:cxn ang="0">
                      <a:pos x="192" y="40"/>
                    </a:cxn>
                    <a:cxn ang="0">
                      <a:pos x="171" y="33"/>
                    </a:cxn>
                    <a:cxn ang="0">
                      <a:pos x="166" y="35"/>
                    </a:cxn>
                    <a:cxn ang="0">
                      <a:pos x="167" y="40"/>
                    </a:cxn>
                    <a:cxn ang="0">
                      <a:pos x="162" y="47"/>
                    </a:cxn>
                    <a:cxn ang="0">
                      <a:pos x="148" y="39"/>
                    </a:cxn>
                    <a:cxn ang="0">
                      <a:pos x="143" y="30"/>
                    </a:cxn>
                    <a:cxn ang="0">
                      <a:pos x="148" y="25"/>
                    </a:cxn>
                    <a:cxn ang="0">
                      <a:pos x="150" y="21"/>
                    </a:cxn>
                    <a:cxn ang="0">
                      <a:pos x="134" y="18"/>
                    </a:cxn>
                    <a:cxn ang="0">
                      <a:pos x="115" y="9"/>
                    </a:cxn>
                    <a:cxn ang="0">
                      <a:pos x="105" y="0"/>
                    </a:cxn>
                    <a:cxn ang="0">
                      <a:pos x="94" y="6"/>
                    </a:cxn>
                    <a:cxn ang="0">
                      <a:pos x="82" y="4"/>
                    </a:cxn>
                    <a:cxn ang="0">
                      <a:pos x="75" y="0"/>
                    </a:cxn>
                    <a:cxn ang="0">
                      <a:pos x="73" y="2"/>
                    </a:cxn>
                    <a:cxn ang="0">
                      <a:pos x="72" y="9"/>
                    </a:cxn>
                    <a:cxn ang="0">
                      <a:pos x="49" y="16"/>
                    </a:cxn>
                    <a:cxn ang="0">
                      <a:pos x="19" y="33"/>
                    </a:cxn>
                    <a:cxn ang="0">
                      <a:pos x="2" y="40"/>
                    </a:cxn>
                    <a:cxn ang="0">
                      <a:pos x="5" y="53"/>
                    </a:cxn>
                    <a:cxn ang="0">
                      <a:pos x="11" y="61"/>
                    </a:cxn>
                    <a:cxn ang="0">
                      <a:pos x="9" y="75"/>
                    </a:cxn>
                    <a:cxn ang="0">
                      <a:pos x="21" y="84"/>
                    </a:cxn>
                    <a:cxn ang="0">
                      <a:pos x="45" y="105"/>
                    </a:cxn>
                  </a:cxnLst>
                  <a:rect l="0" t="0" r="r" b="b"/>
                  <a:pathLst>
                    <a:path w="233" h="127">
                      <a:moveTo>
                        <a:pt x="58" y="117"/>
                      </a:moveTo>
                      <a:lnTo>
                        <a:pt x="58" y="117"/>
                      </a:lnTo>
                      <a:lnTo>
                        <a:pt x="61" y="119"/>
                      </a:lnTo>
                      <a:lnTo>
                        <a:pt x="63" y="120"/>
                      </a:lnTo>
                      <a:lnTo>
                        <a:pt x="65" y="124"/>
                      </a:lnTo>
                      <a:lnTo>
                        <a:pt x="65" y="126"/>
                      </a:lnTo>
                      <a:lnTo>
                        <a:pt x="66" y="127"/>
                      </a:lnTo>
                      <a:lnTo>
                        <a:pt x="73" y="126"/>
                      </a:lnTo>
                      <a:lnTo>
                        <a:pt x="73" y="126"/>
                      </a:lnTo>
                      <a:lnTo>
                        <a:pt x="91" y="120"/>
                      </a:lnTo>
                      <a:lnTo>
                        <a:pt x="94" y="119"/>
                      </a:lnTo>
                      <a:lnTo>
                        <a:pt x="96" y="117"/>
                      </a:lnTo>
                      <a:lnTo>
                        <a:pt x="98" y="113"/>
                      </a:lnTo>
                      <a:lnTo>
                        <a:pt x="98" y="110"/>
                      </a:lnTo>
                      <a:lnTo>
                        <a:pt x="98" y="110"/>
                      </a:lnTo>
                      <a:lnTo>
                        <a:pt x="99" y="103"/>
                      </a:lnTo>
                      <a:lnTo>
                        <a:pt x="99" y="103"/>
                      </a:lnTo>
                      <a:lnTo>
                        <a:pt x="101" y="105"/>
                      </a:lnTo>
                      <a:lnTo>
                        <a:pt x="105" y="107"/>
                      </a:lnTo>
                      <a:lnTo>
                        <a:pt x="106" y="108"/>
                      </a:lnTo>
                      <a:lnTo>
                        <a:pt x="110" y="108"/>
                      </a:lnTo>
                      <a:lnTo>
                        <a:pt x="110" y="108"/>
                      </a:lnTo>
                      <a:lnTo>
                        <a:pt x="115" y="108"/>
                      </a:lnTo>
                      <a:lnTo>
                        <a:pt x="119" y="110"/>
                      </a:lnTo>
                      <a:lnTo>
                        <a:pt x="129" y="113"/>
                      </a:lnTo>
                      <a:lnTo>
                        <a:pt x="138" y="117"/>
                      </a:lnTo>
                      <a:lnTo>
                        <a:pt x="143" y="119"/>
                      </a:lnTo>
                      <a:lnTo>
                        <a:pt x="146" y="117"/>
                      </a:lnTo>
                      <a:lnTo>
                        <a:pt x="146" y="117"/>
                      </a:lnTo>
                      <a:lnTo>
                        <a:pt x="150" y="115"/>
                      </a:lnTo>
                      <a:lnTo>
                        <a:pt x="153" y="115"/>
                      </a:lnTo>
                      <a:lnTo>
                        <a:pt x="160" y="117"/>
                      </a:lnTo>
                      <a:lnTo>
                        <a:pt x="167" y="122"/>
                      </a:lnTo>
                      <a:lnTo>
                        <a:pt x="167" y="122"/>
                      </a:lnTo>
                      <a:lnTo>
                        <a:pt x="171" y="117"/>
                      </a:lnTo>
                      <a:lnTo>
                        <a:pt x="174" y="113"/>
                      </a:lnTo>
                      <a:lnTo>
                        <a:pt x="178" y="112"/>
                      </a:lnTo>
                      <a:lnTo>
                        <a:pt x="181" y="112"/>
                      </a:lnTo>
                      <a:lnTo>
                        <a:pt x="188" y="113"/>
                      </a:lnTo>
                      <a:lnTo>
                        <a:pt x="193" y="112"/>
                      </a:lnTo>
                      <a:lnTo>
                        <a:pt x="197" y="110"/>
                      </a:lnTo>
                      <a:lnTo>
                        <a:pt x="197" y="110"/>
                      </a:lnTo>
                      <a:lnTo>
                        <a:pt x="202" y="107"/>
                      </a:lnTo>
                      <a:lnTo>
                        <a:pt x="206" y="103"/>
                      </a:lnTo>
                      <a:lnTo>
                        <a:pt x="209" y="96"/>
                      </a:lnTo>
                      <a:lnTo>
                        <a:pt x="211" y="93"/>
                      </a:lnTo>
                      <a:lnTo>
                        <a:pt x="216" y="87"/>
                      </a:lnTo>
                      <a:lnTo>
                        <a:pt x="223" y="82"/>
                      </a:lnTo>
                      <a:lnTo>
                        <a:pt x="233" y="79"/>
                      </a:lnTo>
                      <a:lnTo>
                        <a:pt x="233" y="79"/>
                      </a:lnTo>
                      <a:lnTo>
                        <a:pt x="232" y="72"/>
                      </a:lnTo>
                      <a:lnTo>
                        <a:pt x="228" y="65"/>
                      </a:lnTo>
                      <a:lnTo>
                        <a:pt x="223" y="58"/>
                      </a:lnTo>
                      <a:lnTo>
                        <a:pt x="213" y="53"/>
                      </a:lnTo>
                      <a:lnTo>
                        <a:pt x="213" y="53"/>
                      </a:lnTo>
                      <a:lnTo>
                        <a:pt x="206" y="51"/>
                      </a:lnTo>
                      <a:lnTo>
                        <a:pt x="200" y="53"/>
                      </a:lnTo>
                      <a:lnTo>
                        <a:pt x="199" y="53"/>
                      </a:lnTo>
                      <a:lnTo>
                        <a:pt x="195" y="51"/>
                      </a:lnTo>
                      <a:lnTo>
                        <a:pt x="195" y="51"/>
                      </a:lnTo>
                      <a:lnTo>
                        <a:pt x="192" y="46"/>
                      </a:lnTo>
                      <a:lnTo>
                        <a:pt x="192" y="42"/>
                      </a:lnTo>
                      <a:lnTo>
                        <a:pt x="192" y="40"/>
                      </a:lnTo>
                      <a:lnTo>
                        <a:pt x="186" y="39"/>
                      </a:lnTo>
                      <a:lnTo>
                        <a:pt x="186" y="39"/>
                      </a:lnTo>
                      <a:lnTo>
                        <a:pt x="171" y="33"/>
                      </a:lnTo>
                      <a:lnTo>
                        <a:pt x="166" y="32"/>
                      </a:lnTo>
                      <a:lnTo>
                        <a:pt x="166" y="33"/>
                      </a:lnTo>
                      <a:lnTo>
                        <a:pt x="166" y="35"/>
                      </a:lnTo>
                      <a:lnTo>
                        <a:pt x="166" y="35"/>
                      </a:lnTo>
                      <a:lnTo>
                        <a:pt x="167" y="39"/>
                      </a:lnTo>
                      <a:lnTo>
                        <a:pt x="167" y="40"/>
                      </a:lnTo>
                      <a:lnTo>
                        <a:pt x="167" y="44"/>
                      </a:lnTo>
                      <a:lnTo>
                        <a:pt x="166" y="46"/>
                      </a:lnTo>
                      <a:lnTo>
                        <a:pt x="162" y="47"/>
                      </a:lnTo>
                      <a:lnTo>
                        <a:pt x="159" y="47"/>
                      </a:lnTo>
                      <a:lnTo>
                        <a:pt x="153" y="44"/>
                      </a:lnTo>
                      <a:lnTo>
                        <a:pt x="148" y="39"/>
                      </a:lnTo>
                      <a:lnTo>
                        <a:pt x="148" y="39"/>
                      </a:lnTo>
                      <a:lnTo>
                        <a:pt x="145" y="33"/>
                      </a:lnTo>
                      <a:lnTo>
                        <a:pt x="143" y="30"/>
                      </a:lnTo>
                      <a:lnTo>
                        <a:pt x="143" y="26"/>
                      </a:lnTo>
                      <a:lnTo>
                        <a:pt x="145" y="26"/>
                      </a:lnTo>
                      <a:lnTo>
                        <a:pt x="148" y="25"/>
                      </a:lnTo>
                      <a:lnTo>
                        <a:pt x="150" y="23"/>
                      </a:lnTo>
                      <a:lnTo>
                        <a:pt x="150" y="21"/>
                      </a:lnTo>
                      <a:lnTo>
                        <a:pt x="150" y="21"/>
                      </a:lnTo>
                      <a:lnTo>
                        <a:pt x="146" y="18"/>
                      </a:lnTo>
                      <a:lnTo>
                        <a:pt x="143" y="18"/>
                      </a:lnTo>
                      <a:lnTo>
                        <a:pt x="134" y="18"/>
                      </a:lnTo>
                      <a:lnTo>
                        <a:pt x="122" y="14"/>
                      </a:lnTo>
                      <a:lnTo>
                        <a:pt x="122" y="14"/>
                      </a:lnTo>
                      <a:lnTo>
                        <a:pt x="115" y="9"/>
                      </a:lnTo>
                      <a:lnTo>
                        <a:pt x="110" y="7"/>
                      </a:lnTo>
                      <a:lnTo>
                        <a:pt x="106" y="2"/>
                      </a:lnTo>
                      <a:lnTo>
                        <a:pt x="105" y="0"/>
                      </a:lnTo>
                      <a:lnTo>
                        <a:pt x="103" y="0"/>
                      </a:lnTo>
                      <a:lnTo>
                        <a:pt x="94" y="6"/>
                      </a:lnTo>
                      <a:lnTo>
                        <a:pt x="94" y="6"/>
                      </a:lnTo>
                      <a:lnTo>
                        <a:pt x="91" y="7"/>
                      </a:lnTo>
                      <a:lnTo>
                        <a:pt x="87" y="7"/>
                      </a:lnTo>
                      <a:lnTo>
                        <a:pt x="82" y="4"/>
                      </a:lnTo>
                      <a:lnTo>
                        <a:pt x="79" y="0"/>
                      </a:lnTo>
                      <a:lnTo>
                        <a:pt x="77" y="0"/>
                      </a:lnTo>
                      <a:lnTo>
                        <a:pt x="75" y="0"/>
                      </a:lnTo>
                      <a:lnTo>
                        <a:pt x="75" y="0"/>
                      </a:lnTo>
                      <a:lnTo>
                        <a:pt x="73" y="2"/>
                      </a:lnTo>
                      <a:lnTo>
                        <a:pt x="73" y="2"/>
                      </a:lnTo>
                      <a:lnTo>
                        <a:pt x="73" y="6"/>
                      </a:lnTo>
                      <a:lnTo>
                        <a:pt x="73" y="7"/>
                      </a:lnTo>
                      <a:lnTo>
                        <a:pt x="72" y="9"/>
                      </a:lnTo>
                      <a:lnTo>
                        <a:pt x="61" y="13"/>
                      </a:lnTo>
                      <a:lnTo>
                        <a:pt x="61" y="13"/>
                      </a:lnTo>
                      <a:lnTo>
                        <a:pt x="49" y="16"/>
                      </a:lnTo>
                      <a:lnTo>
                        <a:pt x="40" y="23"/>
                      </a:lnTo>
                      <a:lnTo>
                        <a:pt x="32" y="28"/>
                      </a:lnTo>
                      <a:lnTo>
                        <a:pt x="19" y="33"/>
                      </a:lnTo>
                      <a:lnTo>
                        <a:pt x="19" y="33"/>
                      </a:lnTo>
                      <a:lnTo>
                        <a:pt x="9" y="37"/>
                      </a:lnTo>
                      <a:lnTo>
                        <a:pt x="2" y="40"/>
                      </a:lnTo>
                      <a:lnTo>
                        <a:pt x="0" y="42"/>
                      </a:lnTo>
                      <a:lnTo>
                        <a:pt x="0" y="44"/>
                      </a:lnTo>
                      <a:lnTo>
                        <a:pt x="5" y="53"/>
                      </a:lnTo>
                      <a:lnTo>
                        <a:pt x="5" y="53"/>
                      </a:lnTo>
                      <a:lnTo>
                        <a:pt x="9" y="56"/>
                      </a:lnTo>
                      <a:lnTo>
                        <a:pt x="11" y="61"/>
                      </a:lnTo>
                      <a:lnTo>
                        <a:pt x="9" y="68"/>
                      </a:lnTo>
                      <a:lnTo>
                        <a:pt x="9" y="72"/>
                      </a:lnTo>
                      <a:lnTo>
                        <a:pt x="9" y="75"/>
                      </a:lnTo>
                      <a:lnTo>
                        <a:pt x="14" y="79"/>
                      </a:lnTo>
                      <a:lnTo>
                        <a:pt x="21" y="84"/>
                      </a:lnTo>
                      <a:lnTo>
                        <a:pt x="21" y="84"/>
                      </a:lnTo>
                      <a:lnTo>
                        <a:pt x="30" y="89"/>
                      </a:lnTo>
                      <a:lnTo>
                        <a:pt x="37" y="96"/>
                      </a:lnTo>
                      <a:lnTo>
                        <a:pt x="45" y="105"/>
                      </a:lnTo>
                      <a:lnTo>
                        <a:pt x="58" y="117"/>
                      </a:lnTo>
                      <a:lnTo>
                        <a:pt x="58" y="1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5" name="Freeform 2042">
                  <a:extLst>
                    <a:ext uri="{FF2B5EF4-FFF2-40B4-BE49-F238E27FC236}">
                      <a16:creationId xmlns:a16="http://schemas.microsoft.com/office/drawing/2014/main" id="{0AD62143-F1B1-DB2A-CC9C-BF4ABF0EB0B4}"/>
                    </a:ext>
                  </a:extLst>
                </p:cNvPr>
                <p:cNvSpPr>
                  <a:spLocks/>
                </p:cNvSpPr>
                <p:nvPr/>
              </p:nvSpPr>
              <p:spPr bwMode="auto">
                <a:xfrm>
                  <a:off x="5350535" y="2934780"/>
                  <a:ext cx="174438" cy="118054"/>
                </a:xfrm>
                <a:custGeom>
                  <a:avLst/>
                  <a:gdLst/>
                  <a:ahLst/>
                  <a:cxnLst>
                    <a:cxn ang="0">
                      <a:pos x="5" y="103"/>
                    </a:cxn>
                    <a:cxn ang="0">
                      <a:pos x="19" y="115"/>
                    </a:cxn>
                    <a:cxn ang="0">
                      <a:pos x="21" y="131"/>
                    </a:cxn>
                    <a:cxn ang="0">
                      <a:pos x="21" y="141"/>
                    </a:cxn>
                    <a:cxn ang="0">
                      <a:pos x="33" y="140"/>
                    </a:cxn>
                    <a:cxn ang="0">
                      <a:pos x="40" y="140"/>
                    </a:cxn>
                    <a:cxn ang="0">
                      <a:pos x="58" y="136"/>
                    </a:cxn>
                    <a:cxn ang="0">
                      <a:pos x="68" y="133"/>
                    </a:cxn>
                    <a:cxn ang="0">
                      <a:pos x="72" y="134"/>
                    </a:cxn>
                    <a:cxn ang="0">
                      <a:pos x="80" y="136"/>
                    </a:cxn>
                    <a:cxn ang="0">
                      <a:pos x="85" y="140"/>
                    </a:cxn>
                    <a:cxn ang="0">
                      <a:pos x="92" y="140"/>
                    </a:cxn>
                    <a:cxn ang="0">
                      <a:pos x="99" y="145"/>
                    </a:cxn>
                    <a:cxn ang="0">
                      <a:pos x="115" y="145"/>
                    </a:cxn>
                    <a:cxn ang="0">
                      <a:pos x="131" y="143"/>
                    </a:cxn>
                    <a:cxn ang="0">
                      <a:pos x="132" y="131"/>
                    </a:cxn>
                    <a:cxn ang="0">
                      <a:pos x="134" y="122"/>
                    </a:cxn>
                    <a:cxn ang="0">
                      <a:pos x="141" y="120"/>
                    </a:cxn>
                    <a:cxn ang="0">
                      <a:pos x="148" y="115"/>
                    </a:cxn>
                    <a:cxn ang="0">
                      <a:pos x="150" y="110"/>
                    </a:cxn>
                    <a:cxn ang="0">
                      <a:pos x="160" y="112"/>
                    </a:cxn>
                    <a:cxn ang="0">
                      <a:pos x="167" y="107"/>
                    </a:cxn>
                    <a:cxn ang="0">
                      <a:pos x="181" y="113"/>
                    </a:cxn>
                    <a:cxn ang="0">
                      <a:pos x="186" y="115"/>
                    </a:cxn>
                    <a:cxn ang="0">
                      <a:pos x="195" y="112"/>
                    </a:cxn>
                    <a:cxn ang="0">
                      <a:pos x="199" y="108"/>
                    </a:cxn>
                    <a:cxn ang="0">
                      <a:pos x="190" y="101"/>
                    </a:cxn>
                    <a:cxn ang="0">
                      <a:pos x="188" y="96"/>
                    </a:cxn>
                    <a:cxn ang="0">
                      <a:pos x="179" y="89"/>
                    </a:cxn>
                    <a:cxn ang="0">
                      <a:pos x="185" y="80"/>
                    </a:cxn>
                    <a:cxn ang="0">
                      <a:pos x="193" y="73"/>
                    </a:cxn>
                    <a:cxn ang="0">
                      <a:pos x="193" y="60"/>
                    </a:cxn>
                    <a:cxn ang="0">
                      <a:pos x="197" y="49"/>
                    </a:cxn>
                    <a:cxn ang="0">
                      <a:pos x="211" y="44"/>
                    </a:cxn>
                    <a:cxn ang="0">
                      <a:pos x="218" y="35"/>
                    </a:cxn>
                    <a:cxn ang="0">
                      <a:pos x="207" y="25"/>
                    </a:cxn>
                    <a:cxn ang="0">
                      <a:pos x="197" y="18"/>
                    </a:cxn>
                    <a:cxn ang="0">
                      <a:pos x="185" y="13"/>
                    </a:cxn>
                    <a:cxn ang="0">
                      <a:pos x="174" y="11"/>
                    </a:cxn>
                    <a:cxn ang="0">
                      <a:pos x="164" y="6"/>
                    </a:cxn>
                    <a:cxn ang="0">
                      <a:pos x="134" y="16"/>
                    </a:cxn>
                    <a:cxn ang="0">
                      <a:pos x="117" y="28"/>
                    </a:cxn>
                    <a:cxn ang="0">
                      <a:pos x="99" y="30"/>
                    </a:cxn>
                    <a:cxn ang="0">
                      <a:pos x="80" y="23"/>
                    </a:cxn>
                    <a:cxn ang="0">
                      <a:pos x="58" y="28"/>
                    </a:cxn>
                    <a:cxn ang="0">
                      <a:pos x="47" y="23"/>
                    </a:cxn>
                    <a:cxn ang="0">
                      <a:pos x="30" y="21"/>
                    </a:cxn>
                    <a:cxn ang="0">
                      <a:pos x="18" y="21"/>
                    </a:cxn>
                    <a:cxn ang="0">
                      <a:pos x="18" y="16"/>
                    </a:cxn>
                    <a:cxn ang="0">
                      <a:pos x="23" y="7"/>
                    </a:cxn>
                    <a:cxn ang="0">
                      <a:pos x="11" y="0"/>
                    </a:cxn>
                    <a:cxn ang="0">
                      <a:pos x="4" y="13"/>
                    </a:cxn>
                    <a:cxn ang="0">
                      <a:pos x="0" y="19"/>
                    </a:cxn>
                    <a:cxn ang="0">
                      <a:pos x="5" y="33"/>
                    </a:cxn>
                    <a:cxn ang="0">
                      <a:pos x="21" y="49"/>
                    </a:cxn>
                    <a:cxn ang="0">
                      <a:pos x="19" y="60"/>
                    </a:cxn>
                    <a:cxn ang="0">
                      <a:pos x="12" y="66"/>
                    </a:cxn>
                    <a:cxn ang="0">
                      <a:pos x="2" y="70"/>
                    </a:cxn>
                    <a:cxn ang="0">
                      <a:pos x="4" y="80"/>
                    </a:cxn>
                    <a:cxn ang="0">
                      <a:pos x="7" y="91"/>
                    </a:cxn>
                  </a:cxnLst>
                  <a:rect l="0" t="0" r="r" b="b"/>
                  <a:pathLst>
                    <a:path w="218" h="148">
                      <a:moveTo>
                        <a:pt x="0" y="94"/>
                      </a:moveTo>
                      <a:lnTo>
                        <a:pt x="0" y="94"/>
                      </a:lnTo>
                      <a:lnTo>
                        <a:pt x="5" y="103"/>
                      </a:lnTo>
                      <a:lnTo>
                        <a:pt x="11" y="107"/>
                      </a:lnTo>
                      <a:lnTo>
                        <a:pt x="16" y="110"/>
                      </a:lnTo>
                      <a:lnTo>
                        <a:pt x="19" y="115"/>
                      </a:lnTo>
                      <a:lnTo>
                        <a:pt x="19" y="115"/>
                      </a:lnTo>
                      <a:lnTo>
                        <a:pt x="21" y="124"/>
                      </a:lnTo>
                      <a:lnTo>
                        <a:pt x="21" y="131"/>
                      </a:lnTo>
                      <a:lnTo>
                        <a:pt x="21" y="136"/>
                      </a:lnTo>
                      <a:lnTo>
                        <a:pt x="21" y="141"/>
                      </a:lnTo>
                      <a:lnTo>
                        <a:pt x="21" y="141"/>
                      </a:lnTo>
                      <a:lnTo>
                        <a:pt x="26" y="145"/>
                      </a:lnTo>
                      <a:lnTo>
                        <a:pt x="30" y="143"/>
                      </a:lnTo>
                      <a:lnTo>
                        <a:pt x="33" y="140"/>
                      </a:lnTo>
                      <a:lnTo>
                        <a:pt x="35" y="140"/>
                      </a:lnTo>
                      <a:lnTo>
                        <a:pt x="40" y="140"/>
                      </a:lnTo>
                      <a:lnTo>
                        <a:pt x="40" y="140"/>
                      </a:lnTo>
                      <a:lnTo>
                        <a:pt x="45" y="140"/>
                      </a:lnTo>
                      <a:lnTo>
                        <a:pt x="51" y="140"/>
                      </a:lnTo>
                      <a:lnTo>
                        <a:pt x="58" y="136"/>
                      </a:lnTo>
                      <a:lnTo>
                        <a:pt x="65" y="133"/>
                      </a:lnTo>
                      <a:lnTo>
                        <a:pt x="66" y="133"/>
                      </a:lnTo>
                      <a:lnTo>
                        <a:pt x="68" y="133"/>
                      </a:lnTo>
                      <a:lnTo>
                        <a:pt x="68" y="133"/>
                      </a:lnTo>
                      <a:lnTo>
                        <a:pt x="70" y="134"/>
                      </a:lnTo>
                      <a:lnTo>
                        <a:pt x="72" y="134"/>
                      </a:lnTo>
                      <a:lnTo>
                        <a:pt x="75" y="133"/>
                      </a:lnTo>
                      <a:lnTo>
                        <a:pt x="77" y="133"/>
                      </a:lnTo>
                      <a:lnTo>
                        <a:pt x="80" y="136"/>
                      </a:lnTo>
                      <a:lnTo>
                        <a:pt x="80" y="136"/>
                      </a:lnTo>
                      <a:lnTo>
                        <a:pt x="84" y="140"/>
                      </a:lnTo>
                      <a:lnTo>
                        <a:pt x="85" y="140"/>
                      </a:lnTo>
                      <a:lnTo>
                        <a:pt x="87" y="140"/>
                      </a:lnTo>
                      <a:lnTo>
                        <a:pt x="91" y="138"/>
                      </a:lnTo>
                      <a:lnTo>
                        <a:pt x="92" y="140"/>
                      </a:lnTo>
                      <a:lnTo>
                        <a:pt x="96" y="141"/>
                      </a:lnTo>
                      <a:lnTo>
                        <a:pt x="96" y="141"/>
                      </a:lnTo>
                      <a:lnTo>
                        <a:pt x="99" y="145"/>
                      </a:lnTo>
                      <a:lnTo>
                        <a:pt x="101" y="147"/>
                      </a:lnTo>
                      <a:lnTo>
                        <a:pt x="108" y="148"/>
                      </a:lnTo>
                      <a:lnTo>
                        <a:pt x="115" y="145"/>
                      </a:lnTo>
                      <a:lnTo>
                        <a:pt x="125" y="143"/>
                      </a:lnTo>
                      <a:lnTo>
                        <a:pt x="125" y="143"/>
                      </a:lnTo>
                      <a:lnTo>
                        <a:pt x="131" y="143"/>
                      </a:lnTo>
                      <a:lnTo>
                        <a:pt x="132" y="140"/>
                      </a:lnTo>
                      <a:lnTo>
                        <a:pt x="132" y="134"/>
                      </a:lnTo>
                      <a:lnTo>
                        <a:pt x="132" y="131"/>
                      </a:lnTo>
                      <a:lnTo>
                        <a:pt x="131" y="127"/>
                      </a:lnTo>
                      <a:lnTo>
                        <a:pt x="132" y="124"/>
                      </a:lnTo>
                      <a:lnTo>
                        <a:pt x="134" y="122"/>
                      </a:lnTo>
                      <a:lnTo>
                        <a:pt x="139" y="124"/>
                      </a:lnTo>
                      <a:lnTo>
                        <a:pt x="139" y="124"/>
                      </a:lnTo>
                      <a:lnTo>
                        <a:pt x="141" y="120"/>
                      </a:lnTo>
                      <a:lnTo>
                        <a:pt x="143" y="119"/>
                      </a:lnTo>
                      <a:lnTo>
                        <a:pt x="146" y="119"/>
                      </a:lnTo>
                      <a:lnTo>
                        <a:pt x="148" y="115"/>
                      </a:lnTo>
                      <a:lnTo>
                        <a:pt x="148" y="115"/>
                      </a:lnTo>
                      <a:lnTo>
                        <a:pt x="150" y="112"/>
                      </a:lnTo>
                      <a:lnTo>
                        <a:pt x="150" y="110"/>
                      </a:lnTo>
                      <a:lnTo>
                        <a:pt x="153" y="112"/>
                      </a:lnTo>
                      <a:lnTo>
                        <a:pt x="159" y="112"/>
                      </a:lnTo>
                      <a:lnTo>
                        <a:pt x="160" y="112"/>
                      </a:lnTo>
                      <a:lnTo>
                        <a:pt x="164" y="110"/>
                      </a:lnTo>
                      <a:lnTo>
                        <a:pt x="164" y="110"/>
                      </a:lnTo>
                      <a:lnTo>
                        <a:pt x="167" y="107"/>
                      </a:lnTo>
                      <a:lnTo>
                        <a:pt x="171" y="107"/>
                      </a:lnTo>
                      <a:lnTo>
                        <a:pt x="176" y="108"/>
                      </a:lnTo>
                      <a:lnTo>
                        <a:pt x="181" y="113"/>
                      </a:lnTo>
                      <a:lnTo>
                        <a:pt x="183" y="115"/>
                      </a:lnTo>
                      <a:lnTo>
                        <a:pt x="186" y="115"/>
                      </a:lnTo>
                      <a:lnTo>
                        <a:pt x="186" y="115"/>
                      </a:lnTo>
                      <a:lnTo>
                        <a:pt x="190" y="115"/>
                      </a:lnTo>
                      <a:lnTo>
                        <a:pt x="192" y="113"/>
                      </a:lnTo>
                      <a:lnTo>
                        <a:pt x="195" y="112"/>
                      </a:lnTo>
                      <a:lnTo>
                        <a:pt x="199" y="112"/>
                      </a:lnTo>
                      <a:lnTo>
                        <a:pt x="199" y="112"/>
                      </a:lnTo>
                      <a:lnTo>
                        <a:pt x="199" y="108"/>
                      </a:lnTo>
                      <a:lnTo>
                        <a:pt x="197" y="105"/>
                      </a:lnTo>
                      <a:lnTo>
                        <a:pt x="193" y="103"/>
                      </a:lnTo>
                      <a:lnTo>
                        <a:pt x="190" y="101"/>
                      </a:lnTo>
                      <a:lnTo>
                        <a:pt x="188" y="100"/>
                      </a:lnTo>
                      <a:lnTo>
                        <a:pt x="188" y="96"/>
                      </a:lnTo>
                      <a:lnTo>
                        <a:pt x="188" y="96"/>
                      </a:lnTo>
                      <a:lnTo>
                        <a:pt x="188" y="93"/>
                      </a:lnTo>
                      <a:lnTo>
                        <a:pt x="186" y="91"/>
                      </a:lnTo>
                      <a:lnTo>
                        <a:pt x="179" y="89"/>
                      </a:lnTo>
                      <a:lnTo>
                        <a:pt x="178" y="87"/>
                      </a:lnTo>
                      <a:lnTo>
                        <a:pt x="178" y="87"/>
                      </a:lnTo>
                      <a:lnTo>
                        <a:pt x="185" y="80"/>
                      </a:lnTo>
                      <a:lnTo>
                        <a:pt x="185" y="80"/>
                      </a:lnTo>
                      <a:lnTo>
                        <a:pt x="190" y="77"/>
                      </a:lnTo>
                      <a:lnTo>
                        <a:pt x="193" y="73"/>
                      </a:lnTo>
                      <a:lnTo>
                        <a:pt x="195" y="70"/>
                      </a:lnTo>
                      <a:lnTo>
                        <a:pt x="195" y="66"/>
                      </a:lnTo>
                      <a:lnTo>
                        <a:pt x="193" y="60"/>
                      </a:lnTo>
                      <a:lnTo>
                        <a:pt x="195" y="54"/>
                      </a:lnTo>
                      <a:lnTo>
                        <a:pt x="197" y="49"/>
                      </a:lnTo>
                      <a:lnTo>
                        <a:pt x="197" y="49"/>
                      </a:lnTo>
                      <a:lnTo>
                        <a:pt x="202" y="44"/>
                      </a:lnTo>
                      <a:lnTo>
                        <a:pt x="206" y="42"/>
                      </a:lnTo>
                      <a:lnTo>
                        <a:pt x="211" y="44"/>
                      </a:lnTo>
                      <a:lnTo>
                        <a:pt x="214" y="44"/>
                      </a:lnTo>
                      <a:lnTo>
                        <a:pt x="216" y="40"/>
                      </a:lnTo>
                      <a:lnTo>
                        <a:pt x="218" y="35"/>
                      </a:lnTo>
                      <a:lnTo>
                        <a:pt x="218" y="26"/>
                      </a:lnTo>
                      <a:lnTo>
                        <a:pt x="218" y="26"/>
                      </a:lnTo>
                      <a:lnTo>
                        <a:pt x="207" y="25"/>
                      </a:lnTo>
                      <a:lnTo>
                        <a:pt x="202" y="23"/>
                      </a:lnTo>
                      <a:lnTo>
                        <a:pt x="197" y="18"/>
                      </a:lnTo>
                      <a:lnTo>
                        <a:pt x="197" y="18"/>
                      </a:lnTo>
                      <a:lnTo>
                        <a:pt x="193" y="14"/>
                      </a:lnTo>
                      <a:lnTo>
                        <a:pt x="190" y="13"/>
                      </a:lnTo>
                      <a:lnTo>
                        <a:pt x="185" y="13"/>
                      </a:lnTo>
                      <a:lnTo>
                        <a:pt x="179" y="13"/>
                      </a:lnTo>
                      <a:lnTo>
                        <a:pt x="176" y="13"/>
                      </a:lnTo>
                      <a:lnTo>
                        <a:pt x="174" y="11"/>
                      </a:lnTo>
                      <a:lnTo>
                        <a:pt x="174" y="11"/>
                      </a:lnTo>
                      <a:lnTo>
                        <a:pt x="169" y="7"/>
                      </a:lnTo>
                      <a:lnTo>
                        <a:pt x="164" y="6"/>
                      </a:lnTo>
                      <a:lnTo>
                        <a:pt x="157" y="7"/>
                      </a:lnTo>
                      <a:lnTo>
                        <a:pt x="150" y="9"/>
                      </a:lnTo>
                      <a:lnTo>
                        <a:pt x="134" y="16"/>
                      </a:lnTo>
                      <a:lnTo>
                        <a:pt x="122" y="23"/>
                      </a:lnTo>
                      <a:lnTo>
                        <a:pt x="122" y="23"/>
                      </a:lnTo>
                      <a:lnTo>
                        <a:pt x="117" y="28"/>
                      </a:lnTo>
                      <a:lnTo>
                        <a:pt x="110" y="30"/>
                      </a:lnTo>
                      <a:lnTo>
                        <a:pt x="105" y="30"/>
                      </a:lnTo>
                      <a:lnTo>
                        <a:pt x="99" y="30"/>
                      </a:lnTo>
                      <a:lnTo>
                        <a:pt x="91" y="26"/>
                      </a:lnTo>
                      <a:lnTo>
                        <a:pt x="80" y="23"/>
                      </a:lnTo>
                      <a:lnTo>
                        <a:pt x="80" y="23"/>
                      </a:lnTo>
                      <a:lnTo>
                        <a:pt x="73" y="25"/>
                      </a:lnTo>
                      <a:lnTo>
                        <a:pt x="66" y="26"/>
                      </a:lnTo>
                      <a:lnTo>
                        <a:pt x="58" y="28"/>
                      </a:lnTo>
                      <a:lnTo>
                        <a:pt x="54" y="26"/>
                      </a:lnTo>
                      <a:lnTo>
                        <a:pt x="47" y="23"/>
                      </a:lnTo>
                      <a:lnTo>
                        <a:pt x="47" y="23"/>
                      </a:lnTo>
                      <a:lnTo>
                        <a:pt x="42" y="21"/>
                      </a:lnTo>
                      <a:lnTo>
                        <a:pt x="38" y="19"/>
                      </a:lnTo>
                      <a:lnTo>
                        <a:pt x="30" y="21"/>
                      </a:lnTo>
                      <a:lnTo>
                        <a:pt x="24" y="23"/>
                      </a:lnTo>
                      <a:lnTo>
                        <a:pt x="21" y="23"/>
                      </a:lnTo>
                      <a:lnTo>
                        <a:pt x="18" y="21"/>
                      </a:lnTo>
                      <a:lnTo>
                        <a:pt x="18" y="21"/>
                      </a:lnTo>
                      <a:lnTo>
                        <a:pt x="16" y="18"/>
                      </a:lnTo>
                      <a:lnTo>
                        <a:pt x="18" y="16"/>
                      </a:lnTo>
                      <a:lnTo>
                        <a:pt x="21" y="13"/>
                      </a:lnTo>
                      <a:lnTo>
                        <a:pt x="23" y="11"/>
                      </a:lnTo>
                      <a:lnTo>
                        <a:pt x="23" y="7"/>
                      </a:lnTo>
                      <a:lnTo>
                        <a:pt x="19" y="6"/>
                      </a:lnTo>
                      <a:lnTo>
                        <a:pt x="11" y="0"/>
                      </a:lnTo>
                      <a:lnTo>
                        <a:pt x="11" y="0"/>
                      </a:lnTo>
                      <a:lnTo>
                        <a:pt x="11" y="6"/>
                      </a:lnTo>
                      <a:lnTo>
                        <a:pt x="9" y="9"/>
                      </a:lnTo>
                      <a:lnTo>
                        <a:pt x="4" y="13"/>
                      </a:lnTo>
                      <a:lnTo>
                        <a:pt x="2" y="14"/>
                      </a:lnTo>
                      <a:lnTo>
                        <a:pt x="0" y="16"/>
                      </a:lnTo>
                      <a:lnTo>
                        <a:pt x="0" y="19"/>
                      </a:lnTo>
                      <a:lnTo>
                        <a:pt x="2" y="25"/>
                      </a:lnTo>
                      <a:lnTo>
                        <a:pt x="2" y="25"/>
                      </a:lnTo>
                      <a:lnTo>
                        <a:pt x="5" y="33"/>
                      </a:lnTo>
                      <a:lnTo>
                        <a:pt x="9" y="40"/>
                      </a:lnTo>
                      <a:lnTo>
                        <a:pt x="18" y="47"/>
                      </a:lnTo>
                      <a:lnTo>
                        <a:pt x="21" y="49"/>
                      </a:lnTo>
                      <a:lnTo>
                        <a:pt x="23" y="53"/>
                      </a:lnTo>
                      <a:lnTo>
                        <a:pt x="23" y="56"/>
                      </a:lnTo>
                      <a:lnTo>
                        <a:pt x="19" y="60"/>
                      </a:lnTo>
                      <a:lnTo>
                        <a:pt x="19" y="60"/>
                      </a:lnTo>
                      <a:lnTo>
                        <a:pt x="16" y="65"/>
                      </a:lnTo>
                      <a:lnTo>
                        <a:pt x="12" y="66"/>
                      </a:lnTo>
                      <a:lnTo>
                        <a:pt x="7" y="68"/>
                      </a:lnTo>
                      <a:lnTo>
                        <a:pt x="4" y="68"/>
                      </a:lnTo>
                      <a:lnTo>
                        <a:pt x="2" y="70"/>
                      </a:lnTo>
                      <a:lnTo>
                        <a:pt x="2" y="73"/>
                      </a:lnTo>
                      <a:lnTo>
                        <a:pt x="2" y="73"/>
                      </a:lnTo>
                      <a:lnTo>
                        <a:pt x="4" y="80"/>
                      </a:lnTo>
                      <a:lnTo>
                        <a:pt x="7" y="86"/>
                      </a:lnTo>
                      <a:lnTo>
                        <a:pt x="7" y="87"/>
                      </a:lnTo>
                      <a:lnTo>
                        <a:pt x="7" y="91"/>
                      </a:lnTo>
                      <a:lnTo>
                        <a:pt x="0" y="94"/>
                      </a:lnTo>
                      <a:lnTo>
                        <a:pt x="0" y="9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6" name="Freeform 2043">
                  <a:extLst>
                    <a:ext uri="{FF2B5EF4-FFF2-40B4-BE49-F238E27FC236}">
                      <a16:creationId xmlns:a16="http://schemas.microsoft.com/office/drawing/2014/main" id="{00FA4FD1-B33B-1E9F-0A9F-6489869EAF2B}"/>
                    </a:ext>
                  </a:extLst>
                </p:cNvPr>
                <p:cNvSpPr>
                  <a:spLocks/>
                </p:cNvSpPr>
                <p:nvPr/>
              </p:nvSpPr>
              <p:spPr bwMode="auto">
                <a:xfrm>
                  <a:off x="5248343" y="2857252"/>
                  <a:ext cx="119816" cy="169152"/>
                </a:xfrm>
                <a:custGeom>
                  <a:avLst/>
                  <a:gdLst/>
                  <a:ahLst/>
                  <a:cxnLst>
                    <a:cxn ang="0">
                      <a:pos x="49" y="181"/>
                    </a:cxn>
                    <a:cxn ang="0">
                      <a:pos x="55" y="191"/>
                    </a:cxn>
                    <a:cxn ang="0">
                      <a:pos x="62" y="200"/>
                    </a:cxn>
                    <a:cxn ang="0">
                      <a:pos x="66" y="212"/>
                    </a:cxn>
                    <a:cxn ang="0">
                      <a:pos x="69" y="203"/>
                    </a:cxn>
                    <a:cxn ang="0">
                      <a:pos x="76" y="198"/>
                    </a:cxn>
                    <a:cxn ang="0">
                      <a:pos x="92" y="193"/>
                    </a:cxn>
                    <a:cxn ang="0">
                      <a:pos x="106" y="193"/>
                    </a:cxn>
                    <a:cxn ang="0">
                      <a:pos x="125" y="189"/>
                    </a:cxn>
                    <a:cxn ang="0">
                      <a:pos x="132" y="182"/>
                    </a:cxn>
                    <a:cxn ang="0">
                      <a:pos x="127" y="168"/>
                    </a:cxn>
                    <a:cxn ang="0">
                      <a:pos x="129" y="163"/>
                    </a:cxn>
                    <a:cxn ang="0">
                      <a:pos x="141" y="160"/>
                    </a:cxn>
                    <a:cxn ang="0">
                      <a:pos x="148" y="151"/>
                    </a:cxn>
                    <a:cxn ang="0">
                      <a:pos x="143" y="142"/>
                    </a:cxn>
                    <a:cxn ang="0">
                      <a:pos x="127" y="120"/>
                    </a:cxn>
                    <a:cxn ang="0">
                      <a:pos x="125" y="111"/>
                    </a:cxn>
                    <a:cxn ang="0">
                      <a:pos x="134" y="104"/>
                    </a:cxn>
                    <a:cxn ang="0">
                      <a:pos x="136" y="95"/>
                    </a:cxn>
                    <a:cxn ang="0">
                      <a:pos x="132" y="83"/>
                    </a:cxn>
                    <a:cxn ang="0">
                      <a:pos x="139" y="80"/>
                    </a:cxn>
                    <a:cxn ang="0">
                      <a:pos x="130" y="74"/>
                    </a:cxn>
                    <a:cxn ang="0">
                      <a:pos x="123" y="76"/>
                    </a:cxn>
                    <a:cxn ang="0">
                      <a:pos x="118" y="81"/>
                    </a:cxn>
                    <a:cxn ang="0">
                      <a:pos x="102" y="76"/>
                    </a:cxn>
                    <a:cxn ang="0">
                      <a:pos x="92" y="57"/>
                    </a:cxn>
                    <a:cxn ang="0">
                      <a:pos x="96" y="50"/>
                    </a:cxn>
                    <a:cxn ang="0">
                      <a:pos x="78" y="41"/>
                    </a:cxn>
                    <a:cxn ang="0">
                      <a:pos x="69" y="26"/>
                    </a:cxn>
                    <a:cxn ang="0">
                      <a:pos x="69" y="20"/>
                    </a:cxn>
                    <a:cxn ang="0">
                      <a:pos x="52" y="3"/>
                    </a:cxn>
                    <a:cxn ang="0">
                      <a:pos x="28" y="0"/>
                    </a:cxn>
                    <a:cxn ang="0">
                      <a:pos x="19" y="5"/>
                    </a:cxn>
                    <a:cxn ang="0">
                      <a:pos x="0" y="13"/>
                    </a:cxn>
                    <a:cxn ang="0">
                      <a:pos x="5" y="27"/>
                    </a:cxn>
                    <a:cxn ang="0">
                      <a:pos x="8" y="41"/>
                    </a:cxn>
                    <a:cxn ang="0">
                      <a:pos x="22" y="47"/>
                    </a:cxn>
                    <a:cxn ang="0">
                      <a:pos x="19" y="50"/>
                    </a:cxn>
                    <a:cxn ang="0">
                      <a:pos x="8" y="59"/>
                    </a:cxn>
                    <a:cxn ang="0">
                      <a:pos x="17" y="62"/>
                    </a:cxn>
                    <a:cxn ang="0">
                      <a:pos x="17" y="71"/>
                    </a:cxn>
                    <a:cxn ang="0">
                      <a:pos x="10" y="88"/>
                    </a:cxn>
                    <a:cxn ang="0">
                      <a:pos x="28" y="104"/>
                    </a:cxn>
                    <a:cxn ang="0">
                      <a:pos x="28" y="109"/>
                    </a:cxn>
                    <a:cxn ang="0">
                      <a:pos x="17" y="108"/>
                    </a:cxn>
                    <a:cxn ang="0">
                      <a:pos x="22" y="116"/>
                    </a:cxn>
                    <a:cxn ang="0">
                      <a:pos x="26" y="128"/>
                    </a:cxn>
                    <a:cxn ang="0">
                      <a:pos x="22" y="128"/>
                    </a:cxn>
                    <a:cxn ang="0">
                      <a:pos x="15" y="132"/>
                    </a:cxn>
                    <a:cxn ang="0">
                      <a:pos x="38" y="151"/>
                    </a:cxn>
                    <a:cxn ang="0">
                      <a:pos x="55" y="163"/>
                    </a:cxn>
                    <a:cxn ang="0">
                      <a:pos x="52" y="167"/>
                    </a:cxn>
                    <a:cxn ang="0">
                      <a:pos x="42" y="172"/>
                    </a:cxn>
                    <a:cxn ang="0">
                      <a:pos x="45" y="174"/>
                    </a:cxn>
                    <a:cxn ang="0">
                      <a:pos x="45" y="177"/>
                    </a:cxn>
                  </a:cxnLst>
                  <a:rect l="0" t="0" r="r" b="b"/>
                  <a:pathLst>
                    <a:path w="148" h="212">
                      <a:moveTo>
                        <a:pt x="45" y="177"/>
                      </a:moveTo>
                      <a:lnTo>
                        <a:pt x="45" y="177"/>
                      </a:lnTo>
                      <a:lnTo>
                        <a:pt x="49" y="181"/>
                      </a:lnTo>
                      <a:lnTo>
                        <a:pt x="49" y="184"/>
                      </a:lnTo>
                      <a:lnTo>
                        <a:pt x="50" y="188"/>
                      </a:lnTo>
                      <a:lnTo>
                        <a:pt x="55" y="191"/>
                      </a:lnTo>
                      <a:lnTo>
                        <a:pt x="55" y="191"/>
                      </a:lnTo>
                      <a:lnTo>
                        <a:pt x="61" y="195"/>
                      </a:lnTo>
                      <a:lnTo>
                        <a:pt x="62" y="200"/>
                      </a:lnTo>
                      <a:lnTo>
                        <a:pt x="62" y="210"/>
                      </a:lnTo>
                      <a:lnTo>
                        <a:pt x="62" y="210"/>
                      </a:lnTo>
                      <a:lnTo>
                        <a:pt x="66" y="212"/>
                      </a:lnTo>
                      <a:lnTo>
                        <a:pt x="68" y="210"/>
                      </a:lnTo>
                      <a:lnTo>
                        <a:pt x="68" y="207"/>
                      </a:lnTo>
                      <a:lnTo>
                        <a:pt x="69" y="203"/>
                      </a:lnTo>
                      <a:lnTo>
                        <a:pt x="73" y="202"/>
                      </a:lnTo>
                      <a:lnTo>
                        <a:pt x="76" y="198"/>
                      </a:lnTo>
                      <a:lnTo>
                        <a:pt x="76" y="198"/>
                      </a:lnTo>
                      <a:lnTo>
                        <a:pt x="85" y="196"/>
                      </a:lnTo>
                      <a:lnTo>
                        <a:pt x="89" y="193"/>
                      </a:lnTo>
                      <a:lnTo>
                        <a:pt x="92" y="193"/>
                      </a:lnTo>
                      <a:lnTo>
                        <a:pt x="99" y="193"/>
                      </a:lnTo>
                      <a:lnTo>
                        <a:pt x="99" y="193"/>
                      </a:lnTo>
                      <a:lnTo>
                        <a:pt x="106" y="193"/>
                      </a:lnTo>
                      <a:lnTo>
                        <a:pt x="113" y="191"/>
                      </a:lnTo>
                      <a:lnTo>
                        <a:pt x="118" y="189"/>
                      </a:lnTo>
                      <a:lnTo>
                        <a:pt x="125" y="189"/>
                      </a:lnTo>
                      <a:lnTo>
                        <a:pt x="125" y="189"/>
                      </a:lnTo>
                      <a:lnTo>
                        <a:pt x="132" y="186"/>
                      </a:lnTo>
                      <a:lnTo>
                        <a:pt x="132" y="182"/>
                      </a:lnTo>
                      <a:lnTo>
                        <a:pt x="132" y="181"/>
                      </a:lnTo>
                      <a:lnTo>
                        <a:pt x="129" y="175"/>
                      </a:lnTo>
                      <a:lnTo>
                        <a:pt x="127" y="168"/>
                      </a:lnTo>
                      <a:lnTo>
                        <a:pt x="127" y="168"/>
                      </a:lnTo>
                      <a:lnTo>
                        <a:pt x="127" y="165"/>
                      </a:lnTo>
                      <a:lnTo>
                        <a:pt x="129" y="163"/>
                      </a:lnTo>
                      <a:lnTo>
                        <a:pt x="132" y="163"/>
                      </a:lnTo>
                      <a:lnTo>
                        <a:pt x="137" y="161"/>
                      </a:lnTo>
                      <a:lnTo>
                        <a:pt x="141" y="160"/>
                      </a:lnTo>
                      <a:lnTo>
                        <a:pt x="144" y="155"/>
                      </a:lnTo>
                      <a:lnTo>
                        <a:pt x="144" y="155"/>
                      </a:lnTo>
                      <a:lnTo>
                        <a:pt x="148" y="151"/>
                      </a:lnTo>
                      <a:lnTo>
                        <a:pt x="148" y="148"/>
                      </a:lnTo>
                      <a:lnTo>
                        <a:pt x="146" y="144"/>
                      </a:lnTo>
                      <a:lnTo>
                        <a:pt x="143" y="142"/>
                      </a:lnTo>
                      <a:lnTo>
                        <a:pt x="134" y="135"/>
                      </a:lnTo>
                      <a:lnTo>
                        <a:pt x="130" y="128"/>
                      </a:lnTo>
                      <a:lnTo>
                        <a:pt x="127" y="120"/>
                      </a:lnTo>
                      <a:lnTo>
                        <a:pt x="127" y="120"/>
                      </a:lnTo>
                      <a:lnTo>
                        <a:pt x="125" y="114"/>
                      </a:lnTo>
                      <a:lnTo>
                        <a:pt x="125" y="111"/>
                      </a:lnTo>
                      <a:lnTo>
                        <a:pt x="127" y="109"/>
                      </a:lnTo>
                      <a:lnTo>
                        <a:pt x="129" y="108"/>
                      </a:lnTo>
                      <a:lnTo>
                        <a:pt x="134" y="104"/>
                      </a:lnTo>
                      <a:lnTo>
                        <a:pt x="136" y="101"/>
                      </a:lnTo>
                      <a:lnTo>
                        <a:pt x="136" y="95"/>
                      </a:lnTo>
                      <a:lnTo>
                        <a:pt x="136" y="95"/>
                      </a:lnTo>
                      <a:lnTo>
                        <a:pt x="130" y="90"/>
                      </a:lnTo>
                      <a:lnTo>
                        <a:pt x="130" y="87"/>
                      </a:lnTo>
                      <a:lnTo>
                        <a:pt x="132" y="83"/>
                      </a:lnTo>
                      <a:lnTo>
                        <a:pt x="136" y="83"/>
                      </a:lnTo>
                      <a:lnTo>
                        <a:pt x="137" y="81"/>
                      </a:lnTo>
                      <a:lnTo>
                        <a:pt x="139" y="80"/>
                      </a:lnTo>
                      <a:lnTo>
                        <a:pt x="137" y="78"/>
                      </a:lnTo>
                      <a:lnTo>
                        <a:pt x="130" y="74"/>
                      </a:lnTo>
                      <a:lnTo>
                        <a:pt x="130" y="74"/>
                      </a:lnTo>
                      <a:lnTo>
                        <a:pt x="127" y="73"/>
                      </a:lnTo>
                      <a:lnTo>
                        <a:pt x="125" y="73"/>
                      </a:lnTo>
                      <a:lnTo>
                        <a:pt x="123" y="76"/>
                      </a:lnTo>
                      <a:lnTo>
                        <a:pt x="123" y="80"/>
                      </a:lnTo>
                      <a:lnTo>
                        <a:pt x="122" y="81"/>
                      </a:lnTo>
                      <a:lnTo>
                        <a:pt x="118" y="81"/>
                      </a:lnTo>
                      <a:lnTo>
                        <a:pt x="113" y="81"/>
                      </a:lnTo>
                      <a:lnTo>
                        <a:pt x="113" y="81"/>
                      </a:lnTo>
                      <a:lnTo>
                        <a:pt x="102" y="76"/>
                      </a:lnTo>
                      <a:lnTo>
                        <a:pt x="96" y="69"/>
                      </a:lnTo>
                      <a:lnTo>
                        <a:pt x="92" y="61"/>
                      </a:lnTo>
                      <a:lnTo>
                        <a:pt x="92" y="57"/>
                      </a:lnTo>
                      <a:lnTo>
                        <a:pt x="94" y="55"/>
                      </a:lnTo>
                      <a:lnTo>
                        <a:pt x="94" y="55"/>
                      </a:lnTo>
                      <a:lnTo>
                        <a:pt x="96" y="50"/>
                      </a:lnTo>
                      <a:lnTo>
                        <a:pt x="94" y="48"/>
                      </a:lnTo>
                      <a:lnTo>
                        <a:pt x="83" y="43"/>
                      </a:lnTo>
                      <a:lnTo>
                        <a:pt x="78" y="41"/>
                      </a:lnTo>
                      <a:lnTo>
                        <a:pt x="73" y="38"/>
                      </a:lnTo>
                      <a:lnTo>
                        <a:pt x="69" y="33"/>
                      </a:lnTo>
                      <a:lnTo>
                        <a:pt x="69" y="26"/>
                      </a:lnTo>
                      <a:lnTo>
                        <a:pt x="69" y="26"/>
                      </a:lnTo>
                      <a:lnTo>
                        <a:pt x="69" y="24"/>
                      </a:lnTo>
                      <a:lnTo>
                        <a:pt x="69" y="20"/>
                      </a:lnTo>
                      <a:lnTo>
                        <a:pt x="64" y="17"/>
                      </a:lnTo>
                      <a:lnTo>
                        <a:pt x="59" y="12"/>
                      </a:lnTo>
                      <a:lnTo>
                        <a:pt x="52" y="3"/>
                      </a:lnTo>
                      <a:lnTo>
                        <a:pt x="52" y="3"/>
                      </a:lnTo>
                      <a:lnTo>
                        <a:pt x="36" y="1"/>
                      </a:lnTo>
                      <a:lnTo>
                        <a:pt x="28" y="0"/>
                      </a:lnTo>
                      <a:lnTo>
                        <a:pt x="28" y="0"/>
                      </a:lnTo>
                      <a:lnTo>
                        <a:pt x="22" y="1"/>
                      </a:lnTo>
                      <a:lnTo>
                        <a:pt x="19" y="5"/>
                      </a:lnTo>
                      <a:lnTo>
                        <a:pt x="10" y="8"/>
                      </a:lnTo>
                      <a:lnTo>
                        <a:pt x="0" y="13"/>
                      </a:lnTo>
                      <a:lnTo>
                        <a:pt x="0" y="13"/>
                      </a:lnTo>
                      <a:lnTo>
                        <a:pt x="3" y="15"/>
                      </a:lnTo>
                      <a:lnTo>
                        <a:pt x="3" y="19"/>
                      </a:lnTo>
                      <a:lnTo>
                        <a:pt x="5" y="27"/>
                      </a:lnTo>
                      <a:lnTo>
                        <a:pt x="7" y="36"/>
                      </a:lnTo>
                      <a:lnTo>
                        <a:pt x="8" y="41"/>
                      </a:lnTo>
                      <a:lnTo>
                        <a:pt x="8" y="41"/>
                      </a:lnTo>
                      <a:lnTo>
                        <a:pt x="15" y="45"/>
                      </a:lnTo>
                      <a:lnTo>
                        <a:pt x="19" y="47"/>
                      </a:lnTo>
                      <a:lnTo>
                        <a:pt x="22" y="47"/>
                      </a:lnTo>
                      <a:lnTo>
                        <a:pt x="21" y="48"/>
                      </a:lnTo>
                      <a:lnTo>
                        <a:pt x="21" y="48"/>
                      </a:lnTo>
                      <a:lnTo>
                        <a:pt x="19" y="50"/>
                      </a:lnTo>
                      <a:lnTo>
                        <a:pt x="15" y="52"/>
                      </a:lnTo>
                      <a:lnTo>
                        <a:pt x="10" y="55"/>
                      </a:lnTo>
                      <a:lnTo>
                        <a:pt x="8" y="59"/>
                      </a:lnTo>
                      <a:lnTo>
                        <a:pt x="8" y="64"/>
                      </a:lnTo>
                      <a:lnTo>
                        <a:pt x="8" y="64"/>
                      </a:lnTo>
                      <a:lnTo>
                        <a:pt x="17" y="62"/>
                      </a:lnTo>
                      <a:lnTo>
                        <a:pt x="19" y="62"/>
                      </a:lnTo>
                      <a:lnTo>
                        <a:pt x="19" y="64"/>
                      </a:lnTo>
                      <a:lnTo>
                        <a:pt x="17" y="71"/>
                      </a:lnTo>
                      <a:lnTo>
                        <a:pt x="10" y="85"/>
                      </a:lnTo>
                      <a:lnTo>
                        <a:pt x="10" y="85"/>
                      </a:lnTo>
                      <a:lnTo>
                        <a:pt x="10" y="88"/>
                      </a:lnTo>
                      <a:lnTo>
                        <a:pt x="14" y="92"/>
                      </a:lnTo>
                      <a:lnTo>
                        <a:pt x="21" y="99"/>
                      </a:lnTo>
                      <a:lnTo>
                        <a:pt x="28" y="104"/>
                      </a:lnTo>
                      <a:lnTo>
                        <a:pt x="29" y="108"/>
                      </a:lnTo>
                      <a:lnTo>
                        <a:pt x="28" y="109"/>
                      </a:lnTo>
                      <a:lnTo>
                        <a:pt x="28" y="109"/>
                      </a:lnTo>
                      <a:lnTo>
                        <a:pt x="24" y="109"/>
                      </a:lnTo>
                      <a:lnTo>
                        <a:pt x="21" y="109"/>
                      </a:lnTo>
                      <a:lnTo>
                        <a:pt x="17" y="108"/>
                      </a:lnTo>
                      <a:lnTo>
                        <a:pt x="15" y="108"/>
                      </a:lnTo>
                      <a:lnTo>
                        <a:pt x="15" y="108"/>
                      </a:lnTo>
                      <a:lnTo>
                        <a:pt x="22" y="116"/>
                      </a:lnTo>
                      <a:lnTo>
                        <a:pt x="26" y="123"/>
                      </a:lnTo>
                      <a:lnTo>
                        <a:pt x="26" y="127"/>
                      </a:lnTo>
                      <a:lnTo>
                        <a:pt x="26" y="128"/>
                      </a:lnTo>
                      <a:lnTo>
                        <a:pt x="26" y="128"/>
                      </a:lnTo>
                      <a:lnTo>
                        <a:pt x="24" y="128"/>
                      </a:lnTo>
                      <a:lnTo>
                        <a:pt x="22" y="128"/>
                      </a:lnTo>
                      <a:lnTo>
                        <a:pt x="19" y="127"/>
                      </a:lnTo>
                      <a:lnTo>
                        <a:pt x="15" y="132"/>
                      </a:lnTo>
                      <a:lnTo>
                        <a:pt x="15" y="132"/>
                      </a:lnTo>
                      <a:lnTo>
                        <a:pt x="21" y="137"/>
                      </a:lnTo>
                      <a:lnTo>
                        <a:pt x="26" y="142"/>
                      </a:lnTo>
                      <a:lnTo>
                        <a:pt x="38" y="151"/>
                      </a:lnTo>
                      <a:lnTo>
                        <a:pt x="50" y="158"/>
                      </a:lnTo>
                      <a:lnTo>
                        <a:pt x="54" y="161"/>
                      </a:lnTo>
                      <a:lnTo>
                        <a:pt x="55" y="163"/>
                      </a:lnTo>
                      <a:lnTo>
                        <a:pt x="55" y="163"/>
                      </a:lnTo>
                      <a:lnTo>
                        <a:pt x="55" y="165"/>
                      </a:lnTo>
                      <a:lnTo>
                        <a:pt x="52" y="167"/>
                      </a:lnTo>
                      <a:lnTo>
                        <a:pt x="47" y="168"/>
                      </a:lnTo>
                      <a:lnTo>
                        <a:pt x="42" y="170"/>
                      </a:lnTo>
                      <a:lnTo>
                        <a:pt x="42" y="172"/>
                      </a:lnTo>
                      <a:lnTo>
                        <a:pt x="43" y="172"/>
                      </a:lnTo>
                      <a:lnTo>
                        <a:pt x="43" y="172"/>
                      </a:lnTo>
                      <a:lnTo>
                        <a:pt x="45" y="174"/>
                      </a:lnTo>
                      <a:lnTo>
                        <a:pt x="45" y="175"/>
                      </a:lnTo>
                      <a:lnTo>
                        <a:pt x="43" y="175"/>
                      </a:lnTo>
                      <a:lnTo>
                        <a:pt x="45" y="177"/>
                      </a:lnTo>
                      <a:lnTo>
                        <a:pt x="45" y="17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7" name="Freeform 2044">
                  <a:extLst>
                    <a:ext uri="{FF2B5EF4-FFF2-40B4-BE49-F238E27FC236}">
                      <a16:creationId xmlns:a16="http://schemas.microsoft.com/office/drawing/2014/main" id="{C0AF0950-5410-153B-6F1D-EFF11D86C8CF}"/>
                    </a:ext>
                  </a:extLst>
                </p:cNvPr>
                <p:cNvSpPr>
                  <a:spLocks/>
                </p:cNvSpPr>
                <p:nvPr/>
              </p:nvSpPr>
              <p:spPr bwMode="auto">
                <a:xfrm>
                  <a:off x="5264198" y="2994691"/>
                  <a:ext cx="49336" cy="119816"/>
                </a:xfrm>
                <a:custGeom>
                  <a:avLst/>
                  <a:gdLst/>
                  <a:ahLst/>
                  <a:cxnLst>
                    <a:cxn ang="0">
                      <a:pos x="4" y="40"/>
                    </a:cxn>
                    <a:cxn ang="0">
                      <a:pos x="9" y="45"/>
                    </a:cxn>
                    <a:cxn ang="0">
                      <a:pos x="5" y="73"/>
                    </a:cxn>
                    <a:cxn ang="0">
                      <a:pos x="5" y="82"/>
                    </a:cxn>
                    <a:cxn ang="0">
                      <a:pos x="7" y="84"/>
                    </a:cxn>
                    <a:cxn ang="0">
                      <a:pos x="4" y="89"/>
                    </a:cxn>
                    <a:cxn ang="0">
                      <a:pos x="0" y="99"/>
                    </a:cxn>
                    <a:cxn ang="0">
                      <a:pos x="2" y="104"/>
                    </a:cxn>
                    <a:cxn ang="0">
                      <a:pos x="4" y="111"/>
                    </a:cxn>
                    <a:cxn ang="0">
                      <a:pos x="0" y="113"/>
                    </a:cxn>
                    <a:cxn ang="0">
                      <a:pos x="9" y="118"/>
                    </a:cxn>
                    <a:cxn ang="0">
                      <a:pos x="16" y="124"/>
                    </a:cxn>
                    <a:cxn ang="0">
                      <a:pos x="21" y="132"/>
                    </a:cxn>
                    <a:cxn ang="0">
                      <a:pos x="23" y="141"/>
                    </a:cxn>
                    <a:cxn ang="0">
                      <a:pos x="28" y="146"/>
                    </a:cxn>
                    <a:cxn ang="0">
                      <a:pos x="35" y="143"/>
                    </a:cxn>
                    <a:cxn ang="0">
                      <a:pos x="40" y="139"/>
                    </a:cxn>
                    <a:cxn ang="0">
                      <a:pos x="38" y="137"/>
                    </a:cxn>
                    <a:cxn ang="0">
                      <a:pos x="37" y="132"/>
                    </a:cxn>
                    <a:cxn ang="0">
                      <a:pos x="37" y="131"/>
                    </a:cxn>
                    <a:cxn ang="0">
                      <a:pos x="44" y="127"/>
                    </a:cxn>
                    <a:cxn ang="0">
                      <a:pos x="49" y="124"/>
                    </a:cxn>
                    <a:cxn ang="0">
                      <a:pos x="51" y="120"/>
                    </a:cxn>
                    <a:cxn ang="0">
                      <a:pos x="54" y="108"/>
                    </a:cxn>
                    <a:cxn ang="0">
                      <a:pos x="58" y="106"/>
                    </a:cxn>
                    <a:cxn ang="0">
                      <a:pos x="61" y="103"/>
                    </a:cxn>
                    <a:cxn ang="0">
                      <a:pos x="63" y="97"/>
                    </a:cxn>
                    <a:cxn ang="0">
                      <a:pos x="59" y="92"/>
                    </a:cxn>
                    <a:cxn ang="0">
                      <a:pos x="59" y="89"/>
                    </a:cxn>
                    <a:cxn ang="0">
                      <a:pos x="58" y="84"/>
                    </a:cxn>
                    <a:cxn ang="0">
                      <a:pos x="56" y="85"/>
                    </a:cxn>
                    <a:cxn ang="0">
                      <a:pos x="52" y="85"/>
                    </a:cxn>
                    <a:cxn ang="0">
                      <a:pos x="44" y="71"/>
                    </a:cxn>
                    <a:cxn ang="0">
                      <a:pos x="44" y="64"/>
                    </a:cxn>
                    <a:cxn ang="0">
                      <a:pos x="44" y="61"/>
                    </a:cxn>
                    <a:cxn ang="0">
                      <a:pos x="42" y="57"/>
                    </a:cxn>
                    <a:cxn ang="0">
                      <a:pos x="44" y="54"/>
                    </a:cxn>
                    <a:cxn ang="0">
                      <a:pos x="45" y="49"/>
                    </a:cxn>
                    <a:cxn ang="0">
                      <a:pos x="45" y="38"/>
                    </a:cxn>
                    <a:cxn ang="0">
                      <a:pos x="45" y="28"/>
                    </a:cxn>
                    <a:cxn ang="0">
                      <a:pos x="38" y="19"/>
                    </a:cxn>
                    <a:cxn ang="0">
                      <a:pos x="33" y="16"/>
                    </a:cxn>
                    <a:cxn ang="0">
                      <a:pos x="32" y="9"/>
                    </a:cxn>
                    <a:cxn ang="0">
                      <a:pos x="28" y="5"/>
                    </a:cxn>
                    <a:cxn ang="0">
                      <a:pos x="21" y="10"/>
                    </a:cxn>
                    <a:cxn ang="0">
                      <a:pos x="16" y="3"/>
                    </a:cxn>
                    <a:cxn ang="0">
                      <a:pos x="16" y="2"/>
                    </a:cxn>
                    <a:cxn ang="0">
                      <a:pos x="11" y="5"/>
                    </a:cxn>
                    <a:cxn ang="0">
                      <a:pos x="4" y="21"/>
                    </a:cxn>
                    <a:cxn ang="0">
                      <a:pos x="0" y="24"/>
                    </a:cxn>
                    <a:cxn ang="0">
                      <a:pos x="4" y="31"/>
                    </a:cxn>
                    <a:cxn ang="0">
                      <a:pos x="4" y="40"/>
                    </a:cxn>
                  </a:cxnLst>
                  <a:rect l="0" t="0" r="r" b="b"/>
                  <a:pathLst>
                    <a:path w="63" h="146">
                      <a:moveTo>
                        <a:pt x="4" y="40"/>
                      </a:moveTo>
                      <a:lnTo>
                        <a:pt x="4" y="40"/>
                      </a:lnTo>
                      <a:lnTo>
                        <a:pt x="7" y="42"/>
                      </a:lnTo>
                      <a:lnTo>
                        <a:pt x="9" y="45"/>
                      </a:lnTo>
                      <a:lnTo>
                        <a:pt x="7" y="59"/>
                      </a:lnTo>
                      <a:lnTo>
                        <a:pt x="5" y="73"/>
                      </a:lnTo>
                      <a:lnTo>
                        <a:pt x="5" y="78"/>
                      </a:lnTo>
                      <a:lnTo>
                        <a:pt x="5" y="82"/>
                      </a:lnTo>
                      <a:lnTo>
                        <a:pt x="5" y="82"/>
                      </a:lnTo>
                      <a:lnTo>
                        <a:pt x="7" y="84"/>
                      </a:lnTo>
                      <a:lnTo>
                        <a:pt x="5" y="85"/>
                      </a:lnTo>
                      <a:lnTo>
                        <a:pt x="4" y="89"/>
                      </a:lnTo>
                      <a:lnTo>
                        <a:pt x="0" y="94"/>
                      </a:lnTo>
                      <a:lnTo>
                        <a:pt x="0" y="99"/>
                      </a:lnTo>
                      <a:lnTo>
                        <a:pt x="2" y="104"/>
                      </a:lnTo>
                      <a:lnTo>
                        <a:pt x="2" y="104"/>
                      </a:lnTo>
                      <a:lnTo>
                        <a:pt x="4" y="108"/>
                      </a:lnTo>
                      <a:lnTo>
                        <a:pt x="4" y="111"/>
                      </a:lnTo>
                      <a:lnTo>
                        <a:pt x="2" y="113"/>
                      </a:lnTo>
                      <a:lnTo>
                        <a:pt x="0" y="113"/>
                      </a:lnTo>
                      <a:lnTo>
                        <a:pt x="2" y="115"/>
                      </a:lnTo>
                      <a:lnTo>
                        <a:pt x="9" y="118"/>
                      </a:lnTo>
                      <a:lnTo>
                        <a:pt x="9" y="118"/>
                      </a:lnTo>
                      <a:lnTo>
                        <a:pt x="16" y="124"/>
                      </a:lnTo>
                      <a:lnTo>
                        <a:pt x="19" y="129"/>
                      </a:lnTo>
                      <a:lnTo>
                        <a:pt x="21" y="132"/>
                      </a:lnTo>
                      <a:lnTo>
                        <a:pt x="23" y="136"/>
                      </a:lnTo>
                      <a:lnTo>
                        <a:pt x="23" y="141"/>
                      </a:lnTo>
                      <a:lnTo>
                        <a:pt x="25" y="144"/>
                      </a:lnTo>
                      <a:lnTo>
                        <a:pt x="28" y="146"/>
                      </a:lnTo>
                      <a:lnTo>
                        <a:pt x="28" y="146"/>
                      </a:lnTo>
                      <a:lnTo>
                        <a:pt x="35" y="143"/>
                      </a:lnTo>
                      <a:lnTo>
                        <a:pt x="38" y="141"/>
                      </a:lnTo>
                      <a:lnTo>
                        <a:pt x="40" y="139"/>
                      </a:lnTo>
                      <a:lnTo>
                        <a:pt x="40" y="139"/>
                      </a:lnTo>
                      <a:lnTo>
                        <a:pt x="38" y="137"/>
                      </a:lnTo>
                      <a:lnTo>
                        <a:pt x="38" y="136"/>
                      </a:lnTo>
                      <a:lnTo>
                        <a:pt x="37" y="132"/>
                      </a:lnTo>
                      <a:lnTo>
                        <a:pt x="37" y="131"/>
                      </a:lnTo>
                      <a:lnTo>
                        <a:pt x="37" y="131"/>
                      </a:lnTo>
                      <a:lnTo>
                        <a:pt x="40" y="129"/>
                      </a:lnTo>
                      <a:lnTo>
                        <a:pt x="44" y="127"/>
                      </a:lnTo>
                      <a:lnTo>
                        <a:pt x="47" y="125"/>
                      </a:lnTo>
                      <a:lnTo>
                        <a:pt x="49" y="124"/>
                      </a:lnTo>
                      <a:lnTo>
                        <a:pt x="51" y="120"/>
                      </a:lnTo>
                      <a:lnTo>
                        <a:pt x="51" y="120"/>
                      </a:lnTo>
                      <a:lnTo>
                        <a:pt x="52" y="110"/>
                      </a:lnTo>
                      <a:lnTo>
                        <a:pt x="54" y="108"/>
                      </a:lnTo>
                      <a:lnTo>
                        <a:pt x="56" y="106"/>
                      </a:lnTo>
                      <a:lnTo>
                        <a:pt x="58" y="106"/>
                      </a:lnTo>
                      <a:lnTo>
                        <a:pt x="59" y="104"/>
                      </a:lnTo>
                      <a:lnTo>
                        <a:pt x="61" y="103"/>
                      </a:lnTo>
                      <a:lnTo>
                        <a:pt x="61" y="103"/>
                      </a:lnTo>
                      <a:lnTo>
                        <a:pt x="63" y="97"/>
                      </a:lnTo>
                      <a:lnTo>
                        <a:pt x="61" y="96"/>
                      </a:lnTo>
                      <a:lnTo>
                        <a:pt x="59" y="92"/>
                      </a:lnTo>
                      <a:lnTo>
                        <a:pt x="59" y="89"/>
                      </a:lnTo>
                      <a:lnTo>
                        <a:pt x="59" y="89"/>
                      </a:lnTo>
                      <a:lnTo>
                        <a:pt x="58" y="85"/>
                      </a:lnTo>
                      <a:lnTo>
                        <a:pt x="58" y="84"/>
                      </a:lnTo>
                      <a:lnTo>
                        <a:pt x="56" y="85"/>
                      </a:lnTo>
                      <a:lnTo>
                        <a:pt x="56" y="85"/>
                      </a:lnTo>
                      <a:lnTo>
                        <a:pt x="54" y="85"/>
                      </a:lnTo>
                      <a:lnTo>
                        <a:pt x="52" y="85"/>
                      </a:lnTo>
                      <a:lnTo>
                        <a:pt x="47" y="78"/>
                      </a:lnTo>
                      <a:lnTo>
                        <a:pt x="44" y="71"/>
                      </a:lnTo>
                      <a:lnTo>
                        <a:pt x="44" y="68"/>
                      </a:lnTo>
                      <a:lnTo>
                        <a:pt x="44" y="64"/>
                      </a:lnTo>
                      <a:lnTo>
                        <a:pt x="44" y="64"/>
                      </a:lnTo>
                      <a:lnTo>
                        <a:pt x="44" y="61"/>
                      </a:lnTo>
                      <a:lnTo>
                        <a:pt x="44" y="59"/>
                      </a:lnTo>
                      <a:lnTo>
                        <a:pt x="42" y="57"/>
                      </a:lnTo>
                      <a:lnTo>
                        <a:pt x="44" y="54"/>
                      </a:lnTo>
                      <a:lnTo>
                        <a:pt x="44" y="54"/>
                      </a:lnTo>
                      <a:lnTo>
                        <a:pt x="45" y="52"/>
                      </a:lnTo>
                      <a:lnTo>
                        <a:pt x="45" y="49"/>
                      </a:lnTo>
                      <a:lnTo>
                        <a:pt x="45" y="45"/>
                      </a:lnTo>
                      <a:lnTo>
                        <a:pt x="45" y="38"/>
                      </a:lnTo>
                      <a:lnTo>
                        <a:pt x="45" y="38"/>
                      </a:lnTo>
                      <a:lnTo>
                        <a:pt x="45" y="28"/>
                      </a:lnTo>
                      <a:lnTo>
                        <a:pt x="44" y="23"/>
                      </a:lnTo>
                      <a:lnTo>
                        <a:pt x="38" y="19"/>
                      </a:lnTo>
                      <a:lnTo>
                        <a:pt x="38" y="19"/>
                      </a:lnTo>
                      <a:lnTo>
                        <a:pt x="33" y="16"/>
                      </a:lnTo>
                      <a:lnTo>
                        <a:pt x="32" y="12"/>
                      </a:lnTo>
                      <a:lnTo>
                        <a:pt x="32" y="9"/>
                      </a:lnTo>
                      <a:lnTo>
                        <a:pt x="28" y="5"/>
                      </a:lnTo>
                      <a:lnTo>
                        <a:pt x="28" y="5"/>
                      </a:lnTo>
                      <a:lnTo>
                        <a:pt x="23" y="10"/>
                      </a:lnTo>
                      <a:lnTo>
                        <a:pt x="21" y="10"/>
                      </a:lnTo>
                      <a:lnTo>
                        <a:pt x="18" y="9"/>
                      </a:lnTo>
                      <a:lnTo>
                        <a:pt x="16" y="3"/>
                      </a:lnTo>
                      <a:lnTo>
                        <a:pt x="16" y="3"/>
                      </a:lnTo>
                      <a:lnTo>
                        <a:pt x="16" y="2"/>
                      </a:lnTo>
                      <a:lnTo>
                        <a:pt x="14" y="0"/>
                      </a:lnTo>
                      <a:lnTo>
                        <a:pt x="11" y="5"/>
                      </a:lnTo>
                      <a:lnTo>
                        <a:pt x="7" y="12"/>
                      </a:lnTo>
                      <a:lnTo>
                        <a:pt x="4" y="21"/>
                      </a:lnTo>
                      <a:lnTo>
                        <a:pt x="4" y="21"/>
                      </a:lnTo>
                      <a:lnTo>
                        <a:pt x="0" y="24"/>
                      </a:lnTo>
                      <a:lnTo>
                        <a:pt x="2" y="28"/>
                      </a:lnTo>
                      <a:lnTo>
                        <a:pt x="4" y="31"/>
                      </a:lnTo>
                      <a:lnTo>
                        <a:pt x="4" y="35"/>
                      </a:lnTo>
                      <a:lnTo>
                        <a:pt x="4" y="40"/>
                      </a:lnTo>
                      <a:lnTo>
                        <a:pt x="4" y="4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8" name="Freeform 2045">
                  <a:extLst>
                    <a:ext uri="{FF2B5EF4-FFF2-40B4-BE49-F238E27FC236}">
                      <a16:creationId xmlns:a16="http://schemas.microsoft.com/office/drawing/2014/main" id="{F413FDEF-F10A-8D40-EDFB-BFD9FB85B7A7}"/>
                    </a:ext>
                  </a:extLst>
                </p:cNvPr>
                <p:cNvSpPr>
                  <a:spLocks/>
                </p:cNvSpPr>
                <p:nvPr/>
              </p:nvSpPr>
              <p:spPr bwMode="auto">
                <a:xfrm>
                  <a:off x="5174338" y="2758580"/>
                  <a:ext cx="192058" cy="118054"/>
                </a:xfrm>
                <a:custGeom>
                  <a:avLst/>
                  <a:gdLst/>
                  <a:ahLst/>
                  <a:cxnLst>
                    <a:cxn ang="0">
                      <a:pos x="103" y="130"/>
                    </a:cxn>
                    <a:cxn ang="0">
                      <a:pos x="121" y="122"/>
                    </a:cxn>
                    <a:cxn ang="0">
                      <a:pos x="145" y="125"/>
                    </a:cxn>
                    <a:cxn ang="0">
                      <a:pos x="159" y="122"/>
                    </a:cxn>
                    <a:cxn ang="0">
                      <a:pos x="162" y="120"/>
                    </a:cxn>
                    <a:cxn ang="0">
                      <a:pos x="162" y="116"/>
                    </a:cxn>
                    <a:cxn ang="0">
                      <a:pos x="169" y="118"/>
                    </a:cxn>
                    <a:cxn ang="0">
                      <a:pos x="176" y="115"/>
                    </a:cxn>
                    <a:cxn ang="0">
                      <a:pos x="190" y="87"/>
                    </a:cxn>
                    <a:cxn ang="0">
                      <a:pos x="194" y="75"/>
                    </a:cxn>
                    <a:cxn ang="0">
                      <a:pos x="206" y="61"/>
                    </a:cxn>
                    <a:cxn ang="0">
                      <a:pos x="211" y="47"/>
                    </a:cxn>
                    <a:cxn ang="0">
                      <a:pos x="218" y="41"/>
                    </a:cxn>
                    <a:cxn ang="0">
                      <a:pos x="229" y="40"/>
                    </a:cxn>
                    <a:cxn ang="0">
                      <a:pos x="237" y="33"/>
                    </a:cxn>
                    <a:cxn ang="0">
                      <a:pos x="236" y="29"/>
                    </a:cxn>
                    <a:cxn ang="0">
                      <a:pos x="234" y="24"/>
                    </a:cxn>
                    <a:cxn ang="0">
                      <a:pos x="227" y="24"/>
                    </a:cxn>
                    <a:cxn ang="0">
                      <a:pos x="218" y="14"/>
                    </a:cxn>
                    <a:cxn ang="0">
                      <a:pos x="209" y="8"/>
                    </a:cxn>
                    <a:cxn ang="0">
                      <a:pos x="194" y="10"/>
                    </a:cxn>
                    <a:cxn ang="0">
                      <a:pos x="187" y="0"/>
                    </a:cxn>
                    <a:cxn ang="0">
                      <a:pos x="180" y="3"/>
                    </a:cxn>
                    <a:cxn ang="0">
                      <a:pos x="164" y="1"/>
                    </a:cxn>
                    <a:cxn ang="0">
                      <a:pos x="155" y="1"/>
                    </a:cxn>
                    <a:cxn ang="0">
                      <a:pos x="148" y="14"/>
                    </a:cxn>
                    <a:cxn ang="0">
                      <a:pos x="142" y="21"/>
                    </a:cxn>
                    <a:cxn ang="0">
                      <a:pos x="129" y="22"/>
                    </a:cxn>
                    <a:cxn ang="0">
                      <a:pos x="121" y="19"/>
                    </a:cxn>
                    <a:cxn ang="0">
                      <a:pos x="117" y="24"/>
                    </a:cxn>
                    <a:cxn ang="0">
                      <a:pos x="103" y="26"/>
                    </a:cxn>
                    <a:cxn ang="0">
                      <a:pos x="93" y="28"/>
                    </a:cxn>
                    <a:cxn ang="0">
                      <a:pos x="94" y="38"/>
                    </a:cxn>
                    <a:cxn ang="0">
                      <a:pos x="88" y="40"/>
                    </a:cxn>
                    <a:cxn ang="0">
                      <a:pos x="63" y="43"/>
                    </a:cxn>
                    <a:cxn ang="0">
                      <a:pos x="42" y="31"/>
                    </a:cxn>
                    <a:cxn ang="0">
                      <a:pos x="35" y="28"/>
                    </a:cxn>
                    <a:cxn ang="0">
                      <a:pos x="34" y="43"/>
                    </a:cxn>
                    <a:cxn ang="0">
                      <a:pos x="32" y="45"/>
                    </a:cxn>
                    <a:cxn ang="0">
                      <a:pos x="11" y="45"/>
                    </a:cxn>
                    <a:cxn ang="0">
                      <a:pos x="16" y="48"/>
                    </a:cxn>
                    <a:cxn ang="0">
                      <a:pos x="20" y="55"/>
                    </a:cxn>
                    <a:cxn ang="0">
                      <a:pos x="14" y="59"/>
                    </a:cxn>
                    <a:cxn ang="0">
                      <a:pos x="11" y="62"/>
                    </a:cxn>
                    <a:cxn ang="0">
                      <a:pos x="13" y="75"/>
                    </a:cxn>
                    <a:cxn ang="0">
                      <a:pos x="0" y="87"/>
                    </a:cxn>
                    <a:cxn ang="0">
                      <a:pos x="6" y="88"/>
                    </a:cxn>
                    <a:cxn ang="0">
                      <a:pos x="11" y="102"/>
                    </a:cxn>
                    <a:cxn ang="0">
                      <a:pos x="23" y="113"/>
                    </a:cxn>
                    <a:cxn ang="0">
                      <a:pos x="42" y="132"/>
                    </a:cxn>
                    <a:cxn ang="0">
                      <a:pos x="46" y="134"/>
                    </a:cxn>
                    <a:cxn ang="0">
                      <a:pos x="70" y="142"/>
                    </a:cxn>
                    <a:cxn ang="0">
                      <a:pos x="79" y="142"/>
                    </a:cxn>
                    <a:cxn ang="0">
                      <a:pos x="88" y="135"/>
                    </a:cxn>
                  </a:cxnLst>
                  <a:rect l="0" t="0" r="r" b="b"/>
                  <a:pathLst>
                    <a:path w="237" h="144">
                      <a:moveTo>
                        <a:pt x="93" y="135"/>
                      </a:moveTo>
                      <a:lnTo>
                        <a:pt x="93" y="135"/>
                      </a:lnTo>
                      <a:lnTo>
                        <a:pt x="103" y="130"/>
                      </a:lnTo>
                      <a:lnTo>
                        <a:pt x="112" y="127"/>
                      </a:lnTo>
                      <a:lnTo>
                        <a:pt x="115" y="123"/>
                      </a:lnTo>
                      <a:lnTo>
                        <a:pt x="121" y="122"/>
                      </a:lnTo>
                      <a:lnTo>
                        <a:pt x="121" y="122"/>
                      </a:lnTo>
                      <a:lnTo>
                        <a:pt x="129" y="123"/>
                      </a:lnTo>
                      <a:lnTo>
                        <a:pt x="145" y="125"/>
                      </a:lnTo>
                      <a:lnTo>
                        <a:pt x="145" y="125"/>
                      </a:lnTo>
                      <a:lnTo>
                        <a:pt x="150" y="123"/>
                      </a:lnTo>
                      <a:lnTo>
                        <a:pt x="159" y="122"/>
                      </a:lnTo>
                      <a:lnTo>
                        <a:pt x="159" y="122"/>
                      </a:lnTo>
                      <a:lnTo>
                        <a:pt x="162" y="120"/>
                      </a:lnTo>
                      <a:lnTo>
                        <a:pt x="162" y="120"/>
                      </a:lnTo>
                      <a:lnTo>
                        <a:pt x="161" y="118"/>
                      </a:lnTo>
                      <a:lnTo>
                        <a:pt x="162" y="116"/>
                      </a:lnTo>
                      <a:lnTo>
                        <a:pt x="162" y="116"/>
                      </a:lnTo>
                      <a:lnTo>
                        <a:pt x="166" y="116"/>
                      </a:lnTo>
                      <a:lnTo>
                        <a:pt x="168" y="118"/>
                      </a:lnTo>
                      <a:lnTo>
                        <a:pt x="169" y="118"/>
                      </a:lnTo>
                      <a:lnTo>
                        <a:pt x="171" y="118"/>
                      </a:lnTo>
                      <a:lnTo>
                        <a:pt x="171" y="118"/>
                      </a:lnTo>
                      <a:lnTo>
                        <a:pt x="176" y="115"/>
                      </a:lnTo>
                      <a:lnTo>
                        <a:pt x="182" y="106"/>
                      </a:lnTo>
                      <a:lnTo>
                        <a:pt x="190" y="87"/>
                      </a:lnTo>
                      <a:lnTo>
                        <a:pt x="190" y="87"/>
                      </a:lnTo>
                      <a:lnTo>
                        <a:pt x="194" y="82"/>
                      </a:lnTo>
                      <a:lnTo>
                        <a:pt x="194" y="78"/>
                      </a:lnTo>
                      <a:lnTo>
                        <a:pt x="194" y="75"/>
                      </a:lnTo>
                      <a:lnTo>
                        <a:pt x="199" y="68"/>
                      </a:lnTo>
                      <a:lnTo>
                        <a:pt x="199" y="68"/>
                      </a:lnTo>
                      <a:lnTo>
                        <a:pt x="206" y="61"/>
                      </a:lnTo>
                      <a:lnTo>
                        <a:pt x="208" y="55"/>
                      </a:lnTo>
                      <a:lnTo>
                        <a:pt x="209" y="52"/>
                      </a:lnTo>
                      <a:lnTo>
                        <a:pt x="211" y="47"/>
                      </a:lnTo>
                      <a:lnTo>
                        <a:pt x="211" y="47"/>
                      </a:lnTo>
                      <a:lnTo>
                        <a:pt x="215" y="43"/>
                      </a:lnTo>
                      <a:lnTo>
                        <a:pt x="218" y="41"/>
                      </a:lnTo>
                      <a:lnTo>
                        <a:pt x="223" y="41"/>
                      </a:lnTo>
                      <a:lnTo>
                        <a:pt x="225" y="41"/>
                      </a:lnTo>
                      <a:lnTo>
                        <a:pt x="229" y="40"/>
                      </a:lnTo>
                      <a:lnTo>
                        <a:pt x="232" y="38"/>
                      </a:lnTo>
                      <a:lnTo>
                        <a:pt x="237" y="33"/>
                      </a:lnTo>
                      <a:lnTo>
                        <a:pt x="237" y="33"/>
                      </a:lnTo>
                      <a:lnTo>
                        <a:pt x="236" y="31"/>
                      </a:lnTo>
                      <a:lnTo>
                        <a:pt x="236" y="29"/>
                      </a:lnTo>
                      <a:lnTo>
                        <a:pt x="236" y="29"/>
                      </a:lnTo>
                      <a:lnTo>
                        <a:pt x="237" y="28"/>
                      </a:lnTo>
                      <a:lnTo>
                        <a:pt x="236" y="26"/>
                      </a:lnTo>
                      <a:lnTo>
                        <a:pt x="234" y="24"/>
                      </a:lnTo>
                      <a:lnTo>
                        <a:pt x="230" y="24"/>
                      </a:lnTo>
                      <a:lnTo>
                        <a:pt x="230" y="24"/>
                      </a:lnTo>
                      <a:lnTo>
                        <a:pt x="227" y="24"/>
                      </a:lnTo>
                      <a:lnTo>
                        <a:pt x="225" y="24"/>
                      </a:lnTo>
                      <a:lnTo>
                        <a:pt x="223" y="19"/>
                      </a:lnTo>
                      <a:lnTo>
                        <a:pt x="218" y="14"/>
                      </a:lnTo>
                      <a:lnTo>
                        <a:pt x="215" y="10"/>
                      </a:lnTo>
                      <a:lnTo>
                        <a:pt x="209" y="8"/>
                      </a:lnTo>
                      <a:lnTo>
                        <a:pt x="209" y="8"/>
                      </a:lnTo>
                      <a:lnTo>
                        <a:pt x="202" y="12"/>
                      </a:lnTo>
                      <a:lnTo>
                        <a:pt x="197" y="12"/>
                      </a:lnTo>
                      <a:lnTo>
                        <a:pt x="194" y="10"/>
                      </a:lnTo>
                      <a:lnTo>
                        <a:pt x="194" y="10"/>
                      </a:lnTo>
                      <a:lnTo>
                        <a:pt x="190" y="3"/>
                      </a:lnTo>
                      <a:lnTo>
                        <a:pt x="187" y="0"/>
                      </a:lnTo>
                      <a:lnTo>
                        <a:pt x="183" y="1"/>
                      </a:lnTo>
                      <a:lnTo>
                        <a:pt x="180" y="3"/>
                      </a:lnTo>
                      <a:lnTo>
                        <a:pt x="180" y="3"/>
                      </a:lnTo>
                      <a:lnTo>
                        <a:pt x="175" y="5"/>
                      </a:lnTo>
                      <a:lnTo>
                        <a:pt x="169" y="3"/>
                      </a:lnTo>
                      <a:lnTo>
                        <a:pt x="164" y="1"/>
                      </a:lnTo>
                      <a:lnTo>
                        <a:pt x="157" y="1"/>
                      </a:lnTo>
                      <a:lnTo>
                        <a:pt x="157" y="1"/>
                      </a:lnTo>
                      <a:lnTo>
                        <a:pt x="155" y="1"/>
                      </a:lnTo>
                      <a:lnTo>
                        <a:pt x="152" y="3"/>
                      </a:lnTo>
                      <a:lnTo>
                        <a:pt x="150" y="8"/>
                      </a:lnTo>
                      <a:lnTo>
                        <a:pt x="148" y="14"/>
                      </a:lnTo>
                      <a:lnTo>
                        <a:pt x="147" y="17"/>
                      </a:lnTo>
                      <a:lnTo>
                        <a:pt x="147" y="17"/>
                      </a:lnTo>
                      <a:lnTo>
                        <a:pt x="142" y="21"/>
                      </a:lnTo>
                      <a:lnTo>
                        <a:pt x="133" y="22"/>
                      </a:lnTo>
                      <a:lnTo>
                        <a:pt x="133" y="22"/>
                      </a:lnTo>
                      <a:lnTo>
                        <a:pt x="129" y="22"/>
                      </a:lnTo>
                      <a:lnTo>
                        <a:pt x="126" y="19"/>
                      </a:lnTo>
                      <a:lnTo>
                        <a:pt x="122" y="17"/>
                      </a:lnTo>
                      <a:lnTo>
                        <a:pt x="121" y="19"/>
                      </a:lnTo>
                      <a:lnTo>
                        <a:pt x="119" y="22"/>
                      </a:lnTo>
                      <a:lnTo>
                        <a:pt x="119" y="22"/>
                      </a:lnTo>
                      <a:lnTo>
                        <a:pt x="117" y="24"/>
                      </a:lnTo>
                      <a:lnTo>
                        <a:pt x="115" y="26"/>
                      </a:lnTo>
                      <a:lnTo>
                        <a:pt x="110" y="28"/>
                      </a:lnTo>
                      <a:lnTo>
                        <a:pt x="103" y="26"/>
                      </a:lnTo>
                      <a:lnTo>
                        <a:pt x="96" y="28"/>
                      </a:lnTo>
                      <a:lnTo>
                        <a:pt x="96" y="28"/>
                      </a:lnTo>
                      <a:lnTo>
                        <a:pt x="93" y="28"/>
                      </a:lnTo>
                      <a:lnTo>
                        <a:pt x="93" y="29"/>
                      </a:lnTo>
                      <a:lnTo>
                        <a:pt x="93" y="35"/>
                      </a:lnTo>
                      <a:lnTo>
                        <a:pt x="94" y="38"/>
                      </a:lnTo>
                      <a:lnTo>
                        <a:pt x="94" y="40"/>
                      </a:lnTo>
                      <a:lnTo>
                        <a:pt x="94" y="40"/>
                      </a:lnTo>
                      <a:lnTo>
                        <a:pt x="88" y="40"/>
                      </a:lnTo>
                      <a:lnTo>
                        <a:pt x="68" y="43"/>
                      </a:lnTo>
                      <a:lnTo>
                        <a:pt x="68" y="43"/>
                      </a:lnTo>
                      <a:lnTo>
                        <a:pt x="63" y="43"/>
                      </a:lnTo>
                      <a:lnTo>
                        <a:pt x="58" y="43"/>
                      </a:lnTo>
                      <a:lnTo>
                        <a:pt x="49" y="36"/>
                      </a:lnTo>
                      <a:lnTo>
                        <a:pt x="42" y="31"/>
                      </a:lnTo>
                      <a:lnTo>
                        <a:pt x="39" y="29"/>
                      </a:lnTo>
                      <a:lnTo>
                        <a:pt x="35" y="28"/>
                      </a:lnTo>
                      <a:lnTo>
                        <a:pt x="35" y="28"/>
                      </a:lnTo>
                      <a:lnTo>
                        <a:pt x="34" y="33"/>
                      </a:lnTo>
                      <a:lnTo>
                        <a:pt x="34" y="40"/>
                      </a:lnTo>
                      <a:lnTo>
                        <a:pt x="34" y="43"/>
                      </a:lnTo>
                      <a:lnTo>
                        <a:pt x="32" y="45"/>
                      </a:lnTo>
                      <a:lnTo>
                        <a:pt x="32" y="45"/>
                      </a:lnTo>
                      <a:lnTo>
                        <a:pt x="32" y="45"/>
                      </a:lnTo>
                      <a:lnTo>
                        <a:pt x="20" y="45"/>
                      </a:lnTo>
                      <a:lnTo>
                        <a:pt x="14" y="43"/>
                      </a:lnTo>
                      <a:lnTo>
                        <a:pt x="11" y="45"/>
                      </a:lnTo>
                      <a:lnTo>
                        <a:pt x="11" y="45"/>
                      </a:lnTo>
                      <a:lnTo>
                        <a:pt x="13" y="47"/>
                      </a:lnTo>
                      <a:lnTo>
                        <a:pt x="16" y="48"/>
                      </a:lnTo>
                      <a:lnTo>
                        <a:pt x="20" y="50"/>
                      </a:lnTo>
                      <a:lnTo>
                        <a:pt x="20" y="52"/>
                      </a:lnTo>
                      <a:lnTo>
                        <a:pt x="20" y="55"/>
                      </a:lnTo>
                      <a:lnTo>
                        <a:pt x="20" y="55"/>
                      </a:lnTo>
                      <a:lnTo>
                        <a:pt x="16" y="57"/>
                      </a:lnTo>
                      <a:lnTo>
                        <a:pt x="14" y="59"/>
                      </a:lnTo>
                      <a:lnTo>
                        <a:pt x="11" y="59"/>
                      </a:lnTo>
                      <a:lnTo>
                        <a:pt x="11" y="62"/>
                      </a:lnTo>
                      <a:lnTo>
                        <a:pt x="11" y="62"/>
                      </a:lnTo>
                      <a:lnTo>
                        <a:pt x="11" y="69"/>
                      </a:lnTo>
                      <a:lnTo>
                        <a:pt x="13" y="73"/>
                      </a:lnTo>
                      <a:lnTo>
                        <a:pt x="13" y="75"/>
                      </a:lnTo>
                      <a:lnTo>
                        <a:pt x="13" y="75"/>
                      </a:lnTo>
                      <a:lnTo>
                        <a:pt x="13" y="75"/>
                      </a:lnTo>
                      <a:lnTo>
                        <a:pt x="0" y="87"/>
                      </a:lnTo>
                      <a:lnTo>
                        <a:pt x="0" y="87"/>
                      </a:lnTo>
                      <a:lnTo>
                        <a:pt x="4" y="87"/>
                      </a:lnTo>
                      <a:lnTo>
                        <a:pt x="6" y="88"/>
                      </a:lnTo>
                      <a:lnTo>
                        <a:pt x="9" y="94"/>
                      </a:lnTo>
                      <a:lnTo>
                        <a:pt x="9" y="101"/>
                      </a:lnTo>
                      <a:lnTo>
                        <a:pt x="11" y="102"/>
                      </a:lnTo>
                      <a:lnTo>
                        <a:pt x="13" y="106"/>
                      </a:lnTo>
                      <a:lnTo>
                        <a:pt x="13" y="106"/>
                      </a:lnTo>
                      <a:lnTo>
                        <a:pt x="23" y="113"/>
                      </a:lnTo>
                      <a:lnTo>
                        <a:pt x="32" y="118"/>
                      </a:lnTo>
                      <a:lnTo>
                        <a:pt x="39" y="127"/>
                      </a:lnTo>
                      <a:lnTo>
                        <a:pt x="42" y="132"/>
                      </a:lnTo>
                      <a:lnTo>
                        <a:pt x="42" y="134"/>
                      </a:lnTo>
                      <a:lnTo>
                        <a:pt x="46" y="134"/>
                      </a:lnTo>
                      <a:lnTo>
                        <a:pt x="46" y="134"/>
                      </a:lnTo>
                      <a:lnTo>
                        <a:pt x="53" y="135"/>
                      </a:lnTo>
                      <a:lnTo>
                        <a:pt x="61" y="139"/>
                      </a:lnTo>
                      <a:lnTo>
                        <a:pt x="70" y="142"/>
                      </a:lnTo>
                      <a:lnTo>
                        <a:pt x="75" y="144"/>
                      </a:lnTo>
                      <a:lnTo>
                        <a:pt x="79" y="142"/>
                      </a:lnTo>
                      <a:lnTo>
                        <a:pt x="79" y="142"/>
                      </a:lnTo>
                      <a:lnTo>
                        <a:pt x="84" y="141"/>
                      </a:lnTo>
                      <a:lnTo>
                        <a:pt x="86" y="137"/>
                      </a:lnTo>
                      <a:lnTo>
                        <a:pt x="88" y="135"/>
                      </a:lnTo>
                      <a:lnTo>
                        <a:pt x="93" y="135"/>
                      </a:lnTo>
                      <a:lnTo>
                        <a:pt x="93" y="1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9" name="Freeform 2046">
                  <a:extLst>
                    <a:ext uri="{FF2B5EF4-FFF2-40B4-BE49-F238E27FC236}">
                      <a16:creationId xmlns:a16="http://schemas.microsoft.com/office/drawing/2014/main" id="{624B17F7-914A-5A3A-5895-C33EE427F326}"/>
                    </a:ext>
                  </a:extLst>
                </p:cNvPr>
                <p:cNvSpPr>
                  <a:spLocks/>
                </p:cNvSpPr>
                <p:nvPr/>
              </p:nvSpPr>
              <p:spPr bwMode="auto">
                <a:xfrm>
                  <a:off x="5193720" y="2719819"/>
                  <a:ext cx="162104" cy="74004"/>
                </a:xfrm>
                <a:custGeom>
                  <a:avLst/>
                  <a:gdLst/>
                  <a:ahLst/>
                  <a:cxnLst>
                    <a:cxn ang="0">
                      <a:pos x="200" y="26"/>
                    </a:cxn>
                    <a:cxn ang="0">
                      <a:pos x="181" y="18"/>
                    </a:cxn>
                    <a:cxn ang="0">
                      <a:pos x="177" y="12"/>
                    </a:cxn>
                    <a:cxn ang="0">
                      <a:pos x="162" y="9"/>
                    </a:cxn>
                    <a:cxn ang="0">
                      <a:pos x="125" y="9"/>
                    </a:cxn>
                    <a:cxn ang="0">
                      <a:pos x="123" y="9"/>
                    </a:cxn>
                    <a:cxn ang="0">
                      <a:pos x="117" y="16"/>
                    </a:cxn>
                    <a:cxn ang="0">
                      <a:pos x="113" y="21"/>
                    </a:cxn>
                    <a:cxn ang="0">
                      <a:pos x="111" y="19"/>
                    </a:cxn>
                    <a:cxn ang="0">
                      <a:pos x="104" y="19"/>
                    </a:cxn>
                    <a:cxn ang="0">
                      <a:pos x="103" y="16"/>
                    </a:cxn>
                    <a:cxn ang="0">
                      <a:pos x="104" y="11"/>
                    </a:cxn>
                    <a:cxn ang="0">
                      <a:pos x="101" y="4"/>
                    </a:cxn>
                    <a:cxn ang="0">
                      <a:pos x="94" y="0"/>
                    </a:cxn>
                    <a:cxn ang="0">
                      <a:pos x="87" y="2"/>
                    </a:cxn>
                    <a:cxn ang="0">
                      <a:pos x="85" y="4"/>
                    </a:cxn>
                    <a:cxn ang="0">
                      <a:pos x="76" y="11"/>
                    </a:cxn>
                    <a:cxn ang="0">
                      <a:pos x="75" y="7"/>
                    </a:cxn>
                    <a:cxn ang="0">
                      <a:pos x="75" y="5"/>
                    </a:cxn>
                    <a:cxn ang="0">
                      <a:pos x="69" y="4"/>
                    </a:cxn>
                    <a:cxn ang="0">
                      <a:pos x="59" y="7"/>
                    </a:cxn>
                    <a:cxn ang="0">
                      <a:pos x="47" y="18"/>
                    </a:cxn>
                    <a:cxn ang="0">
                      <a:pos x="42" y="28"/>
                    </a:cxn>
                    <a:cxn ang="0">
                      <a:pos x="33" y="35"/>
                    </a:cxn>
                    <a:cxn ang="0">
                      <a:pos x="29" y="37"/>
                    </a:cxn>
                    <a:cxn ang="0">
                      <a:pos x="17" y="37"/>
                    </a:cxn>
                    <a:cxn ang="0">
                      <a:pos x="10" y="38"/>
                    </a:cxn>
                    <a:cxn ang="0">
                      <a:pos x="3" y="47"/>
                    </a:cxn>
                    <a:cxn ang="0">
                      <a:pos x="2" y="54"/>
                    </a:cxn>
                    <a:cxn ang="0">
                      <a:pos x="0" y="63"/>
                    </a:cxn>
                    <a:cxn ang="0">
                      <a:pos x="10" y="79"/>
                    </a:cxn>
                    <a:cxn ang="0">
                      <a:pos x="14" y="80"/>
                    </a:cxn>
                    <a:cxn ang="0">
                      <a:pos x="24" y="87"/>
                    </a:cxn>
                    <a:cxn ang="0">
                      <a:pos x="38" y="94"/>
                    </a:cxn>
                    <a:cxn ang="0">
                      <a:pos x="43" y="94"/>
                    </a:cxn>
                    <a:cxn ang="0">
                      <a:pos x="69" y="91"/>
                    </a:cxn>
                    <a:cxn ang="0">
                      <a:pos x="69" y="89"/>
                    </a:cxn>
                    <a:cxn ang="0">
                      <a:pos x="68" y="80"/>
                    </a:cxn>
                    <a:cxn ang="0">
                      <a:pos x="71" y="79"/>
                    </a:cxn>
                    <a:cxn ang="0">
                      <a:pos x="78" y="77"/>
                    </a:cxn>
                    <a:cxn ang="0">
                      <a:pos x="90" y="77"/>
                    </a:cxn>
                    <a:cxn ang="0">
                      <a:pos x="94" y="73"/>
                    </a:cxn>
                    <a:cxn ang="0">
                      <a:pos x="96" y="70"/>
                    </a:cxn>
                    <a:cxn ang="0">
                      <a:pos x="101" y="70"/>
                    </a:cxn>
                    <a:cxn ang="0">
                      <a:pos x="108" y="73"/>
                    </a:cxn>
                    <a:cxn ang="0">
                      <a:pos x="117" y="72"/>
                    </a:cxn>
                    <a:cxn ang="0">
                      <a:pos x="122" y="68"/>
                    </a:cxn>
                    <a:cxn ang="0">
                      <a:pos x="125" y="59"/>
                    </a:cxn>
                    <a:cxn ang="0">
                      <a:pos x="130" y="52"/>
                    </a:cxn>
                    <a:cxn ang="0">
                      <a:pos x="132" y="52"/>
                    </a:cxn>
                    <a:cxn ang="0">
                      <a:pos x="144" y="54"/>
                    </a:cxn>
                    <a:cxn ang="0">
                      <a:pos x="155" y="54"/>
                    </a:cxn>
                    <a:cxn ang="0">
                      <a:pos x="158" y="52"/>
                    </a:cxn>
                    <a:cxn ang="0">
                      <a:pos x="165" y="54"/>
                    </a:cxn>
                    <a:cxn ang="0">
                      <a:pos x="169" y="61"/>
                    </a:cxn>
                    <a:cxn ang="0">
                      <a:pos x="177" y="63"/>
                    </a:cxn>
                    <a:cxn ang="0">
                      <a:pos x="184" y="59"/>
                    </a:cxn>
                    <a:cxn ang="0">
                      <a:pos x="190" y="45"/>
                    </a:cxn>
                    <a:cxn ang="0">
                      <a:pos x="195" y="38"/>
                    </a:cxn>
                    <a:cxn ang="0">
                      <a:pos x="198" y="32"/>
                    </a:cxn>
                    <a:cxn ang="0">
                      <a:pos x="200" y="26"/>
                    </a:cxn>
                  </a:cxnLst>
                  <a:rect l="0" t="0" r="r" b="b"/>
                  <a:pathLst>
                    <a:path w="200" h="94">
                      <a:moveTo>
                        <a:pt x="200" y="26"/>
                      </a:moveTo>
                      <a:lnTo>
                        <a:pt x="200" y="26"/>
                      </a:lnTo>
                      <a:lnTo>
                        <a:pt x="186" y="21"/>
                      </a:lnTo>
                      <a:lnTo>
                        <a:pt x="181" y="18"/>
                      </a:lnTo>
                      <a:lnTo>
                        <a:pt x="179" y="14"/>
                      </a:lnTo>
                      <a:lnTo>
                        <a:pt x="177" y="12"/>
                      </a:lnTo>
                      <a:lnTo>
                        <a:pt x="177" y="12"/>
                      </a:lnTo>
                      <a:lnTo>
                        <a:pt x="162" y="9"/>
                      </a:lnTo>
                      <a:lnTo>
                        <a:pt x="146" y="9"/>
                      </a:lnTo>
                      <a:lnTo>
                        <a:pt x="125" y="9"/>
                      </a:lnTo>
                      <a:lnTo>
                        <a:pt x="125" y="9"/>
                      </a:lnTo>
                      <a:lnTo>
                        <a:pt x="123" y="9"/>
                      </a:lnTo>
                      <a:lnTo>
                        <a:pt x="122" y="11"/>
                      </a:lnTo>
                      <a:lnTo>
                        <a:pt x="117" y="16"/>
                      </a:lnTo>
                      <a:lnTo>
                        <a:pt x="113" y="19"/>
                      </a:lnTo>
                      <a:lnTo>
                        <a:pt x="113" y="21"/>
                      </a:lnTo>
                      <a:lnTo>
                        <a:pt x="111" y="19"/>
                      </a:lnTo>
                      <a:lnTo>
                        <a:pt x="111" y="19"/>
                      </a:lnTo>
                      <a:lnTo>
                        <a:pt x="108" y="19"/>
                      </a:lnTo>
                      <a:lnTo>
                        <a:pt x="104" y="19"/>
                      </a:lnTo>
                      <a:lnTo>
                        <a:pt x="103" y="18"/>
                      </a:lnTo>
                      <a:lnTo>
                        <a:pt x="103" y="16"/>
                      </a:lnTo>
                      <a:lnTo>
                        <a:pt x="103" y="16"/>
                      </a:lnTo>
                      <a:lnTo>
                        <a:pt x="104" y="11"/>
                      </a:lnTo>
                      <a:lnTo>
                        <a:pt x="103" y="7"/>
                      </a:lnTo>
                      <a:lnTo>
                        <a:pt x="101" y="4"/>
                      </a:lnTo>
                      <a:lnTo>
                        <a:pt x="97" y="2"/>
                      </a:lnTo>
                      <a:lnTo>
                        <a:pt x="94" y="0"/>
                      </a:lnTo>
                      <a:lnTo>
                        <a:pt x="90" y="0"/>
                      </a:lnTo>
                      <a:lnTo>
                        <a:pt x="87" y="2"/>
                      </a:lnTo>
                      <a:lnTo>
                        <a:pt x="85" y="4"/>
                      </a:lnTo>
                      <a:lnTo>
                        <a:pt x="85" y="4"/>
                      </a:lnTo>
                      <a:lnTo>
                        <a:pt x="80" y="9"/>
                      </a:lnTo>
                      <a:lnTo>
                        <a:pt x="76" y="11"/>
                      </a:lnTo>
                      <a:lnTo>
                        <a:pt x="75" y="11"/>
                      </a:lnTo>
                      <a:lnTo>
                        <a:pt x="75" y="7"/>
                      </a:lnTo>
                      <a:lnTo>
                        <a:pt x="75" y="7"/>
                      </a:lnTo>
                      <a:lnTo>
                        <a:pt x="75" y="5"/>
                      </a:lnTo>
                      <a:lnTo>
                        <a:pt x="73" y="4"/>
                      </a:lnTo>
                      <a:lnTo>
                        <a:pt x="69" y="4"/>
                      </a:lnTo>
                      <a:lnTo>
                        <a:pt x="69" y="4"/>
                      </a:lnTo>
                      <a:lnTo>
                        <a:pt x="59" y="7"/>
                      </a:lnTo>
                      <a:lnTo>
                        <a:pt x="52" y="12"/>
                      </a:lnTo>
                      <a:lnTo>
                        <a:pt x="47" y="18"/>
                      </a:lnTo>
                      <a:lnTo>
                        <a:pt x="45" y="21"/>
                      </a:lnTo>
                      <a:lnTo>
                        <a:pt x="42" y="28"/>
                      </a:lnTo>
                      <a:lnTo>
                        <a:pt x="38" y="32"/>
                      </a:lnTo>
                      <a:lnTo>
                        <a:pt x="33" y="35"/>
                      </a:lnTo>
                      <a:lnTo>
                        <a:pt x="33" y="35"/>
                      </a:lnTo>
                      <a:lnTo>
                        <a:pt x="29" y="37"/>
                      </a:lnTo>
                      <a:lnTo>
                        <a:pt x="24" y="38"/>
                      </a:lnTo>
                      <a:lnTo>
                        <a:pt x="17" y="37"/>
                      </a:lnTo>
                      <a:lnTo>
                        <a:pt x="14" y="37"/>
                      </a:lnTo>
                      <a:lnTo>
                        <a:pt x="10" y="38"/>
                      </a:lnTo>
                      <a:lnTo>
                        <a:pt x="7" y="42"/>
                      </a:lnTo>
                      <a:lnTo>
                        <a:pt x="3" y="47"/>
                      </a:lnTo>
                      <a:lnTo>
                        <a:pt x="3" y="47"/>
                      </a:lnTo>
                      <a:lnTo>
                        <a:pt x="2" y="54"/>
                      </a:lnTo>
                      <a:lnTo>
                        <a:pt x="0" y="59"/>
                      </a:lnTo>
                      <a:lnTo>
                        <a:pt x="0" y="63"/>
                      </a:lnTo>
                      <a:lnTo>
                        <a:pt x="2" y="66"/>
                      </a:lnTo>
                      <a:lnTo>
                        <a:pt x="10" y="79"/>
                      </a:lnTo>
                      <a:lnTo>
                        <a:pt x="10" y="79"/>
                      </a:lnTo>
                      <a:lnTo>
                        <a:pt x="14" y="80"/>
                      </a:lnTo>
                      <a:lnTo>
                        <a:pt x="17" y="82"/>
                      </a:lnTo>
                      <a:lnTo>
                        <a:pt x="24" y="87"/>
                      </a:lnTo>
                      <a:lnTo>
                        <a:pt x="33" y="94"/>
                      </a:lnTo>
                      <a:lnTo>
                        <a:pt x="38" y="94"/>
                      </a:lnTo>
                      <a:lnTo>
                        <a:pt x="43" y="94"/>
                      </a:lnTo>
                      <a:lnTo>
                        <a:pt x="43" y="94"/>
                      </a:lnTo>
                      <a:lnTo>
                        <a:pt x="63" y="91"/>
                      </a:lnTo>
                      <a:lnTo>
                        <a:pt x="69" y="91"/>
                      </a:lnTo>
                      <a:lnTo>
                        <a:pt x="69" y="91"/>
                      </a:lnTo>
                      <a:lnTo>
                        <a:pt x="69" y="89"/>
                      </a:lnTo>
                      <a:lnTo>
                        <a:pt x="68" y="86"/>
                      </a:lnTo>
                      <a:lnTo>
                        <a:pt x="68" y="80"/>
                      </a:lnTo>
                      <a:lnTo>
                        <a:pt x="68" y="79"/>
                      </a:lnTo>
                      <a:lnTo>
                        <a:pt x="71" y="79"/>
                      </a:lnTo>
                      <a:lnTo>
                        <a:pt x="71" y="79"/>
                      </a:lnTo>
                      <a:lnTo>
                        <a:pt x="78" y="77"/>
                      </a:lnTo>
                      <a:lnTo>
                        <a:pt x="85" y="79"/>
                      </a:lnTo>
                      <a:lnTo>
                        <a:pt x="90" y="77"/>
                      </a:lnTo>
                      <a:lnTo>
                        <a:pt x="92" y="75"/>
                      </a:lnTo>
                      <a:lnTo>
                        <a:pt x="94" y="73"/>
                      </a:lnTo>
                      <a:lnTo>
                        <a:pt x="94" y="73"/>
                      </a:lnTo>
                      <a:lnTo>
                        <a:pt x="96" y="70"/>
                      </a:lnTo>
                      <a:lnTo>
                        <a:pt x="97" y="68"/>
                      </a:lnTo>
                      <a:lnTo>
                        <a:pt x="101" y="70"/>
                      </a:lnTo>
                      <a:lnTo>
                        <a:pt x="104" y="73"/>
                      </a:lnTo>
                      <a:lnTo>
                        <a:pt x="108" y="73"/>
                      </a:lnTo>
                      <a:lnTo>
                        <a:pt x="108" y="73"/>
                      </a:lnTo>
                      <a:lnTo>
                        <a:pt x="117" y="72"/>
                      </a:lnTo>
                      <a:lnTo>
                        <a:pt x="122" y="68"/>
                      </a:lnTo>
                      <a:lnTo>
                        <a:pt x="122" y="68"/>
                      </a:lnTo>
                      <a:lnTo>
                        <a:pt x="123" y="65"/>
                      </a:lnTo>
                      <a:lnTo>
                        <a:pt x="125" y="59"/>
                      </a:lnTo>
                      <a:lnTo>
                        <a:pt x="127" y="54"/>
                      </a:lnTo>
                      <a:lnTo>
                        <a:pt x="130" y="52"/>
                      </a:lnTo>
                      <a:lnTo>
                        <a:pt x="132" y="52"/>
                      </a:lnTo>
                      <a:lnTo>
                        <a:pt x="132" y="52"/>
                      </a:lnTo>
                      <a:lnTo>
                        <a:pt x="139" y="52"/>
                      </a:lnTo>
                      <a:lnTo>
                        <a:pt x="144" y="54"/>
                      </a:lnTo>
                      <a:lnTo>
                        <a:pt x="150" y="56"/>
                      </a:lnTo>
                      <a:lnTo>
                        <a:pt x="155" y="54"/>
                      </a:lnTo>
                      <a:lnTo>
                        <a:pt x="155" y="54"/>
                      </a:lnTo>
                      <a:lnTo>
                        <a:pt x="158" y="52"/>
                      </a:lnTo>
                      <a:lnTo>
                        <a:pt x="162" y="51"/>
                      </a:lnTo>
                      <a:lnTo>
                        <a:pt x="165" y="54"/>
                      </a:lnTo>
                      <a:lnTo>
                        <a:pt x="169" y="61"/>
                      </a:lnTo>
                      <a:lnTo>
                        <a:pt x="169" y="61"/>
                      </a:lnTo>
                      <a:lnTo>
                        <a:pt x="172" y="63"/>
                      </a:lnTo>
                      <a:lnTo>
                        <a:pt x="177" y="63"/>
                      </a:lnTo>
                      <a:lnTo>
                        <a:pt x="184" y="59"/>
                      </a:lnTo>
                      <a:lnTo>
                        <a:pt x="184" y="59"/>
                      </a:lnTo>
                      <a:lnTo>
                        <a:pt x="186" y="51"/>
                      </a:lnTo>
                      <a:lnTo>
                        <a:pt x="190" y="45"/>
                      </a:lnTo>
                      <a:lnTo>
                        <a:pt x="193" y="42"/>
                      </a:lnTo>
                      <a:lnTo>
                        <a:pt x="195" y="38"/>
                      </a:lnTo>
                      <a:lnTo>
                        <a:pt x="195" y="38"/>
                      </a:lnTo>
                      <a:lnTo>
                        <a:pt x="198" y="32"/>
                      </a:lnTo>
                      <a:lnTo>
                        <a:pt x="200" y="26"/>
                      </a:lnTo>
                      <a:lnTo>
                        <a:pt x="20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0" name="Freeform 2047">
                  <a:extLst>
                    <a:ext uri="{FF2B5EF4-FFF2-40B4-BE49-F238E27FC236}">
                      <a16:creationId xmlns:a16="http://schemas.microsoft.com/office/drawing/2014/main" id="{49955D4F-D3FB-3C19-D146-27592C2D4E6D}"/>
                    </a:ext>
                  </a:extLst>
                </p:cNvPr>
                <p:cNvSpPr>
                  <a:spLocks/>
                </p:cNvSpPr>
                <p:nvPr/>
              </p:nvSpPr>
              <p:spPr bwMode="auto">
                <a:xfrm>
                  <a:off x="5096809" y="2829062"/>
                  <a:ext cx="88102" cy="58146"/>
                </a:xfrm>
                <a:custGeom>
                  <a:avLst/>
                  <a:gdLst/>
                  <a:ahLst/>
                  <a:cxnLst>
                    <a:cxn ang="0">
                      <a:pos x="97" y="0"/>
                    </a:cxn>
                    <a:cxn ang="0">
                      <a:pos x="103" y="1"/>
                    </a:cxn>
                    <a:cxn ang="0">
                      <a:pos x="106" y="14"/>
                    </a:cxn>
                    <a:cxn ang="0">
                      <a:pos x="110" y="19"/>
                    </a:cxn>
                    <a:cxn ang="0">
                      <a:pos x="106" y="17"/>
                    </a:cxn>
                    <a:cxn ang="0">
                      <a:pos x="101" y="17"/>
                    </a:cxn>
                    <a:cxn ang="0">
                      <a:pos x="101" y="19"/>
                    </a:cxn>
                    <a:cxn ang="0">
                      <a:pos x="101" y="22"/>
                    </a:cxn>
                    <a:cxn ang="0">
                      <a:pos x="101" y="24"/>
                    </a:cxn>
                    <a:cxn ang="0">
                      <a:pos x="91" y="29"/>
                    </a:cxn>
                    <a:cxn ang="0">
                      <a:pos x="78" y="35"/>
                    </a:cxn>
                    <a:cxn ang="0">
                      <a:pos x="78" y="38"/>
                    </a:cxn>
                    <a:cxn ang="0">
                      <a:pos x="82" y="47"/>
                    </a:cxn>
                    <a:cxn ang="0">
                      <a:pos x="82" y="50"/>
                    </a:cxn>
                    <a:cxn ang="0">
                      <a:pos x="73" y="55"/>
                    </a:cxn>
                    <a:cxn ang="0">
                      <a:pos x="68" y="62"/>
                    </a:cxn>
                    <a:cxn ang="0">
                      <a:pos x="68" y="68"/>
                    </a:cxn>
                    <a:cxn ang="0">
                      <a:pos x="66" y="73"/>
                    </a:cxn>
                    <a:cxn ang="0">
                      <a:pos x="57" y="68"/>
                    </a:cxn>
                    <a:cxn ang="0">
                      <a:pos x="52" y="69"/>
                    </a:cxn>
                    <a:cxn ang="0">
                      <a:pos x="45" y="64"/>
                    </a:cxn>
                    <a:cxn ang="0">
                      <a:pos x="42" y="62"/>
                    </a:cxn>
                    <a:cxn ang="0">
                      <a:pos x="35" y="66"/>
                    </a:cxn>
                    <a:cxn ang="0">
                      <a:pos x="19" y="69"/>
                    </a:cxn>
                    <a:cxn ang="0">
                      <a:pos x="5" y="69"/>
                    </a:cxn>
                    <a:cxn ang="0">
                      <a:pos x="9" y="66"/>
                    </a:cxn>
                    <a:cxn ang="0">
                      <a:pos x="10" y="64"/>
                    </a:cxn>
                    <a:cxn ang="0">
                      <a:pos x="14" y="64"/>
                    </a:cxn>
                    <a:cxn ang="0">
                      <a:pos x="17" y="62"/>
                    </a:cxn>
                    <a:cxn ang="0">
                      <a:pos x="14" y="55"/>
                    </a:cxn>
                    <a:cxn ang="0">
                      <a:pos x="10" y="52"/>
                    </a:cxn>
                    <a:cxn ang="0">
                      <a:pos x="5" y="45"/>
                    </a:cxn>
                    <a:cxn ang="0">
                      <a:pos x="9" y="38"/>
                    </a:cxn>
                    <a:cxn ang="0">
                      <a:pos x="10" y="36"/>
                    </a:cxn>
                    <a:cxn ang="0">
                      <a:pos x="7" y="33"/>
                    </a:cxn>
                    <a:cxn ang="0">
                      <a:pos x="0" y="29"/>
                    </a:cxn>
                    <a:cxn ang="0">
                      <a:pos x="2" y="28"/>
                    </a:cxn>
                    <a:cxn ang="0">
                      <a:pos x="9" y="21"/>
                    </a:cxn>
                    <a:cxn ang="0">
                      <a:pos x="10" y="17"/>
                    </a:cxn>
                    <a:cxn ang="0">
                      <a:pos x="24" y="21"/>
                    </a:cxn>
                    <a:cxn ang="0">
                      <a:pos x="33" y="21"/>
                    </a:cxn>
                    <a:cxn ang="0">
                      <a:pos x="37" y="21"/>
                    </a:cxn>
                    <a:cxn ang="0">
                      <a:pos x="40" y="24"/>
                    </a:cxn>
                    <a:cxn ang="0">
                      <a:pos x="47" y="21"/>
                    </a:cxn>
                    <a:cxn ang="0">
                      <a:pos x="52" y="15"/>
                    </a:cxn>
                    <a:cxn ang="0">
                      <a:pos x="61" y="12"/>
                    </a:cxn>
                    <a:cxn ang="0">
                      <a:pos x="68" y="12"/>
                    </a:cxn>
                    <a:cxn ang="0">
                      <a:pos x="77" y="10"/>
                    </a:cxn>
                    <a:cxn ang="0">
                      <a:pos x="84" y="8"/>
                    </a:cxn>
                    <a:cxn ang="0">
                      <a:pos x="92" y="10"/>
                    </a:cxn>
                    <a:cxn ang="0">
                      <a:pos x="92" y="3"/>
                    </a:cxn>
                    <a:cxn ang="0">
                      <a:pos x="92" y="1"/>
                    </a:cxn>
                    <a:cxn ang="0">
                      <a:pos x="97" y="0"/>
                    </a:cxn>
                  </a:cxnLst>
                  <a:rect l="0" t="0" r="r" b="b"/>
                  <a:pathLst>
                    <a:path w="110" h="73">
                      <a:moveTo>
                        <a:pt x="97" y="0"/>
                      </a:moveTo>
                      <a:lnTo>
                        <a:pt x="97" y="0"/>
                      </a:lnTo>
                      <a:lnTo>
                        <a:pt x="101" y="0"/>
                      </a:lnTo>
                      <a:lnTo>
                        <a:pt x="103" y="1"/>
                      </a:lnTo>
                      <a:lnTo>
                        <a:pt x="106" y="7"/>
                      </a:lnTo>
                      <a:lnTo>
                        <a:pt x="106" y="14"/>
                      </a:lnTo>
                      <a:lnTo>
                        <a:pt x="108" y="15"/>
                      </a:lnTo>
                      <a:lnTo>
                        <a:pt x="110" y="19"/>
                      </a:lnTo>
                      <a:lnTo>
                        <a:pt x="110" y="19"/>
                      </a:lnTo>
                      <a:lnTo>
                        <a:pt x="106" y="17"/>
                      </a:lnTo>
                      <a:lnTo>
                        <a:pt x="103" y="17"/>
                      </a:lnTo>
                      <a:lnTo>
                        <a:pt x="101" y="17"/>
                      </a:lnTo>
                      <a:lnTo>
                        <a:pt x="101" y="17"/>
                      </a:lnTo>
                      <a:lnTo>
                        <a:pt x="101" y="19"/>
                      </a:lnTo>
                      <a:lnTo>
                        <a:pt x="101" y="21"/>
                      </a:lnTo>
                      <a:lnTo>
                        <a:pt x="101" y="22"/>
                      </a:lnTo>
                      <a:lnTo>
                        <a:pt x="101" y="24"/>
                      </a:lnTo>
                      <a:lnTo>
                        <a:pt x="101" y="24"/>
                      </a:lnTo>
                      <a:lnTo>
                        <a:pt x="97" y="26"/>
                      </a:lnTo>
                      <a:lnTo>
                        <a:pt x="91" y="29"/>
                      </a:lnTo>
                      <a:lnTo>
                        <a:pt x="82" y="31"/>
                      </a:lnTo>
                      <a:lnTo>
                        <a:pt x="78" y="35"/>
                      </a:lnTo>
                      <a:lnTo>
                        <a:pt x="78" y="35"/>
                      </a:lnTo>
                      <a:lnTo>
                        <a:pt x="78" y="38"/>
                      </a:lnTo>
                      <a:lnTo>
                        <a:pt x="80" y="42"/>
                      </a:lnTo>
                      <a:lnTo>
                        <a:pt x="82" y="47"/>
                      </a:lnTo>
                      <a:lnTo>
                        <a:pt x="82" y="50"/>
                      </a:lnTo>
                      <a:lnTo>
                        <a:pt x="82" y="50"/>
                      </a:lnTo>
                      <a:lnTo>
                        <a:pt x="78" y="54"/>
                      </a:lnTo>
                      <a:lnTo>
                        <a:pt x="73" y="55"/>
                      </a:lnTo>
                      <a:lnTo>
                        <a:pt x="70" y="59"/>
                      </a:lnTo>
                      <a:lnTo>
                        <a:pt x="68" y="62"/>
                      </a:lnTo>
                      <a:lnTo>
                        <a:pt x="68" y="68"/>
                      </a:lnTo>
                      <a:lnTo>
                        <a:pt x="68" y="68"/>
                      </a:lnTo>
                      <a:lnTo>
                        <a:pt x="68" y="71"/>
                      </a:lnTo>
                      <a:lnTo>
                        <a:pt x="66" y="73"/>
                      </a:lnTo>
                      <a:lnTo>
                        <a:pt x="57" y="68"/>
                      </a:lnTo>
                      <a:lnTo>
                        <a:pt x="57" y="68"/>
                      </a:lnTo>
                      <a:lnTo>
                        <a:pt x="54" y="68"/>
                      </a:lnTo>
                      <a:lnTo>
                        <a:pt x="52" y="69"/>
                      </a:lnTo>
                      <a:lnTo>
                        <a:pt x="50" y="69"/>
                      </a:lnTo>
                      <a:lnTo>
                        <a:pt x="45" y="64"/>
                      </a:lnTo>
                      <a:lnTo>
                        <a:pt x="45" y="64"/>
                      </a:lnTo>
                      <a:lnTo>
                        <a:pt x="42" y="62"/>
                      </a:lnTo>
                      <a:lnTo>
                        <a:pt x="38" y="64"/>
                      </a:lnTo>
                      <a:lnTo>
                        <a:pt x="35" y="66"/>
                      </a:lnTo>
                      <a:lnTo>
                        <a:pt x="28" y="68"/>
                      </a:lnTo>
                      <a:lnTo>
                        <a:pt x="19" y="69"/>
                      </a:lnTo>
                      <a:lnTo>
                        <a:pt x="5" y="69"/>
                      </a:lnTo>
                      <a:lnTo>
                        <a:pt x="5" y="69"/>
                      </a:lnTo>
                      <a:lnTo>
                        <a:pt x="7" y="68"/>
                      </a:lnTo>
                      <a:lnTo>
                        <a:pt x="9" y="66"/>
                      </a:lnTo>
                      <a:lnTo>
                        <a:pt x="10" y="66"/>
                      </a:lnTo>
                      <a:lnTo>
                        <a:pt x="10" y="64"/>
                      </a:lnTo>
                      <a:lnTo>
                        <a:pt x="10" y="64"/>
                      </a:lnTo>
                      <a:lnTo>
                        <a:pt x="14" y="64"/>
                      </a:lnTo>
                      <a:lnTo>
                        <a:pt x="16" y="64"/>
                      </a:lnTo>
                      <a:lnTo>
                        <a:pt x="17" y="62"/>
                      </a:lnTo>
                      <a:lnTo>
                        <a:pt x="17" y="61"/>
                      </a:lnTo>
                      <a:lnTo>
                        <a:pt x="14" y="55"/>
                      </a:lnTo>
                      <a:lnTo>
                        <a:pt x="10" y="52"/>
                      </a:lnTo>
                      <a:lnTo>
                        <a:pt x="10" y="52"/>
                      </a:lnTo>
                      <a:lnTo>
                        <a:pt x="7" y="48"/>
                      </a:lnTo>
                      <a:lnTo>
                        <a:pt x="5" y="45"/>
                      </a:lnTo>
                      <a:lnTo>
                        <a:pt x="5" y="42"/>
                      </a:lnTo>
                      <a:lnTo>
                        <a:pt x="9" y="38"/>
                      </a:lnTo>
                      <a:lnTo>
                        <a:pt x="9" y="38"/>
                      </a:lnTo>
                      <a:lnTo>
                        <a:pt x="10" y="36"/>
                      </a:lnTo>
                      <a:lnTo>
                        <a:pt x="10" y="35"/>
                      </a:lnTo>
                      <a:lnTo>
                        <a:pt x="7" y="33"/>
                      </a:lnTo>
                      <a:lnTo>
                        <a:pt x="3" y="33"/>
                      </a:lnTo>
                      <a:lnTo>
                        <a:pt x="0" y="29"/>
                      </a:lnTo>
                      <a:lnTo>
                        <a:pt x="0" y="29"/>
                      </a:lnTo>
                      <a:lnTo>
                        <a:pt x="2" y="28"/>
                      </a:lnTo>
                      <a:lnTo>
                        <a:pt x="5" y="24"/>
                      </a:lnTo>
                      <a:lnTo>
                        <a:pt x="9" y="21"/>
                      </a:lnTo>
                      <a:lnTo>
                        <a:pt x="10" y="17"/>
                      </a:lnTo>
                      <a:lnTo>
                        <a:pt x="10" y="17"/>
                      </a:lnTo>
                      <a:lnTo>
                        <a:pt x="19" y="19"/>
                      </a:lnTo>
                      <a:lnTo>
                        <a:pt x="24" y="21"/>
                      </a:lnTo>
                      <a:lnTo>
                        <a:pt x="28" y="22"/>
                      </a:lnTo>
                      <a:lnTo>
                        <a:pt x="33" y="21"/>
                      </a:lnTo>
                      <a:lnTo>
                        <a:pt x="33" y="21"/>
                      </a:lnTo>
                      <a:lnTo>
                        <a:pt x="37" y="21"/>
                      </a:lnTo>
                      <a:lnTo>
                        <a:pt x="38" y="21"/>
                      </a:lnTo>
                      <a:lnTo>
                        <a:pt x="40" y="24"/>
                      </a:lnTo>
                      <a:lnTo>
                        <a:pt x="42" y="24"/>
                      </a:lnTo>
                      <a:lnTo>
                        <a:pt x="47" y="21"/>
                      </a:lnTo>
                      <a:lnTo>
                        <a:pt x="47" y="21"/>
                      </a:lnTo>
                      <a:lnTo>
                        <a:pt x="52" y="15"/>
                      </a:lnTo>
                      <a:lnTo>
                        <a:pt x="56" y="12"/>
                      </a:lnTo>
                      <a:lnTo>
                        <a:pt x="61" y="12"/>
                      </a:lnTo>
                      <a:lnTo>
                        <a:pt x="68" y="12"/>
                      </a:lnTo>
                      <a:lnTo>
                        <a:pt x="68" y="12"/>
                      </a:lnTo>
                      <a:lnTo>
                        <a:pt x="75" y="12"/>
                      </a:lnTo>
                      <a:lnTo>
                        <a:pt x="77" y="10"/>
                      </a:lnTo>
                      <a:lnTo>
                        <a:pt x="80" y="8"/>
                      </a:lnTo>
                      <a:lnTo>
                        <a:pt x="84" y="8"/>
                      </a:lnTo>
                      <a:lnTo>
                        <a:pt x="84" y="8"/>
                      </a:lnTo>
                      <a:lnTo>
                        <a:pt x="92" y="10"/>
                      </a:lnTo>
                      <a:lnTo>
                        <a:pt x="92" y="8"/>
                      </a:lnTo>
                      <a:lnTo>
                        <a:pt x="92" y="3"/>
                      </a:lnTo>
                      <a:lnTo>
                        <a:pt x="92" y="3"/>
                      </a:lnTo>
                      <a:lnTo>
                        <a:pt x="92" y="1"/>
                      </a:lnTo>
                      <a:lnTo>
                        <a:pt x="94" y="0"/>
                      </a:lnTo>
                      <a:lnTo>
                        <a:pt x="97" y="0"/>
                      </a:lnTo>
                      <a:lnTo>
                        <a:pt x="97"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1" name="Freeform 2048">
                  <a:extLst>
                    <a:ext uri="{FF2B5EF4-FFF2-40B4-BE49-F238E27FC236}">
                      <a16:creationId xmlns:a16="http://schemas.microsoft.com/office/drawing/2014/main" id="{16C17428-94B6-D7EB-26B6-D8E102DCEA97}"/>
                    </a:ext>
                  </a:extLst>
                </p:cNvPr>
                <p:cNvSpPr>
                  <a:spLocks/>
                </p:cNvSpPr>
                <p:nvPr/>
              </p:nvSpPr>
              <p:spPr bwMode="auto">
                <a:xfrm>
                  <a:off x="4791981" y="2638765"/>
                  <a:ext cx="109244" cy="84576"/>
                </a:xfrm>
                <a:custGeom>
                  <a:avLst/>
                  <a:gdLst/>
                  <a:ahLst/>
                  <a:cxnLst>
                    <a:cxn ang="0">
                      <a:pos x="122" y="38"/>
                    </a:cxn>
                    <a:cxn ang="0">
                      <a:pos x="109" y="35"/>
                    </a:cxn>
                    <a:cxn ang="0">
                      <a:pos x="113" y="26"/>
                    </a:cxn>
                    <a:cxn ang="0">
                      <a:pos x="115" y="17"/>
                    </a:cxn>
                    <a:cxn ang="0">
                      <a:pos x="106" y="12"/>
                    </a:cxn>
                    <a:cxn ang="0">
                      <a:pos x="99" y="12"/>
                    </a:cxn>
                    <a:cxn ang="0">
                      <a:pos x="90" y="7"/>
                    </a:cxn>
                    <a:cxn ang="0">
                      <a:pos x="83" y="3"/>
                    </a:cxn>
                    <a:cxn ang="0">
                      <a:pos x="81" y="5"/>
                    </a:cxn>
                    <a:cxn ang="0">
                      <a:pos x="80" y="2"/>
                    </a:cxn>
                    <a:cxn ang="0">
                      <a:pos x="75" y="3"/>
                    </a:cxn>
                    <a:cxn ang="0">
                      <a:pos x="69" y="0"/>
                    </a:cxn>
                    <a:cxn ang="0">
                      <a:pos x="68" y="3"/>
                    </a:cxn>
                    <a:cxn ang="0">
                      <a:pos x="66" y="7"/>
                    </a:cxn>
                    <a:cxn ang="0">
                      <a:pos x="59" y="9"/>
                    </a:cxn>
                    <a:cxn ang="0">
                      <a:pos x="54" y="12"/>
                    </a:cxn>
                    <a:cxn ang="0">
                      <a:pos x="43" y="14"/>
                    </a:cxn>
                    <a:cxn ang="0">
                      <a:pos x="36" y="12"/>
                    </a:cxn>
                    <a:cxn ang="0">
                      <a:pos x="33" y="12"/>
                    </a:cxn>
                    <a:cxn ang="0">
                      <a:pos x="29" y="5"/>
                    </a:cxn>
                    <a:cxn ang="0">
                      <a:pos x="22" y="9"/>
                    </a:cxn>
                    <a:cxn ang="0">
                      <a:pos x="7" y="19"/>
                    </a:cxn>
                    <a:cxn ang="0">
                      <a:pos x="0" y="21"/>
                    </a:cxn>
                    <a:cxn ang="0">
                      <a:pos x="7" y="37"/>
                    </a:cxn>
                    <a:cxn ang="0">
                      <a:pos x="14" y="40"/>
                    </a:cxn>
                    <a:cxn ang="0">
                      <a:pos x="22" y="42"/>
                    </a:cxn>
                    <a:cxn ang="0">
                      <a:pos x="26" y="45"/>
                    </a:cxn>
                    <a:cxn ang="0">
                      <a:pos x="29" y="50"/>
                    </a:cxn>
                    <a:cxn ang="0">
                      <a:pos x="36" y="52"/>
                    </a:cxn>
                    <a:cxn ang="0">
                      <a:pos x="40" y="56"/>
                    </a:cxn>
                    <a:cxn ang="0">
                      <a:pos x="41" y="57"/>
                    </a:cxn>
                    <a:cxn ang="0">
                      <a:pos x="50" y="61"/>
                    </a:cxn>
                    <a:cxn ang="0">
                      <a:pos x="55" y="64"/>
                    </a:cxn>
                    <a:cxn ang="0">
                      <a:pos x="59" y="73"/>
                    </a:cxn>
                    <a:cxn ang="0">
                      <a:pos x="61" y="78"/>
                    </a:cxn>
                    <a:cxn ang="0">
                      <a:pos x="66" y="80"/>
                    </a:cxn>
                    <a:cxn ang="0">
                      <a:pos x="76" y="73"/>
                    </a:cxn>
                    <a:cxn ang="0">
                      <a:pos x="81" y="70"/>
                    </a:cxn>
                    <a:cxn ang="0">
                      <a:pos x="83" y="71"/>
                    </a:cxn>
                    <a:cxn ang="0">
                      <a:pos x="81" y="78"/>
                    </a:cxn>
                    <a:cxn ang="0">
                      <a:pos x="81" y="85"/>
                    </a:cxn>
                    <a:cxn ang="0">
                      <a:pos x="90" y="90"/>
                    </a:cxn>
                    <a:cxn ang="0">
                      <a:pos x="94" y="92"/>
                    </a:cxn>
                    <a:cxn ang="0">
                      <a:pos x="101" y="99"/>
                    </a:cxn>
                    <a:cxn ang="0">
                      <a:pos x="106" y="103"/>
                    </a:cxn>
                    <a:cxn ang="0">
                      <a:pos x="115" y="103"/>
                    </a:cxn>
                    <a:cxn ang="0">
                      <a:pos x="115" y="96"/>
                    </a:cxn>
                    <a:cxn ang="0">
                      <a:pos x="113" y="82"/>
                    </a:cxn>
                    <a:cxn ang="0">
                      <a:pos x="120" y="71"/>
                    </a:cxn>
                    <a:cxn ang="0">
                      <a:pos x="127" y="68"/>
                    </a:cxn>
                    <a:cxn ang="0">
                      <a:pos x="135" y="57"/>
                    </a:cxn>
                    <a:cxn ang="0">
                      <a:pos x="135" y="54"/>
                    </a:cxn>
                    <a:cxn ang="0">
                      <a:pos x="130" y="50"/>
                    </a:cxn>
                    <a:cxn ang="0">
                      <a:pos x="130" y="49"/>
                    </a:cxn>
                    <a:cxn ang="0">
                      <a:pos x="128" y="43"/>
                    </a:cxn>
                    <a:cxn ang="0">
                      <a:pos x="122" y="38"/>
                    </a:cxn>
                  </a:cxnLst>
                  <a:rect l="0" t="0" r="r" b="b"/>
                  <a:pathLst>
                    <a:path w="135" h="104">
                      <a:moveTo>
                        <a:pt x="122" y="38"/>
                      </a:moveTo>
                      <a:lnTo>
                        <a:pt x="122" y="38"/>
                      </a:lnTo>
                      <a:lnTo>
                        <a:pt x="113" y="37"/>
                      </a:lnTo>
                      <a:lnTo>
                        <a:pt x="109" y="35"/>
                      </a:lnTo>
                      <a:lnTo>
                        <a:pt x="109" y="30"/>
                      </a:lnTo>
                      <a:lnTo>
                        <a:pt x="113" y="26"/>
                      </a:lnTo>
                      <a:lnTo>
                        <a:pt x="115" y="21"/>
                      </a:lnTo>
                      <a:lnTo>
                        <a:pt x="115" y="17"/>
                      </a:lnTo>
                      <a:lnTo>
                        <a:pt x="113" y="14"/>
                      </a:lnTo>
                      <a:lnTo>
                        <a:pt x="106" y="12"/>
                      </a:lnTo>
                      <a:lnTo>
                        <a:pt x="106" y="12"/>
                      </a:lnTo>
                      <a:lnTo>
                        <a:pt x="99" y="12"/>
                      </a:lnTo>
                      <a:lnTo>
                        <a:pt x="95" y="10"/>
                      </a:lnTo>
                      <a:lnTo>
                        <a:pt x="90" y="7"/>
                      </a:lnTo>
                      <a:lnTo>
                        <a:pt x="88" y="3"/>
                      </a:lnTo>
                      <a:lnTo>
                        <a:pt x="83" y="3"/>
                      </a:lnTo>
                      <a:lnTo>
                        <a:pt x="83" y="3"/>
                      </a:lnTo>
                      <a:lnTo>
                        <a:pt x="81" y="5"/>
                      </a:lnTo>
                      <a:lnTo>
                        <a:pt x="80" y="3"/>
                      </a:lnTo>
                      <a:lnTo>
                        <a:pt x="80" y="2"/>
                      </a:lnTo>
                      <a:lnTo>
                        <a:pt x="75" y="3"/>
                      </a:lnTo>
                      <a:lnTo>
                        <a:pt x="75" y="3"/>
                      </a:lnTo>
                      <a:lnTo>
                        <a:pt x="71" y="2"/>
                      </a:lnTo>
                      <a:lnTo>
                        <a:pt x="69" y="0"/>
                      </a:lnTo>
                      <a:lnTo>
                        <a:pt x="69" y="0"/>
                      </a:lnTo>
                      <a:lnTo>
                        <a:pt x="68" y="3"/>
                      </a:lnTo>
                      <a:lnTo>
                        <a:pt x="68" y="3"/>
                      </a:lnTo>
                      <a:lnTo>
                        <a:pt x="66" y="7"/>
                      </a:lnTo>
                      <a:lnTo>
                        <a:pt x="62" y="9"/>
                      </a:lnTo>
                      <a:lnTo>
                        <a:pt x="59" y="9"/>
                      </a:lnTo>
                      <a:lnTo>
                        <a:pt x="54" y="12"/>
                      </a:lnTo>
                      <a:lnTo>
                        <a:pt x="54" y="12"/>
                      </a:lnTo>
                      <a:lnTo>
                        <a:pt x="48" y="14"/>
                      </a:lnTo>
                      <a:lnTo>
                        <a:pt x="43" y="14"/>
                      </a:lnTo>
                      <a:lnTo>
                        <a:pt x="40" y="12"/>
                      </a:lnTo>
                      <a:lnTo>
                        <a:pt x="36" y="12"/>
                      </a:lnTo>
                      <a:lnTo>
                        <a:pt x="36" y="12"/>
                      </a:lnTo>
                      <a:lnTo>
                        <a:pt x="33" y="12"/>
                      </a:lnTo>
                      <a:lnTo>
                        <a:pt x="31" y="10"/>
                      </a:lnTo>
                      <a:lnTo>
                        <a:pt x="29" y="5"/>
                      </a:lnTo>
                      <a:lnTo>
                        <a:pt x="29" y="5"/>
                      </a:lnTo>
                      <a:lnTo>
                        <a:pt x="22" y="9"/>
                      </a:lnTo>
                      <a:lnTo>
                        <a:pt x="15" y="14"/>
                      </a:lnTo>
                      <a:lnTo>
                        <a:pt x="7" y="19"/>
                      </a:lnTo>
                      <a:lnTo>
                        <a:pt x="0" y="21"/>
                      </a:lnTo>
                      <a:lnTo>
                        <a:pt x="0" y="21"/>
                      </a:lnTo>
                      <a:lnTo>
                        <a:pt x="3" y="31"/>
                      </a:lnTo>
                      <a:lnTo>
                        <a:pt x="7" y="37"/>
                      </a:lnTo>
                      <a:lnTo>
                        <a:pt x="10" y="40"/>
                      </a:lnTo>
                      <a:lnTo>
                        <a:pt x="14" y="40"/>
                      </a:lnTo>
                      <a:lnTo>
                        <a:pt x="21" y="40"/>
                      </a:lnTo>
                      <a:lnTo>
                        <a:pt x="22" y="42"/>
                      </a:lnTo>
                      <a:lnTo>
                        <a:pt x="26" y="45"/>
                      </a:lnTo>
                      <a:lnTo>
                        <a:pt x="26" y="45"/>
                      </a:lnTo>
                      <a:lnTo>
                        <a:pt x="27" y="49"/>
                      </a:lnTo>
                      <a:lnTo>
                        <a:pt x="29" y="50"/>
                      </a:lnTo>
                      <a:lnTo>
                        <a:pt x="33" y="52"/>
                      </a:lnTo>
                      <a:lnTo>
                        <a:pt x="36" y="52"/>
                      </a:lnTo>
                      <a:lnTo>
                        <a:pt x="38" y="54"/>
                      </a:lnTo>
                      <a:lnTo>
                        <a:pt x="40" y="56"/>
                      </a:lnTo>
                      <a:lnTo>
                        <a:pt x="40" y="56"/>
                      </a:lnTo>
                      <a:lnTo>
                        <a:pt x="41" y="57"/>
                      </a:lnTo>
                      <a:lnTo>
                        <a:pt x="43" y="59"/>
                      </a:lnTo>
                      <a:lnTo>
                        <a:pt x="50" y="61"/>
                      </a:lnTo>
                      <a:lnTo>
                        <a:pt x="52" y="61"/>
                      </a:lnTo>
                      <a:lnTo>
                        <a:pt x="55" y="64"/>
                      </a:lnTo>
                      <a:lnTo>
                        <a:pt x="57" y="68"/>
                      </a:lnTo>
                      <a:lnTo>
                        <a:pt x="59" y="73"/>
                      </a:lnTo>
                      <a:lnTo>
                        <a:pt x="59" y="73"/>
                      </a:lnTo>
                      <a:lnTo>
                        <a:pt x="61" y="78"/>
                      </a:lnTo>
                      <a:lnTo>
                        <a:pt x="62" y="82"/>
                      </a:lnTo>
                      <a:lnTo>
                        <a:pt x="66" y="80"/>
                      </a:lnTo>
                      <a:lnTo>
                        <a:pt x="69" y="78"/>
                      </a:lnTo>
                      <a:lnTo>
                        <a:pt x="76" y="73"/>
                      </a:lnTo>
                      <a:lnTo>
                        <a:pt x="80" y="70"/>
                      </a:lnTo>
                      <a:lnTo>
                        <a:pt x="81" y="70"/>
                      </a:lnTo>
                      <a:lnTo>
                        <a:pt x="81" y="70"/>
                      </a:lnTo>
                      <a:lnTo>
                        <a:pt x="83" y="71"/>
                      </a:lnTo>
                      <a:lnTo>
                        <a:pt x="83" y="73"/>
                      </a:lnTo>
                      <a:lnTo>
                        <a:pt x="81" y="78"/>
                      </a:lnTo>
                      <a:lnTo>
                        <a:pt x="81" y="82"/>
                      </a:lnTo>
                      <a:lnTo>
                        <a:pt x="81" y="85"/>
                      </a:lnTo>
                      <a:lnTo>
                        <a:pt x="85" y="87"/>
                      </a:lnTo>
                      <a:lnTo>
                        <a:pt x="90" y="90"/>
                      </a:lnTo>
                      <a:lnTo>
                        <a:pt x="90" y="90"/>
                      </a:lnTo>
                      <a:lnTo>
                        <a:pt x="94" y="92"/>
                      </a:lnTo>
                      <a:lnTo>
                        <a:pt x="97" y="94"/>
                      </a:lnTo>
                      <a:lnTo>
                        <a:pt x="101" y="99"/>
                      </a:lnTo>
                      <a:lnTo>
                        <a:pt x="102" y="103"/>
                      </a:lnTo>
                      <a:lnTo>
                        <a:pt x="106" y="103"/>
                      </a:lnTo>
                      <a:lnTo>
                        <a:pt x="109" y="104"/>
                      </a:lnTo>
                      <a:lnTo>
                        <a:pt x="115" y="103"/>
                      </a:lnTo>
                      <a:lnTo>
                        <a:pt x="115" y="103"/>
                      </a:lnTo>
                      <a:lnTo>
                        <a:pt x="115" y="96"/>
                      </a:lnTo>
                      <a:lnTo>
                        <a:pt x="113" y="87"/>
                      </a:lnTo>
                      <a:lnTo>
                        <a:pt x="113" y="82"/>
                      </a:lnTo>
                      <a:lnTo>
                        <a:pt x="116" y="77"/>
                      </a:lnTo>
                      <a:lnTo>
                        <a:pt x="120" y="71"/>
                      </a:lnTo>
                      <a:lnTo>
                        <a:pt x="127" y="68"/>
                      </a:lnTo>
                      <a:lnTo>
                        <a:pt x="127" y="68"/>
                      </a:lnTo>
                      <a:lnTo>
                        <a:pt x="132" y="63"/>
                      </a:lnTo>
                      <a:lnTo>
                        <a:pt x="135" y="57"/>
                      </a:lnTo>
                      <a:lnTo>
                        <a:pt x="135" y="56"/>
                      </a:lnTo>
                      <a:lnTo>
                        <a:pt x="135" y="54"/>
                      </a:lnTo>
                      <a:lnTo>
                        <a:pt x="132" y="52"/>
                      </a:lnTo>
                      <a:lnTo>
                        <a:pt x="130" y="50"/>
                      </a:lnTo>
                      <a:lnTo>
                        <a:pt x="130" y="49"/>
                      </a:lnTo>
                      <a:lnTo>
                        <a:pt x="130" y="49"/>
                      </a:lnTo>
                      <a:lnTo>
                        <a:pt x="130" y="45"/>
                      </a:lnTo>
                      <a:lnTo>
                        <a:pt x="128" y="43"/>
                      </a:lnTo>
                      <a:lnTo>
                        <a:pt x="125" y="42"/>
                      </a:lnTo>
                      <a:lnTo>
                        <a:pt x="122" y="38"/>
                      </a:lnTo>
                      <a:lnTo>
                        <a:pt x="122"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2" name="Freeform 2049">
                  <a:extLst>
                    <a:ext uri="{FF2B5EF4-FFF2-40B4-BE49-F238E27FC236}">
                      <a16:creationId xmlns:a16="http://schemas.microsoft.com/office/drawing/2014/main" id="{4C750735-060D-C596-4B23-96DA4DF9DB65}"/>
                    </a:ext>
                  </a:extLst>
                </p:cNvPr>
                <p:cNvSpPr>
                  <a:spLocks/>
                </p:cNvSpPr>
                <p:nvPr/>
              </p:nvSpPr>
              <p:spPr bwMode="auto">
                <a:xfrm>
                  <a:off x="5228959" y="2358608"/>
                  <a:ext cx="33478" cy="49336"/>
                </a:xfrm>
                <a:custGeom>
                  <a:avLst/>
                  <a:gdLst/>
                  <a:ahLst/>
                  <a:cxnLst>
                    <a:cxn ang="0">
                      <a:pos x="6" y="61"/>
                    </a:cxn>
                    <a:cxn ang="0">
                      <a:pos x="6" y="61"/>
                    </a:cxn>
                    <a:cxn ang="0">
                      <a:pos x="4" y="61"/>
                    </a:cxn>
                    <a:cxn ang="0">
                      <a:pos x="2" y="61"/>
                    </a:cxn>
                    <a:cxn ang="0">
                      <a:pos x="2" y="57"/>
                    </a:cxn>
                    <a:cxn ang="0">
                      <a:pos x="4" y="50"/>
                    </a:cxn>
                    <a:cxn ang="0">
                      <a:pos x="4" y="49"/>
                    </a:cxn>
                    <a:cxn ang="0">
                      <a:pos x="2" y="45"/>
                    </a:cxn>
                    <a:cxn ang="0">
                      <a:pos x="2" y="45"/>
                    </a:cxn>
                    <a:cxn ang="0">
                      <a:pos x="0" y="38"/>
                    </a:cxn>
                    <a:cxn ang="0">
                      <a:pos x="0" y="31"/>
                    </a:cxn>
                    <a:cxn ang="0">
                      <a:pos x="4" y="23"/>
                    </a:cxn>
                    <a:cxn ang="0">
                      <a:pos x="11" y="12"/>
                    </a:cxn>
                    <a:cxn ang="0">
                      <a:pos x="11" y="12"/>
                    </a:cxn>
                    <a:cxn ang="0">
                      <a:pos x="20" y="7"/>
                    </a:cxn>
                    <a:cxn ang="0">
                      <a:pos x="21" y="7"/>
                    </a:cxn>
                    <a:cxn ang="0">
                      <a:pos x="25" y="9"/>
                    </a:cxn>
                    <a:cxn ang="0">
                      <a:pos x="32" y="5"/>
                    </a:cxn>
                    <a:cxn ang="0">
                      <a:pos x="32" y="5"/>
                    </a:cxn>
                    <a:cxn ang="0">
                      <a:pos x="39" y="0"/>
                    </a:cxn>
                    <a:cxn ang="0">
                      <a:pos x="40" y="0"/>
                    </a:cxn>
                    <a:cxn ang="0">
                      <a:pos x="40" y="2"/>
                    </a:cxn>
                    <a:cxn ang="0">
                      <a:pos x="37" y="5"/>
                    </a:cxn>
                    <a:cxn ang="0">
                      <a:pos x="30" y="14"/>
                    </a:cxn>
                    <a:cxn ang="0">
                      <a:pos x="30" y="14"/>
                    </a:cxn>
                    <a:cxn ang="0">
                      <a:pos x="26" y="17"/>
                    </a:cxn>
                    <a:cxn ang="0">
                      <a:pos x="25" y="21"/>
                    </a:cxn>
                    <a:cxn ang="0">
                      <a:pos x="25" y="24"/>
                    </a:cxn>
                    <a:cxn ang="0">
                      <a:pos x="26" y="26"/>
                    </a:cxn>
                    <a:cxn ang="0">
                      <a:pos x="28" y="31"/>
                    </a:cxn>
                    <a:cxn ang="0">
                      <a:pos x="26" y="35"/>
                    </a:cxn>
                    <a:cxn ang="0">
                      <a:pos x="25" y="38"/>
                    </a:cxn>
                    <a:cxn ang="0">
                      <a:pos x="25" y="38"/>
                    </a:cxn>
                    <a:cxn ang="0">
                      <a:pos x="18" y="45"/>
                    </a:cxn>
                    <a:cxn ang="0">
                      <a:pos x="13" y="52"/>
                    </a:cxn>
                    <a:cxn ang="0">
                      <a:pos x="9" y="57"/>
                    </a:cxn>
                    <a:cxn ang="0">
                      <a:pos x="6" y="61"/>
                    </a:cxn>
                    <a:cxn ang="0">
                      <a:pos x="6" y="61"/>
                    </a:cxn>
                  </a:cxnLst>
                  <a:rect l="0" t="0" r="r" b="b"/>
                  <a:pathLst>
                    <a:path w="40" h="61">
                      <a:moveTo>
                        <a:pt x="6" y="61"/>
                      </a:moveTo>
                      <a:lnTo>
                        <a:pt x="6" y="61"/>
                      </a:lnTo>
                      <a:lnTo>
                        <a:pt x="4" y="61"/>
                      </a:lnTo>
                      <a:lnTo>
                        <a:pt x="2" y="61"/>
                      </a:lnTo>
                      <a:lnTo>
                        <a:pt x="2" y="57"/>
                      </a:lnTo>
                      <a:lnTo>
                        <a:pt x="4" y="50"/>
                      </a:lnTo>
                      <a:lnTo>
                        <a:pt x="4" y="49"/>
                      </a:lnTo>
                      <a:lnTo>
                        <a:pt x="2" y="45"/>
                      </a:lnTo>
                      <a:lnTo>
                        <a:pt x="2" y="45"/>
                      </a:lnTo>
                      <a:lnTo>
                        <a:pt x="0" y="38"/>
                      </a:lnTo>
                      <a:lnTo>
                        <a:pt x="0" y="31"/>
                      </a:lnTo>
                      <a:lnTo>
                        <a:pt x="4" y="23"/>
                      </a:lnTo>
                      <a:lnTo>
                        <a:pt x="11" y="12"/>
                      </a:lnTo>
                      <a:lnTo>
                        <a:pt x="11" y="12"/>
                      </a:lnTo>
                      <a:lnTo>
                        <a:pt x="20" y="7"/>
                      </a:lnTo>
                      <a:lnTo>
                        <a:pt x="21" y="7"/>
                      </a:lnTo>
                      <a:lnTo>
                        <a:pt x="25" y="9"/>
                      </a:lnTo>
                      <a:lnTo>
                        <a:pt x="32" y="5"/>
                      </a:lnTo>
                      <a:lnTo>
                        <a:pt x="32" y="5"/>
                      </a:lnTo>
                      <a:lnTo>
                        <a:pt x="39" y="0"/>
                      </a:lnTo>
                      <a:lnTo>
                        <a:pt x="40" y="0"/>
                      </a:lnTo>
                      <a:lnTo>
                        <a:pt x="40" y="2"/>
                      </a:lnTo>
                      <a:lnTo>
                        <a:pt x="37" y="5"/>
                      </a:lnTo>
                      <a:lnTo>
                        <a:pt x="30" y="14"/>
                      </a:lnTo>
                      <a:lnTo>
                        <a:pt x="30" y="14"/>
                      </a:lnTo>
                      <a:lnTo>
                        <a:pt x="26" y="17"/>
                      </a:lnTo>
                      <a:lnTo>
                        <a:pt x="25" y="21"/>
                      </a:lnTo>
                      <a:lnTo>
                        <a:pt x="25" y="24"/>
                      </a:lnTo>
                      <a:lnTo>
                        <a:pt x="26" y="26"/>
                      </a:lnTo>
                      <a:lnTo>
                        <a:pt x="28" y="31"/>
                      </a:lnTo>
                      <a:lnTo>
                        <a:pt x="26" y="35"/>
                      </a:lnTo>
                      <a:lnTo>
                        <a:pt x="25" y="38"/>
                      </a:lnTo>
                      <a:lnTo>
                        <a:pt x="25" y="38"/>
                      </a:lnTo>
                      <a:lnTo>
                        <a:pt x="18" y="45"/>
                      </a:lnTo>
                      <a:lnTo>
                        <a:pt x="13" y="52"/>
                      </a:lnTo>
                      <a:lnTo>
                        <a:pt x="9" y="57"/>
                      </a:lnTo>
                      <a:lnTo>
                        <a:pt x="6" y="61"/>
                      </a:lnTo>
                      <a:lnTo>
                        <a:pt x="6" y="6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3" name="Freeform 2050">
                  <a:extLst>
                    <a:ext uri="{FF2B5EF4-FFF2-40B4-BE49-F238E27FC236}">
                      <a16:creationId xmlns:a16="http://schemas.microsoft.com/office/drawing/2014/main" id="{9C701AB7-1A28-B6E1-5313-D5D535AEA5A9}"/>
                    </a:ext>
                  </a:extLst>
                </p:cNvPr>
                <p:cNvSpPr>
                  <a:spLocks/>
                </p:cNvSpPr>
                <p:nvPr/>
              </p:nvSpPr>
              <p:spPr bwMode="auto">
                <a:xfrm>
                  <a:off x="5988383" y="3024641"/>
                  <a:ext cx="151532" cy="135675"/>
                </a:xfrm>
                <a:custGeom>
                  <a:avLst/>
                  <a:gdLst/>
                  <a:ahLst/>
                  <a:cxnLst>
                    <a:cxn ang="0">
                      <a:pos x="125" y="169"/>
                    </a:cxn>
                    <a:cxn ang="0">
                      <a:pos x="122" y="161"/>
                    </a:cxn>
                    <a:cxn ang="0">
                      <a:pos x="115" y="161"/>
                    </a:cxn>
                    <a:cxn ang="0">
                      <a:pos x="113" y="155"/>
                    </a:cxn>
                    <a:cxn ang="0">
                      <a:pos x="106" y="150"/>
                    </a:cxn>
                    <a:cxn ang="0">
                      <a:pos x="106" y="145"/>
                    </a:cxn>
                    <a:cxn ang="0">
                      <a:pos x="115" y="140"/>
                    </a:cxn>
                    <a:cxn ang="0">
                      <a:pos x="108" y="129"/>
                    </a:cxn>
                    <a:cxn ang="0">
                      <a:pos x="115" y="126"/>
                    </a:cxn>
                    <a:cxn ang="0">
                      <a:pos x="103" y="108"/>
                    </a:cxn>
                    <a:cxn ang="0">
                      <a:pos x="82" y="121"/>
                    </a:cxn>
                    <a:cxn ang="0">
                      <a:pos x="63" y="135"/>
                    </a:cxn>
                    <a:cxn ang="0">
                      <a:pos x="52" y="148"/>
                    </a:cxn>
                    <a:cxn ang="0">
                      <a:pos x="52" y="140"/>
                    </a:cxn>
                    <a:cxn ang="0">
                      <a:pos x="49" y="133"/>
                    </a:cxn>
                    <a:cxn ang="0">
                      <a:pos x="54" y="129"/>
                    </a:cxn>
                    <a:cxn ang="0">
                      <a:pos x="47" y="121"/>
                    </a:cxn>
                    <a:cxn ang="0">
                      <a:pos x="54" y="115"/>
                    </a:cxn>
                    <a:cxn ang="0">
                      <a:pos x="42" y="114"/>
                    </a:cxn>
                    <a:cxn ang="0">
                      <a:pos x="29" y="101"/>
                    </a:cxn>
                    <a:cxn ang="0">
                      <a:pos x="21" y="95"/>
                    </a:cxn>
                    <a:cxn ang="0">
                      <a:pos x="31" y="89"/>
                    </a:cxn>
                    <a:cxn ang="0">
                      <a:pos x="16" y="68"/>
                    </a:cxn>
                    <a:cxn ang="0">
                      <a:pos x="14" y="60"/>
                    </a:cxn>
                    <a:cxn ang="0">
                      <a:pos x="21" y="53"/>
                    </a:cxn>
                    <a:cxn ang="0">
                      <a:pos x="0" y="32"/>
                    </a:cxn>
                    <a:cxn ang="0">
                      <a:pos x="10" y="23"/>
                    </a:cxn>
                    <a:cxn ang="0">
                      <a:pos x="26" y="28"/>
                    </a:cxn>
                    <a:cxn ang="0">
                      <a:pos x="31" y="37"/>
                    </a:cxn>
                    <a:cxn ang="0">
                      <a:pos x="42" y="37"/>
                    </a:cxn>
                    <a:cxn ang="0">
                      <a:pos x="57" y="39"/>
                    </a:cxn>
                    <a:cxn ang="0">
                      <a:pos x="54" y="27"/>
                    </a:cxn>
                    <a:cxn ang="0">
                      <a:pos x="42" y="16"/>
                    </a:cxn>
                    <a:cxn ang="0">
                      <a:pos x="47" y="4"/>
                    </a:cxn>
                    <a:cxn ang="0">
                      <a:pos x="54" y="6"/>
                    </a:cxn>
                    <a:cxn ang="0">
                      <a:pos x="63" y="6"/>
                    </a:cxn>
                    <a:cxn ang="0">
                      <a:pos x="66" y="14"/>
                    </a:cxn>
                    <a:cxn ang="0">
                      <a:pos x="78" y="27"/>
                    </a:cxn>
                    <a:cxn ang="0">
                      <a:pos x="87" y="35"/>
                    </a:cxn>
                    <a:cxn ang="0">
                      <a:pos x="103" y="34"/>
                    </a:cxn>
                    <a:cxn ang="0">
                      <a:pos x="113" y="20"/>
                    </a:cxn>
                    <a:cxn ang="0">
                      <a:pos x="130" y="13"/>
                    </a:cxn>
                    <a:cxn ang="0">
                      <a:pos x="146" y="41"/>
                    </a:cxn>
                    <a:cxn ang="0">
                      <a:pos x="158" y="58"/>
                    </a:cxn>
                    <a:cxn ang="0">
                      <a:pos x="162" y="67"/>
                    </a:cxn>
                    <a:cxn ang="0">
                      <a:pos x="188" y="77"/>
                    </a:cxn>
                    <a:cxn ang="0">
                      <a:pos x="183" y="79"/>
                    </a:cxn>
                    <a:cxn ang="0">
                      <a:pos x="167" y="79"/>
                    </a:cxn>
                    <a:cxn ang="0">
                      <a:pos x="155" y="95"/>
                    </a:cxn>
                    <a:cxn ang="0">
                      <a:pos x="151" y="112"/>
                    </a:cxn>
                    <a:cxn ang="0">
                      <a:pos x="151" y="124"/>
                    </a:cxn>
                    <a:cxn ang="0">
                      <a:pos x="148" y="133"/>
                    </a:cxn>
                    <a:cxn ang="0">
                      <a:pos x="144" y="143"/>
                    </a:cxn>
                    <a:cxn ang="0">
                      <a:pos x="139" y="133"/>
                    </a:cxn>
                    <a:cxn ang="0">
                      <a:pos x="134" y="157"/>
                    </a:cxn>
                  </a:cxnLst>
                  <a:rect l="0" t="0" r="r" b="b"/>
                  <a:pathLst>
                    <a:path w="188" h="169">
                      <a:moveTo>
                        <a:pt x="134" y="169"/>
                      </a:moveTo>
                      <a:lnTo>
                        <a:pt x="134" y="169"/>
                      </a:lnTo>
                      <a:lnTo>
                        <a:pt x="129" y="169"/>
                      </a:lnTo>
                      <a:lnTo>
                        <a:pt x="125" y="169"/>
                      </a:lnTo>
                      <a:lnTo>
                        <a:pt x="123" y="169"/>
                      </a:lnTo>
                      <a:lnTo>
                        <a:pt x="123" y="168"/>
                      </a:lnTo>
                      <a:lnTo>
                        <a:pt x="122" y="162"/>
                      </a:lnTo>
                      <a:lnTo>
                        <a:pt x="122" y="161"/>
                      </a:lnTo>
                      <a:lnTo>
                        <a:pt x="118" y="159"/>
                      </a:lnTo>
                      <a:lnTo>
                        <a:pt x="118" y="159"/>
                      </a:lnTo>
                      <a:lnTo>
                        <a:pt x="117" y="161"/>
                      </a:lnTo>
                      <a:lnTo>
                        <a:pt x="115" y="161"/>
                      </a:lnTo>
                      <a:lnTo>
                        <a:pt x="115" y="161"/>
                      </a:lnTo>
                      <a:lnTo>
                        <a:pt x="115" y="161"/>
                      </a:lnTo>
                      <a:lnTo>
                        <a:pt x="113" y="159"/>
                      </a:lnTo>
                      <a:lnTo>
                        <a:pt x="113" y="155"/>
                      </a:lnTo>
                      <a:lnTo>
                        <a:pt x="113" y="155"/>
                      </a:lnTo>
                      <a:lnTo>
                        <a:pt x="110" y="152"/>
                      </a:lnTo>
                      <a:lnTo>
                        <a:pt x="106" y="150"/>
                      </a:lnTo>
                      <a:lnTo>
                        <a:pt x="106" y="150"/>
                      </a:lnTo>
                      <a:lnTo>
                        <a:pt x="104" y="148"/>
                      </a:lnTo>
                      <a:lnTo>
                        <a:pt x="104" y="147"/>
                      </a:lnTo>
                      <a:lnTo>
                        <a:pt x="104" y="147"/>
                      </a:lnTo>
                      <a:lnTo>
                        <a:pt x="106" y="145"/>
                      </a:lnTo>
                      <a:lnTo>
                        <a:pt x="110" y="143"/>
                      </a:lnTo>
                      <a:lnTo>
                        <a:pt x="113" y="143"/>
                      </a:lnTo>
                      <a:lnTo>
                        <a:pt x="115" y="140"/>
                      </a:lnTo>
                      <a:lnTo>
                        <a:pt x="115" y="140"/>
                      </a:lnTo>
                      <a:lnTo>
                        <a:pt x="115" y="136"/>
                      </a:lnTo>
                      <a:lnTo>
                        <a:pt x="111" y="135"/>
                      </a:lnTo>
                      <a:lnTo>
                        <a:pt x="110" y="133"/>
                      </a:lnTo>
                      <a:lnTo>
                        <a:pt x="108" y="129"/>
                      </a:lnTo>
                      <a:lnTo>
                        <a:pt x="108" y="129"/>
                      </a:lnTo>
                      <a:lnTo>
                        <a:pt x="110" y="128"/>
                      </a:lnTo>
                      <a:lnTo>
                        <a:pt x="111" y="126"/>
                      </a:lnTo>
                      <a:lnTo>
                        <a:pt x="115" y="126"/>
                      </a:lnTo>
                      <a:lnTo>
                        <a:pt x="117" y="124"/>
                      </a:lnTo>
                      <a:lnTo>
                        <a:pt x="117" y="124"/>
                      </a:lnTo>
                      <a:lnTo>
                        <a:pt x="111" y="115"/>
                      </a:lnTo>
                      <a:lnTo>
                        <a:pt x="103" y="108"/>
                      </a:lnTo>
                      <a:lnTo>
                        <a:pt x="103" y="108"/>
                      </a:lnTo>
                      <a:lnTo>
                        <a:pt x="97" y="108"/>
                      </a:lnTo>
                      <a:lnTo>
                        <a:pt x="92" y="112"/>
                      </a:lnTo>
                      <a:lnTo>
                        <a:pt x="82" y="121"/>
                      </a:lnTo>
                      <a:lnTo>
                        <a:pt x="82" y="121"/>
                      </a:lnTo>
                      <a:lnTo>
                        <a:pt x="70" y="133"/>
                      </a:lnTo>
                      <a:lnTo>
                        <a:pt x="63" y="135"/>
                      </a:lnTo>
                      <a:lnTo>
                        <a:pt x="63" y="135"/>
                      </a:lnTo>
                      <a:lnTo>
                        <a:pt x="57" y="140"/>
                      </a:lnTo>
                      <a:lnTo>
                        <a:pt x="54" y="147"/>
                      </a:lnTo>
                      <a:lnTo>
                        <a:pt x="54" y="147"/>
                      </a:lnTo>
                      <a:lnTo>
                        <a:pt x="52" y="148"/>
                      </a:lnTo>
                      <a:lnTo>
                        <a:pt x="52" y="148"/>
                      </a:lnTo>
                      <a:lnTo>
                        <a:pt x="52" y="143"/>
                      </a:lnTo>
                      <a:lnTo>
                        <a:pt x="52" y="140"/>
                      </a:lnTo>
                      <a:lnTo>
                        <a:pt x="52" y="140"/>
                      </a:lnTo>
                      <a:lnTo>
                        <a:pt x="50" y="136"/>
                      </a:lnTo>
                      <a:lnTo>
                        <a:pt x="49" y="135"/>
                      </a:lnTo>
                      <a:lnTo>
                        <a:pt x="49" y="135"/>
                      </a:lnTo>
                      <a:lnTo>
                        <a:pt x="49" y="133"/>
                      </a:lnTo>
                      <a:lnTo>
                        <a:pt x="50" y="131"/>
                      </a:lnTo>
                      <a:lnTo>
                        <a:pt x="56" y="131"/>
                      </a:lnTo>
                      <a:lnTo>
                        <a:pt x="56" y="131"/>
                      </a:lnTo>
                      <a:lnTo>
                        <a:pt x="54" y="129"/>
                      </a:lnTo>
                      <a:lnTo>
                        <a:pt x="52" y="126"/>
                      </a:lnTo>
                      <a:lnTo>
                        <a:pt x="49" y="124"/>
                      </a:lnTo>
                      <a:lnTo>
                        <a:pt x="47" y="121"/>
                      </a:lnTo>
                      <a:lnTo>
                        <a:pt x="47" y="121"/>
                      </a:lnTo>
                      <a:lnTo>
                        <a:pt x="49" y="119"/>
                      </a:lnTo>
                      <a:lnTo>
                        <a:pt x="50" y="119"/>
                      </a:lnTo>
                      <a:lnTo>
                        <a:pt x="52" y="119"/>
                      </a:lnTo>
                      <a:lnTo>
                        <a:pt x="54" y="115"/>
                      </a:lnTo>
                      <a:lnTo>
                        <a:pt x="54" y="115"/>
                      </a:lnTo>
                      <a:lnTo>
                        <a:pt x="52" y="114"/>
                      </a:lnTo>
                      <a:lnTo>
                        <a:pt x="49" y="114"/>
                      </a:lnTo>
                      <a:lnTo>
                        <a:pt x="42" y="114"/>
                      </a:lnTo>
                      <a:lnTo>
                        <a:pt x="42" y="114"/>
                      </a:lnTo>
                      <a:lnTo>
                        <a:pt x="36" y="110"/>
                      </a:lnTo>
                      <a:lnTo>
                        <a:pt x="33" y="105"/>
                      </a:lnTo>
                      <a:lnTo>
                        <a:pt x="29" y="101"/>
                      </a:lnTo>
                      <a:lnTo>
                        <a:pt x="26" y="98"/>
                      </a:lnTo>
                      <a:lnTo>
                        <a:pt x="19" y="95"/>
                      </a:lnTo>
                      <a:lnTo>
                        <a:pt x="19" y="95"/>
                      </a:lnTo>
                      <a:lnTo>
                        <a:pt x="21" y="95"/>
                      </a:lnTo>
                      <a:lnTo>
                        <a:pt x="24" y="93"/>
                      </a:lnTo>
                      <a:lnTo>
                        <a:pt x="29" y="93"/>
                      </a:lnTo>
                      <a:lnTo>
                        <a:pt x="29" y="93"/>
                      </a:lnTo>
                      <a:lnTo>
                        <a:pt x="31" y="89"/>
                      </a:lnTo>
                      <a:lnTo>
                        <a:pt x="33" y="84"/>
                      </a:lnTo>
                      <a:lnTo>
                        <a:pt x="33" y="84"/>
                      </a:lnTo>
                      <a:lnTo>
                        <a:pt x="26" y="77"/>
                      </a:lnTo>
                      <a:lnTo>
                        <a:pt x="16" y="68"/>
                      </a:lnTo>
                      <a:lnTo>
                        <a:pt x="16" y="68"/>
                      </a:lnTo>
                      <a:lnTo>
                        <a:pt x="12" y="65"/>
                      </a:lnTo>
                      <a:lnTo>
                        <a:pt x="12" y="61"/>
                      </a:lnTo>
                      <a:lnTo>
                        <a:pt x="14" y="60"/>
                      </a:lnTo>
                      <a:lnTo>
                        <a:pt x="16" y="58"/>
                      </a:lnTo>
                      <a:lnTo>
                        <a:pt x="19" y="56"/>
                      </a:lnTo>
                      <a:lnTo>
                        <a:pt x="21" y="54"/>
                      </a:lnTo>
                      <a:lnTo>
                        <a:pt x="21" y="53"/>
                      </a:lnTo>
                      <a:lnTo>
                        <a:pt x="21" y="53"/>
                      </a:lnTo>
                      <a:lnTo>
                        <a:pt x="10" y="44"/>
                      </a:lnTo>
                      <a:lnTo>
                        <a:pt x="3" y="37"/>
                      </a:lnTo>
                      <a:lnTo>
                        <a:pt x="0" y="32"/>
                      </a:lnTo>
                      <a:lnTo>
                        <a:pt x="0" y="32"/>
                      </a:lnTo>
                      <a:lnTo>
                        <a:pt x="5" y="27"/>
                      </a:lnTo>
                      <a:lnTo>
                        <a:pt x="7" y="25"/>
                      </a:lnTo>
                      <a:lnTo>
                        <a:pt x="10" y="23"/>
                      </a:lnTo>
                      <a:lnTo>
                        <a:pt x="10" y="23"/>
                      </a:lnTo>
                      <a:lnTo>
                        <a:pt x="19" y="27"/>
                      </a:lnTo>
                      <a:lnTo>
                        <a:pt x="26" y="28"/>
                      </a:lnTo>
                      <a:lnTo>
                        <a:pt x="26" y="28"/>
                      </a:lnTo>
                      <a:lnTo>
                        <a:pt x="24" y="32"/>
                      </a:lnTo>
                      <a:lnTo>
                        <a:pt x="26" y="35"/>
                      </a:lnTo>
                      <a:lnTo>
                        <a:pt x="31" y="37"/>
                      </a:lnTo>
                      <a:lnTo>
                        <a:pt x="31" y="37"/>
                      </a:lnTo>
                      <a:lnTo>
                        <a:pt x="35" y="37"/>
                      </a:lnTo>
                      <a:lnTo>
                        <a:pt x="36" y="37"/>
                      </a:lnTo>
                      <a:lnTo>
                        <a:pt x="42" y="37"/>
                      </a:lnTo>
                      <a:lnTo>
                        <a:pt x="42" y="37"/>
                      </a:lnTo>
                      <a:lnTo>
                        <a:pt x="47" y="39"/>
                      </a:lnTo>
                      <a:lnTo>
                        <a:pt x="49" y="42"/>
                      </a:lnTo>
                      <a:lnTo>
                        <a:pt x="52" y="42"/>
                      </a:lnTo>
                      <a:lnTo>
                        <a:pt x="57" y="39"/>
                      </a:lnTo>
                      <a:lnTo>
                        <a:pt x="57" y="39"/>
                      </a:lnTo>
                      <a:lnTo>
                        <a:pt x="59" y="35"/>
                      </a:lnTo>
                      <a:lnTo>
                        <a:pt x="57" y="32"/>
                      </a:lnTo>
                      <a:lnTo>
                        <a:pt x="54" y="27"/>
                      </a:lnTo>
                      <a:lnTo>
                        <a:pt x="43" y="20"/>
                      </a:lnTo>
                      <a:lnTo>
                        <a:pt x="43" y="20"/>
                      </a:lnTo>
                      <a:lnTo>
                        <a:pt x="42" y="18"/>
                      </a:lnTo>
                      <a:lnTo>
                        <a:pt x="42" y="16"/>
                      </a:lnTo>
                      <a:lnTo>
                        <a:pt x="42" y="16"/>
                      </a:lnTo>
                      <a:lnTo>
                        <a:pt x="42" y="11"/>
                      </a:lnTo>
                      <a:lnTo>
                        <a:pt x="45" y="7"/>
                      </a:lnTo>
                      <a:lnTo>
                        <a:pt x="47" y="4"/>
                      </a:lnTo>
                      <a:lnTo>
                        <a:pt x="49" y="0"/>
                      </a:lnTo>
                      <a:lnTo>
                        <a:pt x="49" y="0"/>
                      </a:lnTo>
                      <a:lnTo>
                        <a:pt x="52" y="4"/>
                      </a:lnTo>
                      <a:lnTo>
                        <a:pt x="54" y="6"/>
                      </a:lnTo>
                      <a:lnTo>
                        <a:pt x="56" y="6"/>
                      </a:lnTo>
                      <a:lnTo>
                        <a:pt x="57" y="6"/>
                      </a:lnTo>
                      <a:lnTo>
                        <a:pt x="61" y="4"/>
                      </a:lnTo>
                      <a:lnTo>
                        <a:pt x="63" y="6"/>
                      </a:lnTo>
                      <a:lnTo>
                        <a:pt x="63" y="9"/>
                      </a:lnTo>
                      <a:lnTo>
                        <a:pt x="63" y="9"/>
                      </a:lnTo>
                      <a:lnTo>
                        <a:pt x="64" y="13"/>
                      </a:lnTo>
                      <a:lnTo>
                        <a:pt x="66" y="14"/>
                      </a:lnTo>
                      <a:lnTo>
                        <a:pt x="71" y="16"/>
                      </a:lnTo>
                      <a:lnTo>
                        <a:pt x="75" y="20"/>
                      </a:lnTo>
                      <a:lnTo>
                        <a:pt x="76" y="21"/>
                      </a:lnTo>
                      <a:lnTo>
                        <a:pt x="78" y="27"/>
                      </a:lnTo>
                      <a:lnTo>
                        <a:pt x="78" y="27"/>
                      </a:lnTo>
                      <a:lnTo>
                        <a:pt x="80" y="30"/>
                      </a:lnTo>
                      <a:lnTo>
                        <a:pt x="83" y="34"/>
                      </a:lnTo>
                      <a:lnTo>
                        <a:pt x="87" y="35"/>
                      </a:lnTo>
                      <a:lnTo>
                        <a:pt x="92" y="37"/>
                      </a:lnTo>
                      <a:lnTo>
                        <a:pt x="96" y="37"/>
                      </a:lnTo>
                      <a:lnTo>
                        <a:pt x="99" y="35"/>
                      </a:lnTo>
                      <a:lnTo>
                        <a:pt x="103" y="34"/>
                      </a:lnTo>
                      <a:lnTo>
                        <a:pt x="104" y="30"/>
                      </a:lnTo>
                      <a:lnTo>
                        <a:pt x="104" y="30"/>
                      </a:lnTo>
                      <a:lnTo>
                        <a:pt x="108" y="23"/>
                      </a:lnTo>
                      <a:lnTo>
                        <a:pt x="113" y="20"/>
                      </a:lnTo>
                      <a:lnTo>
                        <a:pt x="120" y="14"/>
                      </a:lnTo>
                      <a:lnTo>
                        <a:pt x="125" y="6"/>
                      </a:lnTo>
                      <a:lnTo>
                        <a:pt x="125" y="6"/>
                      </a:lnTo>
                      <a:lnTo>
                        <a:pt x="130" y="13"/>
                      </a:lnTo>
                      <a:lnTo>
                        <a:pt x="139" y="23"/>
                      </a:lnTo>
                      <a:lnTo>
                        <a:pt x="144" y="34"/>
                      </a:lnTo>
                      <a:lnTo>
                        <a:pt x="146" y="41"/>
                      </a:lnTo>
                      <a:lnTo>
                        <a:pt x="146" y="41"/>
                      </a:lnTo>
                      <a:lnTo>
                        <a:pt x="148" y="46"/>
                      </a:lnTo>
                      <a:lnTo>
                        <a:pt x="153" y="49"/>
                      </a:lnTo>
                      <a:lnTo>
                        <a:pt x="157" y="54"/>
                      </a:lnTo>
                      <a:lnTo>
                        <a:pt x="158" y="58"/>
                      </a:lnTo>
                      <a:lnTo>
                        <a:pt x="158" y="60"/>
                      </a:lnTo>
                      <a:lnTo>
                        <a:pt x="158" y="60"/>
                      </a:lnTo>
                      <a:lnTo>
                        <a:pt x="158" y="65"/>
                      </a:lnTo>
                      <a:lnTo>
                        <a:pt x="162" y="67"/>
                      </a:lnTo>
                      <a:lnTo>
                        <a:pt x="170" y="68"/>
                      </a:lnTo>
                      <a:lnTo>
                        <a:pt x="181" y="70"/>
                      </a:lnTo>
                      <a:lnTo>
                        <a:pt x="184" y="74"/>
                      </a:lnTo>
                      <a:lnTo>
                        <a:pt x="188" y="77"/>
                      </a:lnTo>
                      <a:lnTo>
                        <a:pt x="188" y="77"/>
                      </a:lnTo>
                      <a:lnTo>
                        <a:pt x="188" y="82"/>
                      </a:lnTo>
                      <a:lnTo>
                        <a:pt x="184" y="81"/>
                      </a:lnTo>
                      <a:lnTo>
                        <a:pt x="183" y="79"/>
                      </a:lnTo>
                      <a:lnTo>
                        <a:pt x="179" y="77"/>
                      </a:lnTo>
                      <a:lnTo>
                        <a:pt x="174" y="77"/>
                      </a:lnTo>
                      <a:lnTo>
                        <a:pt x="167" y="79"/>
                      </a:lnTo>
                      <a:lnTo>
                        <a:pt x="167" y="79"/>
                      </a:lnTo>
                      <a:lnTo>
                        <a:pt x="160" y="82"/>
                      </a:lnTo>
                      <a:lnTo>
                        <a:pt x="158" y="86"/>
                      </a:lnTo>
                      <a:lnTo>
                        <a:pt x="157" y="91"/>
                      </a:lnTo>
                      <a:lnTo>
                        <a:pt x="155" y="95"/>
                      </a:lnTo>
                      <a:lnTo>
                        <a:pt x="155" y="103"/>
                      </a:lnTo>
                      <a:lnTo>
                        <a:pt x="153" y="108"/>
                      </a:lnTo>
                      <a:lnTo>
                        <a:pt x="151" y="112"/>
                      </a:lnTo>
                      <a:lnTo>
                        <a:pt x="151" y="112"/>
                      </a:lnTo>
                      <a:lnTo>
                        <a:pt x="150" y="115"/>
                      </a:lnTo>
                      <a:lnTo>
                        <a:pt x="148" y="117"/>
                      </a:lnTo>
                      <a:lnTo>
                        <a:pt x="150" y="121"/>
                      </a:lnTo>
                      <a:lnTo>
                        <a:pt x="151" y="124"/>
                      </a:lnTo>
                      <a:lnTo>
                        <a:pt x="151" y="126"/>
                      </a:lnTo>
                      <a:lnTo>
                        <a:pt x="150" y="128"/>
                      </a:lnTo>
                      <a:lnTo>
                        <a:pt x="150" y="128"/>
                      </a:lnTo>
                      <a:lnTo>
                        <a:pt x="148" y="133"/>
                      </a:lnTo>
                      <a:lnTo>
                        <a:pt x="148" y="136"/>
                      </a:lnTo>
                      <a:lnTo>
                        <a:pt x="146" y="140"/>
                      </a:lnTo>
                      <a:lnTo>
                        <a:pt x="144" y="143"/>
                      </a:lnTo>
                      <a:lnTo>
                        <a:pt x="144" y="143"/>
                      </a:lnTo>
                      <a:lnTo>
                        <a:pt x="143" y="143"/>
                      </a:lnTo>
                      <a:lnTo>
                        <a:pt x="143" y="142"/>
                      </a:lnTo>
                      <a:lnTo>
                        <a:pt x="141" y="135"/>
                      </a:lnTo>
                      <a:lnTo>
                        <a:pt x="139" y="133"/>
                      </a:lnTo>
                      <a:lnTo>
                        <a:pt x="139" y="131"/>
                      </a:lnTo>
                      <a:lnTo>
                        <a:pt x="136" y="140"/>
                      </a:lnTo>
                      <a:lnTo>
                        <a:pt x="136" y="140"/>
                      </a:lnTo>
                      <a:lnTo>
                        <a:pt x="134" y="157"/>
                      </a:lnTo>
                      <a:lnTo>
                        <a:pt x="134" y="169"/>
                      </a:lnTo>
                      <a:lnTo>
                        <a:pt x="134" y="16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4" name="Freeform 2051">
                  <a:extLst>
                    <a:ext uri="{FF2B5EF4-FFF2-40B4-BE49-F238E27FC236}">
                      <a16:creationId xmlns:a16="http://schemas.microsoft.com/office/drawing/2014/main" id="{C53D15EA-BE79-F02F-7FC2-78C909E5BBD8}"/>
                    </a:ext>
                  </a:extLst>
                </p:cNvPr>
                <p:cNvSpPr>
                  <a:spLocks/>
                </p:cNvSpPr>
                <p:nvPr/>
              </p:nvSpPr>
              <p:spPr bwMode="auto">
                <a:xfrm>
                  <a:off x="5944333" y="3049312"/>
                  <a:ext cx="89862" cy="95148"/>
                </a:xfrm>
                <a:custGeom>
                  <a:avLst/>
                  <a:gdLst/>
                  <a:ahLst/>
                  <a:cxnLst>
                    <a:cxn ang="0">
                      <a:pos x="108" y="111"/>
                    </a:cxn>
                    <a:cxn ang="0">
                      <a:pos x="106" y="104"/>
                    </a:cxn>
                    <a:cxn ang="0">
                      <a:pos x="105" y="101"/>
                    </a:cxn>
                    <a:cxn ang="0">
                      <a:pos x="112" y="99"/>
                    </a:cxn>
                    <a:cxn ang="0">
                      <a:pos x="105" y="92"/>
                    </a:cxn>
                    <a:cxn ang="0">
                      <a:pos x="105" y="87"/>
                    </a:cxn>
                    <a:cxn ang="0">
                      <a:pos x="110" y="83"/>
                    </a:cxn>
                    <a:cxn ang="0">
                      <a:pos x="105" y="82"/>
                    </a:cxn>
                    <a:cxn ang="0">
                      <a:pos x="92" y="78"/>
                    </a:cxn>
                    <a:cxn ang="0">
                      <a:pos x="82" y="66"/>
                    </a:cxn>
                    <a:cxn ang="0">
                      <a:pos x="77" y="63"/>
                    </a:cxn>
                    <a:cxn ang="0">
                      <a:pos x="85" y="61"/>
                    </a:cxn>
                    <a:cxn ang="0">
                      <a:pos x="89" y="52"/>
                    </a:cxn>
                    <a:cxn ang="0">
                      <a:pos x="72" y="36"/>
                    </a:cxn>
                    <a:cxn ang="0">
                      <a:pos x="70" y="28"/>
                    </a:cxn>
                    <a:cxn ang="0">
                      <a:pos x="77" y="22"/>
                    </a:cxn>
                    <a:cxn ang="0">
                      <a:pos x="66" y="12"/>
                    </a:cxn>
                    <a:cxn ang="0">
                      <a:pos x="56" y="0"/>
                    </a:cxn>
                    <a:cxn ang="0">
                      <a:pos x="31" y="3"/>
                    </a:cxn>
                    <a:cxn ang="0">
                      <a:pos x="26" y="3"/>
                    </a:cxn>
                    <a:cxn ang="0">
                      <a:pos x="2" y="9"/>
                    </a:cxn>
                    <a:cxn ang="0">
                      <a:pos x="0" y="9"/>
                    </a:cxn>
                    <a:cxn ang="0">
                      <a:pos x="7" y="19"/>
                    </a:cxn>
                    <a:cxn ang="0">
                      <a:pos x="11" y="29"/>
                    </a:cxn>
                    <a:cxn ang="0">
                      <a:pos x="5" y="47"/>
                    </a:cxn>
                    <a:cxn ang="0">
                      <a:pos x="9" y="54"/>
                    </a:cxn>
                    <a:cxn ang="0">
                      <a:pos x="7" y="57"/>
                    </a:cxn>
                    <a:cxn ang="0">
                      <a:pos x="23" y="61"/>
                    </a:cxn>
                    <a:cxn ang="0">
                      <a:pos x="38" y="66"/>
                    </a:cxn>
                    <a:cxn ang="0">
                      <a:pos x="47" y="76"/>
                    </a:cxn>
                    <a:cxn ang="0">
                      <a:pos x="56" y="73"/>
                    </a:cxn>
                    <a:cxn ang="0">
                      <a:pos x="59" y="80"/>
                    </a:cxn>
                    <a:cxn ang="0">
                      <a:pos x="61" y="83"/>
                    </a:cxn>
                    <a:cxn ang="0">
                      <a:pos x="66" y="83"/>
                    </a:cxn>
                    <a:cxn ang="0">
                      <a:pos x="70" y="87"/>
                    </a:cxn>
                    <a:cxn ang="0">
                      <a:pos x="78" y="83"/>
                    </a:cxn>
                    <a:cxn ang="0">
                      <a:pos x="82" y="83"/>
                    </a:cxn>
                    <a:cxn ang="0">
                      <a:pos x="82" y="90"/>
                    </a:cxn>
                    <a:cxn ang="0">
                      <a:pos x="87" y="96"/>
                    </a:cxn>
                    <a:cxn ang="0">
                      <a:pos x="91" y="97"/>
                    </a:cxn>
                    <a:cxn ang="0">
                      <a:pos x="96" y="116"/>
                    </a:cxn>
                    <a:cxn ang="0">
                      <a:pos x="101" y="115"/>
                    </a:cxn>
                    <a:cxn ang="0">
                      <a:pos x="108" y="116"/>
                    </a:cxn>
                  </a:cxnLst>
                  <a:rect l="0" t="0" r="r" b="b"/>
                  <a:pathLst>
                    <a:path w="112" h="116">
                      <a:moveTo>
                        <a:pt x="108" y="116"/>
                      </a:moveTo>
                      <a:lnTo>
                        <a:pt x="108" y="116"/>
                      </a:lnTo>
                      <a:lnTo>
                        <a:pt x="108" y="111"/>
                      </a:lnTo>
                      <a:lnTo>
                        <a:pt x="108" y="108"/>
                      </a:lnTo>
                      <a:lnTo>
                        <a:pt x="108" y="108"/>
                      </a:lnTo>
                      <a:lnTo>
                        <a:pt x="106" y="104"/>
                      </a:lnTo>
                      <a:lnTo>
                        <a:pt x="105" y="103"/>
                      </a:lnTo>
                      <a:lnTo>
                        <a:pt x="105" y="103"/>
                      </a:lnTo>
                      <a:lnTo>
                        <a:pt x="105" y="101"/>
                      </a:lnTo>
                      <a:lnTo>
                        <a:pt x="106" y="99"/>
                      </a:lnTo>
                      <a:lnTo>
                        <a:pt x="112" y="99"/>
                      </a:lnTo>
                      <a:lnTo>
                        <a:pt x="112" y="99"/>
                      </a:lnTo>
                      <a:lnTo>
                        <a:pt x="110" y="97"/>
                      </a:lnTo>
                      <a:lnTo>
                        <a:pt x="108" y="94"/>
                      </a:lnTo>
                      <a:lnTo>
                        <a:pt x="105" y="92"/>
                      </a:lnTo>
                      <a:lnTo>
                        <a:pt x="103" y="89"/>
                      </a:lnTo>
                      <a:lnTo>
                        <a:pt x="103" y="89"/>
                      </a:lnTo>
                      <a:lnTo>
                        <a:pt x="105" y="87"/>
                      </a:lnTo>
                      <a:lnTo>
                        <a:pt x="106" y="87"/>
                      </a:lnTo>
                      <a:lnTo>
                        <a:pt x="108" y="87"/>
                      </a:lnTo>
                      <a:lnTo>
                        <a:pt x="110" y="83"/>
                      </a:lnTo>
                      <a:lnTo>
                        <a:pt x="110" y="83"/>
                      </a:lnTo>
                      <a:lnTo>
                        <a:pt x="108" y="82"/>
                      </a:lnTo>
                      <a:lnTo>
                        <a:pt x="105" y="82"/>
                      </a:lnTo>
                      <a:lnTo>
                        <a:pt x="98" y="82"/>
                      </a:lnTo>
                      <a:lnTo>
                        <a:pt x="98" y="82"/>
                      </a:lnTo>
                      <a:lnTo>
                        <a:pt x="92" y="78"/>
                      </a:lnTo>
                      <a:lnTo>
                        <a:pt x="89" y="73"/>
                      </a:lnTo>
                      <a:lnTo>
                        <a:pt x="85" y="69"/>
                      </a:lnTo>
                      <a:lnTo>
                        <a:pt x="82" y="66"/>
                      </a:lnTo>
                      <a:lnTo>
                        <a:pt x="75" y="63"/>
                      </a:lnTo>
                      <a:lnTo>
                        <a:pt x="75" y="63"/>
                      </a:lnTo>
                      <a:lnTo>
                        <a:pt x="77" y="63"/>
                      </a:lnTo>
                      <a:lnTo>
                        <a:pt x="80" y="61"/>
                      </a:lnTo>
                      <a:lnTo>
                        <a:pt x="85" y="61"/>
                      </a:lnTo>
                      <a:lnTo>
                        <a:pt x="85" y="61"/>
                      </a:lnTo>
                      <a:lnTo>
                        <a:pt x="87" y="57"/>
                      </a:lnTo>
                      <a:lnTo>
                        <a:pt x="89" y="52"/>
                      </a:lnTo>
                      <a:lnTo>
                        <a:pt x="89" y="52"/>
                      </a:lnTo>
                      <a:lnTo>
                        <a:pt x="82" y="45"/>
                      </a:lnTo>
                      <a:lnTo>
                        <a:pt x="72" y="36"/>
                      </a:lnTo>
                      <a:lnTo>
                        <a:pt x="72" y="36"/>
                      </a:lnTo>
                      <a:lnTo>
                        <a:pt x="68" y="33"/>
                      </a:lnTo>
                      <a:lnTo>
                        <a:pt x="68" y="29"/>
                      </a:lnTo>
                      <a:lnTo>
                        <a:pt x="70" y="28"/>
                      </a:lnTo>
                      <a:lnTo>
                        <a:pt x="72" y="26"/>
                      </a:lnTo>
                      <a:lnTo>
                        <a:pt x="75" y="24"/>
                      </a:lnTo>
                      <a:lnTo>
                        <a:pt x="77" y="22"/>
                      </a:lnTo>
                      <a:lnTo>
                        <a:pt x="77" y="21"/>
                      </a:lnTo>
                      <a:lnTo>
                        <a:pt x="77" y="21"/>
                      </a:lnTo>
                      <a:lnTo>
                        <a:pt x="66" y="12"/>
                      </a:lnTo>
                      <a:lnTo>
                        <a:pt x="59" y="5"/>
                      </a:lnTo>
                      <a:lnTo>
                        <a:pt x="56" y="0"/>
                      </a:lnTo>
                      <a:lnTo>
                        <a:pt x="56" y="0"/>
                      </a:lnTo>
                      <a:lnTo>
                        <a:pt x="51" y="3"/>
                      </a:lnTo>
                      <a:lnTo>
                        <a:pt x="51" y="3"/>
                      </a:lnTo>
                      <a:lnTo>
                        <a:pt x="31" y="3"/>
                      </a:lnTo>
                      <a:lnTo>
                        <a:pt x="31" y="3"/>
                      </a:lnTo>
                      <a:lnTo>
                        <a:pt x="26" y="3"/>
                      </a:lnTo>
                      <a:lnTo>
                        <a:pt x="26" y="3"/>
                      </a:lnTo>
                      <a:lnTo>
                        <a:pt x="14" y="7"/>
                      </a:lnTo>
                      <a:lnTo>
                        <a:pt x="7" y="9"/>
                      </a:lnTo>
                      <a:lnTo>
                        <a:pt x="2" y="9"/>
                      </a:lnTo>
                      <a:lnTo>
                        <a:pt x="2" y="9"/>
                      </a:lnTo>
                      <a:lnTo>
                        <a:pt x="0" y="9"/>
                      </a:lnTo>
                      <a:lnTo>
                        <a:pt x="0" y="9"/>
                      </a:lnTo>
                      <a:lnTo>
                        <a:pt x="0" y="12"/>
                      </a:lnTo>
                      <a:lnTo>
                        <a:pt x="0" y="12"/>
                      </a:lnTo>
                      <a:lnTo>
                        <a:pt x="7" y="19"/>
                      </a:lnTo>
                      <a:lnTo>
                        <a:pt x="11" y="24"/>
                      </a:lnTo>
                      <a:lnTo>
                        <a:pt x="11" y="29"/>
                      </a:lnTo>
                      <a:lnTo>
                        <a:pt x="11" y="29"/>
                      </a:lnTo>
                      <a:lnTo>
                        <a:pt x="7" y="38"/>
                      </a:lnTo>
                      <a:lnTo>
                        <a:pt x="5" y="42"/>
                      </a:lnTo>
                      <a:lnTo>
                        <a:pt x="5" y="47"/>
                      </a:lnTo>
                      <a:lnTo>
                        <a:pt x="5" y="47"/>
                      </a:lnTo>
                      <a:lnTo>
                        <a:pt x="7" y="50"/>
                      </a:lnTo>
                      <a:lnTo>
                        <a:pt x="9" y="54"/>
                      </a:lnTo>
                      <a:lnTo>
                        <a:pt x="9" y="54"/>
                      </a:lnTo>
                      <a:lnTo>
                        <a:pt x="7" y="56"/>
                      </a:lnTo>
                      <a:lnTo>
                        <a:pt x="7" y="57"/>
                      </a:lnTo>
                      <a:lnTo>
                        <a:pt x="7" y="57"/>
                      </a:lnTo>
                      <a:lnTo>
                        <a:pt x="16" y="59"/>
                      </a:lnTo>
                      <a:lnTo>
                        <a:pt x="23" y="61"/>
                      </a:lnTo>
                      <a:lnTo>
                        <a:pt x="31" y="63"/>
                      </a:lnTo>
                      <a:lnTo>
                        <a:pt x="35" y="63"/>
                      </a:lnTo>
                      <a:lnTo>
                        <a:pt x="38" y="66"/>
                      </a:lnTo>
                      <a:lnTo>
                        <a:pt x="38" y="66"/>
                      </a:lnTo>
                      <a:lnTo>
                        <a:pt x="47" y="76"/>
                      </a:lnTo>
                      <a:lnTo>
                        <a:pt x="47" y="76"/>
                      </a:lnTo>
                      <a:lnTo>
                        <a:pt x="51" y="75"/>
                      </a:lnTo>
                      <a:lnTo>
                        <a:pt x="56" y="73"/>
                      </a:lnTo>
                      <a:lnTo>
                        <a:pt x="56" y="73"/>
                      </a:lnTo>
                      <a:lnTo>
                        <a:pt x="59" y="73"/>
                      </a:lnTo>
                      <a:lnTo>
                        <a:pt x="59" y="75"/>
                      </a:lnTo>
                      <a:lnTo>
                        <a:pt x="59" y="80"/>
                      </a:lnTo>
                      <a:lnTo>
                        <a:pt x="59" y="83"/>
                      </a:lnTo>
                      <a:lnTo>
                        <a:pt x="61" y="83"/>
                      </a:lnTo>
                      <a:lnTo>
                        <a:pt x="61" y="83"/>
                      </a:lnTo>
                      <a:lnTo>
                        <a:pt x="61" y="83"/>
                      </a:lnTo>
                      <a:lnTo>
                        <a:pt x="66" y="82"/>
                      </a:lnTo>
                      <a:lnTo>
                        <a:pt x="66" y="83"/>
                      </a:lnTo>
                      <a:lnTo>
                        <a:pt x="68" y="85"/>
                      </a:lnTo>
                      <a:lnTo>
                        <a:pt x="70" y="87"/>
                      </a:lnTo>
                      <a:lnTo>
                        <a:pt x="70" y="87"/>
                      </a:lnTo>
                      <a:lnTo>
                        <a:pt x="73" y="85"/>
                      </a:lnTo>
                      <a:lnTo>
                        <a:pt x="75" y="83"/>
                      </a:lnTo>
                      <a:lnTo>
                        <a:pt x="78" y="83"/>
                      </a:lnTo>
                      <a:lnTo>
                        <a:pt x="80" y="82"/>
                      </a:lnTo>
                      <a:lnTo>
                        <a:pt x="80" y="82"/>
                      </a:lnTo>
                      <a:lnTo>
                        <a:pt x="82" y="83"/>
                      </a:lnTo>
                      <a:lnTo>
                        <a:pt x="84" y="83"/>
                      </a:lnTo>
                      <a:lnTo>
                        <a:pt x="84" y="87"/>
                      </a:lnTo>
                      <a:lnTo>
                        <a:pt x="82" y="90"/>
                      </a:lnTo>
                      <a:lnTo>
                        <a:pt x="82" y="92"/>
                      </a:lnTo>
                      <a:lnTo>
                        <a:pt x="82" y="92"/>
                      </a:lnTo>
                      <a:lnTo>
                        <a:pt x="87" y="96"/>
                      </a:lnTo>
                      <a:lnTo>
                        <a:pt x="89" y="96"/>
                      </a:lnTo>
                      <a:lnTo>
                        <a:pt x="91" y="97"/>
                      </a:lnTo>
                      <a:lnTo>
                        <a:pt x="91" y="97"/>
                      </a:lnTo>
                      <a:lnTo>
                        <a:pt x="91" y="103"/>
                      </a:lnTo>
                      <a:lnTo>
                        <a:pt x="91" y="108"/>
                      </a:lnTo>
                      <a:lnTo>
                        <a:pt x="96" y="116"/>
                      </a:lnTo>
                      <a:lnTo>
                        <a:pt x="96" y="116"/>
                      </a:lnTo>
                      <a:lnTo>
                        <a:pt x="101" y="115"/>
                      </a:lnTo>
                      <a:lnTo>
                        <a:pt x="101" y="115"/>
                      </a:lnTo>
                      <a:lnTo>
                        <a:pt x="105" y="115"/>
                      </a:lnTo>
                      <a:lnTo>
                        <a:pt x="108" y="116"/>
                      </a:lnTo>
                      <a:lnTo>
                        <a:pt x="108" y="1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5" name="Freeform 2052">
                  <a:extLst>
                    <a:ext uri="{FF2B5EF4-FFF2-40B4-BE49-F238E27FC236}">
                      <a16:creationId xmlns:a16="http://schemas.microsoft.com/office/drawing/2014/main" id="{0C6DEA3F-620E-77AC-4251-C78A5718421A}"/>
                    </a:ext>
                  </a:extLst>
                </p:cNvPr>
                <p:cNvSpPr>
                  <a:spLocks/>
                </p:cNvSpPr>
                <p:nvPr/>
              </p:nvSpPr>
              <p:spPr bwMode="auto">
                <a:xfrm>
                  <a:off x="5845659" y="2962973"/>
                  <a:ext cx="190298" cy="96910"/>
                </a:xfrm>
                <a:custGeom>
                  <a:avLst/>
                  <a:gdLst/>
                  <a:ahLst/>
                  <a:cxnLst>
                    <a:cxn ang="0">
                      <a:pos x="129" y="119"/>
                    </a:cxn>
                    <a:cxn ang="0">
                      <a:pos x="148" y="113"/>
                    </a:cxn>
                    <a:cxn ang="0">
                      <a:pos x="173" y="113"/>
                    </a:cxn>
                    <a:cxn ang="0">
                      <a:pos x="178" y="110"/>
                    </a:cxn>
                    <a:cxn ang="0">
                      <a:pos x="188" y="101"/>
                    </a:cxn>
                    <a:cxn ang="0">
                      <a:pos x="204" y="106"/>
                    </a:cxn>
                    <a:cxn ang="0">
                      <a:pos x="204" y="113"/>
                    </a:cxn>
                    <a:cxn ang="0">
                      <a:pos x="213" y="115"/>
                    </a:cxn>
                    <a:cxn ang="0">
                      <a:pos x="220" y="115"/>
                    </a:cxn>
                    <a:cxn ang="0">
                      <a:pos x="230" y="120"/>
                    </a:cxn>
                    <a:cxn ang="0">
                      <a:pos x="237" y="113"/>
                    </a:cxn>
                    <a:cxn ang="0">
                      <a:pos x="221" y="98"/>
                    </a:cxn>
                    <a:cxn ang="0">
                      <a:pos x="220" y="94"/>
                    </a:cxn>
                    <a:cxn ang="0">
                      <a:pos x="223" y="85"/>
                    </a:cxn>
                    <a:cxn ang="0">
                      <a:pos x="227" y="78"/>
                    </a:cxn>
                    <a:cxn ang="0">
                      <a:pos x="202" y="68"/>
                    </a:cxn>
                    <a:cxn ang="0">
                      <a:pos x="200" y="63"/>
                    </a:cxn>
                    <a:cxn ang="0">
                      <a:pos x="204" y="51"/>
                    </a:cxn>
                    <a:cxn ang="0">
                      <a:pos x="197" y="49"/>
                    </a:cxn>
                    <a:cxn ang="0">
                      <a:pos x="185" y="42"/>
                    </a:cxn>
                    <a:cxn ang="0">
                      <a:pos x="176" y="38"/>
                    </a:cxn>
                    <a:cxn ang="0">
                      <a:pos x="160" y="38"/>
                    </a:cxn>
                    <a:cxn ang="0">
                      <a:pos x="153" y="38"/>
                    </a:cxn>
                    <a:cxn ang="0">
                      <a:pos x="140" y="49"/>
                    </a:cxn>
                    <a:cxn ang="0">
                      <a:pos x="133" y="45"/>
                    </a:cxn>
                    <a:cxn ang="0">
                      <a:pos x="134" y="40"/>
                    </a:cxn>
                    <a:cxn ang="0">
                      <a:pos x="126" y="35"/>
                    </a:cxn>
                    <a:cxn ang="0">
                      <a:pos x="103" y="19"/>
                    </a:cxn>
                    <a:cxn ang="0">
                      <a:pos x="96" y="19"/>
                    </a:cxn>
                    <a:cxn ang="0">
                      <a:pos x="82" y="14"/>
                    </a:cxn>
                    <a:cxn ang="0">
                      <a:pos x="72" y="16"/>
                    </a:cxn>
                    <a:cxn ang="0">
                      <a:pos x="58" y="18"/>
                    </a:cxn>
                    <a:cxn ang="0">
                      <a:pos x="49" y="11"/>
                    </a:cxn>
                    <a:cxn ang="0">
                      <a:pos x="40" y="9"/>
                    </a:cxn>
                    <a:cxn ang="0">
                      <a:pos x="28" y="0"/>
                    </a:cxn>
                    <a:cxn ang="0">
                      <a:pos x="23" y="0"/>
                    </a:cxn>
                    <a:cxn ang="0">
                      <a:pos x="5" y="4"/>
                    </a:cxn>
                    <a:cxn ang="0">
                      <a:pos x="7" y="14"/>
                    </a:cxn>
                    <a:cxn ang="0">
                      <a:pos x="32" y="25"/>
                    </a:cxn>
                    <a:cxn ang="0">
                      <a:pos x="37" y="31"/>
                    </a:cxn>
                    <a:cxn ang="0">
                      <a:pos x="47" y="38"/>
                    </a:cxn>
                    <a:cxn ang="0">
                      <a:pos x="56" y="51"/>
                    </a:cxn>
                    <a:cxn ang="0">
                      <a:pos x="61" y="78"/>
                    </a:cxn>
                    <a:cxn ang="0">
                      <a:pos x="56" y="101"/>
                    </a:cxn>
                    <a:cxn ang="0">
                      <a:pos x="65" y="103"/>
                    </a:cxn>
                    <a:cxn ang="0">
                      <a:pos x="70" y="99"/>
                    </a:cxn>
                    <a:cxn ang="0">
                      <a:pos x="86" y="103"/>
                    </a:cxn>
                    <a:cxn ang="0">
                      <a:pos x="93" y="96"/>
                    </a:cxn>
                    <a:cxn ang="0">
                      <a:pos x="98" y="96"/>
                    </a:cxn>
                    <a:cxn ang="0">
                      <a:pos x="112" y="108"/>
                    </a:cxn>
                    <a:cxn ang="0">
                      <a:pos x="113" y="113"/>
                    </a:cxn>
                    <a:cxn ang="0">
                      <a:pos x="117" y="115"/>
                    </a:cxn>
                    <a:cxn ang="0">
                      <a:pos x="122" y="117"/>
                    </a:cxn>
                    <a:cxn ang="0">
                      <a:pos x="124" y="119"/>
                    </a:cxn>
                  </a:cxnLst>
                  <a:rect l="0" t="0" r="r" b="b"/>
                  <a:pathLst>
                    <a:path w="237" h="120">
                      <a:moveTo>
                        <a:pt x="124" y="119"/>
                      </a:moveTo>
                      <a:lnTo>
                        <a:pt x="124" y="119"/>
                      </a:lnTo>
                      <a:lnTo>
                        <a:pt x="129" y="119"/>
                      </a:lnTo>
                      <a:lnTo>
                        <a:pt x="136" y="117"/>
                      </a:lnTo>
                      <a:lnTo>
                        <a:pt x="148" y="113"/>
                      </a:lnTo>
                      <a:lnTo>
                        <a:pt x="148" y="113"/>
                      </a:lnTo>
                      <a:lnTo>
                        <a:pt x="153" y="113"/>
                      </a:lnTo>
                      <a:lnTo>
                        <a:pt x="153" y="113"/>
                      </a:lnTo>
                      <a:lnTo>
                        <a:pt x="173" y="113"/>
                      </a:lnTo>
                      <a:lnTo>
                        <a:pt x="173" y="113"/>
                      </a:lnTo>
                      <a:lnTo>
                        <a:pt x="178" y="110"/>
                      </a:lnTo>
                      <a:lnTo>
                        <a:pt x="178" y="110"/>
                      </a:lnTo>
                      <a:lnTo>
                        <a:pt x="183" y="105"/>
                      </a:lnTo>
                      <a:lnTo>
                        <a:pt x="185" y="103"/>
                      </a:lnTo>
                      <a:lnTo>
                        <a:pt x="188" y="101"/>
                      </a:lnTo>
                      <a:lnTo>
                        <a:pt x="188" y="101"/>
                      </a:lnTo>
                      <a:lnTo>
                        <a:pt x="197" y="105"/>
                      </a:lnTo>
                      <a:lnTo>
                        <a:pt x="204" y="106"/>
                      </a:lnTo>
                      <a:lnTo>
                        <a:pt x="204" y="106"/>
                      </a:lnTo>
                      <a:lnTo>
                        <a:pt x="202" y="110"/>
                      </a:lnTo>
                      <a:lnTo>
                        <a:pt x="204" y="113"/>
                      </a:lnTo>
                      <a:lnTo>
                        <a:pt x="209" y="115"/>
                      </a:lnTo>
                      <a:lnTo>
                        <a:pt x="209" y="115"/>
                      </a:lnTo>
                      <a:lnTo>
                        <a:pt x="213" y="115"/>
                      </a:lnTo>
                      <a:lnTo>
                        <a:pt x="214" y="115"/>
                      </a:lnTo>
                      <a:lnTo>
                        <a:pt x="220" y="115"/>
                      </a:lnTo>
                      <a:lnTo>
                        <a:pt x="220" y="115"/>
                      </a:lnTo>
                      <a:lnTo>
                        <a:pt x="225" y="117"/>
                      </a:lnTo>
                      <a:lnTo>
                        <a:pt x="227" y="120"/>
                      </a:lnTo>
                      <a:lnTo>
                        <a:pt x="230" y="120"/>
                      </a:lnTo>
                      <a:lnTo>
                        <a:pt x="235" y="117"/>
                      </a:lnTo>
                      <a:lnTo>
                        <a:pt x="235" y="117"/>
                      </a:lnTo>
                      <a:lnTo>
                        <a:pt x="237" y="113"/>
                      </a:lnTo>
                      <a:lnTo>
                        <a:pt x="235" y="110"/>
                      </a:lnTo>
                      <a:lnTo>
                        <a:pt x="232" y="105"/>
                      </a:lnTo>
                      <a:lnTo>
                        <a:pt x="221" y="98"/>
                      </a:lnTo>
                      <a:lnTo>
                        <a:pt x="221" y="98"/>
                      </a:lnTo>
                      <a:lnTo>
                        <a:pt x="220" y="96"/>
                      </a:lnTo>
                      <a:lnTo>
                        <a:pt x="220" y="94"/>
                      </a:lnTo>
                      <a:lnTo>
                        <a:pt x="220" y="94"/>
                      </a:lnTo>
                      <a:lnTo>
                        <a:pt x="220" y="89"/>
                      </a:lnTo>
                      <a:lnTo>
                        <a:pt x="223" y="85"/>
                      </a:lnTo>
                      <a:lnTo>
                        <a:pt x="225" y="82"/>
                      </a:lnTo>
                      <a:lnTo>
                        <a:pt x="227" y="78"/>
                      </a:lnTo>
                      <a:lnTo>
                        <a:pt x="227" y="78"/>
                      </a:lnTo>
                      <a:lnTo>
                        <a:pt x="216" y="75"/>
                      </a:lnTo>
                      <a:lnTo>
                        <a:pt x="209" y="73"/>
                      </a:lnTo>
                      <a:lnTo>
                        <a:pt x="202" y="68"/>
                      </a:lnTo>
                      <a:lnTo>
                        <a:pt x="202" y="68"/>
                      </a:lnTo>
                      <a:lnTo>
                        <a:pt x="200" y="65"/>
                      </a:lnTo>
                      <a:lnTo>
                        <a:pt x="200" y="63"/>
                      </a:lnTo>
                      <a:lnTo>
                        <a:pt x="202" y="56"/>
                      </a:lnTo>
                      <a:lnTo>
                        <a:pt x="204" y="54"/>
                      </a:lnTo>
                      <a:lnTo>
                        <a:pt x="204" y="51"/>
                      </a:lnTo>
                      <a:lnTo>
                        <a:pt x="202" y="49"/>
                      </a:lnTo>
                      <a:lnTo>
                        <a:pt x="197" y="49"/>
                      </a:lnTo>
                      <a:lnTo>
                        <a:pt x="197" y="49"/>
                      </a:lnTo>
                      <a:lnTo>
                        <a:pt x="190" y="49"/>
                      </a:lnTo>
                      <a:lnTo>
                        <a:pt x="187" y="45"/>
                      </a:lnTo>
                      <a:lnTo>
                        <a:pt x="185" y="42"/>
                      </a:lnTo>
                      <a:lnTo>
                        <a:pt x="181" y="40"/>
                      </a:lnTo>
                      <a:lnTo>
                        <a:pt x="181" y="40"/>
                      </a:lnTo>
                      <a:lnTo>
                        <a:pt x="176" y="38"/>
                      </a:lnTo>
                      <a:lnTo>
                        <a:pt x="173" y="40"/>
                      </a:lnTo>
                      <a:lnTo>
                        <a:pt x="169" y="42"/>
                      </a:lnTo>
                      <a:lnTo>
                        <a:pt x="160" y="38"/>
                      </a:lnTo>
                      <a:lnTo>
                        <a:pt x="160" y="38"/>
                      </a:lnTo>
                      <a:lnTo>
                        <a:pt x="157" y="38"/>
                      </a:lnTo>
                      <a:lnTo>
                        <a:pt x="153" y="38"/>
                      </a:lnTo>
                      <a:lnTo>
                        <a:pt x="148" y="44"/>
                      </a:lnTo>
                      <a:lnTo>
                        <a:pt x="143" y="49"/>
                      </a:lnTo>
                      <a:lnTo>
                        <a:pt x="140" y="49"/>
                      </a:lnTo>
                      <a:lnTo>
                        <a:pt x="136" y="49"/>
                      </a:lnTo>
                      <a:lnTo>
                        <a:pt x="136" y="49"/>
                      </a:lnTo>
                      <a:lnTo>
                        <a:pt x="133" y="45"/>
                      </a:lnTo>
                      <a:lnTo>
                        <a:pt x="133" y="44"/>
                      </a:lnTo>
                      <a:lnTo>
                        <a:pt x="134" y="42"/>
                      </a:lnTo>
                      <a:lnTo>
                        <a:pt x="134" y="40"/>
                      </a:lnTo>
                      <a:lnTo>
                        <a:pt x="134" y="38"/>
                      </a:lnTo>
                      <a:lnTo>
                        <a:pt x="126" y="35"/>
                      </a:lnTo>
                      <a:lnTo>
                        <a:pt x="126" y="35"/>
                      </a:lnTo>
                      <a:lnTo>
                        <a:pt x="115" y="28"/>
                      </a:lnTo>
                      <a:lnTo>
                        <a:pt x="106" y="23"/>
                      </a:lnTo>
                      <a:lnTo>
                        <a:pt x="103" y="19"/>
                      </a:lnTo>
                      <a:lnTo>
                        <a:pt x="98" y="19"/>
                      </a:lnTo>
                      <a:lnTo>
                        <a:pt x="98" y="19"/>
                      </a:lnTo>
                      <a:lnTo>
                        <a:pt x="96" y="19"/>
                      </a:lnTo>
                      <a:lnTo>
                        <a:pt x="93" y="19"/>
                      </a:lnTo>
                      <a:lnTo>
                        <a:pt x="87" y="16"/>
                      </a:lnTo>
                      <a:lnTo>
                        <a:pt x="82" y="14"/>
                      </a:lnTo>
                      <a:lnTo>
                        <a:pt x="77" y="14"/>
                      </a:lnTo>
                      <a:lnTo>
                        <a:pt x="72" y="16"/>
                      </a:lnTo>
                      <a:lnTo>
                        <a:pt x="72" y="16"/>
                      </a:lnTo>
                      <a:lnTo>
                        <a:pt x="66" y="18"/>
                      </a:lnTo>
                      <a:lnTo>
                        <a:pt x="61" y="18"/>
                      </a:lnTo>
                      <a:lnTo>
                        <a:pt x="58" y="18"/>
                      </a:lnTo>
                      <a:lnTo>
                        <a:pt x="56" y="16"/>
                      </a:lnTo>
                      <a:lnTo>
                        <a:pt x="51" y="12"/>
                      </a:lnTo>
                      <a:lnTo>
                        <a:pt x="49" y="11"/>
                      </a:lnTo>
                      <a:lnTo>
                        <a:pt x="46" y="11"/>
                      </a:lnTo>
                      <a:lnTo>
                        <a:pt x="46" y="11"/>
                      </a:lnTo>
                      <a:lnTo>
                        <a:pt x="40" y="9"/>
                      </a:lnTo>
                      <a:lnTo>
                        <a:pt x="39" y="7"/>
                      </a:lnTo>
                      <a:lnTo>
                        <a:pt x="33" y="4"/>
                      </a:lnTo>
                      <a:lnTo>
                        <a:pt x="28" y="0"/>
                      </a:lnTo>
                      <a:lnTo>
                        <a:pt x="26" y="0"/>
                      </a:lnTo>
                      <a:lnTo>
                        <a:pt x="23" y="0"/>
                      </a:lnTo>
                      <a:lnTo>
                        <a:pt x="23" y="0"/>
                      </a:lnTo>
                      <a:lnTo>
                        <a:pt x="18" y="0"/>
                      </a:lnTo>
                      <a:lnTo>
                        <a:pt x="11" y="2"/>
                      </a:lnTo>
                      <a:lnTo>
                        <a:pt x="5" y="4"/>
                      </a:lnTo>
                      <a:lnTo>
                        <a:pt x="0" y="7"/>
                      </a:lnTo>
                      <a:lnTo>
                        <a:pt x="0" y="7"/>
                      </a:lnTo>
                      <a:lnTo>
                        <a:pt x="7" y="14"/>
                      </a:lnTo>
                      <a:lnTo>
                        <a:pt x="14" y="18"/>
                      </a:lnTo>
                      <a:lnTo>
                        <a:pt x="25" y="23"/>
                      </a:lnTo>
                      <a:lnTo>
                        <a:pt x="32" y="25"/>
                      </a:lnTo>
                      <a:lnTo>
                        <a:pt x="35" y="28"/>
                      </a:lnTo>
                      <a:lnTo>
                        <a:pt x="37" y="31"/>
                      </a:lnTo>
                      <a:lnTo>
                        <a:pt x="37" y="31"/>
                      </a:lnTo>
                      <a:lnTo>
                        <a:pt x="40" y="35"/>
                      </a:lnTo>
                      <a:lnTo>
                        <a:pt x="42" y="37"/>
                      </a:lnTo>
                      <a:lnTo>
                        <a:pt x="47" y="38"/>
                      </a:lnTo>
                      <a:lnTo>
                        <a:pt x="51" y="40"/>
                      </a:lnTo>
                      <a:lnTo>
                        <a:pt x="52" y="44"/>
                      </a:lnTo>
                      <a:lnTo>
                        <a:pt x="56" y="51"/>
                      </a:lnTo>
                      <a:lnTo>
                        <a:pt x="59" y="59"/>
                      </a:lnTo>
                      <a:lnTo>
                        <a:pt x="59" y="59"/>
                      </a:lnTo>
                      <a:lnTo>
                        <a:pt x="61" y="78"/>
                      </a:lnTo>
                      <a:lnTo>
                        <a:pt x="61" y="91"/>
                      </a:lnTo>
                      <a:lnTo>
                        <a:pt x="59" y="96"/>
                      </a:lnTo>
                      <a:lnTo>
                        <a:pt x="56" y="101"/>
                      </a:lnTo>
                      <a:lnTo>
                        <a:pt x="56" y="101"/>
                      </a:lnTo>
                      <a:lnTo>
                        <a:pt x="61" y="103"/>
                      </a:lnTo>
                      <a:lnTo>
                        <a:pt x="65" y="103"/>
                      </a:lnTo>
                      <a:lnTo>
                        <a:pt x="65" y="101"/>
                      </a:lnTo>
                      <a:lnTo>
                        <a:pt x="70" y="99"/>
                      </a:lnTo>
                      <a:lnTo>
                        <a:pt x="70" y="99"/>
                      </a:lnTo>
                      <a:lnTo>
                        <a:pt x="73" y="99"/>
                      </a:lnTo>
                      <a:lnTo>
                        <a:pt x="80" y="101"/>
                      </a:lnTo>
                      <a:lnTo>
                        <a:pt x="86" y="103"/>
                      </a:lnTo>
                      <a:lnTo>
                        <a:pt x="89" y="103"/>
                      </a:lnTo>
                      <a:lnTo>
                        <a:pt x="89" y="103"/>
                      </a:lnTo>
                      <a:lnTo>
                        <a:pt x="93" y="96"/>
                      </a:lnTo>
                      <a:lnTo>
                        <a:pt x="93" y="96"/>
                      </a:lnTo>
                      <a:lnTo>
                        <a:pt x="94" y="94"/>
                      </a:lnTo>
                      <a:lnTo>
                        <a:pt x="98" y="96"/>
                      </a:lnTo>
                      <a:lnTo>
                        <a:pt x="110" y="106"/>
                      </a:lnTo>
                      <a:lnTo>
                        <a:pt x="110" y="106"/>
                      </a:lnTo>
                      <a:lnTo>
                        <a:pt x="112" y="108"/>
                      </a:lnTo>
                      <a:lnTo>
                        <a:pt x="113" y="110"/>
                      </a:lnTo>
                      <a:lnTo>
                        <a:pt x="113" y="110"/>
                      </a:lnTo>
                      <a:lnTo>
                        <a:pt x="113" y="113"/>
                      </a:lnTo>
                      <a:lnTo>
                        <a:pt x="115" y="115"/>
                      </a:lnTo>
                      <a:lnTo>
                        <a:pt x="115" y="115"/>
                      </a:lnTo>
                      <a:lnTo>
                        <a:pt x="117" y="115"/>
                      </a:lnTo>
                      <a:lnTo>
                        <a:pt x="119" y="115"/>
                      </a:lnTo>
                      <a:lnTo>
                        <a:pt x="120" y="115"/>
                      </a:lnTo>
                      <a:lnTo>
                        <a:pt x="122" y="117"/>
                      </a:lnTo>
                      <a:lnTo>
                        <a:pt x="122" y="117"/>
                      </a:lnTo>
                      <a:lnTo>
                        <a:pt x="124" y="119"/>
                      </a:lnTo>
                      <a:lnTo>
                        <a:pt x="124" y="1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6" name="Freeform 2053">
                  <a:extLst>
                    <a:ext uri="{FF2B5EF4-FFF2-40B4-BE49-F238E27FC236}">
                      <a16:creationId xmlns:a16="http://schemas.microsoft.com/office/drawing/2014/main" id="{03887FE6-71D6-CD7F-8972-0B2408EA8F55}"/>
                    </a:ext>
                  </a:extLst>
                </p:cNvPr>
                <p:cNvSpPr>
                  <a:spLocks/>
                </p:cNvSpPr>
                <p:nvPr/>
              </p:nvSpPr>
              <p:spPr bwMode="auto">
                <a:xfrm>
                  <a:off x="5015758" y="1311977"/>
                  <a:ext cx="49336" cy="40527"/>
                </a:xfrm>
                <a:custGeom>
                  <a:avLst/>
                  <a:gdLst/>
                  <a:ahLst/>
                  <a:cxnLst>
                    <a:cxn ang="0">
                      <a:pos x="3" y="2"/>
                    </a:cxn>
                    <a:cxn ang="0">
                      <a:pos x="3" y="2"/>
                    </a:cxn>
                    <a:cxn ang="0">
                      <a:pos x="9" y="0"/>
                    </a:cxn>
                    <a:cxn ang="0">
                      <a:pos x="14" y="4"/>
                    </a:cxn>
                    <a:cxn ang="0">
                      <a:pos x="17" y="7"/>
                    </a:cxn>
                    <a:cxn ang="0">
                      <a:pos x="21" y="12"/>
                    </a:cxn>
                    <a:cxn ang="0">
                      <a:pos x="28" y="23"/>
                    </a:cxn>
                    <a:cxn ang="0">
                      <a:pos x="31" y="26"/>
                    </a:cxn>
                    <a:cxn ang="0">
                      <a:pos x="37" y="28"/>
                    </a:cxn>
                    <a:cxn ang="0">
                      <a:pos x="37" y="28"/>
                    </a:cxn>
                    <a:cxn ang="0">
                      <a:pos x="42" y="30"/>
                    </a:cxn>
                    <a:cxn ang="0">
                      <a:pos x="47" y="33"/>
                    </a:cxn>
                    <a:cxn ang="0">
                      <a:pos x="52" y="40"/>
                    </a:cxn>
                    <a:cxn ang="0">
                      <a:pos x="57" y="45"/>
                    </a:cxn>
                    <a:cxn ang="0">
                      <a:pos x="59" y="49"/>
                    </a:cxn>
                    <a:cxn ang="0">
                      <a:pos x="57" y="51"/>
                    </a:cxn>
                    <a:cxn ang="0">
                      <a:pos x="57" y="51"/>
                    </a:cxn>
                    <a:cxn ang="0">
                      <a:pos x="52" y="49"/>
                    </a:cxn>
                    <a:cxn ang="0">
                      <a:pos x="40" y="44"/>
                    </a:cxn>
                    <a:cxn ang="0">
                      <a:pos x="40" y="44"/>
                    </a:cxn>
                    <a:cxn ang="0">
                      <a:pos x="33" y="38"/>
                    </a:cxn>
                    <a:cxn ang="0">
                      <a:pos x="26" y="37"/>
                    </a:cxn>
                    <a:cxn ang="0">
                      <a:pos x="23" y="37"/>
                    </a:cxn>
                    <a:cxn ang="0">
                      <a:pos x="21" y="37"/>
                    </a:cxn>
                    <a:cxn ang="0">
                      <a:pos x="19" y="38"/>
                    </a:cxn>
                    <a:cxn ang="0">
                      <a:pos x="17" y="37"/>
                    </a:cxn>
                    <a:cxn ang="0">
                      <a:pos x="12" y="30"/>
                    </a:cxn>
                    <a:cxn ang="0">
                      <a:pos x="12" y="30"/>
                    </a:cxn>
                    <a:cxn ang="0">
                      <a:pos x="2" y="9"/>
                    </a:cxn>
                    <a:cxn ang="0">
                      <a:pos x="0" y="5"/>
                    </a:cxn>
                    <a:cxn ang="0">
                      <a:pos x="3" y="2"/>
                    </a:cxn>
                    <a:cxn ang="0">
                      <a:pos x="3" y="2"/>
                    </a:cxn>
                  </a:cxnLst>
                  <a:rect l="0" t="0" r="r" b="b"/>
                  <a:pathLst>
                    <a:path w="59" h="51">
                      <a:moveTo>
                        <a:pt x="3" y="2"/>
                      </a:moveTo>
                      <a:lnTo>
                        <a:pt x="3" y="2"/>
                      </a:lnTo>
                      <a:lnTo>
                        <a:pt x="9" y="0"/>
                      </a:lnTo>
                      <a:lnTo>
                        <a:pt x="14" y="4"/>
                      </a:lnTo>
                      <a:lnTo>
                        <a:pt x="17" y="7"/>
                      </a:lnTo>
                      <a:lnTo>
                        <a:pt x="21" y="12"/>
                      </a:lnTo>
                      <a:lnTo>
                        <a:pt x="28" y="23"/>
                      </a:lnTo>
                      <a:lnTo>
                        <a:pt x="31" y="26"/>
                      </a:lnTo>
                      <a:lnTo>
                        <a:pt x="37" y="28"/>
                      </a:lnTo>
                      <a:lnTo>
                        <a:pt x="37" y="28"/>
                      </a:lnTo>
                      <a:lnTo>
                        <a:pt x="42" y="30"/>
                      </a:lnTo>
                      <a:lnTo>
                        <a:pt x="47" y="33"/>
                      </a:lnTo>
                      <a:lnTo>
                        <a:pt x="52" y="40"/>
                      </a:lnTo>
                      <a:lnTo>
                        <a:pt x="57" y="45"/>
                      </a:lnTo>
                      <a:lnTo>
                        <a:pt x="59" y="49"/>
                      </a:lnTo>
                      <a:lnTo>
                        <a:pt x="57" y="51"/>
                      </a:lnTo>
                      <a:lnTo>
                        <a:pt x="57" y="51"/>
                      </a:lnTo>
                      <a:lnTo>
                        <a:pt x="52" y="49"/>
                      </a:lnTo>
                      <a:lnTo>
                        <a:pt x="40" y="44"/>
                      </a:lnTo>
                      <a:lnTo>
                        <a:pt x="40" y="44"/>
                      </a:lnTo>
                      <a:lnTo>
                        <a:pt x="33" y="38"/>
                      </a:lnTo>
                      <a:lnTo>
                        <a:pt x="26" y="37"/>
                      </a:lnTo>
                      <a:lnTo>
                        <a:pt x="23" y="37"/>
                      </a:lnTo>
                      <a:lnTo>
                        <a:pt x="21" y="37"/>
                      </a:lnTo>
                      <a:lnTo>
                        <a:pt x="19" y="38"/>
                      </a:lnTo>
                      <a:lnTo>
                        <a:pt x="17" y="37"/>
                      </a:lnTo>
                      <a:lnTo>
                        <a:pt x="12" y="30"/>
                      </a:lnTo>
                      <a:lnTo>
                        <a:pt x="12" y="30"/>
                      </a:lnTo>
                      <a:lnTo>
                        <a:pt x="2" y="9"/>
                      </a:lnTo>
                      <a:lnTo>
                        <a:pt x="0" y="5"/>
                      </a:lnTo>
                      <a:lnTo>
                        <a:pt x="3" y="2"/>
                      </a:lnTo>
                      <a:lnTo>
                        <a:pt x="3"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7" name="Freeform 2054">
                  <a:extLst>
                    <a:ext uri="{FF2B5EF4-FFF2-40B4-BE49-F238E27FC236}">
                      <a16:creationId xmlns:a16="http://schemas.microsoft.com/office/drawing/2014/main" id="{70C484A8-AECC-6990-33DE-3E10E5052734}"/>
                    </a:ext>
                  </a:extLst>
                </p:cNvPr>
                <p:cNvSpPr>
                  <a:spLocks/>
                </p:cNvSpPr>
                <p:nvPr/>
              </p:nvSpPr>
              <p:spPr bwMode="auto">
                <a:xfrm>
                  <a:off x="4688025" y="2235266"/>
                  <a:ext cx="5285" cy="10572"/>
                </a:xfrm>
                <a:custGeom>
                  <a:avLst/>
                  <a:gdLst/>
                  <a:ahLst/>
                  <a:cxnLst>
                    <a:cxn ang="0">
                      <a:pos x="2" y="12"/>
                    </a:cxn>
                    <a:cxn ang="0">
                      <a:pos x="2" y="12"/>
                    </a:cxn>
                    <a:cxn ang="0">
                      <a:pos x="0" y="9"/>
                    </a:cxn>
                    <a:cxn ang="0">
                      <a:pos x="2" y="5"/>
                    </a:cxn>
                    <a:cxn ang="0">
                      <a:pos x="2" y="5"/>
                    </a:cxn>
                    <a:cxn ang="0">
                      <a:pos x="4" y="4"/>
                    </a:cxn>
                    <a:cxn ang="0">
                      <a:pos x="4" y="2"/>
                    </a:cxn>
                    <a:cxn ang="0">
                      <a:pos x="5" y="0"/>
                    </a:cxn>
                    <a:cxn ang="0">
                      <a:pos x="5" y="0"/>
                    </a:cxn>
                    <a:cxn ang="0">
                      <a:pos x="7" y="2"/>
                    </a:cxn>
                    <a:cxn ang="0">
                      <a:pos x="7" y="4"/>
                    </a:cxn>
                    <a:cxn ang="0">
                      <a:pos x="7" y="5"/>
                    </a:cxn>
                    <a:cxn ang="0">
                      <a:pos x="5" y="7"/>
                    </a:cxn>
                    <a:cxn ang="0">
                      <a:pos x="5" y="7"/>
                    </a:cxn>
                    <a:cxn ang="0">
                      <a:pos x="5" y="9"/>
                    </a:cxn>
                    <a:cxn ang="0">
                      <a:pos x="4" y="12"/>
                    </a:cxn>
                    <a:cxn ang="0">
                      <a:pos x="4" y="14"/>
                    </a:cxn>
                    <a:cxn ang="0">
                      <a:pos x="2" y="12"/>
                    </a:cxn>
                    <a:cxn ang="0">
                      <a:pos x="2" y="12"/>
                    </a:cxn>
                  </a:cxnLst>
                  <a:rect l="0" t="0" r="r" b="b"/>
                  <a:pathLst>
                    <a:path w="7" h="14">
                      <a:moveTo>
                        <a:pt x="2" y="12"/>
                      </a:moveTo>
                      <a:lnTo>
                        <a:pt x="2" y="12"/>
                      </a:lnTo>
                      <a:lnTo>
                        <a:pt x="0" y="9"/>
                      </a:lnTo>
                      <a:lnTo>
                        <a:pt x="2" y="5"/>
                      </a:lnTo>
                      <a:lnTo>
                        <a:pt x="2" y="5"/>
                      </a:lnTo>
                      <a:lnTo>
                        <a:pt x="4" y="4"/>
                      </a:lnTo>
                      <a:lnTo>
                        <a:pt x="4" y="2"/>
                      </a:lnTo>
                      <a:lnTo>
                        <a:pt x="5" y="0"/>
                      </a:lnTo>
                      <a:lnTo>
                        <a:pt x="5" y="0"/>
                      </a:lnTo>
                      <a:lnTo>
                        <a:pt x="7" y="2"/>
                      </a:lnTo>
                      <a:lnTo>
                        <a:pt x="7" y="4"/>
                      </a:lnTo>
                      <a:lnTo>
                        <a:pt x="7" y="5"/>
                      </a:lnTo>
                      <a:lnTo>
                        <a:pt x="5" y="7"/>
                      </a:lnTo>
                      <a:lnTo>
                        <a:pt x="5" y="7"/>
                      </a:lnTo>
                      <a:lnTo>
                        <a:pt x="5" y="9"/>
                      </a:lnTo>
                      <a:lnTo>
                        <a:pt x="4" y="12"/>
                      </a:lnTo>
                      <a:lnTo>
                        <a:pt x="4" y="14"/>
                      </a:lnTo>
                      <a:lnTo>
                        <a:pt x="2" y="12"/>
                      </a:lnTo>
                      <a:lnTo>
                        <a:pt x="2"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8" name="Freeform 2055">
                  <a:extLst>
                    <a:ext uri="{FF2B5EF4-FFF2-40B4-BE49-F238E27FC236}">
                      <a16:creationId xmlns:a16="http://schemas.microsoft.com/office/drawing/2014/main" id="{737E983E-2755-96E1-4F87-C03CE2882A75}"/>
                    </a:ext>
                  </a:extLst>
                </p:cNvPr>
                <p:cNvSpPr>
                  <a:spLocks/>
                </p:cNvSpPr>
                <p:nvPr/>
              </p:nvSpPr>
              <p:spPr bwMode="auto">
                <a:xfrm>
                  <a:off x="4540017" y="2161262"/>
                  <a:ext cx="7048" cy="7048"/>
                </a:xfrm>
                <a:custGeom>
                  <a:avLst/>
                  <a:gdLst/>
                  <a:ahLst/>
                  <a:cxnLst>
                    <a:cxn ang="0">
                      <a:pos x="0" y="10"/>
                    </a:cxn>
                    <a:cxn ang="0">
                      <a:pos x="0" y="10"/>
                    </a:cxn>
                    <a:cxn ang="0">
                      <a:pos x="0" y="7"/>
                    </a:cxn>
                    <a:cxn ang="0">
                      <a:pos x="0" y="5"/>
                    </a:cxn>
                    <a:cxn ang="0">
                      <a:pos x="0" y="3"/>
                    </a:cxn>
                    <a:cxn ang="0">
                      <a:pos x="0" y="2"/>
                    </a:cxn>
                    <a:cxn ang="0">
                      <a:pos x="0" y="2"/>
                    </a:cxn>
                    <a:cxn ang="0">
                      <a:pos x="0" y="0"/>
                    </a:cxn>
                    <a:cxn ang="0">
                      <a:pos x="0" y="0"/>
                    </a:cxn>
                    <a:cxn ang="0">
                      <a:pos x="4" y="3"/>
                    </a:cxn>
                    <a:cxn ang="0">
                      <a:pos x="4" y="3"/>
                    </a:cxn>
                    <a:cxn ang="0">
                      <a:pos x="7" y="7"/>
                    </a:cxn>
                    <a:cxn ang="0">
                      <a:pos x="7" y="7"/>
                    </a:cxn>
                    <a:cxn ang="0">
                      <a:pos x="5" y="8"/>
                    </a:cxn>
                    <a:cxn ang="0">
                      <a:pos x="5" y="8"/>
                    </a:cxn>
                    <a:cxn ang="0">
                      <a:pos x="4" y="10"/>
                    </a:cxn>
                    <a:cxn ang="0">
                      <a:pos x="4" y="8"/>
                    </a:cxn>
                    <a:cxn ang="0">
                      <a:pos x="2" y="8"/>
                    </a:cxn>
                    <a:cxn ang="0">
                      <a:pos x="0" y="10"/>
                    </a:cxn>
                    <a:cxn ang="0">
                      <a:pos x="0" y="10"/>
                    </a:cxn>
                  </a:cxnLst>
                  <a:rect l="0" t="0" r="r" b="b"/>
                  <a:pathLst>
                    <a:path w="7" h="10">
                      <a:moveTo>
                        <a:pt x="0" y="10"/>
                      </a:moveTo>
                      <a:lnTo>
                        <a:pt x="0" y="10"/>
                      </a:lnTo>
                      <a:lnTo>
                        <a:pt x="0" y="7"/>
                      </a:lnTo>
                      <a:lnTo>
                        <a:pt x="0" y="5"/>
                      </a:lnTo>
                      <a:lnTo>
                        <a:pt x="0" y="3"/>
                      </a:lnTo>
                      <a:lnTo>
                        <a:pt x="0" y="2"/>
                      </a:lnTo>
                      <a:lnTo>
                        <a:pt x="0" y="2"/>
                      </a:lnTo>
                      <a:lnTo>
                        <a:pt x="0" y="0"/>
                      </a:lnTo>
                      <a:lnTo>
                        <a:pt x="0" y="0"/>
                      </a:lnTo>
                      <a:lnTo>
                        <a:pt x="4" y="3"/>
                      </a:lnTo>
                      <a:lnTo>
                        <a:pt x="4" y="3"/>
                      </a:lnTo>
                      <a:lnTo>
                        <a:pt x="7" y="7"/>
                      </a:lnTo>
                      <a:lnTo>
                        <a:pt x="7" y="7"/>
                      </a:lnTo>
                      <a:lnTo>
                        <a:pt x="5" y="8"/>
                      </a:lnTo>
                      <a:lnTo>
                        <a:pt x="5" y="8"/>
                      </a:lnTo>
                      <a:lnTo>
                        <a:pt x="4" y="10"/>
                      </a:lnTo>
                      <a:lnTo>
                        <a:pt x="4" y="8"/>
                      </a:lnTo>
                      <a:lnTo>
                        <a:pt x="2" y="8"/>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9" name="Freeform 2056">
                  <a:extLst>
                    <a:ext uri="{FF2B5EF4-FFF2-40B4-BE49-F238E27FC236}">
                      <a16:creationId xmlns:a16="http://schemas.microsoft.com/office/drawing/2014/main" id="{A17D04F0-1C0D-3A48-04F7-726566BC53EC}"/>
                    </a:ext>
                  </a:extLst>
                </p:cNvPr>
                <p:cNvSpPr>
                  <a:spLocks/>
                </p:cNvSpPr>
                <p:nvPr/>
              </p:nvSpPr>
              <p:spPr bwMode="auto">
                <a:xfrm>
                  <a:off x="4786699" y="3102169"/>
                  <a:ext cx="33478" cy="26430"/>
                </a:xfrm>
                <a:custGeom>
                  <a:avLst/>
                  <a:gdLst/>
                  <a:ahLst/>
                  <a:cxnLst>
                    <a:cxn ang="0">
                      <a:pos x="2" y="19"/>
                    </a:cxn>
                    <a:cxn ang="0">
                      <a:pos x="2" y="19"/>
                    </a:cxn>
                    <a:cxn ang="0">
                      <a:pos x="0" y="16"/>
                    </a:cxn>
                    <a:cxn ang="0">
                      <a:pos x="4" y="12"/>
                    </a:cxn>
                    <a:cxn ang="0">
                      <a:pos x="13" y="5"/>
                    </a:cxn>
                    <a:cxn ang="0">
                      <a:pos x="18" y="2"/>
                    </a:cxn>
                    <a:cxn ang="0">
                      <a:pos x="23" y="0"/>
                    </a:cxn>
                    <a:cxn ang="0">
                      <a:pos x="27" y="0"/>
                    </a:cxn>
                    <a:cxn ang="0">
                      <a:pos x="28" y="3"/>
                    </a:cxn>
                    <a:cxn ang="0">
                      <a:pos x="28" y="3"/>
                    </a:cxn>
                    <a:cxn ang="0">
                      <a:pos x="28" y="5"/>
                    </a:cxn>
                    <a:cxn ang="0">
                      <a:pos x="30" y="7"/>
                    </a:cxn>
                    <a:cxn ang="0">
                      <a:pos x="35" y="7"/>
                    </a:cxn>
                    <a:cxn ang="0">
                      <a:pos x="40" y="7"/>
                    </a:cxn>
                    <a:cxn ang="0">
                      <a:pos x="40" y="7"/>
                    </a:cxn>
                    <a:cxn ang="0">
                      <a:pos x="39" y="10"/>
                    </a:cxn>
                    <a:cxn ang="0">
                      <a:pos x="39" y="10"/>
                    </a:cxn>
                    <a:cxn ang="0">
                      <a:pos x="32" y="26"/>
                    </a:cxn>
                    <a:cxn ang="0">
                      <a:pos x="27" y="31"/>
                    </a:cxn>
                    <a:cxn ang="0">
                      <a:pos x="25" y="31"/>
                    </a:cxn>
                    <a:cxn ang="0">
                      <a:pos x="21" y="30"/>
                    </a:cxn>
                    <a:cxn ang="0">
                      <a:pos x="21" y="30"/>
                    </a:cxn>
                    <a:cxn ang="0">
                      <a:pos x="16" y="24"/>
                    </a:cxn>
                    <a:cxn ang="0">
                      <a:pos x="14" y="21"/>
                    </a:cxn>
                    <a:cxn ang="0">
                      <a:pos x="11" y="17"/>
                    </a:cxn>
                    <a:cxn ang="0">
                      <a:pos x="7" y="19"/>
                    </a:cxn>
                    <a:cxn ang="0">
                      <a:pos x="7" y="19"/>
                    </a:cxn>
                    <a:cxn ang="0">
                      <a:pos x="2" y="21"/>
                    </a:cxn>
                    <a:cxn ang="0">
                      <a:pos x="2" y="19"/>
                    </a:cxn>
                    <a:cxn ang="0">
                      <a:pos x="2" y="19"/>
                    </a:cxn>
                  </a:cxnLst>
                  <a:rect l="0" t="0" r="r" b="b"/>
                  <a:pathLst>
                    <a:path w="40" h="31">
                      <a:moveTo>
                        <a:pt x="2" y="19"/>
                      </a:moveTo>
                      <a:lnTo>
                        <a:pt x="2" y="19"/>
                      </a:lnTo>
                      <a:lnTo>
                        <a:pt x="0" y="16"/>
                      </a:lnTo>
                      <a:lnTo>
                        <a:pt x="4" y="12"/>
                      </a:lnTo>
                      <a:lnTo>
                        <a:pt x="13" y="5"/>
                      </a:lnTo>
                      <a:lnTo>
                        <a:pt x="18" y="2"/>
                      </a:lnTo>
                      <a:lnTo>
                        <a:pt x="23" y="0"/>
                      </a:lnTo>
                      <a:lnTo>
                        <a:pt x="27" y="0"/>
                      </a:lnTo>
                      <a:lnTo>
                        <a:pt x="28" y="3"/>
                      </a:lnTo>
                      <a:lnTo>
                        <a:pt x="28" y="3"/>
                      </a:lnTo>
                      <a:lnTo>
                        <a:pt x="28" y="5"/>
                      </a:lnTo>
                      <a:lnTo>
                        <a:pt x="30" y="7"/>
                      </a:lnTo>
                      <a:lnTo>
                        <a:pt x="35" y="7"/>
                      </a:lnTo>
                      <a:lnTo>
                        <a:pt x="40" y="7"/>
                      </a:lnTo>
                      <a:lnTo>
                        <a:pt x="40" y="7"/>
                      </a:lnTo>
                      <a:lnTo>
                        <a:pt x="39" y="10"/>
                      </a:lnTo>
                      <a:lnTo>
                        <a:pt x="39" y="10"/>
                      </a:lnTo>
                      <a:lnTo>
                        <a:pt x="32" y="26"/>
                      </a:lnTo>
                      <a:lnTo>
                        <a:pt x="27" y="31"/>
                      </a:lnTo>
                      <a:lnTo>
                        <a:pt x="25" y="31"/>
                      </a:lnTo>
                      <a:lnTo>
                        <a:pt x="21" y="30"/>
                      </a:lnTo>
                      <a:lnTo>
                        <a:pt x="21" y="30"/>
                      </a:lnTo>
                      <a:lnTo>
                        <a:pt x="16" y="24"/>
                      </a:lnTo>
                      <a:lnTo>
                        <a:pt x="14" y="21"/>
                      </a:lnTo>
                      <a:lnTo>
                        <a:pt x="11" y="17"/>
                      </a:lnTo>
                      <a:lnTo>
                        <a:pt x="7" y="19"/>
                      </a:lnTo>
                      <a:lnTo>
                        <a:pt x="7" y="19"/>
                      </a:lnTo>
                      <a:lnTo>
                        <a:pt x="2" y="21"/>
                      </a:lnTo>
                      <a:lnTo>
                        <a:pt x="2" y="19"/>
                      </a:lnTo>
                      <a:lnTo>
                        <a:pt x="2" y="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0" name="Freeform 2057">
                  <a:extLst>
                    <a:ext uri="{FF2B5EF4-FFF2-40B4-BE49-F238E27FC236}">
                      <a16:creationId xmlns:a16="http://schemas.microsoft.com/office/drawing/2014/main" id="{DD85A719-911F-B3D0-E5F1-00AD63233970}"/>
                    </a:ext>
                  </a:extLst>
                </p:cNvPr>
                <p:cNvSpPr>
                  <a:spLocks/>
                </p:cNvSpPr>
                <p:nvPr/>
              </p:nvSpPr>
              <p:spPr bwMode="auto">
                <a:xfrm>
                  <a:off x="4753216" y="3132127"/>
                  <a:ext cx="12335" cy="14097"/>
                </a:xfrm>
                <a:custGeom>
                  <a:avLst/>
                  <a:gdLst/>
                  <a:ahLst/>
                  <a:cxnLst>
                    <a:cxn ang="0">
                      <a:pos x="12" y="1"/>
                    </a:cxn>
                    <a:cxn ang="0">
                      <a:pos x="12" y="1"/>
                    </a:cxn>
                    <a:cxn ang="0">
                      <a:pos x="14" y="3"/>
                    </a:cxn>
                    <a:cxn ang="0">
                      <a:pos x="14" y="7"/>
                    </a:cxn>
                    <a:cxn ang="0">
                      <a:pos x="10" y="12"/>
                    </a:cxn>
                    <a:cxn ang="0">
                      <a:pos x="5" y="13"/>
                    </a:cxn>
                    <a:cxn ang="0">
                      <a:pos x="3" y="15"/>
                    </a:cxn>
                    <a:cxn ang="0">
                      <a:pos x="1" y="13"/>
                    </a:cxn>
                    <a:cxn ang="0">
                      <a:pos x="1" y="13"/>
                    </a:cxn>
                    <a:cxn ang="0">
                      <a:pos x="0" y="12"/>
                    </a:cxn>
                    <a:cxn ang="0">
                      <a:pos x="0" y="10"/>
                    </a:cxn>
                    <a:cxn ang="0">
                      <a:pos x="3" y="5"/>
                    </a:cxn>
                    <a:cxn ang="0">
                      <a:pos x="8" y="1"/>
                    </a:cxn>
                    <a:cxn ang="0">
                      <a:pos x="10" y="0"/>
                    </a:cxn>
                    <a:cxn ang="0">
                      <a:pos x="12" y="1"/>
                    </a:cxn>
                    <a:cxn ang="0">
                      <a:pos x="12" y="1"/>
                    </a:cxn>
                  </a:cxnLst>
                  <a:rect l="0" t="0" r="r" b="b"/>
                  <a:pathLst>
                    <a:path w="14" h="15">
                      <a:moveTo>
                        <a:pt x="12" y="1"/>
                      </a:moveTo>
                      <a:lnTo>
                        <a:pt x="12" y="1"/>
                      </a:lnTo>
                      <a:lnTo>
                        <a:pt x="14" y="3"/>
                      </a:lnTo>
                      <a:lnTo>
                        <a:pt x="14" y="7"/>
                      </a:lnTo>
                      <a:lnTo>
                        <a:pt x="10" y="12"/>
                      </a:lnTo>
                      <a:lnTo>
                        <a:pt x="5" y="13"/>
                      </a:lnTo>
                      <a:lnTo>
                        <a:pt x="3" y="15"/>
                      </a:lnTo>
                      <a:lnTo>
                        <a:pt x="1" y="13"/>
                      </a:lnTo>
                      <a:lnTo>
                        <a:pt x="1" y="13"/>
                      </a:lnTo>
                      <a:lnTo>
                        <a:pt x="0" y="12"/>
                      </a:lnTo>
                      <a:lnTo>
                        <a:pt x="0" y="10"/>
                      </a:lnTo>
                      <a:lnTo>
                        <a:pt x="3" y="5"/>
                      </a:lnTo>
                      <a:lnTo>
                        <a:pt x="8" y="1"/>
                      </a:lnTo>
                      <a:lnTo>
                        <a:pt x="10" y="0"/>
                      </a:lnTo>
                      <a:lnTo>
                        <a:pt x="12" y="1"/>
                      </a:lnTo>
                      <a:lnTo>
                        <a:pt x="12"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1" name="Freeform 2058">
                  <a:extLst>
                    <a:ext uri="{FF2B5EF4-FFF2-40B4-BE49-F238E27FC236}">
                      <a16:creationId xmlns:a16="http://schemas.microsoft.com/office/drawing/2014/main" id="{F2F2ED41-3715-497F-7D25-933CA44B8612}"/>
                    </a:ext>
                  </a:extLst>
                </p:cNvPr>
                <p:cNvSpPr>
                  <a:spLocks/>
                </p:cNvSpPr>
                <p:nvPr/>
              </p:nvSpPr>
              <p:spPr bwMode="auto">
                <a:xfrm>
                  <a:off x="8286034" y="4362001"/>
                  <a:ext cx="5285" cy="19381"/>
                </a:xfrm>
                <a:custGeom>
                  <a:avLst/>
                  <a:gdLst/>
                  <a:ahLst/>
                  <a:cxnLst>
                    <a:cxn ang="0">
                      <a:pos x="4" y="0"/>
                    </a:cxn>
                    <a:cxn ang="0">
                      <a:pos x="4" y="0"/>
                    </a:cxn>
                    <a:cxn ang="0">
                      <a:pos x="7" y="0"/>
                    </a:cxn>
                    <a:cxn ang="0">
                      <a:pos x="7" y="3"/>
                    </a:cxn>
                    <a:cxn ang="0">
                      <a:pos x="7" y="7"/>
                    </a:cxn>
                    <a:cxn ang="0">
                      <a:pos x="9" y="8"/>
                    </a:cxn>
                    <a:cxn ang="0">
                      <a:pos x="9" y="8"/>
                    </a:cxn>
                    <a:cxn ang="0">
                      <a:pos x="9" y="12"/>
                    </a:cxn>
                    <a:cxn ang="0">
                      <a:pos x="9" y="14"/>
                    </a:cxn>
                    <a:cxn ang="0">
                      <a:pos x="7" y="17"/>
                    </a:cxn>
                    <a:cxn ang="0">
                      <a:pos x="7" y="19"/>
                    </a:cxn>
                    <a:cxn ang="0">
                      <a:pos x="7" y="19"/>
                    </a:cxn>
                    <a:cxn ang="0">
                      <a:pos x="5" y="22"/>
                    </a:cxn>
                    <a:cxn ang="0">
                      <a:pos x="2" y="24"/>
                    </a:cxn>
                    <a:cxn ang="0">
                      <a:pos x="0" y="22"/>
                    </a:cxn>
                    <a:cxn ang="0">
                      <a:pos x="2" y="19"/>
                    </a:cxn>
                    <a:cxn ang="0">
                      <a:pos x="2" y="19"/>
                    </a:cxn>
                    <a:cxn ang="0">
                      <a:pos x="4" y="15"/>
                    </a:cxn>
                    <a:cxn ang="0">
                      <a:pos x="4" y="12"/>
                    </a:cxn>
                    <a:cxn ang="0">
                      <a:pos x="2" y="12"/>
                    </a:cxn>
                    <a:cxn ang="0">
                      <a:pos x="2" y="10"/>
                    </a:cxn>
                    <a:cxn ang="0">
                      <a:pos x="2" y="10"/>
                    </a:cxn>
                    <a:cxn ang="0">
                      <a:pos x="2" y="3"/>
                    </a:cxn>
                    <a:cxn ang="0">
                      <a:pos x="4" y="0"/>
                    </a:cxn>
                    <a:cxn ang="0">
                      <a:pos x="4" y="0"/>
                    </a:cxn>
                  </a:cxnLst>
                  <a:rect l="0" t="0" r="r" b="b"/>
                  <a:pathLst>
                    <a:path w="9" h="24">
                      <a:moveTo>
                        <a:pt x="4" y="0"/>
                      </a:moveTo>
                      <a:lnTo>
                        <a:pt x="4" y="0"/>
                      </a:lnTo>
                      <a:lnTo>
                        <a:pt x="7" y="0"/>
                      </a:lnTo>
                      <a:lnTo>
                        <a:pt x="7" y="3"/>
                      </a:lnTo>
                      <a:lnTo>
                        <a:pt x="7" y="7"/>
                      </a:lnTo>
                      <a:lnTo>
                        <a:pt x="9" y="8"/>
                      </a:lnTo>
                      <a:lnTo>
                        <a:pt x="9" y="8"/>
                      </a:lnTo>
                      <a:lnTo>
                        <a:pt x="9" y="12"/>
                      </a:lnTo>
                      <a:lnTo>
                        <a:pt x="9" y="14"/>
                      </a:lnTo>
                      <a:lnTo>
                        <a:pt x="7" y="17"/>
                      </a:lnTo>
                      <a:lnTo>
                        <a:pt x="7" y="19"/>
                      </a:lnTo>
                      <a:lnTo>
                        <a:pt x="7" y="19"/>
                      </a:lnTo>
                      <a:lnTo>
                        <a:pt x="5" y="22"/>
                      </a:lnTo>
                      <a:lnTo>
                        <a:pt x="2" y="24"/>
                      </a:lnTo>
                      <a:lnTo>
                        <a:pt x="0" y="22"/>
                      </a:lnTo>
                      <a:lnTo>
                        <a:pt x="2" y="19"/>
                      </a:lnTo>
                      <a:lnTo>
                        <a:pt x="2" y="19"/>
                      </a:lnTo>
                      <a:lnTo>
                        <a:pt x="4" y="15"/>
                      </a:lnTo>
                      <a:lnTo>
                        <a:pt x="4" y="12"/>
                      </a:lnTo>
                      <a:lnTo>
                        <a:pt x="2" y="12"/>
                      </a:lnTo>
                      <a:lnTo>
                        <a:pt x="2" y="10"/>
                      </a:lnTo>
                      <a:lnTo>
                        <a:pt x="2" y="10"/>
                      </a:lnTo>
                      <a:lnTo>
                        <a:pt x="2" y="3"/>
                      </a:lnTo>
                      <a:lnTo>
                        <a:pt x="4" y="0"/>
                      </a:lnTo>
                      <a:lnTo>
                        <a:pt x="4"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2" name="Freeform 2059">
                  <a:extLst>
                    <a:ext uri="{FF2B5EF4-FFF2-40B4-BE49-F238E27FC236}">
                      <a16:creationId xmlns:a16="http://schemas.microsoft.com/office/drawing/2014/main" id="{994F4841-787D-271E-6194-63245CA587E8}"/>
                    </a:ext>
                  </a:extLst>
                </p:cNvPr>
                <p:cNvSpPr>
                  <a:spLocks/>
                </p:cNvSpPr>
                <p:nvPr/>
              </p:nvSpPr>
              <p:spPr bwMode="auto">
                <a:xfrm>
                  <a:off x="8960878" y="4605158"/>
                  <a:ext cx="68720" cy="77528"/>
                </a:xfrm>
                <a:custGeom>
                  <a:avLst/>
                  <a:gdLst/>
                  <a:ahLst/>
                  <a:cxnLst>
                    <a:cxn ang="0">
                      <a:pos x="7" y="2"/>
                    </a:cxn>
                    <a:cxn ang="0">
                      <a:pos x="7" y="2"/>
                    </a:cxn>
                    <a:cxn ang="0">
                      <a:pos x="7" y="0"/>
                    </a:cxn>
                    <a:cxn ang="0">
                      <a:pos x="11" y="0"/>
                    </a:cxn>
                    <a:cxn ang="0">
                      <a:pos x="16" y="6"/>
                    </a:cxn>
                    <a:cxn ang="0">
                      <a:pos x="26" y="14"/>
                    </a:cxn>
                    <a:cxn ang="0">
                      <a:pos x="44" y="23"/>
                    </a:cxn>
                    <a:cxn ang="0">
                      <a:pos x="44" y="23"/>
                    </a:cxn>
                    <a:cxn ang="0">
                      <a:pos x="51" y="30"/>
                    </a:cxn>
                    <a:cxn ang="0">
                      <a:pos x="58" y="37"/>
                    </a:cxn>
                    <a:cxn ang="0">
                      <a:pos x="65" y="46"/>
                    </a:cxn>
                    <a:cxn ang="0">
                      <a:pos x="77" y="56"/>
                    </a:cxn>
                    <a:cxn ang="0">
                      <a:pos x="77" y="56"/>
                    </a:cxn>
                    <a:cxn ang="0">
                      <a:pos x="84" y="61"/>
                    </a:cxn>
                    <a:cxn ang="0">
                      <a:pos x="87" y="68"/>
                    </a:cxn>
                    <a:cxn ang="0">
                      <a:pos x="87" y="77"/>
                    </a:cxn>
                    <a:cxn ang="0">
                      <a:pos x="87" y="84"/>
                    </a:cxn>
                    <a:cxn ang="0">
                      <a:pos x="85" y="91"/>
                    </a:cxn>
                    <a:cxn ang="0">
                      <a:pos x="82" y="94"/>
                    </a:cxn>
                    <a:cxn ang="0">
                      <a:pos x="79" y="96"/>
                    </a:cxn>
                    <a:cxn ang="0">
                      <a:pos x="75" y="93"/>
                    </a:cxn>
                    <a:cxn ang="0">
                      <a:pos x="75" y="93"/>
                    </a:cxn>
                    <a:cxn ang="0">
                      <a:pos x="73" y="86"/>
                    </a:cxn>
                    <a:cxn ang="0">
                      <a:pos x="72" y="80"/>
                    </a:cxn>
                    <a:cxn ang="0">
                      <a:pos x="72" y="74"/>
                    </a:cxn>
                    <a:cxn ang="0">
                      <a:pos x="72" y="67"/>
                    </a:cxn>
                    <a:cxn ang="0">
                      <a:pos x="70" y="61"/>
                    </a:cxn>
                    <a:cxn ang="0">
                      <a:pos x="66" y="56"/>
                    </a:cxn>
                    <a:cxn ang="0">
                      <a:pos x="66" y="56"/>
                    </a:cxn>
                    <a:cxn ang="0">
                      <a:pos x="56" y="46"/>
                    </a:cxn>
                    <a:cxn ang="0">
                      <a:pos x="47" y="39"/>
                    </a:cxn>
                    <a:cxn ang="0">
                      <a:pos x="38" y="32"/>
                    </a:cxn>
                    <a:cxn ang="0">
                      <a:pos x="33" y="27"/>
                    </a:cxn>
                    <a:cxn ang="0">
                      <a:pos x="33" y="27"/>
                    </a:cxn>
                    <a:cxn ang="0">
                      <a:pos x="26" y="21"/>
                    </a:cxn>
                    <a:cxn ang="0">
                      <a:pos x="19" y="16"/>
                    </a:cxn>
                    <a:cxn ang="0">
                      <a:pos x="7" y="11"/>
                    </a:cxn>
                    <a:cxn ang="0">
                      <a:pos x="4" y="7"/>
                    </a:cxn>
                    <a:cxn ang="0">
                      <a:pos x="0" y="6"/>
                    </a:cxn>
                    <a:cxn ang="0">
                      <a:pos x="2" y="4"/>
                    </a:cxn>
                    <a:cxn ang="0">
                      <a:pos x="7" y="2"/>
                    </a:cxn>
                    <a:cxn ang="0">
                      <a:pos x="7" y="2"/>
                    </a:cxn>
                  </a:cxnLst>
                  <a:rect l="0" t="0" r="r" b="b"/>
                  <a:pathLst>
                    <a:path w="87" h="96">
                      <a:moveTo>
                        <a:pt x="7" y="2"/>
                      </a:moveTo>
                      <a:lnTo>
                        <a:pt x="7" y="2"/>
                      </a:lnTo>
                      <a:lnTo>
                        <a:pt x="7" y="0"/>
                      </a:lnTo>
                      <a:lnTo>
                        <a:pt x="11" y="0"/>
                      </a:lnTo>
                      <a:lnTo>
                        <a:pt x="16" y="6"/>
                      </a:lnTo>
                      <a:lnTo>
                        <a:pt x="26" y="14"/>
                      </a:lnTo>
                      <a:lnTo>
                        <a:pt x="44" y="23"/>
                      </a:lnTo>
                      <a:lnTo>
                        <a:pt x="44" y="23"/>
                      </a:lnTo>
                      <a:lnTo>
                        <a:pt x="51" y="30"/>
                      </a:lnTo>
                      <a:lnTo>
                        <a:pt x="58" y="37"/>
                      </a:lnTo>
                      <a:lnTo>
                        <a:pt x="65" y="46"/>
                      </a:lnTo>
                      <a:lnTo>
                        <a:pt x="77" y="56"/>
                      </a:lnTo>
                      <a:lnTo>
                        <a:pt x="77" y="56"/>
                      </a:lnTo>
                      <a:lnTo>
                        <a:pt x="84" y="61"/>
                      </a:lnTo>
                      <a:lnTo>
                        <a:pt x="87" y="68"/>
                      </a:lnTo>
                      <a:lnTo>
                        <a:pt x="87" y="77"/>
                      </a:lnTo>
                      <a:lnTo>
                        <a:pt x="87" y="84"/>
                      </a:lnTo>
                      <a:lnTo>
                        <a:pt x="85" y="91"/>
                      </a:lnTo>
                      <a:lnTo>
                        <a:pt x="82" y="94"/>
                      </a:lnTo>
                      <a:lnTo>
                        <a:pt x="79" y="96"/>
                      </a:lnTo>
                      <a:lnTo>
                        <a:pt x="75" y="93"/>
                      </a:lnTo>
                      <a:lnTo>
                        <a:pt x="75" y="93"/>
                      </a:lnTo>
                      <a:lnTo>
                        <a:pt x="73" y="86"/>
                      </a:lnTo>
                      <a:lnTo>
                        <a:pt x="72" y="80"/>
                      </a:lnTo>
                      <a:lnTo>
                        <a:pt x="72" y="74"/>
                      </a:lnTo>
                      <a:lnTo>
                        <a:pt x="72" y="67"/>
                      </a:lnTo>
                      <a:lnTo>
                        <a:pt x="70" y="61"/>
                      </a:lnTo>
                      <a:lnTo>
                        <a:pt x="66" y="56"/>
                      </a:lnTo>
                      <a:lnTo>
                        <a:pt x="66" y="56"/>
                      </a:lnTo>
                      <a:lnTo>
                        <a:pt x="56" y="46"/>
                      </a:lnTo>
                      <a:lnTo>
                        <a:pt x="47" y="39"/>
                      </a:lnTo>
                      <a:lnTo>
                        <a:pt x="38" y="32"/>
                      </a:lnTo>
                      <a:lnTo>
                        <a:pt x="33" y="27"/>
                      </a:lnTo>
                      <a:lnTo>
                        <a:pt x="33" y="27"/>
                      </a:lnTo>
                      <a:lnTo>
                        <a:pt x="26" y="21"/>
                      </a:lnTo>
                      <a:lnTo>
                        <a:pt x="19" y="16"/>
                      </a:lnTo>
                      <a:lnTo>
                        <a:pt x="7" y="11"/>
                      </a:lnTo>
                      <a:lnTo>
                        <a:pt x="4" y="7"/>
                      </a:lnTo>
                      <a:lnTo>
                        <a:pt x="0" y="6"/>
                      </a:lnTo>
                      <a:lnTo>
                        <a:pt x="2" y="4"/>
                      </a:lnTo>
                      <a:lnTo>
                        <a:pt x="7" y="2"/>
                      </a:lnTo>
                      <a:lnTo>
                        <a:pt x="7"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3" name="Freeform 2060">
                  <a:extLst>
                    <a:ext uri="{FF2B5EF4-FFF2-40B4-BE49-F238E27FC236}">
                      <a16:creationId xmlns:a16="http://schemas.microsoft.com/office/drawing/2014/main" id="{0C403EF2-D054-EF9D-A91E-5D85CAB164F5}"/>
                    </a:ext>
                  </a:extLst>
                </p:cNvPr>
                <p:cNvSpPr>
                  <a:spLocks/>
                </p:cNvSpPr>
                <p:nvPr/>
              </p:nvSpPr>
              <p:spPr bwMode="auto">
                <a:xfrm>
                  <a:off x="8953832" y="4834221"/>
                  <a:ext cx="15859" cy="14097"/>
                </a:xfrm>
                <a:custGeom>
                  <a:avLst/>
                  <a:gdLst/>
                  <a:ahLst/>
                  <a:cxnLst>
                    <a:cxn ang="0">
                      <a:pos x="2" y="5"/>
                    </a:cxn>
                    <a:cxn ang="0">
                      <a:pos x="2" y="5"/>
                    </a:cxn>
                    <a:cxn ang="0">
                      <a:pos x="4" y="2"/>
                    </a:cxn>
                    <a:cxn ang="0">
                      <a:pos x="5" y="0"/>
                    </a:cxn>
                    <a:cxn ang="0">
                      <a:pos x="7" y="0"/>
                    </a:cxn>
                    <a:cxn ang="0">
                      <a:pos x="11" y="0"/>
                    </a:cxn>
                    <a:cxn ang="0">
                      <a:pos x="16" y="3"/>
                    </a:cxn>
                    <a:cxn ang="0">
                      <a:pos x="18" y="9"/>
                    </a:cxn>
                    <a:cxn ang="0">
                      <a:pos x="18" y="9"/>
                    </a:cxn>
                    <a:cxn ang="0">
                      <a:pos x="16" y="14"/>
                    </a:cxn>
                    <a:cxn ang="0">
                      <a:pos x="14" y="16"/>
                    </a:cxn>
                    <a:cxn ang="0">
                      <a:pos x="4" y="14"/>
                    </a:cxn>
                    <a:cxn ang="0">
                      <a:pos x="4" y="14"/>
                    </a:cxn>
                    <a:cxn ang="0">
                      <a:pos x="0" y="12"/>
                    </a:cxn>
                    <a:cxn ang="0">
                      <a:pos x="0" y="10"/>
                    </a:cxn>
                    <a:cxn ang="0">
                      <a:pos x="2" y="5"/>
                    </a:cxn>
                  </a:cxnLst>
                  <a:rect l="0" t="0" r="r" b="b"/>
                  <a:pathLst>
                    <a:path w="18" h="16">
                      <a:moveTo>
                        <a:pt x="2" y="5"/>
                      </a:moveTo>
                      <a:lnTo>
                        <a:pt x="2" y="5"/>
                      </a:lnTo>
                      <a:lnTo>
                        <a:pt x="4" y="2"/>
                      </a:lnTo>
                      <a:lnTo>
                        <a:pt x="5" y="0"/>
                      </a:lnTo>
                      <a:lnTo>
                        <a:pt x="7" y="0"/>
                      </a:lnTo>
                      <a:lnTo>
                        <a:pt x="11" y="0"/>
                      </a:lnTo>
                      <a:lnTo>
                        <a:pt x="16" y="3"/>
                      </a:lnTo>
                      <a:lnTo>
                        <a:pt x="18" y="9"/>
                      </a:lnTo>
                      <a:lnTo>
                        <a:pt x="18" y="9"/>
                      </a:lnTo>
                      <a:lnTo>
                        <a:pt x="16" y="14"/>
                      </a:lnTo>
                      <a:lnTo>
                        <a:pt x="14" y="16"/>
                      </a:lnTo>
                      <a:lnTo>
                        <a:pt x="4" y="14"/>
                      </a:lnTo>
                      <a:lnTo>
                        <a:pt x="4" y="14"/>
                      </a:lnTo>
                      <a:lnTo>
                        <a:pt x="0" y="12"/>
                      </a:lnTo>
                      <a:lnTo>
                        <a:pt x="0" y="10"/>
                      </a:lnTo>
                      <a:lnTo>
                        <a:pt x="2"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4" name="Freeform 2061">
                  <a:extLst>
                    <a:ext uri="{FF2B5EF4-FFF2-40B4-BE49-F238E27FC236}">
                      <a16:creationId xmlns:a16="http://schemas.microsoft.com/office/drawing/2014/main" id="{C378EF27-EA74-D8E2-D2EE-93BF5ADB9F84}"/>
                    </a:ext>
                  </a:extLst>
                </p:cNvPr>
                <p:cNvSpPr>
                  <a:spLocks/>
                </p:cNvSpPr>
                <p:nvPr/>
              </p:nvSpPr>
              <p:spPr bwMode="auto">
                <a:xfrm>
                  <a:off x="9212846" y="4832456"/>
                  <a:ext cx="35241" cy="21144"/>
                </a:xfrm>
                <a:custGeom>
                  <a:avLst/>
                  <a:gdLst/>
                  <a:ahLst/>
                  <a:cxnLst>
                    <a:cxn ang="0">
                      <a:pos x="0" y="11"/>
                    </a:cxn>
                    <a:cxn ang="0">
                      <a:pos x="0" y="11"/>
                    </a:cxn>
                    <a:cxn ang="0">
                      <a:pos x="0" y="2"/>
                    </a:cxn>
                    <a:cxn ang="0">
                      <a:pos x="4" y="0"/>
                    </a:cxn>
                    <a:cxn ang="0">
                      <a:pos x="7" y="0"/>
                    </a:cxn>
                    <a:cxn ang="0">
                      <a:pos x="11" y="4"/>
                    </a:cxn>
                    <a:cxn ang="0">
                      <a:pos x="11" y="4"/>
                    </a:cxn>
                    <a:cxn ang="0">
                      <a:pos x="12" y="6"/>
                    </a:cxn>
                    <a:cxn ang="0">
                      <a:pos x="14" y="6"/>
                    </a:cxn>
                    <a:cxn ang="0">
                      <a:pos x="19" y="6"/>
                    </a:cxn>
                    <a:cxn ang="0">
                      <a:pos x="26" y="6"/>
                    </a:cxn>
                    <a:cxn ang="0">
                      <a:pos x="30" y="6"/>
                    </a:cxn>
                    <a:cxn ang="0">
                      <a:pos x="32" y="9"/>
                    </a:cxn>
                    <a:cxn ang="0">
                      <a:pos x="32" y="9"/>
                    </a:cxn>
                    <a:cxn ang="0">
                      <a:pos x="39" y="16"/>
                    </a:cxn>
                    <a:cxn ang="0">
                      <a:pos x="44" y="23"/>
                    </a:cxn>
                    <a:cxn ang="0">
                      <a:pos x="44" y="25"/>
                    </a:cxn>
                    <a:cxn ang="0">
                      <a:pos x="44" y="27"/>
                    </a:cxn>
                    <a:cxn ang="0">
                      <a:pos x="40" y="28"/>
                    </a:cxn>
                    <a:cxn ang="0">
                      <a:pos x="37" y="28"/>
                    </a:cxn>
                    <a:cxn ang="0">
                      <a:pos x="37" y="28"/>
                    </a:cxn>
                    <a:cxn ang="0">
                      <a:pos x="30" y="27"/>
                    </a:cxn>
                    <a:cxn ang="0">
                      <a:pos x="28" y="25"/>
                    </a:cxn>
                    <a:cxn ang="0">
                      <a:pos x="26" y="23"/>
                    </a:cxn>
                    <a:cxn ang="0">
                      <a:pos x="19" y="23"/>
                    </a:cxn>
                    <a:cxn ang="0">
                      <a:pos x="19" y="23"/>
                    </a:cxn>
                    <a:cxn ang="0">
                      <a:pos x="11" y="23"/>
                    </a:cxn>
                    <a:cxn ang="0">
                      <a:pos x="6" y="20"/>
                    </a:cxn>
                    <a:cxn ang="0">
                      <a:pos x="2" y="16"/>
                    </a:cxn>
                    <a:cxn ang="0">
                      <a:pos x="0" y="11"/>
                    </a:cxn>
                    <a:cxn ang="0">
                      <a:pos x="0" y="11"/>
                    </a:cxn>
                  </a:cxnLst>
                  <a:rect l="0" t="0" r="r" b="b"/>
                  <a:pathLst>
                    <a:path w="44" h="28">
                      <a:moveTo>
                        <a:pt x="0" y="11"/>
                      </a:moveTo>
                      <a:lnTo>
                        <a:pt x="0" y="11"/>
                      </a:lnTo>
                      <a:lnTo>
                        <a:pt x="0" y="2"/>
                      </a:lnTo>
                      <a:lnTo>
                        <a:pt x="4" y="0"/>
                      </a:lnTo>
                      <a:lnTo>
                        <a:pt x="7" y="0"/>
                      </a:lnTo>
                      <a:lnTo>
                        <a:pt x="11" y="4"/>
                      </a:lnTo>
                      <a:lnTo>
                        <a:pt x="11" y="4"/>
                      </a:lnTo>
                      <a:lnTo>
                        <a:pt x="12" y="6"/>
                      </a:lnTo>
                      <a:lnTo>
                        <a:pt x="14" y="6"/>
                      </a:lnTo>
                      <a:lnTo>
                        <a:pt x="19" y="6"/>
                      </a:lnTo>
                      <a:lnTo>
                        <a:pt x="26" y="6"/>
                      </a:lnTo>
                      <a:lnTo>
                        <a:pt x="30" y="6"/>
                      </a:lnTo>
                      <a:lnTo>
                        <a:pt x="32" y="9"/>
                      </a:lnTo>
                      <a:lnTo>
                        <a:pt x="32" y="9"/>
                      </a:lnTo>
                      <a:lnTo>
                        <a:pt x="39" y="16"/>
                      </a:lnTo>
                      <a:lnTo>
                        <a:pt x="44" y="23"/>
                      </a:lnTo>
                      <a:lnTo>
                        <a:pt x="44" y="25"/>
                      </a:lnTo>
                      <a:lnTo>
                        <a:pt x="44" y="27"/>
                      </a:lnTo>
                      <a:lnTo>
                        <a:pt x="40" y="28"/>
                      </a:lnTo>
                      <a:lnTo>
                        <a:pt x="37" y="28"/>
                      </a:lnTo>
                      <a:lnTo>
                        <a:pt x="37" y="28"/>
                      </a:lnTo>
                      <a:lnTo>
                        <a:pt x="30" y="27"/>
                      </a:lnTo>
                      <a:lnTo>
                        <a:pt x="28" y="25"/>
                      </a:lnTo>
                      <a:lnTo>
                        <a:pt x="26" y="23"/>
                      </a:lnTo>
                      <a:lnTo>
                        <a:pt x="19" y="23"/>
                      </a:lnTo>
                      <a:lnTo>
                        <a:pt x="19" y="23"/>
                      </a:lnTo>
                      <a:lnTo>
                        <a:pt x="11" y="23"/>
                      </a:lnTo>
                      <a:lnTo>
                        <a:pt x="6" y="20"/>
                      </a:lnTo>
                      <a:lnTo>
                        <a:pt x="2" y="16"/>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5" name="Freeform 2062">
                  <a:extLst>
                    <a:ext uri="{FF2B5EF4-FFF2-40B4-BE49-F238E27FC236}">
                      <a16:creationId xmlns:a16="http://schemas.microsoft.com/office/drawing/2014/main" id="{838963A6-1D95-527C-D466-93C41A722333}"/>
                    </a:ext>
                  </a:extLst>
                </p:cNvPr>
                <p:cNvSpPr>
                  <a:spLocks/>
                </p:cNvSpPr>
                <p:nvPr/>
              </p:nvSpPr>
              <p:spPr bwMode="auto">
                <a:xfrm>
                  <a:off x="9165272" y="4807790"/>
                  <a:ext cx="7048" cy="7048"/>
                </a:xfrm>
                <a:custGeom>
                  <a:avLst/>
                  <a:gdLst/>
                  <a:ahLst/>
                  <a:cxnLst>
                    <a:cxn ang="0">
                      <a:pos x="9" y="9"/>
                    </a:cxn>
                    <a:cxn ang="0">
                      <a:pos x="9" y="9"/>
                    </a:cxn>
                    <a:cxn ang="0">
                      <a:pos x="4" y="9"/>
                    </a:cxn>
                    <a:cxn ang="0">
                      <a:pos x="2" y="9"/>
                    </a:cxn>
                    <a:cxn ang="0">
                      <a:pos x="0" y="5"/>
                    </a:cxn>
                    <a:cxn ang="0">
                      <a:pos x="2" y="2"/>
                    </a:cxn>
                    <a:cxn ang="0">
                      <a:pos x="2" y="2"/>
                    </a:cxn>
                    <a:cxn ang="0">
                      <a:pos x="4" y="0"/>
                    </a:cxn>
                    <a:cxn ang="0">
                      <a:pos x="6" y="0"/>
                    </a:cxn>
                    <a:cxn ang="0">
                      <a:pos x="9" y="2"/>
                    </a:cxn>
                    <a:cxn ang="0">
                      <a:pos x="11" y="5"/>
                    </a:cxn>
                    <a:cxn ang="0">
                      <a:pos x="11" y="7"/>
                    </a:cxn>
                    <a:cxn ang="0">
                      <a:pos x="9" y="9"/>
                    </a:cxn>
                    <a:cxn ang="0">
                      <a:pos x="9" y="9"/>
                    </a:cxn>
                  </a:cxnLst>
                  <a:rect l="0" t="0" r="r" b="b"/>
                  <a:pathLst>
                    <a:path w="11" h="9">
                      <a:moveTo>
                        <a:pt x="9" y="9"/>
                      </a:moveTo>
                      <a:lnTo>
                        <a:pt x="9" y="9"/>
                      </a:lnTo>
                      <a:lnTo>
                        <a:pt x="4" y="9"/>
                      </a:lnTo>
                      <a:lnTo>
                        <a:pt x="2" y="9"/>
                      </a:lnTo>
                      <a:lnTo>
                        <a:pt x="0" y="5"/>
                      </a:lnTo>
                      <a:lnTo>
                        <a:pt x="2" y="2"/>
                      </a:lnTo>
                      <a:lnTo>
                        <a:pt x="2" y="2"/>
                      </a:lnTo>
                      <a:lnTo>
                        <a:pt x="4" y="0"/>
                      </a:lnTo>
                      <a:lnTo>
                        <a:pt x="6" y="0"/>
                      </a:lnTo>
                      <a:lnTo>
                        <a:pt x="9" y="2"/>
                      </a:lnTo>
                      <a:lnTo>
                        <a:pt x="11" y="5"/>
                      </a:lnTo>
                      <a:lnTo>
                        <a:pt x="11" y="7"/>
                      </a:lnTo>
                      <a:lnTo>
                        <a:pt x="9" y="9"/>
                      </a:lnTo>
                      <a:lnTo>
                        <a:pt x="9"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6" name="Freeform 2063">
                  <a:extLst>
                    <a:ext uri="{FF2B5EF4-FFF2-40B4-BE49-F238E27FC236}">
                      <a16:creationId xmlns:a16="http://schemas.microsoft.com/office/drawing/2014/main" id="{9FCFA17D-4F15-5D16-A5ED-362E3CED98A6}"/>
                    </a:ext>
                  </a:extLst>
                </p:cNvPr>
                <p:cNvSpPr>
                  <a:spLocks/>
                </p:cNvSpPr>
                <p:nvPr/>
              </p:nvSpPr>
              <p:spPr bwMode="auto">
                <a:xfrm>
                  <a:off x="7805004" y="4279188"/>
                  <a:ext cx="269587" cy="209679"/>
                </a:xfrm>
                <a:custGeom>
                  <a:avLst/>
                  <a:gdLst/>
                  <a:ahLst/>
                  <a:cxnLst>
                    <a:cxn ang="0">
                      <a:pos x="185" y="94"/>
                    </a:cxn>
                    <a:cxn ang="0">
                      <a:pos x="187" y="111"/>
                    </a:cxn>
                    <a:cxn ang="0">
                      <a:pos x="176" y="123"/>
                    </a:cxn>
                    <a:cxn ang="0">
                      <a:pos x="168" y="115"/>
                    </a:cxn>
                    <a:cxn ang="0">
                      <a:pos x="157" y="101"/>
                    </a:cxn>
                    <a:cxn ang="0">
                      <a:pos x="143" y="130"/>
                    </a:cxn>
                    <a:cxn ang="0">
                      <a:pos x="115" y="167"/>
                    </a:cxn>
                    <a:cxn ang="0">
                      <a:pos x="67" y="183"/>
                    </a:cxn>
                    <a:cxn ang="0">
                      <a:pos x="61" y="196"/>
                    </a:cxn>
                    <a:cxn ang="0">
                      <a:pos x="58" y="205"/>
                    </a:cxn>
                    <a:cxn ang="0">
                      <a:pos x="54" y="223"/>
                    </a:cxn>
                    <a:cxn ang="0">
                      <a:pos x="56" y="238"/>
                    </a:cxn>
                    <a:cxn ang="0">
                      <a:pos x="34" y="228"/>
                    </a:cxn>
                    <a:cxn ang="0">
                      <a:pos x="28" y="221"/>
                    </a:cxn>
                    <a:cxn ang="0">
                      <a:pos x="20" y="224"/>
                    </a:cxn>
                    <a:cxn ang="0">
                      <a:pos x="2" y="216"/>
                    </a:cxn>
                    <a:cxn ang="0">
                      <a:pos x="4" y="233"/>
                    </a:cxn>
                    <a:cxn ang="0">
                      <a:pos x="30" y="257"/>
                    </a:cxn>
                    <a:cxn ang="0">
                      <a:pos x="63" y="252"/>
                    </a:cxn>
                    <a:cxn ang="0">
                      <a:pos x="87" y="249"/>
                    </a:cxn>
                    <a:cxn ang="0">
                      <a:pos x="101" y="231"/>
                    </a:cxn>
                    <a:cxn ang="0">
                      <a:pos x="126" y="237"/>
                    </a:cxn>
                    <a:cxn ang="0">
                      <a:pos x="152" y="238"/>
                    </a:cxn>
                    <a:cxn ang="0">
                      <a:pos x="178" y="231"/>
                    </a:cxn>
                    <a:cxn ang="0">
                      <a:pos x="185" y="205"/>
                    </a:cxn>
                    <a:cxn ang="0">
                      <a:pos x="197" y="188"/>
                    </a:cxn>
                    <a:cxn ang="0">
                      <a:pos x="199" y="169"/>
                    </a:cxn>
                    <a:cxn ang="0">
                      <a:pos x="209" y="162"/>
                    </a:cxn>
                    <a:cxn ang="0">
                      <a:pos x="222" y="115"/>
                    </a:cxn>
                    <a:cxn ang="0">
                      <a:pos x="262" y="113"/>
                    </a:cxn>
                    <a:cxn ang="0">
                      <a:pos x="281" y="120"/>
                    </a:cxn>
                    <a:cxn ang="0">
                      <a:pos x="289" y="115"/>
                    </a:cxn>
                    <a:cxn ang="0">
                      <a:pos x="312" y="113"/>
                    </a:cxn>
                    <a:cxn ang="0">
                      <a:pos x="305" y="95"/>
                    </a:cxn>
                    <a:cxn ang="0">
                      <a:pos x="312" y="85"/>
                    </a:cxn>
                    <a:cxn ang="0">
                      <a:pos x="340" y="75"/>
                    </a:cxn>
                    <a:cxn ang="0">
                      <a:pos x="331" y="68"/>
                    </a:cxn>
                    <a:cxn ang="0">
                      <a:pos x="319" y="61"/>
                    </a:cxn>
                    <a:cxn ang="0">
                      <a:pos x="303" y="52"/>
                    </a:cxn>
                    <a:cxn ang="0">
                      <a:pos x="295" y="52"/>
                    </a:cxn>
                    <a:cxn ang="0">
                      <a:pos x="296" y="40"/>
                    </a:cxn>
                    <a:cxn ang="0">
                      <a:pos x="284" y="35"/>
                    </a:cxn>
                    <a:cxn ang="0">
                      <a:pos x="277" y="17"/>
                    </a:cxn>
                    <a:cxn ang="0">
                      <a:pos x="267" y="0"/>
                    </a:cxn>
                    <a:cxn ang="0">
                      <a:pos x="256" y="17"/>
                    </a:cxn>
                    <a:cxn ang="0">
                      <a:pos x="255" y="0"/>
                    </a:cxn>
                    <a:cxn ang="0">
                      <a:pos x="241" y="22"/>
                    </a:cxn>
                    <a:cxn ang="0">
                      <a:pos x="229" y="42"/>
                    </a:cxn>
                    <a:cxn ang="0">
                      <a:pos x="222" y="59"/>
                    </a:cxn>
                    <a:cxn ang="0">
                      <a:pos x="209" y="62"/>
                    </a:cxn>
                    <a:cxn ang="0">
                      <a:pos x="211" y="78"/>
                    </a:cxn>
                    <a:cxn ang="0">
                      <a:pos x="199" y="87"/>
                    </a:cxn>
                    <a:cxn ang="0">
                      <a:pos x="202" y="108"/>
                    </a:cxn>
                    <a:cxn ang="0">
                      <a:pos x="195" y="111"/>
                    </a:cxn>
                  </a:cxnLst>
                  <a:rect l="0" t="0" r="r" b="b"/>
                  <a:pathLst>
                    <a:path w="340" h="259">
                      <a:moveTo>
                        <a:pt x="192" y="89"/>
                      </a:moveTo>
                      <a:lnTo>
                        <a:pt x="192" y="89"/>
                      </a:lnTo>
                      <a:lnTo>
                        <a:pt x="190" y="92"/>
                      </a:lnTo>
                      <a:lnTo>
                        <a:pt x="188" y="92"/>
                      </a:lnTo>
                      <a:lnTo>
                        <a:pt x="187" y="92"/>
                      </a:lnTo>
                      <a:lnTo>
                        <a:pt x="185" y="94"/>
                      </a:lnTo>
                      <a:lnTo>
                        <a:pt x="185" y="94"/>
                      </a:lnTo>
                      <a:lnTo>
                        <a:pt x="183" y="97"/>
                      </a:lnTo>
                      <a:lnTo>
                        <a:pt x="183" y="102"/>
                      </a:lnTo>
                      <a:lnTo>
                        <a:pt x="187" y="108"/>
                      </a:lnTo>
                      <a:lnTo>
                        <a:pt x="187" y="108"/>
                      </a:lnTo>
                      <a:lnTo>
                        <a:pt x="187" y="111"/>
                      </a:lnTo>
                      <a:lnTo>
                        <a:pt x="185" y="116"/>
                      </a:lnTo>
                      <a:lnTo>
                        <a:pt x="183" y="123"/>
                      </a:lnTo>
                      <a:lnTo>
                        <a:pt x="180" y="125"/>
                      </a:lnTo>
                      <a:lnTo>
                        <a:pt x="180" y="125"/>
                      </a:lnTo>
                      <a:lnTo>
                        <a:pt x="178" y="125"/>
                      </a:lnTo>
                      <a:lnTo>
                        <a:pt x="176" y="123"/>
                      </a:lnTo>
                      <a:lnTo>
                        <a:pt x="175" y="120"/>
                      </a:lnTo>
                      <a:lnTo>
                        <a:pt x="173" y="116"/>
                      </a:lnTo>
                      <a:lnTo>
                        <a:pt x="171" y="116"/>
                      </a:lnTo>
                      <a:lnTo>
                        <a:pt x="171" y="116"/>
                      </a:lnTo>
                      <a:lnTo>
                        <a:pt x="168" y="116"/>
                      </a:lnTo>
                      <a:lnTo>
                        <a:pt x="168" y="115"/>
                      </a:lnTo>
                      <a:lnTo>
                        <a:pt x="168" y="111"/>
                      </a:lnTo>
                      <a:lnTo>
                        <a:pt x="166" y="106"/>
                      </a:lnTo>
                      <a:lnTo>
                        <a:pt x="162" y="104"/>
                      </a:lnTo>
                      <a:lnTo>
                        <a:pt x="159" y="102"/>
                      </a:lnTo>
                      <a:lnTo>
                        <a:pt x="159" y="102"/>
                      </a:lnTo>
                      <a:lnTo>
                        <a:pt x="157" y="101"/>
                      </a:lnTo>
                      <a:lnTo>
                        <a:pt x="155" y="102"/>
                      </a:lnTo>
                      <a:lnTo>
                        <a:pt x="155" y="111"/>
                      </a:lnTo>
                      <a:lnTo>
                        <a:pt x="155" y="111"/>
                      </a:lnTo>
                      <a:lnTo>
                        <a:pt x="154" y="116"/>
                      </a:lnTo>
                      <a:lnTo>
                        <a:pt x="152" y="122"/>
                      </a:lnTo>
                      <a:lnTo>
                        <a:pt x="143" y="130"/>
                      </a:lnTo>
                      <a:lnTo>
                        <a:pt x="133" y="143"/>
                      </a:lnTo>
                      <a:lnTo>
                        <a:pt x="129" y="151"/>
                      </a:lnTo>
                      <a:lnTo>
                        <a:pt x="126" y="158"/>
                      </a:lnTo>
                      <a:lnTo>
                        <a:pt x="126" y="158"/>
                      </a:lnTo>
                      <a:lnTo>
                        <a:pt x="122" y="163"/>
                      </a:lnTo>
                      <a:lnTo>
                        <a:pt x="115" y="167"/>
                      </a:lnTo>
                      <a:lnTo>
                        <a:pt x="98" y="170"/>
                      </a:lnTo>
                      <a:lnTo>
                        <a:pt x="79" y="174"/>
                      </a:lnTo>
                      <a:lnTo>
                        <a:pt x="72" y="176"/>
                      </a:lnTo>
                      <a:lnTo>
                        <a:pt x="68" y="179"/>
                      </a:lnTo>
                      <a:lnTo>
                        <a:pt x="68" y="179"/>
                      </a:lnTo>
                      <a:lnTo>
                        <a:pt x="67" y="183"/>
                      </a:lnTo>
                      <a:lnTo>
                        <a:pt x="67" y="186"/>
                      </a:lnTo>
                      <a:lnTo>
                        <a:pt x="67" y="193"/>
                      </a:lnTo>
                      <a:lnTo>
                        <a:pt x="67" y="198"/>
                      </a:lnTo>
                      <a:lnTo>
                        <a:pt x="65" y="198"/>
                      </a:lnTo>
                      <a:lnTo>
                        <a:pt x="61" y="196"/>
                      </a:lnTo>
                      <a:lnTo>
                        <a:pt x="61" y="196"/>
                      </a:lnTo>
                      <a:lnTo>
                        <a:pt x="60" y="195"/>
                      </a:lnTo>
                      <a:lnTo>
                        <a:pt x="58" y="195"/>
                      </a:lnTo>
                      <a:lnTo>
                        <a:pt x="56" y="198"/>
                      </a:lnTo>
                      <a:lnTo>
                        <a:pt x="56" y="202"/>
                      </a:lnTo>
                      <a:lnTo>
                        <a:pt x="58" y="205"/>
                      </a:lnTo>
                      <a:lnTo>
                        <a:pt x="58" y="205"/>
                      </a:lnTo>
                      <a:lnTo>
                        <a:pt x="60" y="207"/>
                      </a:lnTo>
                      <a:lnTo>
                        <a:pt x="60" y="209"/>
                      </a:lnTo>
                      <a:lnTo>
                        <a:pt x="58" y="210"/>
                      </a:lnTo>
                      <a:lnTo>
                        <a:pt x="56" y="217"/>
                      </a:lnTo>
                      <a:lnTo>
                        <a:pt x="56" y="217"/>
                      </a:lnTo>
                      <a:lnTo>
                        <a:pt x="54" y="223"/>
                      </a:lnTo>
                      <a:lnTo>
                        <a:pt x="53" y="226"/>
                      </a:lnTo>
                      <a:lnTo>
                        <a:pt x="51" y="228"/>
                      </a:lnTo>
                      <a:lnTo>
                        <a:pt x="54" y="233"/>
                      </a:lnTo>
                      <a:lnTo>
                        <a:pt x="54" y="233"/>
                      </a:lnTo>
                      <a:lnTo>
                        <a:pt x="56" y="237"/>
                      </a:lnTo>
                      <a:lnTo>
                        <a:pt x="56" y="238"/>
                      </a:lnTo>
                      <a:lnTo>
                        <a:pt x="49" y="233"/>
                      </a:lnTo>
                      <a:lnTo>
                        <a:pt x="49" y="233"/>
                      </a:lnTo>
                      <a:lnTo>
                        <a:pt x="44" y="231"/>
                      </a:lnTo>
                      <a:lnTo>
                        <a:pt x="39" y="230"/>
                      </a:lnTo>
                      <a:lnTo>
                        <a:pt x="35" y="230"/>
                      </a:lnTo>
                      <a:lnTo>
                        <a:pt x="34" y="228"/>
                      </a:lnTo>
                      <a:lnTo>
                        <a:pt x="34" y="226"/>
                      </a:lnTo>
                      <a:lnTo>
                        <a:pt x="34" y="226"/>
                      </a:lnTo>
                      <a:lnTo>
                        <a:pt x="35" y="223"/>
                      </a:lnTo>
                      <a:lnTo>
                        <a:pt x="34" y="223"/>
                      </a:lnTo>
                      <a:lnTo>
                        <a:pt x="32" y="223"/>
                      </a:lnTo>
                      <a:lnTo>
                        <a:pt x="28" y="221"/>
                      </a:lnTo>
                      <a:lnTo>
                        <a:pt x="28" y="221"/>
                      </a:lnTo>
                      <a:lnTo>
                        <a:pt x="27" y="219"/>
                      </a:lnTo>
                      <a:lnTo>
                        <a:pt x="27" y="221"/>
                      </a:lnTo>
                      <a:lnTo>
                        <a:pt x="25" y="223"/>
                      </a:lnTo>
                      <a:lnTo>
                        <a:pt x="20" y="224"/>
                      </a:lnTo>
                      <a:lnTo>
                        <a:pt x="20" y="224"/>
                      </a:lnTo>
                      <a:lnTo>
                        <a:pt x="16" y="224"/>
                      </a:lnTo>
                      <a:lnTo>
                        <a:pt x="11" y="221"/>
                      </a:lnTo>
                      <a:lnTo>
                        <a:pt x="6" y="217"/>
                      </a:lnTo>
                      <a:lnTo>
                        <a:pt x="4" y="210"/>
                      </a:lnTo>
                      <a:lnTo>
                        <a:pt x="4" y="210"/>
                      </a:lnTo>
                      <a:lnTo>
                        <a:pt x="2" y="216"/>
                      </a:lnTo>
                      <a:lnTo>
                        <a:pt x="0" y="219"/>
                      </a:lnTo>
                      <a:lnTo>
                        <a:pt x="2" y="223"/>
                      </a:lnTo>
                      <a:lnTo>
                        <a:pt x="2" y="223"/>
                      </a:lnTo>
                      <a:lnTo>
                        <a:pt x="4" y="226"/>
                      </a:lnTo>
                      <a:lnTo>
                        <a:pt x="4" y="230"/>
                      </a:lnTo>
                      <a:lnTo>
                        <a:pt x="4" y="233"/>
                      </a:lnTo>
                      <a:lnTo>
                        <a:pt x="7" y="235"/>
                      </a:lnTo>
                      <a:lnTo>
                        <a:pt x="7" y="235"/>
                      </a:lnTo>
                      <a:lnTo>
                        <a:pt x="13" y="238"/>
                      </a:lnTo>
                      <a:lnTo>
                        <a:pt x="18" y="243"/>
                      </a:lnTo>
                      <a:lnTo>
                        <a:pt x="30" y="257"/>
                      </a:lnTo>
                      <a:lnTo>
                        <a:pt x="30" y="257"/>
                      </a:lnTo>
                      <a:lnTo>
                        <a:pt x="34" y="259"/>
                      </a:lnTo>
                      <a:lnTo>
                        <a:pt x="37" y="259"/>
                      </a:lnTo>
                      <a:lnTo>
                        <a:pt x="44" y="256"/>
                      </a:lnTo>
                      <a:lnTo>
                        <a:pt x="51" y="252"/>
                      </a:lnTo>
                      <a:lnTo>
                        <a:pt x="58" y="252"/>
                      </a:lnTo>
                      <a:lnTo>
                        <a:pt x="63" y="252"/>
                      </a:lnTo>
                      <a:lnTo>
                        <a:pt x="63" y="252"/>
                      </a:lnTo>
                      <a:lnTo>
                        <a:pt x="75" y="254"/>
                      </a:lnTo>
                      <a:lnTo>
                        <a:pt x="81" y="254"/>
                      </a:lnTo>
                      <a:lnTo>
                        <a:pt x="84" y="250"/>
                      </a:lnTo>
                      <a:lnTo>
                        <a:pt x="87" y="249"/>
                      </a:lnTo>
                      <a:lnTo>
                        <a:pt x="87" y="249"/>
                      </a:lnTo>
                      <a:lnTo>
                        <a:pt x="91" y="249"/>
                      </a:lnTo>
                      <a:lnTo>
                        <a:pt x="91" y="245"/>
                      </a:lnTo>
                      <a:lnTo>
                        <a:pt x="93" y="240"/>
                      </a:lnTo>
                      <a:lnTo>
                        <a:pt x="94" y="237"/>
                      </a:lnTo>
                      <a:lnTo>
                        <a:pt x="96" y="233"/>
                      </a:lnTo>
                      <a:lnTo>
                        <a:pt x="101" y="231"/>
                      </a:lnTo>
                      <a:lnTo>
                        <a:pt x="110" y="230"/>
                      </a:lnTo>
                      <a:lnTo>
                        <a:pt x="110" y="230"/>
                      </a:lnTo>
                      <a:lnTo>
                        <a:pt x="119" y="231"/>
                      </a:lnTo>
                      <a:lnTo>
                        <a:pt x="122" y="233"/>
                      </a:lnTo>
                      <a:lnTo>
                        <a:pt x="122" y="235"/>
                      </a:lnTo>
                      <a:lnTo>
                        <a:pt x="126" y="237"/>
                      </a:lnTo>
                      <a:lnTo>
                        <a:pt x="126" y="237"/>
                      </a:lnTo>
                      <a:lnTo>
                        <a:pt x="138" y="242"/>
                      </a:lnTo>
                      <a:lnTo>
                        <a:pt x="145" y="243"/>
                      </a:lnTo>
                      <a:lnTo>
                        <a:pt x="148" y="242"/>
                      </a:lnTo>
                      <a:lnTo>
                        <a:pt x="152" y="238"/>
                      </a:lnTo>
                      <a:lnTo>
                        <a:pt x="152" y="238"/>
                      </a:lnTo>
                      <a:lnTo>
                        <a:pt x="154" y="237"/>
                      </a:lnTo>
                      <a:lnTo>
                        <a:pt x="159" y="235"/>
                      </a:lnTo>
                      <a:lnTo>
                        <a:pt x="166" y="235"/>
                      </a:lnTo>
                      <a:lnTo>
                        <a:pt x="173" y="235"/>
                      </a:lnTo>
                      <a:lnTo>
                        <a:pt x="176" y="233"/>
                      </a:lnTo>
                      <a:lnTo>
                        <a:pt x="178" y="231"/>
                      </a:lnTo>
                      <a:lnTo>
                        <a:pt x="178" y="231"/>
                      </a:lnTo>
                      <a:lnTo>
                        <a:pt x="183" y="217"/>
                      </a:lnTo>
                      <a:lnTo>
                        <a:pt x="185" y="214"/>
                      </a:lnTo>
                      <a:lnTo>
                        <a:pt x="185" y="209"/>
                      </a:lnTo>
                      <a:lnTo>
                        <a:pt x="185" y="209"/>
                      </a:lnTo>
                      <a:lnTo>
                        <a:pt x="185" y="205"/>
                      </a:lnTo>
                      <a:lnTo>
                        <a:pt x="187" y="202"/>
                      </a:lnTo>
                      <a:lnTo>
                        <a:pt x="192" y="196"/>
                      </a:lnTo>
                      <a:lnTo>
                        <a:pt x="197" y="191"/>
                      </a:lnTo>
                      <a:lnTo>
                        <a:pt x="199" y="190"/>
                      </a:lnTo>
                      <a:lnTo>
                        <a:pt x="197" y="188"/>
                      </a:lnTo>
                      <a:lnTo>
                        <a:pt x="197" y="188"/>
                      </a:lnTo>
                      <a:lnTo>
                        <a:pt x="195" y="186"/>
                      </a:lnTo>
                      <a:lnTo>
                        <a:pt x="195" y="184"/>
                      </a:lnTo>
                      <a:lnTo>
                        <a:pt x="195" y="174"/>
                      </a:lnTo>
                      <a:lnTo>
                        <a:pt x="195" y="174"/>
                      </a:lnTo>
                      <a:lnTo>
                        <a:pt x="197" y="170"/>
                      </a:lnTo>
                      <a:lnTo>
                        <a:pt x="199" y="169"/>
                      </a:lnTo>
                      <a:lnTo>
                        <a:pt x="204" y="169"/>
                      </a:lnTo>
                      <a:lnTo>
                        <a:pt x="206" y="169"/>
                      </a:lnTo>
                      <a:lnTo>
                        <a:pt x="208" y="169"/>
                      </a:lnTo>
                      <a:lnTo>
                        <a:pt x="209" y="165"/>
                      </a:lnTo>
                      <a:lnTo>
                        <a:pt x="209" y="162"/>
                      </a:lnTo>
                      <a:lnTo>
                        <a:pt x="209" y="162"/>
                      </a:lnTo>
                      <a:lnTo>
                        <a:pt x="209" y="149"/>
                      </a:lnTo>
                      <a:lnTo>
                        <a:pt x="211" y="139"/>
                      </a:lnTo>
                      <a:lnTo>
                        <a:pt x="213" y="129"/>
                      </a:lnTo>
                      <a:lnTo>
                        <a:pt x="218" y="118"/>
                      </a:lnTo>
                      <a:lnTo>
                        <a:pt x="218" y="118"/>
                      </a:lnTo>
                      <a:lnTo>
                        <a:pt x="222" y="115"/>
                      </a:lnTo>
                      <a:lnTo>
                        <a:pt x="225" y="113"/>
                      </a:lnTo>
                      <a:lnTo>
                        <a:pt x="230" y="111"/>
                      </a:lnTo>
                      <a:lnTo>
                        <a:pt x="235" y="111"/>
                      </a:lnTo>
                      <a:lnTo>
                        <a:pt x="246" y="113"/>
                      </a:lnTo>
                      <a:lnTo>
                        <a:pt x="253" y="113"/>
                      </a:lnTo>
                      <a:lnTo>
                        <a:pt x="262" y="113"/>
                      </a:lnTo>
                      <a:lnTo>
                        <a:pt x="262" y="113"/>
                      </a:lnTo>
                      <a:lnTo>
                        <a:pt x="265" y="111"/>
                      </a:lnTo>
                      <a:lnTo>
                        <a:pt x="269" y="111"/>
                      </a:lnTo>
                      <a:lnTo>
                        <a:pt x="274" y="115"/>
                      </a:lnTo>
                      <a:lnTo>
                        <a:pt x="281" y="120"/>
                      </a:lnTo>
                      <a:lnTo>
                        <a:pt x="281" y="120"/>
                      </a:lnTo>
                      <a:lnTo>
                        <a:pt x="284" y="118"/>
                      </a:lnTo>
                      <a:lnTo>
                        <a:pt x="284" y="118"/>
                      </a:lnTo>
                      <a:lnTo>
                        <a:pt x="284" y="113"/>
                      </a:lnTo>
                      <a:lnTo>
                        <a:pt x="284" y="111"/>
                      </a:lnTo>
                      <a:lnTo>
                        <a:pt x="289" y="115"/>
                      </a:lnTo>
                      <a:lnTo>
                        <a:pt x="289" y="115"/>
                      </a:lnTo>
                      <a:lnTo>
                        <a:pt x="295" y="116"/>
                      </a:lnTo>
                      <a:lnTo>
                        <a:pt x="298" y="116"/>
                      </a:lnTo>
                      <a:lnTo>
                        <a:pt x="302" y="115"/>
                      </a:lnTo>
                      <a:lnTo>
                        <a:pt x="307" y="113"/>
                      </a:lnTo>
                      <a:lnTo>
                        <a:pt x="307" y="113"/>
                      </a:lnTo>
                      <a:lnTo>
                        <a:pt x="312" y="113"/>
                      </a:lnTo>
                      <a:lnTo>
                        <a:pt x="317" y="111"/>
                      </a:lnTo>
                      <a:lnTo>
                        <a:pt x="317" y="109"/>
                      </a:lnTo>
                      <a:lnTo>
                        <a:pt x="317" y="108"/>
                      </a:lnTo>
                      <a:lnTo>
                        <a:pt x="312" y="102"/>
                      </a:lnTo>
                      <a:lnTo>
                        <a:pt x="312" y="102"/>
                      </a:lnTo>
                      <a:lnTo>
                        <a:pt x="305" y="95"/>
                      </a:lnTo>
                      <a:lnTo>
                        <a:pt x="302" y="92"/>
                      </a:lnTo>
                      <a:lnTo>
                        <a:pt x="303" y="89"/>
                      </a:lnTo>
                      <a:lnTo>
                        <a:pt x="307" y="85"/>
                      </a:lnTo>
                      <a:lnTo>
                        <a:pt x="307" y="85"/>
                      </a:lnTo>
                      <a:lnTo>
                        <a:pt x="309" y="83"/>
                      </a:lnTo>
                      <a:lnTo>
                        <a:pt x="312" y="85"/>
                      </a:lnTo>
                      <a:lnTo>
                        <a:pt x="314" y="87"/>
                      </a:lnTo>
                      <a:lnTo>
                        <a:pt x="323" y="85"/>
                      </a:lnTo>
                      <a:lnTo>
                        <a:pt x="323" y="85"/>
                      </a:lnTo>
                      <a:lnTo>
                        <a:pt x="331" y="83"/>
                      </a:lnTo>
                      <a:lnTo>
                        <a:pt x="336" y="80"/>
                      </a:lnTo>
                      <a:lnTo>
                        <a:pt x="340" y="75"/>
                      </a:lnTo>
                      <a:lnTo>
                        <a:pt x="340" y="69"/>
                      </a:lnTo>
                      <a:lnTo>
                        <a:pt x="340" y="69"/>
                      </a:lnTo>
                      <a:lnTo>
                        <a:pt x="340" y="68"/>
                      </a:lnTo>
                      <a:lnTo>
                        <a:pt x="338" y="66"/>
                      </a:lnTo>
                      <a:lnTo>
                        <a:pt x="335" y="66"/>
                      </a:lnTo>
                      <a:lnTo>
                        <a:pt x="331" y="68"/>
                      </a:lnTo>
                      <a:lnTo>
                        <a:pt x="330" y="66"/>
                      </a:lnTo>
                      <a:lnTo>
                        <a:pt x="328" y="64"/>
                      </a:lnTo>
                      <a:lnTo>
                        <a:pt x="328" y="64"/>
                      </a:lnTo>
                      <a:lnTo>
                        <a:pt x="324" y="62"/>
                      </a:lnTo>
                      <a:lnTo>
                        <a:pt x="323" y="61"/>
                      </a:lnTo>
                      <a:lnTo>
                        <a:pt x="319" y="61"/>
                      </a:lnTo>
                      <a:lnTo>
                        <a:pt x="317" y="57"/>
                      </a:lnTo>
                      <a:lnTo>
                        <a:pt x="317" y="57"/>
                      </a:lnTo>
                      <a:lnTo>
                        <a:pt x="314" y="54"/>
                      </a:lnTo>
                      <a:lnTo>
                        <a:pt x="310" y="50"/>
                      </a:lnTo>
                      <a:lnTo>
                        <a:pt x="305" y="50"/>
                      </a:lnTo>
                      <a:lnTo>
                        <a:pt x="303" y="52"/>
                      </a:lnTo>
                      <a:lnTo>
                        <a:pt x="303" y="52"/>
                      </a:lnTo>
                      <a:lnTo>
                        <a:pt x="298" y="55"/>
                      </a:lnTo>
                      <a:lnTo>
                        <a:pt x="296" y="55"/>
                      </a:lnTo>
                      <a:lnTo>
                        <a:pt x="295" y="54"/>
                      </a:lnTo>
                      <a:lnTo>
                        <a:pt x="295" y="54"/>
                      </a:lnTo>
                      <a:lnTo>
                        <a:pt x="295" y="52"/>
                      </a:lnTo>
                      <a:lnTo>
                        <a:pt x="296" y="50"/>
                      </a:lnTo>
                      <a:lnTo>
                        <a:pt x="298" y="48"/>
                      </a:lnTo>
                      <a:lnTo>
                        <a:pt x="298" y="43"/>
                      </a:lnTo>
                      <a:lnTo>
                        <a:pt x="298" y="43"/>
                      </a:lnTo>
                      <a:lnTo>
                        <a:pt x="296" y="42"/>
                      </a:lnTo>
                      <a:lnTo>
                        <a:pt x="296" y="40"/>
                      </a:lnTo>
                      <a:lnTo>
                        <a:pt x="291" y="42"/>
                      </a:lnTo>
                      <a:lnTo>
                        <a:pt x="288" y="43"/>
                      </a:lnTo>
                      <a:lnTo>
                        <a:pt x="286" y="43"/>
                      </a:lnTo>
                      <a:lnTo>
                        <a:pt x="284" y="42"/>
                      </a:lnTo>
                      <a:lnTo>
                        <a:pt x="284" y="42"/>
                      </a:lnTo>
                      <a:lnTo>
                        <a:pt x="284" y="35"/>
                      </a:lnTo>
                      <a:lnTo>
                        <a:pt x="284" y="29"/>
                      </a:lnTo>
                      <a:lnTo>
                        <a:pt x="286" y="24"/>
                      </a:lnTo>
                      <a:lnTo>
                        <a:pt x="283" y="19"/>
                      </a:lnTo>
                      <a:lnTo>
                        <a:pt x="283" y="19"/>
                      </a:lnTo>
                      <a:lnTo>
                        <a:pt x="279" y="15"/>
                      </a:lnTo>
                      <a:lnTo>
                        <a:pt x="277" y="17"/>
                      </a:lnTo>
                      <a:lnTo>
                        <a:pt x="277" y="17"/>
                      </a:lnTo>
                      <a:lnTo>
                        <a:pt x="276" y="17"/>
                      </a:lnTo>
                      <a:lnTo>
                        <a:pt x="272" y="15"/>
                      </a:lnTo>
                      <a:lnTo>
                        <a:pt x="270" y="8"/>
                      </a:lnTo>
                      <a:lnTo>
                        <a:pt x="269" y="1"/>
                      </a:lnTo>
                      <a:lnTo>
                        <a:pt x="267" y="0"/>
                      </a:lnTo>
                      <a:lnTo>
                        <a:pt x="265" y="0"/>
                      </a:lnTo>
                      <a:lnTo>
                        <a:pt x="265" y="0"/>
                      </a:lnTo>
                      <a:lnTo>
                        <a:pt x="263" y="3"/>
                      </a:lnTo>
                      <a:lnTo>
                        <a:pt x="262" y="7"/>
                      </a:lnTo>
                      <a:lnTo>
                        <a:pt x="260" y="12"/>
                      </a:lnTo>
                      <a:lnTo>
                        <a:pt x="256" y="17"/>
                      </a:lnTo>
                      <a:lnTo>
                        <a:pt x="256" y="17"/>
                      </a:lnTo>
                      <a:lnTo>
                        <a:pt x="255" y="17"/>
                      </a:lnTo>
                      <a:lnTo>
                        <a:pt x="255" y="17"/>
                      </a:lnTo>
                      <a:lnTo>
                        <a:pt x="255" y="10"/>
                      </a:lnTo>
                      <a:lnTo>
                        <a:pt x="256" y="1"/>
                      </a:lnTo>
                      <a:lnTo>
                        <a:pt x="255" y="0"/>
                      </a:lnTo>
                      <a:lnTo>
                        <a:pt x="253" y="0"/>
                      </a:lnTo>
                      <a:lnTo>
                        <a:pt x="253" y="0"/>
                      </a:lnTo>
                      <a:lnTo>
                        <a:pt x="249" y="0"/>
                      </a:lnTo>
                      <a:lnTo>
                        <a:pt x="249" y="5"/>
                      </a:lnTo>
                      <a:lnTo>
                        <a:pt x="246" y="12"/>
                      </a:lnTo>
                      <a:lnTo>
                        <a:pt x="241" y="22"/>
                      </a:lnTo>
                      <a:lnTo>
                        <a:pt x="241" y="22"/>
                      </a:lnTo>
                      <a:lnTo>
                        <a:pt x="235" y="33"/>
                      </a:lnTo>
                      <a:lnTo>
                        <a:pt x="232" y="35"/>
                      </a:lnTo>
                      <a:lnTo>
                        <a:pt x="230" y="36"/>
                      </a:lnTo>
                      <a:lnTo>
                        <a:pt x="229" y="42"/>
                      </a:lnTo>
                      <a:lnTo>
                        <a:pt x="229" y="42"/>
                      </a:lnTo>
                      <a:lnTo>
                        <a:pt x="227" y="48"/>
                      </a:lnTo>
                      <a:lnTo>
                        <a:pt x="225" y="50"/>
                      </a:lnTo>
                      <a:lnTo>
                        <a:pt x="223" y="52"/>
                      </a:lnTo>
                      <a:lnTo>
                        <a:pt x="223" y="54"/>
                      </a:lnTo>
                      <a:lnTo>
                        <a:pt x="223" y="54"/>
                      </a:lnTo>
                      <a:lnTo>
                        <a:pt x="222" y="59"/>
                      </a:lnTo>
                      <a:lnTo>
                        <a:pt x="220" y="62"/>
                      </a:lnTo>
                      <a:lnTo>
                        <a:pt x="216" y="62"/>
                      </a:lnTo>
                      <a:lnTo>
                        <a:pt x="215" y="62"/>
                      </a:lnTo>
                      <a:lnTo>
                        <a:pt x="215" y="62"/>
                      </a:lnTo>
                      <a:lnTo>
                        <a:pt x="213" y="61"/>
                      </a:lnTo>
                      <a:lnTo>
                        <a:pt x="209" y="62"/>
                      </a:lnTo>
                      <a:lnTo>
                        <a:pt x="204" y="69"/>
                      </a:lnTo>
                      <a:lnTo>
                        <a:pt x="204" y="69"/>
                      </a:lnTo>
                      <a:lnTo>
                        <a:pt x="204" y="71"/>
                      </a:lnTo>
                      <a:lnTo>
                        <a:pt x="206" y="71"/>
                      </a:lnTo>
                      <a:lnTo>
                        <a:pt x="209" y="75"/>
                      </a:lnTo>
                      <a:lnTo>
                        <a:pt x="211" y="78"/>
                      </a:lnTo>
                      <a:lnTo>
                        <a:pt x="211" y="82"/>
                      </a:lnTo>
                      <a:lnTo>
                        <a:pt x="208" y="85"/>
                      </a:lnTo>
                      <a:lnTo>
                        <a:pt x="208" y="85"/>
                      </a:lnTo>
                      <a:lnTo>
                        <a:pt x="204" y="87"/>
                      </a:lnTo>
                      <a:lnTo>
                        <a:pt x="202" y="87"/>
                      </a:lnTo>
                      <a:lnTo>
                        <a:pt x="199" y="87"/>
                      </a:lnTo>
                      <a:lnTo>
                        <a:pt x="195" y="90"/>
                      </a:lnTo>
                      <a:lnTo>
                        <a:pt x="195" y="90"/>
                      </a:lnTo>
                      <a:lnTo>
                        <a:pt x="199" y="95"/>
                      </a:lnTo>
                      <a:lnTo>
                        <a:pt x="201" y="99"/>
                      </a:lnTo>
                      <a:lnTo>
                        <a:pt x="201" y="102"/>
                      </a:lnTo>
                      <a:lnTo>
                        <a:pt x="202" y="108"/>
                      </a:lnTo>
                      <a:lnTo>
                        <a:pt x="202" y="108"/>
                      </a:lnTo>
                      <a:lnTo>
                        <a:pt x="204" y="113"/>
                      </a:lnTo>
                      <a:lnTo>
                        <a:pt x="204" y="115"/>
                      </a:lnTo>
                      <a:lnTo>
                        <a:pt x="197" y="111"/>
                      </a:lnTo>
                      <a:lnTo>
                        <a:pt x="197" y="111"/>
                      </a:lnTo>
                      <a:lnTo>
                        <a:pt x="195" y="111"/>
                      </a:lnTo>
                      <a:lnTo>
                        <a:pt x="194" y="108"/>
                      </a:lnTo>
                      <a:lnTo>
                        <a:pt x="192" y="92"/>
                      </a:lnTo>
                      <a:lnTo>
                        <a:pt x="192" y="8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7" name="Freeform 2064">
                  <a:extLst>
                    <a:ext uri="{FF2B5EF4-FFF2-40B4-BE49-F238E27FC236}">
                      <a16:creationId xmlns:a16="http://schemas.microsoft.com/office/drawing/2014/main" id="{11D43743-75C0-60A8-C8C3-C3C4699E4ACE}"/>
                    </a:ext>
                  </a:extLst>
                </p:cNvPr>
                <p:cNvSpPr>
                  <a:spLocks/>
                </p:cNvSpPr>
                <p:nvPr/>
              </p:nvSpPr>
              <p:spPr bwMode="auto">
                <a:xfrm>
                  <a:off x="7537184" y="4288000"/>
                  <a:ext cx="118055" cy="186772"/>
                </a:xfrm>
                <a:custGeom>
                  <a:avLst/>
                  <a:gdLst/>
                  <a:ahLst/>
                  <a:cxnLst>
                    <a:cxn ang="0">
                      <a:pos x="76" y="23"/>
                    </a:cxn>
                    <a:cxn ang="0">
                      <a:pos x="81" y="32"/>
                    </a:cxn>
                    <a:cxn ang="0">
                      <a:pos x="97" y="53"/>
                    </a:cxn>
                    <a:cxn ang="0">
                      <a:pos x="116" y="77"/>
                    </a:cxn>
                    <a:cxn ang="0">
                      <a:pos x="118" y="101"/>
                    </a:cxn>
                    <a:cxn ang="0">
                      <a:pos x="116" y="115"/>
                    </a:cxn>
                    <a:cxn ang="0">
                      <a:pos x="115" y="129"/>
                    </a:cxn>
                    <a:cxn ang="0">
                      <a:pos x="118" y="138"/>
                    </a:cxn>
                    <a:cxn ang="0">
                      <a:pos x="116" y="157"/>
                    </a:cxn>
                    <a:cxn ang="0">
                      <a:pos x="125" y="173"/>
                    </a:cxn>
                    <a:cxn ang="0">
                      <a:pos x="132" y="182"/>
                    </a:cxn>
                    <a:cxn ang="0">
                      <a:pos x="139" y="204"/>
                    </a:cxn>
                    <a:cxn ang="0">
                      <a:pos x="144" y="215"/>
                    </a:cxn>
                    <a:cxn ang="0">
                      <a:pos x="144" y="230"/>
                    </a:cxn>
                    <a:cxn ang="0">
                      <a:pos x="139" y="229"/>
                    </a:cxn>
                    <a:cxn ang="0">
                      <a:pos x="139" y="222"/>
                    </a:cxn>
                    <a:cxn ang="0">
                      <a:pos x="135" y="223"/>
                    </a:cxn>
                    <a:cxn ang="0">
                      <a:pos x="130" y="227"/>
                    </a:cxn>
                    <a:cxn ang="0">
                      <a:pos x="120" y="230"/>
                    </a:cxn>
                    <a:cxn ang="0">
                      <a:pos x="116" y="227"/>
                    </a:cxn>
                    <a:cxn ang="0">
                      <a:pos x="106" y="218"/>
                    </a:cxn>
                    <a:cxn ang="0">
                      <a:pos x="78" y="197"/>
                    </a:cxn>
                    <a:cxn ang="0">
                      <a:pos x="59" y="180"/>
                    </a:cxn>
                    <a:cxn ang="0">
                      <a:pos x="41" y="166"/>
                    </a:cxn>
                    <a:cxn ang="0">
                      <a:pos x="43" y="155"/>
                    </a:cxn>
                    <a:cxn ang="0">
                      <a:pos x="33" y="136"/>
                    </a:cxn>
                    <a:cxn ang="0">
                      <a:pos x="20" y="117"/>
                    </a:cxn>
                    <a:cxn ang="0">
                      <a:pos x="19" y="112"/>
                    </a:cxn>
                    <a:cxn ang="0">
                      <a:pos x="15" y="96"/>
                    </a:cxn>
                    <a:cxn ang="0">
                      <a:pos x="14" y="81"/>
                    </a:cxn>
                    <a:cxn ang="0">
                      <a:pos x="8" y="72"/>
                    </a:cxn>
                    <a:cxn ang="0">
                      <a:pos x="12" y="60"/>
                    </a:cxn>
                    <a:cxn ang="0">
                      <a:pos x="5" y="21"/>
                    </a:cxn>
                    <a:cxn ang="0">
                      <a:pos x="1" y="6"/>
                    </a:cxn>
                    <a:cxn ang="0">
                      <a:pos x="5" y="0"/>
                    </a:cxn>
                    <a:cxn ang="0">
                      <a:pos x="10" y="7"/>
                    </a:cxn>
                    <a:cxn ang="0">
                      <a:pos x="22" y="11"/>
                    </a:cxn>
                    <a:cxn ang="0">
                      <a:pos x="24" y="16"/>
                    </a:cxn>
                    <a:cxn ang="0">
                      <a:pos x="31" y="20"/>
                    </a:cxn>
                    <a:cxn ang="0">
                      <a:pos x="36" y="21"/>
                    </a:cxn>
                    <a:cxn ang="0">
                      <a:pos x="33" y="35"/>
                    </a:cxn>
                    <a:cxn ang="0">
                      <a:pos x="33" y="46"/>
                    </a:cxn>
                    <a:cxn ang="0">
                      <a:pos x="38" y="46"/>
                    </a:cxn>
                    <a:cxn ang="0">
                      <a:pos x="50" y="35"/>
                    </a:cxn>
                    <a:cxn ang="0">
                      <a:pos x="59" y="42"/>
                    </a:cxn>
                    <a:cxn ang="0">
                      <a:pos x="66" y="35"/>
                    </a:cxn>
                  </a:cxnLst>
                  <a:rect l="0" t="0" r="r" b="b"/>
                  <a:pathLst>
                    <a:path w="146" h="232">
                      <a:moveTo>
                        <a:pt x="69" y="21"/>
                      </a:moveTo>
                      <a:lnTo>
                        <a:pt x="69" y="21"/>
                      </a:lnTo>
                      <a:lnTo>
                        <a:pt x="76" y="23"/>
                      </a:lnTo>
                      <a:lnTo>
                        <a:pt x="80" y="27"/>
                      </a:lnTo>
                      <a:lnTo>
                        <a:pt x="81" y="32"/>
                      </a:lnTo>
                      <a:lnTo>
                        <a:pt x="81" y="32"/>
                      </a:lnTo>
                      <a:lnTo>
                        <a:pt x="83" y="37"/>
                      </a:lnTo>
                      <a:lnTo>
                        <a:pt x="88" y="40"/>
                      </a:lnTo>
                      <a:lnTo>
                        <a:pt x="97" y="53"/>
                      </a:lnTo>
                      <a:lnTo>
                        <a:pt x="108" y="63"/>
                      </a:lnTo>
                      <a:lnTo>
                        <a:pt x="113" y="70"/>
                      </a:lnTo>
                      <a:lnTo>
                        <a:pt x="116" y="77"/>
                      </a:lnTo>
                      <a:lnTo>
                        <a:pt x="116" y="77"/>
                      </a:lnTo>
                      <a:lnTo>
                        <a:pt x="118" y="91"/>
                      </a:lnTo>
                      <a:lnTo>
                        <a:pt x="118" y="101"/>
                      </a:lnTo>
                      <a:lnTo>
                        <a:pt x="116" y="110"/>
                      </a:lnTo>
                      <a:lnTo>
                        <a:pt x="116" y="115"/>
                      </a:lnTo>
                      <a:lnTo>
                        <a:pt x="116" y="115"/>
                      </a:lnTo>
                      <a:lnTo>
                        <a:pt x="116" y="119"/>
                      </a:lnTo>
                      <a:lnTo>
                        <a:pt x="115" y="124"/>
                      </a:lnTo>
                      <a:lnTo>
                        <a:pt x="115" y="129"/>
                      </a:lnTo>
                      <a:lnTo>
                        <a:pt x="116" y="135"/>
                      </a:lnTo>
                      <a:lnTo>
                        <a:pt x="116" y="135"/>
                      </a:lnTo>
                      <a:lnTo>
                        <a:pt x="118" y="138"/>
                      </a:lnTo>
                      <a:lnTo>
                        <a:pt x="118" y="141"/>
                      </a:lnTo>
                      <a:lnTo>
                        <a:pt x="116" y="152"/>
                      </a:lnTo>
                      <a:lnTo>
                        <a:pt x="116" y="157"/>
                      </a:lnTo>
                      <a:lnTo>
                        <a:pt x="116" y="162"/>
                      </a:lnTo>
                      <a:lnTo>
                        <a:pt x="120" y="168"/>
                      </a:lnTo>
                      <a:lnTo>
                        <a:pt x="125" y="173"/>
                      </a:lnTo>
                      <a:lnTo>
                        <a:pt x="125" y="173"/>
                      </a:lnTo>
                      <a:lnTo>
                        <a:pt x="130" y="176"/>
                      </a:lnTo>
                      <a:lnTo>
                        <a:pt x="132" y="182"/>
                      </a:lnTo>
                      <a:lnTo>
                        <a:pt x="135" y="190"/>
                      </a:lnTo>
                      <a:lnTo>
                        <a:pt x="137" y="201"/>
                      </a:lnTo>
                      <a:lnTo>
                        <a:pt x="139" y="204"/>
                      </a:lnTo>
                      <a:lnTo>
                        <a:pt x="141" y="208"/>
                      </a:lnTo>
                      <a:lnTo>
                        <a:pt x="141" y="208"/>
                      </a:lnTo>
                      <a:lnTo>
                        <a:pt x="144" y="215"/>
                      </a:lnTo>
                      <a:lnTo>
                        <a:pt x="146" y="222"/>
                      </a:lnTo>
                      <a:lnTo>
                        <a:pt x="146" y="229"/>
                      </a:lnTo>
                      <a:lnTo>
                        <a:pt x="144" y="230"/>
                      </a:lnTo>
                      <a:lnTo>
                        <a:pt x="142" y="230"/>
                      </a:lnTo>
                      <a:lnTo>
                        <a:pt x="142" y="230"/>
                      </a:lnTo>
                      <a:lnTo>
                        <a:pt x="139" y="229"/>
                      </a:lnTo>
                      <a:lnTo>
                        <a:pt x="141" y="225"/>
                      </a:lnTo>
                      <a:lnTo>
                        <a:pt x="141" y="223"/>
                      </a:lnTo>
                      <a:lnTo>
                        <a:pt x="139" y="222"/>
                      </a:lnTo>
                      <a:lnTo>
                        <a:pt x="139" y="222"/>
                      </a:lnTo>
                      <a:lnTo>
                        <a:pt x="135" y="222"/>
                      </a:lnTo>
                      <a:lnTo>
                        <a:pt x="135" y="223"/>
                      </a:lnTo>
                      <a:lnTo>
                        <a:pt x="134" y="227"/>
                      </a:lnTo>
                      <a:lnTo>
                        <a:pt x="130" y="227"/>
                      </a:lnTo>
                      <a:lnTo>
                        <a:pt x="130" y="227"/>
                      </a:lnTo>
                      <a:lnTo>
                        <a:pt x="127" y="225"/>
                      </a:lnTo>
                      <a:lnTo>
                        <a:pt x="123" y="227"/>
                      </a:lnTo>
                      <a:lnTo>
                        <a:pt x="120" y="230"/>
                      </a:lnTo>
                      <a:lnTo>
                        <a:pt x="118" y="232"/>
                      </a:lnTo>
                      <a:lnTo>
                        <a:pt x="116" y="227"/>
                      </a:lnTo>
                      <a:lnTo>
                        <a:pt x="116" y="227"/>
                      </a:lnTo>
                      <a:lnTo>
                        <a:pt x="113" y="223"/>
                      </a:lnTo>
                      <a:lnTo>
                        <a:pt x="111" y="220"/>
                      </a:lnTo>
                      <a:lnTo>
                        <a:pt x="106" y="218"/>
                      </a:lnTo>
                      <a:lnTo>
                        <a:pt x="95" y="211"/>
                      </a:lnTo>
                      <a:lnTo>
                        <a:pt x="88" y="206"/>
                      </a:lnTo>
                      <a:lnTo>
                        <a:pt x="78" y="197"/>
                      </a:lnTo>
                      <a:lnTo>
                        <a:pt x="78" y="197"/>
                      </a:lnTo>
                      <a:lnTo>
                        <a:pt x="68" y="187"/>
                      </a:lnTo>
                      <a:lnTo>
                        <a:pt x="59" y="180"/>
                      </a:lnTo>
                      <a:lnTo>
                        <a:pt x="47" y="171"/>
                      </a:lnTo>
                      <a:lnTo>
                        <a:pt x="41" y="168"/>
                      </a:lnTo>
                      <a:lnTo>
                        <a:pt x="41" y="166"/>
                      </a:lnTo>
                      <a:lnTo>
                        <a:pt x="41" y="162"/>
                      </a:lnTo>
                      <a:lnTo>
                        <a:pt x="41" y="162"/>
                      </a:lnTo>
                      <a:lnTo>
                        <a:pt x="43" y="155"/>
                      </a:lnTo>
                      <a:lnTo>
                        <a:pt x="40" y="148"/>
                      </a:lnTo>
                      <a:lnTo>
                        <a:pt x="36" y="141"/>
                      </a:lnTo>
                      <a:lnTo>
                        <a:pt x="33" y="136"/>
                      </a:lnTo>
                      <a:lnTo>
                        <a:pt x="24" y="126"/>
                      </a:lnTo>
                      <a:lnTo>
                        <a:pt x="20" y="121"/>
                      </a:lnTo>
                      <a:lnTo>
                        <a:pt x="20" y="117"/>
                      </a:lnTo>
                      <a:lnTo>
                        <a:pt x="20" y="117"/>
                      </a:lnTo>
                      <a:lnTo>
                        <a:pt x="20" y="114"/>
                      </a:lnTo>
                      <a:lnTo>
                        <a:pt x="19" y="112"/>
                      </a:lnTo>
                      <a:lnTo>
                        <a:pt x="15" y="108"/>
                      </a:lnTo>
                      <a:lnTo>
                        <a:pt x="15" y="96"/>
                      </a:lnTo>
                      <a:lnTo>
                        <a:pt x="15" y="96"/>
                      </a:lnTo>
                      <a:lnTo>
                        <a:pt x="17" y="89"/>
                      </a:lnTo>
                      <a:lnTo>
                        <a:pt x="15" y="84"/>
                      </a:lnTo>
                      <a:lnTo>
                        <a:pt x="14" y="81"/>
                      </a:lnTo>
                      <a:lnTo>
                        <a:pt x="12" y="79"/>
                      </a:lnTo>
                      <a:lnTo>
                        <a:pt x="10" y="74"/>
                      </a:lnTo>
                      <a:lnTo>
                        <a:pt x="8" y="72"/>
                      </a:lnTo>
                      <a:lnTo>
                        <a:pt x="10" y="68"/>
                      </a:lnTo>
                      <a:lnTo>
                        <a:pt x="10" y="68"/>
                      </a:lnTo>
                      <a:lnTo>
                        <a:pt x="12" y="60"/>
                      </a:lnTo>
                      <a:lnTo>
                        <a:pt x="10" y="46"/>
                      </a:lnTo>
                      <a:lnTo>
                        <a:pt x="7" y="30"/>
                      </a:lnTo>
                      <a:lnTo>
                        <a:pt x="5" y="21"/>
                      </a:lnTo>
                      <a:lnTo>
                        <a:pt x="0" y="14"/>
                      </a:lnTo>
                      <a:lnTo>
                        <a:pt x="0" y="14"/>
                      </a:lnTo>
                      <a:lnTo>
                        <a:pt x="1" y="6"/>
                      </a:lnTo>
                      <a:lnTo>
                        <a:pt x="3" y="2"/>
                      </a:lnTo>
                      <a:lnTo>
                        <a:pt x="5" y="0"/>
                      </a:lnTo>
                      <a:lnTo>
                        <a:pt x="5" y="0"/>
                      </a:lnTo>
                      <a:lnTo>
                        <a:pt x="8" y="6"/>
                      </a:lnTo>
                      <a:lnTo>
                        <a:pt x="8" y="6"/>
                      </a:lnTo>
                      <a:lnTo>
                        <a:pt x="10" y="7"/>
                      </a:lnTo>
                      <a:lnTo>
                        <a:pt x="12" y="9"/>
                      </a:lnTo>
                      <a:lnTo>
                        <a:pt x="17" y="9"/>
                      </a:lnTo>
                      <a:lnTo>
                        <a:pt x="22" y="11"/>
                      </a:lnTo>
                      <a:lnTo>
                        <a:pt x="24" y="13"/>
                      </a:lnTo>
                      <a:lnTo>
                        <a:pt x="24" y="16"/>
                      </a:lnTo>
                      <a:lnTo>
                        <a:pt x="24" y="16"/>
                      </a:lnTo>
                      <a:lnTo>
                        <a:pt x="26" y="20"/>
                      </a:lnTo>
                      <a:lnTo>
                        <a:pt x="27" y="20"/>
                      </a:lnTo>
                      <a:lnTo>
                        <a:pt x="31" y="20"/>
                      </a:lnTo>
                      <a:lnTo>
                        <a:pt x="34" y="20"/>
                      </a:lnTo>
                      <a:lnTo>
                        <a:pt x="34" y="20"/>
                      </a:lnTo>
                      <a:lnTo>
                        <a:pt x="36" y="21"/>
                      </a:lnTo>
                      <a:lnTo>
                        <a:pt x="36" y="21"/>
                      </a:lnTo>
                      <a:lnTo>
                        <a:pt x="34" y="28"/>
                      </a:lnTo>
                      <a:lnTo>
                        <a:pt x="33" y="35"/>
                      </a:lnTo>
                      <a:lnTo>
                        <a:pt x="31" y="40"/>
                      </a:lnTo>
                      <a:lnTo>
                        <a:pt x="31" y="44"/>
                      </a:lnTo>
                      <a:lnTo>
                        <a:pt x="33" y="46"/>
                      </a:lnTo>
                      <a:lnTo>
                        <a:pt x="33" y="46"/>
                      </a:lnTo>
                      <a:lnTo>
                        <a:pt x="36" y="47"/>
                      </a:lnTo>
                      <a:lnTo>
                        <a:pt x="38" y="46"/>
                      </a:lnTo>
                      <a:lnTo>
                        <a:pt x="43" y="40"/>
                      </a:lnTo>
                      <a:lnTo>
                        <a:pt x="48" y="35"/>
                      </a:lnTo>
                      <a:lnTo>
                        <a:pt x="50" y="35"/>
                      </a:lnTo>
                      <a:lnTo>
                        <a:pt x="54" y="37"/>
                      </a:lnTo>
                      <a:lnTo>
                        <a:pt x="54" y="37"/>
                      </a:lnTo>
                      <a:lnTo>
                        <a:pt x="59" y="42"/>
                      </a:lnTo>
                      <a:lnTo>
                        <a:pt x="61" y="42"/>
                      </a:lnTo>
                      <a:lnTo>
                        <a:pt x="62" y="40"/>
                      </a:lnTo>
                      <a:lnTo>
                        <a:pt x="66" y="35"/>
                      </a:lnTo>
                      <a:lnTo>
                        <a:pt x="69" y="21"/>
                      </a:lnTo>
                      <a:lnTo>
                        <a:pt x="69"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8" name="Freeform 2065">
                  <a:extLst>
                    <a:ext uri="{FF2B5EF4-FFF2-40B4-BE49-F238E27FC236}">
                      <a16:creationId xmlns:a16="http://schemas.microsoft.com/office/drawing/2014/main" id="{564BBB81-F310-E5BD-86F0-787FEE220ABC}"/>
                    </a:ext>
                  </a:extLst>
                </p:cNvPr>
                <p:cNvSpPr>
                  <a:spLocks/>
                </p:cNvSpPr>
                <p:nvPr/>
              </p:nvSpPr>
              <p:spPr bwMode="auto">
                <a:xfrm>
                  <a:off x="8314225" y="3588482"/>
                  <a:ext cx="21144" cy="24668"/>
                </a:xfrm>
                <a:custGeom>
                  <a:avLst/>
                  <a:gdLst/>
                  <a:ahLst/>
                  <a:cxnLst>
                    <a:cxn ang="0">
                      <a:pos x="0" y="26"/>
                    </a:cxn>
                    <a:cxn ang="0">
                      <a:pos x="0" y="26"/>
                    </a:cxn>
                    <a:cxn ang="0">
                      <a:pos x="3" y="18"/>
                    </a:cxn>
                    <a:cxn ang="0">
                      <a:pos x="7" y="12"/>
                    </a:cxn>
                    <a:cxn ang="0">
                      <a:pos x="15" y="4"/>
                    </a:cxn>
                    <a:cxn ang="0">
                      <a:pos x="15" y="4"/>
                    </a:cxn>
                    <a:cxn ang="0">
                      <a:pos x="21" y="0"/>
                    </a:cxn>
                    <a:cxn ang="0">
                      <a:pos x="24" y="0"/>
                    </a:cxn>
                    <a:cxn ang="0">
                      <a:pos x="24" y="4"/>
                    </a:cxn>
                    <a:cxn ang="0">
                      <a:pos x="19" y="11"/>
                    </a:cxn>
                    <a:cxn ang="0">
                      <a:pos x="19" y="11"/>
                    </a:cxn>
                    <a:cxn ang="0">
                      <a:pos x="8" y="21"/>
                    </a:cxn>
                    <a:cxn ang="0">
                      <a:pos x="7" y="25"/>
                    </a:cxn>
                    <a:cxn ang="0">
                      <a:pos x="7" y="28"/>
                    </a:cxn>
                    <a:cxn ang="0">
                      <a:pos x="7" y="28"/>
                    </a:cxn>
                    <a:cxn ang="0">
                      <a:pos x="5" y="31"/>
                    </a:cxn>
                    <a:cxn ang="0">
                      <a:pos x="1" y="31"/>
                    </a:cxn>
                    <a:cxn ang="0">
                      <a:pos x="0" y="30"/>
                    </a:cxn>
                    <a:cxn ang="0">
                      <a:pos x="0" y="26"/>
                    </a:cxn>
                  </a:cxnLst>
                  <a:rect l="0" t="0" r="r" b="b"/>
                  <a:pathLst>
                    <a:path w="24" h="31">
                      <a:moveTo>
                        <a:pt x="0" y="26"/>
                      </a:moveTo>
                      <a:lnTo>
                        <a:pt x="0" y="26"/>
                      </a:lnTo>
                      <a:lnTo>
                        <a:pt x="3" y="18"/>
                      </a:lnTo>
                      <a:lnTo>
                        <a:pt x="7" y="12"/>
                      </a:lnTo>
                      <a:lnTo>
                        <a:pt x="15" y="4"/>
                      </a:lnTo>
                      <a:lnTo>
                        <a:pt x="15" y="4"/>
                      </a:lnTo>
                      <a:lnTo>
                        <a:pt x="21" y="0"/>
                      </a:lnTo>
                      <a:lnTo>
                        <a:pt x="24" y="0"/>
                      </a:lnTo>
                      <a:lnTo>
                        <a:pt x="24" y="4"/>
                      </a:lnTo>
                      <a:lnTo>
                        <a:pt x="19" y="11"/>
                      </a:lnTo>
                      <a:lnTo>
                        <a:pt x="19" y="11"/>
                      </a:lnTo>
                      <a:lnTo>
                        <a:pt x="8" y="21"/>
                      </a:lnTo>
                      <a:lnTo>
                        <a:pt x="7" y="25"/>
                      </a:lnTo>
                      <a:lnTo>
                        <a:pt x="7" y="28"/>
                      </a:lnTo>
                      <a:lnTo>
                        <a:pt x="7" y="28"/>
                      </a:lnTo>
                      <a:lnTo>
                        <a:pt x="5" y="31"/>
                      </a:lnTo>
                      <a:lnTo>
                        <a:pt x="1" y="31"/>
                      </a:lnTo>
                      <a:lnTo>
                        <a:pt x="0" y="30"/>
                      </a:lnTo>
                      <a:lnTo>
                        <a:pt x="0"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9" name="Freeform 2066">
                  <a:extLst>
                    <a:ext uri="{FF2B5EF4-FFF2-40B4-BE49-F238E27FC236}">
                      <a16:creationId xmlns:a16="http://schemas.microsoft.com/office/drawing/2014/main" id="{769D2D71-009C-0952-45F0-8B45EB9D6B11}"/>
                    </a:ext>
                  </a:extLst>
                </p:cNvPr>
                <p:cNvSpPr>
                  <a:spLocks/>
                </p:cNvSpPr>
                <p:nvPr/>
              </p:nvSpPr>
              <p:spPr bwMode="auto">
                <a:xfrm>
                  <a:off x="8361797" y="3528575"/>
                  <a:ext cx="10572" cy="12335"/>
                </a:xfrm>
                <a:custGeom>
                  <a:avLst/>
                  <a:gdLst/>
                  <a:ahLst/>
                  <a:cxnLst>
                    <a:cxn ang="0">
                      <a:pos x="0" y="14"/>
                    </a:cxn>
                    <a:cxn ang="0">
                      <a:pos x="0" y="14"/>
                    </a:cxn>
                    <a:cxn ang="0">
                      <a:pos x="0" y="9"/>
                    </a:cxn>
                    <a:cxn ang="0">
                      <a:pos x="2" y="7"/>
                    </a:cxn>
                    <a:cxn ang="0">
                      <a:pos x="7" y="2"/>
                    </a:cxn>
                    <a:cxn ang="0">
                      <a:pos x="11" y="0"/>
                    </a:cxn>
                    <a:cxn ang="0">
                      <a:pos x="14" y="0"/>
                    </a:cxn>
                    <a:cxn ang="0">
                      <a:pos x="14" y="0"/>
                    </a:cxn>
                    <a:cxn ang="0">
                      <a:pos x="14" y="2"/>
                    </a:cxn>
                    <a:cxn ang="0">
                      <a:pos x="14" y="6"/>
                    </a:cxn>
                    <a:cxn ang="0">
                      <a:pos x="9" y="12"/>
                    </a:cxn>
                    <a:cxn ang="0">
                      <a:pos x="2" y="16"/>
                    </a:cxn>
                    <a:cxn ang="0">
                      <a:pos x="0" y="16"/>
                    </a:cxn>
                    <a:cxn ang="0">
                      <a:pos x="0" y="14"/>
                    </a:cxn>
                    <a:cxn ang="0">
                      <a:pos x="0" y="14"/>
                    </a:cxn>
                  </a:cxnLst>
                  <a:rect l="0" t="0" r="r" b="b"/>
                  <a:pathLst>
                    <a:path w="14" h="16">
                      <a:moveTo>
                        <a:pt x="0" y="14"/>
                      </a:moveTo>
                      <a:lnTo>
                        <a:pt x="0" y="14"/>
                      </a:lnTo>
                      <a:lnTo>
                        <a:pt x="0" y="9"/>
                      </a:lnTo>
                      <a:lnTo>
                        <a:pt x="2" y="7"/>
                      </a:lnTo>
                      <a:lnTo>
                        <a:pt x="7" y="2"/>
                      </a:lnTo>
                      <a:lnTo>
                        <a:pt x="11" y="0"/>
                      </a:lnTo>
                      <a:lnTo>
                        <a:pt x="14" y="0"/>
                      </a:lnTo>
                      <a:lnTo>
                        <a:pt x="14" y="0"/>
                      </a:lnTo>
                      <a:lnTo>
                        <a:pt x="14" y="2"/>
                      </a:lnTo>
                      <a:lnTo>
                        <a:pt x="14" y="6"/>
                      </a:lnTo>
                      <a:lnTo>
                        <a:pt x="9" y="12"/>
                      </a:lnTo>
                      <a:lnTo>
                        <a:pt x="2" y="16"/>
                      </a:lnTo>
                      <a:lnTo>
                        <a:pt x="0" y="16"/>
                      </a:lnTo>
                      <a:lnTo>
                        <a:pt x="0" y="14"/>
                      </a:lnTo>
                      <a:lnTo>
                        <a:pt x="0"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0" name="Freeform 2067">
                  <a:extLst>
                    <a:ext uri="{FF2B5EF4-FFF2-40B4-BE49-F238E27FC236}">
                      <a16:creationId xmlns:a16="http://schemas.microsoft.com/office/drawing/2014/main" id="{C8236EC9-1E0C-1A14-1ECC-F3A6788957F5}"/>
                    </a:ext>
                  </a:extLst>
                </p:cNvPr>
                <p:cNvSpPr>
                  <a:spLocks/>
                </p:cNvSpPr>
                <p:nvPr/>
              </p:nvSpPr>
              <p:spPr bwMode="auto">
                <a:xfrm>
                  <a:off x="5986621" y="1199207"/>
                  <a:ext cx="105720" cy="24668"/>
                </a:xfrm>
                <a:custGeom>
                  <a:avLst/>
                  <a:gdLst/>
                  <a:ahLst/>
                  <a:cxnLst>
                    <a:cxn ang="0">
                      <a:pos x="12" y="26"/>
                    </a:cxn>
                    <a:cxn ang="0">
                      <a:pos x="12" y="26"/>
                    </a:cxn>
                    <a:cxn ang="0">
                      <a:pos x="4" y="25"/>
                    </a:cxn>
                    <a:cxn ang="0">
                      <a:pos x="0" y="23"/>
                    </a:cxn>
                    <a:cxn ang="0">
                      <a:pos x="4" y="21"/>
                    </a:cxn>
                    <a:cxn ang="0">
                      <a:pos x="9" y="19"/>
                    </a:cxn>
                    <a:cxn ang="0">
                      <a:pos x="30" y="16"/>
                    </a:cxn>
                    <a:cxn ang="0">
                      <a:pos x="56" y="12"/>
                    </a:cxn>
                    <a:cxn ang="0">
                      <a:pos x="56" y="12"/>
                    </a:cxn>
                    <a:cxn ang="0">
                      <a:pos x="66" y="9"/>
                    </a:cxn>
                    <a:cxn ang="0">
                      <a:pos x="72" y="7"/>
                    </a:cxn>
                    <a:cxn ang="0">
                      <a:pos x="75" y="5"/>
                    </a:cxn>
                    <a:cxn ang="0">
                      <a:pos x="77" y="2"/>
                    </a:cxn>
                    <a:cxn ang="0">
                      <a:pos x="78" y="0"/>
                    </a:cxn>
                    <a:cxn ang="0">
                      <a:pos x="82" y="0"/>
                    </a:cxn>
                    <a:cxn ang="0">
                      <a:pos x="103" y="4"/>
                    </a:cxn>
                    <a:cxn ang="0">
                      <a:pos x="103" y="4"/>
                    </a:cxn>
                    <a:cxn ang="0">
                      <a:pos x="117" y="7"/>
                    </a:cxn>
                    <a:cxn ang="0">
                      <a:pos x="125" y="11"/>
                    </a:cxn>
                    <a:cxn ang="0">
                      <a:pos x="131" y="14"/>
                    </a:cxn>
                    <a:cxn ang="0">
                      <a:pos x="132" y="18"/>
                    </a:cxn>
                    <a:cxn ang="0">
                      <a:pos x="131" y="19"/>
                    </a:cxn>
                    <a:cxn ang="0">
                      <a:pos x="125" y="19"/>
                    </a:cxn>
                    <a:cxn ang="0">
                      <a:pos x="119" y="19"/>
                    </a:cxn>
                    <a:cxn ang="0">
                      <a:pos x="110" y="16"/>
                    </a:cxn>
                    <a:cxn ang="0">
                      <a:pos x="110" y="16"/>
                    </a:cxn>
                    <a:cxn ang="0">
                      <a:pos x="101" y="14"/>
                    </a:cxn>
                    <a:cxn ang="0">
                      <a:pos x="94" y="12"/>
                    </a:cxn>
                    <a:cxn ang="0">
                      <a:pos x="89" y="14"/>
                    </a:cxn>
                    <a:cxn ang="0">
                      <a:pos x="85" y="16"/>
                    </a:cxn>
                    <a:cxn ang="0">
                      <a:pos x="75" y="21"/>
                    </a:cxn>
                    <a:cxn ang="0">
                      <a:pos x="61" y="28"/>
                    </a:cxn>
                    <a:cxn ang="0">
                      <a:pos x="61" y="28"/>
                    </a:cxn>
                    <a:cxn ang="0">
                      <a:pos x="52" y="31"/>
                    </a:cxn>
                    <a:cxn ang="0">
                      <a:pos x="47" y="31"/>
                    </a:cxn>
                    <a:cxn ang="0">
                      <a:pos x="42" y="31"/>
                    </a:cxn>
                    <a:cxn ang="0">
                      <a:pos x="38" y="30"/>
                    </a:cxn>
                    <a:cxn ang="0">
                      <a:pos x="33" y="26"/>
                    </a:cxn>
                    <a:cxn ang="0">
                      <a:pos x="30" y="25"/>
                    </a:cxn>
                    <a:cxn ang="0">
                      <a:pos x="26" y="25"/>
                    </a:cxn>
                    <a:cxn ang="0">
                      <a:pos x="26" y="25"/>
                    </a:cxn>
                    <a:cxn ang="0">
                      <a:pos x="19" y="28"/>
                    </a:cxn>
                    <a:cxn ang="0">
                      <a:pos x="12" y="26"/>
                    </a:cxn>
                    <a:cxn ang="0">
                      <a:pos x="12" y="26"/>
                    </a:cxn>
                  </a:cxnLst>
                  <a:rect l="0" t="0" r="r" b="b"/>
                  <a:pathLst>
                    <a:path w="132" h="31">
                      <a:moveTo>
                        <a:pt x="12" y="26"/>
                      </a:moveTo>
                      <a:lnTo>
                        <a:pt x="12" y="26"/>
                      </a:lnTo>
                      <a:lnTo>
                        <a:pt x="4" y="25"/>
                      </a:lnTo>
                      <a:lnTo>
                        <a:pt x="0" y="23"/>
                      </a:lnTo>
                      <a:lnTo>
                        <a:pt x="4" y="21"/>
                      </a:lnTo>
                      <a:lnTo>
                        <a:pt x="9" y="19"/>
                      </a:lnTo>
                      <a:lnTo>
                        <a:pt x="30" y="16"/>
                      </a:lnTo>
                      <a:lnTo>
                        <a:pt x="56" y="12"/>
                      </a:lnTo>
                      <a:lnTo>
                        <a:pt x="56" y="12"/>
                      </a:lnTo>
                      <a:lnTo>
                        <a:pt x="66" y="9"/>
                      </a:lnTo>
                      <a:lnTo>
                        <a:pt x="72" y="7"/>
                      </a:lnTo>
                      <a:lnTo>
                        <a:pt x="75" y="5"/>
                      </a:lnTo>
                      <a:lnTo>
                        <a:pt x="77" y="2"/>
                      </a:lnTo>
                      <a:lnTo>
                        <a:pt x="78" y="0"/>
                      </a:lnTo>
                      <a:lnTo>
                        <a:pt x="82" y="0"/>
                      </a:lnTo>
                      <a:lnTo>
                        <a:pt x="103" y="4"/>
                      </a:lnTo>
                      <a:lnTo>
                        <a:pt x="103" y="4"/>
                      </a:lnTo>
                      <a:lnTo>
                        <a:pt x="117" y="7"/>
                      </a:lnTo>
                      <a:lnTo>
                        <a:pt x="125" y="11"/>
                      </a:lnTo>
                      <a:lnTo>
                        <a:pt x="131" y="14"/>
                      </a:lnTo>
                      <a:lnTo>
                        <a:pt x="132" y="18"/>
                      </a:lnTo>
                      <a:lnTo>
                        <a:pt x="131" y="19"/>
                      </a:lnTo>
                      <a:lnTo>
                        <a:pt x="125" y="19"/>
                      </a:lnTo>
                      <a:lnTo>
                        <a:pt x="119" y="19"/>
                      </a:lnTo>
                      <a:lnTo>
                        <a:pt x="110" y="16"/>
                      </a:lnTo>
                      <a:lnTo>
                        <a:pt x="110" y="16"/>
                      </a:lnTo>
                      <a:lnTo>
                        <a:pt x="101" y="14"/>
                      </a:lnTo>
                      <a:lnTo>
                        <a:pt x="94" y="12"/>
                      </a:lnTo>
                      <a:lnTo>
                        <a:pt x="89" y="14"/>
                      </a:lnTo>
                      <a:lnTo>
                        <a:pt x="85" y="16"/>
                      </a:lnTo>
                      <a:lnTo>
                        <a:pt x="75" y="21"/>
                      </a:lnTo>
                      <a:lnTo>
                        <a:pt x="61" y="28"/>
                      </a:lnTo>
                      <a:lnTo>
                        <a:pt x="61" y="28"/>
                      </a:lnTo>
                      <a:lnTo>
                        <a:pt x="52" y="31"/>
                      </a:lnTo>
                      <a:lnTo>
                        <a:pt x="47" y="31"/>
                      </a:lnTo>
                      <a:lnTo>
                        <a:pt x="42" y="31"/>
                      </a:lnTo>
                      <a:lnTo>
                        <a:pt x="38" y="30"/>
                      </a:lnTo>
                      <a:lnTo>
                        <a:pt x="33" y="26"/>
                      </a:lnTo>
                      <a:lnTo>
                        <a:pt x="30" y="25"/>
                      </a:lnTo>
                      <a:lnTo>
                        <a:pt x="26" y="25"/>
                      </a:lnTo>
                      <a:lnTo>
                        <a:pt x="26" y="25"/>
                      </a:lnTo>
                      <a:lnTo>
                        <a:pt x="19" y="28"/>
                      </a:lnTo>
                      <a:lnTo>
                        <a:pt x="12" y="26"/>
                      </a:lnTo>
                      <a:lnTo>
                        <a:pt x="1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1" name="Freeform 2068">
                  <a:extLst>
                    <a:ext uri="{FF2B5EF4-FFF2-40B4-BE49-F238E27FC236}">
                      <a16:creationId xmlns:a16="http://schemas.microsoft.com/office/drawing/2014/main" id="{96B0348B-0845-E9B4-9849-4FCDB8ADCA23}"/>
                    </a:ext>
                  </a:extLst>
                </p:cNvPr>
                <p:cNvSpPr>
                  <a:spLocks/>
                </p:cNvSpPr>
                <p:nvPr/>
              </p:nvSpPr>
              <p:spPr bwMode="auto">
                <a:xfrm>
                  <a:off x="6481744" y="1179826"/>
                  <a:ext cx="82813" cy="29954"/>
                </a:xfrm>
                <a:custGeom>
                  <a:avLst/>
                  <a:gdLst/>
                  <a:ahLst/>
                  <a:cxnLst>
                    <a:cxn ang="0">
                      <a:pos x="6" y="24"/>
                    </a:cxn>
                    <a:cxn ang="0">
                      <a:pos x="6" y="24"/>
                    </a:cxn>
                    <a:cxn ang="0">
                      <a:pos x="17" y="17"/>
                    </a:cxn>
                    <a:cxn ang="0">
                      <a:pos x="24" y="15"/>
                    </a:cxn>
                    <a:cxn ang="0">
                      <a:pos x="38" y="12"/>
                    </a:cxn>
                    <a:cxn ang="0">
                      <a:pos x="48" y="12"/>
                    </a:cxn>
                    <a:cxn ang="0">
                      <a:pos x="52" y="10"/>
                    </a:cxn>
                    <a:cxn ang="0">
                      <a:pos x="57" y="7"/>
                    </a:cxn>
                    <a:cxn ang="0">
                      <a:pos x="57" y="7"/>
                    </a:cxn>
                    <a:cxn ang="0">
                      <a:pos x="62" y="3"/>
                    </a:cxn>
                    <a:cxn ang="0">
                      <a:pos x="69" y="2"/>
                    </a:cxn>
                    <a:cxn ang="0">
                      <a:pos x="76" y="0"/>
                    </a:cxn>
                    <a:cxn ang="0">
                      <a:pos x="85" y="2"/>
                    </a:cxn>
                    <a:cxn ang="0">
                      <a:pos x="92" y="3"/>
                    </a:cxn>
                    <a:cxn ang="0">
                      <a:pos x="97" y="5"/>
                    </a:cxn>
                    <a:cxn ang="0">
                      <a:pos x="100" y="10"/>
                    </a:cxn>
                    <a:cxn ang="0">
                      <a:pos x="102" y="15"/>
                    </a:cxn>
                    <a:cxn ang="0">
                      <a:pos x="102" y="15"/>
                    </a:cxn>
                    <a:cxn ang="0">
                      <a:pos x="102" y="21"/>
                    </a:cxn>
                    <a:cxn ang="0">
                      <a:pos x="99" y="26"/>
                    </a:cxn>
                    <a:cxn ang="0">
                      <a:pos x="95" y="28"/>
                    </a:cxn>
                    <a:cxn ang="0">
                      <a:pos x="88" y="29"/>
                    </a:cxn>
                    <a:cxn ang="0">
                      <a:pos x="71" y="33"/>
                    </a:cxn>
                    <a:cxn ang="0">
                      <a:pos x="48" y="35"/>
                    </a:cxn>
                    <a:cxn ang="0">
                      <a:pos x="48" y="35"/>
                    </a:cxn>
                    <a:cxn ang="0">
                      <a:pos x="24" y="38"/>
                    </a:cxn>
                    <a:cxn ang="0">
                      <a:pos x="15" y="38"/>
                    </a:cxn>
                    <a:cxn ang="0">
                      <a:pos x="6" y="36"/>
                    </a:cxn>
                    <a:cxn ang="0">
                      <a:pos x="1" y="35"/>
                    </a:cxn>
                    <a:cxn ang="0">
                      <a:pos x="0" y="31"/>
                    </a:cxn>
                    <a:cxn ang="0">
                      <a:pos x="1" y="28"/>
                    </a:cxn>
                    <a:cxn ang="0">
                      <a:pos x="6" y="24"/>
                    </a:cxn>
                    <a:cxn ang="0">
                      <a:pos x="6" y="24"/>
                    </a:cxn>
                  </a:cxnLst>
                  <a:rect l="0" t="0" r="r" b="b"/>
                  <a:pathLst>
                    <a:path w="102" h="38">
                      <a:moveTo>
                        <a:pt x="6" y="24"/>
                      </a:moveTo>
                      <a:lnTo>
                        <a:pt x="6" y="24"/>
                      </a:lnTo>
                      <a:lnTo>
                        <a:pt x="17" y="17"/>
                      </a:lnTo>
                      <a:lnTo>
                        <a:pt x="24" y="15"/>
                      </a:lnTo>
                      <a:lnTo>
                        <a:pt x="38" y="12"/>
                      </a:lnTo>
                      <a:lnTo>
                        <a:pt x="48" y="12"/>
                      </a:lnTo>
                      <a:lnTo>
                        <a:pt x="52" y="10"/>
                      </a:lnTo>
                      <a:lnTo>
                        <a:pt x="57" y="7"/>
                      </a:lnTo>
                      <a:lnTo>
                        <a:pt x="57" y="7"/>
                      </a:lnTo>
                      <a:lnTo>
                        <a:pt x="62" y="3"/>
                      </a:lnTo>
                      <a:lnTo>
                        <a:pt x="69" y="2"/>
                      </a:lnTo>
                      <a:lnTo>
                        <a:pt x="76" y="0"/>
                      </a:lnTo>
                      <a:lnTo>
                        <a:pt x="85" y="2"/>
                      </a:lnTo>
                      <a:lnTo>
                        <a:pt x="92" y="3"/>
                      </a:lnTo>
                      <a:lnTo>
                        <a:pt x="97" y="5"/>
                      </a:lnTo>
                      <a:lnTo>
                        <a:pt x="100" y="10"/>
                      </a:lnTo>
                      <a:lnTo>
                        <a:pt x="102" y="15"/>
                      </a:lnTo>
                      <a:lnTo>
                        <a:pt x="102" y="15"/>
                      </a:lnTo>
                      <a:lnTo>
                        <a:pt x="102" y="21"/>
                      </a:lnTo>
                      <a:lnTo>
                        <a:pt x="99" y="26"/>
                      </a:lnTo>
                      <a:lnTo>
                        <a:pt x="95" y="28"/>
                      </a:lnTo>
                      <a:lnTo>
                        <a:pt x="88" y="29"/>
                      </a:lnTo>
                      <a:lnTo>
                        <a:pt x="71" y="33"/>
                      </a:lnTo>
                      <a:lnTo>
                        <a:pt x="48" y="35"/>
                      </a:lnTo>
                      <a:lnTo>
                        <a:pt x="48" y="35"/>
                      </a:lnTo>
                      <a:lnTo>
                        <a:pt x="24" y="38"/>
                      </a:lnTo>
                      <a:lnTo>
                        <a:pt x="15" y="38"/>
                      </a:lnTo>
                      <a:lnTo>
                        <a:pt x="6" y="36"/>
                      </a:lnTo>
                      <a:lnTo>
                        <a:pt x="1" y="35"/>
                      </a:lnTo>
                      <a:lnTo>
                        <a:pt x="0" y="31"/>
                      </a:lnTo>
                      <a:lnTo>
                        <a:pt x="1" y="28"/>
                      </a:lnTo>
                      <a:lnTo>
                        <a:pt x="6" y="24"/>
                      </a:lnTo>
                      <a:lnTo>
                        <a:pt x="6" y="2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2" name="Freeform 2069">
                  <a:extLst>
                    <a:ext uri="{FF2B5EF4-FFF2-40B4-BE49-F238E27FC236}">
                      <a16:creationId xmlns:a16="http://schemas.microsoft.com/office/drawing/2014/main" id="{A41F6761-4315-9498-0B93-E5CE06018EE5}"/>
                    </a:ext>
                  </a:extLst>
                </p:cNvPr>
                <p:cNvSpPr>
                  <a:spLocks/>
                </p:cNvSpPr>
                <p:nvPr/>
              </p:nvSpPr>
              <p:spPr bwMode="auto">
                <a:xfrm>
                  <a:off x="6328450" y="1222116"/>
                  <a:ext cx="59908" cy="24668"/>
                </a:xfrm>
                <a:custGeom>
                  <a:avLst/>
                  <a:gdLst/>
                  <a:ahLst/>
                  <a:cxnLst>
                    <a:cxn ang="0">
                      <a:pos x="3" y="14"/>
                    </a:cxn>
                    <a:cxn ang="0">
                      <a:pos x="3" y="14"/>
                    </a:cxn>
                    <a:cxn ang="0">
                      <a:pos x="0" y="8"/>
                    </a:cxn>
                    <a:cxn ang="0">
                      <a:pos x="0" y="5"/>
                    </a:cxn>
                    <a:cxn ang="0">
                      <a:pos x="3" y="1"/>
                    </a:cxn>
                    <a:cxn ang="0">
                      <a:pos x="10" y="0"/>
                    </a:cxn>
                    <a:cxn ang="0">
                      <a:pos x="29" y="0"/>
                    </a:cxn>
                    <a:cxn ang="0">
                      <a:pos x="50" y="1"/>
                    </a:cxn>
                    <a:cxn ang="0">
                      <a:pos x="50" y="1"/>
                    </a:cxn>
                    <a:cxn ang="0">
                      <a:pos x="68" y="5"/>
                    </a:cxn>
                    <a:cxn ang="0">
                      <a:pos x="71" y="7"/>
                    </a:cxn>
                    <a:cxn ang="0">
                      <a:pos x="73" y="8"/>
                    </a:cxn>
                    <a:cxn ang="0">
                      <a:pos x="71" y="10"/>
                    </a:cxn>
                    <a:cxn ang="0">
                      <a:pos x="68" y="12"/>
                    </a:cxn>
                    <a:cxn ang="0">
                      <a:pos x="52" y="14"/>
                    </a:cxn>
                    <a:cxn ang="0">
                      <a:pos x="52" y="14"/>
                    </a:cxn>
                    <a:cxn ang="0">
                      <a:pos x="45" y="14"/>
                    </a:cxn>
                    <a:cxn ang="0">
                      <a:pos x="40" y="15"/>
                    </a:cxn>
                    <a:cxn ang="0">
                      <a:pos x="38" y="19"/>
                    </a:cxn>
                    <a:cxn ang="0">
                      <a:pos x="36" y="22"/>
                    </a:cxn>
                    <a:cxn ang="0">
                      <a:pos x="36" y="26"/>
                    </a:cxn>
                    <a:cxn ang="0">
                      <a:pos x="35" y="28"/>
                    </a:cxn>
                    <a:cxn ang="0">
                      <a:pos x="31" y="29"/>
                    </a:cxn>
                    <a:cxn ang="0">
                      <a:pos x="26" y="28"/>
                    </a:cxn>
                    <a:cxn ang="0">
                      <a:pos x="26" y="28"/>
                    </a:cxn>
                    <a:cxn ang="0">
                      <a:pos x="15" y="24"/>
                    </a:cxn>
                    <a:cxn ang="0">
                      <a:pos x="8" y="21"/>
                    </a:cxn>
                    <a:cxn ang="0">
                      <a:pos x="3" y="14"/>
                    </a:cxn>
                    <a:cxn ang="0">
                      <a:pos x="3" y="14"/>
                    </a:cxn>
                  </a:cxnLst>
                  <a:rect l="0" t="0" r="r" b="b"/>
                  <a:pathLst>
                    <a:path w="73" h="29">
                      <a:moveTo>
                        <a:pt x="3" y="14"/>
                      </a:moveTo>
                      <a:lnTo>
                        <a:pt x="3" y="14"/>
                      </a:lnTo>
                      <a:lnTo>
                        <a:pt x="0" y="8"/>
                      </a:lnTo>
                      <a:lnTo>
                        <a:pt x="0" y="5"/>
                      </a:lnTo>
                      <a:lnTo>
                        <a:pt x="3" y="1"/>
                      </a:lnTo>
                      <a:lnTo>
                        <a:pt x="10" y="0"/>
                      </a:lnTo>
                      <a:lnTo>
                        <a:pt x="29" y="0"/>
                      </a:lnTo>
                      <a:lnTo>
                        <a:pt x="50" y="1"/>
                      </a:lnTo>
                      <a:lnTo>
                        <a:pt x="50" y="1"/>
                      </a:lnTo>
                      <a:lnTo>
                        <a:pt x="68" y="5"/>
                      </a:lnTo>
                      <a:lnTo>
                        <a:pt x="71" y="7"/>
                      </a:lnTo>
                      <a:lnTo>
                        <a:pt x="73" y="8"/>
                      </a:lnTo>
                      <a:lnTo>
                        <a:pt x="71" y="10"/>
                      </a:lnTo>
                      <a:lnTo>
                        <a:pt x="68" y="12"/>
                      </a:lnTo>
                      <a:lnTo>
                        <a:pt x="52" y="14"/>
                      </a:lnTo>
                      <a:lnTo>
                        <a:pt x="52" y="14"/>
                      </a:lnTo>
                      <a:lnTo>
                        <a:pt x="45" y="14"/>
                      </a:lnTo>
                      <a:lnTo>
                        <a:pt x="40" y="15"/>
                      </a:lnTo>
                      <a:lnTo>
                        <a:pt x="38" y="19"/>
                      </a:lnTo>
                      <a:lnTo>
                        <a:pt x="36" y="22"/>
                      </a:lnTo>
                      <a:lnTo>
                        <a:pt x="36" y="26"/>
                      </a:lnTo>
                      <a:lnTo>
                        <a:pt x="35" y="28"/>
                      </a:lnTo>
                      <a:lnTo>
                        <a:pt x="31" y="29"/>
                      </a:lnTo>
                      <a:lnTo>
                        <a:pt x="26" y="28"/>
                      </a:lnTo>
                      <a:lnTo>
                        <a:pt x="26" y="28"/>
                      </a:lnTo>
                      <a:lnTo>
                        <a:pt x="15" y="24"/>
                      </a:lnTo>
                      <a:lnTo>
                        <a:pt x="8" y="21"/>
                      </a:lnTo>
                      <a:lnTo>
                        <a:pt x="3" y="14"/>
                      </a:lnTo>
                      <a:lnTo>
                        <a:pt x="3"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3" name="Freeform 2070">
                  <a:extLst>
                    <a:ext uri="{FF2B5EF4-FFF2-40B4-BE49-F238E27FC236}">
                      <a16:creationId xmlns:a16="http://schemas.microsoft.com/office/drawing/2014/main" id="{E37BD367-FCD3-ED58-40CB-4644341077B9}"/>
                    </a:ext>
                  </a:extLst>
                </p:cNvPr>
                <p:cNvSpPr>
                  <a:spLocks/>
                </p:cNvSpPr>
                <p:nvPr/>
              </p:nvSpPr>
              <p:spPr bwMode="auto">
                <a:xfrm>
                  <a:off x="6302019" y="1185114"/>
                  <a:ext cx="58146" cy="14097"/>
                </a:xfrm>
                <a:custGeom>
                  <a:avLst/>
                  <a:gdLst/>
                  <a:ahLst/>
                  <a:cxnLst>
                    <a:cxn ang="0">
                      <a:pos x="2" y="0"/>
                    </a:cxn>
                    <a:cxn ang="0">
                      <a:pos x="2" y="0"/>
                    </a:cxn>
                    <a:cxn ang="0">
                      <a:pos x="12" y="0"/>
                    </a:cxn>
                    <a:cxn ang="0">
                      <a:pos x="26" y="2"/>
                    </a:cxn>
                    <a:cxn ang="0">
                      <a:pos x="42" y="4"/>
                    </a:cxn>
                    <a:cxn ang="0">
                      <a:pos x="54" y="7"/>
                    </a:cxn>
                    <a:cxn ang="0">
                      <a:pos x="54" y="7"/>
                    </a:cxn>
                    <a:cxn ang="0">
                      <a:pos x="75" y="13"/>
                    </a:cxn>
                    <a:cxn ang="0">
                      <a:pos x="75" y="14"/>
                    </a:cxn>
                    <a:cxn ang="0">
                      <a:pos x="75" y="14"/>
                    </a:cxn>
                    <a:cxn ang="0">
                      <a:pos x="64" y="16"/>
                    </a:cxn>
                    <a:cxn ang="0">
                      <a:pos x="64" y="16"/>
                    </a:cxn>
                    <a:cxn ang="0">
                      <a:pos x="49" y="16"/>
                    </a:cxn>
                    <a:cxn ang="0">
                      <a:pos x="40" y="14"/>
                    </a:cxn>
                    <a:cxn ang="0">
                      <a:pos x="26" y="9"/>
                    </a:cxn>
                    <a:cxn ang="0">
                      <a:pos x="26" y="9"/>
                    </a:cxn>
                    <a:cxn ang="0">
                      <a:pos x="16" y="6"/>
                    </a:cxn>
                    <a:cxn ang="0">
                      <a:pos x="7" y="4"/>
                    </a:cxn>
                    <a:cxn ang="0">
                      <a:pos x="2" y="2"/>
                    </a:cxn>
                    <a:cxn ang="0">
                      <a:pos x="0" y="2"/>
                    </a:cxn>
                    <a:cxn ang="0">
                      <a:pos x="2" y="0"/>
                    </a:cxn>
                    <a:cxn ang="0">
                      <a:pos x="2" y="0"/>
                    </a:cxn>
                  </a:cxnLst>
                  <a:rect l="0" t="0" r="r" b="b"/>
                  <a:pathLst>
                    <a:path w="75" h="16">
                      <a:moveTo>
                        <a:pt x="2" y="0"/>
                      </a:moveTo>
                      <a:lnTo>
                        <a:pt x="2" y="0"/>
                      </a:lnTo>
                      <a:lnTo>
                        <a:pt x="12" y="0"/>
                      </a:lnTo>
                      <a:lnTo>
                        <a:pt x="26" y="2"/>
                      </a:lnTo>
                      <a:lnTo>
                        <a:pt x="42" y="4"/>
                      </a:lnTo>
                      <a:lnTo>
                        <a:pt x="54" y="7"/>
                      </a:lnTo>
                      <a:lnTo>
                        <a:pt x="54" y="7"/>
                      </a:lnTo>
                      <a:lnTo>
                        <a:pt x="75" y="13"/>
                      </a:lnTo>
                      <a:lnTo>
                        <a:pt x="75" y="14"/>
                      </a:lnTo>
                      <a:lnTo>
                        <a:pt x="75" y="14"/>
                      </a:lnTo>
                      <a:lnTo>
                        <a:pt x="64" y="16"/>
                      </a:lnTo>
                      <a:lnTo>
                        <a:pt x="64" y="16"/>
                      </a:lnTo>
                      <a:lnTo>
                        <a:pt x="49" y="16"/>
                      </a:lnTo>
                      <a:lnTo>
                        <a:pt x="40" y="14"/>
                      </a:lnTo>
                      <a:lnTo>
                        <a:pt x="26" y="9"/>
                      </a:lnTo>
                      <a:lnTo>
                        <a:pt x="26" y="9"/>
                      </a:lnTo>
                      <a:lnTo>
                        <a:pt x="16" y="6"/>
                      </a:lnTo>
                      <a:lnTo>
                        <a:pt x="7" y="4"/>
                      </a:lnTo>
                      <a:lnTo>
                        <a:pt x="2" y="2"/>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294" name="Group 860">
                  <a:extLst>
                    <a:ext uri="{FF2B5EF4-FFF2-40B4-BE49-F238E27FC236}">
                      <a16:creationId xmlns:a16="http://schemas.microsoft.com/office/drawing/2014/main" id="{F6E3A298-87D5-6F80-C195-0EAC8C37FA81}"/>
                    </a:ext>
                  </a:extLst>
                </p:cNvPr>
                <p:cNvGrpSpPr>
                  <a:grpSpLocks/>
                </p:cNvGrpSpPr>
                <p:nvPr/>
              </p:nvGrpSpPr>
              <p:grpSpPr bwMode="auto">
                <a:xfrm>
                  <a:off x="8367068" y="2887206"/>
                  <a:ext cx="458121" cy="551507"/>
                  <a:chOff x="7367588" y="2800350"/>
                  <a:chExt cx="412750" cy="496888"/>
                </a:xfrm>
                <a:grpFill/>
              </p:grpSpPr>
              <p:sp>
                <p:nvSpPr>
                  <p:cNvPr id="460" name="Freeform 2072">
                    <a:extLst>
                      <a:ext uri="{FF2B5EF4-FFF2-40B4-BE49-F238E27FC236}">
                        <a16:creationId xmlns:a16="http://schemas.microsoft.com/office/drawing/2014/main" id="{88652838-19D6-7DEB-E95D-711D13334F70}"/>
                      </a:ext>
                    </a:extLst>
                  </p:cNvPr>
                  <p:cNvSpPr>
                    <a:spLocks/>
                  </p:cNvSpPr>
                  <p:nvPr/>
                </p:nvSpPr>
                <p:spPr bwMode="auto">
                  <a:xfrm>
                    <a:off x="7402513" y="2940050"/>
                    <a:ext cx="282575" cy="277813"/>
                  </a:xfrm>
                  <a:custGeom>
                    <a:avLst/>
                    <a:gdLst/>
                    <a:ahLst/>
                    <a:cxnLst>
                      <a:cxn ang="0">
                        <a:pos x="150" y="366"/>
                      </a:cxn>
                      <a:cxn ang="0">
                        <a:pos x="148" y="347"/>
                      </a:cxn>
                      <a:cxn ang="0">
                        <a:pos x="158" y="331"/>
                      </a:cxn>
                      <a:cxn ang="0">
                        <a:pos x="139" y="326"/>
                      </a:cxn>
                      <a:cxn ang="0">
                        <a:pos x="117" y="328"/>
                      </a:cxn>
                      <a:cxn ang="0">
                        <a:pos x="66" y="343"/>
                      </a:cxn>
                      <a:cxn ang="0">
                        <a:pos x="45" y="343"/>
                      </a:cxn>
                      <a:cxn ang="0">
                        <a:pos x="35" y="357"/>
                      </a:cxn>
                      <a:cxn ang="0">
                        <a:pos x="3" y="357"/>
                      </a:cxn>
                      <a:cxn ang="0">
                        <a:pos x="3" y="338"/>
                      </a:cxn>
                      <a:cxn ang="0">
                        <a:pos x="24" y="322"/>
                      </a:cxn>
                      <a:cxn ang="0">
                        <a:pos x="59" y="293"/>
                      </a:cxn>
                      <a:cxn ang="0">
                        <a:pos x="82" y="286"/>
                      </a:cxn>
                      <a:cxn ang="0">
                        <a:pos x="136" y="277"/>
                      </a:cxn>
                      <a:cxn ang="0">
                        <a:pos x="153" y="281"/>
                      </a:cxn>
                      <a:cxn ang="0">
                        <a:pos x="169" y="282"/>
                      </a:cxn>
                      <a:cxn ang="0">
                        <a:pos x="177" y="265"/>
                      </a:cxn>
                      <a:cxn ang="0">
                        <a:pos x="204" y="218"/>
                      </a:cxn>
                      <a:cxn ang="0">
                        <a:pos x="212" y="194"/>
                      </a:cxn>
                      <a:cxn ang="0">
                        <a:pos x="226" y="197"/>
                      </a:cxn>
                      <a:cxn ang="0">
                        <a:pos x="216" y="216"/>
                      </a:cxn>
                      <a:cxn ang="0">
                        <a:pos x="223" y="223"/>
                      </a:cxn>
                      <a:cxn ang="0">
                        <a:pos x="266" y="197"/>
                      </a:cxn>
                      <a:cxn ang="0">
                        <a:pos x="303" y="147"/>
                      </a:cxn>
                      <a:cxn ang="0">
                        <a:pos x="317" y="86"/>
                      </a:cxn>
                      <a:cxn ang="0">
                        <a:pos x="308" y="77"/>
                      </a:cxn>
                      <a:cxn ang="0">
                        <a:pos x="317" y="60"/>
                      </a:cxn>
                      <a:cxn ang="0">
                        <a:pos x="319" y="37"/>
                      </a:cxn>
                      <a:cxn ang="0">
                        <a:pos x="329" y="20"/>
                      </a:cxn>
                      <a:cxn ang="0">
                        <a:pos x="341" y="27"/>
                      </a:cxn>
                      <a:cxn ang="0">
                        <a:pos x="350" y="28"/>
                      </a:cxn>
                      <a:cxn ang="0">
                        <a:pos x="362" y="23"/>
                      </a:cxn>
                      <a:cxn ang="0">
                        <a:pos x="350" y="16"/>
                      </a:cxn>
                      <a:cxn ang="0">
                        <a:pos x="353" y="0"/>
                      </a:cxn>
                      <a:cxn ang="0">
                        <a:pos x="367" y="13"/>
                      </a:cxn>
                      <a:cxn ang="0">
                        <a:pos x="379" y="60"/>
                      </a:cxn>
                      <a:cxn ang="0">
                        <a:pos x="388" y="100"/>
                      </a:cxn>
                      <a:cxn ang="0">
                        <a:pos x="373" y="136"/>
                      </a:cxn>
                      <a:cxn ang="0">
                        <a:pos x="362" y="150"/>
                      </a:cxn>
                      <a:cxn ang="0">
                        <a:pos x="352" y="176"/>
                      </a:cxn>
                      <a:cxn ang="0">
                        <a:pos x="345" y="228"/>
                      </a:cxn>
                      <a:cxn ang="0">
                        <a:pos x="345" y="267"/>
                      </a:cxn>
                      <a:cxn ang="0">
                        <a:pos x="339" y="281"/>
                      </a:cxn>
                      <a:cxn ang="0">
                        <a:pos x="327" y="305"/>
                      </a:cxn>
                      <a:cxn ang="0">
                        <a:pos x="312" y="316"/>
                      </a:cxn>
                      <a:cxn ang="0">
                        <a:pos x="320" y="282"/>
                      </a:cxn>
                      <a:cxn ang="0">
                        <a:pos x="308" y="286"/>
                      </a:cxn>
                      <a:cxn ang="0">
                        <a:pos x="301" y="300"/>
                      </a:cxn>
                      <a:cxn ang="0">
                        <a:pos x="285" y="314"/>
                      </a:cxn>
                      <a:cxn ang="0">
                        <a:pos x="273" y="322"/>
                      </a:cxn>
                      <a:cxn ang="0">
                        <a:pos x="272" y="305"/>
                      </a:cxn>
                      <a:cxn ang="0">
                        <a:pos x="249" y="328"/>
                      </a:cxn>
                      <a:cxn ang="0">
                        <a:pos x="216" y="328"/>
                      </a:cxn>
                      <a:cxn ang="0">
                        <a:pos x="211" y="321"/>
                      </a:cxn>
                      <a:cxn ang="0">
                        <a:pos x="202" y="309"/>
                      </a:cxn>
                      <a:cxn ang="0">
                        <a:pos x="204" y="333"/>
                      </a:cxn>
                      <a:cxn ang="0">
                        <a:pos x="195" y="347"/>
                      </a:cxn>
                      <a:cxn ang="0">
                        <a:pos x="167" y="383"/>
                      </a:cxn>
                    </a:cxnLst>
                    <a:rect l="0" t="0" r="r" b="b"/>
                    <a:pathLst>
                      <a:path w="390" h="383">
                        <a:moveTo>
                          <a:pt x="165" y="380"/>
                        </a:moveTo>
                        <a:lnTo>
                          <a:pt x="165" y="380"/>
                        </a:lnTo>
                        <a:lnTo>
                          <a:pt x="157" y="375"/>
                        </a:lnTo>
                        <a:lnTo>
                          <a:pt x="155" y="371"/>
                        </a:lnTo>
                        <a:lnTo>
                          <a:pt x="155" y="368"/>
                        </a:lnTo>
                        <a:lnTo>
                          <a:pt x="150" y="366"/>
                        </a:lnTo>
                        <a:lnTo>
                          <a:pt x="150" y="366"/>
                        </a:lnTo>
                        <a:lnTo>
                          <a:pt x="148" y="364"/>
                        </a:lnTo>
                        <a:lnTo>
                          <a:pt x="146" y="361"/>
                        </a:lnTo>
                        <a:lnTo>
                          <a:pt x="146" y="357"/>
                        </a:lnTo>
                        <a:lnTo>
                          <a:pt x="148" y="352"/>
                        </a:lnTo>
                        <a:lnTo>
                          <a:pt x="148" y="347"/>
                        </a:lnTo>
                        <a:lnTo>
                          <a:pt x="148" y="347"/>
                        </a:lnTo>
                        <a:lnTo>
                          <a:pt x="148" y="343"/>
                        </a:lnTo>
                        <a:lnTo>
                          <a:pt x="150" y="342"/>
                        </a:lnTo>
                        <a:lnTo>
                          <a:pt x="153" y="338"/>
                        </a:lnTo>
                        <a:lnTo>
                          <a:pt x="157" y="335"/>
                        </a:lnTo>
                        <a:lnTo>
                          <a:pt x="158" y="331"/>
                        </a:lnTo>
                        <a:lnTo>
                          <a:pt x="158" y="328"/>
                        </a:lnTo>
                        <a:lnTo>
                          <a:pt x="158" y="328"/>
                        </a:lnTo>
                        <a:lnTo>
                          <a:pt x="157" y="322"/>
                        </a:lnTo>
                        <a:lnTo>
                          <a:pt x="153" y="324"/>
                        </a:lnTo>
                        <a:lnTo>
                          <a:pt x="144" y="326"/>
                        </a:lnTo>
                        <a:lnTo>
                          <a:pt x="139" y="326"/>
                        </a:lnTo>
                        <a:lnTo>
                          <a:pt x="132" y="324"/>
                        </a:lnTo>
                        <a:lnTo>
                          <a:pt x="132" y="324"/>
                        </a:lnTo>
                        <a:lnTo>
                          <a:pt x="122" y="321"/>
                        </a:lnTo>
                        <a:lnTo>
                          <a:pt x="120" y="321"/>
                        </a:lnTo>
                        <a:lnTo>
                          <a:pt x="118" y="322"/>
                        </a:lnTo>
                        <a:lnTo>
                          <a:pt x="117" y="328"/>
                        </a:lnTo>
                        <a:lnTo>
                          <a:pt x="113" y="329"/>
                        </a:lnTo>
                        <a:lnTo>
                          <a:pt x="110" y="331"/>
                        </a:lnTo>
                        <a:lnTo>
                          <a:pt x="110" y="331"/>
                        </a:lnTo>
                        <a:lnTo>
                          <a:pt x="87" y="338"/>
                        </a:lnTo>
                        <a:lnTo>
                          <a:pt x="66" y="343"/>
                        </a:lnTo>
                        <a:lnTo>
                          <a:pt x="66" y="343"/>
                        </a:lnTo>
                        <a:lnTo>
                          <a:pt x="57" y="343"/>
                        </a:lnTo>
                        <a:lnTo>
                          <a:pt x="56" y="340"/>
                        </a:lnTo>
                        <a:lnTo>
                          <a:pt x="52" y="338"/>
                        </a:lnTo>
                        <a:lnTo>
                          <a:pt x="49" y="340"/>
                        </a:lnTo>
                        <a:lnTo>
                          <a:pt x="49" y="340"/>
                        </a:lnTo>
                        <a:lnTo>
                          <a:pt x="45" y="343"/>
                        </a:lnTo>
                        <a:lnTo>
                          <a:pt x="43" y="347"/>
                        </a:lnTo>
                        <a:lnTo>
                          <a:pt x="43" y="354"/>
                        </a:lnTo>
                        <a:lnTo>
                          <a:pt x="43" y="357"/>
                        </a:lnTo>
                        <a:lnTo>
                          <a:pt x="43" y="361"/>
                        </a:lnTo>
                        <a:lnTo>
                          <a:pt x="40" y="361"/>
                        </a:lnTo>
                        <a:lnTo>
                          <a:pt x="35" y="357"/>
                        </a:lnTo>
                        <a:lnTo>
                          <a:pt x="35" y="357"/>
                        </a:lnTo>
                        <a:lnTo>
                          <a:pt x="29" y="356"/>
                        </a:lnTo>
                        <a:lnTo>
                          <a:pt x="23" y="356"/>
                        </a:lnTo>
                        <a:lnTo>
                          <a:pt x="10" y="357"/>
                        </a:lnTo>
                        <a:lnTo>
                          <a:pt x="7" y="357"/>
                        </a:lnTo>
                        <a:lnTo>
                          <a:pt x="3" y="357"/>
                        </a:lnTo>
                        <a:lnTo>
                          <a:pt x="0" y="354"/>
                        </a:lnTo>
                        <a:lnTo>
                          <a:pt x="0" y="349"/>
                        </a:lnTo>
                        <a:lnTo>
                          <a:pt x="0" y="349"/>
                        </a:lnTo>
                        <a:lnTo>
                          <a:pt x="0" y="343"/>
                        </a:lnTo>
                        <a:lnTo>
                          <a:pt x="2" y="340"/>
                        </a:lnTo>
                        <a:lnTo>
                          <a:pt x="3" y="338"/>
                        </a:lnTo>
                        <a:lnTo>
                          <a:pt x="7" y="338"/>
                        </a:lnTo>
                        <a:lnTo>
                          <a:pt x="12" y="338"/>
                        </a:lnTo>
                        <a:lnTo>
                          <a:pt x="16" y="335"/>
                        </a:lnTo>
                        <a:lnTo>
                          <a:pt x="19" y="331"/>
                        </a:lnTo>
                        <a:lnTo>
                          <a:pt x="19" y="331"/>
                        </a:lnTo>
                        <a:lnTo>
                          <a:pt x="24" y="322"/>
                        </a:lnTo>
                        <a:lnTo>
                          <a:pt x="29" y="321"/>
                        </a:lnTo>
                        <a:lnTo>
                          <a:pt x="36" y="319"/>
                        </a:lnTo>
                        <a:lnTo>
                          <a:pt x="40" y="314"/>
                        </a:lnTo>
                        <a:lnTo>
                          <a:pt x="47" y="309"/>
                        </a:lnTo>
                        <a:lnTo>
                          <a:pt x="47" y="309"/>
                        </a:lnTo>
                        <a:lnTo>
                          <a:pt x="59" y="293"/>
                        </a:lnTo>
                        <a:lnTo>
                          <a:pt x="68" y="284"/>
                        </a:lnTo>
                        <a:lnTo>
                          <a:pt x="73" y="282"/>
                        </a:lnTo>
                        <a:lnTo>
                          <a:pt x="77" y="281"/>
                        </a:lnTo>
                        <a:lnTo>
                          <a:pt x="80" y="282"/>
                        </a:lnTo>
                        <a:lnTo>
                          <a:pt x="82" y="286"/>
                        </a:lnTo>
                        <a:lnTo>
                          <a:pt x="82" y="286"/>
                        </a:lnTo>
                        <a:lnTo>
                          <a:pt x="83" y="288"/>
                        </a:lnTo>
                        <a:lnTo>
                          <a:pt x="85" y="289"/>
                        </a:lnTo>
                        <a:lnTo>
                          <a:pt x="92" y="289"/>
                        </a:lnTo>
                        <a:lnTo>
                          <a:pt x="103" y="288"/>
                        </a:lnTo>
                        <a:lnTo>
                          <a:pt x="113" y="284"/>
                        </a:lnTo>
                        <a:lnTo>
                          <a:pt x="136" y="277"/>
                        </a:lnTo>
                        <a:lnTo>
                          <a:pt x="144" y="275"/>
                        </a:lnTo>
                        <a:lnTo>
                          <a:pt x="151" y="274"/>
                        </a:lnTo>
                        <a:lnTo>
                          <a:pt x="151" y="274"/>
                        </a:lnTo>
                        <a:lnTo>
                          <a:pt x="153" y="275"/>
                        </a:lnTo>
                        <a:lnTo>
                          <a:pt x="155" y="277"/>
                        </a:lnTo>
                        <a:lnTo>
                          <a:pt x="153" y="281"/>
                        </a:lnTo>
                        <a:lnTo>
                          <a:pt x="153" y="282"/>
                        </a:lnTo>
                        <a:lnTo>
                          <a:pt x="153" y="284"/>
                        </a:lnTo>
                        <a:lnTo>
                          <a:pt x="157" y="286"/>
                        </a:lnTo>
                        <a:lnTo>
                          <a:pt x="162" y="284"/>
                        </a:lnTo>
                        <a:lnTo>
                          <a:pt x="162" y="284"/>
                        </a:lnTo>
                        <a:lnTo>
                          <a:pt x="169" y="282"/>
                        </a:lnTo>
                        <a:lnTo>
                          <a:pt x="174" y="281"/>
                        </a:lnTo>
                        <a:lnTo>
                          <a:pt x="176" y="279"/>
                        </a:lnTo>
                        <a:lnTo>
                          <a:pt x="177" y="275"/>
                        </a:lnTo>
                        <a:lnTo>
                          <a:pt x="177" y="270"/>
                        </a:lnTo>
                        <a:lnTo>
                          <a:pt x="177" y="265"/>
                        </a:lnTo>
                        <a:lnTo>
                          <a:pt x="177" y="265"/>
                        </a:lnTo>
                        <a:lnTo>
                          <a:pt x="177" y="262"/>
                        </a:lnTo>
                        <a:lnTo>
                          <a:pt x="181" y="256"/>
                        </a:lnTo>
                        <a:lnTo>
                          <a:pt x="191" y="244"/>
                        </a:lnTo>
                        <a:lnTo>
                          <a:pt x="198" y="235"/>
                        </a:lnTo>
                        <a:lnTo>
                          <a:pt x="202" y="227"/>
                        </a:lnTo>
                        <a:lnTo>
                          <a:pt x="204" y="218"/>
                        </a:lnTo>
                        <a:lnTo>
                          <a:pt x="204" y="209"/>
                        </a:lnTo>
                        <a:lnTo>
                          <a:pt x="204" y="209"/>
                        </a:lnTo>
                        <a:lnTo>
                          <a:pt x="204" y="204"/>
                        </a:lnTo>
                        <a:lnTo>
                          <a:pt x="205" y="201"/>
                        </a:lnTo>
                        <a:lnTo>
                          <a:pt x="207" y="197"/>
                        </a:lnTo>
                        <a:lnTo>
                          <a:pt x="212" y="194"/>
                        </a:lnTo>
                        <a:lnTo>
                          <a:pt x="219" y="190"/>
                        </a:lnTo>
                        <a:lnTo>
                          <a:pt x="223" y="190"/>
                        </a:lnTo>
                        <a:lnTo>
                          <a:pt x="225" y="190"/>
                        </a:lnTo>
                        <a:lnTo>
                          <a:pt x="225" y="190"/>
                        </a:lnTo>
                        <a:lnTo>
                          <a:pt x="226" y="194"/>
                        </a:lnTo>
                        <a:lnTo>
                          <a:pt x="226" y="197"/>
                        </a:lnTo>
                        <a:lnTo>
                          <a:pt x="219" y="204"/>
                        </a:lnTo>
                        <a:lnTo>
                          <a:pt x="212" y="209"/>
                        </a:lnTo>
                        <a:lnTo>
                          <a:pt x="212" y="211"/>
                        </a:lnTo>
                        <a:lnTo>
                          <a:pt x="214" y="213"/>
                        </a:lnTo>
                        <a:lnTo>
                          <a:pt x="214" y="213"/>
                        </a:lnTo>
                        <a:lnTo>
                          <a:pt x="216" y="216"/>
                        </a:lnTo>
                        <a:lnTo>
                          <a:pt x="216" y="220"/>
                        </a:lnTo>
                        <a:lnTo>
                          <a:pt x="214" y="227"/>
                        </a:lnTo>
                        <a:lnTo>
                          <a:pt x="214" y="228"/>
                        </a:lnTo>
                        <a:lnTo>
                          <a:pt x="216" y="230"/>
                        </a:lnTo>
                        <a:lnTo>
                          <a:pt x="223" y="223"/>
                        </a:lnTo>
                        <a:lnTo>
                          <a:pt x="223" y="223"/>
                        </a:lnTo>
                        <a:lnTo>
                          <a:pt x="230" y="218"/>
                        </a:lnTo>
                        <a:lnTo>
                          <a:pt x="237" y="215"/>
                        </a:lnTo>
                        <a:lnTo>
                          <a:pt x="249" y="209"/>
                        </a:lnTo>
                        <a:lnTo>
                          <a:pt x="254" y="208"/>
                        </a:lnTo>
                        <a:lnTo>
                          <a:pt x="261" y="202"/>
                        </a:lnTo>
                        <a:lnTo>
                          <a:pt x="266" y="197"/>
                        </a:lnTo>
                        <a:lnTo>
                          <a:pt x="273" y="188"/>
                        </a:lnTo>
                        <a:lnTo>
                          <a:pt x="273" y="188"/>
                        </a:lnTo>
                        <a:lnTo>
                          <a:pt x="284" y="173"/>
                        </a:lnTo>
                        <a:lnTo>
                          <a:pt x="294" y="162"/>
                        </a:lnTo>
                        <a:lnTo>
                          <a:pt x="299" y="155"/>
                        </a:lnTo>
                        <a:lnTo>
                          <a:pt x="303" y="147"/>
                        </a:lnTo>
                        <a:lnTo>
                          <a:pt x="308" y="136"/>
                        </a:lnTo>
                        <a:lnTo>
                          <a:pt x="312" y="122"/>
                        </a:lnTo>
                        <a:lnTo>
                          <a:pt x="312" y="122"/>
                        </a:lnTo>
                        <a:lnTo>
                          <a:pt x="317" y="105"/>
                        </a:lnTo>
                        <a:lnTo>
                          <a:pt x="317" y="93"/>
                        </a:lnTo>
                        <a:lnTo>
                          <a:pt x="317" y="86"/>
                        </a:lnTo>
                        <a:lnTo>
                          <a:pt x="315" y="82"/>
                        </a:lnTo>
                        <a:lnTo>
                          <a:pt x="312" y="80"/>
                        </a:lnTo>
                        <a:lnTo>
                          <a:pt x="310" y="79"/>
                        </a:lnTo>
                        <a:lnTo>
                          <a:pt x="308" y="79"/>
                        </a:lnTo>
                        <a:lnTo>
                          <a:pt x="308" y="77"/>
                        </a:lnTo>
                        <a:lnTo>
                          <a:pt x="308" y="77"/>
                        </a:lnTo>
                        <a:lnTo>
                          <a:pt x="308" y="74"/>
                        </a:lnTo>
                        <a:lnTo>
                          <a:pt x="310" y="74"/>
                        </a:lnTo>
                        <a:lnTo>
                          <a:pt x="313" y="70"/>
                        </a:lnTo>
                        <a:lnTo>
                          <a:pt x="315" y="68"/>
                        </a:lnTo>
                        <a:lnTo>
                          <a:pt x="317" y="65"/>
                        </a:lnTo>
                        <a:lnTo>
                          <a:pt x="317" y="60"/>
                        </a:lnTo>
                        <a:lnTo>
                          <a:pt x="315" y="53"/>
                        </a:lnTo>
                        <a:lnTo>
                          <a:pt x="315" y="53"/>
                        </a:lnTo>
                        <a:lnTo>
                          <a:pt x="313" y="44"/>
                        </a:lnTo>
                        <a:lnTo>
                          <a:pt x="313" y="40"/>
                        </a:lnTo>
                        <a:lnTo>
                          <a:pt x="315" y="39"/>
                        </a:lnTo>
                        <a:lnTo>
                          <a:pt x="319" y="37"/>
                        </a:lnTo>
                        <a:lnTo>
                          <a:pt x="322" y="37"/>
                        </a:lnTo>
                        <a:lnTo>
                          <a:pt x="325" y="37"/>
                        </a:lnTo>
                        <a:lnTo>
                          <a:pt x="327" y="33"/>
                        </a:lnTo>
                        <a:lnTo>
                          <a:pt x="329" y="27"/>
                        </a:lnTo>
                        <a:lnTo>
                          <a:pt x="329" y="27"/>
                        </a:lnTo>
                        <a:lnTo>
                          <a:pt x="329" y="20"/>
                        </a:lnTo>
                        <a:lnTo>
                          <a:pt x="331" y="16"/>
                        </a:lnTo>
                        <a:lnTo>
                          <a:pt x="332" y="13"/>
                        </a:lnTo>
                        <a:lnTo>
                          <a:pt x="336" y="13"/>
                        </a:lnTo>
                        <a:lnTo>
                          <a:pt x="338" y="14"/>
                        </a:lnTo>
                        <a:lnTo>
                          <a:pt x="339" y="16"/>
                        </a:lnTo>
                        <a:lnTo>
                          <a:pt x="341" y="27"/>
                        </a:lnTo>
                        <a:lnTo>
                          <a:pt x="341" y="27"/>
                        </a:lnTo>
                        <a:lnTo>
                          <a:pt x="341" y="32"/>
                        </a:lnTo>
                        <a:lnTo>
                          <a:pt x="343" y="33"/>
                        </a:lnTo>
                        <a:lnTo>
                          <a:pt x="345" y="33"/>
                        </a:lnTo>
                        <a:lnTo>
                          <a:pt x="346" y="32"/>
                        </a:lnTo>
                        <a:lnTo>
                          <a:pt x="350" y="28"/>
                        </a:lnTo>
                        <a:lnTo>
                          <a:pt x="353" y="28"/>
                        </a:lnTo>
                        <a:lnTo>
                          <a:pt x="355" y="30"/>
                        </a:lnTo>
                        <a:lnTo>
                          <a:pt x="355" y="30"/>
                        </a:lnTo>
                        <a:lnTo>
                          <a:pt x="357" y="30"/>
                        </a:lnTo>
                        <a:lnTo>
                          <a:pt x="360" y="30"/>
                        </a:lnTo>
                        <a:lnTo>
                          <a:pt x="362" y="23"/>
                        </a:lnTo>
                        <a:lnTo>
                          <a:pt x="362" y="20"/>
                        </a:lnTo>
                        <a:lnTo>
                          <a:pt x="360" y="18"/>
                        </a:lnTo>
                        <a:lnTo>
                          <a:pt x="357" y="16"/>
                        </a:lnTo>
                        <a:lnTo>
                          <a:pt x="353" y="16"/>
                        </a:lnTo>
                        <a:lnTo>
                          <a:pt x="353" y="16"/>
                        </a:lnTo>
                        <a:lnTo>
                          <a:pt x="350" y="16"/>
                        </a:lnTo>
                        <a:lnTo>
                          <a:pt x="348" y="16"/>
                        </a:lnTo>
                        <a:lnTo>
                          <a:pt x="346" y="13"/>
                        </a:lnTo>
                        <a:lnTo>
                          <a:pt x="346" y="9"/>
                        </a:lnTo>
                        <a:lnTo>
                          <a:pt x="350" y="2"/>
                        </a:lnTo>
                        <a:lnTo>
                          <a:pt x="352" y="0"/>
                        </a:lnTo>
                        <a:lnTo>
                          <a:pt x="353" y="0"/>
                        </a:lnTo>
                        <a:lnTo>
                          <a:pt x="353" y="0"/>
                        </a:lnTo>
                        <a:lnTo>
                          <a:pt x="359" y="4"/>
                        </a:lnTo>
                        <a:lnTo>
                          <a:pt x="364" y="6"/>
                        </a:lnTo>
                        <a:lnTo>
                          <a:pt x="367" y="7"/>
                        </a:lnTo>
                        <a:lnTo>
                          <a:pt x="369" y="9"/>
                        </a:lnTo>
                        <a:lnTo>
                          <a:pt x="367" y="13"/>
                        </a:lnTo>
                        <a:lnTo>
                          <a:pt x="367" y="13"/>
                        </a:lnTo>
                        <a:lnTo>
                          <a:pt x="367" y="23"/>
                        </a:lnTo>
                        <a:lnTo>
                          <a:pt x="367" y="35"/>
                        </a:lnTo>
                        <a:lnTo>
                          <a:pt x="371" y="47"/>
                        </a:lnTo>
                        <a:lnTo>
                          <a:pt x="374" y="54"/>
                        </a:lnTo>
                        <a:lnTo>
                          <a:pt x="379" y="60"/>
                        </a:lnTo>
                        <a:lnTo>
                          <a:pt x="379" y="60"/>
                        </a:lnTo>
                        <a:lnTo>
                          <a:pt x="385" y="67"/>
                        </a:lnTo>
                        <a:lnTo>
                          <a:pt x="388" y="74"/>
                        </a:lnTo>
                        <a:lnTo>
                          <a:pt x="390" y="82"/>
                        </a:lnTo>
                        <a:lnTo>
                          <a:pt x="390" y="91"/>
                        </a:lnTo>
                        <a:lnTo>
                          <a:pt x="388" y="100"/>
                        </a:lnTo>
                        <a:lnTo>
                          <a:pt x="386" y="108"/>
                        </a:lnTo>
                        <a:lnTo>
                          <a:pt x="383" y="115"/>
                        </a:lnTo>
                        <a:lnTo>
                          <a:pt x="379" y="124"/>
                        </a:lnTo>
                        <a:lnTo>
                          <a:pt x="379" y="124"/>
                        </a:lnTo>
                        <a:lnTo>
                          <a:pt x="374" y="131"/>
                        </a:lnTo>
                        <a:lnTo>
                          <a:pt x="373" y="136"/>
                        </a:lnTo>
                        <a:lnTo>
                          <a:pt x="373" y="148"/>
                        </a:lnTo>
                        <a:lnTo>
                          <a:pt x="373" y="155"/>
                        </a:lnTo>
                        <a:lnTo>
                          <a:pt x="371" y="155"/>
                        </a:lnTo>
                        <a:lnTo>
                          <a:pt x="367" y="154"/>
                        </a:lnTo>
                        <a:lnTo>
                          <a:pt x="367" y="154"/>
                        </a:lnTo>
                        <a:lnTo>
                          <a:pt x="362" y="150"/>
                        </a:lnTo>
                        <a:lnTo>
                          <a:pt x="359" y="150"/>
                        </a:lnTo>
                        <a:lnTo>
                          <a:pt x="355" y="152"/>
                        </a:lnTo>
                        <a:lnTo>
                          <a:pt x="353" y="157"/>
                        </a:lnTo>
                        <a:lnTo>
                          <a:pt x="352" y="162"/>
                        </a:lnTo>
                        <a:lnTo>
                          <a:pt x="350" y="169"/>
                        </a:lnTo>
                        <a:lnTo>
                          <a:pt x="352" y="176"/>
                        </a:lnTo>
                        <a:lnTo>
                          <a:pt x="353" y="185"/>
                        </a:lnTo>
                        <a:lnTo>
                          <a:pt x="353" y="185"/>
                        </a:lnTo>
                        <a:lnTo>
                          <a:pt x="355" y="197"/>
                        </a:lnTo>
                        <a:lnTo>
                          <a:pt x="353" y="208"/>
                        </a:lnTo>
                        <a:lnTo>
                          <a:pt x="350" y="220"/>
                        </a:lnTo>
                        <a:lnTo>
                          <a:pt x="345" y="228"/>
                        </a:lnTo>
                        <a:lnTo>
                          <a:pt x="341" y="239"/>
                        </a:lnTo>
                        <a:lnTo>
                          <a:pt x="338" y="248"/>
                        </a:lnTo>
                        <a:lnTo>
                          <a:pt x="339" y="258"/>
                        </a:lnTo>
                        <a:lnTo>
                          <a:pt x="341" y="262"/>
                        </a:lnTo>
                        <a:lnTo>
                          <a:pt x="345" y="267"/>
                        </a:lnTo>
                        <a:lnTo>
                          <a:pt x="345" y="267"/>
                        </a:lnTo>
                        <a:lnTo>
                          <a:pt x="350" y="275"/>
                        </a:lnTo>
                        <a:lnTo>
                          <a:pt x="352" y="279"/>
                        </a:lnTo>
                        <a:lnTo>
                          <a:pt x="350" y="281"/>
                        </a:lnTo>
                        <a:lnTo>
                          <a:pt x="348" y="281"/>
                        </a:lnTo>
                        <a:lnTo>
                          <a:pt x="343" y="281"/>
                        </a:lnTo>
                        <a:lnTo>
                          <a:pt x="339" y="281"/>
                        </a:lnTo>
                        <a:lnTo>
                          <a:pt x="336" y="284"/>
                        </a:lnTo>
                        <a:lnTo>
                          <a:pt x="332" y="289"/>
                        </a:lnTo>
                        <a:lnTo>
                          <a:pt x="332" y="289"/>
                        </a:lnTo>
                        <a:lnTo>
                          <a:pt x="331" y="302"/>
                        </a:lnTo>
                        <a:lnTo>
                          <a:pt x="329" y="303"/>
                        </a:lnTo>
                        <a:lnTo>
                          <a:pt x="327" y="305"/>
                        </a:lnTo>
                        <a:lnTo>
                          <a:pt x="322" y="307"/>
                        </a:lnTo>
                        <a:lnTo>
                          <a:pt x="320" y="309"/>
                        </a:lnTo>
                        <a:lnTo>
                          <a:pt x="317" y="312"/>
                        </a:lnTo>
                        <a:lnTo>
                          <a:pt x="317" y="312"/>
                        </a:lnTo>
                        <a:lnTo>
                          <a:pt x="313" y="316"/>
                        </a:lnTo>
                        <a:lnTo>
                          <a:pt x="312" y="316"/>
                        </a:lnTo>
                        <a:lnTo>
                          <a:pt x="312" y="309"/>
                        </a:lnTo>
                        <a:lnTo>
                          <a:pt x="315" y="296"/>
                        </a:lnTo>
                        <a:lnTo>
                          <a:pt x="319" y="288"/>
                        </a:lnTo>
                        <a:lnTo>
                          <a:pt x="319" y="288"/>
                        </a:lnTo>
                        <a:lnTo>
                          <a:pt x="320" y="284"/>
                        </a:lnTo>
                        <a:lnTo>
                          <a:pt x="320" y="282"/>
                        </a:lnTo>
                        <a:lnTo>
                          <a:pt x="320" y="281"/>
                        </a:lnTo>
                        <a:lnTo>
                          <a:pt x="319" y="279"/>
                        </a:lnTo>
                        <a:lnTo>
                          <a:pt x="313" y="281"/>
                        </a:lnTo>
                        <a:lnTo>
                          <a:pt x="310" y="282"/>
                        </a:lnTo>
                        <a:lnTo>
                          <a:pt x="308" y="286"/>
                        </a:lnTo>
                        <a:lnTo>
                          <a:pt x="308" y="286"/>
                        </a:lnTo>
                        <a:lnTo>
                          <a:pt x="306" y="289"/>
                        </a:lnTo>
                        <a:lnTo>
                          <a:pt x="306" y="295"/>
                        </a:lnTo>
                        <a:lnTo>
                          <a:pt x="306" y="302"/>
                        </a:lnTo>
                        <a:lnTo>
                          <a:pt x="306" y="303"/>
                        </a:lnTo>
                        <a:lnTo>
                          <a:pt x="306" y="303"/>
                        </a:lnTo>
                        <a:lnTo>
                          <a:pt x="301" y="300"/>
                        </a:lnTo>
                        <a:lnTo>
                          <a:pt x="301" y="300"/>
                        </a:lnTo>
                        <a:lnTo>
                          <a:pt x="294" y="295"/>
                        </a:lnTo>
                        <a:lnTo>
                          <a:pt x="292" y="296"/>
                        </a:lnTo>
                        <a:lnTo>
                          <a:pt x="291" y="298"/>
                        </a:lnTo>
                        <a:lnTo>
                          <a:pt x="287" y="303"/>
                        </a:lnTo>
                        <a:lnTo>
                          <a:pt x="285" y="314"/>
                        </a:lnTo>
                        <a:lnTo>
                          <a:pt x="285" y="314"/>
                        </a:lnTo>
                        <a:lnTo>
                          <a:pt x="282" y="324"/>
                        </a:lnTo>
                        <a:lnTo>
                          <a:pt x="278" y="328"/>
                        </a:lnTo>
                        <a:lnTo>
                          <a:pt x="277" y="328"/>
                        </a:lnTo>
                        <a:lnTo>
                          <a:pt x="275" y="326"/>
                        </a:lnTo>
                        <a:lnTo>
                          <a:pt x="273" y="322"/>
                        </a:lnTo>
                        <a:lnTo>
                          <a:pt x="275" y="316"/>
                        </a:lnTo>
                        <a:lnTo>
                          <a:pt x="275" y="316"/>
                        </a:lnTo>
                        <a:lnTo>
                          <a:pt x="275" y="310"/>
                        </a:lnTo>
                        <a:lnTo>
                          <a:pt x="275" y="307"/>
                        </a:lnTo>
                        <a:lnTo>
                          <a:pt x="273" y="305"/>
                        </a:lnTo>
                        <a:lnTo>
                          <a:pt x="272" y="305"/>
                        </a:lnTo>
                        <a:lnTo>
                          <a:pt x="265" y="310"/>
                        </a:lnTo>
                        <a:lnTo>
                          <a:pt x="259" y="319"/>
                        </a:lnTo>
                        <a:lnTo>
                          <a:pt x="259" y="319"/>
                        </a:lnTo>
                        <a:lnTo>
                          <a:pt x="254" y="326"/>
                        </a:lnTo>
                        <a:lnTo>
                          <a:pt x="252" y="328"/>
                        </a:lnTo>
                        <a:lnTo>
                          <a:pt x="249" y="328"/>
                        </a:lnTo>
                        <a:lnTo>
                          <a:pt x="242" y="328"/>
                        </a:lnTo>
                        <a:lnTo>
                          <a:pt x="242" y="328"/>
                        </a:lnTo>
                        <a:lnTo>
                          <a:pt x="231" y="328"/>
                        </a:lnTo>
                        <a:lnTo>
                          <a:pt x="221" y="329"/>
                        </a:lnTo>
                        <a:lnTo>
                          <a:pt x="214" y="329"/>
                        </a:lnTo>
                        <a:lnTo>
                          <a:pt x="216" y="328"/>
                        </a:lnTo>
                        <a:lnTo>
                          <a:pt x="218" y="326"/>
                        </a:lnTo>
                        <a:lnTo>
                          <a:pt x="218" y="326"/>
                        </a:lnTo>
                        <a:lnTo>
                          <a:pt x="221" y="321"/>
                        </a:lnTo>
                        <a:lnTo>
                          <a:pt x="218" y="322"/>
                        </a:lnTo>
                        <a:lnTo>
                          <a:pt x="214" y="322"/>
                        </a:lnTo>
                        <a:lnTo>
                          <a:pt x="211" y="321"/>
                        </a:lnTo>
                        <a:lnTo>
                          <a:pt x="209" y="319"/>
                        </a:lnTo>
                        <a:lnTo>
                          <a:pt x="209" y="314"/>
                        </a:lnTo>
                        <a:lnTo>
                          <a:pt x="209" y="314"/>
                        </a:lnTo>
                        <a:lnTo>
                          <a:pt x="207" y="309"/>
                        </a:lnTo>
                        <a:lnTo>
                          <a:pt x="205" y="309"/>
                        </a:lnTo>
                        <a:lnTo>
                          <a:pt x="202" y="309"/>
                        </a:lnTo>
                        <a:lnTo>
                          <a:pt x="198" y="312"/>
                        </a:lnTo>
                        <a:lnTo>
                          <a:pt x="197" y="317"/>
                        </a:lnTo>
                        <a:lnTo>
                          <a:pt x="197" y="322"/>
                        </a:lnTo>
                        <a:lnTo>
                          <a:pt x="198" y="328"/>
                        </a:lnTo>
                        <a:lnTo>
                          <a:pt x="204" y="333"/>
                        </a:lnTo>
                        <a:lnTo>
                          <a:pt x="204" y="333"/>
                        </a:lnTo>
                        <a:lnTo>
                          <a:pt x="209" y="336"/>
                        </a:lnTo>
                        <a:lnTo>
                          <a:pt x="211" y="338"/>
                        </a:lnTo>
                        <a:lnTo>
                          <a:pt x="211" y="340"/>
                        </a:lnTo>
                        <a:lnTo>
                          <a:pt x="207" y="342"/>
                        </a:lnTo>
                        <a:lnTo>
                          <a:pt x="198" y="345"/>
                        </a:lnTo>
                        <a:lnTo>
                          <a:pt x="195" y="347"/>
                        </a:lnTo>
                        <a:lnTo>
                          <a:pt x="191" y="350"/>
                        </a:lnTo>
                        <a:lnTo>
                          <a:pt x="191" y="350"/>
                        </a:lnTo>
                        <a:lnTo>
                          <a:pt x="177" y="373"/>
                        </a:lnTo>
                        <a:lnTo>
                          <a:pt x="174" y="378"/>
                        </a:lnTo>
                        <a:lnTo>
                          <a:pt x="171" y="382"/>
                        </a:lnTo>
                        <a:lnTo>
                          <a:pt x="167" y="383"/>
                        </a:lnTo>
                        <a:lnTo>
                          <a:pt x="164" y="382"/>
                        </a:lnTo>
                        <a:lnTo>
                          <a:pt x="165" y="38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1" name="Freeform 2073">
                    <a:extLst>
                      <a:ext uri="{FF2B5EF4-FFF2-40B4-BE49-F238E27FC236}">
                        <a16:creationId xmlns:a16="http://schemas.microsoft.com/office/drawing/2014/main" id="{BDEC8BF2-3B08-759D-4350-37D798DF212D}"/>
                      </a:ext>
                    </a:extLst>
                  </p:cNvPr>
                  <p:cNvSpPr>
                    <a:spLocks/>
                  </p:cNvSpPr>
                  <p:nvPr/>
                </p:nvSpPr>
                <p:spPr bwMode="auto">
                  <a:xfrm>
                    <a:off x="7367588" y="3200400"/>
                    <a:ext cx="63500" cy="96838"/>
                  </a:xfrm>
                  <a:custGeom>
                    <a:avLst/>
                    <a:gdLst/>
                    <a:ahLst/>
                    <a:cxnLst>
                      <a:cxn ang="0">
                        <a:pos x="28" y="56"/>
                      </a:cxn>
                      <a:cxn ang="0">
                        <a:pos x="23" y="57"/>
                      </a:cxn>
                      <a:cxn ang="0">
                        <a:pos x="21" y="54"/>
                      </a:cxn>
                      <a:cxn ang="0">
                        <a:pos x="19" y="52"/>
                      </a:cxn>
                      <a:cxn ang="0">
                        <a:pos x="16" y="56"/>
                      </a:cxn>
                      <a:cxn ang="0">
                        <a:pos x="9" y="61"/>
                      </a:cxn>
                      <a:cxn ang="0">
                        <a:pos x="9" y="56"/>
                      </a:cxn>
                      <a:cxn ang="0">
                        <a:pos x="5" y="49"/>
                      </a:cxn>
                      <a:cxn ang="0">
                        <a:pos x="4" y="43"/>
                      </a:cxn>
                      <a:cxn ang="0">
                        <a:pos x="5" y="36"/>
                      </a:cxn>
                      <a:cxn ang="0">
                        <a:pos x="2" y="29"/>
                      </a:cxn>
                      <a:cxn ang="0">
                        <a:pos x="4" y="24"/>
                      </a:cxn>
                      <a:cxn ang="0">
                        <a:pos x="11" y="22"/>
                      </a:cxn>
                      <a:cxn ang="0">
                        <a:pos x="11" y="19"/>
                      </a:cxn>
                      <a:cxn ang="0">
                        <a:pos x="14" y="17"/>
                      </a:cxn>
                      <a:cxn ang="0">
                        <a:pos x="19" y="19"/>
                      </a:cxn>
                      <a:cxn ang="0">
                        <a:pos x="21" y="17"/>
                      </a:cxn>
                      <a:cxn ang="0">
                        <a:pos x="26" y="12"/>
                      </a:cxn>
                      <a:cxn ang="0">
                        <a:pos x="31" y="7"/>
                      </a:cxn>
                      <a:cxn ang="0">
                        <a:pos x="35" y="3"/>
                      </a:cxn>
                      <a:cxn ang="0">
                        <a:pos x="40" y="0"/>
                      </a:cxn>
                      <a:cxn ang="0">
                        <a:pos x="49" y="2"/>
                      </a:cxn>
                      <a:cxn ang="0">
                        <a:pos x="52" y="7"/>
                      </a:cxn>
                      <a:cxn ang="0">
                        <a:pos x="54" y="12"/>
                      </a:cxn>
                      <a:cxn ang="0">
                        <a:pos x="59" y="14"/>
                      </a:cxn>
                      <a:cxn ang="0">
                        <a:pos x="68" y="10"/>
                      </a:cxn>
                      <a:cxn ang="0">
                        <a:pos x="75" y="12"/>
                      </a:cxn>
                      <a:cxn ang="0">
                        <a:pos x="77" y="15"/>
                      </a:cxn>
                      <a:cxn ang="0">
                        <a:pos x="73" y="24"/>
                      </a:cxn>
                      <a:cxn ang="0">
                        <a:pos x="72" y="31"/>
                      </a:cxn>
                      <a:cxn ang="0">
                        <a:pos x="75" y="31"/>
                      </a:cxn>
                      <a:cxn ang="0">
                        <a:pos x="82" y="35"/>
                      </a:cxn>
                      <a:cxn ang="0">
                        <a:pos x="89" y="47"/>
                      </a:cxn>
                      <a:cxn ang="0">
                        <a:pos x="85" y="50"/>
                      </a:cxn>
                      <a:cxn ang="0">
                        <a:pos x="82" y="52"/>
                      </a:cxn>
                      <a:cxn ang="0">
                        <a:pos x="77" y="61"/>
                      </a:cxn>
                      <a:cxn ang="0">
                        <a:pos x="68" y="104"/>
                      </a:cxn>
                      <a:cxn ang="0">
                        <a:pos x="65" y="115"/>
                      </a:cxn>
                      <a:cxn ang="0">
                        <a:pos x="61" y="115"/>
                      </a:cxn>
                      <a:cxn ang="0">
                        <a:pos x="58" y="111"/>
                      </a:cxn>
                      <a:cxn ang="0">
                        <a:pos x="54" y="111"/>
                      </a:cxn>
                      <a:cxn ang="0">
                        <a:pos x="52" y="115"/>
                      </a:cxn>
                      <a:cxn ang="0">
                        <a:pos x="56" y="118"/>
                      </a:cxn>
                      <a:cxn ang="0">
                        <a:pos x="52" y="123"/>
                      </a:cxn>
                      <a:cxn ang="0">
                        <a:pos x="49" y="127"/>
                      </a:cxn>
                      <a:cxn ang="0">
                        <a:pos x="42" y="132"/>
                      </a:cxn>
                      <a:cxn ang="0">
                        <a:pos x="40" y="127"/>
                      </a:cxn>
                      <a:cxn ang="0">
                        <a:pos x="31" y="122"/>
                      </a:cxn>
                      <a:cxn ang="0">
                        <a:pos x="23" y="118"/>
                      </a:cxn>
                      <a:cxn ang="0">
                        <a:pos x="23" y="116"/>
                      </a:cxn>
                      <a:cxn ang="0">
                        <a:pos x="26" y="108"/>
                      </a:cxn>
                      <a:cxn ang="0">
                        <a:pos x="26" y="103"/>
                      </a:cxn>
                      <a:cxn ang="0">
                        <a:pos x="25" y="83"/>
                      </a:cxn>
                      <a:cxn ang="0">
                        <a:pos x="30" y="76"/>
                      </a:cxn>
                      <a:cxn ang="0">
                        <a:pos x="37" y="57"/>
                      </a:cxn>
                      <a:cxn ang="0">
                        <a:pos x="30" y="40"/>
                      </a:cxn>
                      <a:cxn ang="0">
                        <a:pos x="28" y="36"/>
                      </a:cxn>
                      <a:cxn ang="0">
                        <a:pos x="23" y="35"/>
                      </a:cxn>
                      <a:cxn ang="0">
                        <a:pos x="23" y="42"/>
                      </a:cxn>
                      <a:cxn ang="0">
                        <a:pos x="25" y="47"/>
                      </a:cxn>
                      <a:cxn ang="0">
                        <a:pos x="30" y="50"/>
                      </a:cxn>
                      <a:cxn ang="0">
                        <a:pos x="30" y="54"/>
                      </a:cxn>
                      <a:cxn ang="0">
                        <a:pos x="28" y="56"/>
                      </a:cxn>
                    </a:cxnLst>
                    <a:rect l="0" t="0" r="r" b="b"/>
                    <a:pathLst>
                      <a:path w="89" h="132">
                        <a:moveTo>
                          <a:pt x="28" y="56"/>
                        </a:moveTo>
                        <a:lnTo>
                          <a:pt x="28" y="56"/>
                        </a:lnTo>
                        <a:lnTo>
                          <a:pt x="25" y="57"/>
                        </a:lnTo>
                        <a:lnTo>
                          <a:pt x="23" y="57"/>
                        </a:lnTo>
                        <a:lnTo>
                          <a:pt x="21" y="56"/>
                        </a:lnTo>
                        <a:lnTo>
                          <a:pt x="21" y="54"/>
                        </a:lnTo>
                        <a:lnTo>
                          <a:pt x="21" y="52"/>
                        </a:lnTo>
                        <a:lnTo>
                          <a:pt x="19" y="52"/>
                        </a:lnTo>
                        <a:lnTo>
                          <a:pt x="16" y="56"/>
                        </a:lnTo>
                        <a:lnTo>
                          <a:pt x="16" y="56"/>
                        </a:lnTo>
                        <a:lnTo>
                          <a:pt x="9" y="61"/>
                        </a:lnTo>
                        <a:lnTo>
                          <a:pt x="9" y="61"/>
                        </a:lnTo>
                        <a:lnTo>
                          <a:pt x="9" y="59"/>
                        </a:lnTo>
                        <a:lnTo>
                          <a:pt x="9" y="56"/>
                        </a:lnTo>
                        <a:lnTo>
                          <a:pt x="9" y="52"/>
                        </a:lnTo>
                        <a:lnTo>
                          <a:pt x="5" y="49"/>
                        </a:lnTo>
                        <a:lnTo>
                          <a:pt x="5" y="49"/>
                        </a:lnTo>
                        <a:lnTo>
                          <a:pt x="4" y="43"/>
                        </a:lnTo>
                        <a:lnTo>
                          <a:pt x="4" y="40"/>
                        </a:lnTo>
                        <a:lnTo>
                          <a:pt x="5" y="36"/>
                        </a:lnTo>
                        <a:lnTo>
                          <a:pt x="2" y="29"/>
                        </a:lnTo>
                        <a:lnTo>
                          <a:pt x="2" y="29"/>
                        </a:lnTo>
                        <a:lnTo>
                          <a:pt x="0" y="24"/>
                        </a:lnTo>
                        <a:lnTo>
                          <a:pt x="4" y="24"/>
                        </a:lnTo>
                        <a:lnTo>
                          <a:pt x="9" y="24"/>
                        </a:lnTo>
                        <a:lnTo>
                          <a:pt x="11" y="22"/>
                        </a:lnTo>
                        <a:lnTo>
                          <a:pt x="11" y="19"/>
                        </a:lnTo>
                        <a:lnTo>
                          <a:pt x="11" y="19"/>
                        </a:lnTo>
                        <a:lnTo>
                          <a:pt x="12" y="15"/>
                        </a:lnTo>
                        <a:lnTo>
                          <a:pt x="14" y="17"/>
                        </a:lnTo>
                        <a:lnTo>
                          <a:pt x="18" y="21"/>
                        </a:lnTo>
                        <a:lnTo>
                          <a:pt x="19" y="19"/>
                        </a:lnTo>
                        <a:lnTo>
                          <a:pt x="21" y="17"/>
                        </a:lnTo>
                        <a:lnTo>
                          <a:pt x="21" y="17"/>
                        </a:lnTo>
                        <a:lnTo>
                          <a:pt x="25" y="12"/>
                        </a:lnTo>
                        <a:lnTo>
                          <a:pt x="26" y="12"/>
                        </a:lnTo>
                        <a:lnTo>
                          <a:pt x="30" y="12"/>
                        </a:lnTo>
                        <a:lnTo>
                          <a:pt x="31" y="7"/>
                        </a:lnTo>
                        <a:lnTo>
                          <a:pt x="31" y="7"/>
                        </a:lnTo>
                        <a:lnTo>
                          <a:pt x="35" y="3"/>
                        </a:lnTo>
                        <a:lnTo>
                          <a:pt x="37" y="0"/>
                        </a:lnTo>
                        <a:lnTo>
                          <a:pt x="40" y="0"/>
                        </a:lnTo>
                        <a:lnTo>
                          <a:pt x="44" y="0"/>
                        </a:lnTo>
                        <a:lnTo>
                          <a:pt x="49" y="2"/>
                        </a:lnTo>
                        <a:lnTo>
                          <a:pt x="51" y="3"/>
                        </a:lnTo>
                        <a:lnTo>
                          <a:pt x="52" y="7"/>
                        </a:lnTo>
                        <a:lnTo>
                          <a:pt x="52" y="7"/>
                        </a:lnTo>
                        <a:lnTo>
                          <a:pt x="54" y="12"/>
                        </a:lnTo>
                        <a:lnTo>
                          <a:pt x="56" y="14"/>
                        </a:lnTo>
                        <a:lnTo>
                          <a:pt x="59" y="14"/>
                        </a:lnTo>
                        <a:lnTo>
                          <a:pt x="61" y="14"/>
                        </a:lnTo>
                        <a:lnTo>
                          <a:pt x="68" y="10"/>
                        </a:lnTo>
                        <a:lnTo>
                          <a:pt x="72" y="10"/>
                        </a:lnTo>
                        <a:lnTo>
                          <a:pt x="75" y="12"/>
                        </a:lnTo>
                        <a:lnTo>
                          <a:pt x="75" y="12"/>
                        </a:lnTo>
                        <a:lnTo>
                          <a:pt x="77" y="15"/>
                        </a:lnTo>
                        <a:lnTo>
                          <a:pt x="75" y="19"/>
                        </a:lnTo>
                        <a:lnTo>
                          <a:pt x="73" y="24"/>
                        </a:lnTo>
                        <a:lnTo>
                          <a:pt x="70" y="29"/>
                        </a:lnTo>
                        <a:lnTo>
                          <a:pt x="72" y="31"/>
                        </a:lnTo>
                        <a:lnTo>
                          <a:pt x="75" y="31"/>
                        </a:lnTo>
                        <a:lnTo>
                          <a:pt x="75" y="31"/>
                        </a:lnTo>
                        <a:lnTo>
                          <a:pt x="78" y="33"/>
                        </a:lnTo>
                        <a:lnTo>
                          <a:pt x="82" y="35"/>
                        </a:lnTo>
                        <a:lnTo>
                          <a:pt x="87" y="40"/>
                        </a:lnTo>
                        <a:lnTo>
                          <a:pt x="89" y="47"/>
                        </a:lnTo>
                        <a:lnTo>
                          <a:pt x="87" y="49"/>
                        </a:lnTo>
                        <a:lnTo>
                          <a:pt x="85" y="50"/>
                        </a:lnTo>
                        <a:lnTo>
                          <a:pt x="85" y="50"/>
                        </a:lnTo>
                        <a:lnTo>
                          <a:pt x="82" y="52"/>
                        </a:lnTo>
                        <a:lnTo>
                          <a:pt x="80" y="54"/>
                        </a:lnTo>
                        <a:lnTo>
                          <a:pt x="77" y="61"/>
                        </a:lnTo>
                        <a:lnTo>
                          <a:pt x="72" y="82"/>
                        </a:lnTo>
                        <a:lnTo>
                          <a:pt x="68" y="104"/>
                        </a:lnTo>
                        <a:lnTo>
                          <a:pt x="66" y="111"/>
                        </a:lnTo>
                        <a:lnTo>
                          <a:pt x="65" y="115"/>
                        </a:lnTo>
                        <a:lnTo>
                          <a:pt x="65" y="115"/>
                        </a:lnTo>
                        <a:lnTo>
                          <a:pt x="61" y="115"/>
                        </a:lnTo>
                        <a:lnTo>
                          <a:pt x="59" y="113"/>
                        </a:lnTo>
                        <a:lnTo>
                          <a:pt x="58" y="111"/>
                        </a:lnTo>
                        <a:lnTo>
                          <a:pt x="54" y="111"/>
                        </a:lnTo>
                        <a:lnTo>
                          <a:pt x="54" y="111"/>
                        </a:lnTo>
                        <a:lnTo>
                          <a:pt x="52" y="113"/>
                        </a:lnTo>
                        <a:lnTo>
                          <a:pt x="52" y="115"/>
                        </a:lnTo>
                        <a:lnTo>
                          <a:pt x="54" y="118"/>
                        </a:lnTo>
                        <a:lnTo>
                          <a:pt x="56" y="118"/>
                        </a:lnTo>
                        <a:lnTo>
                          <a:pt x="56" y="122"/>
                        </a:lnTo>
                        <a:lnTo>
                          <a:pt x="52" y="123"/>
                        </a:lnTo>
                        <a:lnTo>
                          <a:pt x="49" y="127"/>
                        </a:lnTo>
                        <a:lnTo>
                          <a:pt x="49" y="127"/>
                        </a:lnTo>
                        <a:lnTo>
                          <a:pt x="42" y="132"/>
                        </a:lnTo>
                        <a:lnTo>
                          <a:pt x="42" y="132"/>
                        </a:lnTo>
                        <a:lnTo>
                          <a:pt x="40" y="130"/>
                        </a:lnTo>
                        <a:lnTo>
                          <a:pt x="40" y="127"/>
                        </a:lnTo>
                        <a:lnTo>
                          <a:pt x="37" y="123"/>
                        </a:lnTo>
                        <a:lnTo>
                          <a:pt x="31" y="122"/>
                        </a:lnTo>
                        <a:lnTo>
                          <a:pt x="31" y="122"/>
                        </a:lnTo>
                        <a:lnTo>
                          <a:pt x="23" y="118"/>
                        </a:lnTo>
                        <a:lnTo>
                          <a:pt x="23" y="116"/>
                        </a:lnTo>
                        <a:lnTo>
                          <a:pt x="23" y="116"/>
                        </a:lnTo>
                        <a:lnTo>
                          <a:pt x="26" y="111"/>
                        </a:lnTo>
                        <a:lnTo>
                          <a:pt x="26" y="108"/>
                        </a:lnTo>
                        <a:lnTo>
                          <a:pt x="26" y="103"/>
                        </a:lnTo>
                        <a:lnTo>
                          <a:pt x="26" y="103"/>
                        </a:lnTo>
                        <a:lnTo>
                          <a:pt x="23" y="89"/>
                        </a:lnTo>
                        <a:lnTo>
                          <a:pt x="25" y="83"/>
                        </a:lnTo>
                        <a:lnTo>
                          <a:pt x="30" y="76"/>
                        </a:lnTo>
                        <a:lnTo>
                          <a:pt x="30" y="76"/>
                        </a:lnTo>
                        <a:lnTo>
                          <a:pt x="35" y="66"/>
                        </a:lnTo>
                        <a:lnTo>
                          <a:pt x="37" y="57"/>
                        </a:lnTo>
                        <a:lnTo>
                          <a:pt x="35" y="49"/>
                        </a:lnTo>
                        <a:lnTo>
                          <a:pt x="30" y="40"/>
                        </a:lnTo>
                        <a:lnTo>
                          <a:pt x="30" y="40"/>
                        </a:lnTo>
                        <a:lnTo>
                          <a:pt x="28" y="36"/>
                        </a:lnTo>
                        <a:lnTo>
                          <a:pt x="25" y="35"/>
                        </a:lnTo>
                        <a:lnTo>
                          <a:pt x="23" y="35"/>
                        </a:lnTo>
                        <a:lnTo>
                          <a:pt x="23" y="36"/>
                        </a:lnTo>
                        <a:lnTo>
                          <a:pt x="23" y="42"/>
                        </a:lnTo>
                        <a:lnTo>
                          <a:pt x="23" y="45"/>
                        </a:lnTo>
                        <a:lnTo>
                          <a:pt x="25" y="47"/>
                        </a:lnTo>
                        <a:lnTo>
                          <a:pt x="25" y="47"/>
                        </a:lnTo>
                        <a:lnTo>
                          <a:pt x="30" y="50"/>
                        </a:lnTo>
                        <a:lnTo>
                          <a:pt x="31" y="52"/>
                        </a:lnTo>
                        <a:lnTo>
                          <a:pt x="30" y="54"/>
                        </a:lnTo>
                        <a:lnTo>
                          <a:pt x="28" y="56"/>
                        </a:lnTo>
                        <a:lnTo>
                          <a:pt x="28"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2" name="Freeform 2074">
                    <a:extLst>
                      <a:ext uri="{FF2B5EF4-FFF2-40B4-BE49-F238E27FC236}">
                        <a16:creationId xmlns:a16="http://schemas.microsoft.com/office/drawing/2014/main" id="{DCB23653-BC6C-BAB9-4A6C-105C8BDE6A92}"/>
                      </a:ext>
                    </a:extLst>
                  </p:cNvPr>
                  <p:cNvSpPr>
                    <a:spLocks/>
                  </p:cNvSpPr>
                  <p:nvPr/>
                </p:nvSpPr>
                <p:spPr bwMode="auto">
                  <a:xfrm>
                    <a:off x="7626350" y="2800350"/>
                    <a:ext cx="153988" cy="144463"/>
                  </a:xfrm>
                  <a:custGeom>
                    <a:avLst/>
                    <a:gdLst/>
                    <a:ahLst/>
                    <a:cxnLst>
                      <a:cxn ang="0">
                        <a:pos x="9" y="193"/>
                      </a:cxn>
                      <a:cxn ang="0">
                        <a:pos x="12" y="176"/>
                      </a:cxn>
                      <a:cxn ang="0">
                        <a:pos x="5" y="160"/>
                      </a:cxn>
                      <a:cxn ang="0">
                        <a:pos x="0" y="155"/>
                      </a:cxn>
                      <a:cxn ang="0">
                        <a:pos x="5" y="143"/>
                      </a:cxn>
                      <a:cxn ang="0">
                        <a:pos x="22" y="125"/>
                      </a:cxn>
                      <a:cxn ang="0">
                        <a:pos x="22" y="115"/>
                      </a:cxn>
                      <a:cxn ang="0">
                        <a:pos x="19" y="106"/>
                      </a:cxn>
                      <a:cxn ang="0">
                        <a:pos x="29" y="106"/>
                      </a:cxn>
                      <a:cxn ang="0">
                        <a:pos x="47" y="115"/>
                      </a:cxn>
                      <a:cxn ang="0">
                        <a:pos x="57" y="110"/>
                      </a:cxn>
                      <a:cxn ang="0">
                        <a:pos x="56" y="92"/>
                      </a:cxn>
                      <a:cxn ang="0">
                        <a:pos x="63" y="77"/>
                      </a:cxn>
                      <a:cxn ang="0">
                        <a:pos x="66" y="61"/>
                      </a:cxn>
                      <a:cxn ang="0">
                        <a:pos x="66" y="52"/>
                      </a:cxn>
                      <a:cxn ang="0">
                        <a:pos x="71" y="37"/>
                      </a:cxn>
                      <a:cxn ang="0">
                        <a:pos x="66" y="21"/>
                      </a:cxn>
                      <a:cxn ang="0">
                        <a:pos x="64" y="2"/>
                      </a:cxn>
                      <a:cxn ang="0">
                        <a:pos x="76" y="2"/>
                      </a:cxn>
                      <a:cxn ang="0">
                        <a:pos x="87" y="11"/>
                      </a:cxn>
                      <a:cxn ang="0">
                        <a:pos x="123" y="51"/>
                      </a:cxn>
                      <a:cxn ang="0">
                        <a:pos x="148" y="65"/>
                      </a:cxn>
                      <a:cxn ang="0">
                        <a:pos x="157" y="66"/>
                      </a:cxn>
                      <a:cxn ang="0">
                        <a:pos x="162" y="73"/>
                      </a:cxn>
                      <a:cxn ang="0">
                        <a:pos x="167" y="77"/>
                      </a:cxn>
                      <a:cxn ang="0">
                        <a:pos x="183" y="66"/>
                      </a:cxn>
                      <a:cxn ang="0">
                        <a:pos x="195" y="56"/>
                      </a:cxn>
                      <a:cxn ang="0">
                        <a:pos x="197" y="58"/>
                      </a:cxn>
                      <a:cxn ang="0">
                        <a:pos x="188" y="78"/>
                      </a:cxn>
                      <a:cxn ang="0">
                        <a:pos x="190" y="92"/>
                      </a:cxn>
                      <a:cxn ang="0">
                        <a:pos x="200" y="103"/>
                      </a:cxn>
                      <a:cxn ang="0">
                        <a:pos x="211" y="101"/>
                      </a:cxn>
                      <a:cxn ang="0">
                        <a:pos x="212" y="103"/>
                      </a:cxn>
                      <a:cxn ang="0">
                        <a:pos x="188" y="119"/>
                      </a:cxn>
                      <a:cxn ang="0">
                        <a:pos x="165" y="124"/>
                      </a:cxn>
                      <a:cxn ang="0">
                        <a:pos x="144" y="127"/>
                      </a:cxn>
                      <a:cxn ang="0">
                        <a:pos x="130" y="155"/>
                      </a:cxn>
                      <a:cxn ang="0">
                        <a:pos x="122" y="169"/>
                      </a:cxn>
                      <a:cxn ang="0">
                        <a:pos x="89" y="152"/>
                      </a:cxn>
                      <a:cxn ang="0">
                        <a:pos x="64" y="141"/>
                      </a:cxn>
                      <a:cxn ang="0">
                        <a:pos x="52" y="148"/>
                      </a:cxn>
                      <a:cxn ang="0">
                        <a:pos x="38" y="148"/>
                      </a:cxn>
                      <a:cxn ang="0">
                        <a:pos x="29" y="139"/>
                      </a:cxn>
                      <a:cxn ang="0">
                        <a:pos x="21" y="146"/>
                      </a:cxn>
                      <a:cxn ang="0">
                        <a:pos x="22" y="159"/>
                      </a:cxn>
                      <a:cxn ang="0">
                        <a:pos x="50" y="176"/>
                      </a:cxn>
                      <a:cxn ang="0">
                        <a:pos x="49" y="181"/>
                      </a:cxn>
                      <a:cxn ang="0">
                        <a:pos x="33" y="181"/>
                      </a:cxn>
                      <a:cxn ang="0">
                        <a:pos x="24" y="188"/>
                      </a:cxn>
                      <a:cxn ang="0">
                        <a:pos x="15" y="200"/>
                      </a:cxn>
                      <a:cxn ang="0">
                        <a:pos x="10" y="199"/>
                      </a:cxn>
                    </a:cxnLst>
                    <a:rect l="0" t="0" r="r" b="b"/>
                    <a:pathLst>
                      <a:path w="212" h="200">
                        <a:moveTo>
                          <a:pt x="10" y="199"/>
                        </a:moveTo>
                        <a:lnTo>
                          <a:pt x="10" y="199"/>
                        </a:lnTo>
                        <a:lnTo>
                          <a:pt x="9" y="193"/>
                        </a:lnTo>
                        <a:lnTo>
                          <a:pt x="7" y="188"/>
                        </a:lnTo>
                        <a:lnTo>
                          <a:pt x="10" y="179"/>
                        </a:lnTo>
                        <a:lnTo>
                          <a:pt x="12" y="176"/>
                        </a:lnTo>
                        <a:lnTo>
                          <a:pt x="12" y="171"/>
                        </a:lnTo>
                        <a:lnTo>
                          <a:pt x="10" y="166"/>
                        </a:lnTo>
                        <a:lnTo>
                          <a:pt x="5" y="160"/>
                        </a:lnTo>
                        <a:lnTo>
                          <a:pt x="5" y="160"/>
                        </a:lnTo>
                        <a:lnTo>
                          <a:pt x="2" y="159"/>
                        </a:lnTo>
                        <a:lnTo>
                          <a:pt x="0" y="155"/>
                        </a:lnTo>
                        <a:lnTo>
                          <a:pt x="0" y="153"/>
                        </a:lnTo>
                        <a:lnTo>
                          <a:pt x="2" y="150"/>
                        </a:lnTo>
                        <a:lnTo>
                          <a:pt x="5" y="143"/>
                        </a:lnTo>
                        <a:lnTo>
                          <a:pt x="12" y="138"/>
                        </a:lnTo>
                        <a:lnTo>
                          <a:pt x="17" y="132"/>
                        </a:lnTo>
                        <a:lnTo>
                          <a:pt x="22" y="125"/>
                        </a:lnTo>
                        <a:lnTo>
                          <a:pt x="26" y="120"/>
                        </a:lnTo>
                        <a:lnTo>
                          <a:pt x="24" y="117"/>
                        </a:lnTo>
                        <a:lnTo>
                          <a:pt x="22" y="115"/>
                        </a:lnTo>
                        <a:lnTo>
                          <a:pt x="22" y="115"/>
                        </a:lnTo>
                        <a:lnTo>
                          <a:pt x="19" y="110"/>
                        </a:lnTo>
                        <a:lnTo>
                          <a:pt x="19" y="106"/>
                        </a:lnTo>
                        <a:lnTo>
                          <a:pt x="19" y="105"/>
                        </a:lnTo>
                        <a:lnTo>
                          <a:pt x="21" y="105"/>
                        </a:lnTo>
                        <a:lnTo>
                          <a:pt x="29" y="106"/>
                        </a:lnTo>
                        <a:lnTo>
                          <a:pt x="42" y="112"/>
                        </a:lnTo>
                        <a:lnTo>
                          <a:pt x="42" y="112"/>
                        </a:lnTo>
                        <a:lnTo>
                          <a:pt x="47" y="115"/>
                        </a:lnTo>
                        <a:lnTo>
                          <a:pt x="52" y="115"/>
                        </a:lnTo>
                        <a:lnTo>
                          <a:pt x="56" y="113"/>
                        </a:lnTo>
                        <a:lnTo>
                          <a:pt x="57" y="110"/>
                        </a:lnTo>
                        <a:lnTo>
                          <a:pt x="57" y="101"/>
                        </a:lnTo>
                        <a:lnTo>
                          <a:pt x="56" y="92"/>
                        </a:lnTo>
                        <a:lnTo>
                          <a:pt x="56" y="92"/>
                        </a:lnTo>
                        <a:lnTo>
                          <a:pt x="56" y="89"/>
                        </a:lnTo>
                        <a:lnTo>
                          <a:pt x="57" y="85"/>
                        </a:lnTo>
                        <a:lnTo>
                          <a:pt x="63" y="77"/>
                        </a:lnTo>
                        <a:lnTo>
                          <a:pt x="66" y="70"/>
                        </a:lnTo>
                        <a:lnTo>
                          <a:pt x="68" y="66"/>
                        </a:lnTo>
                        <a:lnTo>
                          <a:pt x="66" y="61"/>
                        </a:lnTo>
                        <a:lnTo>
                          <a:pt x="66" y="61"/>
                        </a:lnTo>
                        <a:lnTo>
                          <a:pt x="64" y="56"/>
                        </a:lnTo>
                        <a:lnTo>
                          <a:pt x="66" y="52"/>
                        </a:lnTo>
                        <a:lnTo>
                          <a:pt x="69" y="45"/>
                        </a:lnTo>
                        <a:lnTo>
                          <a:pt x="69" y="42"/>
                        </a:lnTo>
                        <a:lnTo>
                          <a:pt x="71" y="37"/>
                        </a:lnTo>
                        <a:lnTo>
                          <a:pt x="69" y="30"/>
                        </a:lnTo>
                        <a:lnTo>
                          <a:pt x="66" y="21"/>
                        </a:lnTo>
                        <a:lnTo>
                          <a:pt x="66" y="21"/>
                        </a:lnTo>
                        <a:lnTo>
                          <a:pt x="63" y="14"/>
                        </a:lnTo>
                        <a:lnTo>
                          <a:pt x="63" y="7"/>
                        </a:lnTo>
                        <a:lnTo>
                          <a:pt x="64" y="2"/>
                        </a:lnTo>
                        <a:lnTo>
                          <a:pt x="68" y="0"/>
                        </a:lnTo>
                        <a:lnTo>
                          <a:pt x="71" y="0"/>
                        </a:lnTo>
                        <a:lnTo>
                          <a:pt x="76" y="2"/>
                        </a:lnTo>
                        <a:lnTo>
                          <a:pt x="82" y="5"/>
                        </a:lnTo>
                        <a:lnTo>
                          <a:pt x="87" y="11"/>
                        </a:lnTo>
                        <a:lnTo>
                          <a:pt x="87" y="11"/>
                        </a:lnTo>
                        <a:lnTo>
                          <a:pt x="99" y="26"/>
                        </a:lnTo>
                        <a:lnTo>
                          <a:pt x="115" y="44"/>
                        </a:lnTo>
                        <a:lnTo>
                          <a:pt x="123" y="51"/>
                        </a:lnTo>
                        <a:lnTo>
                          <a:pt x="132" y="58"/>
                        </a:lnTo>
                        <a:lnTo>
                          <a:pt x="139" y="61"/>
                        </a:lnTo>
                        <a:lnTo>
                          <a:pt x="148" y="65"/>
                        </a:lnTo>
                        <a:lnTo>
                          <a:pt x="148" y="65"/>
                        </a:lnTo>
                        <a:lnTo>
                          <a:pt x="153" y="65"/>
                        </a:lnTo>
                        <a:lnTo>
                          <a:pt x="157" y="66"/>
                        </a:lnTo>
                        <a:lnTo>
                          <a:pt x="158" y="68"/>
                        </a:lnTo>
                        <a:lnTo>
                          <a:pt x="160" y="70"/>
                        </a:lnTo>
                        <a:lnTo>
                          <a:pt x="162" y="73"/>
                        </a:lnTo>
                        <a:lnTo>
                          <a:pt x="163" y="75"/>
                        </a:lnTo>
                        <a:lnTo>
                          <a:pt x="167" y="77"/>
                        </a:lnTo>
                        <a:lnTo>
                          <a:pt x="167" y="77"/>
                        </a:lnTo>
                        <a:lnTo>
                          <a:pt x="172" y="75"/>
                        </a:lnTo>
                        <a:lnTo>
                          <a:pt x="177" y="73"/>
                        </a:lnTo>
                        <a:lnTo>
                          <a:pt x="183" y="66"/>
                        </a:lnTo>
                        <a:lnTo>
                          <a:pt x="190" y="59"/>
                        </a:lnTo>
                        <a:lnTo>
                          <a:pt x="191" y="58"/>
                        </a:lnTo>
                        <a:lnTo>
                          <a:pt x="195" y="56"/>
                        </a:lnTo>
                        <a:lnTo>
                          <a:pt x="195" y="56"/>
                        </a:lnTo>
                        <a:lnTo>
                          <a:pt x="197" y="56"/>
                        </a:lnTo>
                        <a:lnTo>
                          <a:pt x="197" y="58"/>
                        </a:lnTo>
                        <a:lnTo>
                          <a:pt x="193" y="66"/>
                        </a:lnTo>
                        <a:lnTo>
                          <a:pt x="190" y="72"/>
                        </a:lnTo>
                        <a:lnTo>
                          <a:pt x="188" y="78"/>
                        </a:lnTo>
                        <a:lnTo>
                          <a:pt x="188" y="85"/>
                        </a:lnTo>
                        <a:lnTo>
                          <a:pt x="190" y="92"/>
                        </a:lnTo>
                        <a:lnTo>
                          <a:pt x="190" y="92"/>
                        </a:lnTo>
                        <a:lnTo>
                          <a:pt x="193" y="99"/>
                        </a:lnTo>
                        <a:lnTo>
                          <a:pt x="197" y="103"/>
                        </a:lnTo>
                        <a:lnTo>
                          <a:pt x="200" y="103"/>
                        </a:lnTo>
                        <a:lnTo>
                          <a:pt x="202" y="103"/>
                        </a:lnTo>
                        <a:lnTo>
                          <a:pt x="207" y="101"/>
                        </a:lnTo>
                        <a:lnTo>
                          <a:pt x="211" y="101"/>
                        </a:lnTo>
                        <a:lnTo>
                          <a:pt x="212" y="101"/>
                        </a:lnTo>
                        <a:lnTo>
                          <a:pt x="212" y="101"/>
                        </a:lnTo>
                        <a:lnTo>
                          <a:pt x="212" y="103"/>
                        </a:lnTo>
                        <a:lnTo>
                          <a:pt x="212" y="105"/>
                        </a:lnTo>
                        <a:lnTo>
                          <a:pt x="207" y="108"/>
                        </a:lnTo>
                        <a:lnTo>
                          <a:pt x="188" y="119"/>
                        </a:lnTo>
                        <a:lnTo>
                          <a:pt x="188" y="119"/>
                        </a:lnTo>
                        <a:lnTo>
                          <a:pt x="176" y="122"/>
                        </a:lnTo>
                        <a:lnTo>
                          <a:pt x="165" y="124"/>
                        </a:lnTo>
                        <a:lnTo>
                          <a:pt x="155" y="124"/>
                        </a:lnTo>
                        <a:lnTo>
                          <a:pt x="144" y="127"/>
                        </a:lnTo>
                        <a:lnTo>
                          <a:pt x="144" y="127"/>
                        </a:lnTo>
                        <a:lnTo>
                          <a:pt x="139" y="132"/>
                        </a:lnTo>
                        <a:lnTo>
                          <a:pt x="136" y="139"/>
                        </a:lnTo>
                        <a:lnTo>
                          <a:pt x="130" y="155"/>
                        </a:lnTo>
                        <a:lnTo>
                          <a:pt x="129" y="162"/>
                        </a:lnTo>
                        <a:lnTo>
                          <a:pt x="125" y="167"/>
                        </a:lnTo>
                        <a:lnTo>
                          <a:pt x="122" y="169"/>
                        </a:lnTo>
                        <a:lnTo>
                          <a:pt x="115" y="167"/>
                        </a:lnTo>
                        <a:lnTo>
                          <a:pt x="115" y="167"/>
                        </a:lnTo>
                        <a:lnTo>
                          <a:pt x="89" y="152"/>
                        </a:lnTo>
                        <a:lnTo>
                          <a:pt x="75" y="143"/>
                        </a:lnTo>
                        <a:lnTo>
                          <a:pt x="68" y="141"/>
                        </a:lnTo>
                        <a:lnTo>
                          <a:pt x="64" y="141"/>
                        </a:lnTo>
                        <a:lnTo>
                          <a:pt x="59" y="143"/>
                        </a:lnTo>
                        <a:lnTo>
                          <a:pt x="52" y="148"/>
                        </a:lnTo>
                        <a:lnTo>
                          <a:pt x="52" y="148"/>
                        </a:lnTo>
                        <a:lnTo>
                          <a:pt x="47" y="150"/>
                        </a:lnTo>
                        <a:lnTo>
                          <a:pt x="42" y="150"/>
                        </a:lnTo>
                        <a:lnTo>
                          <a:pt x="38" y="148"/>
                        </a:lnTo>
                        <a:lnTo>
                          <a:pt x="35" y="145"/>
                        </a:lnTo>
                        <a:lnTo>
                          <a:pt x="33" y="141"/>
                        </a:lnTo>
                        <a:lnTo>
                          <a:pt x="29" y="139"/>
                        </a:lnTo>
                        <a:lnTo>
                          <a:pt x="26" y="141"/>
                        </a:lnTo>
                        <a:lnTo>
                          <a:pt x="21" y="146"/>
                        </a:lnTo>
                        <a:lnTo>
                          <a:pt x="21" y="146"/>
                        </a:lnTo>
                        <a:lnTo>
                          <a:pt x="21" y="150"/>
                        </a:lnTo>
                        <a:lnTo>
                          <a:pt x="21" y="153"/>
                        </a:lnTo>
                        <a:lnTo>
                          <a:pt x="22" y="159"/>
                        </a:lnTo>
                        <a:lnTo>
                          <a:pt x="29" y="164"/>
                        </a:lnTo>
                        <a:lnTo>
                          <a:pt x="36" y="167"/>
                        </a:lnTo>
                        <a:lnTo>
                          <a:pt x="50" y="176"/>
                        </a:lnTo>
                        <a:lnTo>
                          <a:pt x="52" y="178"/>
                        </a:lnTo>
                        <a:lnTo>
                          <a:pt x="49" y="181"/>
                        </a:lnTo>
                        <a:lnTo>
                          <a:pt x="49" y="181"/>
                        </a:lnTo>
                        <a:lnTo>
                          <a:pt x="43" y="183"/>
                        </a:lnTo>
                        <a:lnTo>
                          <a:pt x="38" y="183"/>
                        </a:lnTo>
                        <a:lnTo>
                          <a:pt x="33" y="181"/>
                        </a:lnTo>
                        <a:lnTo>
                          <a:pt x="31" y="179"/>
                        </a:lnTo>
                        <a:lnTo>
                          <a:pt x="29" y="181"/>
                        </a:lnTo>
                        <a:lnTo>
                          <a:pt x="24" y="188"/>
                        </a:lnTo>
                        <a:lnTo>
                          <a:pt x="24" y="188"/>
                        </a:lnTo>
                        <a:lnTo>
                          <a:pt x="19" y="197"/>
                        </a:lnTo>
                        <a:lnTo>
                          <a:pt x="15" y="200"/>
                        </a:lnTo>
                        <a:lnTo>
                          <a:pt x="14" y="200"/>
                        </a:lnTo>
                        <a:lnTo>
                          <a:pt x="10" y="199"/>
                        </a:lnTo>
                        <a:lnTo>
                          <a:pt x="10" y="19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3" name="Freeform 2075">
                    <a:extLst>
                      <a:ext uri="{FF2B5EF4-FFF2-40B4-BE49-F238E27FC236}">
                        <a16:creationId xmlns:a16="http://schemas.microsoft.com/office/drawing/2014/main" id="{7050C08A-EE97-CA1E-1B80-6E026B326775}"/>
                      </a:ext>
                    </a:extLst>
                  </p:cNvPr>
                  <p:cNvSpPr>
                    <a:spLocks/>
                  </p:cNvSpPr>
                  <p:nvPr/>
                </p:nvSpPr>
                <p:spPr bwMode="auto">
                  <a:xfrm>
                    <a:off x="7432675" y="3186113"/>
                    <a:ext cx="65088" cy="52387"/>
                  </a:xfrm>
                  <a:custGeom>
                    <a:avLst/>
                    <a:gdLst/>
                    <a:ahLst/>
                    <a:cxnLst>
                      <a:cxn ang="0">
                        <a:pos x="26" y="75"/>
                      </a:cxn>
                      <a:cxn ang="0">
                        <a:pos x="15" y="71"/>
                      </a:cxn>
                      <a:cxn ang="0">
                        <a:pos x="19" y="68"/>
                      </a:cxn>
                      <a:cxn ang="0">
                        <a:pos x="15" y="63"/>
                      </a:cxn>
                      <a:cxn ang="0">
                        <a:pos x="14" y="59"/>
                      </a:cxn>
                      <a:cxn ang="0">
                        <a:pos x="12" y="50"/>
                      </a:cxn>
                      <a:cxn ang="0">
                        <a:pos x="10" y="45"/>
                      </a:cxn>
                      <a:cxn ang="0">
                        <a:pos x="5" y="45"/>
                      </a:cxn>
                      <a:cxn ang="0">
                        <a:pos x="0" y="45"/>
                      </a:cxn>
                      <a:cxn ang="0">
                        <a:pos x="14" y="35"/>
                      </a:cxn>
                      <a:cxn ang="0">
                        <a:pos x="21" y="24"/>
                      </a:cxn>
                      <a:cxn ang="0">
                        <a:pos x="26" y="14"/>
                      </a:cxn>
                      <a:cxn ang="0">
                        <a:pos x="29" y="10"/>
                      </a:cxn>
                      <a:cxn ang="0">
                        <a:pos x="33" y="17"/>
                      </a:cxn>
                      <a:cxn ang="0">
                        <a:pos x="35" y="21"/>
                      </a:cxn>
                      <a:cxn ang="0">
                        <a:pos x="40" y="17"/>
                      </a:cxn>
                      <a:cxn ang="0">
                        <a:pos x="45" y="17"/>
                      </a:cxn>
                      <a:cxn ang="0">
                        <a:pos x="47" y="17"/>
                      </a:cxn>
                      <a:cxn ang="0">
                        <a:pos x="50" y="14"/>
                      </a:cxn>
                      <a:cxn ang="0">
                        <a:pos x="55" y="5"/>
                      </a:cxn>
                      <a:cxn ang="0">
                        <a:pos x="59" y="3"/>
                      </a:cxn>
                      <a:cxn ang="0">
                        <a:pos x="73" y="0"/>
                      </a:cxn>
                      <a:cxn ang="0">
                        <a:pos x="83" y="5"/>
                      </a:cxn>
                      <a:cxn ang="0">
                        <a:pos x="87" y="9"/>
                      </a:cxn>
                      <a:cxn ang="0">
                        <a:pos x="87" y="14"/>
                      </a:cxn>
                      <a:cxn ang="0">
                        <a:pos x="88" y="21"/>
                      </a:cxn>
                      <a:cxn ang="0">
                        <a:pos x="88" y="26"/>
                      </a:cxn>
                      <a:cxn ang="0">
                        <a:pos x="80" y="33"/>
                      </a:cxn>
                      <a:cxn ang="0">
                        <a:pos x="75" y="42"/>
                      </a:cxn>
                      <a:cxn ang="0">
                        <a:pos x="73" y="47"/>
                      </a:cxn>
                      <a:cxn ang="0">
                        <a:pos x="69" y="47"/>
                      </a:cxn>
                      <a:cxn ang="0">
                        <a:pos x="61" y="42"/>
                      </a:cxn>
                      <a:cxn ang="0">
                        <a:pos x="50" y="40"/>
                      </a:cxn>
                      <a:cxn ang="0">
                        <a:pos x="45" y="43"/>
                      </a:cxn>
                      <a:cxn ang="0">
                        <a:pos x="38" y="54"/>
                      </a:cxn>
                      <a:cxn ang="0">
                        <a:pos x="31" y="71"/>
                      </a:cxn>
                      <a:cxn ang="0">
                        <a:pos x="26" y="75"/>
                      </a:cxn>
                    </a:cxnLst>
                    <a:rect l="0" t="0" r="r" b="b"/>
                    <a:pathLst>
                      <a:path w="90" h="75">
                        <a:moveTo>
                          <a:pt x="26" y="75"/>
                        </a:moveTo>
                        <a:lnTo>
                          <a:pt x="26" y="75"/>
                        </a:lnTo>
                        <a:lnTo>
                          <a:pt x="17" y="73"/>
                        </a:lnTo>
                        <a:lnTo>
                          <a:pt x="15" y="71"/>
                        </a:lnTo>
                        <a:lnTo>
                          <a:pt x="17" y="71"/>
                        </a:lnTo>
                        <a:lnTo>
                          <a:pt x="19" y="68"/>
                        </a:lnTo>
                        <a:lnTo>
                          <a:pt x="17" y="66"/>
                        </a:lnTo>
                        <a:lnTo>
                          <a:pt x="15" y="63"/>
                        </a:lnTo>
                        <a:lnTo>
                          <a:pt x="15" y="63"/>
                        </a:lnTo>
                        <a:lnTo>
                          <a:pt x="14" y="59"/>
                        </a:lnTo>
                        <a:lnTo>
                          <a:pt x="12" y="56"/>
                        </a:lnTo>
                        <a:lnTo>
                          <a:pt x="12" y="50"/>
                        </a:lnTo>
                        <a:lnTo>
                          <a:pt x="12" y="47"/>
                        </a:lnTo>
                        <a:lnTo>
                          <a:pt x="10" y="45"/>
                        </a:lnTo>
                        <a:lnTo>
                          <a:pt x="8" y="45"/>
                        </a:lnTo>
                        <a:lnTo>
                          <a:pt x="5" y="45"/>
                        </a:lnTo>
                        <a:lnTo>
                          <a:pt x="5" y="45"/>
                        </a:lnTo>
                        <a:lnTo>
                          <a:pt x="0" y="45"/>
                        </a:lnTo>
                        <a:lnTo>
                          <a:pt x="5" y="42"/>
                        </a:lnTo>
                        <a:lnTo>
                          <a:pt x="14" y="35"/>
                        </a:lnTo>
                        <a:lnTo>
                          <a:pt x="17" y="29"/>
                        </a:lnTo>
                        <a:lnTo>
                          <a:pt x="21" y="24"/>
                        </a:lnTo>
                        <a:lnTo>
                          <a:pt x="21" y="24"/>
                        </a:lnTo>
                        <a:lnTo>
                          <a:pt x="26" y="14"/>
                        </a:lnTo>
                        <a:lnTo>
                          <a:pt x="29" y="10"/>
                        </a:lnTo>
                        <a:lnTo>
                          <a:pt x="29" y="10"/>
                        </a:lnTo>
                        <a:lnTo>
                          <a:pt x="31" y="10"/>
                        </a:lnTo>
                        <a:lnTo>
                          <a:pt x="33" y="17"/>
                        </a:lnTo>
                        <a:lnTo>
                          <a:pt x="33" y="17"/>
                        </a:lnTo>
                        <a:lnTo>
                          <a:pt x="35" y="21"/>
                        </a:lnTo>
                        <a:lnTo>
                          <a:pt x="36" y="19"/>
                        </a:lnTo>
                        <a:lnTo>
                          <a:pt x="40" y="17"/>
                        </a:lnTo>
                        <a:lnTo>
                          <a:pt x="43" y="17"/>
                        </a:lnTo>
                        <a:lnTo>
                          <a:pt x="45" y="17"/>
                        </a:lnTo>
                        <a:lnTo>
                          <a:pt x="45" y="17"/>
                        </a:lnTo>
                        <a:lnTo>
                          <a:pt x="47" y="17"/>
                        </a:lnTo>
                        <a:lnTo>
                          <a:pt x="48" y="17"/>
                        </a:lnTo>
                        <a:lnTo>
                          <a:pt x="50" y="14"/>
                        </a:lnTo>
                        <a:lnTo>
                          <a:pt x="52" y="9"/>
                        </a:lnTo>
                        <a:lnTo>
                          <a:pt x="55" y="5"/>
                        </a:lnTo>
                        <a:lnTo>
                          <a:pt x="59" y="3"/>
                        </a:lnTo>
                        <a:lnTo>
                          <a:pt x="59" y="3"/>
                        </a:lnTo>
                        <a:lnTo>
                          <a:pt x="66" y="0"/>
                        </a:lnTo>
                        <a:lnTo>
                          <a:pt x="73" y="0"/>
                        </a:lnTo>
                        <a:lnTo>
                          <a:pt x="78" y="2"/>
                        </a:lnTo>
                        <a:lnTo>
                          <a:pt x="83" y="5"/>
                        </a:lnTo>
                        <a:lnTo>
                          <a:pt x="83" y="5"/>
                        </a:lnTo>
                        <a:lnTo>
                          <a:pt x="87" y="9"/>
                        </a:lnTo>
                        <a:lnTo>
                          <a:pt x="88" y="10"/>
                        </a:lnTo>
                        <a:lnTo>
                          <a:pt x="87" y="14"/>
                        </a:lnTo>
                        <a:lnTo>
                          <a:pt x="88" y="21"/>
                        </a:lnTo>
                        <a:lnTo>
                          <a:pt x="88" y="21"/>
                        </a:lnTo>
                        <a:lnTo>
                          <a:pt x="90" y="24"/>
                        </a:lnTo>
                        <a:lnTo>
                          <a:pt x="88" y="26"/>
                        </a:lnTo>
                        <a:lnTo>
                          <a:pt x="85" y="29"/>
                        </a:lnTo>
                        <a:lnTo>
                          <a:pt x="80" y="33"/>
                        </a:lnTo>
                        <a:lnTo>
                          <a:pt x="76" y="36"/>
                        </a:lnTo>
                        <a:lnTo>
                          <a:pt x="75" y="42"/>
                        </a:lnTo>
                        <a:lnTo>
                          <a:pt x="75" y="42"/>
                        </a:lnTo>
                        <a:lnTo>
                          <a:pt x="73" y="47"/>
                        </a:lnTo>
                        <a:lnTo>
                          <a:pt x="71" y="49"/>
                        </a:lnTo>
                        <a:lnTo>
                          <a:pt x="69" y="47"/>
                        </a:lnTo>
                        <a:lnTo>
                          <a:pt x="68" y="45"/>
                        </a:lnTo>
                        <a:lnTo>
                          <a:pt x="61" y="42"/>
                        </a:lnTo>
                        <a:lnTo>
                          <a:pt x="55" y="40"/>
                        </a:lnTo>
                        <a:lnTo>
                          <a:pt x="50" y="40"/>
                        </a:lnTo>
                        <a:lnTo>
                          <a:pt x="50" y="40"/>
                        </a:lnTo>
                        <a:lnTo>
                          <a:pt x="45" y="43"/>
                        </a:lnTo>
                        <a:lnTo>
                          <a:pt x="40" y="49"/>
                        </a:lnTo>
                        <a:lnTo>
                          <a:pt x="38" y="54"/>
                        </a:lnTo>
                        <a:lnTo>
                          <a:pt x="36" y="61"/>
                        </a:lnTo>
                        <a:lnTo>
                          <a:pt x="31" y="71"/>
                        </a:lnTo>
                        <a:lnTo>
                          <a:pt x="29" y="75"/>
                        </a:lnTo>
                        <a:lnTo>
                          <a:pt x="26" y="75"/>
                        </a:lnTo>
                        <a:lnTo>
                          <a:pt x="26"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295" name="Freeform 2076">
                  <a:extLst>
                    <a:ext uri="{FF2B5EF4-FFF2-40B4-BE49-F238E27FC236}">
                      <a16:creationId xmlns:a16="http://schemas.microsoft.com/office/drawing/2014/main" id="{871066AB-ED27-ED11-78F3-D02248609F66}"/>
                    </a:ext>
                  </a:extLst>
                </p:cNvPr>
                <p:cNvSpPr>
                  <a:spLocks/>
                </p:cNvSpPr>
                <p:nvPr/>
              </p:nvSpPr>
              <p:spPr bwMode="auto">
                <a:xfrm>
                  <a:off x="9089507" y="2668720"/>
                  <a:ext cx="26429" cy="33478"/>
                </a:xfrm>
                <a:custGeom>
                  <a:avLst/>
                  <a:gdLst/>
                  <a:ahLst/>
                  <a:cxnLst>
                    <a:cxn ang="0">
                      <a:pos x="4" y="36"/>
                    </a:cxn>
                    <a:cxn ang="0">
                      <a:pos x="4" y="36"/>
                    </a:cxn>
                    <a:cxn ang="0">
                      <a:pos x="0" y="31"/>
                    </a:cxn>
                    <a:cxn ang="0">
                      <a:pos x="2" y="29"/>
                    </a:cxn>
                    <a:cxn ang="0">
                      <a:pos x="4" y="26"/>
                    </a:cxn>
                    <a:cxn ang="0">
                      <a:pos x="9" y="22"/>
                    </a:cxn>
                    <a:cxn ang="0">
                      <a:pos x="16" y="20"/>
                    </a:cxn>
                    <a:cxn ang="0">
                      <a:pos x="16" y="20"/>
                    </a:cxn>
                    <a:cxn ang="0">
                      <a:pos x="19" y="17"/>
                    </a:cxn>
                    <a:cxn ang="0">
                      <a:pos x="23" y="15"/>
                    </a:cxn>
                    <a:cxn ang="0">
                      <a:pos x="25" y="8"/>
                    </a:cxn>
                    <a:cxn ang="0">
                      <a:pos x="28" y="1"/>
                    </a:cxn>
                    <a:cxn ang="0">
                      <a:pos x="30" y="0"/>
                    </a:cxn>
                    <a:cxn ang="0">
                      <a:pos x="32" y="0"/>
                    </a:cxn>
                    <a:cxn ang="0">
                      <a:pos x="32" y="0"/>
                    </a:cxn>
                    <a:cxn ang="0">
                      <a:pos x="33" y="1"/>
                    </a:cxn>
                    <a:cxn ang="0">
                      <a:pos x="35" y="3"/>
                    </a:cxn>
                    <a:cxn ang="0">
                      <a:pos x="35" y="13"/>
                    </a:cxn>
                    <a:cxn ang="0">
                      <a:pos x="33" y="19"/>
                    </a:cxn>
                    <a:cxn ang="0">
                      <a:pos x="30" y="22"/>
                    </a:cxn>
                    <a:cxn ang="0">
                      <a:pos x="26" y="27"/>
                    </a:cxn>
                    <a:cxn ang="0">
                      <a:pos x="23" y="29"/>
                    </a:cxn>
                    <a:cxn ang="0">
                      <a:pos x="23" y="29"/>
                    </a:cxn>
                    <a:cxn ang="0">
                      <a:pos x="18" y="31"/>
                    </a:cxn>
                    <a:cxn ang="0">
                      <a:pos x="14" y="33"/>
                    </a:cxn>
                    <a:cxn ang="0">
                      <a:pos x="11" y="36"/>
                    </a:cxn>
                    <a:cxn ang="0">
                      <a:pos x="7" y="40"/>
                    </a:cxn>
                    <a:cxn ang="0">
                      <a:pos x="6" y="40"/>
                    </a:cxn>
                    <a:cxn ang="0">
                      <a:pos x="4" y="36"/>
                    </a:cxn>
                  </a:cxnLst>
                  <a:rect l="0" t="0" r="r" b="b"/>
                  <a:pathLst>
                    <a:path w="35" h="40">
                      <a:moveTo>
                        <a:pt x="4" y="36"/>
                      </a:moveTo>
                      <a:lnTo>
                        <a:pt x="4" y="36"/>
                      </a:lnTo>
                      <a:lnTo>
                        <a:pt x="0" y="31"/>
                      </a:lnTo>
                      <a:lnTo>
                        <a:pt x="2" y="29"/>
                      </a:lnTo>
                      <a:lnTo>
                        <a:pt x="4" y="26"/>
                      </a:lnTo>
                      <a:lnTo>
                        <a:pt x="9" y="22"/>
                      </a:lnTo>
                      <a:lnTo>
                        <a:pt x="16" y="20"/>
                      </a:lnTo>
                      <a:lnTo>
                        <a:pt x="16" y="20"/>
                      </a:lnTo>
                      <a:lnTo>
                        <a:pt x="19" y="17"/>
                      </a:lnTo>
                      <a:lnTo>
                        <a:pt x="23" y="15"/>
                      </a:lnTo>
                      <a:lnTo>
                        <a:pt x="25" y="8"/>
                      </a:lnTo>
                      <a:lnTo>
                        <a:pt x="28" y="1"/>
                      </a:lnTo>
                      <a:lnTo>
                        <a:pt x="30" y="0"/>
                      </a:lnTo>
                      <a:lnTo>
                        <a:pt x="32" y="0"/>
                      </a:lnTo>
                      <a:lnTo>
                        <a:pt x="32" y="0"/>
                      </a:lnTo>
                      <a:lnTo>
                        <a:pt x="33" y="1"/>
                      </a:lnTo>
                      <a:lnTo>
                        <a:pt x="35" y="3"/>
                      </a:lnTo>
                      <a:lnTo>
                        <a:pt x="35" y="13"/>
                      </a:lnTo>
                      <a:lnTo>
                        <a:pt x="33" y="19"/>
                      </a:lnTo>
                      <a:lnTo>
                        <a:pt x="30" y="22"/>
                      </a:lnTo>
                      <a:lnTo>
                        <a:pt x="26" y="27"/>
                      </a:lnTo>
                      <a:lnTo>
                        <a:pt x="23" y="29"/>
                      </a:lnTo>
                      <a:lnTo>
                        <a:pt x="23" y="29"/>
                      </a:lnTo>
                      <a:lnTo>
                        <a:pt x="18" y="31"/>
                      </a:lnTo>
                      <a:lnTo>
                        <a:pt x="14" y="33"/>
                      </a:lnTo>
                      <a:lnTo>
                        <a:pt x="11" y="36"/>
                      </a:lnTo>
                      <a:lnTo>
                        <a:pt x="7" y="40"/>
                      </a:lnTo>
                      <a:lnTo>
                        <a:pt x="6" y="40"/>
                      </a:lnTo>
                      <a:lnTo>
                        <a:pt x="4" y="3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6" name="Freeform 2077">
                  <a:extLst>
                    <a:ext uri="{FF2B5EF4-FFF2-40B4-BE49-F238E27FC236}">
                      <a16:creationId xmlns:a16="http://schemas.microsoft.com/office/drawing/2014/main" id="{8DC9EB7E-5654-3048-1C70-B4BA10F62800}"/>
                    </a:ext>
                  </a:extLst>
                </p:cNvPr>
                <p:cNvSpPr>
                  <a:spLocks/>
                </p:cNvSpPr>
                <p:nvPr/>
              </p:nvSpPr>
              <p:spPr bwMode="auto">
                <a:xfrm>
                  <a:off x="8657816" y="1588613"/>
                  <a:ext cx="105720" cy="37001"/>
                </a:xfrm>
                <a:custGeom>
                  <a:avLst/>
                  <a:gdLst/>
                  <a:ahLst/>
                  <a:cxnLst>
                    <a:cxn ang="0">
                      <a:pos x="73" y="42"/>
                    </a:cxn>
                    <a:cxn ang="0">
                      <a:pos x="73" y="42"/>
                    </a:cxn>
                    <a:cxn ang="0">
                      <a:pos x="53" y="38"/>
                    </a:cxn>
                    <a:cxn ang="0">
                      <a:pos x="35" y="38"/>
                    </a:cxn>
                    <a:cxn ang="0">
                      <a:pos x="9" y="38"/>
                    </a:cxn>
                    <a:cxn ang="0">
                      <a:pos x="2" y="40"/>
                    </a:cxn>
                    <a:cxn ang="0">
                      <a:pos x="0" y="38"/>
                    </a:cxn>
                    <a:cxn ang="0">
                      <a:pos x="2" y="35"/>
                    </a:cxn>
                    <a:cxn ang="0">
                      <a:pos x="11" y="30"/>
                    </a:cxn>
                    <a:cxn ang="0">
                      <a:pos x="11" y="30"/>
                    </a:cxn>
                    <a:cxn ang="0">
                      <a:pos x="33" y="16"/>
                    </a:cxn>
                    <a:cxn ang="0">
                      <a:pos x="42" y="9"/>
                    </a:cxn>
                    <a:cxn ang="0">
                      <a:pos x="53" y="3"/>
                    </a:cxn>
                    <a:cxn ang="0">
                      <a:pos x="63" y="0"/>
                    </a:cxn>
                    <a:cxn ang="0">
                      <a:pos x="75" y="0"/>
                    </a:cxn>
                    <a:cxn ang="0">
                      <a:pos x="87" y="2"/>
                    </a:cxn>
                    <a:cxn ang="0">
                      <a:pos x="101" y="9"/>
                    </a:cxn>
                    <a:cxn ang="0">
                      <a:pos x="101" y="9"/>
                    </a:cxn>
                    <a:cxn ang="0">
                      <a:pos x="115" y="17"/>
                    </a:cxn>
                    <a:cxn ang="0">
                      <a:pos x="126" y="26"/>
                    </a:cxn>
                    <a:cxn ang="0">
                      <a:pos x="133" y="33"/>
                    </a:cxn>
                    <a:cxn ang="0">
                      <a:pos x="133" y="36"/>
                    </a:cxn>
                    <a:cxn ang="0">
                      <a:pos x="133" y="38"/>
                    </a:cxn>
                    <a:cxn ang="0">
                      <a:pos x="131" y="42"/>
                    </a:cxn>
                    <a:cxn ang="0">
                      <a:pos x="129" y="43"/>
                    </a:cxn>
                    <a:cxn ang="0">
                      <a:pos x="117" y="45"/>
                    </a:cxn>
                    <a:cxn ang="0">
                      <a:pos x="100" y="45"/>
                    </a:cxn>
                    <a:cxn ang="0">
                      <a:pos x="73" y="42"/>
                    </a:cxn>
                    <a:cxn ang="0">
                      <a:pos x="73" y="42"/>
                    </a:cxn>
                  </a:cxnLst>
                  <a:rect l="0" t="0" r="r" b="b"/>
                  <a:pathLst>
                    <a:path w="133" h="45">
                      <a:moveTo>
                        <a:pt x="73" y="42"/>
                      </a:moveTo>
                      <a:lnTo>
                        <a:pt x="73" y="42"/>
                      </a:lnTo>
                      <a:lnTo>
                        <a:pt x="53" y="38"/>
                      </a:lnTo>
                      <a:lnTo>
                        <a:pt x="35" y="38"/>
                      </a:lnTo>
                      <a:lnTo>
                        <a:pt x="9" y="38"/>
                      </a:lnTo>
                      <a:lnTo>
                        <a:pt x="2" y="40"/>
                      </a:lnTo>
                      <a:lnTo>
                        <a:pt x="0" y="38"/>
                      </a:lnTo>
                      <a:lnTo>
                        <a:pt x="2" y="35"/>
                      </a:lnTo>
                      <a:lnTo>
                        <a:pt x="11" y="30"/>
                      </a:lnTo>
                      <a:lnTo>
                        <a:pt x="11" y="30"/>
                      </a:lnTo>
                      <a:lnTo>
                        <a:pt x="33" y="16"/>
                      </a:lnTo>
                      <a:lnTo>
                        <a:pt x="42" y="9"/>
                      </a:lnTo>
                      <a:lnTo>
                        <a:pt x="53" y="3"/>
                      </a:lnTo>
                      <a:lnTo>
                        <a:pt x="63" y="0"/>
                      </a:lnTo>
                      <a:lnTo>
                        <a:pt x="75" y="0"/>
                      </a:lnTo>
                      <a:lnTo>
                        <a:pt x="87" y="2"/>
                      </a:lnTo>
                      <a:lnTo>
                        <a:pt x="101" y="9"/>
                      </a:lnTo>
                      <a:lnTo>
                        <a:pt x="101" y="9"/>
                      </a:lnTo>
                      <a:lnTo>
                        <a:pt x="115" y="17"/>
                      </a:lnTo>
                      <a:lnTo>
                        <a:pt x="126" y="26"/>
                      </a:lnTo>
                      <a:lnTo>
                        <a:pt x="133" y="33"/>
                      </a:lnTo>
                      <a:lnTo>
                        <a:pt x="133" y="36"/>
                      </a:lnTo>
                      <a:lnTo>
                        <a:pt x="133" y="38"/>
                      </a:lnTo>
                      <a:lnTo>
                        <a:pt x="131" y="42"/>
                      </a:lnTo>
                      <a:lnTo>
                        <a:pt x="129" y="43"/>
                      </a:lnTo>
                      <a:lnTo>
                        <a:pt x="117" y="45"/>
                      </a:lnTo>
                      <a:lnTo>
                        <a:pt x="100" y="45"/>
                      </a:lnTo>
                      <a:lnTo>
                        <a:pt x="73" y="42"/>
                      </a:lnTo>
                      <a:lnTo>
                        <a:pt x="73" y="4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7" name="Freeform 2078">
                  <a:extLst>
                    <a:ext uri="{FF2B5EF4-FFF2-40B4-BE49-F238E27FC236}">
                      <a16:creationId xmlns:a16="http://schemas.microsoft.com/office/drawing/2014/main" id="{633B664E-8F4E-BC78-C3B9-D27F189B5702}"/>
                    </a:ext>
                  </a:extLst>
                </p:cNvPr>
                <p:cNvSpPr>
                  <a:spLocks/>
                </p:cNvSpPr>
                <p:nvPr/>
              </p:nvSpPr>
              <p:spPr bwMode="auto">
                <a:xfrm>
                  <a:off x="7519562" y="1280260"/>
                  <a:ext cx="167390" cy="86339"/>
                </a:xfrm>
                <a:custGeom>
                  <a:avLst/>
                  <a:gdLst/>
                  <a:ahLst/>
                  <a:cxnLst>
                    <a:cxn ang="0">
                      <a:pos x="4" y="96"/>
                    </a:cxn>
                    <a:cxn ang="0">
                      <a:pos x="4" y="96"/>
                    </a:cxn>
                    <a:cxn ang="0">
                      <a:pos x="14" y="76"/>
                    </a:cxn>
                    <a:cxn ang="0">
                      <a:pos x="23" y="64"/>
                    </a:cxn>
                    <a:cxn ang="0">
                      <a:pos x="30" y="56"/>
                    </a:cxn>
                    <a:cxn ang="0">
                      <a:pos x="35" y="52"/>
                    </a:cxn>
                    <a:cxn ang="0">
                      <a:pos x="45" y="45"/>
                    </a:cxn>
                    <a:cxn ang="0">
                      <a:pos x="52" y="38"/>
                    </a:cxn>
                    <a:cxn ang="0">
                      <a:pos x="61" y="28"/>
                    </a:cxn>
                    <a:cxn ang="0">
                      <a:pos x="61" y="28"/>
                    </a:cxn>
                    <a:cxn ang="0">
                      <a:pos x="70" y="16"/>
                    </a:cxn>
                    <a:cxn ang="0">
                      <a:pos x="79" y="7"/>
                    </a:cxn>
                    <a:cxn ang="0">
                      <a:pos x="87" y="3"/>
                    </a:cxn>
                    <a:cxn ang="0">
                      <a:pos x="96" y="0"/>
                    </a:cxn>
                    <a:cxn ang="0">
                      <a:pos x="105" y="2"/>
                    </a:cxn>
                    <a:cxn ang="0">
                      <a:pos x="112" y="2"/>
                    </a:cxn>
                    <a:cxn ang="0">
                      <a:pos x="127" y="7"/>
                    </a:cxn>
                    <a:cxn ang="0">
                      <a:pos x="127" y="7"/>
                    </a:cxn>
                    <a:cxn ang="0">
                      <a:pos x="131" y="9"/>
                    </a:cxn>
                    <a:cxn ang="0">
                      <a:pos x="131" y="10"/>
                    </a:cxn>
                    <a:cxn ang="0">
                      <a:pos x="127" y="19"/>
                    </a:cxn>
                    <a:cxn ang="0">
                      <a:pos x="122" y="28"/>
                    </a:cxn>
                    <a:cxn ang="0">
                      <a:pos x="113" y="38"/>
                    </a:cxn>
                    <a:cxn ang="0">
                      <a:pos x="103" y="50"/>
                    </a:cxn>
                    <a:cxn ang="0">
                      <a:pos x="103" y="50"/>
                    </a:cxn>
                    <a:cxn ang="0">
                      <a:pos x="106" y="50"/>
                    </a:cxn>
                    <a:cxn ang="0">
                      <a:pos x="117" y="43"/>
                    </a:cxn>
                    <a:cxn ang="0">
                      <a:pos x="117" y="43"/>
                    </a:cxn>
                    <a:cxn ang="0">
                      <a:pos x="131" y="33"/>
                    </a:cxn>
                    <a:cxn ang="0">
                      <a:pos x="141" y="28"/>
                    </a:cxn>
                    <a:cxn ang="0">
                      <a:pos x="150" y="24"/>
                    </a:cxn>
                    <a:cxn ang="0">
                      <a:pos x="157" y="24"/>
                    </a:cxn>
                    <a:cxn ang="0">
                      <a:pos x="162" y="26"/>
                    </a:cxn>
                    <a:cxn ang="0">
                      <a:pos x="169" y="31"/>
                    </a:cxn>
                    <a:cxn ang="0">
                      <a:pos x="190" y="45"/>
                    </a:cxn>
                    <a:cxn ang="0">
                      <a:pos x="190" y="45"/>
                    </a:cxn>
                    <a:cxn ang="0">
                      <a:pos x="200" y="52"/>
                    </a:cxn>
                    <a:cxn ang="0">
                      <a:pos x="207" y="61"/>
                    </a:cxn>
                    <a:cxn ang="0">
                      <a:pos x="209" y="66"/>
                    </a:cxn>
                    <a:cxn ang="0">
                      <a:pos x="209" y="70"/>
                    </a:cxn>
                    <a:cxn ang="0">
                      <a:pos x="207" y="73"/>
                    </a:cxn>
                    <a:cxn ang="0">
                      <a:pos x="200" y="76"/>
                    </a:cxn>
                    <a:cxn ang="0">
                      <a:pos x="188" y="82"/>
                    </a:cxn>
                    <a:cxn ang="0">
                      <a:pos x="173" y="83"/>
                    </a:cxn>
                    <a:cxn ang="0">
                      <a:pos x="150" y="85"/>
                    </a:cxn>
                    <a:cxn ang="0">
                      <a:pos x="150" y="85"/>
                    </a:cxn>
                    <a:cxn ang="0">
                      <a:pos x="108" y="89"/>
                    </a:cxn>
                    <a:cxn ang="0">
                      <a:pos x="77" y="92"/>
                    </a:cxn>
                    <a:cxn ang="0">
                      <a:pos x="52" y="97"/>
                    </a:cxn>
                    <a:cxn ang="0">
                      <a:pos x="30" y="103"/>
                    </a:cxn>
                    <a:cxn ang="0">
                      <a:pos x="30" y="103"/>
                    </a:cxn>
                    <a:cxn ang="0">
                      <a:pos x="12" y="108"/>
                    </a:cxn>
                    <a:cxn ang="0">
                      <a:pos x="2" y="108"/>
                    </a:cxn>
                    <a:cxn ang="0">
                      <a:pos x="0" y="106"/>
                    </a:cxn>
                    <a:cxn ang="0">
                      <a:pos x="0" y="104"/>
                    </a:cxn>
                    <a:cxn ang="0">
                      <a:pos x="4" y="96"/>
                    </a:cxn>
                    <a:cxn ang="0">
                      <a:pos x="4" y="96"/>
                    </a:cxn>
                  </a:cxnLst>
                  <a:rect l="0" t="0" r="r" b="b"/>
                  <a:pathLst>
                    <a:path w="209" h="108">
                      <a:moveTo>
                        <a:pt x="4" y="96"/>
                      </a:moveTo>
                      <a:lnTo>
                        <a:pt x="4" y="96"/>
                      </a:lnTo>
                      <a:lnTo>
                        <a:pt x="14" y="76"/>
                      </a:lnTo>
                      <a:lnTo>
                        <a:pt x="23" y="64"/>
                      </a:lnTo>
                      <a:lnTo>
                        <a:pt x="30" y="56"/>
                      </a:lnTo>
                      <a:lnTo>
                        <a:pt x="35" y="52"/>
                      </a:lnTo>
                      <a:lnTo>
                        <a:pt x="45" y="45"/>
                      </a:lnTo>
                      <a:lnTo>
                        <a:pt x="52" y="38"/>
                      </a:lnTo>
                      <a:lnTo>
                        <a:pt x="61" y="28"/>
                      </a:lnTo>
                      <a:lnTo>
                        <a:pt x="61" y="28"/>
                      </a:lnTo>
                      <a:lnTo>
                        <a:pt x="70" y="16"/>
                      </a:lnTo>
                      <a:lnTo>
                        <a:pt x="79" y="7"/>
                      </a:lnTo>
                      <a:lnTo>
                        <a:pt x="87" y="3"/>
                      </a:lnTo>
                      <a:lnTo>
                        <a:pt x="96" y="0"/>
                      </a:lnTo>
                      <a:lnTo>
                        <a:pt x="105" y="2"/>
                      </a:lnTo>
                      <a:lnTo>
                        <a:pt x="112" y="2"/>
                      </a:lnTo>
                      <a:lnTo>
                        <a:pt x="127" y="7"/>
                      </a:lnTo>
                      <a:lnTo>
                        <a:pt x="127" y="7"/>
                      </a:lnTo>
                      <a:lnTo>
                        <a:pt x="131" y="9"/>
                      </a:lnTo>
                      <a:lnTo>
                        <a:pt x="131" y="10"/>
                      </a:lnTo>
                      <a:lnTo>
                        <a:pt x="127" y="19"/>
                      </a:lnTo>
                      <a:lnTo>
                        <a:pt x="122" y="28"/>
                      </a:lnTo>
                      <a:lnTo>
                        <a:pt x="113" y="38"/>
                      </a:lnTo>
                      <a:lnTo>
                        <a:pt x="103" y="50"/>
                      </a:lnTo>
                      <a:lnTo>
                        <a:pt x="103" y="50"/>
                      </a:lnTo>
                      <a:lnTo>
                        <a:pt x="106" y="50"/>
                      </a:lnTo>
                      <a:lnTo>
                        <a:pt x="117" y="43"/>
                      </a:lnTo>
                      <a:lnTo>
                        <a:pt x="117" y="43"/>
                      </a:lnTo>
                      <a:lnTo>
                        <a:pt x="131" y="33"/>
                      </a:lnTo>
                      <a:lnTo>
                        <a:pt x="141" y="28"/>
                      </a:lnTo>
                      <a:lnTo>
                        <a:pt x="150" y="24"/>
                      </a:lnTo>
                      <a:lnTo>
                        <a:pt x="157" y="24"/>
                      </a:lnTo>
                      <a:lnTo>
                        <a:pt x="162" y="26"/>
                      </a:lnTo>
                      <a:lnTo>
                        <a:pt x="169" y="31"/>
                      </a:lnTo>
                      <a:lnTo>
                        <a:pt x="190" y="45"/>
                      </a:lnTo>
                      <a:lnTo>
                        <a:pt x="190" y="45"/>
                      </a:lnTo>
                      <a:lnTo>
                        <a:pt x="200" y="52"/>
                      </a:lnTo>
                      <a:lnTo>
                        <a:pt x="207" y="61"/>
                      </a:lnTo>
                      <a:lnTo>
                        <a:pt x="209" y="66"/>
                      </a:lnTo>
                      <a:lnTo>
                        <a:pt x="209" y="70"/>
                      </a:lnTo>
                      <a:lnTo>
                        <a:pt x="207" y="73"/>
                      </a:lnTo>
                      <a:lnTo>
                        <a:pt x="200" y="76"/>
                      </a:lnTo>
                      <a:lnTo>
                        <a:pt x="188" y="82"/>
                      </a:lnTo>
                      <a:lnTo>
                        <a:pt x="173" y="83"/>
                      </a:lnTo>
                      <a:lnTo>
                        <a:pt x="150" y="85"/>
                      </a:lnTo>
                      <a:lnTo>
                        <a:pt x="150" y="85"/>
                      </a:lnTo>
                      <a:lnTo>
                        <a:pt x="108" y="89"/>
                      </a:lnTo>
                      <a:lnTo>
                        <a:pt x="77" y="92"/>
                      </a:lnTo>
                      <a:lnTo>
                        <a:pt x="52" y="97"/>
                      </a:lnTo>
                      <a:lnTo>
                        <a:pt x="30" y="103"/>
                      </a:lnTo>
                      <a:lnTo>
                        <a:pt x="30" y="103"/>
                      </a:lnTo>
                      <a:lnTo>
                        <a:pt x="12" y="108"/>
                      </a:lnTo>
                      <a:lnTo>
                        <a:pt x="2" y="108"/>
                      </a:lnTo>
                      <a:lnTo>
                        <a:pt x="0" y="106"/>
                      </a:lnTo>
                      <a:lnTo>
                        <a:pt x="0" y="104"/>
                      </a:lnTo>
                      <a:lnTo>
                        <a:pt x="4" y="96"/>
                      </a:lnTo>
                      <a:lnTo>
                        <a:pt x="4" y="9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8" name="Freeform 2079">
                  <a:extLst>
                    <a:ext uri="{FF2B5EF4-FFF2-40B4-BE49-F238E27FC236}">
                      <a16:creationId xmlns:a16="http://schemas.microsoft.com/office/drawing/2014/main" id="{10E87673-51F0-1BA4-6BEC-7DDDBEC477B0}"/>
                    </a:ext>
                  </a:extLst>
                </p:cNvPr>
                <p:cNvSpPr>
                  <a:spLocks/>
                </p:cNvSpPr>
                <p:nvPr/>
              </p:nvSpPr>
              <p:spPr bwMode="auto">
                <a:xfrm>
                  <a:off x="7295788" y="1172778"/>
                  <a:ext cx="181486" cy="75765"/>
                </a:xfrm>
                <a:custGeom>
                  <a:avLst/>
                  <a:gdLst/>
                  <a:ahLst/>
                  <a:cxnLst>
                    <a:cxn ang="0">
                      <a:pos x="78" y="94"/>
                    </a:cxn>
                    <a:cxn ang="0">
                      <a:pos x="55" y="89"/>
                    </a:cxn>
                    <a:cxn ang="0">
                      <a:pos x="27" y="78"/>
                    </a:cxn>
                    <a:cxn ang="0">
                      <a:pos x="10" y="75"/>
                    </a:cxn>
                    <a:cxn ang="0">
                      <a:pos x="3" y="75"/>
                    </a:cxn>
                    <a:cxn ang="0">
                      <a:pos x="3" y="69"/>
                    </a:cxn>
                    <a:cxn ang="0">
                      <a:pos x="27" y="61"/>
                    </a:cxn>
                    <a:cxn ang="0">
                      <a:pos x="48" y="49"/>
                    </a:cxn>
                    <a:cxn ang="0">
                      <a:pos x="54" y="43"/>
                    </a:cxn>
                    <a:cxn ang="0">
                      <a:pos x="54" y="42"/>
                    </a:cxn>
                    <a:cxn ang="0">
                      <a:pos x="47" y="40"/>
                    </a:cxn>
                    <a:cxn ang="0">
                      <a:pos x="40" y="38"/>
                    </a:cxn>
                    <a:cxn ang="0">
                      <a:pos x="50" y="29"/>
                    </a:cxn>
                    <a:cxn ang="0">
                      <a:pos x="62" y="24"/>
                    </a:cxn>
                    <a:cxn ang="0">
                      <a:pos x="90" y="15"/>
                    </a:cxn>
                    <a:cxn ang="0">
                      <a:pos x="111" y="10"/>
                    </a:cxn>
                    <a:cxn ang="0">
                      <a:pos x="120" y="7"/>
                    </a:cxn>
                    <a:cxn ang="0">
                      <a:pos x="134" y="0"/>
                    </a:cxn>
                    <a:cxn ang="0">
                      <a:pos x="148" y="2"/>
                    </a:cxn>
                    <a:cxn ang="0">
                      <a:pos x="162" y="9"/>
                    </a:cxn>
                    <a:cxn ang="0">
                      <a:pos x="177" y="21"/>
                    </a:cxn>
                    <a:cxn ang="0">
                      <a:pos x="193" y="29"/>
                    </a:cxn>
                    <a:cxn ang="0">
                      <a:pos x="207" y="33"/>
                    </a:cxn>
                    <a:cxn ang="0">
                      <a:pos x="221" y="36"/>
                    </a:cxn>
                    <a:cxn ang="0">
                      <a:pos x="224" y="40"/>
                    </a:cxn>
                    <a:cxn ang="0">
                      <a:pos x="226" y="43"/>
                    </a:cxn>
                    <a:cxn ang="0">
                      <a:pos x="210" y="49"/>
                    </a:cxn>
                    <a:cxn ang="0">
                      <a:pos x="198" y="52"/>
                    </a:cxn>
                    <a:cxn ang="0">
                      <a:pos x="198" y="56"/>
                    </a:cxn>
                    <a:cxn ang="0">
                      <a:pos x="202" y="62"/>
                    </a:cxn>
                    <a:cxn ang="0">
                      <a:pos x="205" y="75"/>
                    </a:cxn>
                    <a:cxn ang="0">
                      <a:pos x="195" y="78"/>
                    </a:cxn>
                    <a:cxn ang="0">
                      <a:pos x="132" y="78"/>
                    </a:cxn>
                    <a:cxn ang="0">
                      <a:pos x="116" y="80"/>
                    </a:cxn>
                    <a:cxn ang="0">
                      <a:pos x="102" y="85"/>
                    </a:cxn>
                    <a:cxn ang="0">
                      <a:pos x="99" y="92"/>
                    </a:cxn>
                    <a:cxn ang="0">
                      <a:pos x="90" y="94"/>
                    </a:cxn>
                    <a:cxn ang="0">
                      <a:pos x="78" y="94"/>
                    </a:cxn>
                  </a:cxnLst>
                  <a:rect l="0" t="0" r="r" b="b"/>
                  <a:pathLst>
                    <a:path w="226" h="94">
                      <a:moveTo>
                        <a:pt x="78" y="94"/>
                      </a:moveTo>
                      <a:lnTo>
                        <a:pt x="78" y="94"/>
                      </a:lnTo>
                      <a:lnTo>
                        <a:pt x="64" y="92"/>
                      </a:lnTo>
                      <a:lnTo>
                        <a:pt x="55" y="89"/>
                      </a:lnTo>
                      <a:lnTo>
                        <a:pt x="40" y="83"/>
                      </a:lnTo>
                      <a:lnTo>
                        <a:pt x="27" y="78"/>
                      </a:lnTo>
                      <a:lnTo>
                        <a:pt x="21" y="76"/>
                      </a:lnTo>
                      <a:lnTo>
                        <a:pt x="10" y="75"/>
                      </a:lnTo>
                      <a:lnTo>
                        <a:pt x="10" y="75"/>
                      </a:lnTo>
                      <a:lnTo>
                        <a:pt x="3" y="75"/>
                      </a:lnTo>
                      <a:lnTo>
                        <a:pt x="0" y="73"/>
                      </a:lnTo>
                      <a:lnTo>
                        <a:pt x="3" y="69"/>
                      </a:lnTo>
                      <a:lnTo>
                        <a:pt x="8" y="68"/>
                      </a:lnTo>
                      <a:lnTo>
                        <a:pt x="27" y="61"/>
                      </a:lnTo>
                      <a:lnTo>
                        <a:pt x="38" y="56"/>
                      </a:lnTo>
                      <a:lnTo>
                        <a:pt x="48" y="49"/>
                      </a:lnTo>
                      <a:lnTo>
                        <a:pt x="48" y="49"/>
                      </a:lnTo>
                      <a:lnTo>
                        <a:pt x="54" y="43"/>
                      </a:lnTo>
                      <a:lnTo>
                        <a:pt x="55" y="43"/>
                      </a:lnTo>
                      <a:lnTo>
                        <a:pt x="54" y="42"/>
                      </a:lnTo>
                      <a:lnTo>
                        <a:pt x="52" y="40"/>
                      </a:lnTo>
                      <a:lnTo>
                        <a:pt x="47" y="40"/>
                      </a:lnTo>
                      <a:lnTo>
                        <a:pt x="41" y="40"/>
                      </a:lnTo>
                      <a:lnTo>
                        <a:pt x="40" y="38"/>
                      </a:lnTo>
                      <a:lnTo>
                        <a:pt x="41" y="35"/>
                      </a:lnTo>
                      <a:lnTo>
                        <a:pt x="50" y="29"/>
                      </a:lnTo>
                      <a:lnTo>
                        <a:pt x="50" y="29"/>
                      </a:lnTo>
                      <a:lnTo>
                        <a:pt x="62" y="24"/>
                      </a:lnTo>
                      <a:lnTo>
                        <a:pt x="73" y="19"/>
                      </a:lnTo>
                      <a:lnTo>
                        <a:pt x="90" y="15"/>
                      </a:lnTo>
                      <a:lnTo>
                        <a:pt x="104" y="12"/>
                      </a:lnTo>
                      <a:lnTo>
                        <a:pt x="111" y="10"/>
                      </a:lnTo>
                      <a:lnTo>
                        <a:pt x="120" y="7"/>
                      </a:lnTo>
                      <a:lnTo>
                        <a:pt x="120" y="7"/>
                      </a:lnTo>
                      <a:lnTo>
                        <a:pt x="127" y="2"/>
                      </a:lnTo>
                      <a:lnTo>
                        <a:pt x="134" y="0"/>
                      </a:lnTo>
                      <a:lnTo>
                        <a:pt x="141" y="0"/>
                      </a:lnTo>
                      <a:lnTo>
                        <a:pt x="148" y="2"/>
                      </a:lnTo>
                      <a:lnTo>
                        <a:pt x="155" y="3"/>
                      </a:lnTo>
                      <a:lnTo>
                        <a:pt x="162" y="9"/>
                      </a:lnTo>
                      <a:lnTo>
                        <a:pt x="177" y="21"/>
                      </a:lnTo>
                      <a:lnTo>
                        <a:pt x="177" y="21"/>
                      </a:lnTo>
                      <a:lnTo>
                        <a:pt x="186" y="26"/>
                      </a:lnTo>
                      <a:lnTo>
                        <a:pt x="193" y="29"/>
                      </a:lnTo>
                      <a:lnTo>
                        <a:pt x="200" y="31"/>
                      </a:lnTo>
                      <a:lnTo>
                        <a:pt x="207" y="33"/>
                      </a:lnTo>
                      <a:lnTo>
                        <a:pt x="217" y="33"/>
                      </a:lnTo>
                      <a:lnTo>
                        <a:pt x="221" y="36"/>
                      </a:lnTo>
                      <a:lnTo>
                        <a:pt x="224" y="40"/>
                      </a:lnTo>
                      <a:lnTo>
                        <a:pt x="224" y="40"/>
                      </a:lnTo>
                      <a:lnTo>
                        <a:pt x="226" y="42"/>
                      </a:lnTo>
                      <a:lnTo>
                        <a:pt x="226" y="43"/>
                      </a:lnTo>
                      <a:lnTo>
                        <a:pt x="223" y="47"/>
                      </a:lnTo>
                      <a:lnTo>
                        <a:pt x="210" y="49"/>
                      </a:lnTo>
                      <a:lnTo>
                        <a:pt x="203" y="49"/>
                      </a:lnTo>
                      <a:lnTo>
                        <a:pt x="198" y="52"/>
                      </a:lnTo>
                      <a:lnTo>
                        <a:pt x="198" y="54"/>
                      </a:lnTo>
                      <a:lnTo>
                        <a:pt x="198" y="56"/>
                      </a:lnTo>
                      <a:lnTo>
                        <a:pt x="202" y="62"/>
                      </a:lnTo>
                      <a:lnTo>
                        <a:pt x="202" y="62"/>
                      </a:lnTo>
                      <a:lnTo>
                        <a:pt x="205" y="69"/>
                      </a:lnTo>
                      <a:lnTo>
                        <a:pt x="205" y="75"/>
                      </a:lnTo>
                      <a:lnTo>
                        <a:pt x="202" y="76"/>
                      </a:lnTo>
                      <a:lnTo>
                        <a:pt x="195" y="78"/>
                      </a:lnTo>
                      <a:lnTo>
                        <a:pt x="170" y="78"/>
                      </a:lnTo>
                      <a:lnTo>
                        <a:pt x="132" y="78"/>
                      </a:lnTo>
                      <a:lnTo>
                        <a:pt x="132" y="78"/>
                      </a:lnTo>
                      <a:lnTo>
                        <a:pt x="116" y="80"/>
                      </a:lnTo>
                      <a:lnTo>
                        <a:pt x="106" y="83"/>
                      </a:lnTo>
                      <a:lnTo>
                        <a:pt x="102" y="85"/>
                      </a:lnTo>
                      <a:lnTo>
                        <a:pt x="101" y="89"/>
                      </a:lnTo>
                      <a:lnTo>
                        <a:pt x="99" y="92"/>
                      </a:lnTo>
                      <a:lnTo>
                        <a:pt x="97" y="94"/>
                      </a:lnTo>
                      <a:lnTo>
                        <a:pt x="90" y="94"/>
                      </a:lnTo>
                      <a:lnTo>
                        <a:pt x="78" y="94"/>
                      </a:lnTo>
                      <a:lnTo>
                        <a:pt x="78" y="9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9" name="Freeform 2080">
                  <a:extLst>
                    <a:ext uri="{FF2B5EF4-FFF2-40B4-BE49-F238E27FC236}">
                      <a16:creationId xmlns:a16="http://schemas.microsoft.com/office/drawing/2014/main" id="{AED40C1B-0B2D-9062-A211-F48E02494B62}"/>
                    </a:ext>
                  </a:extLst>
                </p:cNvPr>
                <p:cNvSpPr>
                  <a:spLocks/>
                </p:cNvSpPr>
                <p:nvPr/>
              </p:nvSpPr>
              <p:spPr bwMode="auto">
                <a:xfrm>
                  <a:off x="7401509" y="1408889"/>
                  <a:ext cx="37001" cy="14097"/>
                </a:xfrm>
                <a:custGeom>
                  <a:avLst/>
                  <a:gdLst/>
                  <a:ahLst/>
                  <a:cxnLst>
                    <a:cxn ang="0">
                      <a:pos x="2" y="16"/>
                    </a:cxn>
                    <a:cxn ang="0">
                      <a:pos x="2" y="16"/>
                    </a:cxn>
                    <a:cxn ang="0">
                      <a:pos x="0" y="16"/>
                    </a:cxn>
                    <a:cxn ang="0">
                      <a:pos x="2" y="14"/>
                    </a:cxn>
                    <a:cxn ang="0">
                      <a:pos x="5" y="11"/>
                    </a:cxn>
                    <a:cxn ang="0">
                      <a:pos x="19" y="6"/>
                    </a:cxn>
                    <a:cxn ang="0">
                      <a:pos x="37" y="0"/>
                    </a:cxn>
                    <a:cxn ang="0">
                      <a:pos x="43" y="0"/>
                    </a:cxn>
                    <a:cxn ang="0">
                      <a:pos x="47" y="2"/>
                    </a:cxn>
                    <a:cxn ang="0">
                      <a:pos x="47" y="2"/>
                    </a:cxn>
                    <a:cxn ang="0">
                      <a:pos x="47" y="4"/>
                    </a:cxn>
                    <a:cxn ang="0">
                      <a:pos x="45" y="7"/>
                    </a:cxn>
                    <a:cxn ang="0">
                      <a:pos x="40" y="11"/>
                    </a:cxn>
                    <a:cxn ang="0">
                      <a:pos x="33" y="14"/>
                    </a:cxn>
                    <a:cxn ang="0">
                      <a:pos x="26" y="18"/>
                    </a:cxn>
                    <a:cxn ang="0">
                      <a:pos x="17" y="19"/>
                    </a:cxn>
                    <a:cxn ang="0">
                      <a:pos x="9" y="19"/>
                    </a:cxn>
                    <a:cxn ang="0">
                      <a:pos x="2" y="16"/>
                    </a:cxn>
                    <a:cxn ang="0">
                      <a:pos x="2" y="16"/>
                    </a:cxn>
                  </a:cxnLst>
                  <a:rect l="0" t="0" r="r" b="b"/>
                  <a:pathLst>
                    <a:path w="47" h="19">
                      <a:moveTo>
                        <a:pt x="2" y="16"/>
                      </a:moveTo>
                      <a:lnTo>
                        <a:pt x="2" y="16"/>
                      </a:lnTo>
                      <a:lnTo>
                        <a:pt x="0" y="16"/>
                      </a:lnTo>
                      <a:lnTo>
                        <a:pt x="2" y="14"/>
                      </a:lnTo>
                      <a:lnTo>
                        <a:pt x="5" y="11"/>
                      </a:lnTo>
                      <a:lnTo>
                        <a:pt x="19" y="6"/>
                      </a:lnTo>
                      <a:lnTo>
                        <a:pt x="37" y="0"/>
                      </a:lnTo>
                      <a:lnTo>
                        <a:pt x="43" y="0"/>
                      </a:lnTo>
                      <a:lnTo>
                        <a:pt x="47" y="2"/>
                      </a:lnTo>
                      <a:lnTo>
                        <a:pt x="47" y="2"/>
                      </a:lnTo>
                      <a:lnTo>
                        <a:pt x="47" y="4"/>
                      </a:lnTo>
                      <a:lnTo>
                        <a:pt x="45" y="7"/>
                      </a:lnTo>
                      <a:lnTo>
                        <a:pt x="40" y="11"/>
                      </a:lnTo>
                      <a:lnTo>
                        <a:pt x="33" y="14"/>
                      </a:lnTo>
                      <a:lnTo>
                        <a:pt x="26" y="18"/>
                      </a:lnTo>
                      <a:lnTo>
                        <a:pt x="17" y="19"/>
                      </a:lnTo>
                      <a:lnTo>
                        <a:pt x="9" y="19"/>
                      </a:lnTo>
                      <a:lnTo>
                        <a:pt x="2" y="16"/>
                      </a:lnTo>
                      <a:lnTo>
                        <a:pt x="2"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0" name="Freeform 2081">
                  <a:extLst>
                    <a:ext uri="{FF2B5EF4-FFF2-40B4-BE49-F238E27FC236}">
                      <a16:creationId xmlns:a16="http://schemas.microsoft.com/office/drawing/2014/main" id="{08540125-1350-B4AF-B076-7FC9B18F27AD}"/>
                    </a:ext>
                  </a:extLst>
                </p:cNvPr>
                <p:cNvSpPr>
                  <a:spLocks/>
                </p:cNvSpPr>
                <p:nvPr/>
              </p:nvSpPr>
              <p:spPr bwMode="auto">
                <a:xfrm>
                  <a:off x="4494204" y="2480185"/>
                  <a:ext cx="74004" cy="51098"/>
                </a:xfrm>
                <a:custGeom>
                  <a:avLst/>
                  <a:gdLst/>
                  <a:ahLst/>
                  <a:cxnLst>
                    <a:cxn ang="0">
                      <a:pos x="63" y="61"/>
                    </a:cxn>
                    <a:cxn ang="0">
                      <a:pos x="54" y="65"/>
                    </a:cxn>
                    <a:cxn ang="0">
                      <a:pos x="52" y="61"/>
                    </a:cxn>
                    <a:cxn ang="0">
                      <a:pos x="51" y="58"/>
                    </a:cxn>
                    <a:cxn ang="0">
                      <a:pos x="45" y="54"/>
                    </a:cxn>
                    <a:cxn ang="0">
                      <a:pos x="42" y="49"/>
                    </a:cxn>
                    <a:cxn ang="0">
                      <a:pos x="38" y="44"/>
                    </a:cxn>
                    <a:cxn ang="0">
                      <a:pos x="33" y="49"/>
                    </a:cxn>
                    <a:cxn ang="0">
                      <a:pos x="33" y="54"/>
                    </a:cxn>
                    <a:cxn ang="0">
                      <a:pos x="30" y="58"/>
                    </a:cxn>
                    <a:cxn ang="0">
                      <a:pos x="17" y="58"/>
                    </a:cxn>
                    <a:cxn ang="0">
                      <a:pos x="5" y="51"/>
                    </a:cxn>
                    <a:cxn ang="0">
                      <a:pos x="0" y="44"/>
                    </a:cxn>
                    <a:cxn ang="0">
                      <a:pos x="2" y="41"/>
                    </a:cxn>
                    <a:cxn ang="0">
                      <a:pos x="5" y="39"/>
                    </a:cxn>
                    <a:cxn ang="0">
                      <a:pos x="12" y="34"/>
                    </a:cxn>
                    <a:cxn ang="0">
                      <a:pos x="10" y="32"/>
                    </a:cxn>
                    <a:cxn ang="0">
                      <a:pos x="14" y="28"/>
                    </a:cxn>
                    <a:cxn ang="0">
                      <a:pos x="19" y="27"/>
                    </a:cxn>
                    <a:cxn ang="0">
                      <a:pos x="23" y="21"/>
                    </a:cxn>
                    <a:cxn ang="0">
                      <a:pos x="26" y="13"/>
                    </a:cxn>
                    <a:cxn ang="0">
                      <a:pos x="31" y="11"/>
                    </a:cxn>
                    <a:cxn ang="0">
                      <a:pos x="40" y="7"/>
                    </a:cxn>
                    <a:cxn ang="0">
                      <a:pos x="45" y="4"/>
                    </a:cxn>
                    <a:cxn ang="0">
                      <a:pos x="52" y="2"/>
                    </a:cxn>
                    <a:cxn ang="0">
                      <a:pos x="66" y="0"/>
                    </a:cxn>
                    <a:cxn ang="0">
                      <a:pos x="70" y="4"/>
                    </a:cxn>
                    <a:cxn ang="0">
                      <a:pos x="77" y="14"/>
                    </a:cxn>
                    <a:cxn ang="0">
                      <a:pos x="82" y="21"/>
                    </a:cxn>
                    <a:cxn ang="0">
                      <a:pos x="85" y="21"/>
                    </a:cxn>
                    <a:cxn ang="0">
                      <a:pos x="84" y="27"/>
                    </a:cxn>
                    <a:cxn ang="0">
                      <a:pos x="78" y="28"/>
                    </a:cxn>
                    <a:cxn ang="0">
                      <a:pos x="78" y="32"/>
                    </a:cxn>
                    <a:cxn ang="0">
                      <a:pos x="85" y="30"/>
                    </a:cxn>
                    <a:cxn ang="0">
                      <a:pos x="89" y="32"/>
                    </a:cxn>
                    <a:cxn ang="0">
                      <a:pos x="94" y="41"/>
                    </a:cxn>
                    <a:cxn ang="0">
                      <a:pos x="94" y="44"/>
                    </a:cxn>
                    <a:cxn ang="0">
                      <a:pos x="91" y="47"/>
                    </a:cxn>
                    <a:cxn ang="0">
                      <a:pos x="89" y="41"/>
                    </a:cxn>
                    <a:cxn ang="0">
                      <a:pos x="87" y="41"/>
                    </a:cxn>
                    <a:cxn ang="0">
                      <a:pos x="84" y="46"/>
                    </a:cxn>
                    <a:cxn ang="0">
                      <a:pos x="84" y="47"/>
                    </a:cxn>
                    <a:cxn ang="0">
                      <a:pos x="87" y="47"/>
                    </a:cxn>
                    <a:cxn ang="0">
                      <a:pos x="89" y="51"/>
                    </a:cxn>
                    <a:cxn ang="0">
                      <a:pos x="85" y="53"/>
                    </a:cxn>
                    <a:cxn ang="0">
                      <a:pos x="78" y="58"/>
                    </a:cxn>
                    <a:cxn ang="0">
                      <a:pos x="73" y="65"/>
                    </a:cxn>
                    <a:cxn ang="0">
                      <a:pos x="71" y="65"/>
                    </a:cxn>
                    <a:cxn ang="0">
                      <a:pos x="66" y="61"/>
                    </a:cxn>
                    <a:cxn ang="0">
                      <a:pos x="63" y="61"/>
                    </a:cxn>
                  </a:cxnLst>
                  <a:rect l="0" t="0" r="r" b="b"/>
                  <a:pathLst>
                    <a:path w="94" h="65">
                      <a:moveTo>
                        <a:pt x="63" y="61"/>
                      </a:moveTo>
                      <a:lnTo>
                        <a:pt x="63" y="61"/>
                      </a:lnTo>
                      <a:lnTo>
                        <a:pt x="57" y="63"/>
                      </a:lnTo>
                      <a:lnTo>
                        <a:pt x="54" y="65"/>
                      </a:lnTo>
                      <a:lnTo>
                        <a:pt x="52" y="65"/>
                      </a:lnTo>
                      <a:lnTo>
                        <a:pt x="52" y="61"/>
                      </a:lnTo>
                      <a:lnTo>
                        <a:pt x="52" y="61"/>
                      </a:lnTo>
                      <a:lnTo>
                        <a:pt x="51" y="58"/>
                      </a:lnTo>
                      <a:lnTo>
                        <a:pt x="47" y="56"/>
                      </a:lnTo>
                      <a:lnTo>
                        <a:pt x="45" y="54"/>
                      </a:lnTo>
                      <a:lnTo>
                        <a:pt x="42" y="49"/>
                      </a:lnTo>
                      <a:lnTo>
                        <a:pt x="42" y="49"/>
                      </a:lnTo>
                      <a:lnTo>
                        <a:pt x="40" y="44"/>
                      </a:lnTo>
                      <a:lnTo>
                        <a:pt x="38" y="44"/>
                      </a:lnTo>
                      <a:lnTo>
                        <a:pt x="37" y="46"/>
                      </a:lnTo>
                      <a:lnTo>
                        <a:pt x="33" y="49"/>
                      </a:lnTo>
                      <a:lnTo>
                        <a:pt x="33" y="54"/>
                      </a:lnTo>
                      <a:lnTo>
                        <a:pt x="33" y="54"/>
                      </a:lnTo>
                      <a:lnTo>
                        <a:pt x="31" y="56"/>
                      </a:lnTo>
                      <a:lnTo>
                        <a:pt x="30" y="58"/>
                      </a:lnTo>
                      <a:lnTo>
                        <a:pt x="24" y="58"/>
                      </a:lnTo>
                      <a:lnTo>
                        <a:pt x="17" y="58"/>
                      </a:lnTo>
                      <a:lnTo>
                        <a:pt x="10" y="54"/>
                      </a:lnTo>
                      <a:lnTo>
                        <a:pt x="5" y="51"/>
                      </a:lnTo>
                      <a:lnTo>
                        <a:pt x="0" y="46"/>
                      </a:lnTo>
                      <a:lnTo>
                        <a:pt x="0" y="44"/>
                      </a:lnTo>
                      <a:lnTo>
                        <a:pt x="0" y="42"/>
                      </a:lnTo>
                      <a:lnTo>
                        <a:pt x="2" y="41"/>
                      </a:lnTo>
                      <a:lnTo>
                        <a:pt x="5" y="39"/>
                      </a:lnTo>
                      <a:lnTo>
                        <a:pt x="5" y="39"/>
                      </a:lnTo>
                      <a:lnTo>
                        <a:pt x="10" y="37"/>
                      </a:lnTo>
                      <a:lnTo>
                        <a:pt x="12" y="34"/>
                      </a:lnTo>
                      <a:lnTo>
                        <a:pt x="12" y="34"/>
                      </a:lnTo>
                      <a:lnTo>
                        <a:pt x="10" y="32"/>
                      </a:lnTo>
                      <a:lnTo>
                        <a:pt x="9" y="30"/>
                      </a:lnTo>
                      <a:lnTo>
                        <a:pt x="14" y="28"/>
                      </a:lnTo>
                      <a:lnTo>
                        <a:pt x="14" y="28"/>
                      </a:lnTo>
                      <a:lnTo>
                        <a:pt x="19" y="27"/>
                      </a:lnTo>
                      <a:lnTo>
                        <a:pt x="21" y="25"/>
                      </a:lnTo>
                      <a:lnTo>
                        <a:pt x="23" y="21"/>
                      </a:lnTo>
                      <a:lnTo>
                        <a:pt x="24" y="16"/>
                      </a:lnTo>
                      <a:lnTo>
                        <a:pt x="26" y="13"/>
                      </a:lnTo>
                      <a:lnTo>
                        <a:pt x="31" y="11"/>
                      </a:lnTo>
                      <a:lnTo>
                        <a:pt x="31" y="11"/>
                      </a:lnTo>
                      <a:lnTo>
                        <a:pt x="37" y="9"/>
                      </a:lnTo>
                      <a:lnTo>
                        <a:pt x="40" y="7"/>
                      </a:lnTo>
                      <a:lnTo>
                        <a:pt x="40" y="4"/>
                      </a:lnTo>
                      <a:lnTo>
                        <a:pt x="45" y="4"/>
                      </a:lnTo>
                      <a:lnTo>
                        <a:pt x="45" y="4"/>
                      </a:lnTo>
                      <a:lnTo>
                        <a:pt x="52" y="2"/>
                      </a:lnTo>
                      <a:lnTo>
                        <a:pt x="59" y="0"/>
                      </a:lnTo>
                      <a:lnTo>
                        <a:pt x="66" y="0"/>
                      </a:lnTo>
                      <a:lnTo>
                        <a:pt x="68" y="2"/>
                      </a:lnTo>
                      <a:lnTo>
                        <a:pt x="70" y="4"/>
                      </a:lnTo>
                      <a:lnTo>
                        <a:pt x="70" y="4"/>
                      </a:lnTo>
                      <a:lnTo>
                        <a:pt x="77" y="14"/>
                      </a:lnTo>
                      <a:lnTo>
                        <a:pt x="78" y="20"/>
                      </a:lnTo>
                      <a:lnTo>
                        <a:pt x="82" y="21"/>
                      </a:lnTo>
                      <a:lnTo>
                        <a:pt x="82" y="21"/>
                      </a:lnTo>
                      <a:lnTo>
                        <a:pt x="85" y="21"/>
                      </a:lnTo>
                      <a:lnTo>
                        <a:pt x="85" y="23"/>
                      </a:lnTo>
                      <a:lnTo>
                        <a:pt x="84" y="27"/>
                      </a:lnTo>
                      <a:lnTo>
                        <a:pt x="78" y="28"/>
                      </a:lnTo>
                      <a:lnTo>
                        <a:pt x="78" y="28"/>
                      </a:lnTo>
                      <a:lnTo>
                        <a:pt x="77" y="32"/>
                      </a:lnTo>
                      <a:lnTo>
                        <a:pt x="78" y="32"/>
                      </a:lnTo>
                      <a:lnTo>
                        <a:pt x="85" y="30"/>
                      </a:lnTo>
                      <a:lnTo>
                        <a:pt x="85" y="30"/>
                      </a:lnTo>
                      <a:lnTo>
                        <a:pt x="89" y="30"/>
                      </a:lnTo>
                      <a:lnTo>
                        <a:pt x="89" y="32"/>
                      </a:lnTo>
                      <a:lnTo>
                        <a:pt x="92" y="35"/>
                      </a:lnTo>
                      <a:lnTo>
                        <a:pt x="94" y="41"/>
                      </a:lnTo>
                      <a:lnTo>
                        <a:pt x="94" y="44"/>
                      </a:lnTo>
                      <a:lnTo>
                        <a:pt x="94" y="44"/>
                      </a:lnTo>
                      <a:lnTo>
                        <a:pt x="92" y="47"/>
                      </a:lnTo>
                      <a:lnTo>
                        <a:pt x="91" y="47"/>
                      </a:lnTo>
                      <a:lnTo>
                        <a:pt x="89" y="41"/>
                      </a:lnTo>
                      <a:lnTo>
                        <a:pt x="89" y="41"/>
                      </a:lnTo>
                      <a:lnTo>
                        <a:pt x="87" y="39"/>
                      </a:lnTo>
                      <a:lnTo>
                        <a:pt x="87" y="41"/>
                      </a:lnTo>
                      <a:lnTo>
                        <a:pt x="85" y="44"/>
                      </a:lnTo>
                      <a:lnTo>
                        <a:pt x="84" y="46"/>
                      </a:lnTo>
                      <a:lnTo>
                        <a:pt x="84" y="46"/>
                      </a:lnTo>
                      <a:lnTo>
                        <a:pt x="84" y="47"/>
                      </a:lnTo>
                      <a:lnTo>
                        <a:pt x="85" y="47"/>
                      </a:lnTo>
                      <a:lnTo>
                        <a:pt x="87" y="47"/>
                      </a:lnTo>
                      <a:lnTo>
                        <a:pt x="89" y="51"/>
                      </a:lnTo>
                      <a:lnTo>
                        <a:pt x="89" y="51"/>
                      </a:lnTo>
                      <a:lnTo>
                        <a:pt x="87" y="53"/>
                      </a:lnTo>
                      <a:lnTo>
                        <a:pt x="85" y="53"/>
                      </a:lnTo>
                      <a:lnTo>
                        <a:pt x="82" y="54"/>
                      </a:lnTo>
                      <a:lnTo>
                        <a:pt x="78" y="58"/>
                      </a:lnTo>
                      <a:lnTo>
                        <a:pt x="78" y="58"/>
                      </a:lnTo>
                      <a:lnTo>
                        <a:pt x="73" y="65"/>
                      </a:lnTo>
                      <a:lnTo>
                        <a:pt x="73" y="65"/>
                      </a:lnTo>
                      <a:lnTo>
                        <a:pt x="71" y="65"/>
                      </a:lnTo>
                      <a:lnTo>
                        <a:pt x="70" y="61"/>
                      </a:lnTo>
                      <a:lnTo>
                        <a:pt x="66" y="61"/>
                      </a:lnTo>
                      <a:lnTo>
                        <a:pt x="63" y="61"/>
                      </a:lnTo>
                      <a:lnTo>
                        <a:pt x="63" y="6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1" name="Freeform 2082">
                  <a:extLst>
                    <a:ext uri="{FF2B5EF4-FFF2-40B4-BE49-F238E27FC236}">
                      <a16:creationId xmlns:a16="http://schemas.microsoft.com/office/drawing/2014/main" id="{EA98780B-4947-628A-0213-73C6A4C592F7}"/>
                    </a:ext>
                  </a:extLst>
                </p:cNvPr>
                <p:cNvSpPr>
                  <a:spLocks/>
                </p:cNvSpPr>
                <p:nvPr/>
              </p:nvSpPr>
              <p:spPr bwMode="auto">
                <a:xfrm>
                  <a:off x="4425488" y="2474898"/>
                  <a:ext cx="126865" cy="165629"/>
                </a:xfrm>
                <a:custGeom>
                  <a:avLst/>
                  <a:gdLst/>
                  <a:ahLst/>
                  <a:cxnLst>
                    <a:cxn ang="0">
                      <a:pos x="117" y="10"/>
                    </a:cxn>
                    <a:cxn ang="0">
                      <a:pos x="117" y="1"/>
                    </a:cxn>
                    <a:cxn ang="0">
                      <a:pos x="108" y="0"/>
                    </a:cxn>
                    <a:cxn ang="0">
                      <a:pos x="98" y="6"/>
                    </a:cxn>
                    <a:cxn ang="0">
                      <a:pos x="75" y="17"/>
                    </a:cxn>
                    <a:cxn ang="0">
                      <a:pos x="74" y="26"/>
                    </a:cxn>
                    <a:cxn ang="0">
                      <a:pos x="60" y="36"/>
                    </a:cxn>
                    <a:cxn ang="0">
                      <a:pos x="67" y="40"/>
                    </a:cxn>
                    <a:cxn ang="0">
                      <a:pos x="79" y="45"/>
                    </a:cxn>
                    <a:cxn ang="0">
                      <a:pos x="65" y="59"/>
                    </a:cxn>
                    <a:cxn ang="0">
                      <a:pos x="51" y="60"/>
                    </a:cxn>
                    <a:cxn ang="0">
                      <a:pos x="35" y="55"/>
                    </a:cxn>
                    <a:cxn ang="0">
                      <a:pos x="14" y="62"/>
                    </a:cxn>
                    <a:cxn ang="0">
                      <a:pos x="18" y="64"/>
                    </a:cxn>
                    <a:cxn ang="0">
                      <a:pos x="16" y="71"/>
                    </a:cxn>
                    <a:cxn ang="0">
                      <a:pos x="25" y="80"/>
                    </a:cxn>
                    <a:cxn ang="0">
                      <a:pos x="30" y="83"/>
                    </a:cxn>
                    <a:cxn ang="0">
                      <a:pos x="14" y="97"/>
                    </a:cxn>
                    <a:cxn ang="0">
                      <a:pos x="21" y="109"/>
                    </a:cxn>
                    <a:cxn ang="0">
                      <a:pos x="40" y="114"/>
                    </a:cxn>
                    <a:cxn ang="0">
                      <a:pos x="53" y="116"/>
                    </a:cxn>
                    <a:cxn ang="0">
                      <a:pos x="37" y="123"/>
                    </a:cxn>
                    <a:cxn ang="0">
                      <a:pos x="35" y="135"/>
                    </a:cxn>
                    <a:cxn ang="0">
                      <a:pos x="21" y="147"/>
                    </a:cxn>
                    <a:cxn ang="0">
                      <a:pos x="51" y="142"/>
                    </a:cxn>
                    <a:cxn ang="0">
                      <a:pos x="58" y="144"/>
                    </a:cxn>
                    <a:cxn ang="0">
                      <a:pos x="46" y="149"/>
                    </a:cxn>
                    <a:cxn ang="0">
                      <a:pos x="23" y="161"/>
                    </a:cxn>
                    <a:cxn ang="0">
                      <a:pos x="20" y="163"/>
                    </a:cxn>
                    <a:cxn ang="0">
                      <a:pos x="6" y="167"/>
                    </a:cxn>
                    <a:cxn ang="0">
                      <a:pos x="6" y="174"/>
                    </a:cxn>
                    <a:cxn ang="0">
                      <a:pos x="9" y="181"/>
                    </a:cxn>
                    <a:cxn ang="0">
                      <a:pos x="7" y="189"/>
                    </a:cxn>
                    <a:cxn ang="0">
                      <a:pos x="16" y="196"/>
                    </a:cxn>
                    <a:cxn ang="0">
                      <a:pos x="25" y="196"/>
                    </a:cxn>
                    <a:cxn ang="0">
                      <a:pos x="27" y="200"/>
                    </a:cxn>
                    <a:cxn ang="0">
                      <a:pos x="34" y="207"/>
                    </a:cxn>
                    <a:cxn ang="0">
                      <a:pos x="74" y="195"/>
                    </a:cxn>
                    <a:cxn ang="0">
                      <a:pos x="81" y="186"/>
                    </a:cxn>
                    <a:cxn ang="0">
                      <a:pos x="94" y="182"/>
                    </a:cxn>
                    <a:cxn ang="0">
                      <a:pos x="117" y="172"/>
                    </a:cxn>
                    <a:cxn ang="0">
                      <a:pos x="141" y="168"/>
                    </a:cxn>
                    <a:cxn ang="0">
                      <a:pos x="147" y="160"/>
                    </a:cxn>
                    <a:cxn ang="0">
                      <a:pos x="154" y="141"/>
                    </a:cxn>
                    <a:cxn ang="0">
                      <a:pos x="154" y="94"/>
                    </a:cxn>
                    <a:cxn ang="0">
                      <a:pos x="148" y="74"/>
                    </a:cxn>
                    <a:cxn ang="0">
                      <a:pos x="147" y="67"/>
                    </a:cxn>
                    <a:cxn ang="0">
                      <a:pos x="136" y="71"/>
                    </a:cxn>
                    <a:cxn ang="0">
                      <a:pos x="131" y="62"/>
                    </a:cxn>
                    <a:cxn ang="0">
                      <a:pos x="124" y="50"/>
                    </a:cxn>
                    <a:cxn ang="0">
                      <a:pos x="117" y="60"/>
                    </a:cxn>
                    <a:cxn ang="0">
                      <a:pos x="108" y="64"/>
                    </a:cxn>
                    <a:cxn ang="0">
                      <a:pos x="84" y="52"/>
                    </a:cxn>
                    <a:cxn ang="0">
                      <a:pos x="89" y="45"/>
                    </a:cxn>
                    <a:cxn ang="0">
                      <a:pos x="96" y="40"/>
                    </a:cxn>
                    <a:cxn ang="0">
                      <a:pos x="98" y="34"/>
                    </a:cxn>
                    <a:cxn ang="0">
                      <a:pos x="108" y="19"/>
                    </a:cxn>
                  </a:cxnLst>
                  <a:rect l="0" t="0" r="r" b="b"/>
                  <a:pathLst>
                    <a:path w="159" h="207">
                      <a:moveTo>
                        <a:pt x="115" y="15"/>
                      </a:moveTo>
                      <a:lnTo>
                        <a:pt x="115" y="15"/>
                      </a:lnTo>
                      <a:lnTo>
                        <a:pt x="115" y="12"/>
                      </a:lnTo>
                      <a:lnTo>
                        <a:pt x="117" y="10"/>
                      </a:lnTo>
                      <a:lnTo>
                        <a:pt x="121" y="8"/>
                      </a:lnTo>
                      <a:lnTo>
                        <a:pt x="122" y="6"/>
                      </a:lnTo>
                      <a:lnTo>
                        <a:pt x="122" y="5"/>
                      </a:lnTo>
                      <a:lnTo>
                        <a:pt x="117" y="1"/>
                      </a:lnTo>
                      <a:lnTo>
                        <a:pt x="117" y="1"/>
                      </a:lnTo>
                      <a:lnTo>
                        <a:pt x="114" y="0"/>
                      </a:lnTo>
                      <a:lnTo>
                        <a:pt x="110" y="0"/>
                      </a:lnTo>
                      <a:lnTo>
                        <a:pt x="108" y="0"/>
                      </a:lnTo>
                      <a:lnTo>
                        <a:pt x="107" y="1"/>
                      </a:lnTo>
                      <a:lnTo>
                        <a:pt x="105" y="5"/>
                      </a:lnTo>
                      <a:lnTo>
                        <a:pt x="101" y="6"/>
                      </a:lnTo>
                      <a:lnTo>
                        <a:pt x="98" y="6"/>
                      </a:lnTo>
                      <a:lnTo>
                        <a:pt x="98" y="6"/>
                      </a:lnTo>
                      <a:lnTo>
                        <a:pt x="91" y="6"/>
                      </a:lnTo>
                      <a:lnTo>
                        <a:pt x="82" y="12"/>
                      </a:lnTo>
                      <a:lnTo>
                        <a:pt x="75" y="17"/>
                      </a:lnTo>
                      <a:lnTo>
                        <a:pt x="74" y="20"/>
                      </a:lnTo>
                      <a:lnTo>
                        <a:pt x="74" y="24"/>
                      </a:lnTo>
                      <a:lnTo>
                        <a:pt x="74" y="24"/>
                      </a:lnTo>
                      <a:lnTo>
                        <a:pt x="74" y="26"/>
                      </a:lnTo>
                      <a:lnTo>
                        <a:pt x="72" y="29"/>
                      </a:lnTo>
                      <a:lnTo>
                        <a:pt x="67" y="31"/>
                      </a:lnTo>
                      <a:lnTo>
                        <a:pt x="61" y="34"/>
                      </a:lnTo>
                      <a:lnTo>
                        <a:pt x="60" y="36"/>
                      </a:lnTo>
                      <a:lnTo>
                        <a:pt x="60" y="38"/>
                      </a:lnTo>
                      <a:lnTo>
                        <a:pt x="60" y="38"/>
                      </a:lnTo>
                      <a:lnTo>
                        <a:pt x="61" y="40"/>
                      </a:lnTo>
                      <a:lnTo>
                        <a:pt x="67" y="40"/>
                      </a:lnTo>
                      <a:lnTo>
                        <a:pt x="75" y="40"/>
                      </a:lnTo>
                      <a:lnTo>
                        <a:pt x="82" y="41"/>
                      </a:lnTo>
                      <a:lnTo>
                        <a:pt x="82" y="41"/>
                      </a:lnTo>
                      <a:lnTo>
                        <a:pt x="79" y="45"/>
                      </a:lnTo>
                      <a:lnTo>
                        <a:pt x="79" y="45"/>
                      </a:lnTo>
                      <a:lnTo>
                        <a:pt x="72" y="52"/>
                      </a:lnTo>
                      <a:lnTo>
                        <a:pt x="68" y="57"/>
                      </a:lnTo>
                      <a:lnTo>
                        <a:pt x="65" y="59"/>
                      </a:lnTo>
                      <a:lnTo>
                        <a:pt x="61" y="59"/>
                      </a:lnTo>
                      <a:lnTo>
                        <a:pt x="61" y="59"/>
                      </a:lnTo>
                      <a:lnTo>
                        <a:pt x="56" y="59"/>
                      </a:lnTo>
                      <a:lnTo>
                        <a:pt x="51" y="60"/>
                      </a:lnTo>
                      <a:lnTo>
                        <a:pt x="47" y="60"/>
                      </a:lnTo>
                      <a:lnTo>
                        <a:pt x="42" y="59"/>
                      </a:lnTo>
                      <a:lnTo>
                        <a:pt x="42" y="59"/>
                      </a:lnTo>
                      <a:lnTo>
                        <a:pt x="35" y="55"/>
                      </a:lnTo>
                      <a:lnTo>
                        <a:pt x="27" y="55"/>
                      </a:lnTo>
                      <a:lnTo>
                        <a:pt x="20" y="57"/>
                      </a:lnTo>
                      <a:lnTo>
                        <a:pt x="14" y="62"/>
                      </a:lnTo>
                      <a:lnTo>
                        <a:pt x="14" y="62"/>
                      </a:lnTo>
                      <a:lnTo>
                        <a:pt x="13" y="64"/>
                      </a:lnTo>
                      <a:lnTo>
                        <a:pt x="13" y="64"/>
                      </a:lnTo>
                      <a:lnTo>
                        <a:pt x="16" y="64"/>
                      </a:lnTo>
                      <a:lnTo>
                        <a:pt x="18" y="64"/>
                      </a:lnTo>
                      <a:lnTo>
                        <a:pt x="20" y="66"/>
                      </a:lnTo>
                      <a:lnTo>
                        <a:pt x="18" y="67"/>
                      </a:lnTo>
                      <a:lnTo>
                        <a:pt x="16" y="71"/>
                      </a:lnTo>
                      <a:lnTo>
                        <a:pt x="16" y="71"/>
                      </a:lnTo>
                      <a:lnTo>
                        <a:pt x="14" y="74"/>
                      </a:lnTo>
                      <a:lnTo>
                        <a:pt x="16" y="78"/>
                      </a:lnTo>
                      <a:lnTo>
                        <a:pt x="21" y="78"/>
                      </a:lnTo>
                      <a:lnTo>
                        <a:pt x="25" y="80"/>
                      </a:lnTo>
                      <a:lnTo>
                        <a:pt x="34" y="80"/>
                      </a:lnTo>
                      <a:lnTo>
                        <a:pt x="34" y="81"/>
                      </a:lnTo>
                      <a:lnTo>
                        <a:pt x="30" y="83"/>
                      </a:lnTo>
                      <a:lnTo>
                        <a:pt x="30" y="83"/>
                      </a:lnTo>
                      <a:lnTo>
                        <a:pt x="23" y="87"/>
                      </a:lnTo>
                      <a:lnTo>
                        <a:pt x="20" y="90"/>
                      </a:lnTo>
                      <a:lnTo>
                        <a:pt x="18" y="94"/>
                      </a:lnTo>
                      <a:lnTo>
                        <a:pt x="14" y="97"/>
                      </a:lnTo>
                      <a:lnTo>
                        <a:pt x="14" y="97"/>
                      </a:lnTo>
                      <a:lnTo>
                        <a:pt x="13" y="99"/>
                      </a:lnTo>
                      <a:lnTo>
                        <a:pt x="14" y="102"/>
                      </a:lnTo>
                      <a:lnTo>
                        <a:pt x="21" y="109"/>
                      </a:lnTo>
                      <a:lnTo>
                        <a:pt x="32" y="114"/>
                      </a:lnTo>
                      <a:lnTo>
                        <a:pt x="35" y="114"/>
                      </a:lnTo>
                      <a:lnTo>
                        <a:pt x="40" y="114"/>
                      </a:lnTo>
                      <a:lnTo>
                        <a:pt x="40" y="114"/>
                      </a:lnTo>
                      <a:lnTo>
                        <a:pt x="46" y="113"/>
                      </a:lnTo>
                      <a:lnTo>
                        <a:pt x="51" y="113"/>
                      </a:lnTo>
                      <a:lnTo>
                        <a:pt x="53" y="114"/>
                      </a:lnTo>
                      <a:lnTo>
                        <a:pt x="53" y="116"/>
                      </a:lnTo>
                      <a:lnTo>
                        <a:pt x="44" y="118"/>
                      </a:lnTo>
                      <a:lnTo>
                        <a:pt x="44" y="118"/>
                      </a:lnTo>
                      <a:lnTo>
                        <a:pt x="40" y="121"/>
                      </a:lnTo>
                      <a:lnTo>
                        <a:pt x="37" y="123"/>
                      </a:lnTo>
                      <a:lnTo>
                        <a:pt x="37" y="125"/>
                      </a:lnTo>
                      <a:lnTo>
                        <a:pt x="37" y="128"/>
                      </a:lnTo>
                      <a:lnTo>
                        <a:pt x="37" y="130"/>
                      </a:lnTo>
                      <a:lnTo>
                        <a:pt x="35" y="135"/>
                      </a:lnTo>
                      <a:lnTo>
                        <a:pt x="32" y="139"/>
                      </a:lnTo>
                      <a:lnTo>
                        <a:pt x="27" y="144"/>
                      </a:lnTo>
                      <a:lnTo>
                        <a:pt x="27" y="144"/>
                      </a:lnTo>
                      <a:lnTo>
                        <a:pt x="21" y="147"/>
                      </a:lnTo>
                      <a:lnTo>
                        <a:pt x="20" y="149"/>
                      </a:lnTo>
                      <a:lnTo>
                        <a:pt x="23" y="149"/>
                      </a:lnTo>
                      <a:lnTo>
                        <a:pt x="28" y="149"/>
                      </a:lnTo>
                      <a:lnTo>
                        <a:pt x="51" y="142"/>
                      </a:lnTo>
                      <a:lnTo>
                        <a:pt x="51" y="142"/>
                      </a:lnTo>
                      <a:lnTo>
                        <a:pt x="56" y="141"/>
                      </a:lnTo>
                      <a:lnTo>
                        <a:pt x="58" y="142"/>
                      </a:lnTo>
                      <a:lnTo>
                        <a:pt x="58" y="144"/>
                      </a:lnTo>
                      <a:lnTo>
                        <a:pt x="58" y="146"/>
                      </a:lnTo>
                      <a:lnTo>
                        <a:pt x="56" y="147"/>
                      </a:lnTo>
                      <a:lnTo>
                        <a:pt x="46" y="149"/>
                      </a:lnTo>
                      <a:lnTo>
                        <a:pt x="46" y="149"/>
                      </a:lnTo>
                      <a:lnTo>
                        <a:pt x="32" y="151"/>
                      </a:lnTo>
                      <a:lnTo>
                        <a:pt x="25" y="154"/>
                      </a:lnTo>
                      <a:lnTo>
                        <a:pt x="21" y="158"/>
                      </a:lnTo>
                      <a:lnTo>
                        <a:pt x="23" y="161"/>
                      </a:lnTo>
                      <a:lnTo>
                        <a:pt x="23" y="161"/>
                      </a:lnTo>
                      <a:lnTo>
                        <a:pt x="25" y="163"/>
                      </a:lnTo>
                      <a:lnTo>
                        <a:pt x="25" y="163"/>
                      </a:lnTo>
                      <a:lnTo>
                        <a:pt x="20" y="163"/>
                      </a:lnTo>
                      <a:lnTo>
                        <a:pt x="13" y="163"/>
                      </a:lnTo>
                      <a:lnTo>
                        <a:pt x="9" y="165"/>
                      </a:lnTo>
                      <a:lnTo>
                        <a:pt x="6" y="167"/>
                      </a:lnTo>
                      <a:lnTo>
                        <a:pt x="6" y="167"/>
                      </a:lnTo>
                      <a:lnTo>
                        <a:pt x="0" y="170"/>
                      </a:lnTo>
                      <a:lnTo>
                        <a:pt x="0" y="174"/>
                      </a:lnTo>
                      <a:lnTo>
                        <a:pt x="2" y="174"/>
                      </a:lnTo>
                      <a:lnTo>
                        <a:pt x="6" y="174"/>
                      </a:lnTo>
                      <a:lnTo>
                        <a:pt x="9" y="174"/>
                      </a:lnTo>
                      <a:lnTo>
                        <a:pt x="13" y="174"/>
                      </a:lnTo>
                      <a:lnTo>
                        <a:pt x="13" y="175"/>
                      </a:lnTo>
                      <a:lnTo>
                        <a:pt x="9" y="181"/>
                      </a:lnTo>
                      <a:lnTo>
                        <a:pt x="9" y="181"/>
                      </a:lnTo>
                      <a:lnTo>
                        <a:pt x="6" y="186"/>
                      </a:lnTo>
                      <a:lnTo>
                        <a:pt x="6" y="188"/>
                      </a:lnTo>
                      <a:lnTo>
                        <a:pt x="7" y="189"/>
                      </a:lnTo>
                      <a:lnTo>
                        <a:pt x="11" y="189"/>
                      </a:lnTo>
                      <a:lnTo>
                        <a:pt x="16" y="191"/>
                      </a:lnTo>
                      <a:lnTo>
                        <a:pt x="18" y="193"/>
                      </a:lnTo>
                      <a:lnTo>
                        <a:pt x="16" y="196"/>
                      </a:lnTo>
                      <a:lnTo>
                        <a:pt x="16" y="196"/>
                      </a:lnTo>
                      <a:lnTo>
                        <a:pt x="14" y="200"/>
                      </a:lnTo>
                      <a:lnTo>
                        <a:pt x="16" y="200"/>
                      </a:lnTo>
                      <a:lnTo>
                        <a:pt x="25" y="196"/>
                      </a:lnTo>
                      <a:lnTo>
                        <a:pt x="32" y="195"/>
                      </a:lnTo>
                      <a:lnTo>
                        <a:pt x="32" y="195"/>
                      </a:lnTo>
                      <a:lnTo>
                        <a:pt x="27" y="200"/>
                      </a:lnTo>
                      <a:lnTo>
                        <a:pt x="27" y="200"/>
                      </a:lnTo>
                      <a:lnTo>
                        <a:pt x="25" y="201"/>
                      </a:lnTo>
                      <a:lnTo>
                        <a:pt x="25" y="203"/>
                      </a:lnTo>
                      <a:lnTo>
                        <a:pt x="28" y="205"/>
                      </a:lnTo>
                      <a:lnTo>
                        <a:pt x="34" y="207"/>
                      </a:lnTo>
                      <a:lnTo>
                        <a:pt x="44" y="205"/>
                      </a:lnTo>
                      <a:lnTo>
                        <a:pt x="63" y="201"/>
                      </a:lnTo>
                      <a:lnTo>
                        <a:pt x="70" y="198"/>
                      </a:lnTo>
                      <a:lnTo>
                        <a:pt x="74" y="195"/>
                      </a:lnTo>
                      <a:lnTo>
                        <a:pt x="74" y="195"/>
                      </a:lnTo>
                      <a:lnTo>
                        <a:pt x="77" y="184"/>
                      </a:lnTo>
                      <a:lnTo>
                        <a:pt x="79" y="182"/>
                      </a:lnTo>
                      <a:lnTo>
                        <a:pt x="81" y="186"/>
                      </a:lnTo>
                      <a:lnTo>
                        <a:pt x="81" y="186"/>
                      </a:lnTo>
                      <a:lnTo>
                        <a:pt x="82" y="188"/>
                      </a:lnTo>
                      <a:lnTo>
                        <a:pt x="84" y="188"/>
                      </a:lnTo>
                      <a:lnTo>
                        <a:pt x="94" y="182"/>
                      </a:lnTo>
                      <a:lnTo>
                        <a:pt x="105" y="175"/>
                      </a:lnTo>
                      <a:lnTo>
                        <a:pt x="110" y="174"/>
                      </a:lnTo>
                      <a:lnTo>
                        <a:pt x="117" y="172"/>
                      </a:lnTo>
                      <a:lnTo>
                        <a:pt x="117" y="172"/>
                      </a:lnTo>
                      <a:lnTo>
                        <a:pt x="124" y="170"/>
                      </a:lnTo>
                      <a:lnTo>
                        <a:pt x="129" y="168"/>
                      </a:lnTo>
                      <a:lnTo>
                        <a:pt x="135" y="168"/>
                      </a:lnTo>
                      <a:lnTo>
                        <a:pt x="141" y="168"/>
                      </a:lnTo>
                      <a:lnTo>
                        <a:pt x="141" y="168"/>
                      </a:lnTo>
                      <a:lnTo>
                        <a:pt x="147" y="170"/>
                      </a:lnTo>
                      <a:lnTo>
                        <a:pt x="147" y="167"/>
                      </a:lnTo>
                      <a:lnTo>
                        <a:pt x="147" y="160"/>
                      </a:lnTo>
                      <a:lnTo>
                        <a:pt x="148" y="154"/>
                      </a:lnTo>
                      <a:lnTo>
                        <a:pt x="150" y="147"/>
                      </a:lnTo>
                      <a:lnTo>
                        <a:pt x="150" y="147"/>
                      </a:lnTo>
                      <a:lnTo>
                        <a:pt x="154" y="141"/>
                      </a:lnTo>
                      <a:lnTo>
                        <a:pt x="157" y="134"/>
                      </a:lnTo>
                      <a:lnTo>
                        <a:pt x="159" y="120"/>
                      </a:lnTo>
                      <a:lnTo>
                        <a:pt x="157" y="106"/>
                      </a:lnTo>
                      <a:lnTo>
                        <a:pt x="154" y="94"/>
                      </a:lnTo>
                      <a:lnTo>
                        <a:pt x="154" y="94"/>
                      </a:lnTo>
                      <a:lnTo>
                        <a:pt x="147" y="80"/>
                      </a:lnTo>
                      <a:lnTo>
                        <a:pt x="147" y="76"/>
                      </a:lnTo>
                      <a:lnTo>
                        <a:pt x="148" y="74"/>
                      </a:lnTo>
                      <a:lnTo>
                        <a:pt x="148" y="74"/>
                      </a:lnTo>
                      <a:lnTo>
                        <a:pt x="152" y="74"/>
                      </a:lnTo>
                      <a:lnTo>
                        <a:pt x="152" y="73"/>
                      </a:lnTo>
                      <a:lnTo>
                        <a:pt x="147" y="67"/>
                      </a:lnTo>
                      <a:lnTo>
                        <a:pt x="147" y="67"/>
                      </a:lnTo>
                      <a:lnTo>
                        <a:pt x="141" y="69"/>
                      </a:lnTo>
                      <a:lnTo>
                        <a:pt x="138" y="71"/>
                      </a:lnTo>
                      <a:lnTo>
                        <a:pt x="136" y="71"/>
                      </a:lnTo>
                      <a:lnTo>
                        <a:pt x="136" y="67"/>
                      </a:lnTo>
                      <a:lnTo>
                        <a:pt x="136" y="67"/>
                      </a:lnTo>
                      <a:lnTo>
                        <a:pt x="135" y="64"/>
                      </a:lnTo>
                      <a:lnTo>
                        <a:pt x="131" y="62"/>
                      </a:lnTo>
                      <a:lnTo>
                        <a:pt x="129" y="60"/>
                      </a:lnTo>
                      <a:lnTo>
                        <a:pt x="126" y="55"/>
                      </a:lnTo>
                      <a:lnTo>
                        <a:pt x="126" y="55"/>
                      </a:lnTo>
                      <a:lnTo>
                        <a:pt x="124" y="50"/>
                      </a:lnTo>
                      <a:lnTo>
                        <a:pt x="122" y="50"/>
                      </a:lnTo>
                      <a:lnTo>
                        <a:pt x="121" y="52"/>
                      </a:lnTo>
                      <a:lnTo>
                        <a:pt x="117" y="55"/>
                      </a:lnTo>
                      <a:lnTo>
                        <a:pt x="117" y="60"/>
                      </a:lnTo>
                      <a:lnTo>
                        <a:pt x="117" y="60"/>
                      </a:lnTo>
                      <a:lnTo>
                        <a:pt x="115" y="62"/>
                      </a:lnTo>
                      <a:lnTo>
                        <a:pt x="114" y="64"/>
                      </a:lnTo>
                      <a:lnTo>
                        <a:pt x="108" y="64"/>
                      </a:lnTo>
                      <a:lnTo>
                        <a:pt x="101" y="64"/>
                      </a:lnTo>
                      <a:lnTo>
                        <a:pt x="94" y="60"/>
                      </a:lnTo>
                      <a:lnTo>
                        <a:pt x="89" y="57"/>
                      </a:lnTo>
                      <a:lnTo>
                        <a:pt x="84" y="52"/>
                      </a:lnTo>
                      <a:lnTo>
                        <a:pt x="84" y="50"/>
                      </a:lnTo>
                      <a:lnTo>
                        <a:pt x="84" y="48"/>
                      </a:lnTo>
                      <a:lnTo>
                        <a:pt x="86" y="47"/>
                      </a:lnTo>
                      <a:lnTo>
                        <a:pt x="89" y="45"/>
                      </a:lnTo>
                      <a:lnTo>
                        <a:pt x="89" y="45"/>
                      </a:lnTo>
                      <a:lnTo>
                        <a:pt x="94" y="43"/>
                      </a:lnTo>
                      <a:lnTo>
                        <a:pt x="96" y="40"/>
                      </a:lnTo>
                      <a:lnTo>
                        <a:pt x="96" y="40"/>
                      </a:lnTo>
                      <a:lnTo>
                        <a:pt x="94" y="38"/>
                      </a:lnTo>
                      <a:lnTo>
                        <a:pt x="93" y="36"/>
                      </a:lnTo>
                      <a:lnTo>
                        <a:pt x="98" y="34"/>
                      </a:lnTo>
                      <a:lnTo>
                        <a:pt x="98" y="34"/>
                      </a:lnTo>
                      <a:lnTo>
                        <a:pt x="103" y="33"/>
                      </a:lnTo>
                      <a:lnTo>
                        <a:pt x="105" y="31"/>
                      </a:lnTo>
                      <a:lnTo>
                        <a:pt x="107" y="26"/>
                      </a:lnTo>
                      <a:lnTo>
                        <a:pt x="108" y="19"/>
                      </a:lnTo>
                      <a:lnTo>
                        <a:pt x="112" y="17"/>
                      </a:lnTo>
                      <a:lnTo>
                        <a:pt x="115" y="15"/>
                      </a:lnTo>
                      <a:lnTo>
                        <a:pt x="115" y="1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02" name="Group 870">
                  <a:extLst>
                    <a:ext uri="{FF2B5EF4-FFF2-40B4-BE49-F238E27FC236}">
                      <a16:creationId xmlns:a16="http://schemas.microsoft.com/office/drawing/2014/main" id="{7DC7AAEE-E774-A03D-4510-D372140AA654}"/>
                    </a:ext>
                  </a:extLst>
                </p:cNvPr>
                <p:cNvGrpSpPr/>
                <p:nvPr/>
              </p:nvGrpSpPr>
              <p:grpSpPr bwMode="auto">
                <a:xfrm>
                  <a:off x="4510060" y="2328654"/>
                  <a:ext cx="260777" cy="373545"/>
                  <a:chOff x="3892550" y="2297113"/>
                  <a:chExt cx="234950" cy="336550"/>
                </a:xfrm>
                <a:grpFill/>
              </p:grpSpPr>
              <p:sp>
                <p:nvSpPr>
                  <p:cNvPr id="458" name="Freeform 2084">
                    <a:extLst>
                      <a:ext uri="{FF2B5EF4-FFF2-40B4-BE49-F238E27FC236}">
                        <a16:creationId xmlns:a16="http://schemas.microsoft.com/office/drawing/2014/main" id="{8873519B-5216-E322-B7AF-8F9E1F958281}"/>
                      </a:ext>
                    </a:extLst>
                  </p:cNvPr>
                  <p:cNvSpPr>
                    <a:spLocks/>
                  </p:cNvSpPr>
                  <p:nvPr/>
                </p:nvSpPr>
                <p:spPr bwMode="auto">
                  <a:xfrm>
                    <a:off x="3925888" y="2297113"/>
                    <a:ext cx="201612" cy="336550"/>
                  </a:xfrm>
                  <a:custGeom>
                    <a:avLst/>
                    <a:gdLst/>
                    <a:ahLst/>
                    <a:cxnLst>
                      <a:cxn ang="0">
                        <a:pos x="65" y="208"/>
                      </a:cxn>
                      <a:cxn ang="0">
                        <a:pos x="47" y="208"/>
                      </a:cxn>
                      <a:cxn ang="0">
                        <a:pos x="37" y="202"/>
                      </a:cxn>
                      <a:cxn ang="0">
                        <a:pos x="56" y="176"/>
                      </a:cxn>
                      <a:cxn ang="0">
                        <a:pos x="49" y="147"/>
                      </a:cxn>
                      <a:cxn ang="0">
                        <a:pos x="35" y="154"/>
                      </a:cxn>
                      <a:cxn ang="0">
                        <a:pos x="32" y="159"/>
                      </a:cxn>
                      <a:cxn ang="0">
                        <a:pos x="16" y="180"/>
                      </a:cxn>
                      <a:cxn ang="0">
                        <a:pos x="18" y="148"/>
                      </a:cxn>
                      <a:cxn ang="0">
                        <a:pos x="30" y="114"/>
                      </a:cxn>
                      <a:cxn ang="0">
                        <a:pos x="7" y="115"/>
                      </a:cxn>
                      <a:cxn ang="0">
                        <a:pos x="2" y="105"/>
                      </a:cxn>
                      <a:cxn ang="0">
                        <a:pos x="18" y="93"/>
                      </a:cxn>
                      <a:cxn ang="0">
                        <a:pos x="14" y="74"/>
                      </a:cxn>
                      <a:cxn ang="0">
                        <a:pos x="26" y="44"/>
                      </a:cxn>
                      <a:cxn ang="0">
                        <a:pos x="33" y="28"/>
                      </a:cxn>
                      <a:cxn ang="0">
                        <a:pos x="37" y="16"/>
                      </a:cxn>
                      <a:cxn ang="0">
                        <a:pos x="59" y="6"/>
                      </a:cxn>
                      <a:cxn ang="0">
                        <a:pos x="99" y="0"/>
                      </a:cxn>
                      <a:cxn ang="0">
                        <a:pos x="108" y="18"/>
                      </a:cxn>
                      <a:cxn ang="0">
                        <a:pos x="84" y="49"/>
                      </a:cxn>
                      <a:cxn ang="0">
                        <a:pos x="139" y="54"/>
                      </a:cxn>
                      <a:cxn ang="0">
                        <a:pos x="127" y="119"/>
                      </a:cxn>
                      <a:cxn ang="0">
                        <a:pos x="120" y="129"/>
                      </a:cxn>
                      <a:cxn ang="0">
                        <a:pos x="108" y="143"/>
                      </a:cxn>
                      <a:cxn ang="0">
                        <a:pos x="131" y="147"/>
                      </a:cxn>
                      <a:cxn ang="0">
                        <a:pos x="169" y="204"/>
                      </a:cxn>
                      <a:cxn ang="0">
                        <a:pos x="206" y="242"/>
                      </a:cxn>
                      <a:cxn ang="0">
                        <a:pos x="225" y="276"/>
                      </a:cxn>
                      <a:cxn ang="0">
                        <a:pos x="230" y="293"/>
                      </a:cxn>
                      <a:cxn ang="0">
                        <a:pos x="228" y="319"/>
                      </a:cxn>
                      <a:cxn ang="0">
                        <a:pos x="281" y="333"/>
                      </a:cxn>
                      <a:cxn ang="0">
                        <a:pos x="265" y="371"/>
                      </a:cxn>
                      <a:cxn ang="0">
                        <a:pos x="249" y="383"/>
                      </a:cxn>
                      <a:cxn ang="0">
                        <a:pos x="247" y="394"/>
                      </a:cxn>
                      <a:cxn ang="0">
                        <a:pos x="260" y="408"/>
                      </a:cxn>
                      <a:cxn ang="0">
                        <a:pos x="218" y="424"/>
                      </a:cxn>
                      <a:cxn ang="0">
                        <a:pos x="176" y="424"/>
                      </a:cxn>
                      <a:cxn ang="0">
                        <a:pos x="143" y="434"/>
                      </a:cxn>
                      <a:cxn ang="0">
                        <a:pos x="110" y="429"/>
                      </a:cxn>
                      <a:cxn ang="0">
                        <a:pos x="86" y="453"/>
                      </a:cxn>
                      <a:cxn ang="0">
                        <a:pos x="40" y="460"/>
                      </a:cxn>
                      <a:cxn ang="0">
                        <a:pos x="19" y="462"/>
                      </a:cxn>
                      <a:cxn ang="0">
                        <a:pos x="42" y="439"/>
                      </a:cxn>
                      <a:cxn ang="0">
                        <a:pos x="59" y="413"/>
                      </a:cxn>
                      <a:cxn ang="0">
                        <a:pos x="79" y="401"/>
                      </a:cxn>
                      <a:cxn ang="0">
                        <a:pos x="129" y="382"/>
                      </a:cxn>
                      <a:cxn ang="0">
                        <a:pos x="105" y="390"/>
                      </a:cxn>
                      <a:cxn ang="0">
                        <a:pos x="68" y="383"/>
                      </a:cxn>
                      <a:cxn ang="0">
                        <a:pos x="37" y="373"/>
                      </a:cxn>
                      <a:cxn ang="0">
                        <a:pos x="52" y="357"/>
                      </a:cxn>
                      <a:cxn ang="0">
                        <a:pos x="77" y="321"/>
                      </a:cxn>
                      <a:cxn ang="0">
                        <a:pos x="58" y="319"/>
                      </a:cxn>
                      <a:cxn ang="0">
                        <a:pos x="73" y="296"/>
                      </a:cxn>
                      <a:cxn ang="0">
                        <a:pos x="103" y="289"/>
                      </a:cxn>
                      <a:cxn ang="0">
                        <a:pos x="115" y="284"/>
                      </a:cxn>
                      <a:cxn ang="0">
                        <a:pos x="110" y="265"/>
                      </a:cxn>
                      <a:cxn ang="0">
                        <a:pos x="119" y="246"/>
                      </a:cxn>
                      <a:cxn ang="0">
                        <a:pos x="91" y="232"/>
                      </a:cxn>
                      <a:cxn ang="0">
                        <a:pos x="96" y="202"/>
                      </a:cxn>
                    </a:cxnLst>
                    <a:rect l="0" t="0" r="r" b="b"/>
                    <a:pathLst>
                      <a:path w="281" h="465">
                        <a:moveTo>
                          <a:pt x="94" y="204"/>
                        </a:moveTo>
                        <a:lnTo>
                          <a:pt x="94" y="204"/>
                        </a:lnTo>
                        <a:lnTo>
                          <a:pt x="92" y="208"/>
                        </a:lnTo>
                        <a:lnTo>
                          <a:pt x="89" y="208"/>
                        </a:lnTo>
                        <a:lnTo>
                          <a:pt x="87" y="208"/>
                        </a:lnTo>
                        <a:lnTo>
                          <a:pt x="82" y="211"/>
                        </a:lnTo>
                        <a:lnTo>
                          <a:pt x="82" y="211"/>
                        </a:lnTo>
                        <a:lnTo>
                          <a:pt x="80" y="213"/>
                        </a:lnTo>
                        <a:lnTo>
                          <a:pt x="77" y="215"/>
                        </a:lnTo>
                        <a:lnTo>
                          <a:pt x="70" y="211"/>
                        </a:lnTo>
                        <a:lnTo>
                          <a:pt x="65" y="208"/>
                        </a:lnTo>
                        <a:lnTo>
                          <a:pt x="65" y="208"/>
                        </a:lnTo>
                        <a:lnTo>
                          <a:pt x="65" y="209"/>
                        </a:lnTo>
                        <a:lnTo>
                          <a:pt x="65" y="209"/>
                        </a:lnTo>
                        <a:lnTo>
                          <a:pt x="66" y="215"/>
                        </a:lnTo>
                        <a:lnTo>
                          <a:pt x="65" y="218"/>
                        </a:lnTo>
                        <a:lnTo>
                          <a:pt x="63" y="218"/>
                        </a:lnTo>
                        <a:lnTo>
                          <a:pt x="59" y="216"/>
                        </a:lnTo>
                        <a:lnTo>
                          <a:pt x="59" y="216"/>
                        </a:lnTo>
                        <a:lnTo>
                          <a:pt x="54" y="211"/>
                        </a:lnTo>
                        <a:lnTo>
                          <a:pt x="49" y="209"/>
                        </a:lnTo>
                        <a:lnTo>
                          <a:pt x="47" y="208"/>
                        </a:lnTo>
                        <a:lnTo>
                          <a:pt x="45" y="209"/>
                        </a:lnTo>
                        <a:lnTo>
                          <a:pt x="45" y="211"/>
                        </a:lnTo>
                        <a:lnTo>
                          <a:pt x="45" y="215"/>
                        </a:lnTo>
                        <a:lnTo>
                          <a:pt x="45" y="215"/>
                        </a:lnTo>
                        <a:lnTo>
                          <a:pt x="47" y="218"/>
                        </a:lnTo>
                        <a:lnTo>
                          <a:pt x="45" y="218"/>
                        </a:lnTo>
                        <a:lnTo>
                          <a:pt x="42" y="215"/>
                        </a:lnTo>
                        <a:lnTo>
                          <a:pt x="37" y="208"/>
                        </a:lnTo>
                        <a:lnTo>
                          <a:pt x="37" y="204"/>
                        </a:lnTo>
                        <a:lnTo>
                          <a:pt x="37" y="202"/>
                        </a:lnTo>
                        <a:lnTo>
                          <a:pt x="37" y="202"/>
                        </a:lnTo>
                        <a:lnTo>
                          <a:pt x="38" y="201"/>
                        </a:lnTo>
                        <a:lnTo>
                          <a:pt x="40" y="201"/>
                        </a:lnTo>
                        <a:lnTo>
                          <a:pt x="42" y="204"/>
                        </a:lnTo>
                        <a:lnTo>
                          <a:pt x="44" y="204"/>
                        </a:lnTo>
                        <a:lnTo>
                          <a:pt x="44" y="199"/>
                        </a:lnTo>
                        <a:lnTo>
                          <a:pt x="44" y="199"/>
                        </a:lnTo>
                        <a:lnTo>
                          <a:pt x="44" y="194"/>
                        </a:lnTo>
                        <a:lnTo>
                          <a:pt x="45" y="190"/>
                        </a:lnTo>
                        <a:lnTo>
                          <a:pt x="51" y="183"/>
                        </a:lnTo>
                        <a:lnTo>
                          <a:pt x="54" y="180"/>
                        </a:lnTo>
                        <a:lnTo>
                          <a:pt x="56" y="176"/>
                        </a:lnTo>
                        <a:lnTo>
                          <a:pt x="54" y="171"/>
                        </a:lnTo>
                        <a:lnTo>
                          <a:pt x="52" y="168"/>
                        </a:lnTo>
                        <a:lnTo>
                          <a:pt x="52" y="168"/>
                        </a:lnTo>
                        <a:lnTo>
                          <a:pt x="45" y="161"/>
                        </a:lnTo>
                        <a:lnTo>
                          <a:pt x="45" y="157"/>
                        </a:lnTo>
                        <a:lnTo>
                          <a:pt x="45" y="155"/>
                        </a:lnTo>
                        <a:lnTo>
                          <a:pt x="51" y="152"/>
                        </a:lnTo>
                        <a:lnTo>
                          <a:pt x="58" y="152"/>
                        </a:lnTo>
                        <a:lnTo>
                          <a:pt x="58" y="152"/>
                        </a:lnTo>
                        <a:lnTo>
                          <a:pt x="52" y="147"/>
                        </a:lnTo>
                        <a:lnTo>
                          <a:pt x="49" y="147"/>
                        </a:lnTo>
                        <a:lnTo>
                          <a:pt x="47" y="147"/>
                        </a:lnTo>
                        <a:lnTo>
                          <a:pt x="45" y="148"/>
                        </a:lnTo>
                        <a:lnTo>
                          <a:pt x="44" y="152"/>
                        </a:lnTo>
                        <a:lnTo>
                          <a:pt x="44" y="154"/>
                        </a:lnTo>
                        <a:lnTo>
                          <a:pt x="42" y="152"/>
                        </a:lnTo>
                        <a:lnTo>
                          <a:pt x="42" y="152"/>
                        </a:lnTo>
                        <a:lnTo>
                          <a:pt x="38" y="152"/>
                        </a:lnTo>
                        <a:lnTo>
                          <a:pt x="38" y="154"/>
                        </a:lnTo>
                        <a:lnTo>
                          <a:pt x="37" y="155"/>
                        </a:lnTo>
                        <a:lnTo>
                          <a:pt x="35" y="154"/>
                        </a:lnTo>
                        <a:lnTo>
                          <a:pt x="35" y="154"/>
                        </a:lnTo>
                        <a:lnTo>
                          <a:pt x="33" y="154"/>
                        </a:lnTo>
                        <a:lnTo>
                          <a:pt x="32" y="150"/>
                        </a:lnTo>
                        <a:lnTo>
                          <a:pt x="32" y="147"/>
                        </a:lnTo>
                        <a:lnTo>
                          <a:pt x="33" y="143"/>
                        </a:lnTo>
                        <a:lnTo>
                          <a:pt x="30" y="145"/>
                        </a:lnTo>
                        <a:lnTo>
                          <a:pt x="30" y="145"/>
                        </a:lnTo>
                        <a:lnTo>
                          <a:pt x="28" y="148"/>
                        </a:lnTo>
                        <a:lnTo>
                          <a:pt x="26" y="150"/>
                        </a:lnTo>
                        <a:lnTo>
                          <a:pt x="30" y="154"/>
                        </a:lnTo>
                        <a:lnTo>
                          <a:pt x="32" y="157"/>
                        </a:lnTo>
                        <a:lnTo>
                          <a:pt x="32" y="159"/>
                        </a:lnTo>
                        <a:lnTo>
                          <a:pt x="32" y="161"/>
                        </a:lnTo>
                        <a:lnTo>
                          <a:pt x="32" y="161"/>
                        </a:lnTo>
                        <a:lnTo>
                          <a:pt x="28" y="164"/>
                        </a:lnTo>
                        <a:lnTo>
                          <a:pt x="26" y="168"/>
                        </a:lnTo>
                        <a:lnTo>
                          <a:pt x="25" y="176"/>
                        </a:lnTo>
                        <a:lnTo>
                          <a:pt x="21" y="185"/>
                        </a:lnTo>
                        <a:lnTo>
                          <a:pt x="19" y="187"/>
                        </a:lnTo>
                        <a:lnTo>
                          <a:pt x="18" y="187"/>
                        </a:lnTo>
                        <a:lnTo>
                          <a:pt x="18" y="187"/>
                        </a:lnTo>
                        <a:lnTo>
                          <a:pt x="16" y="183"/>
                        </a:lnTo>
                        <a:lnTo>
                          <a:pt x="16" y="180"/>
                        </a:lnTo>
                        <a:lnTo>
                          <a:pt x="19" y="169"/>
                        </a:lnTo>
                        <a:lnTo>
                          <a:pt x="23" y="161"/>
                        </a:lnTo>
                        <a:lnTo>
                          <a:pt x="25" y="159"/>
                        </a:lnTo>
                        <a:lnTo>
                          <a:pt x="25" y="159"/>
                        </a:lnTo>
                        <a:lnTo>
                          <a:pt x="21" y="161"/>
                        </a:lnTo>
                        <a:lnTo>
                          <a:pt x="19" y="159"/>
                        </a:lnTo>
                        <a:lnTo>
                          <a:pt x="19" y="157"/>
                        </a:lnTo>
                        <a:lnTo>
                          <a:pt x="19" y="157"/>
                        </a:lnTo>
                        <a:lnTo>
                          <a:pt x="19" y="154"/>
                        </a:lnTo>
                        <a:lnTo>
                          <a:pt x="18" y="150"/>
                        </a:lnTo>
                        <a:lnTo>
                          <a:pt x="18" y="148"/>
                        </a:lnTo>
                        <a:lnTo>
                          <a:pt x="21" y="143"/>
                        </a:lnTo>
                        <a:lnTo>
                          <a:pt x="21" y="143"/>
                        </a:lnTo>
                        <a:lnTo>
                          <a:pt x="23" y="140"/>
                        </a:lnTo>
                        <a:lnTo>
                          <a:pt x="23" y="136"/>
                        </a:lnTo>
                        <a:lnTo>
                          <a:pt x="21" y="133"/>
                        </a:lnTo>
                        <a:lnTo>
                          <a:pt x="23" y="129"/>
                        </a:lnTo>
                        <a:lnTo>
                          <a:pt x="23" y="129"/>
                        </a:lnTo>
                        <a:lnTo>
                          <a:pt x="26" y="128"/>
                        </a:lnTo>
                        <a:lnTo>
                          <a:pt x="26" y="124"/>
                        </a:lnTo>
                        <a:lnTo>
                          <a:pt x="28" y="119"/>
                        </a:lnTo>
                        <a:lnTo>
                          <a:pt x="30" y="114"/>
                        </a:lnTo>
                        <a:lnTo>
                          <a:pt x="30" y="114"/>
                        </a:lnTo>
                        <a:lnTo>
                          <a:pt x="32" y="108"/>
                        </a:lnTo>
                        <a:lnTo>
                          <a:pt x="25" y="115"/>
                        </a:lnTo>
                        <a:lnTo>
                          <a:pt x="25" y="115"/>
                        </a:lnTo>
                        <a:lnTo>
                          <a:pt x="21" y="119"/>
                        </a:lnTo>
                        <a:lnTo>
                          <a:pt x="19" y="119"/>
                        </a:lnTo>
                        <a:lnTo>
                          <a:pt x="18" y="117"/>
                        </a:lnTo>
                        <a:lnTo>
                          <a:pt x="14" y="117"/>
                        </a:lnTo>
                        <a:lnTo>
                          <a:pt x="14" y="117"/>
                        </a:lnTo>
                        <a:lnTo>
                          <a:pt x="11" y="115"/>
                        </a:lnTo>
                        <a:lnTo>
                          <a:pt x="7" y="115"/>
                        </a:lnTo>
                        <a:lnTo>
                          <a:pt x="7" y="114"/>
                        </a:lnTo>
                        <a:lnTo>
                          <a:pt x="11" y="112"/>
                        </a:lnTo>
                        <a:lnTo>
                          <a:pt x="11" y="112"/>
                        </a:lnTo>
                        <a:lnTo>
                          <a:pt x="18" y="110"/>
                        </a:lnTo>
                        <a:lnTo>
                          <a:pt x="16" y="108"/>
                        </a:lnTo>
                        <a:lnTo>
                          <a:pt x="9" y="108"/>
                        </a:lnTo>
                        <a:lnTo>
                          <a:pt x="9" y="108"/>
                        </a:lnTo>
                        <a:lnTo>
                          <a:pt x="2" y="108"/>
                        </a:lnTo>
                        <a:lnTo>
                          <a:pt x="0" y="108"/>
                        </a:lnTo>
                        <a:lnTo>
                          <a:pt x="0" y="107"/>
                        </a:lnTo>
                        <a:lnTo>
                          <a:pt x="2" y="105"/>
                        </a:lnTo>
                        <a:lnTo>
                          <a:pt x="5" y="105"/>
                        </a:lnTo>
                        <a:lnTo>
                          <a:pt x="5" y="105"/>
                        </a:lnTo>
                        <a:lnTo>
                          <a:pt x="11" y="105"/>
                        </a:lnTo>
                        <a:lnTo>
                          <a:pt x="14" y="103"/>
                        </a:lnTo>
                        <a:lnTo>
                          <a:pt x="14" y="100"/>
                        </a:lnTo>
                        <a:lnTo>
                          <a:pt x="14" y="100"/>
                        </a:lnTo>
                        <a:lnTo>
                          <a:pt x="14" y="100"/>
                        </a:lnTo>
                        <a:lnTo>
                          <a:pt x="11" y="98"/>
                        </a:lnTo>
                        <a:lnTo>
                          <a:pt x="12" y="96"/>
                        </a:lnTo>
                        <a:lnTo>
                          <a:pt x="16" y="94"/>
                        </a:lnTo>
                        <a:lnTo>
                          <a:pt x="18" y="93"/>
                        </a:lnTo>
                        <a:lnTo>
                          <a:pt x="16" y="91"/>
                        </a:lnTo>
                        <a:lnTo>
                          <a:pt x="16" y="91"/>
                        </a:lnTo>
                        <a:lnTo>
                          <a:pt x="14" y="89"/>
                        </a:lnTo>
                        <a:lnTo>
                          <a:pt x="16" y="87"/>
                        </a:lnTo>
                        <a:lnTo>
                          <a:pt x="18" y="86"/>
                        </a:lnTo>
                        <a:lnTo>
                          <a:pt x="21" y="81"/>
                        </a:lnTo>
                        <a:lnTo>
                          <a:pt x="21" y="81"/>
                        </a:lnTo>
                        <a:lnTo>
                          <a:pt x="21" y="77"/>
                        </a:lnTo>
                        <a:lnTo>
                          <a:pt x="19" y="75"/>
                        </a:lnTo>
                        <a:lnTo>
                          <a:pt x="16" y="74"/>
                        </a:lnTo>
                        <a:lnTo>
                          <a:pt x="14" y="74"/>
                        </a:lnTo>
                        <a:lnTo>
                          <a:pt x="14" y="70"/>
                        </a:lnTo>
                        <a:lnTo>
                          <a:pt x="14" y="70"/>
                        </a:lnTo>
                        <a:lnTo>
                          <a:pt x="14" y="61"/>
                        </a:lnTo>
                        <a:lnTo>
                          <a:pt x="16" y="58"/>
                        </a:lnTo>
                        <a:lnTo>
                          <a:pt x="18" y="54"/>
                        </a:lnTo>
                        <a:lnTo>
                          <a:pt x="16" y="51"/>
                        </a:lnTo>
                        <a:lnTo>
                          <a:pt x="16" y="51"/>
                        </a:lnTo>
                        <a:lnTo>
                          <a:pt x="14" y="46"/>
                        </a:lnTo>
                        <a:lnTo>
                          <a:pt x="18" y="44"/>
                        </a:lnTo>
                        <a:lnTo>
                          <a:pt x="26" y="44"/>
                        </a:lnTo>
                        <a:lnTo>
                          <a:pt x="26" y="44"/>
                        </a:lnTo>
                        <a:lnTo>
                          <a:pt x="30" y="44"/>
                        </a:lnTo>
                        <a:lnTo>
                          <a:pt x="30" y="40"/>
                        </a:lnTo>
                        <a:lnTo>
                          <a:pt x="30" y="39"/>
                        </a:lnTo>
                        <a:lnTo>
                          <a:pt x="28" y="35"/>
                        </a:lnTo>
                        <a:lnTo>
                          <a:pt x="28" y="35"/>
                        </a:lnTo>
                        <a:lnTo>
                          <a:pt x="28" y="34"/>
                        </a:lnTo>
                        <a:lnTo>
                          <a:pt x="28" y="34"/>
                        </a:lnTo>
                        <a:lnTo>
                          <a:pt x="32" y="34"/>
                        </a:lnTo>
                        <a:lnTo>
                          <a:pt x="33" y="32"/>
                        </a:lnTo>
                        <a:lnTo>
                          <a:pt x="33" y="32"/>
                        </a:lnTo>
                        <a:lnTo>
                          <a:pt x="33" y="28"/>
                        </a:lnTo>
                        <a:lnTo>
                          <a:pt x="32" y="25"/>
                        </a:lnTo>
                        <a:lnTo>
                          <a:pt x="32" y="25"/>
                        </a:lnTo>
                        <a:lnTo>
                          <a:pt x="30" y="23"/>
                        </a:lnTo>
                        <a:lnTo>
                          <a:pt x="30" y="23"/>
                        </a:lnTo>
                        <a:lnTo>
                          <a:pt x="35" y="23"/>
                        </a:lnTo>
                        <a:lnTo>
                          <a:pt x="40" y="25"/>
                        </a:lnTo>
                        <a:lnTo>
                          <a:pt x="42" y="23"/>
                        </a:lnTo>
                        <a:lnTo>
                          <a:pt x="38" y="21"/>
                        </a:lnTo>
                        <a:lnTo>
                          <a:pt x="38" y="21"/>
                        </a:lnTo>
                        <a:lnTo>
                          <a:pt x="37" y="16"/>
                        </a:lnTo>
                        <a:lnTo>
                          <a:pt x="37" y="16"/>
                        </a:lnTo>
                        <a:lnTo>
                          <a:pt x="40" y="14"/>
                        </a:lnTo>
                        <a:lnTo>
                          <a:pt x="42" y="13"/>
                        </a:lnTo>
                        <a:lnTo>
                          <a:pt x="42" y="9"/>
                        </a:lnTo>
                        <a:lnTo>
                          <a:pt x="42" y="9"/>
                        </a:lnTo>
                        <a:lnTo>
                          <a:pt x="40" y="4"/>
                        </a:lnTo>
                        <a:lnTo>
                          <a:pt x="44" y="2"/>
                        </a:lnTo>
                        <a:lnTo>
                          <a:pt x="47" y="4"/>
                        </a:lnTo>
                        <a:lnTo>
                          <a:pt x="52" y="6"/>
                        </a:lnTo>
                        <a:lnTo>
                          <a:pt x="52" y="6"/>
                        </a:lnTo>
                        <a:lnTo>
                          <a:pt x="56" y="7"/>
                        </a:lnTo>
                        <a:lnTo>
                          <a:pt x="59" y="6"/>
                        </a:lnTo>
                        <a:lnTo>
                          <a:pt x="61" y="6"/>
                        </a:lnTo>
                        <a:lnTo>
                          <a:pt x="66" y="7"/>
                        </a:lnTo>
                        <a:lnTo>
                          <a:pt x="66" y="7"/>
                        </a:lnTo>
                        <a:lnTo>
                          <a:pt x="72" y="7"/>
                        </a:lnTo>
                        <a:lnTo>
                          <a:pt x="79" y="6"/>
                        </a:lnTo>
                        <a:lnTo>
                          <a:pt x="87" y="4"/>
                        </a:lnTo>
                        <a:lnTo>
                          <a:pt x="94" y="2"/>
                        </a:lnTo>
                        <a:lnTo>
                          <a:pt x="94" y="2"/>
                        </a:lnTo>
                        <a:lnTo>
                          <a:pt x="98" y="4"/>
                        </a:lnTo>
                        <a:lnTo>
                          <a:pt x="98" y="2"/>
                        </a:lnTo>
                        <a:lnTo>
                          <a:pt x="99" y="0"/>
                        </a:lnTo>
                        <a:lnTo>
                          <a:pt x="106" y="0"/>
                        </a:lnTo>
                        <a:lnTo>
                          <a:pt x="106" y="0"/>
                        </a:lnTo>
                        <a:lnTo>
                          <a:pt x="112" y="0"/>
                        </a:lnTo>
                        <a:lnTo>
                          <a:pt x="113" y="2"/>
                        </a:lnTo>
                        <a:lnTo>
                          <a:pt x="112" y="4"/>
                        </a:lnTo>
                        <a:lnTo>
                          <a:pt x="112" y="7"/>
                        </a:lnTo>
                        <a:lnTo>
                          <a:pt x="112" y="9"/>
                        </a:lnTo>
                        <a:lnTo>
                          <a:pt x="112" y="11"/>
                        </a:lnTo>
                        <a:lnTo>
                          <a:pt x="112" y="11"/>
                        </a:lnTo>
                        <a:lnTo>
                          <a:pt x="112" y="13"/>
                        </a:lnTo>
                        <a:lnTo>
                          <a:pt x="108" y="18"/>
                        </a:lnTo>
                        <a:lnTo>
                          <a:pt x="98" y="28"/>
                        </a:lnTo>
                        <a:lnTo>
                          <a:pt x="86" y="39"/>
                        </a:lnTo>
                        <a:lnTo>
                          <a:pt x="77" y="46"/>
                        </a:lnTo>
                        <a:lnTo>
                          <a:pt x="77" y="46"/>
                        </a:lnTo>
                        <a:lnTo>
                          <a:pt x="75" y="47"/>
                        </a:lnTo>
                        <a:lnTo>
                          <a:pt x="75" y="47"/>
                        </a:lnTo>
                        <a:lnTo>
                          <a:pt x="80" y="47"/>
                        </a:lnTo>
                        <a:lnTo>
                          <a:pt x="86" y="47"/>
                        </a:lnTo>
                        <a:lnTo>
                          <a:pt x="86" y="47"/>
                        </a:lnTo>
                        <a:lnTo>
                          <a:pt x="84" y="49"/>
                        </a:lnTo>
                        <a:lnTo>
                          <a:pt x="84" y="49"/>
                        </a:lnTo>
                        <a:lnTo>
                          <a:pt x="77" y="58"/>
                        </a:lnTo>
                        <a:lnTo>
                          <a:pt x="75" y="60"/>
                        </a:lnTo>
                        <a:lnTo>
                          <a:pt x="79" y="61"/>
                        </a:lnTo>
                        <a:lnTo>
                          <a:pt x="79" y="61"/>
                        </a:lnTo>
                        <a:lnTo>
                          <a:pt x="84" y="58"/>
                        </a:lnTo>
                        <a:lnTo>
                          <a:pt x="91" y="56"/>
                        </a:lnTo>
                        <a:lnTo>
                          <a:pt x="99" y="53"/>
                        </a:lnTo>
                        <a:lnTo>
                          <a:pt x="113" y="54"/>
                        </a:lnTo>
                        <a:lnTo>
                          <a:pt x="113" y="54"/>
                        </a:lnTo>
                        <a:lnTo>
                          <a:pt x="129" y="54"/>
                        </a:lnTo>
                        <a:lnTo>
                          <a:pt x="139" y="54"/>
                        </a:lnTo>
                        <a:lnTo>
                          <a:pt x="148" y="54"/>
                        </a:lnTo>
                        <a:lnTo>
                          <a:pt x="152" y="56"/>
                        </a:lnTo>
                        <a:lnTo>
                          <a:pt x="153" y="60"/>
                        </a:lnTo>
                        <a:lnTo>
                          <a:pt x="153" y="60"/>
                        </a:lnTo>
                        <a:lnTo>
                          <a:pt x="155" y="65"/>
                        </a:lnTo>
                        <a:lnTo>
                          <a:pt x="153" y="70"/>
                        </a:lnTo>
                        <a:lnTo>
                          <a:pt x="148" y="79"/>
                        </a:lnTo>
                        <a:lnTo>
                          <a:pt x="141" y="94"/>
                        </a:lnTo>
                        <a:lnTo>
                          <a:pt x="141" y="94"/>
                        </a:lnTo>
                        <a:lnTo>
                          <a:pt x="134" y="112"/>
                        </a:lnTo>
                        <a:lnTo>
                          <a:pt x="127" y="119"/>
                        </a:lnTo>
                        <a:lnTo>
                          <a:pt x="126" y="121"/>
                        </a:lnTo>
                        <a:lnTo>
                          <a:pt x="122" y="122"/>
                        </a:lnTo>
                        <a:lnTo>
                          <a:pt x="117" y="121"/>
                        </a:lnTo>
                        <a:lnTo>
                          <a:pt x="117" y="121"/>
                        </a:lnTo>
                        <a:lnTo>
                          <a:pt x="115" y="121"/>
                        </a:lnTo>
                        <a:lnTo>
                          <a:pt x="117" y="122"/>
                        </a:lnTo>
                        <a:lnTo>
                          <a:pt x="119" y="124"/>
                        </a:lnTo>
                        <a:lnTo>
                          <a:pt x="119" y="126"/>
                        </a:lnTo>
                        <a:lnTo>
                          <a:pt x="119" y="126"/>
                        </a:lnTo>
                        <a:lnTo>
                          <a:pt x="120" y="128"/>
                        </a:lnTo>
                        <a:lnTo>
                          <a:pt x="120" y="129"/>
                        </a:lnTo>
                        <a:lnTo>
                          <a:pt x="126" y="131"/>
                        </a:lnTo>
                        <a:lnTo>
                          <a:pt x="129" y="133"/>
                        </a:lnTo>
                        <a:lnTo>
                          <a:pt x="127" y="133"/>
                        </a:lnTo>
                        <a:lnTo>
                          <a:pt x="126" y="134"/>
                        </a:lnTo>
                        <a:lnTo>
                          <a:pt x="126" y="134"/>
                        </a:lnTo>
                        <a:lnTo>
                          <a:pt x="119" y="136"/>
                        </a:lnTo>
                        <a:lnTo>
                          <a:pt x="115" y="136"/>
                        </a:lnTo>
                        <a:lnTo>
                          <a:pt x="113" y="138"/>
                        </a:lnTo>
                        <a:lnTo>
                          <a:pt x="112" y="140"/>
                        </a:lnTo>
                        <a:lnTo>
                          <a:pt x="112" y="140"/>
                        </a:lnTo>
                        <a:lnTo>
                          <a:pt x="108" y="143"/>
                        </a:lnTo>
                        <a:lnTo>
                          <a:pt x="103" y="145"/>
                        </a:lnTo>
                        <a:lnTo>
                          <a:pt x="99" y="147"/>
                        </a:lnTo>
                        <a:lnTo>
                          <a:pt x="105" y="148"/>
                        </a:lnTo>
                        <a:lnTo>
                          <a:pt x="105" y="148"/>
                        </a:lnTo>
                        <a:lnTo>
                          <a:pt x="110" y="148"/>
                        </a:lnTo>
                        <a:lnTo>
                          <a:pt x="113" y="148"/>
                        </a:lnTo>
                        <a:lnTo>
                          <a:pt x="117" y="147"/>
                        </a:lnTo>
                        <a:lnTo>
                          <a:pt x="119" y="145"/>
                        </a:lnTo>
                        <a:lnTo>
                          <a:pt x="120" y="143"/>
                        </a:lnTo>
                        <a:lnTo>
                          <a:pt x="126" y="145"/>
                        </a:lnTo>
                        <a:lnTo>
                          <a:pt x="131" y="147"/>
                        </a:lnTo>
                        <a:lnTo>
                          <a:pt x="131" y="147"/>
                        </a:lnTo>
                        <a:lnTo>
                          <a:pt x="143" y="152"/>
                        </a:lnTo>
                        <a:lnTo>
                          <a:pt x="148" y="157"/>
                        </a:lnTo>
                        <a:lnTo>
                          <a:pt x="152" y="162"/>
                        </a:lnTo>
                        <a:lnTo>
                          <a:pt x="157" y="168"/>
                        </a:lnTo>
                        <a:lnTo>
                          <a:pt x="157" y="168"/>
                        </a:lnTo>
                        <a:lnTo>
                          <a:pt x="160" y="169"/>
                        </a:lnTo>
                        <a:lnTo>
                          <a:pt x="162" y="173"/>
                        </a:lnTo>
                        <a:lnTo>
                          <a:pt x="162" y="180"/>
                        </a:lnTo>
                        <a:lnTo>
                          <a:pt x="164" y="190"/>
                        </a:lnTo>
                        <a:lnTo>
                          <a:pt x="169" y="204"/>
                        </a:lnTo>
                        <a:lnTo>
                          <a:pt x="169" y="204"/>
                        </a:lnTo>
                        <a:lnTo>
                          <a:pt x="176" y="216"/>
                        </a:lnTo>
                        <a:lnTo>
                          <a:pt x="178" y="222"/>
                        </a:lnTo>
                        <a:lnTo>
                          <a:pt x="183" y="223"/>
                        </a:lnTo>
                        <a:lnTo>
                          <a:pt x="190" y="225"/>
                        </a:lnTo>
                        <a:lnTo>
                          <a:pt x="190" y="225"/>
                        </a:lnTo>
                        <a:lnTo>
                          <a:pt x="195" y="229"/>
                        </a:lnTo>
                        <a:lnTo>
                          <a:pt x="199" y="230"/>
                        </a:lnTo>
                        <a:lnTo>
                          <a:pt x="202" y="235"/>
                        </a:lnTo>
                        <a:lnTo>
                          <a:pt x="204" y="241"/>
                        </a:lnTo>
                        <a:lnTo>
                          <a:pt x="206" y="242"/>
                        </a:lnTo>
                        <a:lnTo>
                          <a:pt x="209" y="244"/>
                        </a:lnTo>
                        <a:lnTo>
                          <a:pt x="209" y="244"/>
                        </a:lnTo>
                        <a:lnTo>
                          <a:pt x="213" y="246"/>
                        </a:lnTo>
                        <a:lnTo>
                          <a:pt x="214" y="248"/>
                        </a:lnTo>
                        <a:lnTo>
                          <a:pt x="214" y="251"/>
                        </a:lnTo>
                        <a:lnTo>
                          <a:pt x="214" y="256"/>
                        </a:lnTo>
                        <a:lnTo>
                          <a:pt x="214" y="262"/>
                        </a:lnTo>
                        <a:lnTo>
                          <a:pt x="218" y="265"/>
                        </a:lnTo>
                        <a:lnTo>
                          <a:pt x="218" y="265"/>
                        </a:lnTo>
                        <a:lnTo>
                          <a:pt x="223" y="274"/>
                        </a:lnTo>
                        <a:lnTo>
                          <a:pt x="225" y="276"/>
                        </a:lnTo>
                        <a:lnTo>
                          <a:pt x="223" y="277"/>
                        </a:lnTo>
                        <a:lnTo>
                          <a:pt x="220" y="276"/>
                        </a:lnTo>
                        <a:lnTo>
                          <a:pt x="214" y="272"/>
                        </a:lnTo>
                        <a:lnTo>
                          <a:pt x="214" y="272"/>
                        </a:lnTo>
                        <a:lnTo>
                          <a:pt x="209" y="270"/>
                        </a:lnTo>
                        <a:lnTo>
                          <a:pt x="206" y="270"/>
                        </a:lnTo>
                        <a:lnTo>
                          <a:pt x="207" y="272"/>
                        </a:lnTo>
                        <a:lnTo>
                          <a:pt x="214" y="277"/>
                        </a:lnTo>
                        <a:lnTo>
                          <a:pt x="214" y="277"/>
                        </a:lnTo>
                        <a:lnTo>
                          <a:pt x="223" y="284"/>
                        </a:lnTo>
                        <a:lnTo>
                          <a:pt x="230" y="293"/>
                        </a:lnTo>
                        <a:lnTo>
                          <a:pt x="232" y="300"/>
                        </a:lnTo>
                        <a:lnTo>
                          <a:pt x="232" y="303"/>
                        </a:lnTo>
                        <a:lnTo>
                          <a:pt x="228" y="305"/>
                        </a:lnTo>
                        <a:lnTo>
                          <a:pt x="228" y="305"/>
                        </a:lnTo>
                        <a:lnTo>
                          <a:pt x="225" y="309"/>
                        </a:lnTo>
                        <a:lnTo>
                          <a:pt x="221" y="310"/>
                        </a:lnTo>
                        <a:lnTo>
                          <a:pt x="220" y="314"/>
                        </a:lnTo>
                        <a:lnTo>
                          <a:pt x="223" y="316"/>
                        </a:lnTo>
                        <a:lnTo>
                          <a:pt x="223" y="316"/>
                        </a:lnTo>
                        <a:lnTo>
                          <a:pt x="227" y="316"/>
                        </a:lnTo>
                        <a:lnTo>
                          <a:pt x="228" y="319"/>
                        </a:lnTo>
                        <a:lnTo>
                          <a:pt x="232" y="319"/>
                        </a:lnTo>
                        <a:lnTo>
                          <a:pt x="235" y="314"/>
                        </a:lnTo>
                        <a:lnTo>
                          <a:pt x="235" y="314"/>
                        </a:lnTo>
                        <a:lnTo>
                          <a:pt x="239" y="310"/>
                        </a:lnTo>
                        <a:lnTo>
                          <a:pt x="244" y="309"/>
                        </a:lnTo>
                        <a:lnTo>
                          <a:pt x="251" y="309"/>
                        </a:lnTo>
                        <a:lnTo>
                          <a:pt x="260" y="310"/>
                        </a:lnTo>
                        <a:lnTo>
                          <a:pt x="267" y="314"/>
                        </a:lnTo>
                        <a:lnTo>
                          <a:pt x="274" y="319"/>
                        </a:lnTo>
                        <a:lnTo>
                          <a:pt x="279" y="324"/>
                        </a:lnTo>
                        <a:lnTo>
                          <a:pt x="281" y="333"/>
                        </a:lnTo>
                        <a:lnTo>
                          <a:pt x="281" y="333"/>
                        </a:lnTo>
                        <a:lnTo>
                          <a:pt x="281" y="343"/>
                        </a:lnTo>
                        <a:lnTo>
                          <a:pt x="277" y="350"/>
                        </a:lnTo>
                        <a:lnTo>
                          <a:pt x="274" y="356"/>
                        </a:lnTo>
                        <a:lnTo>
                          <a:pt x="270" y="359"/>
                        </a:lnTo>
                        <a:lnTo>
                          <a:pt x="265" y="364"/>
                        </a:lnTo>
                        <a:lnTo>
                          <a:pt x="263" y="366"/>
                        </a:lnTo>
                        <a:lnTo>
                          <a:pt x="265" y="368"/>
                        </a:lnTo>
                        <a:lnTo>
                          <a:pt x="265" y="368"/>
                        </a:lnTo>
                        <a:lnTo>
                          <a:pt x="267" y="370"/>
                        </a:lnTo>
                        <a:lnTo>
                          <a:pt x="265" y="371"/>
                        </a:lnTo>
                        <a:lnTo>
                          <a:pt x="261" y="371"/>
                        </a:lnTo>
                        <a:lnTo>
                          <a:pt x="254" y="371"/>
                        </a:lnTo>
                        <a:lnTo>
                          <a:pt x="253" y="371"/>
                        </a:lnTo>
                        <a:lnTo>
                          <a:pt x="249" y="373"/>
                        </a:lnTo>
                        <a:lnTo>
                          <a:pt x="249" y="373"/>
                        </a:lnTo>
                        <a:lnTo>
                          <a:pt x="249" y="375"/>
                        </a:lnTo>
                        <a:lnTo>
                          <a:pt x="251" y="375"/>
                        </a:lnTo>
                        <a:lnTo>
                          <a:pt x="253" y="377"/>
                        </a:lnTo>
                        <a:lnTo>
                          <a:pt x="251" y="382"/>
                        </a:lnTo>
                        <a:lnTo>
                          <a:pt x="251" y="382"/>
                        </a:lnTo>
                        <a:lnTo>
                          <a:pt x="249" y="383"/>
                        </a:lnTo>
                        <a:lnTo>
                          <a:pt x="247" y="383"/>
                        </a:lnTo>
                        <a:lnTo>
                          <a:pt x="240" y="385"/>
                        </a:lnTo>
                        <a:lnTo>
                          <a:pt x="237" y="385"/>
                        </a:lnTo>
                        <a:lnTo>
                          <a:pt x="237" y="387"/>
                        </a:lnTo>
                        <a:lnTo>
                          <a:pt x="239" y="387"/>
                        </a:lnTo>
                        <a:lnTo>
                          <a:pt x="239" y="387"/>
                        </a:lnTo>
                        <a:lnTo>
                          <a:pt x="242" y="390"/>
                        </a:lnTo>
                        <a:lnTo>
                          <a:pt x="242" y="390"/>
                        </a:lnTo>
                        <a:lnTo>
                          <a:pt x="242" y="392"/>
                        </a:lnTo>
                        <a:lnTo>
                          <a:pt x="247" y="394"/>
                        </a:lnTo>
                        <a:lnTo>
                          <a:pt x="247" y="394"/>
                        </a:lnTo>
                        <a:lnTo>
                          <a:pt x="254" y="394"/>
                        </a:lnTo>
                        <a:lnTo>
                          <a:pt x="261" y="392"/>
                        </a:lnTo>
                        <a:lnTo>
                          <a:pt x="268" y="392"/>
                        </a:lnTo>
                        <a:lnTo>
                          <a:pt x="268" y="392"/>
                        </a:lnTo>
                        <a:lnTo>
                          <a:pt x="268" y="394"/>
                        </a:lnTo>
                        <a:lnTo>
                          <a:pt x="268" y="394"/>
                        </a:lnTo>
                        <a:lnTo>
                          <a:pt x="268" y="397"/>
                        </a:lnTo>
                        <a:lnTo>
                          <a:pt x="268" y="401"/>
                        </a:lnTo>
                        <a:lnTo>
                          <a:pt x="267" y="404"/>
                        </a:lnTo>
                        <a:lnTo>
                          <a:pt x="260" y="408"/>
                        </a:lnTo>
                        <a:lnTo>
                          <a:pt x="260" y="408"/>
                        </a:lnTo>
                        <a:lnTo>
                          <a:pt x="254" y="411"/>
                        </a:lnTo>
                        <a:lnTo>
                          <a:pt x="253" y="415"/>
                        </a:lnTo>
                        <a:lnTo>
                          <a:pt x="251" y="417"/>
                        </a:lnTo>
                        <a:lnTo>
                          <a:pt x="247" y="418"/>
                        </a:lnTo>
                        <a:lnTo>
                          <a:pt x="247" y="418"/>
                        </a:lnTo>
                        <a:lnTo>
                          <a:pt x="240" y="420"/>
                        </a:lnTo>
                        <a:lnTo>
                          <a:pt x="234" y="424"/>
                        </a:lnTo>
                        <a:lnTo>
                          <a:pt x="227" y="425"/>
                        </a:lnTo>
                        <a:lnTo>
                          <a:pt x="223" y="425"/>
                        </a:lnTo>
                        <a:lnTo>
                          <a:pt x="218" y="424"/>
                        </a:lnTo>
                        <a:lnTo>
                          <a:pt x="218" y="424"/>
                        </a:lnTo>
                        <a:lnTo>
                          <a:pt x="213" y="422"/>
                        </a:lnTo>
                        <a:lnTo>
                          <a:pt x="207" y="422"/>
                        </a:lnTo>
                        <a:lnTo>
                          <a:pt x="199" y="424"/>
                        </a:lnTo>
                        <a:lnTo>
                          <a:pt x="192" y="425"/>
                        </a:lnTo>
                        <a:lnTo>
                          <a:pt x="188" y="425"/>
                        </a:lnTo>
                        <a:lnTo>
                          <a:pt x="186" y="425"/>
                        </a:lnTo>
                        <a:lnTo>
                          <a:pt x="186" y="425"/>
                        </a:lnTo>
                        <a:lnTo>
                          <a:pt x="185" y="424"/>
                        </a:lnTo>
                        <a:lnTo>
                          <a:pt x="183" y="424"/>
                        </a:lnTo>
                        <a:lnTo>
                          <a:pt x="181" y="425"/>
                        </a:lnTo>
                        <a:lnTo>
                          <a:pt x="176" y="424"/>
                        </a:lnTo>
                        <a:lnTo>
                          <a:pt x="176" y="424"/>
                        </a:lnTo>
                        <a:lnTo>
                          <a:pt x="173" y="422"/>
                        </a:lnTo>
                        <a:lnTo>
                          <a:pt x="171" y="422"/>
                        </a:lnTo>
                        <a:lnTo>
                          <a:pt x="169" y="425"/>
                        </a:lnTo>
                        <a:lnTo>
                          <a:pt x="160" y="427"/>
                        </a:lnTo>
                        <a:lnTo>
                          <a:pt x="160" y="427"/>
                        </a:lnTo>
                        <a:lnTo>
                          <a:pt x="152" y="429"/>
                        </a:lnTo>
                        <a:lnTo>
                          <a:pt x="150" y="432"/>
                        </a:lnTo>
                        <a:lnTo>
                          <a:pt x="148" y="434"/>
                        </a:lnTo>
                        <a:lnTo>
                          <a:pt x="143" y="434"/>
                        </a:lnTo>
                        <a:lnTo>
                          <a:pt x="143" y="434"/>
                        </a:lnTo>
                        <a:lnTo>
                          <a:pt x="138" y="432"/>
                        </a:lnTo>
                        <a:lnTo>
                          <a:pt x="136" y="434"/>
                        </a:lnTo>
                        <a:lnTo>
                          <a:pt x="134" y="436"/>
                        </a:lnTo>
                        <a:lnTo>
                          <a:pt x="133" y="436"/>
                        </a:lnTo>
                        <a:lnTo>
                          <a:pt x="131" y="436"/>
                        </a:lnTo>
                        <a:lnTo>
                          <a:pt x="126" y="430"/>
                        </a:lnTo>
                        <a:lnTo>
                          <a:pt x="126" y="430"/>
                        </a:lnTo>
                        <a:lnTo>
                          <a:pt x="122" y="427"/>
                        </a:lnTo>
                        <a:lnTo>
                          <a:pt x="119" y="427"/>
                        </a:lnTo>
                        <a:lnTo>
                          <a:pt x="113" y="427"/>
                        </a:lnTo>
                        <a:lnTo>
                          <a:pt x="110" y="429"/>
                        </a:lnTo>
                        <a:lnTo>
                          <a:pt x="105" y="432"/>
                        </a:lnTo>
                        <a:lnTo>
                          <a:pt x="101" y="432"/>
                        </a:lnTo>
                        <a:lnTo>
                          <a:pt x="99" y="432"/>
                        </a:lnTo>
                        <a:lnTo>
                          <a:pt x="99" y="432"/>
                        </a:lnTo>
                        <a:lnTo>
                          <a:pt x="98" y="432"/>
                        </a:lnTo>
                        <a:lnTo>
                          <a:pt x="96" y="436"/>
                        </a:lnTo>
                        <a:lnTo>
                          <a:pt x="94" y="444"/>
                        </a:lnTo>
                        <a:lnTo>
                          <a:pt x="92" y="451"/>
                        </a:lnTo>
                        <a:lnTo>
                          <a:pt x="89" y="453"/>
                        </a:lnTo>
                        <a:lnTo>
                          <a:pt x="86" y="453"/>
                        </a:lnTo>
                        <a:lnTo>
                          <a:pt x="86" y="453"/>
                        </a:lnTo>
                        <a:lnTo>
                          <a:pt x="75" y="446"/>
                        </a:lnTo>
                        <a:lnTo>
                          <a:pt x="70" y="444"/>
                        </a:lnTo>
                        <a:lnTo>
                          <a:pt x="63" y="446"/>
                        </a:lnTo>
                        <a:lnTo>
                          <a:pt x="63" y="446"/>
                        </a:lnTo>
                        <a:lnTo>
                          <a:pt x="54" y="448"/>
                        </a:lnTo>
                        <a:lnTo>
                          <a:pt x="51" y="451"/>
                        </a:lnTo>
                        <a:lnTo>
                          <a:pt x="47" y="453"/>
                        </a:lnTo>
                        <a:lnTo>
                          <a:pt x="44" y="457"/>
                        </a:lnTo>
                        <a:lnTo>
                          <a:pt x="44" y="457"/>
                        </a:lnTo>
                        <a:lnTo>
                          <a:pt x="40" y="458"/>
                        </a:lnTo>
                        <a:lnTo>
                          <a:pt x="40" y="460"/>
                        </a:lnTo>
                        <a:lnTo>
                          <a:pt x="38" y="464"/>
                        </a:lnTo>
                        <a:lnTo>
                          <a:pt x="37" y="465"/>
                        </a:lnTo>
                        <a:lnTo>
                          <a:pt x="37" y="465"/>
                        </a:lnTo>
                        <a:lnTo>
                          <a:pt x="35" y="465"/>
                        </a:lnTo>
                        <a:lnTo>
                          <a:pt x="33" y="465"/>
                        </a:lnTo>
                        <a:lnTo>
                          <a:pt x="30" y="462"/>
                        </a:lnTo>
                        <a:lnTo>
                          <a:pt x="26" y="460"/>
                        </a:lnTo>
                        <a:lnTo>
                          <a:pt x="25" y="460"/>
                        </a:lnTo>
                        <a:lnTo>
                          <a:pt x="23" y="460"/>
                        </a:lnTo>
                        <a:lnTo>
                          <a:pt x="23" y="460"/>
                        </a:lnTo>
                        <a:lnTo>
                          <a:pt x="19" y="462"/>
                        </a:lnTo>
                        <a:lnTo>
                          <a:pt x="18" y="462"/>
                        </a:lnTo>
                        <a:lnTo>
                          <a:pt x="18" y="458"/>
                        </a:lnTo>
                        <a:lnTo>
                          <a:pt x="18" y="455"/>
                        </a:lnTo>
                        <a:lnTo>
                          <a:pt x="19" y="453"/>
                        </a:lnTo>
                        <a:lnTo>
                          <a:pt x="23" y="451"/>
                        </a:lnTo>
                        <a:lnTo>
                          <a:pt x="26" y="451"/>
                        </a:lnTo>
                        <a:lnTo>
                          <a:pt x="26" y="451"/>
                        </a:lnTo>
                        <a:lnTo>
                          <a:pt x="30" y="451"/>
                        </a:lnTo>
                        <a:lnTo>
                          <a:pt x="33" y="450"/>
                        </a:lnTo>
                        <a:lnTo>
                          <a:pt x="38" y="444"/>
                        </a:lnTo>
                        <a:lnTo>
                          <a:pt x="42" y="439"/>
                        </a:lnTo>
                        <a:lnTo>
                          <a:pt x="47" y="434"/>
                        </a:lnTo>
                        <a:lnTo>
                          <a:pt x="47" y="434"/>
                        </a:lnTo>
                        <a:lnTo>
                          <a:pt x="51" y="432"/>
                        </a:lnTo>
                        <a:lnTo>
                          <a:pt x="52" y="430"/>
                        </a:lnTo>
                        <a:lnTo>
                          <a:pt x="52" y="427"/>
                        </a:lnTo>
                        <a:lnTo>
                          <a:pt x="56" y="424"/>
                        </a:lnTo>
                        <a:lnTo>
                          <a:pt x="56" y="424"/>
                        </a:lnTo>
                        <a:lnTo>
                          <a:pt x="58" y="422"/>
                        </a:lnTo>
                        <a:lnTo>
                          <a:pt x="58" y="420"/>
                        </a:lnTo>
                        <a:lnTo>
                          <a:pt x="58" y="417"/>
                        </a:lnTo>
                        <a:lnTo>
                          <a:pt x="59" y="413"/>
                        </a:lnTo>
                        <a:lnTo>
                          <a:pt x="61" y="411"/>
                        </a:lnTo>
                        <a:lnTo>
                          <a:pt x="65" y="411"/>
                        </a:lnTo>
                        <a:lnTo>
                          <a:pt x="65" y="411"/>
                        </a:lnTo>
                        <a:lnTo>
                          <a:pt x="68" y="410"/>
                        </a:lnTo>
                        <a:lnTo>
                          <a:pt x="70" y="408"/>
                        </a:lnTo>
                        <a:lnTo>
                          <a:pt x="70" y="404"/>
                        </a:lnTo>
                        <a:lnTo>
                          <a:pt x="70" y="403"/>
                        </a:lnTo>
                        <a:lnTo>
                          <a:pt x="70" y="401"/>
                        </a:lnTo>
                        <a:lnTo>
                          <a:pt x="73" y="401"/>
                        </a:lnTo>
                        <a:lnTo>
                          <a:pt x="79" y="401"/>
                        </a:lnTo>
                        <a:lnTo>
                          <a:pt x="79" y="401"/>
                        </a:lnTo>
                        <a:lnTo>
                          <a:pt x="89" y="401"/>
                        </a:lnTo>
                        <a:lnTo>
                          <a:pt x="94" y="403"/>
                        </a:lnTo>
                        <a:lnTo>
                          <a:pt x="99" y="403"/>
                        </a:lnTo>
                        <a:lnTo>
                          <a:pt x="106" y="403"/>
                        </a:lnTo>
                        <a:lnTo>
                          <a:pt x="106" y="403"/>
                        </a:lnTo>
                        <a:lnTo>
                          <a:pt x="113" y="401"/>
                        </a:lnTo>
                        <a:lnTo>
                          <a:pt x="115" y="397"/>
                        </a:lnTo>
                        <a:lnTo>
                          <a:pt x="117" y="390"/>
                        </a:lnTo>
                        <a:lnTo>
                          <a:pt x="122" y="387"/>
                        </a:lnTo>
                        <a:lnTo>
                          <a:pt x="129" y="382"/>
                        </a:lnTo>
                        <a:lnTo>
                          <a:pt x="129" y="382"/>
                        </a:lnTo>
                        <a:lnTo>
                          <a:pt x="131" y="378"/>
                        </a:lnTo>
                        <a:lnTo>
                          <a:pt x="136" y="373"/>
                        </a:lnTo>
                        <a:lnTo>
                          <a:pt x="136" y="373"/>
                        </a:lnTo>
                        <a:lnTo>
                          <a:pt x="129" y="377"/>
                        </a:lnTo>
                        <a:lnTo>
                          <a:pt x="124" y="380"/>
                        </a:lnTo>
                        <a:lnTo>
                          <a:pt x="120" y="382"/>
                        </a:lnTo>
                        <a:lnTo>
                          <a:pt x="115" y="383"/>
                        </a:lnTo>
                        <a:lnTo>
                          <a:pt x="115" y="383"/>
                        </a:lnTo>
                        <a:lnTo>
                          <a:pt x="113" y="383"/>
                        </a:lnTo>
                        <a:lnTo>
                          <a:pt x="110" y="387"/>
                        </a:lnTo>
                        <a:lnTo>
                          <a:pt x="105" y="390"/>
                        </a:lnTo>
                        <a:lnTo>
                          <a:pt x="101" y="394"/>
                        </a:lnTo>
                        <a:lnTo>
                          <a:pt x="98" y="394"/>
                        </a:lnTo>
                        <a:lnTo>
                          <a:pt x="94" y="392"/>
                        </a:lnTo>
                        <a:lnTo>
                          <a:pt x="91" y="389"/>
                        </a:lnTo>
                        <a:lnTo>
                          <a:pt x="91" y="389"/>
                        </a:lnTo>
                        <a:lnTo>
                          <a:pt x="86" y="385"/>
                        </a:lnTo>
                        <a:lnTo>
                          <a:pt x="80" y="383"/>
                        </a:lnTo>
                        <a:lnTo>
                          <a:pt x="77" y="383"/>
                        </a:lnTo>
                        <a:lnTo>
                          <a:pt x="73" y="383"/>
                        </a:lnTo>
                        <a:lnTo>
                          <a:pt x="68" y="385"/>
                        </a:lnTo>
                        <a:lnTo>
                          <a:pt x="68" y="383"/>
                        </a:lnTo>
                        <a:lnTo>
                          <a:pt x="68" y="382"/>
                        </a:lnTo>
                        <a:lnTo>
                          <a:pt x="68" y="382"/>
                        </a:lnTo>
                        <a:lnTo>
                          <a:pt x="68" y="377"/>
                        </a:lnTo>
                        <a:lnTo>
                          <a:pt x="65" y="375"/>
                        </a:lnTo>
                        <a:lnTo>
                          <a:pt x="59" y="375"/>
                        </a:lnTo>
                        <a:lnTo>
                          <a:pt x="52" y="378"/>
                        </a:lnTo>
                        <a:lnTo>
                          <a:pt x="52" y="378"/>
                        </a:lnTo>
                        <a:lnTo>
                          <a:pt x="45" y="380"/>
                        </a:lnTo>
                        <a:lnTo>
                          <a:pt x="40" y="380"/>
                        </a:lnTo>
                        <a:lnTo>
                          <a:pt x="37" y="377"/>
                        </a:lnTo>
                        <a:lnTo>
                          <a:pt x="37" y="373"/>
                        </a:lnTo>
                        <a:lnTo>
                          <a:pt x="37" y="373"/>
                        </a:lnTo>
                        <a:lnTo>
                          <a:pt x="38" y="371"/>
                        </a:lnTo>
                        <a:lnTo>
                          <a:pt x="38" y="370"/>
                        </a:lnTo>
                        <a:lnTo>
                          <a:pt x="35" y="368"/>
                        </a:lnTo>
                        <a:lnTo>
                          <a:pt x="33" y="368"/>
                        </a:lnTo>
                        <a:lnTo>
                          <a:pt x="33" y="366"/>
                        </a:lnTo>
                        <a:lnTo>
                          <a:pt x="35" y="363"/>
                        </a:lnTo>
                        <a:lnTo>
                          <a:pt x="35" y="363"/>
                        </a:lnTo>
                        <a:lnTo>
                          <a:pt x="40" y="359"/>
                        </a:lnTo>
                        <a:lnTo>
                          <a:pt x="45" y="357"/>
                        </a:lnTo>
                        <a:lnTo>
                          <a:pt x="52" y="357"/>
                        </a:lnTo>
                        <a:lnTo>
                          <a:pt x="65" y="350"/>
                        </a:lnTo>
                        <a:lnTo>
                          <a:pt x="65" y="350"/>
                        </a:lnTo>
                        <a:lnTo>
                          <a:pt x="70" y="347"/>
                        </a:lnTo>
                        <a:lnTo>
                          <a:pt x="73" y="342"/>
                        </a:lnTo>
                        <a:lnTo>
                          <a:pt x="75" y="338"/>
                        </a:lnTo>
                        <a:lnTo>
                          <a:pt x="75" y="336"/>
                        </a:lnTo>
                        <a:lnTo>
                          <a:pt x="75" y="329"/>
                        </a:lnTo>
                        <a:lnTo>
                          <a:pt x="75" y="328"/>
                        </a:lnTo>
                        <a:lnTo>
                          <a:pt x="75" y="324"/>
                        </a:lnTo>
                        <a:lnTo>
                          <a:pt x="75" y="324"/>
                        </a:lnTo>
                        <a:lnTo>
                          <a:pt x="77" y="321"/>
                        </a:lnTo>
                        <a:lnTo>
                          <a:pt x="75" y="319"/>
                        </a:lnTo>
                        <a:lnTo>
                          <a:pt x="73" y="317"/>
                        </a:lnTo>
                        <a:lnTo>
                          <a:pt x="75" y="314"/>
                        </a:lnTo>
                        <a:lnTo>
                          <a:pt x="75" y="314"/>
                        </a:lnTo>
                        <a:lnTo>
                          <a:pt x="75" y="312"/>
                        </a:lnTo>
                        <a:lnTo>
                          <a:pt x="75" y="312"/>
                        </a:lnTo>
                        <a:lnTo>
                          <a:pt x="70" y="314"/>
                        </a:lnTo>
                        <a:lnTo>
                          <a:pt x="63" y="317"/>
                        </a:lnTo>
                        <a:lnTo>
                          <a:pt x="59" y="319"/>
                        </a:lnTo>
                        <a:lnTo>
                          <a:pt x="58" y="319"/>
                        </a:lnTo>
                        <a:lnTo>
                          <a:pt x="58" y="319"/>
                        </a:lnTo>
                        <a:lnTo>
                          <a:pt x="54" y="319"/>
                        </a:lnTo>
                        <a:lnTo>
                          <a:pt x="51" y="321"/>
                        </a:lnTo>
                        <a:lnTo>
                          <a:pt x="51" y="321"/>
                        </a:lnTo>
                        <a:lnTo>
                          <a:pt x="52" y="316"/>
                        </a:lnTo>
                        <a:lnTo>
                          <a:pt x="52" y="316"/>
                        </a:lnTo>
                        <a:lnTo>
                          <a:pt x="56" y="312"/>
                        </a:lnTo>
                        <a:lnTo>
                          <a:pt x="59" y="310"/>
                        </a:lnTo>
                        <a:lnTo>
                          <a:pt x="65" y="307"/>
                        </a:lnTo>
                        <a:lnTo>
                          <a:pt x="70" y="300"/>
                        </a:lnTo>
                        <a:lnTo>
                          <a:pt x="70" y="300"/>
                        </a:lnTo>
                        <a:lnTo>
                          <a:pt x="73" y="296"/>
                        </a:lnTo>
                        <a:lnTo>
                          <a:pt x="77" y="295"/>
                        </a:lnTo>
                        <a:lnTo>
                          <a:pt x="80" y="293"/>
                        </a:lnTo>
                        <a:lnTo>
                          <a:pt x="82" y="291"/>
                        </a:lnTo>
                        <a:lnTo>
                          <a:pt x="82" y="291"/>
                        </a:lnTo>
                        <a:lnTo>
                          <a:pt x="86" y="291"/>
                        </a:lnTo>
                        <a:lnTo>
                          <a:pt x="87" y="293"/>
                        </a:lnTo>
                        <a:lnTo>
                          <a:pt x="91" y="293"/>
                        </a:lnTo>
                        <a:lnTo>
                          <a:pt x="96" y="291"/>
                        </a:lnTo>
                        <a:lnTo>
                          <a:pt x="96" y="291"/>
                        </a:lnTo>
                        <a:lnTo>
                          <a:pt x="99" y="289"/>
                        </a:lnTo>
                        <a:lnTo>
                          <a:pt x="103" y="289"/>
                        </a:lnTo>
                        <a:lnTo>
                          <a:pt x="108" y="293"/>
                        </a:lnTo>
                        <a:lnTo>
                          <a:pt x="110" y="295"/>
                        </a:lnTo>
                        <a:lnTo>
                          <a:pt x="108" y="291"/>
                        </a:lnTo>
                        <a:lnTo>
                          <a:pt x="108" y="291"/>
                        </a:lnTo>
                        <a:lnTo>
                          <a:pt x="106" y="288"/>
                        </a:lnTo>
                        <a:lnTo>
                          <a:pt x="108" y="286"/>
                        </a:lnTo>
                        <a:lnTo>
                          <a:pt x="112" y="288"/>
                        </a:lnTo>
                        <a:lnTo>
                          <a:pt x="115" y="289"/>
                        </a:lnTo>
                        <a:lnTo>
                          <a:pt x="115" y="289"/>
                        </a:lnTo>
                        <a:lnTo>
                          <a:pt x="119" y="293"/>
                        </a:lnTo>
                        <a:lnTo>
                          <a:pt x="115" y="284"/>
                        </a:lnTo>
                        <a:lnTo>
                          <a:pt x="115" y="284"/>
                        </a:lnTo>
                        <a:lnTo>
                          <a:pt x="112" y="279"/>
                        </a:lnTo>
                        <a:lnTo>
                          <a:pt x="112" y="276"/>
                        </a:lnTo>
                        <a:lnTo>
                          <a:pt x="112" y="274"/>
                        </a:lnTo>
                        <a:lnTo>
                          <a:pt x="113" y="272"/>
                        </a:lnTo>
                        <a:lnTo>
                          <a:pt x="115" y="270"/>
                        </a:lnTo>
                        <a:lnTo>
                          <a:pt x="115" y="269"/>
                        </a:lnTo>
                        <a:lnTo>
                          <a:pt x="115" y="269"/>
                        </a:lnTo>
                        <a:lnTo>
                          <a:pt x="115" y="269"/>
                        </a:lnTo>
                        <a:lnTo>
                          <a:pt x="112" y="267"/>
                        </a:lnTo>
                        <a:lnTo>
                          <a:pt x="110" y="265"/>
                        </a:lnTo>
                        <a:lnTo>
                          <a:pt x="112" y="262"/>
                        </a:lnTo>
                        <a:lnTo>
                          <a:pt x="113" y="260"/>
                        </a:lnTo>
                        <a:lnTo>
                          <a:pt x="117" y="258"/>
                        </a:lnTo>
                        <a:lnTo>
                          <a:pt x="119" y="256"/>
                        </a:lnTo>
                        <a:lnTo>
                          <a:pt x="117" y="255"/>
                        </a:lnTo>
                        <a:lnTo>
                          <a:pt x="117" y="255"/>
                        </a:lnTo>
                        <a:lnTo>
                          <a:pt x="117" y="255"/>
                        </a:lnTo>
                        <a:lnTo>
                          <a:pt x="117" y="253"/>
                        </a:lnTo>
                        <a:lnTo>
                          <a:pt x="119" y="249"/>
                        </a:lnTo>
                        <a:lnTo>
                          <a:pt x="119" y="246"/>
                        </a:lnTo>
                        <a:lnTo>
                          <a:pt x="119" y="246"/>
                        </a:lnTo>
                        <a:lnTo>
                          <a:pt x="117" y="244"/>
                        </a:lnTo>
                        <a:lnTo>
                          <a:pt x="117" y="244"/>
                        </a:lnTo>
                        <a:lnTo>
                          <a:pt x="113" y="246"/>
                        </a:lnTo>
                        <a:lnTo>
                          <a:pt x="112" y="246"/>
                        </a:lnTo>
                        <a:lnTo>
                          <a:pt x="110" y="249"/>
                        </a:lnTo>
                        <a:lnTo>
                          <a:pt x="106" y="251"/>
                        </a:lnTo>
                        <a:lnTo>
                          <a:pt x="105" y="248"/>
                        </a:lnTo>
                        <a:lnTo>
                          <a:pt x="105" y="248"/>
                        </a:lnTo>
                        <a:lnTo>
                          <a:pt x="99" y="241"/>
                        </a:lnTo>
                        <a:lnTo>
                          <a:pt x="92" y="235"/>
                        </a:lnTo>
                        <a:lnTo>
                          <a:pt x="91" y="232"/>
                        </a:lnTo>
                        <a:lnTo>
                          <a:pt x="91" y="229"/>
                        </a:lnTo>
                        <a:lnTo>
                          <a:pt x="92" y="223"/>
                        </a:lnTo>
                        <a:lnTo>
                          <a:pt x="94" y="216"/>
                        </a:lnTo>
                        <a:lnTo>
                          <a:pt x="94" y="216"/>
                        </a:lnTo>
                        <a:lnTo>
                          <a:pt x="101" y="208"/>
                        </a:lnTo>
                        <a:lnTo>
                          <a:pt x="105" y="204"/>
                        </a:lnTo>
                        <a:lnTo>
                          <a:pt x="105" y="204"/>
                        </a:lnTo>
                        <a:lnTo>
                          <a:pt x="105" y="202"/>
                        </a:lnTo>
                        <a:lnTo>
                          <a:pt x="105" y="202"/>
                        </a:lnTo>
                        <a:lnTo>
                          <a:pt x="101" y="202"/>
                        </a:lnTo>
                        <a:lnTo>
                          <a:pt x="96" y="202"/>
                        </a:lnTo>
                        <a:lnTo>
                          <a:pt x="94" y="204"/>
                        </a:lnTo>
                        <a:lnTo>
                          <a:pt x="94" y="20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9" name="Freeform 2085">
                    <a:extLst>
                      <a:ext uri="{FF2B5EF4-FFF2-40B4-BE49-F238E27FC236}">
                        <a16:creationId xmlns:a16="http://schemas.microsoft.com/office/drawing/2014/main" id="{499F14EE-73D9-D28E-3F8E-0960131CC56C}"/>
                      </a:ext>
                    </a:extLst>
                  </p:cNvPr>
                  <p:cNvSpPr>
                    <a:spLocks/>
                  </p:cNvSpPr>
                  <p:nvPr/>
                </p:nvSpPr>
                <p:spPr bwMode="auto">
                  <a:xfrm>
                    <a:off x="3892550" y="2336800"/>
                    <a:ext cx="12700" cy="6350"/>
                  </a:xfrm>
                  <a:custGeom>
                    <a:avLst/>
                    <a:gdLst/>
                    <a:ahLst/>
                    <a:cxnLst>
                      <a:cxn ang="0">
                        <a:pos x="2" y="4"/>
                      </a:cxn>
                      <a:cxn ang="0">
                        <a:pos x="2" y="4"/>
                      </a:cxn>
                      <a:cxn ang="0">
                        <a:pos x="3" y="2"/>
                      </a:cxn>
                      <a:cxn ang="0">
                        <a:pos x="7" y="0"/>
                      </a:cxn>
                      <a:cxn ang="0">
                        <a:pos x="12" y="0"/>
                      </a:cxn>
                      <a:cxn ang="0">
                        <a:pos x="12" y="0"/>
                      </a:cxn>
                      <a:cxn ang="0">
                        <a:pos x="14" y="0"/>
                      </a:cxn>
                      <a:cxn ang="0">
                        <a:pos x="16" y="0"/>
                      </a:cxn>
                      <a:cxn ang="0">
                        <a:pos x="17" y="2"/>
                      </a:cxn>
                      <a:cxn ang="0">
                        <a:pos x="16" y="6"/>
                      </a:cxn>
                      <a:cxn ang="0">
                        <a:pos x="16" y="6"/>
                      </a:cxn>
                      <a:cxn ang="0">
                        <a:pos x="14" y="7"/>
                      </a:cxn>
                      <a:cxn ang="0">
                        <a:pos x="12" y="9"/>
                      </a:cxn>
                      <a:cxn ang="0">
                        <a:pos x="7" y="7"/>
                      </a:cxn>
                      <a:cxn ang="0">
                        <a:pos x="2" y="6"/>
                      </a:cxn>
                      <a:cxn ang="0">
                        <a:pos x="0" y="4"/>
                      </a:cxn>
                      <a:cxn ang="0">
                        <a:pos x="2" y="4"/>
                      </a:cxn>
                    </a:cxnLst>
                    <a:rect l="0" t="0" r="r" b="b"/>
                    <a:pathLst>
                      <a:path w="17" h="9">
                        <a:moveTo>
                          <a:pt x="2" y="4"/>
                        </a:moveTo>
                        <a:lnTo>
                          <a:pt x="2" y="4"/>
                        </a:lnTo>
                        <a:lnTo>
                          <a:pt x="3" y="2"/>
                        </a:lnTo>
                        <a:lnTo>
                          <a:pt x="7" y="0"/>
                        </a:lnTo>
                        <a:lnTo>
                          <a:pt x="12" y="0"/>
                        </a:lnTo>
                        <a:lnTo>
                          <a:pt x="12" y="0"/>
                        </a:lnTo>
                        <a:lnTo>
                          <a:pt x="14" y="0"/>
                        </a:lnTo>
                        <a:lnTo>
                          <a:pt x="16" y="0"/>
                        </a:lnTo>
                        <a:lnTo>
                          <a:pt x="17" y="2"/>
                        </a:lnTo>
                        <a:lnTo>
                          <a:pt x="16" y="6"/>
                        </a:lnTo>
                        <a:lnTo>
                          <a:pt x="16" y="6"/>
                        </a:lnTo>
                        <a:lnTo>
                          <a:pt x="14" y="7"/>
                        </a:lnTo>
                        <a:lnTo>
                          <a:pt x="12" y="9"/>
                        </a:lnTo>
                        <a:lnTo>
                          <a:pt x="7" y="7"/>
                        </a:lnTo>
                        <a:lnTo>
                          <a:pt x="2" y="6"/>
                        </a:lnTo>
                        <a:lnTo>
                          <a:pt x="0" y="4"/>
                        </a:lnTo>
                        <a:lnTo>
                          <a:pt x="2" y="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03" name="Freeform 2086">
                  <a:extLst>
                    <a:ext uri="{FF2B5EF4-FFF2-40B4-BE49-F238E27FC236}">
                      <a16:creationId xmlns:a16="http://schemas.microsoft.com/office/drawing/2014/main" id="{7762742D-0BE9-2931-39E0-53AD8F3FE749}"/>
                    </a:ext>
                  </a:extLst>
                </p:cNvPr>
                <p:cNvSpPr>
                  <a:spLocks/>
                </p:cNvSpPr>
                <p:nvPr/>
              </p:nvSpPr>
              <p:spPr bwMode="auto">
                <a:xfrm>
                  <a:off x="4628118" y="2307510"/>
                  <a:ext cx="15857" cy="12334"/>
                </a:xfrm>
                <a:custGeom>
                  <a:avLst/>
                  <a:gdLst/>
                  <a:ahLst/>
                  <a:cxnLst>
                    <a:cxn ang="0">
                      <a:pos x="0" y="10"/>
                    </a:cxn>
                    <a:cxn ang="0">
                      <a:pos x="0" y="10"/>
                    </a:cxn>
                    <a:cxn ang="0">
                      <a:pos x="0" y="7"/>
                    </a:cxn>
                    <a:cxn ang="0">
                      <a:pos x="0" y="3"/>
                    </a:cxn>
                    <a:cxn ang="0">
                      <a:pos x="2" y="0"/>
                    </a:cxn>
                    <a:cxn ang="0">
                      <a:pos x="5" y="0"/>
                    </a:cxn>
                    <a:cxn ang="0">
                      <a:pos x="5" y="0"/>
                    </a:cxn>
                    <a:cxn ang="0">
                      <a:pos x="10" y="1"/>
                    </a:cxn>
                    <a:cxn ang="0">
                      <a:pos x="10" y="3"/>
                    </a:cxn>
                    <a:cxn ang="0">
                      <a:pos x="9" y="7"/>
                    </a:cxn>
                    <a:cxn ang="0">
                      <a:pos x="9" y="7"/>
                    </a:cxn>
                    <a:cxn ang="0">
                      <a:pos x="9" y="8"/>
                    </a:cxn>
                    <a:cxn ang="0">
                      <a:pos x="10" y="8"/>
                    </a:cxn>
                    <a:cxn ang="0">
                      <a:pos x="14" y="8"/>
                    </a:cxn>
                    <a:cxn ang="0">
                      <a:pos x="16" y="10"/>
                    </a:cxn>
                    <a:cxn ang="0">
                      <a:pos x="16" y="10"/>
                    </a:cxn>
                    <a:cxn ang="0">
                      <a:pos x="17" y="12"/>
                    </a:cxn>
                    <a:cxn ang="0">
                      <a:pos x="17" y="12"/>
                    </a:cxn>
                    <a:cxn ang="0">
                      <a:pos x="17" y="10"/>
                    </a:cxn>
                    <a:cxn ang="0">
                      <a:pos x="19" y="10"/>
                    </a:cxn>
                    <a:cxn ang="0">
                      <a:pos x="19" y="10"/>
                    </a:cxn>
                    <a:cxn ang="0">
                      <a:pos x="19" y="12"/>
                    </a:cxn>
                    <a:cxn ang="0">
                      <a:pos x="17" y="14"/>
                    </a:cxn>
                    <a:cxn ang="0">
                      <a:pos x="16" y="15"/>
                    </a:cxn>
                    <a:cxn ang="0">
                      <a:pos x="12" y="14"/>
                    </a:cxn>
                    <a:cxn ang="0">
                      <a:pos x="12" y="14"/>
                    </a:cxn>
                    <a:cxn ang="0">
                      <a:pos x="10" y="12"/>
                    </a:cxn>
                    <a:cxn ang="0">
                      <a:pos x="7" y="12"/>
                    </a:cxn>
                    <a:cxn ang="0">
                      <a:pos x="3" y="14"/>
                    </a:cxn>
                    <a:cxn ang="0">
                      <a:pos x="0" y="10"/>
                    </a:cxn>
                  </a:cxnLst>
                  <a:rect l="0" t="0" r="r" b="b"/>
                  <a:pathLst>
                    <a:path w="19" h="15">
                      <a:moveTo>
                        <a:pt x="0" y="10"/>
                      </a:moveTo>
                      <a:lnTo>
                        <a:pt x="0" y="10"/>
                      </a:lnTo>
                      <a:lnTo>
                        <a:pt x="0" y="7"/>
                      </a:lnTo>
                      <a:lnTo>
                        <a:pt x="0" y="3"/>
                      </a:lnTo>
                      <a:lnTo>
                        <a:pt x="2" y="0"/>
                      </a:lnTo>
                      <a:lnTo>
                        <a:pt x="5" y="0"/>
                      </a:lnTo>
                      <a:lnTo>
                        <a:pt x="5" y="0"/>
                      </a:lnTo>
                      <a:lnTo>
                        <a:pt x="10" y="1"/>
                      </a:lnTo>
                      <a:lnTo>
                        <a:pt x="10" y="3"/>
                      </a:lnTo>
                      <a:lnTo>
                        <a:pt x="9" y="7"/>
                      </a:lnTo>
                      <a:lnTo>
                        <a:pt x="9" y="7"/>
                      </a:lnTo>
                      <a:lnTo>
                        <a:pt x="9" y="8"/>
                      </a:lnTo>
                      <a:lnTo>
                        <a:pt x="10" y="8"/>
                      </a:lnTo>
                      <a:lnTo>
                        <a:pt x="14" y="8"/>
                      </a:lnTo>
                      <a:lnTo>
                        <a:pt x="16" y="10"/>
                      </a:lnTo>
                      <a:lnTo>
                        <a:pt x="16" y="10"/>
                      </a:lnTo>
                      <a:lnTo>
                        <a:pt x="17" y="12"/>
                      </a:lnTo>
                      <a:lnTo>
                        <a:pt x="17" y="12"/>
                      </a:lnTo>
                      <a:lnTo>
                        <a:pt x="17" y="10"/>
                      </a:lnTo>
                      <a:lnTo>
                        <a:pt x="19" y="10"/>
                      </a:lnTo>
                      <a:lnTo>
                        <a:pt x="19" y="10"/>
                      </a:lnTo>
                      <a:lnTo>
                        <a:pt x="19" y="12"/>
                      </a:lnTo>
                      <a:lnTo>
                        <a:pt x="17" y="14"/>
                      </a:lnTo>
                      <a:lnTo>
                        <a:pt x="16" y="15"/>
                      </a:lnTo>
                      <a:lnTo>
                        <a:pt x="12" y="14"/>
                      </a:lnTo>
                      <a:lnTo>
                        <a:pt x="12" y="14"/>
                      </a:lnTo>
                      <a:lnTo>
                        <a:pt x="10" y="12"/>
                      </a:lnTo>
                      <a:lnTo>
                        <a:pt x="7" y="12"/>
                      </a:lnTo>
                      <a:lnTo>
                        <a:pt x="3" y="14"/>
                      </a:lnTo>
                      <a:lnTo>
                        <a:pt x="0"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4" name="Freeform 2087">
                  <a:extLst>
                    <a:ext uri="{FF2B5EF4-FFF2-40B4-BE49-F238E27FC236}">
                      <a16:creationId xmlns:a16="http://schemas.microsoft.com/office/drawing/2014/main" id="{9B715BB6-CB5E-6E46-3F40-240B9C66415D}"/>
                    </a:ext>
                  </a:extLst>
                </p:cNvPr>
                <p:cNvSpPr>
                  <a:spLocks/>
                </p:cNvSpPr>
                <p:nvPr/>
              </p:nvSpPr>
              <p:spPr bwMode="auto">
                <a:xfrm>
                  <a:off x="8101022" y="3643105"/>
                  <a:ext cx="49336" cy="121577"/>
                </a:xfrm>
                <a:custGeom>
                  <a:avLst/>
                  <a:gdLst/>
                  <a:ahLst/>
                  <a:cxnLst>
                    <a:cxn ang="0">
                      <a:pos x="11" y="49"/>
                    </a:cxn>
                    <a:cxn ang="0">
                      <a:pos x="11" y="49"/>
                    </a:cxn>
                    <a:cxn ang="0">
                      <a:pos x="28" y="17"/>
                    </a:cxn>
                    <a:cxn ang="0">
                      <a:pos x="35" y="10"/>
                    </a:cxn>
                    <a:cxn ang="0">
                      <a:pos x="40" y="9"/>
                    </a:cxn>
                    <a:cxn ang="0">
                      <a:pos x="40" y="9"/>
                    </a:cxn>
                    <a:cxn ang="0">
                      <a:pos x="44" y="5"/>
                    </a:cxn>
                    <a:cxn ang="0">
                      <a:pos x="47" y="2"/>
                    </a:cxn>
                    <a:cxn ang="0">
                      <a:pos x="49" y="0"/>
                    </a:cxn>
                    <a:cxn ang="0">
                      <a:pos x="51" y="0"/>
                    </a:cxn>
                    <a:cxn ang="0">
                      <a:pos x="54" y="2"/>
                    </a:cxn>
                    <a:cxn ang="0">
                      <a:pos x="60" y="7"/>
                    </a:cxn>
                    <a:cxn ang="0">
                      <a:pos x="60" y="7"/>
                    </a:cxn>
                    <a:cxn ang="0">
                      <a:pos x="63" y="10"/>
                    </a:cxn>
                    <a:cxn ang="0">
                      <a:pos x="63" y="14"/>
                    </a:cxn>
                    <a:cxn ang="0">
                      <a:pos x="63" y="15"/>
                    </a:cxn>
                    <a:cxn ang="0">
                      <a:pos x="63" y="17"/>
                    </a:cxn>
                    <a:cxn ang="0">
                      <a:pos x="60" y="22"/>
                    </a:cxn>
                    <a:cxn ang="0">
                      <a:pos x="60" y="26"/>
                    </a:cxn>
                    <a:cxn ang="0">
                      <a:pos x="61" y="29"/>
                    </a:cxn>
                    <a:cxn ang="0">
                      <a:pos x="61" y="29"/>
                    </a:cxn>
                    <a:cxn ang="0">
                      <a:pos x="61" y="33"/>
                    </a:cxn>
                    <a:cxn ang="0">
                      <a:pos x="61" y="38"/>
                    </a:cxn>
                    <a:cxn ang="0">
                      <a:pos x="58" y="49"/>
                    </a:cxn>
                    <a:cxn ang="0">
                      <a:pos x="53" y="64"/>
                    </a:cxn>
                    <a:cxn ang="0">
                      <a:pos x="47" y="87"/>
                    </a:cxn>
                    <a:cxn ang="0">
                      <a:pos x="47" y="87"/>
                    </a:cxn>
                    <a:cxn ang="0">
                      <a:pos x="44" y="99"/>
                    </a:cxn>
                    <a:cxn ang="0">
                      <a:pos x="40" y="108"/>
                    </a:cxn>
                    <a:cxn ang="0">
                      <a:pos x="37" y="113"/>
                    </a:cxn>
                    <a:cxn ang="0">
                      <a:pos x="35" y="116"/>
                    </a:cxn>
                    <a:cxn ang="0">
                      <a:pos x="32" y="120"/>
                    </a:cxn>
                    <a:cxn ang="0">
                      <a:pos x="30" y="123"/>
                    </a:cxn>
                    <a:cxn ang="0">
                      <a:pos x="28" y="129"/>
                    </a:cxn>
                    <a:cxn ang="0">
                      <a:pos x="28" y="137"/>
                    </a:cxn>
                    <a:cxn ang="0">
                      <a:pos x="28" y="137"/>
                    </a:cxn>
                    <a:cxn ang="0">
                      <a:pos x="26" y="146"/>
                    </a:cxn>
                    <a:cxn ang="0">
                      <a:pos x="26" y="151"/>
                    </a:cxn>
                    <a:cxn ang="0">
                      <a:pos x="25" y="151"/>
                    </a:cxn>
                    <a:cxn ang="0">
                      <a:pos x="23" y="151"/>
                    </a:cxn>
                    <a:cxn ang="0">
                      <a:pos x="19" y="143"/>
                    </a:cxn>
                    <a:cxn ang="0">
                      <a:pos x="16" y="132"/>
                    </a:cxn>
                    <a:cxn ang="0">
                      <a:pos x="16" y="132"/>
                    </a:cxn>
                    <a:cxn ang="0">
                      <a:pos x="12" y="127"/>
                    </a:cxn>
                    <a:cxn ang="0">
                      <a:pos x="9" y="123"/>
                    </a:cxn>
                    <a:cxn ang="0">
                      <a:pos x="6" y="118"/>
                    </a:cxn>
                    <a:cxn ang="0">
                      <a:pos x="2" y="106"/>
                    </a:cxn>
                    <a:cxn ang="0">
                      <a:pos x="2" y="106"/>
                    </a:cxn>
                    <a:cxn ang="0">
                      <a:pos x="0" y="90"/>
                    </a:cxn>
                    <a:cxn ang="0">
                      <a:pos x="0" y="76"/>
                    </a:cxn>
                    <a:cxn ang="0">
                      <a:pos x="4" y="64"/>
                    </a:cxn>
                    <a:cxn ang="0">
                      <a:pos x="11" y="49"/>
                    </a:cxn>
                    <a:cxn ang="0">
                      <a:pos x="11" y="49"/>
                    </a:cxn>
                  </a:cxnLst>
                  <a:rect l="0" t="0" r="r" b="b"/>
                  <a:pathLst>
                    <a:path w="63" h="151">
                      <a:moveTo>
                        <a:pt x="11" y="49"/>
                      </a:moveTo>
                      <a:lnTo>
                        <a:pt x="11" y="49"/>
                      </a:lnTo>
                      <a:lnTo>
                        <a:pt x="28" y="17"/>
                      </a:lnTo>
                      <a:lnTo>
                        <a:pt x="35" y="10"/>
                      </a:lnTo>
                      <a:lnTo>
                        <a:pt x="40" y="9"/>
                      </a:lnTo>
                      <a:lnTo>
                        <a:pt x="40" y="9"/>
                      </a:lnTo>
                      <a:lnTo>
                        <a:pt x="44" y="5"/>
                      </a:lnTo>
                      <a:lnTo>
                        <a:pt x="47" y="2"/>
                      </a:lnTo>
                      <a:lnTo>
                        <a:pt x="49" y="0"/>
                      </a:lnTo>
                      <a:lnTo>
                        <a:pt x="51" y="0"/>
                      </a:lnTo>
                      <a:lnTo>
                        <a:pt x="54" y="2"/>
                      </a:lnTo>
                      <a:lnTo>
                        <a:pt x="60" y="7"/>
                      </a:lnTo>
                      <a:lnTo>
                        <a:pt x="60" y="7"/>
                      </a:lnTo>
                      <a:lnTo>
                        <a:pt x="63" y="10"/>
                      </a:lnTo>
                      <a:lnTo>
                        <a:pt x="63" y="14"/>
                      </a:lnTo>
                      <a:lnTo>
                        <a:pt x="63" y="15"/>
                      </a:lnTo>
                      <a:lnTo>
                        <a:pt x="63" y="17"/>
                      </a:lnTo>
                      <a:lnTo>
                        <a:pt x="60" y="22"/>
                      </a:lnTo>
                      <a:lnTo>
                        <a:pt x="60" y="26"/>
                      </a:lnTo>
                      <a:lnTo>
                        <a:pt x="61" y="29"/>
                      </a:lnTo>
                      <a:lnTo>
                        <a:pt x="61" y="29"/>
                      </a:lnTo>
                      <a:lnTo>
                        <a:pt x="61" y="33"/>
                      </a:lnTo>
                      <a:lnTo>
                        <a:pt x="61" y="38"/>
                      </a:lnTo>
                      <a:lnTo>
                        <a:pt x="58" y="49"/>
                      </a:lnTo>
                      <a:lnTo>
                        <a:pt x="53" y="64"/>
                      </a:lnTo>
                      <a:lnTo>
                        <a:pt x="47" y="87"/>
                      </a:lnTo>
                      <a:lnTo>
                        <a:pt x="47" y="87"/>
                      </a:lnTo>
                      <a:lnTo>
                        <a:pt x="44" y="99"/>
                      </a:lnTo>
                      <a:lnTo>
                        <a:pt x="40" y="108"/>
                      </a:lnTo>
                      <a:lnTo>
                        <a:pt x="37" y="113"/>
                      </a:lnTo>
                      <a:lnTo>
                        <a:pt x="35" y="116"/>
                      </a:lnTo>
                      <a:lnTo>
                        <a:pt x="32" y="120"/>
                      </a:lnTo>
                      <a:lnTo>
                        <a:pt x="30" y="123"/>
                      </a:lnTo>
                      <a:lnTo>
                        <a:pt x="28" y="129"/>
                      </a:lnTo>
                      <a:lnTo>
                        <a:pt x="28" y="137"/>
                      </a:lnTo>
                      <a:lnTo>
                        <a:pt x="28" y="137"/>
                      </a:lnTo>
                      <a:lnTo>
                        <a:pt x="26" y="146"/>
                      </a:lnTo>
                      <a:lnTo>
                        <a:pt x="26" y="151"/>
                      </a:lnTo>
                      <a:lnTo>
                        <a:pt x="25" y="151"/>
                      </a:lnTo>
                      <a:lnTo>
                        <a:pt x="23" y="151"/>
                      </a:lnTo>
                      <a:lnTo>
                        <a:pt x="19" y="143"/>
                      </a:lnTo>
                      <a:lnTo>
                        <a:pt x="16" y="132"/>
                      </a:lnTo>
                      <a:lnTo>
                        <a:pt x="16" y="132"/>
                      </a:lnTo>
                      <a:lnTo>
                        <a:pt x="12" y="127"/>
                      </a:lnTo>
                      <a:lnTo>
                        <a:pt x="9" y="123"/>
                      </a:lnTo>
                      <a:lnTo>
                        <a:pt x="6" y="118"/>
                      </a:lnTo>
                      <a:lnTo>
                        <a:pt x="2" y="106"/>
                      </a:lnTo>
                      <a:lnTo>
                        <a:pt x="2" y="106"/>
                      </a:lnTo>
                      <a:lnTo>
                        <a:pt x="0" y="90"/>
                      </a:lnTo>
                      <a:lnTo>
                        <a:pt x="0" y="76"/>
                      </a:lnTo>
                      <a:lnTo>
                        <a:pt x="4" y="64"/>
                      </a:lnTo>
                      <a:lnTo>
                        <a:pt x="11" y="49"/>
                      </a:lnTo>
                      <a:lnTo>
                        <a:pt x="11" y="4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5" name="Freeform 2088">
                  <a:extLst>
                    <a:ext uri="{FF2B5EF4-FFF2-40B4-BE49-F238E27FC236}">
                      <a16:creationId xmlns:a16="http://schemas.microsoft.com/office/drawing/2014/main" id="{9BAC14F9-683A-B133-E0ED-CC8FDA2FE25E}"/>
                    </a:ext>
                  </a:extLst>
                </p:cNvPr>
                <p:cNvSpPr>
                  <a:spLocks/>
                </p:cNvSpPr>
                <p:nvPr/>
              </p:nvSpPr>
              <p:spPr bwMode="auto">
                <a:xfrm>
                  <a:off x="7776813" y="3828116"/>
                  <a:ext cx="66957" cy="66956"/>
                </a:xfrm>
                <a:custGeom>
                  <a:avLst/>
                  <a:gdLst/>
                  <a:ahLst/>
                  <a:cxnLst>
                    <a:cxn ang="0">
                      <a:pos x="11" y="26"/>
                    </a:cxn>
                    <a:cxn ang="0">
                      <a:pos x="18" y="15"/>
                    </a:cxn>
                    <a:cxn ang="0">
                      <a:pos x="21" y="10"/>
                    </a:cxn>
                    <a:cxn ang="0">
                      <a:pos x="23" y="8"/>
                    </a:cxn>
                    <a:cxn ang="0">
                      <a:pos x="26" y="8"/>
                    </a:cxn>
                    <a:cxn ang="0">
                      <a:pos x="32" y="7"/>
                    </a:cxn>
                    <a:cxn ang="0">
                      <a:pos x="33" y="5"/>
                    </a:cxn>
                    <a:cxn ang="0">
                      <a:pos x="40" y="5"/>
                    </a:cxn>
                    <a:cxn ang="0">
                      <a:pos x="49" y="7"/>
                    </a:cxn>
                    <a:cxn ang="0">
                      <a:pos x="51" y="5"/>
                    </a:cxn>
                    <a:cxn ang="0">
                      <a:pos x="61" y="3"/>
                    </a:cxn>
                    <a:cxn ang="0">
                      <a:pos x="68" y="1"/>
                    </a:cxn>
                    <a:cxn ang="0">
                      <a:pos x="72" y="0"/>
                    </a:cxn>
                    <a:cxn ang="0">
                      <a:pos x="75" y="3"/>
                    </a:cxn>
                    <a:cxn ang="0">
                      <a:pos x="79" y="5"/>
                    </a:cxn>
                    <a:cxn ang="0">
                      <a:pos x="84" y="14"/>
                    </a:cxn>
                    <a:cxn ang="0">
                      <a:pos x="82" y="22"/>
                    </a:cxn>
                    <a:cxn ang="0">
                      <a:pos x="79" y="26"/>
                    </a:cxn>
                    <a:cxn ang="0">
                      <a:pos x="68" y="43"/>
                    </a:cxn>
                    <a:cxn ang="0">
                      <a:pos x="67" y="50"/>
                    </a:cxn>
                    <a:cxn ang="0">
                      <a:pos x="65" y="59"/>
                    </a:cxn>
                    <a:cxn ang="0">
                      <a:pos x="60" y="62"/>
                    </a:cxn>
                    <a:cxn ang="0">
                      <a:pos x="53" y="68"/>
                    </a:cxn>
                    <a:cxn ang="0">
                      <a:pos x="51" y="71"/>
                    </a:cxn>
                    <a:cxn ang="0">
                      <a:pos x="49" y="74"/>
                    </a:cxn>
                    <a:cxn ang="0">
                      <a:pos x="40" y="74"/>
                    </a:cxn>
                    <a:cxn ang="0">
                      <a:pos x="39" y="78"/>
                    </a:cxn>
                    <a:cxn ang="0">
                      <a:pos x="37" y="83"/>
                    </a:cxn>
                    <a:cxn ang="0">
                      <a:pos x="30" y="83"/>
                    </a:cxn>
                    <a:cxn ang="0">
                      <a:pos x="26" y="80"/>
                    </a:cxn>
                    <a:cxn ang="0">
                      <a:pos x="23" y="80"/>
                    </a:cxn>
                    <a:cxn ang="0">
                      <a:pos x="9" y="74"/>
                    </a:cxn>
                    <a:cxn ang="0">
                      <a:pos x="4" y="69"/>
                    </a:cxn>
                    <a:cxn ang="0">
                      <a:pos x="0" y="57"/>
                    </a:cxn>
                    <a:cxn ang="0">
                      <a:pos x="0" y="48"/>
                    </a:cxn>
                    <a:cxn ang="0">
                      <a:pos x="2" y="33"/>
                    </a:cxn>
                    <a:cxn ang="0">
                      <a:pos x="11" y="26"/>
                    </a:cxn>
                  </a:cxnLst>
                  <a:rect l="0" t="0" r="r" b="b"/>
                  <a:pathLst>
                    <a:path w="84" h="83">
                      <a:moveTo>
                        <a:pt x="11" y="26"/>
                      </a:moveTo>
                      <a:lnTo>
                        <a:pt x="11" y="26"/>
                      </a:lnTo>
                      <a:lnTo>
                        <a:pt x="16" y="19"/>
                      </a:lnTo>
                      <a:lnTo>
                        <a:pt x="18" y="15"/>
                      </a:lnTo>
                      <a:lnTo>
                        <a:pt x="18" y="14"/>
                      </a:lnTo>
                      <a:lnTo>
                        <a:pt x="21" y="10"/>
                      </a:lnTo>
                      <a:lnTo>
                        <a:pt x="21" y="10"/>
                      </a:lnTo>
                      <a:lnTo>
                        <a:pt x="23" y="8"/>
                      </a:lnTo>
                      <a:lnTo>
                        <a:pt x="25" y="8"/>
                      </a:lnTo>
                      <a:lnTo>
                        <a:pt x="26" y="8"/>
                      </a:lnTo>
                      <a:lnTo>
                        <a:pt x="30" y="10"/>
                      </a:lnTo>
                      <a:lnTo>
                        <a:pt x="32" y="7"/>
                      </a:lnTo>
                      <a:lnTo>
                        <a:pt x="32" y="7"/>
                      </a:lnTo>
                      <a:lnTo>
                        <a:pt x="33" y="5"/>
                      </a:lnTo>
                      <a:lnTo>
                        <a:pt x="35" y="5"/>
                      </a:lnTo>
                      <a:lnTo>
                        <a:pt x="40" y="5"/>
                      </a:lnTo>
                      <a:lnTo>
                        <a:pt x="46" y="7"/>
                      </a:lnTo>
                      <a:lnTo>
                        <a:pt x="49" y="7"/>
                      </a:lnTo>
                      <a:lnTo>
                        <a:pt x="51" y="5"/>
                      </a:lnTo>
                      <a:lnTo>
                        <a:pt x="51" y="5"/>
                      </a:lnTo>
                      <a:lnTo>
                        <a:pt x="56" y="3"/>
                      </a:lnTo>
                      <a:lnTo>
                        <a:pt x="61" y="3"/>
                      </a:lnTo>
                      <a:lnTo>
                        <a:pt x="65" y="3"/>
                      </a:lnTo>
                      <a:lnTo>
                        <a:pt x="68" y="1"/>
                      </a:lnTo>
                      <a:lnTo>
                        <a:pt x="68" y="1"/>
                      </a:lnTo>
                      <a:lnTo>
                        <a:pt x="72" y="0"/>
                      </a:lnTo>
                      <a:lnTo>
                        <a:pt x="73" y="0"/>
                      </a:lnTo>
                      <a:lnTo>
                        <a:pt x="75" y="3"/>
                      </a:lnTo>
                      <a:lnTo>
                        <a:pt x="79" y="5"/>
                      </a:lnTo>
                      <a:lnTo>
                        <a:pt x="79" y="5"/>
                      </a:lnTo>
                      <a:lnTo>
                        <a:pt x="82" y="7"/>
                      </a:lnTo>
                      <a:lnTo>
                        <a:pt x="84" y="14"/>
                      </a:lnTo>
                      <a:lnTo>
                        <a:pt x="84" y="19"/>
                      </a:lnTo>
                      <a:lnTo>
                        <a:pt x="82" y="22"/>
                      </a:lnTo>
                      <a:lnTo>
                        <a:pt x="82" y="22"/>
                      </a:lnTo>
                      <a:lnTo>
                        <a:pt x="79" y="26"/>
                      </a:lnTo>
                      <a:lnTo>
                        <a:pt x="73" y="34"/>
                      </a:lnTo>
                      <a:lnTo>
                        <a:pt x="68" y="43"/>
                      </a:lnTo>
                      <a:lnTo>
                        <a:pt x="67" y="50"/>
                      </a:lnTo>
                      <a:lnTo>
                        <a:pt x="67" y="50"/>
                      </a:lnTo>
                      <a:lnTo>
                        <a:pt x="67" y="55"/>
                      </a:lnTo>
                      <a:lnTo>
                        <a:pt x="65" y="59"/>
                      </a:lnTo>
                      <a:lnTo>
                        <a:pt x="61" y="62"/>
                      </a:lnTo>
                      <a:lnTo>
                        <a:pt x="60" y="62"/>
                      </a:lnTo>
                      <a:lnTo>
                        <a:pt x="54" y="66"/>
                      </a:lnTo>
                      <a:lnTo>
                        <a:pt x="53" y="68"/>
                      </a:lnTo>
                      <a:lnTo>
                        <a:pt x="51" y="71"/>
                      </a:lnTo>
                      <a:lnTo>
                        <a:pt x="51" y="71"/>
                      </a:lnTo>
                      <a:lnTo>
                        <a:pt x="51" y="73"/>
                      </a:lnTo>
                      <a:lnTo>
                        <a:pt x="49" y="74"/>
                      </a:lnTo>
                      <a:lnTo>
                        <a:pt x="44" y="74"/>
                      </a:lnTo>
                      <a:lnTo>
                        <a:pt x="40" y="74"/>
                      </a:lnTo>
                      <a:lnTo>
                        <a:pt x="39" y="76"/>
                      </a:lnTo>
                      <a:lnTo>
                        <a:pt x="39" y="78"/>
                      </a:lnTo>
                      <a:lnTo>
                        <a:pt x="39" y="78"/>
                      </a:lnTo>
                      <a:lnTo>
                        <a:pt x="37" y="83"/>
                      </a:lnTo>
                      <a:lnTo>
                        <a:pt x="33" y="83"/>
                      </a:lnTo>
                      <a:lnTo>
                        <a:pt x="30" y="83"/>
                      </a:lnTo>
                      <a:lnTo>
                        <a:pt x="26" y="80"/>
                      </a:lnTo>
                      <a:lnTo>
                        <a:pt x="26" y="80"/>
                      </a:lnTo>
                      <a:lnTo>
                        <a:pt x="25" y="78"/>
                      </a:lnTo>
                      <a:lnTo>
                        <a:pt x="23" y="80"/>
                      </a:lnTo>
                      <a:lnTo>
                        <a:pt x="18" y="78"/>
                      </a:lnTo>
                      <a:lnTo>
                        <a:pt x="9" y="74"/>
                      </a:lnTo>
                      <a:lnTo>
                        <a:pt x="9" y="74"/>
                      </a:lnTo>
                      <a:lnTo>
                        <a:pt x="4" y="69"/>
                      </a:lnTo>
                      <a:lnTo>
                        <a:pt x="2" y="64"/>
                      </a:lnTo>
                      <a:lnTo>
                        <a:pt x="0" y="57"/>
                      </a:lnTo>
                      <a:lnTo>
                        <a:pt x="0" y="48"/>
                      </a:lnTo>
                      <a:lnTo>
                        <a:pt x="0" y="48"/>
                      </a:lnTo>
                      <a:lnTo>
                        <a:pt x="0" y="38"/>
                      </a:lnTo>
                      <a:lnTo>
                        <a:pt x="2" y="33"/>
                      </a:lnTo>
                      <a:lnTo>
                        <a:pt x="7" y="29"/>
                      </a:lnTo>
                      <a:lnTo>
                        <a:pt x="11" y="26"/>
                      </a:lnTo>
                      <a:lnTo>
                        <a:pt x="11"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6" name="Freeform 2089">
                  <a:extLst>
                    <a:ext uri="{FF2B5EF4-FFF2-40B4-BE49-F238E27FC236}">
                      <a16:creationId xmlns:a16="http://schemas.microsoft.com/office/drawing/2014/main" id="{D4606E7E-38B5-F0BF-9C47-2370AF3BD30C}"/>
                    </a:ext>
                  </a:extLst>
                </p:cNvPr>
                <p:cNvSpPr>
                  <a:spLocks/>
                </p:cNvSpPr>
                <p:nvPr/>
              </p:nvSpPr>
              <p:spPr bwMode="auto">
                <a:xfrm>
                  <a:off x="7921297" y="3755874"/>
                  <a:ext cx="12335" cy="21144"/>
                </a:xfrm>
                <a:custGeom>
                  <a:avLst/>
                  <a:gdLst>
                    <a:gd name="T0" fmla="*/ 0 w 15"/>
                    <a:gd name="T1" fmla="*/ 8060 h 26"/>
                    <a:gd name="T2" fmla="*/ 0 w 15"/>
                    <a:gd name="T3" fmla="*/ 8060 h 26"/>
                    <a:gd name="T4" fmla="*/ 2223 w 15"/>
                    <a:gd name="T5" fmla="*/ 6594 h 26"/>
                    <a:gd name="T6" fmla="*/ 3704 w 15"/>
                    <a:gd name="T7" fmla="*/ 3663 h 26"/>
                    <a:gd name="T8" fmla="*/ 5186 w 15"/>
                    <a:gd name="T9" fmla="*/ 2931 h 26"/>
                    <a:gd name="T10" fmla="*/ 5186 w 15"/>
                    <a:gd name="T11" fmla="*/ 2931 h 26"/>
                    <a:gd name="T12" fmla="*/ 5186 w 15"/>
                    <a:gd name="T13" fmla="*/ 0 h 26"/>
                    <a:gd name="T14" fmla="*/ 5927 w 15"/>
                    <a:gd name="T15" fmla="*/ 0 h 26"/>
                    <a:gd name="T16" fmla="*/ 7409 w 15"/>
                    <a:gd name="T17" fmla="*/ 0 h 26"/>
                    <a:gd name="T18" fmla="*/ 7409 w 15"/>
                    <a:gd name="T19" fmla="*/ 0 h 26"/>
                    <a:gd name="T20" fmla="*/ 7409 w 15"/>
                    <a:gd name="T21" fmla="*/ 1465 h 26"/>
                    <a:gd name="T22" fmla="*/ 7409 w 15"/>
                    <a:gd name="T23" fmla="*/ 1465 h 26"/>
                    <a:gd name="T24" fmla="*/ 7409 w 15"/>
                    <a:gd name="T25" fmla="*/ 2931 h 26"/>
                    <a:gd name="T26" fmla="*/ 7409 w 15"/>
                    <a:gd name="T27" fmla="*/ 2931 h 26"/>
                    <a:gd name="T28" fmla="*/ 7409 w 15"/>
                    <a:gd name="T29" fmla="*/ 2931 h 26"/>
                    <a:gd name="T30" fmla="*/ 10372 w 15"/>
                    <a:gd name="T31" fmla="*/ 1465 h 26"/>
                    <a:gd name="T32" fmla="*/ 11113 w 15"/>
                    <a:gd name="T33" fmla="*/ 2931 h 26"/>
                    <a:gd name="T34" fmla="*/ 11113 w 15"/>
                    <a:gd name="T35" fmla="*/ 3663 h 26"/>
                    <a:gd name="T36" fmla="*/ 11113 w 15"/>
                    <a:gd name="T37" fmla="*/ 3663 h 26"/>
                    <a:gd name="T38" fmla="*/ 11113 w 15"/>
                    <a:gd name="T39" fmla="*/ 6594 h 26"/>
                    <a:gd name="T40" fmla="*/ 10372 w 15"/>
                    <a:gd name="T41" fmla="*/ 8792 h 26"/>
                    <a:gd name="T42" fmla="*/ 10372 w 15"/>
                    <a:gd name="T43" fmla="*/ 8792 h 26"/>
                    <a:gd name="T44" fmla="*/ 11113 w 15"/>
                    <a:gd name="T45" fmla="*/ 12456 h 26"/>
                    <a:gd name="T46" fmla="*/ 11113 w 15"/>
                    <a:gd name="T47" fmla="*/ 16852 h 26"/>
                    <a:gd name="T48" fmla="*/ 11113 w 15"/>
                    <a:gd name="T49" fmla="*/ 16852 h 26"/>
                    <a:gd name="T50" fmla="*/ 10372 w 15"/>
                    <a:gd name="T51" fmla="*/ 17585 h 26"/>
                    <a:gd name="T52" fmla="*/ 7409 w 15"/>
                    <a:gd name="T53" fmla="*/ 19050 h 26"/>
                    <a:gd name="T54" fmla="*/ 5186 w 15"/>
                    <a:gd name="T55" fmla="*/ 19050 h 26"/>
                    <a:gd name="T56" fmla="*/ 3704 w 15"/>
                    <a:gd name="T57" fmla="*/ 17585 h 26"/>
                    <a:gd name="T58" fmla="*/ 3704 w 15"/>
                    <a:gd name="T59" fmla="*/ 17585 h 26"/>
                    <a:gd name="T60" fmla="*/ 741 w 15"/>
                    <a:gd name="T61" fmla="*/ 16852 h 26"/>
                    <a:gd name="T62" fmla="*/ 0 w 15"/>
                    <a:gd name="T63" fmla="*/ 16852 h 26"/>
                    <a:gd name="T64" fmla="*/ 0 w 15"/>
                    <a:gd name="T65" fmla="*/ 16852 h 26"/>
                    <a:gd name="T66" fmla="*/ 0 w 15"/>
                    <a:gd name="T67" fmla="*/ 16852 h 26"/>
                    <a:gd name="T68" fmla="*/ 0 w 15"/>
                    <a:gd name="T69" fmla="*/ 16852 h 26"/>
                    <a:gd name="T70" fmla="*/ 0 w 15"/>
                    <a:gd name="T71" fmla="*/ 11723 h 26"/>
                    <a:gd name="T72" fmla="*/ 0 w 15"/>
                    <a:gd name="T73" fmla="*/ 8060 h 26"/>
                    <a:gd name="T74" fmla="*/ 0 w 15"/>
                    <a:gd name="T75" fmla="*/ 8060 h 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
                    <a:gd name="T115" fmla="*/ 0 h 26"/>
                    <a:gd name="T116" fmla="*/ 15 w 15"/>
                    <a:gd name="T117" fmla="*/ 26 h 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 h="26">
                      <a:moveTo>
                        <a:pt x="0" y="11"/>
                      </a:moveTo>
                      <a:lnTo>
                        <a:pt x="0" y="11"/>
                      </a:lnTo>
                      <a:lnTo>
                        <a:pt x="3" y="9"/>
                      </a:lnTo>
                      <a:lnTo>
                        <a:pt x="5" y="5"/>
                      </a:lnTo>
                      <a:lnTo>
                        <a:pt x="7" y="4"/>
                      </a:lnTo>
                      <a:lnTo>
                        <a:pt x="7" y="0"/>
                      </a:lnTo>
                      <a:lnTo>
                        <a:pt x="8" y="0"/>
                      </a:lnTo>
                      <a:lnTo>
                        <a:pt x="10" y="0"/>
                      </a:lnTo>
                      <a:lnTo>
                        <a:pt x="10" y="2"/>
                      </a:lnTo>
                      <a:lnTo>
                        <a:pt x="10" y="4"/>
                      </a:lnTo>
                      <a:lnTo>
                        <a:pt x="14" y="2"/>
                      </a:lnTo>
                      <a:lnTo>
                        <a:pt x="15" y="4"/>
                      </a:lnTo>
                      <a:lnTo>
                        <a:pt x="15" y="5"/>
                      </a:lnTo>
                      <a:lnTo>
                        <a:pt x="15" y="9"/>
                      </a:lnTo>
                      <a:lnTo>
                        <a:pt x="14" y="12"/>
                      </a:lnTo>
                      <a:lnTo>
                        <a:pt x="15" y="17"/>
                      </a:lnTo>
                      <a:lnTo>
                        <a:pt x="15" y="23"/>
                      </a:lnTo>
                      <a:lnTo>
                        <a:pt x="14" y="24"/>
                      </a:lnTo>
                      <a:lnTo>
                        <a:pt x="10" y="26"/>
                      </a:lnTo>
                      <a:lnTo>
                        <a:pt x="7" y="26"/>
                      </a:lnTo>
                      <a:lnTo>
                        <a:pt x="5" y="24"/>
                      </a:lnTo>
                      <a:lnTo>
                        <a:pt x="1" y="23"/>
                      </a:lnTo>
                      <a:lnTo>
                        <a:pt x="0" y="23"/>
                      </a:lnTo>
                      <a:lnTo>
                        <a:pt x="0" y="16"/>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7" name="Freeform 2090">
                  <a:extLst>
                    <a:ext uri="{FF2B5EF4-FFF2-40B4-BE49-F238E27FC236}">
                      <a16:creationId xmlns:a16="http://schemas.microsoft.com/office/drawing/2014/main" id="{7EA6E837-F047-628D-7FD5-947AC09DF116}"/>
                    </a:ext>
                  </a:extLst>
                </p:cNvPr>
                <p:cNvSpPr>
                  <a:spLocks/>
                </p:cNvSpPr>
                <p:nvPr/>
              </p:nvSpPr>
              <p:spPr bwMode="auto">
                <a:xfrm>
                  <a:off x="2819781" y="4343427"/>
                  <a:ext cx="5287"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8" name="Freeform 2091">
                  <a:extLst>
                    <a:ext uri="{FF2B5EF4-FFF2-40B4-BE49-F238E27FC236}">
                      <a16:creationId xmlns:a16="http://schemas.microsoft.com/office/drawing/2014/main" id="{D41C7E5A-0BD6-CE6C-E106-CF71C8FC3DAC}"/>
                    </a:ext>
                  </a:extLst>
                </p:cNvPr>
                <p:cNvSpPr>
                  <a:spLocks/>
                </p:cNvSpPr>
                <p:nvPr/>
              </p:nvSpPr>
              <p:spPr bwMode="auto">
                <a:xfrm>
                  <a:off x="3468719" y="6353065"/>
                  <a:ext cx="49336" cy="38764"/>
                </a:xfrm>
                <a:custGeom>
                  <a:avLst/>
                  <a:gdLst/>
                  <a:ahLst/>
                  <a:cxnLst>
                    <a:cxn ang="0">
                      <a:pos x="12" y="47"/>
                    </a:cxn>
                    <a:cxn ang="0">
                      <a:pos x="1" y="40"/>
                    </a:cxn>
                    <a:cxn ang="0">
                      <a:pos x="0" y="38"/>
                    </a:cxn>
                    <a:cxn ang="0">
                      <a:pos x="5" y="36"/>
                    </a:cxn>
                    <a:cxn ang="0">
                      <a:pos x="7" y="34"/>
                    </a:cxn>
                    <a:cxn ang="0">
                      <a:pos x="7" y="33"/>
                    </a:cxn>
                    <a:cxn ang="0">
                      <a:pos x="10" y="34"/>
                    </a:cxn>
                    <a:cxn ang="0">
                      <a:pos x="15" y="33"/>
                    </a:cxn>
                    <a:cxn ang="0">
                      <a:pos x="17" y="31"/>
                    </a:cxn>
                    <a:cxn ang="0">
                      <a:pos x="21" y="26"/>
                    </a:cxn>
                    <a:cxn ang="0">
                      <a:pos x="26" y="22"/>
                    </a:cxn>
                    <a:cxn ang="0">
                      <a:pos x="26" y="20"/>
                    </a:cxn>
                    <a:cxn ang="0">
                      <a:pos x="19" y="22"/>
                    </a:cxn>
                    <a:cxn ang="0">
                      <a:pos x="12" y="20"/>
                    </a:cxn>
                    <a:cxn ang="0">
                      <a:pos x="17" y="17"/>
                    </a:cxn>
                    <a:cxn ang="0">
                      <a:pos x="21" y="17"/>
                    </a:cxn>
                    <a:cxn ang="0">
                      <a:pos x="22" y="13"/>
                    </a:cxn>
                    <a:cxn ang="0">
                      <a:pos x="19" y="10"/>
                    </a:cxn>
                    <a:cxn ang="0">
                      <a:pos x="12" y="1"/>
                    </a:cxn>
                    <a:cxn ang="0">
                      <a:pos x="19" y="3"/>
                    </a:cxn>
                    <a:cxn ang="0">
                      <a:pos x="28" y="8"/>
                    </a:cxn>
                    <a:cxn ang="0">
                      <a:pos x="33" y="5"/>
                    </a:cxn>
                    <a:cxn ang="0">
                      <a:pos x="36" y="3"/>
                    </a:cxn>
                    <a:cxn ang="0">
                      <a:pos x="40" y="5"/>
                    </a:cxn>
                    <a:cxn ang="0">
                      <a:pos x="47" y="6"/>
                    </a:cxn>
                    <a:cxn ang="0">
                      <a:pos x="50" y="3"/>
                    </a:cxn>
                    <a:cxn ang="0">
                      <a:pos x="52" y="0"/>
                    </a:cxn>
                    <a:cxn ang="0">
                      <a:pos x="57" y="1"/>
                    </a:cxn>
                    <a:cxn ang="0">
                      <a:pos x="61" y="3"/>
                    </a:cxn>
                    <a:cxn ang="0">
                      <a:pos x="57" y="10"/>
                    </a:cxn>
                    <a:cxn ang="0">
                      <a:pos x="52" y="15"/>
                    </a:cxn>
                    <a:cxn ang="0">
                      <a:pos x="45" y="24"/>
                    </a:cxn>
                    <a:cxn ang="0">
                      <a:pos x="40" y="31"/>
                    </a:cxn>
                    <a:cxn ang="0">
                      <a:pos x="33" y="34"/>
                    </a:cxn>
                    <a:cxn ang="0">
                      <a:pos x="28" y="34"/>
                    </a:cxn>
                    <a:cxn ang="0">
                      <a:pos x="24" y="38"/>
                    </a:cxn>
                    <a:cxn ang="0">
                      <a:pos x="22" y="41"/>
                    </a:cxn>
                    <a:cxn ang="0">
                      <a:pos x="21" y="43"/>
                    </a:cxn>
                    <a:cxn ang="0">
                      <a:pos x="17" y="43"/>
                    </a:cxn>
                    <a:cxn ang="0">
                      <a:pos x="15" y="45"/>
                    </a:cxn>
                    <a:cxn ang="0">
                      <a:pos x="12" y="47"/>
                    </a:cxn>
                  </a:cxnLst>
                  <a:rect l="0" t="0" r="r" b="b"/>
                  <a:pathLst>
                    <a:path w="61" h="48">
                      <a:moveTo>
                        <a:pt x="12" y="47"/>
                      </a:moveTo>
                      <a:lnTo>
                        <a:pt x="12" y="47"/>
                      </a:lnTo>
                      <a:lnTo>
                        <a:pt x="7" y="43"/>
                      </a:lnTo>
                      <a:lnTo>
                        <a:pt x="1" y="40"/>
                      </a:lnTo>
                      <a:lnTo>
                        <a:pt x="1" y="40"/>
                      </a:lnTo>
                      <a:lnTo>
                        <a:pt x="0" y="38"/>
                      </a:lnTo>
                      <a:lnTo>
                        <a:pt x="1" y="36"/>
                      </a:lnTo>
                      <a:lnTo>
                        <a:pt x="5" y="36"/>
                      </a:lnTo>
                      <a:lnTo>
                        <a:pt x="5" y="36"/>
                      </a:lnTo>
                      <a:lnTo>
                        <a:pt x="7" y="34"/>
                      </a:lnTo>
                      <a:lnTo>
                        <a:pt x="7" y="34"/>
                      </a:lnTo>
                      <a:lnTo>
                        <a:pt x="7" y="33"/>
                      </a:lnTo>
                      <a:lnTo>
                        <a:pt x="7" y="33"/>
                      </a:lnTo>
                      <a:lnTo>
                        <a:pt x="10" y="34"/>
                      </a:lnTo>
                      <a:lnTo>
                        <a:pt x="14" y="34"/>
                      </a:lnTo>
                      <a:lnTo>
                        <a:pt x="15" y="33"/>
                      </a:lnTo>
                      <a:lnTo>
                        <a:pt x="17" y="31"/>
                      </a:lnTo>
                      <a:lnTo>
                        <a:pt x="17" y="31"/>
                      </a:lnTo>
                      <a:lnTo>
                        <a:pt x="19" y="27"/>
                      </a:lnTo>
                      <a:lnTo>
                        <a:pt x="21" y="26"/>
                      </a:lnTo>
                      <a:lnTo>
                        <a:pt x="26" y="22"/>
                      </a:lnTo>
                      <a:lnTo>
                        <a:pt x="26" y="22"/>
                      </a:lnTo>
                      <a:lnTo>
                        <a:pt x="28" y="22"/>
                      </a:lnTo>
                      <a:lnTo>
                        <a:pt x="26" y="20"/>
                      </a:lnTo>
                      <a:lnTo>
                        <a:pt x="19" y="22"/>
                      </a:lnTo>
                      <a:lnTo>
                        <a:pt x="19" y="22"/>
                      </a:lnTo>
                      <a:lnTo>
                        <a:pt x="14" y="22"/>
                      </a:lnTo>
                      <a:lnTo>
                        <a:pt x="12" y="20"/>
                      </a:lnTo>
                      <a:lnTo>
                        <a:pt x="12" y="19"/>
                      </a:lnTo>
                      <a:lnTo>
                        <a:pt x="17" y="17"/>
                      </a:lnTo>
                      <a:lnTo>
                        <a:pt x="17" y="17"/>
                      </a:lnTo>
                      <a:lnTo>
                        <a:pt x="21" y="17"/>
                      </a:lnTo>
                      <a:lnTo>
                        <a:pt x="22" y="15"/>
                      </a:lnTo>
                      <a:lnTo>
                        <a:pt x="22" y="13"/>
                      </a:lnTo>
                      <a:lnTo>
                        <a:pt x="19" y="10"/>
                      </a:lnTo>
                      <a:lnTo>
                        <a:pt x="19" y="10"/>
                      </a:lnTo>
                      <a:lnTo>
                        <a:pt x="12" y="3"/>
                      </a:lnTo>
                      <a:lnTo>
                        <a:pt x="12" y="1"/>
                      </a:lnTo>
                      <a:lnTo>
                        <a:pt x="12" y="1"/>
                      </a:lnTo>
                      <a:lnTo>
                        <a:pt x="19" y="3"/>
                      </a:lnTo>
                      <a:lnTo>
                        <a:pt x="19" y="3"/>
                      </a:lnTo>
                      <a:lnTo>
                        <a:pt x="28" y="8"/>
                      </a:lnTo>
                      <a:lnTo>
                        <a:pt x="33" y="6"/>
                      </a:lnTo>
                      <a:lnTo>
                        <a:pt x="33" y="5"/>
                      </a:lnTo>
                      <a:lnTo>
                        <a:pt x="36" y="3"/>
                      </a:lnTo>
                      <a:lnTo>
                        <a:pt x="36" y="3"/>
                      </a:lnTo>
                      <a:lnTo>
                        <a:pt x="38" y="3"/>
                      </a:lnTo>
                      <a:lnTo>
                        <a:pt x="40" y="5"/>
                      </a:lnTo>
                      <a:lnTo>
                        <a:pt x="43" y="6"/>
                      </a:lnTo>
                      <a:lnTo>
                        <a:pt x="47" y="6"/>
                      </a:lnTo>
                      <a:lnTo>
                        <a:pt x="47" y="6"/>
                      </a:lnTo>
                      <a:lnTo>
                        <a:pt x="50" y="3"/>
                      </a:lnTo>
                      <a:lnTo>
                        <a:pt x="52" y="1"/>
                      </a:lnTo>
                      <a:lnTo>
                        <a:pt x="52" y="0"/>
                      </a:lnTo>
                      <a:lnTo>
                        <a:pt x="57" y="1"/>
                      </a:lnTo>
                      <a:lnTo>
                        <a:pt x="57" y="1"/>
                      </a:lnTo>
                      <a:lnTo>
                        <a:pt x="61" y="3"/>
                      </a:lnTo>
                      <a:lnTo>
                        <a:pt x="61" y="3"/>
                      </a:lnTo>
                      <a:lnTo>
                        <a:pt x="57" y="10"/>
                      </a:lnTo>
                      <a:lnTo>
                        <a:pt x="57" y="10"/>
                      </a:lnTo>
                      <a:lnTo>
                        <a:pt x="54" y="13"/>
                      </a:lnTo>
                      <a:lnTo>
                        <a:pt x="52" y="15"/>
                      </a:lnTo>
                      <a:lnTo>
                        <a:pt x="50" y="17"/>
                      </a:lnTo>
                      <a:lnTo>
                        <a:pt x="45" y="24"/>
                      </a:lnTo>
                      <a:lnTo>
                        <a:pt x="45" y="24"/>
                      </a:lnTo>
                      <a:lnTo>
                        <a:pt x="40" y="31"/>
                      </a:lnTo>
                      <a:lnTo>
                        <a:pt x="36" y="33"/>
                      </a:lnTo>
                      <a:lnTo>
                        <a:pt x="33" y="34"/>
                      </a:lnTo>
                      <a:lnTo>
                        <a:pt x="28" y="34"/>
                      </a:lnTo>
                      <a:lnTo>
                        <a:pt x="28" y="34"/>
                      </a:lnTo>
                      <a:lnTo>
                        <a:pt x="26" y="36"/>
                      </a:lnTo>
                      <a:lnTo>
                        <a:pt x="24" y="38"/>
                      </a:lnTo>
                      <a:lnTo>
                        <a:pt x="24" y="40"/>
                      </a:lnTo>
                      <a:lnTo>
                        <a:pt x="22" y="41"/>
                      </a:lnTo>
                      <a:lnTo>
                        <a:pt x="22" y="41"/>
                      </a:lnTo>
                      <a:lnTo>
                        <a:pt x="21" y="43"/>
                      </a:lnTo>
                      <a:lnTo>
                        <a:pt x="19" y="43"/>
                      </a:lnTo>
                      <a:lnTo>
                        <a:pt x="17" y="43"/>
                      </a:lnTo>
                      <a:lnTo>
                        <a:pt x="15" y="45"/>
                      </a:lnTo>
                      <a:lnTo>
                        <a:pt x="15" y="45"/>
                      </a:lnTo>
                      <a:lnTo>
                        <a:pt x="15" y="48"/>
                      </a:lnTo>
                      <a:lnTo>
                        <a:pt x="12" y="47"/>
                      </a:lnTo>
                      <a:lnTo>
                        <a:pt x="12" y="4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9" name="Freeform 2092">
                  <a:extLst>
                    <a:ext uri="{FF2B5EF4-FFF2-40B4-BE49-F238E27FC236}">
                      <a16:creationId xmlns:a16="http://schemas.microsoft.com/office/drawing/2014/main" id="{7D184AC8-DC8C-6C0E-FF27-1CCCBE4C1487}"/>
                    </a:ext>
                  </a:extLst>
                </p:cNvPr>
                <p:cNvSpPr>
                  <a:spLocks/>
                </p:cNvSpPr>
                <p:nvPr/>
              </p:nvSpPr>
              <p:spPr bwMode="auto">
                <a:xfrm>
                  <a:off x="8148597" y="4002555"/>
                  <a:ext cx="7048" cy="15857"/>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0" name="Freeform 2093">
                  <a:extLst>
                    <a:ext uri="{FF2B5EF4-FFF2-40B4-BE49-F238E27FC236}">
                      <a16:creationId xmlns:a16="http://schemas.microsoft.com/office/drawing/2014/main" id="{18822E61-1496-2910-5337-7600CDB86DB2}"/>
                    </a:ext>
                  </a:extLst>
                </p:cNvPr>
                <p:cNvSpPr>
                  <a:spLocks/>
                </p:cNvSpPr>
                <p:nvPr/>
              </p:nvSpPr>
              <p:spPr bwMode="auto">
                <a:xfrm>
                  <a:off x="8148597" y="4002555"/>
                  <a:ext cx="7048" cy="15857"/>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1" name="Freeform 2094">
                  <a:extLst>
                    <a:ext uri="{FF2B5EF4-FFF2-40B4-BE49-F238E27FC236}">
                      <a16:creationId xmlns:a16="http://schemas.microsoft.com/office/drawing/2014/main" id="{9E6FC9FF-1FBF-2BC4-939A-C1F078CBAC80}"/>
                    </a:ext>
                  </a:extLst>
                </p:cNvPr>
                <p:cNvSpPr>
                  <a:spLocks/>
                </p:cNvSpPr>
                <p:nvPr/>
              </p:nvSpPr>
              <p:spPr bwMode="auto">
                <a:xfrm>
                  <a:off x="8148597" y="4002555"/>
                  <a:ext cx="7048" cy="15857"/>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2" name="Freeform 2095">
                  <a:extLst>
                    <a:ext uri="{FF2B5EF4-FFF2-40B4-BE49-F238E27FC236}">
                      <a16:creationId xmlns:a16="http://schemas.microsoft.com/office/drawing/2014/main" id="{48B752A8-2725-847F-4998-F848A88BC0FE}"/>
                    </a:ext>
                  </a:extLst>
                </p:cNvPr>
                <p:cNvSpPr>
                  <a:spLocks/>
                </p:cNvSpPr>
                <p:nvPr/>
              </p:nvSpPr>
              <p:spPr bwMode="auto">
                <a:xfrm>
                  <a:off x="8213791" y="4036034"/>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3" name="Freeform 2096">
                  <a:extLst>
                    <a:ext uri="{FF2B5EF4-FFF2-40B4-BE49-F238E27FC236}">
                      <a16:creationId xmlns:a16="http://schemas.microsoft.com/office/drawing/2014/main" id="{10123EA6-9602-D7D2-4DA1-3D1755FD88E0}"/>
                    </a:ext>
                  </a:extLst>
                </p:cNvPr>
                <p:cNvSpPr>
                  <a:spLocks/>
                </p:cNvSpPr>
                <p:nvPr/>
              </p:nvSpPr>
              <p:spPr bwMode="auto">
                <a:xfrm>
                  <a:off x="8213791" y="4036034"/>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4" name="Freeform 2097">
                  <a:extLst>
                    <a:ext uri="{FF2B5EF4-FFF2-40B4-BE49-F238E27FC236}">
                      <a16:creationId xmlns:a16="http://schemas.microsoft.com/office/drawing/2014/main" id="{354E5D14-6205-E609-7EB0-11C6D0004565}"/>
                    </a:ext>
                  </a:extLst>
                </p:cNvPr>
                <p:cNvSpPr>
                  <a:spLocks/>
                </p:cNvSpPr>
                <p:nvPr/>
              </p:nvSpPr>
              <p:spPr bwMode="auto">
                <a:xfrm>
                  <a:off x="8213791" y="4036034"/>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lnTo>
                        <a:pt x="1" y="2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5" name="Freeform 2098">
                  <a:extLst>
                    <a:ext uri="{FF2B5EF4-FFF2-40B4-BE49-F238E27FC236}">
                      <a16:creationId xmlns:a16="http://schemas.microsoft.com/office/drawing/2014/main" id="{5097736D-28F7-5654-F168-2F752DEDCFE9}"/>
                    </a:ext>
                  </a:extLst>
                </p:cNvPr>
                <p:cNvSpPr>
                  <a:spLocks/>
                </p:cNvSpPr>
                <p:nvPr/>
              </p:nvSpPr>
              <p:spPr bwMode="auto">
                <a:xfrm>
                  <a:off x="8219076" y="4125894"/>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6" name="Freeform 2099">
                  <a:extLst>
                    <a:ext uri="{FF2B5EF4-FFF2-40B4-BE49-F238E27FC236}">
                      <a16:creationId xmlns:a16="http://schemas.microsoft.com/office/drawing/2014/main" id="{A2390542-4074-1C7B-FA58-8214094F8968}"/>
                    </a:ext>
                  </a:extLst>
                </p:cNvPr>
                <p:cNvSpPr>
                  <a:spLocks/>
                </p:cNvSpPr>
                <p:nvPr/>
              </p:nvSpPr>
              <p:spPr bwMode="auto">
                <a:xfrm>
                  <a:off x="8219076" y="4125894"/>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7" name="Freeform 2100">
                  <a:extLst>
                    <a:ext uri="{FF2B5EF4-FFF2-40B4-BE49-F238E27FC236}">
                      <a16:creationId xmlns:a16="http://schemas.microsoft.com/office/drawing/2014/main" id="{3E7EC4DE-26CE-F7AD-6204-F05E61B531DB}"/>
                    </a:ext>
                  </a:extLst>
                </p:cNvPr>
                <p:cNvSpPr>
                  <a:spLocks/>
                </p:cNvSpPr>
                <p:nvPr/>
              </p:nvSpPr>
              <p:spPr bwMode="auto">
                <a:xfrm>
                  <a:off x="8219076" y="4125894"/>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 ang="0">
                      <a:pos x="0" y="0"/>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lnTo>
                        <a:pt x="0"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8" name="Freeform 2101">
                  <a:extLst>
                    <a:ext uri="{FF2B5EF4-FFF2-40B4-BE49-F238E27FC236}">
                      <a16:creationId xmlns:a16="http://schemas.microsoft.com/office/drawing/2014/main" id="{3A5B9D6F-0491-7CCB-24FD-02DC413901E5}"/>
                    </a:ext>
                  </a:extLst>
                </p:cNvPr>
                <p:cNvSpPr>
                  <a:spLocks/>
                </p:cNvSpPr>
                <p:nvPr/>
              </p:nvSpPr>
              <p:spPr bwMode="auto">
                <a:xfrm>
                  <a:off x="8169742" y="4152324"/>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9" name="Freeform 2102">
                  <a:extLst>
                    <a:ext uri="{FF2B5EF4-FFF2-40B4-BE49-F238E27FC236}">
                      <a16:creationId xmlns:a16="http://schemas.microsoft.com/office/drawing/2014/main" id="{59A69F60-8DE3-9EC7-90D2-3AF038438EE0}"/>
                    </a:ext>
                  </a:extLst>
                </p:cNvPr>
                <p:cNvSpPr>
                  <a:spLocks/>
                </p:cNvSpPr>
                <p:nvPr/>
              </p:nvSpPr>
              <p:spPr bwMode="auto">
                <a:xfrm>
                  <a:off x="8169742" y="4152324"/>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0" name="Freeform 2103">
                  <a:extLst>
                    <a:ext uri="{FF2B5EF4-FFF2-40B4-BE49-F238E27FC236}">
                      <a16:creationId xmlns:a16="http://schemas.microsoft.com/office/drawing/2014/main" id="{7AACCD79-8E4A-16ED-AC5A-A1DDEF2BE5BA}"/>
                    </a:ext>
                  </a:extLst>
                </p:cNvPr>
                <p:cNvSpPr>
                  <a:spLocks/>
                </p:cNvSpPr>
                <p:nvPr/>
              </p:nvSpPr>
              <p:spPr bwMode="auto">
                <a:xfrm>
                  <a:off x="8169742" y="4152324"/>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lnTo>
                        <a:pt x="1" y="1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1" name="Freeform 2104">
                  <a:extLst>
                    <a:ext uri="{FF2B5EF4-FFF2-40B4-BE49-F238E27FC236}">
                      <a16:creationId xmlns:a16="http://schemas.microsoft.com/office/drawing/2014/main" id="{6220D0BB-7A2A-7FD9-71B9-02DA50D1784A}"/>
                    </a:ext>
                  </a:extLst>
                </p:cNvPr>
                <p:cNvSpPr>
                  <a:spLocks/>
                </p:cNvSpPr>
                <p:nvPr/>
              </p:nvSpPr>
              <p:spPr bwMode="auto">
                <a:xfrm>
                  <a:off x="8222601" y="4118847"/>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2" name="Freeform 2105">
                  <a:extLst>
                    <a:ext uri="{FF2B5EF4-FFF2-40B4-BE49-F238E27FC236}">
                      <a16:creationId xmlns:a16="http://schemas.microsoft.com/office/drawing/2014/main" id="{BF44E4B3-5BEA-7AD1-FA55-B4985953325F}"/>
                    </a:ext>
                  </a:extLst>
                </p:cNvPr>
                <p:cNvSpPr>
                  <a:spLocks/>
                </p:cNvSpPr>
                <p:nvPr/>
              </p:nvSpPr>
              <p:spPr bwMode="auto">
                <a:xfrm>
                  <a:off x="8222601" y="4118847"/>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3" name="Freeform 2106">
                  <a:extLst>
                    <a:ext uri="{FF2B5EF4-FFF2-40B4-BE49-F238E27FC236}">
                      <a16:creationId xmlns:a16="http://schemas.microsoft.com/office/drawing/2014/main" id="{BE9AFB52-E6D7-A3C3-5B11-4D7B0D375B62}"/>
                    </a:ext>
                  </a:extLst>
                </p:cNvPr>
                <p:cNvSpPr>
                  <a:spLocks/>
                </p:cNvSpPr>
                <p:nvPr/>
              </p:nvSpPr>
              <p:spPr bwMode="auto">
                <a:xfrm>
                  <a:off x="8222601" y="4118847"/>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4" name="Freeform 2107">
                  <a:extLst>
                    <a:ext uri="{FF2B5EF4-FFF2-40B4-BE49-F238E27FC236}">
                      <a16:creationId xmlns:a16="http://schemas.microsoft.com/office/drawing/2014/main" id="{B0BD00F8-C491-31E3-EA1D-5EA07688DBC2}"/>
                    </a:ext>
                  </a:extLst>
                </p:cNvPr>
                <p:cNvSpPr>
                  <a:spLocks/>
                </p:cNvSpPr>
                <p:nvPr/>
              </p:nvSpPr>
              <p:spPr bwMode="auto">
                <a:xfrm>
                  <a:off x="8257842" y="4150564"/>
                  <a:ext cx="5285" cy="3524"/>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5" name="Freeform 2108">
                  <a:extLst>
                    <a:ext uri="{FF2B5EF4-FFF2-40B4-BE49-F238E27FC236}">
                      <a16:creationId xmlns:a16="http://schemas.microsoft.com/office/drawing/2014/main" id="{1D0CB660-A7E9-7CC7-B297-97932504323D}"/>
                    </a:ext>
                  </a:extLst>
                </p:cNvPr>
                <p:cNvSpPr>
                  <a:spLocks/>
                </p:cNvSpPr>
                <p:nvPr/>
              </p:nvSpPr>
              <p:spPr bwMode="auto">
                <a:xfrm>
                  <a:off x="8257842" y="4150564"/>
                  <a:ext cx="5285" cy="3524"/>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6" name="Freeform 2109">
                  <a:extLst>
                    <a:ext uri="{FF2B5EF4-FFF2-40B4-BE49-F238E27FC236}">
                      <a16:creationId xmlns:a16="http://schemas.microsoft.com/office/drawing/2014/main" id="{4807332C-1C69-EED4-E904-C4D066875B84}"/>
                    </a:ext>
                  </a:extLst>
                </p:cNvPr>
                <p:cNvSpPr>
                  <a:spLocks/>
                </p:cNvSpPr>
                <p:nvPr/>
              </p:nvSpPr>
              <p:spPr bwMode="auto">
                <a:xfrm>
                  <a:off x="8257842" y="4150564"/>
                  <a:ext cx="5285" cy="3524"/>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7" name="Freeform 2110">
                  <a:extLst>
                    <a:ext uri="{FF2B5EF4-FFF2-40B4-BE49-F238E27FC236}">
                      <a16:creationId xmlns:a16="http://schemas.microsoft.com/office/drawing/2014/main" id="{437F36AB-4FAA-DCA0-6052-60783C794CD1}"/>
                    </a:ext>
                  </a:extLst>
                </p:cNvPr>
                <p:cNvSpPr>
                  <a:spLocks/>
                </p:cNvSpPr>
                <p:nvPr/>
              </p:nvSpPr>
              <p:spPr bwMode="auto">
                <a:xfrm>
                  <a:off x="8201457" y="4132945"/>
                  <a:ext cx="3524" cy="5285"/>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8" name="Freeform 2111">
                  <a:extLst>
                    <a:ext uri="{FF2B5EF4-FFF2-40B4-BE49-F238E27FC236}">
                      <a16:creationId xmlns:a16="http://schemas.microsoft.com/office/drawing/2014/main" id="{6857A7E5-3F98-0CDF-C5DD-2B206DF88E7A}"/>
                    </a:ext>
                  </a:extLst>
                </p:cNvPr>
                <p:cNvSpPr>
                  <a:spLocks/>
                </p:cNvSpPr>
                <p:nvPr/>
              </p:nvSpPr>
              <p:spPr bwMode="auto">
                <a:xfrm>
                  <a:off x="8201457" y="4132945"/>
                  <a:ext cx="3524" cy="5285"/>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9" name="Freeform 2112">
                  <a:extLst>
                    <a:ext uri="{FF2B5EF4-FFF2-40B4-BE49-F238E27FC236}">
                      <a16:creationId xmlns:a16="http://schemas.microsoft.com/office/drawing/2014/main" id="{5611C2CC-C37B-382E-A8D2-9B935DB41B5B}"/>
                    </a:ext>
                  </a:extLst>
                </p:cNvPr>
                <p:cNvSpPr>
                  <a:spLocks/>
                </p:cNvSpPr>
                <p:nvPr/>
              </p:nvSpPr>
              <p:spPr bwMode="auto">
                <a:xfrm>
                  <a:off x="8201457" y="4132945"/>
                  <a:ext cx="3524" cy="5285"/>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0" name="Freeform 2113">
                  <a:extLst>
                    <a:ext uri="{FF2B5EF4-FFF2-40B4-BE49-F238E27FC236}">
                      <a16:creationId xmlns:a16="http://schemas.microsoft.com/office/drawing/2014/main" id="{D27761C3-E7F3-9A08-1491-087D4262D841}"/>
                    </a:ext>
                  </a:extLst>
                </p:cNvPr>
                <p:cNvSpPr>
                  <a:spLocks/>
                </p:cNvSpPr>
                <p:nvPr/>
              </p:nvSpPr>
              <p:spPr bwMode="auto">
                <a:xfrm>
                  <a:off x="8150357" y="4289762"/>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1" name="Freeform 2114">
                  <a:extLst>
                    <a:ext uri="{FF2B5EF4-FFF2-40B4-BE49-F238E27FC236}">
                      <a16:creationId xmlns:a16="http://schemas.microsoft.com/office/drawing/2014/main" id="{32E1F510-8B90-103C-5765-CF84D04B75B7}"/>
                    </a:ext>
                  </a:extLst>
                </p:cNvPr>
                <p:cNvSpPr>
                  <a:spLocks/>
                </p:cNvSpPr>
                <p:nvPr/>
              </p:nvSpPr>
              <p:spPr bwMode="auto">
                <a:xfrm>
                  <a:off x="8150357" y="4289762"/>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2" name="Freeform 2115">
                  <a:extLst>
                    <a:ext uri="{FF2B5EF4-FFF2-40B4-BE49-F238E27FC236}">
                      <a16:creationId xmlns:a16="http://schemas.microsoft.com/office/drawing/2014/main" id="{867FDB98-FE13-C0A0-D960-6602B3761B28}"/>
                    </a:ext>
                  </a:extLst>
                </p:cNvPr>
                <p:cNvSpPr>
                  <a:spLocks/>
                </p:cNvSpPr>
                <p:nvPr/>
              </p:nvSpPr>
              <p:spPr bwMode="auto">
                <a:xfrm>
                  <a:off x="8150357" y="4289762"/>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lnTo>
                        <a:pt x="16"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3" name="Freeform 2116">
                  <a:extLst>
                    <a:ext uri="{FF2B5EF4-FFF2-40B4-BE49-F238E27FC236}">
                      <a16:creationId xmlns:a16="http://schemas.microsoft.com/office/drawing/2014/main" id="{9DEB8D2C-8082-4333-6DAD-5AA5D4D59F35}"/>
                    </a:ext>
                  </a:extLst>
                </p:cNvPr>
                <p:cNvSpPr>
                  <a:spLocks/>
                </p:cNvSpPr>
                <p:nvPr/>
              </p:nvSpPr>
              <p:spPr bwMode="auto">
                <a:xfrm>
                  <a:off x="8122167" y="4309144"/>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4" name="Freeform 2117">
                  <a:extLst>
                    <a:ext uri="{FF2B5EF4-FFF2-40B4-BE49-F238E27FC236}">
                      <a16:creationId xmlns:a16="http://schemas.microsoft.com/office/drawing/2014/main" id="{87BF0BAF-4CC0-EC35-9A74-92C3D5F5892E}"/>
                    </a:ext>
                  </a:extLst>
                </p:cNvPr>
                <p:cNvSpPr>
                  <a:spLocks/>
                </p:cNvSpPr>
                <p:nvPr/>
              </p:nvSpPr>
              <p:spPr bwMode="auto">
                <a:xfrm>
                  <a:off x="8122167" y="4309144"/>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5" name="Freeform 2118">
                  <a:extLst>
                    <a:ext uri="{FF2B5EF4-FFF2-40B4-BE49-F238E27FC236}">
                      <a16:creationId xmlns:a16="http://schemas.microsoft.com/office/drawing/2014/main" id="{EF5CE153-B8A0-A8C9-7125-8CA62D2DFC12}"/>
                    </a:ext>
                  </a:extLst>
                </p:cNvPr>
                <p:cNvSpPr>
                  <a:spLocks/>
                </p:cNvSpPr>
                <p:nvPr/>
              </p:nvSpPr>
              <p:spPr bwMode="auto">
                <a:xfrm>
                  <a:off x="8122167" y="4309144"/>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lnTo>
                        <a:pt x="2"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6" name="Freeform 2119">
                  <a:extLst>
                    <a:ext uri="{FF2B5EF4-FFF2-40B4-BE49-F238E27FC236}">
                      <a16:creationId xmlns:a16="http://schemas.microsoft.com/office/drawing/2014/main" id="{5FC59DE0-F27A-83C8-63B7-8899A1900471}"/>
                    </a:ext>
                  </a:extLst>
                </p:cNvPr>
                <p:cNvSpPr>
                  <a:spLocks/>
                </p:cNvSpPr>
                <p:nvPr/>
              </p:nvSpPr>
              <p:spPr bwMode="auto">
                <a:xfrm>
                  <a:off x="8196171" y="4203423"/>
                  <a:ext cx="7048" cy="5285"/>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7" name="Freeform 2120">
                  <a:extLst>
                    <a:ext uri="{FF2B5EF4-FFF2-40B4-BE49-F238E27FC236}">
                      <a16:creationId xmlns:a16="http://schemas.microsoft.com/office/drawing/2014/main" id="{AC42CB15-4B00-963C-1725-1D8804AF2289}"/>
                    </a:ext>
                  </a:extLst>
                </p:cNvPr>
                <p:cNvSpPr>
                  <a:spLocks/>
                </p:cNvSpPr>
                <p:nvPr/>
              </p:nvSpPr>
              <p:spPr bwMode="auto">
                <a:xfrm>
                  <a:off x="8196171" y="4203423"/>
                  <a:ext cx="7048" cy="5285"/>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8" name="Freeform 2121">
                  <a:extLst>
                    <a:ext uri="{FF2B5EF4-FFF2-40B4-BE49-F238E27FC236}">
                      <a16:creationId xmlns:a16="http://schemas.microsoft.com/office/drawing/2014/main" id="{C7CE03EC-794F-51B7-F4A5-8DE9BB566EE0}"/>
                    </a:ext>
                  </a:extLst>
                </p:cNvPr>
                <p:cNvSpPr>
                  <a:spLocks/>
                </p:cNvSpPr>
                <p:nvPr/>
              </p:nvSpPr>
              <p:spPr bwMode="auto">
                <a:xfrm>
                  <a:off x="8196171" y="4203423"/>
                  <a:ext cx="7048" cy="5285"/>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lnTo>
                        <a:pt x="5"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9" name="Freeform 2122">
                  <a:extLst>
                    <a:ext uri="{FF2B5EF4-FFF2-40B4-BE49-F238E27FC236}">
                      <a16:creationId xmlns:a16="http://schemas.microsoft.com/office/drawing/2014/main" id="{97D037A0-2EF2-A167-B97E-7F04FC840ACD}"/>
                    </a:ext>
                  </a:extLst>
                </p:cNvPr>
                <p:cNvSpPr>
                  <a:spLocks/>
                </p:cNvSpPr>
                <p:nvPr/>
              </p:nvSpPr>
              <p:spPr bwMode="auto">
                <a:xfrm>
                  <a:off x="8227889" y="4203423"/>
                  <a:ext cx="8811" cy="5285"/>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0" name="Freeform 2123">
                  <a:extLst>
                    <a:ext uri="{FF2B5EF4-FFF2-40B4-BE49-F238E27FC236}">
                      <a16:creationId xmlns:a16="http://schemas.microsoft.com/office/drawing/2014/main" id="{908E57E8-B066-11E2-9904-0CB999DD60D7}"/>
                    </a:ext>
                  </a:extLst>
                </p:cNvPr>
                <p:cNvSpPr>
                  <a:spLocks/>
                </p:cNvSpPr>
                <p:nvPr/>
              </p:nvSpPr>
              <p:spPr bwMode="auto">
                <a:xfrm>
                  <a:off x="8227889" y="4203423"/>
                  <a:ext cx="8811" cy="5285"/>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1" name="Freeform 2124">
                  <a:extLst>
                    <a:ext uri="{FF2B5EF4-FFF2-40B4-BE49-F238E27FC236}">
                      <a16:creationId xmlns:a16="http://schemas.microsoft.com/office/drawing/2014/main" id="{5157CCD5-18A8-67B9-0566-A8A5EDFE03A4}"/>
                    </a:ext>
                  </a:extLst>
                </p:cNvPr>
                <p:cNvSpPr>
                  <a:spLocks/>
                </p:cNvSpPr>
                <p:nvPr/>
              </p:nvSpPr>
              <p:spPr bwMode="auto">
                <a:xfrm>
                  <a:off x="8227889" y="4203423"/>
                  <a:ext cx="8811" cy="5285"/>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2" name="Freeform 2125">
                  <a:extLst>
                    <a:ext uri="{FF2B5EF4-FFF2-40B4-BE49-F238E27FC236}">
                      <a16:creationId xmlns:a16="http://schemas.microsoft.com/office/drawing/2014/main" id="{6A485F52-8D00-2EEA-C7A6-6B712AD89605}"/>
                    </a:ext>
                  </a:extLst>
                </p:cNvPr>
                <p:cNvSpPr>
                  <a:spLocks/>
                </p:cNvSpPr>
                <p:nvPr/>
              </p:nvSpPr>
              <p:spPr bwMode="auto">
                <a:xfrm>
                  <a:off x="8152120" y="4085367"/>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3" name="Freeform 2126">
                  <a:extLst>
                    <a:ext uri="{FF2B5EF4-FFF2-40B4-BE49-F238E27FC236}">
                      <a16:creationId xmlns:a16="http://schemas.microsoft.com/office/drawing/2014/main" id="{FFBBB20E-6C4D-6BDE-AB68-1792D956C687}"/>
                    </a:ext>
                  </a:extLst>
                </p:cNvPr>
                <p:cNvSpPr>
                  <a:spLocks/>
                </p:cNvSpPr>
                <p:nvPr/>
              </p:nvSpPr>
              <p:spPr bwMode="auto">
                <a:xfrm>
                  <a:off x="8152120" y="4085367"/>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4" name="Freeform 2127">
                  <a:extLst>
                    <a:ext uri="{FF2B5EF4-FFF2-40B4-BE49-F238E27FC236}">
                      <a16:creationId xmlns:a16="http://schemas.microsoft.com/office/drawing/2014/main" id="{570D4210-56F7-3C95-FB64-BA59443C6843}"/>
                    </a:ext>
                  </a:extLst>
                </p:cNvPr>
                <p:cNvSpPr>
                  <a:spLocks/>
                </p:cNvSpPr>
                <p:nvPr/>
              </p:nvSpPr>
              <p:spPr bwMode="auto">
                <a:xfrm>
                  <a:off x="8152120" y="4085367"/>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lnTo>
                        <a:pt x="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5" name="Freeform 2128">
                  <a:extLst>
                    <a:ext uri="{FF2B5EF4-FFF2-40B4-BE49-F238E27FC236}">
                      <a16:creationId xmlns:a16="http://schemas.microsoft.com/office/drawing/2014/main" id="{6CCE25D8-E2CE-224B-CDBC-51D67F1AB6DF}"/>
                    </a:ext>
                  </a:extLst>
                </p:cNvPr>
                <p:cNvSpPr>
                  <a:spLocks/>
                </p:cNvSpPr>
                <p:nvPr/>
              </p:nvSpPr>
              <p:spPr bwMode="auto">
                <a:xfrm>
                  <a:off x="8152122" y="4055415"/>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6" name="Freeform 2129">
                  <a:extLst>
                    <a:ext uri="{FF2B5EF4-FFF2-40B4-BE49-F238E27FC236}">
                      <a16:creationId xmlns:a16="http://schemas.microsoft.com/office/drawing/2014/main" id="{41942A76-7AD9-C9D4-C331-93736C1B5E45}"/>
                    </a:ext>
                  </a:extLst>
                </p:cNvPr>
                <p:cNvSpPr>
                  <a:spLocks/>
                </p:cNvSpPr>
                <p:nvPr/>
              </p:nvSpPr>
              <p:spPr bwMode="auto">
                <a:xfrm>
                  <a:off x="8152122" y="4055415"/>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7" name="Freeform 2130">
                  <a:extLst>
                    <a:ext uri="{FF2B5EF4-FFF2-40B4-BE49-F238E27FC236}">
                      <a16:creationId xmlns:a16="http://schemas.microsoft.com/office/drawing/2014/main" id="{1AC0E9B3-B2BA-415F-E4AB-8AEA201E5B72}"/>
                    </a:ext>
                  </a:extLst>
                </p:cNvPr>
                <p:cNvSpPr>
                  <a:spLocks/>
                </p:cNvSpPr>
                <p:nvPr/>
              </p:nvSpPr>
              <p:spPr bwMode="auto">
                <a:xfrm>
                  <a:off x="8152122" y="4055415"/>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lnTo>
                        <a:pt x="0" y="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8" name="Freeform 2131">
                  <a:extLst>
                    <a:ext uri="{FF2B5EF4-FFF2-40B4-BE49-F238E27FC236}">
                      <a16:creationId xmlns:a16="http://schemas.microsoft.com/office/drawing/2014/main" id="{2936D1CB-9A00-8F48-27E8-A3164DA23030}"/>
                    </a:ext>
                  </a:extLst>
                </p:cNvPr>
                <p:cNvSpPr>
                  <a:spLocks/>
                </p:cNvSpPr>
                <p:nvPr/>
              </p:nvSpPr>
              <p:spPr bwMode="auto">
                <a:xfrm>
                  <a:off x="8167977" y="4090654"/>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9" name="Freeform 2132">
                  <a:extLst>
                    <a:ext uri="{FF2B5EF4-FFF2-40B4-BE49-F238E27FC236}">
                      <a16:creationId xmlns:a16="http://schemas.microsoft.com/office/drawing/2014/main" id="{05182D1B-A963-D147-9228-7726F7546C3B}"/>
                    </a:ext>
                  </a:extLst>
                </p:cNvPr>
                <p:cNvSpPr>
                  <a:spLocks/>
                </p:cNvSpPr>
                <p:nvPr/>
              </p:nvSpPr>
              <p:spPr bwMode="auto">
                <a:xfrm>
                  <a:off x="8167977" y="4090654"/>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0" name="Freeform 2133">
                  <a:extLst>
                    <a:ext uri="{FF2B5EF4-FFF2-40B4-BE49-F238E27FC236}">
                      <a16:creationId xmlns:a16="http://schemas.microsoft.com/office/drawing/2014/main" id="{E79B2D5F-D022-4BC4-8F1F-764DD280B8E8}"/>
                    </a:ext>
                  </a:extLst>
                </p:cNvPr>
                <p:cNvSpPr>
                  <a:spLocks/>
                </p:cNvSpPr>
                <p:nvPr/>
              </p:nvSpPr>
              <p:spPr bwMode="auto">
                <a:xfrm>
                  <a:off x="8167977" y="4090654"/>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1" name="Freeform 2134">
                  <a:extLst>
                    <a:ext uri="{FF2B5EF4-FFF2-40B4-BE49-F238E27FC236}">
                      <a16:creationId xmlns:a16="http://schemas.microsoft.com/office/drawing/2014/main" id="{1307DF23-841C-5C36-061B-F2E1F48490A7}"/>
                    </a:ext>
                  </a:extLst>
                </p:cNvPr>
                <p:cNvSpPr>
                  <a:spLocks/>
                </p:cNvSpPr>
                <p:nvPr/>
              </p:nvSpPr>
              <p:spPr bwMode="auto">
                <a:xfrm>
                  <a:off x="8182073" y="4069512"/>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2" name="Freeform 2135">
                  <a:extLst>
                    <a:ext uri="{FF2B5EF4-FFF2-40B4-BE49-F238E27FC236}">
                      <a16:creationId xmlns:a16="http://schemas.microsoft.com/office/drawing/2014/main" id="{EA790938-87A6-87EF-61BA-1A38BAD7341D}"/>
                    </a:ext>
                  </a:extLst>
                </p:cNvPr>
                <p:cNvSpPr>
                  <a:spLocks/>
                </p:cNvSpPr>
                <p:nvPr/>
              </p:nvSpPr>
              <p:spPr bwMode="auto">
                <a:xfrm>
                  <a:off x="8182073" y="4069512"/>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3" name="Freeform 2136">
                  <a:extLst>
                    <a:ext uri="{FF2B5EF4-FFF2-40B4-BE49-F238E27FC236}">
                      <a16:creationId xmlns:a16="http://schemas.microsoft.com/office/drawing/2014/main" id="{60D37EB4-3E9E-5178-191B-AEC0A7E6E3AF}"/>
                    </a:ext>
                  </a:extLst>
                </p:cNvPr>
                <p:cNvSpPr>
                  <a:spLocks/>
                </p:cNvSpPr>
                <p:nvPr/>
              </p:nvSpPr>
              <p:spPr bwMode="auto">
                <a:xfrm>
                  <a:off x="8182073" y="4069512"/>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4" name="Freeform 2137">
                  <a:extLst>
                    <a:ext uri="{FF2B5EF4-FFF2-40B4-BE49-F238E27FC236}">
                      <a16:creationId xmlns:a16="http://schemas.microsoft.com/office/drawing/2014/main" id="{DA63CD57-D8EF-7F83-8CBC-41D150585B63}"/>
                    </a:ext>
                  </a:extLst>
                </p:cNvPr>
                <p:cNvSpPr>
                  <a:spLocks/>
                </p:cNvSpPr>
                <p:nvPr/>
              </p:nvSpPr>
              <p:spPr bwMode="auto">
                <a:xfrm>
                  <a:off x="8199695" y="4083608"/>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5" name="Freeform 2138">
                  <a:extLst>
                    <a:ext uri="{FF2B5EF4-FFF2-40B4-BE49-F238E27FC236}">
                      <a16:creationId xmlns:a16="http://schemas.microsoft.com/office/drawing/2014/main" id="{AAB8413F-55EE-F34F-74A5-0FAFFF0D48C4}"/>
                    </a:ext>
                  </a:extLst>
                </p:cNvPr>
                <p:cNvSpPr>
                  <a:spLocks/>
                </p:cNvSpPr>
                <p:nvPr/>
              </p:nvSpPr>
              <p:spPr bwMode="auto">
                <a:xfrm>
                  <a:off x="8199695" y="4083608"/>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6" name="Freeform 2139">
                  <a:extLst>
                    <a:ext uri="{FF2B5EF4-FFF2-40B4-BE49-F238E27FC236}">
                      <a16:creationId xmlns:a16="http://schemas.microsoft.com/office/drawing/2014/main" id="{50734E81-67FA-4F9B-4715-5A27950ACF9E}"/>
                    </a:ext>
                  </a:extLst>
                </p:cNvPr>
                <p:cNvSpPr>
                  <a:spLocks/>
                </p:cNvSpPr>
                <p:nvPr/>
              </p:nvSpPr>
              <p:spPr bwMode="auto">
                <a:xfrm>
                  <a:off x="8199695" y="4083608"/>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7" name="Freeform 2140">
                  <a:extLst>
                    <a:ext uri="{FF2B5EF4-FFF2-40B4-BE49-F238E27FC236}">
                      <a16:creationId xmlns:a16="http://schemas.microsoft.com/office/drawing/2014/main" id="{339A0550-6A8B-0522-6FE5-4A84F6ADEF66}"/>
                    </a:ext>
                  </a:extLst>
                </p:cNvPr>
                <p:cNvSpPr>
                  <a:spLocks/>
                </p:cNvSpPr>
                <p:nvPr/>
              </p:nvSpPr>
              <p:spPr bwMode="auto">
                <a:xfrm>
                  <a:off x="8093974" y="4154088"/>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8" name="Freeform 2141">
                  <a:extLst>
                    <a:ext uri="{FF2B5EF4-FFF2-40B4-BE49-F238E27FC236}">
                      <a16:creationId xmlns:a16="http://schemas.microsoft.com/office/drawing/2014/main" id="{713F23C5-5512-AFA9-A27E-5B214AF6C071}"/>
                    </a:ext>
                  </a:extLst>
                </p:cNvPr>
                <p:cNvSpPr>
                  <a:spLocks/>
                </p:cNvSpPr>
                <p:nvPr/>
              </p:nvSpPr>
              <p:spPr bwMode="auto">
                <a:xfrm>
                  <a:off x="8093974" y="4154088"/>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9" name="Freeform 2142">
                  <a:extLst>
                    <a:ext uri="{FF2B5EF4-FFF2-40B4-BE49-F238E27FC236}">
                      <a16:creationId xmlns:a16="http://schemas.microsoft.com/office/drawing/2014/main" id="{6C96B845-4AD2-544A-8C39-7345BA417794}"/>
                    </a:ext>
                  </a:extLst>
                </p:cNvPr>
                <p:cNvSpPr>
                  <a:spLocks/>
                </p:cNvSpPr>
                <p:nvPr/>
              </p:nvSpPr>
              <p:spPr bwMode="auto">
                <a:xfrm>
                  <a:off x="8093974" y="4154088"/>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0" name="Freeform 2143">
                  <a:extLst>
                    <a:ext uri="{FF2B5EF4-FFF2-40B4-BE49-F238E27FC236}">
                      <a16:creationId xmlns:a16="http://schemas.microsoft.com/office/drawing/2014/main" id="{20E03D6D-EA52-D1FD-ED32-E78063E9858E}"/>
                    </a:ext>
                  </a:extLst>
                </p:cNvPr>
                <p:cNvSpPr>
                  <a:spLocks/>
                </p:cNvSpPr>
                <p:nvPr/>
              </p:nvSpPr>
              <p:spPr bwMode="auto">
                <a:xfrm>
                  <a:off x="8254318" y="4161135"/>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1" name="Freeform 2144">
                  <a:extLst>
                    <a:ext uri="{FF2B5EF4-FFF2-40B4-BE49-F238E27FC236}">
                      <a16:creationId xmlns:a16="http://schemas.microsoft.com/office/drawing/2014/main" id="{1D491480-DB5F-D5EA-F1CA-455C7DFF6C99}"/>
                    </a:ext>
                  </a:extLst>
                </p:cNvPr>
                <p:cNvSpPr>
                  <a:spLocks/>
                </p:cNvSpPr>
                <p:nvPr/>
              </p:nvSpPr>
              <p:spPr bwMode="auto">
                <a:xfrm>
                  <a:off x="8254318" y="4161135"/>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2" name="Freeform 2145">
                  <a:extLst>
                    <a:ext uri="{FF2B5EF4-FFF2-40B4-BE49-F238E27FC236}">
                      <a16:creationId xmlns:a16="http://schemas.microsoft.com/office/drawing/2014/main" id="{7D081086-BC73-D891-2A5D-41D3E9D2727F}"/>
                    </a:ext>
                  </a:extLst>
                </p:cNvPr>
                <p:cNvSpPr>
                  <a:spLocks/>
                </p:cNvSpPr>
                <p:nvPr/>
              </p:nvSpPr>
              <p:spPr bwMode="auto">
                <a:xfrm>
                  <a:off x="8254318" y="4161135"/>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lnTo>
                        <a:pt x="4"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3" name="Freeform 2146">
                  <a:extLst>
                    <a:ext uri="{FF2B5EF4-FFF2-40B4-BE49-F238E27FC236}">
                      <a16:creationId xmlns:a16="http://schemas.microsoft.com/office/drawing/2014/main" id="{4EB65A26-80C2-0FF5-EDCA-86A37D739AF5}"/>
                    </a:ext>
                  </a:extLst>
                </p:cNvPr>
                <p:cNvSpPr>
                  <a:spLocks/>
                </p:cNvSpPr>
                <p:nvPr/>
              </p:nvSpPr>
              <p:spPr bwMode="auto">
                <a:xfrm>
                  <a:off x="8266650" y="4173467"/>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4" name="Freeform 2147">
                  <a:extLst>
                    <a:ext uri="{FF2B5EF4-FFF2-40B4-BE49-F238E27FC236}">
                      <a16:creationId xmlns:a16="http://schemas.microsoft.com/office/drawing/2014/main" id="{0AD2DEDC-772F-9764-3985-3FEBB75351C3}"/>
                    </a:ext>
                  </a:extLst>
                </p:cNvPr>
                <p:cNvSpPr>
                  <a:spLocks/>
                </p:cNvSpPr>
                <p:nvPr/>
              </p:nvSpPr>
              <p:spPr bwMode="auto">
                <a:xfrm>
                  <a:off x="8266650" y="4173467"/>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5" name="Freeform 2148">
                  <a:extLst>
                    <a:ext uri="{FF2B5EF4-FFF2-40B4-BE49-F238E27FC236}">
                      <a16:creationId xmlns:a16="http://schemas.microsoft.com/office/drawing/2014/main" id="{005D15EF-1645-2DEF-083D-E5B6F04C3073}"/>
                    </a:ext>
                  </a:extLst>
                </p:cNvPr>
                <p:cNvSpPr>
                  <a:spLocks/>
                </p:cNvSpPr>
                <p:nvPr/>
              </p:nvSpPr>
              <p:spPr bwMode="auto">
                <a:xfrm>
                  <a:off x="8266650" y="4173467"/>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lnTo>
                        <a:pt x="2" y="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6" name="Freeform 2149">
                  <a:extLst>
                    <a:ext uri="{FF2B5EF4-FFF2-40B4-BE49-F238E27FC236}">
                      <a16:creationId xmlns:a16="http://schemas.microsoft.com/office/drawing/2014/main" id="{CB110084-4F92-42AD-3974-83EDC255DFCE}"/>
                    </a:ext>
                  </a:extLst>
                </p:cNvPr>
                <p:cNvSpPr>
                  <a:spLocks/>
                </p:cNvSpPr>
                <p:nvPr/>
              </p:nvSpPr>
              <p:spPr bwMode="auto">
                <a:xfrm>
                  <a:off x="8166215" y="4143513"/>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7" name="Freeform 2150">
                  <a:extLst>
                    <a:ext uri="{FF2B5EF4-FFF2-40B4-BE49-F238E27FC236}">
                      <a16:creationId xmlns:a16="http://schemas.microsoft.com/office/drawing/2014/main" id="{EF7D595A-1C9E-19BC-1542-DCDE2B0FA1FD}"/>
                    </a:ext>
                  </a:extLst>
                </p:cNvPr>
                <p:cNvSpPr>
                  <a:spLocks/>
                </p:cNvSpPr>
                <p:nvPr/>
              </p:nvSpPr>
              <p:spPr bwMode="auto">
                <a:xfrm>
                  <a:off x="8166215" y="4143513"/>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8" name="Freeform 2151">
                  <a:extLst>
                    <a:ext uri="{FF2B5EF4-FFF2-40B4-BE49-F238E27FC236}">
                      <a16:creationId xmlns:a16="http://schemas.microsoft.com/office/drawing/2014/main" id="{AC1C77B4-8B53-8549-0E69-1FEBB541043C}"/>
                    </a:ext>
                  </a:extLst>
                </p:cNvPr>
                <p:cNvSpPr>
                  <a:spLocks/>
                </p:cNvSpPr>
                <p:nvPr/>
              </p:nvSpPr>
              <p:spPr bwMode="auto">
                <a:xfrm>
                  <a:off x="8166215" y="4143513"/>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lnTo>
                        <a:pt x="0" y="4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9" name="Freeform 2152">
                  <a:extLst>
                    <a:ext uri="{FF2B5EF4-FFF2-40B4-BE49-F238E27FC236}">
                      <a16:creationId xmlns:a16="http://schemas.microsoft.com/office/drawing/2014/main" id="{730606AE-24AA-5077-4719-B8F595DE2E88}"/>
                    </a:ext>
                  </a:extLst>
                </p:cNvPr>
                <p:cNvSpPr>
                  <a:spLocks/>
                </p:cNvSpPr>
                <p:nvPr/>
              </p:nvSpPr>
              <p:spPr bwMode="auto">
                <a:xfrm>
                  <a:off x="8187362" y="4090656"/>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0" name="Freeform 2153">
                  <a:extLst>
                    <a:ext uri="{FF2B5EF4-FFF2-40B4-BE49-F238E27FC236}">
                      <a16:creationId xmlns:a16="http://schemas.microsoft.com/office/drawing/2014/main" id="{DF42BEC6-C54B-4CBC-74B7-5005E6445DE8}"/>
                    </a:ext>
                  </a:extLst>
                </p:cNvPr>
                <p:cNvSpPr>
                  <a:spLocks/>
                </p:cNvSpPr>
                <p:nvPr/>
              </p:nvSpPr>
              <p:spPr bwMode="auto">
                <a:xfrm>
                  <a:off x="8187362" y="4090656"/>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1" name="Freeform 2154">
                  <a:extLst>
                    <a:ext uri="{FF2B5EF4-FFF2-40B4-BE49-F238E27FC236}">
                      <a16:creationId xmlns:a16="http://schemas.microsoft.com/office/drawing/2014/main" id="{89FF9E30-85E3-E561-916C-69F54CE156FC}"/>
                    </a:ext>
                  </a:extLst>
                </p:cNvPr>
                <p:cNvSpPr>
                  <a:spLocks/>
                </p:cNvSpPr>
                <p:nvPr/>
              </p:nvSpPr>
              <p:spPr bwMode="auto">
                <a:xfrm>
                  <a:off x="8187362" y="4090656"/>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lnTo>
                        <a:pt x="0" y="2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2" name="Freeform 2155">
                  <a:extLst>
                    <a:ext uri="{FF2B5EF4-FFF2-40B4-BE49-F238E27FC236}">
                      <a16:creationId xmlns:a16="http://schemas.microsoft.com/office/drawing/2014/main" id="{1624BB2E-9626-1CAF-C782-031E0E6F6AAE}"/>
                    </a:ext>
                  </a:extLst>
                </p:cNvPr>
                <p:cNvSpPr>
                  <a:spLocks/>
                </p:cNvSpPr>
                <p:nvPr/>
              </p:nvSpPr>
              <p:spPr bwMode="auto">
                <a:xfrm>
                  <a:off x="8192645" y="4134703"/>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3" name="Freeform 2156">
                  <a:extLst>
                    <a:ext uri="{FF2B5EF4-FFF2-40B4-BE49-F238E27FC236}">
                      <a16:creationId xmlns:a16="http://schemas.microsoft.com/office/drawing/2014/main" id="{5F79B21E-1362-9C14-3DAA-AEEBDFDDAE38}"/>
                    </a:ext>
                  </a:extLst>
                </p:cNvPr>
                <p:cNvSpPr>
                  <a:spLocks/>
                </p:cNvSpPr>
                <p:nvPr/>
              </p:nvSpPr>
              <p:spPr bwMode="auto">
                <a:xfrm>
                  <a:off x="8192645" y="4134703"/>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4" name="Freeform 2157">
                  <a:extLst>
                    <a:ext uri="{FF2B5EF4-FFF2-40B4-BE49-F238E27FC236}">
                      <a16:creationId xmlns:a16="http://schemas.microsoft.com/office/drawing/2014/main" id="{FDC1BC5B-EB6C-7C06-FC9F-414F694708D7}"/>
                    </a:ext>
                  </a:extLst>
                </p:cNvPr>
                <p:cNvSpPr>
                  <a:spLocks/>
                </p:cNvSpPr>
                <p:nvPr/>
              </p:nvSpPr>
              <p:spPr bwMode="auto">
                <a:xfrm>
                  <a:off x="8192645" y="4134703"/>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lnTo>
                        <a:pt x="0" y="7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5" name="Freeform 2158">
                  <a:extLst>
                    <a:ext uri="{FF2B5EF4-FFF2-40B4-BE49-F238E27FC236}">
                      <a16:creationId xmlns:a16="http://schemas.microsoft.com/office/drawing/2014/main" id="{2744DB0D-B5AB-AC71-3292-160A186065F6}"/>
                    </a:ext>
                  </a:extLst>
                </p:cNvPr>
                <p:cNvSpPr>
                  <a:spLocks/>
                </p:cNvSpPr>
                <p:nvPr/>
              </p:nvSpPr>
              <p:spPr bwMode="auto">
                <a:xfrm>
                  <a:off x="8206741" y="4169943"/>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6" name="Freeform 2159">
                  <a:extLst>
                    <a:ext uri="{FF2B5EF4-FFF2-40B4-BE49-F238E27FC236}">
                      <a16:creationId xmlns:a16="http://schemas.microsoft.com/office/drawing/2014/main" id="{DA8F16A7-7DCB-FADC-E654-C0D220269E9D}"/>
                    </a:ext>
                  </a:extLst>
                </p:cNvPr>
                <p:cNvSpPr>
                  <a:spLocks/>
                </p:cNvSpPr>
                <p:nvPr/>
              </p:nvSpPr>
              <p:spPr bwMode="auto">
                <a:xfrm>
                  <a:off x="8206741" y="4169943"/>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7" name="Freeform 2160">
                  <a:extLst>
                    <a:ext uri="{FF2B5EF4-FFF2-40B4-BE49-F238E27FC236}">
                      <a16:creationId xmlns:a16="http://schemas.microsoft.com/office/drawing/2014/main" id="{2C76930D-AED4-474B-CC98-F07810022989}"/>
                    </a:ext>
                  </a:extLst>
                </p:cNvPr>
                <p:cNvSpPr>
                  <a:spLocks/>
                </p:cNvSpPr>
                <p:nvPr/>
              </p:nvSpPr>
              <p:spPr bwMode="auto">
                <a:xfrm>
                  <a:off x="8206741" y="4169943"/>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lnTo>
                        <a:pt x="2"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8" name="Freeform 2161">
                  <a:extLst>
                    <a:ext uri="{FF2B5EF4-FFF2-40B4-BE49-F238E27FC236}">
                      <a16:creationId xmlns:a16="http://schemas.microsoft.com/office/drawing/2014/main" id="{11C11397-E98D-7D3F-6D96-198771FC781A}"/>
                    </a:ext>
                  </a:extLst>
                </p:cNvPr>
                <p:cNvSpPr>
                  <a:spLocks/>
                </p:cNvSpPr>
                <p:nvPr/>
              </p:nvSpPr>
              <p:spPr bwMode="auto">
                <a:xfrm>
                  <a:off x="8152120" y="4184039"/>
                  <a:ext cx="132149"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9" name="Freeform 2162">
                  <a:extLst>
                    <a:ext uri="{FF2B5EF4-FFF2-40B4-BE49-F238E27FC236}">
                      <a16:creationId xmlns:a16="http://schemas.microsoft.com/office/drawing/2014/main" id="{79C93512-D0FD-6000-BB86-D6D6514FEA19}"/>
                    </a:ext>
                  </a:extLst>
                </p:cNvPr>
                <p:cNvSpPr>
                  <a:spLocks/>
                </p:cNvSpPr>
                <p:nvPr/>
              </p:nvSpPr>
              <p:spPr bwMode="auto">
                <a:xfrm>
                  <a:off x="8152120" y="4184039"/>
                  <a:ext cx="132149"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0" name="Freeform 2163">
                  <a:extLst>
                    <a:ext uri="{FF2B5EF4-FFF2-40B4-BE49-F238E27FC236}">
                      <a16:creationId xmlns:a16="http://schemas.microsoft.com/office/drawing/2014/main" id="{B698D3E2-CC00-96CF-658F-4E39F637A48C}"/>
                    </a:ext>
                  </a:extLst>
                </p:cNvPr>
                <p:cNvSpPr>
                  <a:spLocks/>
                </p:cNvSpPr>
                <p:nvPr/>
              </p:nvSpPr>
              <p:spPr bwMode="auto">
                <a:xfrm>
                  <a:off x="8219076" y="4087130"/>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1" name="Freeform 2164">
                  <a:extLst>
                    <a:ext uri="{FF2B5EF4-FFF2-40B4-BE49-F238E27FC236}">
                      <a16:creationId xmlns:a16="http://schemas.microsoft.com/office/drawing/2014/main" id="{CC12629A-71FD-D0C4-AFB2-50D0038405C9}"/>
                    </a:ext>
                  </a:extLst>
                </p:cNvPr>
                <p:cNvSpPr>
                  <a:spLocks/>
                </p:cNvSpPr>
                <p:nvPr/>
              </p:nvSpPr>
              <p:spPr bwMode="auto">
                <a:xfrm>
                  <a:off x="8219076" y="4087130"/>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2" name="Freeform 2165">
                  <a:extLst>
                    <a:ext uri="{FF2B5EF4-FFF2-40B4-BE49-F238E27FC236}">
                      <a16:creationId xmlns:a16="http://schemas.microsoft.com/office/drawing/2014/main" id="{D3C83B9B-472B-335B-33E5-C6DC80804F39}"/>
                    </a:ext>
                  </a:extLst>
                </p:cNvPr>
                <p:cNvSpPr>
                  <a:spLocks/>
                </p:cNvSpPr>
                <p:nvPr/>
              </p:nvSpPr>
              <p:spPr bwMode="auto">
                <a:xfrm>
                  <a:off x="8219076" y="4087130"/>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lnTo>
                        <a:pt x="31" y="6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3" name="Freeform 2166">
                  <a:extLst>
                    <a:ext uri="{FF2B5EF4-FFF2-40B4-BE49-F238E27FC236}">
                      <a16:creationId xmlns:a16="http://schemas.microsoft.com/office/drawing/2014/main" id="{B612DA13-533E-F299-C43A-656F0A4E9576}"/>
                    </a:ext>
                  </a:extLst>
                </p:cNvPr>
                <p:cNvSpPr>
                  <a:spLocks/>
                </p:cNvSpPr>
                <p:nvPr/>
              </p:nvSpPr>
              <p:spPr bwMode="auto">
                <a:xfrm>
                  <a:off x="8152122" y="4111800"/>
                  <a:ext cx="37001" cy="49336"/>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4" name="Freeform 2167">
                  <a:extLst>
                    <a:ext uri="{FF2B5EF4-FFF2-40B4-BE49-F238E27FC236}">
                      <a16:creationId xmlns:a16="http://schemas.microsoft.com/office/drawing/2014/main" id="{2163AC76-FE6A-FF0C-64CC-DC5D626455C8}"/>
                    </a:ext>
                  </a:extLst>
                </p:cNvPr>
                <p:cNvSpPr>
                  <a:spLocks/>
                </p:cNvSpPr>
                <p:nvPr/>
              </p:nvSpPr>
              <p:spPr bwMode="auto">
                <a:xfrm>
                  <a:off x="8152122" y="4111800"/>
                  <a:ext cx="37001" cy="49336"/>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5" name="Freeform 2168">
                  <a:extLst>
                    <a:ext uri="{FF2B5EF4-FFF2-40B4-BE49-F238E27FC236}">
                      <a16:creationId xmlns:a16="http://schemas.microsoft.com/office/drawing/2014/main" id="{6A4C5F34-8D82-A21E-F9D9-D93D8C97979E}"/>
                    </a:ext>
                  </a:extLst>
                </p:cNvPr>
                <p:cNvSpPr>
                  <a:spLocks/>
                </p:cNvSpPr>
                <p:nvPr/>
              </p:nvSpPr>
              <p:spPr bwMode="auto">
                <a:xfrm>
                  <a:off x="8152122" y="4111800"/>
                  <a:ext cx="37001" cy="49336"/>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lnTo>
                        <a:pt x="4"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6" name="Freeform 2169">
                  <a:extLst>
                    <a:ext uri="{FF2B5EF4-FFF2-40B4-BE49-F238E27FC236}">
                      <a16:creationId xmlns:a16="http://schemas.microsoft.com/office/drawing/2014/main" id="{F49A99C8-240B-48BF-693E-08664AC14586}"/>
                    </a:ext>
                  </a:extLst>
                </p:cNvPr>
                <p:cNvSpPr>
                  <a:spLocks/>
                </p:cNvSpPr>
                <p:nvPr/>
              </p:nvSpPr>
              <p:spPr bwMode="auto">
                <a:xfrm>
                  <a:off x="8108071" y="4055414"/>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7" name="Freeform 2170">
                  <a:extLst>
                    <a:ext uri="{FF2B5EF4-FFF2-40B4-BE49-F238E27FC236}">
                      <a16:creationId xmlns:a16="http://schemas.microsoft.com/office/drawing/2014/main" id="{E2493DB5-2972-BA9C-F93C-53C114F94910}"/>
                    </a:ext>
                  </a:extLst>
                </p:cNvPr>
                <p:cNvSpPr>
                  <a:spLocks/>
                </p:cNvSpPr>
                <p:nvPr/>
              </p:nvSpPr>
              <p:spPr bwMode="auto">
                <a:xfrm>
                  <a:off x="8108071" y="4055414"/>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8" name="Freeform 2171">
                  <a:extLst>
                    <a:ext uri="{FF2B5EF4-FFF2-40B4-BE49-F238E27FC236}">
                      <a16:creationId xmlns:a16="http://schemas.microsoft.com/office/drawing/2014/main" id="{3E80A865-5BA3-48E7-F5A1-C94822285B28}"/>
                    </a:ext>
                  </a:extLst>
                </p:cNvPr>
                <p:cNvSpPr>
                  <a:spLocks/>
                </p:cNvSpPr>
                <p:nvPr/>
              </p:nvSpPr>
              <p:spPr bwMode="auto">
                <a:xfrm>
                  <a:off x="8108071" y="4055414"/>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lnTo>
                        <a:pt x="26" y="5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9" name="Freeform 2172">
                  <a:extLst>
                    <a:ext uri="{FF2B5EF4-FFF2-40B4-BE49-F238E27FC236}">
                      <a16:creationId xmlns:a16="http://schemas.microsoft.com/office/drawing/2014/main" id="{8B0AEBC5-3EE2-30E4-7B86-6E272C1D4600}"/>
                    </a:ext>
                  </a:extLst>
                </p:cNvPr>
                <p:cNvSpPr>
                  <a:spLocks/>
                </p:cNvSpPr>
                <p:nvPr/>
              </p:nvSpPr>
              <p:spPr bwMode="auto">
                <a:xfrm>
                  <a:off x="8021734" y="4129420"/>
                  <a:ext cx="68718" cy="103957"/>
                </a:xfrm>
                <a:custGeom>
                  <a:avLst/>
                  <a:gdLst/>
                  <a:ahLst/>
                  <a:cxnLst>
                    <a:cxn ang="0">
                      <a:pos x="2" y="125"/>
                    </a:cxn>
                    <a:cxn ang="0">
                      <a:pos x="7" y="111"/>
                    </a:cxn>
                    <a:cxn ang="0">
                      <a:pos x="30" y="87"/>
                    </a:cxn>
                    <a:cxn ang="0">
                      <a:pos x="46" y="68"/>
                    </a:cxn>
                    <a:cxn ang="0">
                      <a:pos x="60" y="45"/>
                    </a:cxn>
                    <a:cxn ang="0">
                      <a:pos x="66" y="38"/>
                    </a:cxn>
                    <a:cxn ang="0">
                      <a:pos x="72" y="36"/>
                    </a:cxn>
                    <a:cxn ang="0">
                      <a:pos x="73" y="33"/>
                    </a:cxn>
                    <a:cxn ang="0">
                      <a:pos x="72" y="24"/>
                    </a:cxn>
                    <a:cxn ang="0">
                      <a:pos x="70" y="19"/>
                    </a:cxn>
                    <a:cxn ang="0">
                      <a:pos x="72" y="19"/>
                    </a:cxn>
                    <a:cxn ang="0">
                      <a:pos x="75" y="14"/>
                    </a:cxn>
                    <a:cxn ang="0">
                      <a:pos x="77" y="1"/>
                    </a:cxn>
                    <a:cxn ang="0">
                      <a:pos x="80" y="0"/>
                    </a:cxn>
                    <a:cxn ang="0">
                      <a:pos x="84" y="0"/>
                    </a:cxn>
                    <a:cxn ang="0">
                      <a:pos x="84" y="10"/>
                    </a:cxn>
                    <a:cxn ang="0">
                      <a:pos x="84" y="22"/>
                    </a:cxn>
                    <a:cxn ang="0">
                      <a:pos x="86" y="28"/>
                    </a:cxn>
                    <a:cxn ang="0">
                      <a:pos x="86" y="40"/>
                    </a:cxn>
                    <a:cxn ang="0">
                      <a:pos x="79" y="43"/>
                    </a:cxn>
                    <a:cxn ang="0">
                      <a:pos x="77" y="45"/>
                    </a:cxn>
                    <a:cxn ang="0">
                      <a:pos x="73" y="52"/>
                    </a:cxn>
                    <a:cxn ang="0">
                      <a:pos x="68" y="59"/>
                    </a:cxn>
                    <a:cxn ang="0">
                      <a:pos x="63" y="61"/>
                    </a:cxn>
                    <a:cxn ang="0">
                      <a:pos x="58" y="64"/>
                    </a:cxn>
                    <a:cxn ang="0">
                      <a:pos x="56" y="73"/>
                    </a:cxn>
                    <a:cxn ang="0">
                      <a:pos x="51" y="82"/>
                    </a:cxn>
                    <a:cxn ang="0">
                      <a:pos x="44" y="88"/>
                    </a:cxn>
                    <a:cxn ang="0">
                      <a:pos x="14" y="118"/>
                    </a:cxn>
                    <a:cxn ang="0">
                      <a:pos x="11" y="123"/>
                    </a:cxn>
                    <a:cxn ang="0">
                      <a:pos x="4" y="129"/>
                    </a:cxn>
                    <a:cxn ang="0">
                      <a:pos x="0" y="129"/>
                    </a:cxn>
                    <a:cxn ang="0">
                      <a:pos x="2" y="125"/>
                    </a:cxn>
                  </a:cxnLst>
                  <a:rect l="0" t="0" r="r" b="b"/>
                  <a:pathLst>
                    <a:path w="87" h="129">
                      <a:moveTo>
                        <a:pt x="2" y="125"/>
                      </a:moveTo>
                      <a:lnTo>
                        <a:pt x="2" y="125"/>
                      </a:lnTo>
                      <a:lnTo>
                        <a:pt x="4" y="116"/>
                      </a:lnTo>
                      <a:lnTo>
                        <a:pt x="7" y="111"/>
                      </a:lnTo>
                      <a:lnTo>
                        <a:pt x="14" y="101"/>
                      </a:lnTo>
                      <a:lnTo>
                        <a:pt x="30" y="87"/>
                      </a:lnTo>
                      <a:lnTo>
                        <a:pt x="30" y="87"/>
                      </a:lnTo>
                      <a:lnTo>
                        <a:pt x="46" y="68"/>
                      </a:lnTo>
                      <a:lnTo>
                        <a:pt x="60" y="45"/>
                      </a:lnTo>
                      <a:lnTo>
                        <a:pt x="60" y="45"/>
                      </a:lnTo>
                      <a:lnTo>
                        <a:pt x="65" y="38"/>
                      </a:lnTo>
                      <a:lnTo>
                        <a:pt x="66" y="38"/>
                      </a:lnTo>
                      <a:lnTo>
                        <a:pt x="70" y="38"/>
                      </a:lnTo>
                      <a:lnTo>
                        <a:pt x="72" y="36"/>
                      </a:lnTo>
                      <a:lnTo>
                        <a:pt x="72" y="36"/>
                      </a:lnTo>
                      <a:lnTo>
                        <a:pt x="73" y="33"/>
                      </a:lnTo>
                      <a:lnTo>
                        <a:pt x="73" y="29"/>
                      </a:lnTo>
                      <a:lnTo>
                        <a:pt x="72" y="24"/>
                      </a:lnTo>
                      <a:lnTo>
                        <a:pt x="70" y="21"/>
                      </a:lnTo>
                      <a:lnTo>
                        <a:pt x="70" y="19"/>
                      </a:lnTo>
                      <a:lnTo>
                        <a:pt x="72" y="19"/>
                      </a:lnTo>
                      <a:lnTo>
                        <a:pt x="72" y="19"/>
                      </a:lnTo>
                      <a:lnTo>
                        <a:pt x="75" y="17"/>
                      </a:lnTo>
                      <a:lnTo>
                        <a:pt x="75" y="14"/>
                      </a:lnTo>
                      <a:lnTo>
                        <a:pt x="77" y="7"/>
                      </a:lnTo>
                      <a:lnTo>
                        <a:pt x="77" y="1"/>
                      </a:lnTo>
                      <a:lnTo>
                        <a:pt x="79" y="0"/>
                      </a:lnTo>
                      <a:lnTo>
                        <a:pt x="80" y="0"/>
                      </a:lnTo>
                      <a:lnTo>
                        <a:pt x="80" y="0"/>
                      </a:lnTo>
                      <a:lnTo>
                        <a:pt x="84" y="0"/>
                      </a:lnTo>
                      <a:lnTo>
                        <a:pt x="84" y="3"/>
                      </a:lnTo>
                      <a:lnTo>
                        <a:pt x="84" y="10"/>
                      </a:lnTo>
                      <a:lnTo>
                        <a:pt x="84" y="19"/>
                      </a:lnTo>
                      <a:lnTo>
                        <a:pt x="84" y="22"/>
                      </a:lnTo>
                      <a:lnTo>
                        <a:pt x="86" y="28"/>
                      </a:lnTo>
                      <a:lnTo>
                        <a:pt x="86" y="28"/>
                      </a:lnTo>
                      <a:lnTo>
                        <a:pt x="87" y="35"/>
                      </a:lnTo>
                      <a:lnTo>
                        <a:pt x="86" y="40"/>
                      </a:lnTo>
                      <a:lnTo>
                        <a:pt x="84" y="43"/>
                      </a:lnTo>
                      <a:lnTo>
                        <a:pt x="79" y="43"/>
                      </a:lnTo>
                      <a:lnTo>
                        <a:pt x="79" y="43"/>
                      </a:lnTo>
                      <a:lnTo>
                        <a:pt x="77" y="45"/>
                      </a:lnTo>
                      <a:lnTo>
                        <a:pt x="75" y="47"/>
                      </a:lnTo>
                      <a:lnTo>
                        <a:pt x="73" y="52"/>
                      </a:lnTo>
                      <a:lnTo>
                        <a:pt x="72" y="57"/>
                      </a:lnTo>
                      <a:lnTo>
                        <a:pt x="68" y="59"/>
                      </a:lnTo>
                      <a:lnTo>
                        <a:pt x="63" y="61"/>
                      </a:lnTo>
                      <a:lnTo>
                        <a:pt x="63" y="61"/>
                      </a:lnTo>
                      <a:lnTo>
                        <a:pt x="60" y="62"/>
                      </a:lnTo>
                      <a:lnTo>
                        <a:pt x="58" y="64"/>
                      </a:lnTo>
                      <a:lnTo>
                        <a:pt x="58" y="68"/>
                      </a:lnTo>
                      <a:lnTo>
                        <a:pt x="56" y="73"/>
                      </a:lnTo>
                      <a:lnTo>
                        <a:pt x="54" y="76"/>
                      </a:lnTo>
                      <a:lnTo>
                        <a:pt x="51" y="82"/>
                      </a:lnTo>
                      <a:lnTo>
                        <a:pt x="44" y="88"/>
                      </a:lnTo>
                      <a:lnTo>
                        <a:pt x="44" y="88"/>
                      </a:lnTo>
                      <a:lnTo>
                        <a:pt x="23" y="109"/>
                      </a:lnTo>
                      <a:lnTo>
                        <a:pt x="14" y="118"/>
                      </a:lnTo>
                      <a:lnTo>
                        <a:pt x="14" y="118"/>
                      </a:lnTo>
                      <a:lnTo>
                        <a:pt x="11" y="123"/>
                      </a:lnTo>
                      <a:lnTo>
                        <a:pt x="6" y="129"/>
                      </a:lnTo>
                      <a:lnTo>
                        <a:pt x="4" y="129"/>
                      </a:lnTo>
                      <a:lnTo>
                        <a:pt x="2" y="129"/>
                      </a:lnTo>
                      <a:lnTo>
                        <a:pt x="0" y="129"/>
                      </a:lnTo>
                      <a:lnTo>
                        <a:pt x="2" y="125"/>
                      </a:lnTo>
                      <a:lnTo>
                        <a:pt x="2" y="1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0" name="Freeform 2173">
                  <a:extLst>
                    <a:ext uri="{FF2B5EF4-FFF2-40B4-BE49-F238E27FC236}">
                      <a16:creationId xmlns:a16="http://schemas.microsoft.com/office/drawing/2014/main" id="{873D23DC-39BC-0190-AA26-08D13C65C8F4}"/>
                    </a:ext>
                  </a:extLst>
                </p:cNvPr>
                <p:cNvSpPr>
                  <a:spLocks/>
                </p:cNvSpPr>
                <p:nvPr/>
              </p:nvSpPr>
              <p:spPr bwMode="auto">
                <a:xfrm>
                  <a:off x="8088689" y="3880975"/>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1" name="Freeform 2174">
                  <a:extLst>
                    <a:ext uri="{FF2B5EF4-FFF2-40B4-BE49-F238E27FC236}">
                      <a16:creationId xmlns:a16="http://schemas.microsoft.com/office/drawing/2014/main" id="{5EA5238E-7C76-5529-228E-64DE817190CD}"/>
                    </a:ext>
                  </a:extLst>
                </p:cNvPr>
                <p:cNvSpPr>
                  <a:spLocks/>
                </p:cNvSpPr>
                <p:nvPr/>
              </p:nvSpPr>
              <p:spPr bwMode="auto">
                <a:xfrm>
                  <a:off x="8088689" y="3880975"/>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2" name="Freeform 2175">
                  <a:extLst>
                    <a:ext uri="{FF2B5EF4-FFF2-40B4-BE49-F238E27FC236}">
                      <a16:creationId xmlns:a16="http://schemas.microsoft.com/office/drawing/2014/main" id="{1CBE5BDF-9283-388B-A45C-52880F5B9630}"/>
                    </a:ext>
                  </a:extLst>
                </p:cNvPr>
                <p:cNvSpPr>
                  <a:spLocks/>
                </p:cNvSpPr>
                <p:nvPr/>
              </p:nvSpPr>
              <p:spPr bwMode="auto">
                <a:xfrm>
                  <a:off x="9064837" y="3976125"/>
                  <a:ext cx="35241" cy="29955"/>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3" name="Freeform 2176">
                  <a:extLst>
                    <a:ext uri="{FF2B5EF4-FFF2-40B4-BE49-F238E27FC236}">
                      <a16:creationId xmlns:a16="http://schemas.microsoft.com/office/drawing/2014/main" id="{C142D83F-8C77-5257-DF4C-7B66EB46FFF3}"/>
                    </a:ext>
                  </a:extLst>
                </p:cNvPr>
                <p:cNvSpPr>
                  <a:spLocks/>
                </p:cNvSpPr>
                <p:nvPr/>
              </p:nvSpPr>
              <p:spPr bwMode="auto">
                <a:xfrm>
                  <a:off x="9064837" y="3976125"/>
                  <a:ext cx="35241" cy="29955"/>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4" name="Freeform 2177">
                  <a:extLst>
                    <a:ext uri="{FF2B5EF4-FFF2-40B4-BE49-F238E27FC236}">
                      <a16:creationId xmlns:a16="http://schemas.microsoft.com/office/drawing/2014/main" id="{C011D38A-86F0-4F37-767E-095454F66024}"/>
                    </a:ext>
                  </a:extLst>
                </p:cNvPr>
                <p:cNvSpPr>
                  <a:spLocks/>
                </p:cNvSpPr>
                <p:nvPr/>
              </p:nvSpPr>
              <p:spPr bwMode="auto">
                <a:xfrm>
                  <a:off x="2649387" y="3988458"/>
                  <a:ext cx="66957" cy="44049"/>
                </a:xfrm>
                <a:custGeom>
                  <a:avLst/>
                  <a:gdLst/>
                  <a:ahLst/>
                  <a:cxnLst>
                    <a:cxn ang="0">
                      <a:pos x="26" y="0"/>
                    </a:cxn>
                    <a:cxn ang="0">
                      <a:pos x="26" y="0"/>
                    </a:cxn>
                    <a:cxn ang="0">
                      <a:pos x="33" y="3"/>
                    </a:cxn>
                    <a:cxn ang="0">
                      <a:pos x="40" y="9"/>
                    </a:cxn>
                    <a:cxn ang="0">
                      <a:pos x="50" y="17"/>
                    </a:cxn>
                    <a:cxn ang="0">
                      <a:pos x="55" y="24"/>
                    </a:cxn>
                    <a:cxn ang="0">
                      <a:pos x="57" y="26"/>
                    </a:cxn>
                    <a:cxn ang="0">
                      <a:pos x="59" y="26"/>
                    </a:cxn>
                    <a:cxn ang="0">
                      <a:pos x="59" y="26"/>
                    </a:cxn>
                    <a:cxn ang="0">
                      <a:pos x="64" y="24"/>
                    </a:cxn>
                    <a:cxn ang="0">
                      <a:pos x="71" y="22"/>
                    </a:cxn>
                    <a:cxn ang="0">
                      <a:pos x="78" y="24"/>
                    </a:cxn>
                    <a:cxn ang="0">
                      <a:pos x="81" y="26"/>
                    </a:cxn>
                    <a:cxn ang="0">
                      <a:pos x="81" y="28"/>
                    </a:cxn>
                    <a:cxn ang="0">
                      <a:pos x="81" y="28"/>
                    </a:cxn>
                    <a:cxn ang="0">
                      <a:pos x="83" y="35"/>
                    </a:cxn>
                    <a:cxn ang="0">
                      <a:pos x="83" y="40"/>
                    </a:cxn>
                    <a:cxn ang="0">
                      <a:pos x="81" y="45"/>
                    </a:cxn>
                    <a:cxn ang="0">
                      <a:pos x="81" y="45"/>
                    </a:cxn>
                    <a:cxn ang="0">
                      <a:pos x="78" y="45"/>
                    </a:cxn>
                    <a:cxn ang="0">
                      <a:pos x="78" y="47"/>
                    </a:cxn>
                    <a:cxn ang="0">
                      <a:pos x="80" y="49"/>
                    </a:cxn>
                    <a:cxn ang="0">
                      <a:pos x="81" y="50"/>
                    </a:cxn>
                    <a:cxn ang="0">
                      <a:pos x="81" y="50"/>
                    </a:cxn>
                    <a:cxn ang="0">
                      <a:pos x="83" y="52"/>
                    </a:cxn>
                    <a:cxn ang="0">
                      <a:pos x="81" y="52"/>
                    </a:cxn>
                    <a:cxn ang="0">
                      <a:pos x="76" y="56"/>
                    </a:cxn>
                    <a:cxn ang="0">
                      <a:pos x="68" y="56"/>
                    </a:cxn>
                    <a:cxn ang="0">
                      <a:pos x="64" y="56"/>
                    </a:cxn>
                    <a:cxn ang="0">
                      <a:pos x="61" y="54"/>
                    </a:cxn>
                    <a:cxn ang="0">
                      <a:pos x="61" y="54"/>
                    </a:cxn>
                    <a:cxn ang="0">
                      <a:pos x="54" y="50"/>
                    </a:cxn>
                    <a:cxn ang="0">
                      <a:pos x="55" y="52"/>
                    </a:cxn>
                    <a:cxn ang="0">
                      <a:pos x="57" y="54"/>
                    </a:cxn>
                    <a:cxn ang="0">
                      <a:pos x="57" y="56"/>
                    </a:cxn>
                    <a:cxn ang="0">
                      <a:pos x="55" y="56"/>
                    </a:cxn>
                    <a:cxn ang="0">
                      <a:pos x="55" y="56"/>
                    </a:cxn>
                    <a:cxn ang="0">
                      <a:pos x="48" y="52"/>
                    </a:cxn>
                    <a:cxn ang="0">
                      <a:pos x="40" y="49"/>
                    </a:cxn>
                    <a:cxn ang="0">
                      <a:pos x="29" y="43"/>
                    </a:cxn>
                    <a:cxn ang="0">
                      <a:pos x="19" y="40"/>
                    </a:cxn>
                    <a:cxn ang="0">
                      <a:pos x="19" y="40"/>
                    </a:cxn>
                    <a:cxn ang="0">
                      <a:pos x="12" y="40"/>
                    </a:cxn>
                    <a:cxn ang="0">
                      <a:pos x="8" y="38"/>
                    </a:cxn>
                    <a:cxn ang="0">
                      <a:pos x="5" y="35"/>
                    </a:cxn>
                    <a:cxn ang="0">
                      <a:pos x="0" y="29"/>
                    </a:cxn>
                    <a:cxn ang="0">
                      <a:pos x="0" y="29"/>
                    </a:cxn>
                    <a:cxn ang="0">
                      <a:pos x="3" y="26"/>
                    </a:cxn>
                    <a:cxn ang="0">
                      <a:pos x="5" y="21"/>
                    </a:cxn>
                    <a:cxn ang="0">
                      <a:pos x="14" y="16"/>
                    </a:cxn>
                    <a:cxn ang="0">
                      <a:pos x="19" y="12"/>
                    </a:cxn>
                    <a:cxn ang="0">
                      <a:pos x="19" y="9"/>
                    </a:cxn>
                    <a:cxn ang="0">
                      <a:pos x="19" y="7"/>
                    </a:cxn>
                    <a:cxn ang="0">
                      <a:pos x="19" y="7"/>
                    </a:cxn>
                    <a:cxn ang="0">
                      <a:pos x="19" y="3"/>
                    </a:cxn>
                    <a:cxn ang="0">
                      <a:pos x="21" y="2"/>
                    </a:cxn>
                    <a:cxn ang="0">
                      <a:pos x="26" y="0"/>
                    </a:cxn>
                    <a:cxn ang="0">
                      <a:pos x="26" y="0"/>
                    </a:cxn>
                  </a:cxnLst>
                  <a:rect l="0" t="0" r="r" b="b"/>
                  <a:pathLst>
                    <a:path w="83" h="56">
                      <a:moveTo>
                        <a:pt x="26" y="0"/>
                      </a:moveTo>
                      <a:lnTo>
                        <a:pt x="26" y="0"/>
                      </a:lnTo>
                      <a:lnTo>
                        <a:pt x="33" y="3"/>
                      </a:lnTo>
                      <a:lnTo>
                        <a:pt x="40" y="9"/>
                      </a:lnTo>
                      <a:lnTo>
                        <a:pt x="50" y="17"/>
                      </a:lnTo>
                      <a:lnTo>
                        <a:pt x="55" y="24"/>
                      </a:lnTo>
                      <a:lnTo>
                        <a:pt x="57" y="26"/>
                      </a:lnTo>
                      <a:lnTo>
                        <a:pt x="59" y="26"/>
                      </a:lnTo>
                      <a:lnTo>
                        <a:pt x="59" y="26"/>
                      </a:lnTo>
                      <a:lnTo>
                        <a:pt x="64" y="24"/>
                      </a:lnTo>
                      <a:lnTo>
                        <a:pt x="71" y="22"/>
                      </a:lnTo>
                      <a:lnTo>
                        <a:pt x="78" y="24"/>
                      </a:lnTo>
                      <a:lnTo>
                        <a:pt x="81" y="26"/>
                      </a:lnTo>
                      <a:lnTo>
                        <a:pt x="81" y="28"/>
                      </a:lnTo>
                      <a:lnTo>
                        <a:pt x="81" y="28"/>
                      </a:lnTo>
                      <a:lnTo>
                        <a:pt x="83" y="35"/>
                      </a:lnTo>
                      <a:lnTo>
                        <a:pt x="83" y="40"/>
                      </a:lnTo>
                      <a:lnTo>
                        <a:pt x="81" y="45"/>
                      </a:lnTo>
                      <a:lnTo>
                        <a:pt x="81" y="45"/>
                      </a:lnTo>
                      <a:lnTo>
                        <a:pt x="78" y="45"/>
                      </a:lnTo>
                      <a:lnTo>
                        <a:pt x="78" y="47"/>
                      </a:lnTo>
                      <a:lnTo>
                        <a:pt x="80" y="49"/>
                      </a:lnTo>
                      <a:lnTo>
                        <a:pt x="81" y="50"/>
                      </a:lnTo>
                      <a:lnTo>
                        <a:pt x="81" y="50"/>
                      </a:lnTo>
                      <a:lnTo>
                        <a:pt x="83" y="52"/>
                      </a:lnTo>
                      <a:lnTo>
                        <a:pt x="81" y="52"/>
                      </a:lnTo>
                      <a:lnTo>
                        <a:pt x="76" y="56"/>
                      </a:lnTo>
                      <a:lnTo>
                        <a:pt x="68" y="56"/>
                      </a:lnTo>
                      <a:lnTo>
                        <a:pt x="64" y="56"/>
                      </a:lnTo>
                      <a:lnTo>
                        <a:pt x="61" y="54"/>
                      </a:lnTo>
                      <a:lnTo>
                        <a:pt x="61" y="54"/>
                      </a:lnTo>
                      <a:lnTo>
                        <a:pt x="54" y="50"/>
                      </a:lnTo>
                      <a:lnTo>
                        <a:pt x="55" y="52"/>
                      </a:lnTo>
                      <a:lnTo>
                        <a:pt x="57" y="54"/>
                      </a:lnTo>
                      <a:lnTo>
                        <a:pt x="57" y="56"/>
                      </a:lnTo>
                      <a:lnTo>
                        <a:pt x="55" y="56"/>
                      </a:lnTo>
                      <a:lnTo>
                        <a:pt x="55" y="56"/>
                      </a:lnTo>
                      <a:lnTo>
                        <a:pt x="48" y="52"/>
                      </a:lnTo>
                      <a:lnTo>
                        <a:pt x="40" y="49"/>
                      </a:lnTo>
                      <a:lnTo>
                        <a:pt x="29" y="43"/>
                      </a:lnTo>
                      <a:lnTo>
                        <a:pt x="19" y="40"/>
                      </a:lnTo>
                      <a:lnTo>
                        <a:pt x="19" y="40"/>
                      </a:lnTo>
                      <a:lnTo>
                        <a:pt x="12" y="40"/>
                      </a:lnTo>
                      <a:lnTo>
                        <a:pt x="8" y="38"/>
                      </a:lnTo>
                      <a:lnTo>
                        <a:pt x="5" y="35"/>
                      </a:lnTo>
                      <a:lnTo>
                        <a:pt x="0" y="29"/>
                      </a:lnTo>
                      <a:lnTo>
                        <a:pt x="0" y="29"/>
                      </a:lnTo>
                      <a:lnTo>
                        <a:pt x="3" y="26"/>
                      </a:lnTo>
                      <a:lnTo>
                        <a:pt x="5" y="21"/>
                      </a:lnTo>
                      <a:lnTo>
                        <a:pt x="14" y="16"/>
                      </a:lnTo>
                      <a:lnTo>
                        <a:pt x="19" y="12"/>
                      </a:lnTo>
                      <a:lnTo>
                        <a:pt x="19" y="9"/>
                      </a:lnTo>
                      <a:lnTo>
                        <a:pt x="19" y="7"/>
                      </a:lnTo>
                      <a:lnTo>
                        <a:pt x="19" y="7"/>
                      </a:lnTo>
                      <a:lnTo>
                        <a:pt x="19" y="3"/>
                      </a:lnTo>
                      <a:lnTo>
                        <a:pt x="21" y="2"/>
                      </a:lnTo>
                      <a:lnTo>
                        <a:pt x="26" y="0"/>
                      </a:lnTo>
                      <a:lnTo>
                        <a:pt x="26"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5" name="Freeform 2178">
                  <a:extLst>
                    <a:ext uri="{FF2B5EF4-FFF2-40B4-BE49-F238E27FC236}">
                      <a16:creationId xmlns:a16="http://schemas.microsoft.com/office/drawing/2014/main" id="{D584AFC2-E498-19BD-C91A-49202BB89814}"/>
                    </a:ext>
                  </a:extLst>
                </p:cNvPr>
                <p:cNvSpPr>
                  <a:spLocks/>
                </p:cNvSpPr>
                <p:nvPr/>
              </p:nvSpPr>
              <p:spPr bwMode="auto">
                <a:xfrm>
                  <a:off x="2714060" y="4350473"/>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6" name="Freeform 2179">
                  <a:extLst>
                    <a:ext uri="{FF2B5EF4-FFF2-40B4-BE49-F238E27FC236}">
                      <a16:creationId xmlns:a16="http://schemas.microsoft.com/office/drawing/2014/main" id="{562C9BA2-4850-060D-6F76-5584BC4B02D2}"/>
                    </a:ext>
                  </a:extLst>
                </p:cNvPr>
                <p:cNvSpPr>
                  <a:spLocks/>
                </p:cNvSpPr>
                <p:nvPr/>
              </p:nvSpPr>
              <p:spPr bwMode="auto">
                <a:xfrm>
                  <a:off x="2714060" y="4350473"/>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7" name="Freeform 2180">
                  <a:extLst>
                    <a:ext uri="{FF2B5EF4-FFF2-40B4-BE49-F238E27FC236}">
                      <a16:creationId xmlns:a16="http://schemas.microsoft.com/office/drawing/2014/main" id="{CC0C1E56-4BE7-1EA2-7BAA-83C729B83EF3}"/>
                    </a:ext>
                  </a:extLst>
                </p:cNvPr>
                <p:cNvSpPr>
                  <a:spLocks/>
                </p:cNvSpPr>
                <p:nvPr/>
              </p:nvSpPr>
              <p:spPr bwMode="auto">
                <a:xfrm>
                  <a:off x="2714060" y="4350473"/>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lnTo>
                        <a:pt x="6" y="5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8" name="Freeform 2181">
                  <a:extLst>
                    <a:ext uri="{FF2B5EF4-FFF2-40B4-BE49-F238E27FC236}">
                      <a16:creationId xmlns:a16="http://schemas.microsoft.com/office/drawing/2014/main" id="{A56089E6-279A-D75F-E9D3-E070D80811FC}"/>
                    </a:ext>
                  </a:extLst>
                </p:cNvPr>
                <p:cNvSpPr>
                  <a:spLocks/>
                </p:cNvSpPr>
                <p:nvPr/>
              </p:nvSpPr>
              <p:spPr bwMode="auto">
                <a:xfrm>
                  <a:off x="2744015" y="4373381"/>
                  <a:ext cx="10572"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9" name="Freeform 2182">
                  <a:extLst>
                    <a:ext uri="{FF2B5EF4-FFF2-40B4-BE49-F238E27FC236}">
                      <a16:creationId xmlns:a16="http://schemas.microsoft.com/office/drawing/2014/main" id="{03ED65BB-F09E-B838-7BF6-EA5DE7BC0F8C}"/>
                    </a:ext>
                  </a:extLst>
                </p:cNvPr>
                <p:cNvSpPr>
                  <a:spLocks/>
                </p:cNvSpPr>
                <p:nvPr/>
              </p:nvSpPr>
              <p:spPr bwMode="auto">
                <a:xfrm>
                  <a:off x="2770443" y="4380426"/>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0" name="Freeform 2183">
                  <a:extLst>
                    <a:ext uri="{FF2B5EF4-FFF2-40B4-BE49-F238E27FC236}">
                      <a16:creationId xmlns:a16="http://schemas.microsoft.com/office/drawing/2014/main" id="{340F7A04-0F9E-A2BE-50D9-AD15DDCE6D3A}"/>
                    </a:ext>
                  </a:extLst>
                </p:cNvPr>
                <p:cNvSpPr>
                  <a:spLocks/>
                </p:cNvSpPr>
                <p:nvPr/>
              </p:nvSpPr>
              <p:spPr bwMode="auto">
                <a:xfrm>
                  <a:off x="2770443" y="4380426"/>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1" name="Freeform 2184">
                  <a:extLst>
                    <a:ext uri="{FF2B5EF4-FFF2-40B4-BE49-F238E27FC236}">
                      <a16:creationId xmlns:a16="http://schemas.microsoft.com/office/drawing/2014/main" id="{3E6FAAFC-7644-99B2-9BE6-8C1C9F6C28A9}"/>
                    </a:ext>
                  </a:extLst>
                </p:cNvPr>
                <p:cNvSpPr>
                  <a:spLocks/>
                </p:cNvSpPr>
                <p:nvPr/>
              </p:nvSpPr>
              <p:spPr bwMode="auto">
                <a:xfrm>
                  <a:off x="2770443" y="4380426"/>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lnTo>
                        <a:pt x="0"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2" name="Freeform 2185">
                  <a:extLst>
                    <a:ext uri="{FF2B5EF4-FFF2-40B4-BE49-F238E27FC236}">
                      <a16:creationId xmlns:a16="http://schemas.microsoft.com/office/drawing/2014/main" id="{5CACC009-39E6-99E9-5879-12CE967937A6}"/>
                    </a:ext>
                  </a:extLst>
                </p:cNvPr>
                <p:cNvSpPr>
                  <a:spLocks/>
                </p:cNvSpPr>
                <p:nvPr/>
              </p:nvSpPr>
              <p:spPr bwMode="auto">
                <a:xfrm>
                  <a:off x="2735206" y="4361046"/>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3" name="Freeform 2186">
                  <a:extLst>
                    <a:ext uri="{FF2B5EF4-FFF2-40B4-BE49-F238E27FC236}">
                      <a16:creationId xmlns:a16="http://schemas.microsoft.com/office/drawing/2014/main" id="{F4A6FD57-B920-8E66-BEDB-D8070761CC89}"/>
                    </a:ext>
                  </a:extLst>
                </p:cNvPr>
                <p:cNvSpPr>
                  <a:spLocks/>
                </p:cNvSpPr>
                <p:nvPr/>
              </p:nvSpPr>
              <p:spPr bwMode="auto">
                <a:xfrm>
                  <a:off x="2735206" y="4361046"/>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4" name="Freeform 2187">
                  <a:extLst>
                    <a:ext uri="{FF2B5EF4-FFF2-40B4-BE49-F238E27FC236}">
                      <a16:creationId xmlns:a16="http://schemas.microsoft.com/office/drawing/2014/main" id="{6C2E72D1-A6AF-E7D1-2755-88CA9318CCC9}"/>
                    </a:ext>
                  </a:extLst>
                </p:cNvPr>
                <p:cNvSpPr>
                  <a:spLocks/>
                </p:cNvSpPr>
                <p:nvPr/>
              </p:nvSpPr>
              <p:spPr bwMode="auto">
                <a:xfrm>
                  <a:off x="2735206" y="4361046"/>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lnTo>
                        <a:pt x="0" y="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5" name="Freeform 2188">
                  <a:extLst>
                    <a:ext uri="{FF2B5EF4-FFF2-40B4-BE49-F238E27FC236}">
                      <a16:creationId xmlns:a16="http://schemas.microsoft.com/office/drawing/2014/main" id="{181F9832-C0CE-854E-3574-4AB8F567E79A}"/>
                    </a:ext>
                  </a:extLst>
                </p:cNvPr>
                <p:cNvSpPr>
                  <a:spLocks/>
                </p:cNvSpPr>
                <p:nvPr/>
              </p:nvSpPr>
              <p:spPr bwMode="auto">
                <a:xfrm>
                  <a:off x="2712299" y="4366332"/>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6" name="Freeform 2189">
                  <a:extLst>
                    <a:ext uri="{FF2B5EF4-FFF2-40B4-BE49-F238E27FC236}">
                      <a16:creationId xmlns:a16="http://schemas.microsoft.com/office/drawing/2014/main" id="{19FFC2CD-12FD-69CE-F434-B2E904EF63C2}"/>
                    </a:ext>
                  </a:extLst>
                </p:cNvPr>
                <p:cNvSpPr>
                  <a:spLocks/>
                </p:cNvSpPr>
                <p:nvPr/>
              </p:nvSpPr>
              <p:spPr bwMode="auto">
                <a:xfrm>
                  <a:off x="2712299" y="4366332"/>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7" name="Freeform 2190">
                  <a:extLst>
                    <a:ext uri="{FF2B5EF4-FFF2-40B4-BE49-F238E27FC236}">
                      <a16:creationId xmlns:a16="http://schemas.microsoft.com/office/drawing/2014/main" id="{93AA371B-E53F-C1A4-3CF2-DDD6702EF57D}"/>
                    </a:ext>
                  </a:extLst>
                </p:cNvPr>
                <p:cNvSpPr>
                  <a:spLocks/>
                </p:cNvSpPr>
                <p:nvPr/>
              </p:nvSpPr>
              <p:spPr bwMode="auto">
                <a:xfrm>
                  <a:off x="2712299" y="4366332"/>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lnTo>
                        <a:pt x="3"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8" name="Freeform 2191">
                  <a:extLst>
                    <a:ext uri="{FF2B5EF4-FFF2-40B4-BE49-F238E27FC236}">
                      <a16:creationId xmlns:a16="http://schemas.microsoft.com/office/drawing/2014/main" id="{648FDEF3-153C-A14E-6E94-16C412925914}"/>
                    </a:ext>
                  </a:extLst>
                </p:cNvPr>
                <p:cNvSpPr>
                  <a:spLocks/>
                </p:cNvSpPr>
                <p:nvPr/>
              </p:nvSpPr>
              <p:spPr bwMode="auto">
                <a:xfrm>
                  <a:off x="2745778" y="4399811"/>
                  <a:ext cx="3524" cy="3524"/>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9" name="Freeform 2192">
                  <a:extLst>
                    <a:ext uri="{FF2B5EF4-FFF2-40B4-BE49-F238E27FC236}">
                      <a16:creationId xmlns:a16="http://schemas.microsoft.com/office/drawing/2014/main" id="{6BDCDB5F-960F-9CE0-06F0-DC3BDEAAB6C3}"/>
                    </a:ext>
                  </a:extLst>
                </p:cNvPr>
                <p:cNvSpPr>
                  <a:spLocks/>
                </p:cNvSpPr>
                <p:nvPr/>
              </p:nvSpPr>
              <p:spPr bwMode="auto">
                <a:xfrm>
                  <a:off x="2745778" y="4399811"/>
                  <a:ext cx="3524" cy="3524"/>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0" name="Freeform 2193">
                  <a:extLst>
                    <a:ext uri="{FF2B5EF4-FFF2-40B4-BE49-F238E27FC236}">
                      <a16:creationId xmlns:a16="http://schemas.microsoft.com/office/drawing/2014/main" id="{2D3AF88A-2FB2-7147-E1A7-76436CFC14E9}"/>
                    </a:ext>
                  </a:extLst>
                </p:cNvPr>
                <p:cNvSpPr>
                  <a:spLocks/>
                </p:cNvSpPr>
                <p:nvPr/>
              </p:nvSpPr>
              <p:spPr bwMode="auto">
                <a:xfrm>
                  <a:off x="2745778" y="4399811"/>
                  <a:ext cx="3524" cy="3524"/>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lnTo>
                        <a:pt x="0" y="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1" name="Freeform 2194">
                  <a:extLst>
                    <a:ext uri="{FF2B5EF4-FFF2-40B4-BE49-F238E27FC236}">
                      <a16:creationId xmlns:a16="http://schemas.microsoft.com/office/drawing/2014/main" id="{AA442F6C-57F6-155D-252D-4983D69A12D5}"/>
                    </a:ext>
                  </a:extLst>
                </p:cNvPr>
                <p:cNvSpPr>
                  <a:spLocks/>
                </p:cNvSpPr>
                <p:nvPr/>
              </p:nvSpPr>
              <p:spPr bwMode="auto">
                <a:xfrm>
                  <a:off x="2744018" y="4343427"/>
                  <a:ext cx="5285"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2" name="Freeform 2195">
                  <a:extLst>
                    <a:ext uri="{FF2B5EF4-FFF2-40B4-BE49-F238E27FC236}">
                      <a16:creationId xmlns:a16="http://schemas.microsoft.com/office/drawing/2014/main" id="{45A2CECA-F25D-8F16-FD74-D058F0CBFF3D}"/>
                    </a:ext>
                  </a:extLst>
                </p:cNvPr>
                <p:cNvSpPr>
                  <a:spLocks/>
                </p:cNvSpPr>
                <p:nvPr/>
              </p:nvSpPr>
              <p:spPr bwMode="auto">
                <a:xfrm>
                  <a:off x="2744018" y="4343427"/>
                  <a:ext cx="5285"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3" name="Freeform 2196">
                  <a:extLst>
                    <a:ext uri="{FF2B5EF4-FFF2-40B4-BE49-F238E27FC236}">
                      <a16:creationId xmlns:a16="http://schemas.microsoft.com/office/drawing/2014/main" id="{5D30D72C-3DEF-DFFB-B62D-DBD5E0C7269D}"/>
                    </a:ext>
                  </a:extLst>
                </p:cNvPr>
                <p:cNvSpPr>
                  <a:spLocks/>
                </p:cNvSpPr>
                <p:nvPr/>
              </p:nvSpPr>
              <p:spPr bwMode="auto">
                <a:xfrm>
                  <a:off x="2744018" y="4343427"/>
                  <a:ext cx="5285"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414" name="Group 1013">
                  <a:extLst>
                    <a:ext uri="{FF2B5EF4-FFF2-40B4-BE49-F238E27FC236}">
                      <a16:creationId xmlns:a16="http://schemas.microsoft.com/office/drawing/2014/main" id="{4EC885CA-A21E-3EC1-27FA-94EA0EDFCDD1}"/>
                    </a:ext>
                  </a:extLst>
                </p:cNvPr>
                <p:cNvGrpSpPr/>
                <p:nvPr/>
              </p:nvGrpSpPr>
              <p:grpSpPr bwMode="auto">
                <a:xfrm>
                  <a:off x="3089692" y="3797041"/>
                  <a:ext cx="173246" cy="76999"/>
                  <a:chOff x="2612864" y="3620077"/>
                  <a:chExt cx="156090" cy="69373"/>
                </a:xfrm>
                <a:grpFill/>
              </p:grpSpPr>
              <p:sp>
                <p:nvSpPr>
                  <p:cNvPr id="455" name="Freeform 2198">
                    <a:extLst>
                      <a:ext uri="{FF2B5EF4-FFF2-40B4-BE49-F238E27FC236}">
                        <a16:creationId xmlns:a16="http://schemas.microsoft.com/office/drawing/2014/main" id="{F9D3462C-9B0E-72CB-05AF-157A923318F0}"/>
                      </a:ext>
                    </a:extLst>
                  </p:cNvPr>
                  <p:cNvSpPr>
                    <a:spLocks/>
                  </p:cNvSpPr>
                  <p:nvPr/>
                </p:nvSpPr>
                <p:spPr bwMode="auto">
                  <a:xfrm>
                    <a:off x="2612864" y="3620077"/>
                    <a:ext cx="70819" cy="59257"/>
                  </a:xfrm>
                  <a:custGeom>
                    <a:avLst/>
                    <a:gdLst/>
                    <a:ahLst/>
                    <a:cxnLst>
                      <a:cxn ang="0">
                        <a:pos x="98" y="82"/>
                      </a:cxn>
                      <a:cxn ang="0">
                        <a:pos x="82" y="77"/>
                      </a:cxn>
                      <a:cxn ang="0">
                        <a:pos x="71" y="77"/>
                      </a:cxn>
                      <a:cxn ang="0">
                        <a:pos x="58" y="80"/>
                      </a:cxn>
                      <a:cxn ang="0">
                        <a:pos x="51" y="79"/>
                      </a:cxn>
                      <a:cxn ang="0">
                        <a:pos x="33" y="75"/>
                      </a:cxn>
                      <a:cxn ang="0">
                        <a:pos x="28" y="79"/>
                      </a:cxn>
                      <a:cxn ang="0">
                        <a:pos x="24" y="82"/>
                      </a:cxn>
                      <a:cxn ang="0">
                        <a:pos x="21" y="80"/>
                      </a:cxn>
                      <a:cxn ang="0">
                        <a:pos x="12" y="73"/>
                      </a:cxn>
                      <a:cxn ang="0">
                        <a:pos x="2" y="70"/>
                      </a:cxn>
                      <a:cxn ang="0">
                        <a:pos x="0" y="65"/>
                      </a:cxn>
                      <a:cxn ang="0">
                        <a:pos x="2" y="61"/>
                      </a:cxn>
                      <a:cxn ang="0">
                        <a:pos x="5" y="58"/>
                      </a:cxn>
                      <a:cxn ang="0">
                        <a:pos x="21" y="58"/>
                      </a:cxn>
                      <a:cxn ang="0">
                        <a:pos x="51" y="63"/>
                      </a:cxn>
                      <a:cxn ang="0">
                        <a:pos x="66" y="61"/>
                      </a:cxn>
                      <a:cxn ang="0">
                        <a:pos x="73" y="60"/>
                      </a:cxn>
                      <a:cxn ang="0">
                        <a:pos x="78" y="60"/>
                      </a:cxn>
                      <a:cxn ang="0">
                        <a:pos x="71" y="49"/>
                      </a:cxn>
                      <a:cxn ang="0">
                        <a:pos x="65" y="42"/>
                      </a:cxn>
                      <a:cxn ang="0">
                        <a:pos x="61" y="32"/>
                      </a:cxn>
                      <a:cxn ang="0">
                        <a:pos x="65" y="23"/>
                      </a:cxn>
                      <a:cxn ang="0">
                        <a:pos x="59" y="18"/>
                      </a:cxn>
                      <a:cxn ang="0">
                        <a:pos x="49" y="14"/>
                      </a:cxn>
                      <a:cxn ang="0">
                        <a:pos x="38" y="13"/>
                      </a:cxn>
                      <a:cxn ang="0">
                        <a:pos x="37" y="7"/>
                      </a:cxn>
                      <a:cxn ang="0">
                        <a:pos x="42" y="2"/>
                      </a:cxn>
                      <a:cxn ang="0">
                        <a:pos x="65" y="0"/>
                      </a:cxn>
                      <a:cxn ang="0">
                        <a:pos x="75" y="6"/>
                      </a:cxn>
                      <a:cxn ang="0">
                        <a:pos x="85" y="9"/>
                      </a:cxn>
                      <a:cxn ang="0">
                        <a:pos x="98" y="9"/>
                      </a:cxn>
                      <a:cxn ang="0">
                        <a:pos x="96" y="16"/>
                      </a:cxn>
                      <a:cxn ang="0">
                        <a:pos x="98" y="33"/>
                      </a:cxn>
                      <a:cxn ang="0">
                        <a:pos x="99" y="47"/>
                      </a:cxn>
                      <a:cxn ang="0">
                        <a:pos x="96" y="51"/>
                      </a:cxn>
                      <a:cxn ang="0">
                        <a:pos x="94" y="60"/>
                      </a:cxn>
                      <a:cxn ang="0">
                        <a:pos x="94" y="65"/>
                      </a:cxn>
                      <a:cxn ang="0">
                        <a:pos x="98" y="75"/>
                      </a:cxn>
                      <a:cxn ang="0">
                        <a:pos x="98" y="82"/>
                      </a:cxn>
                    </a:cxnLst>
                    <a:rect l="0" t="0" r="r" b="b"/>
                    <a:pathLst>
                      <a:path w="99" h="82">
                        <a:moveTo>
                          <a:pt x="98" y="82"/>
                        </a:moveTo>
                        <a:lnTo>
                          <a:pt x="98" y="82"/>
                        </a:lnTo>
                        <a:lnTo>
                          <a:pt x="89" y="79"/>
                        </a:lnTo>
                        <a:lnTo>
                          <a:pt x="82" y="77"/>
                        </a:lnTo>
                        <a:lnTo>
                          <a:pt x="77" y="77"/>
                        </a:lnTo>
                        <a:lnTo>
                          <a:pt x="71" y="77"/>
                        </a:lnTo>
                        <a:lnTo>
                          <a:pt x="63" y="80"/>
                        </a:lnTo>
                        <a:lnTo>
                          <a:pt x="58" y="80"/>
                        </a:lnTo>
                        <a:lnTo>
                          <a:pt x="51" y="79"/>
                        </a:lnTo>
                        <a:lnTo>
                          <a:pt x="51" y="79"/>
                        </a:lnTo>
                        <a:lnTo>
                          <a:pt x="40" y="75"/>
                        </a:lnTo>
                        <a:lnTo>
                          <a:pt x="33" y="75"/>
                        </a:lnTo>
                        <a:lnTo>
                          <a:pt x="30" y="77"/>
                        </a:lnTo>
                        <a:lnTo>
                          <a:pt x="28" y="79"/>
                        </a:lnTo>
                        <a:lnTo>
                          <a:pt x="26" y="82"/>
                        </a:lnTo>
                        <a:lnTo>
                          <a:pt x="24" y="82"/>
                        </a:lnTo>
                        <a:lnTo>
                          <a:pt x="21" y="80"/>
                        </a:lnTo>
                        <a:lnTo>
                          <a:pt x="21" y="80"/>
                        </a:lnTo>
                        <a:lnTo>
                          <a:pt x="16" y="75"/>
                        </a:lnTo>
                        <a:lnTo>
                          <a:pt x="12" y="73"/>
                        </a:lnTo>
                        <a:lnTo>
                          <a:pt x="5" y="72"/>
                        </a:lnTo>
                        <a:lnTo>
                          <a:pt x="2" y="70"/>
                        </a:lnTo>
                        <a:lnTo>
                          <a:pt x="0" y="68"/>
                        </a:lnTo>
                        <a:lnTo>
                          <a:pt x="0" y="65"/>
                        </a:lnTo>
                        <a:lnTo>
                          <a:pt x="2" y="61"/>
                        </a:lnTo>
                        <a:lnTo>
                          <a:pt x="2" y="61"/>
                        </a:lnTo>
                        <a:lnTo>
                          <a:pt x="4" y="60"/>
                        </a:lnTo>
                        <a:lnTo>
                          <a:pt x="5" y="58"/>
                        </a:lnTo>
                        <a:lnTo>
                          <a:pt x="12" y="56"/>
                        </a:lnTo>
                        <a:lnTo>
                          <a:pt x="21" y="58"/>
                        </a:lnTo>
                        <a:lnTo>
                          <a:pt x="30" y="60"/>
                        </a:lnTo>
                        <a:lnTo>
                          <a:pt x="51" y="63"/>
                        </a:lnTo>
                        <a:lnTo>
                          <a:pt x="59" y="63"/>
                        </a:lnTo>
                        <a:lnTo>
                          <a:pt x="66" y="61"/>
                        </a:lnTo>
                        <a:lnTo>
                          <a:pt x="66" y="61"/>
                        </a:lnTo>
                        <a:lnTo>
                          <a:pt x="73" y="60"/>
                        </a:lnTo>
                        <a:lnTo>
                          <a:pt x="78" y="60"/>
                        </a:lnTo>
                        <a:lnTo>
                          <a:pt x="78" y="60"/>
                        </a:lnTo>
                        <a:lnTo>
                          <a:pt x="78" y="58"/>
                        </a:lnTo>
                        <a:lnTo>
                          <a:pt x="71" y="49"/>
                        </a:lnTo>
                        <a:lnTo>
                          <a:pt x="71" y="49"/>
                        </a:lnTo>
                        <a:lnTo>
                          <a:pt x="65" y="42"/>
                        </a:lnTo>
                        <a:lnTo>
                          <a:pt x="63" y="37"/>
                        </a:lnTo>
                        <a:lnTo>
                          <a:pt x="61" y="32"/>
                        </a:lnTo>
                        <a:lnTo>
                          <a:pt x="63" y="28"/>
                        </a:lnTo>
                        <a:lnTo>
                          <a:pt x="65" y="23"/>
                        </a:lnTo>
                        <a:lnTo>
                          <a:pt x="63" y="21"/>
                        </a:lnTo>
                        <a:lnTo>
                          <a:pt x="59" y="18"/>
                        </a:lnTo>
                        <a:lnTo>
                          <a:pt x="59" y="18"/>
                        </a:lnTo>
                        <a:lnTo>
                          <a:pt x="49" y="14"/>
                        </a:lnTo>
                        <a:lnTo>
                          <a:pt x="42" y="14"/>
                        </a:lnTo>
                        <a:lnTo>
                          <a:pt x="38" y="13"/>
                        </a:lnTo>
                        <a:lnTo>
                          <a:pt x="37" y="7"/>
                        </a:lnTo>
                        <a:lnTo>
                          <a:pt x="37" y="7"/>
                        </a:lnTo>
                        <a:lnTo>
                          <a:pt x="38" y="4"/>
                        </a:lnTo>
                        <a:lnTo>
                          <a:pt x="42" y="2"/>
                        </a:lnTo>
                        <a:lnTo>
                          <a:pt x="52" y="0"/>
                        </a:lnTo>
                        <a:lnTo>
                          <a:pt x="65" y="0"/>
                        </a:lnTo>
                        <a:lnTo>
                          <a:pt x="75" y="6"/>
                        </a:lnTo>
                        <a:lnTo>
                          <a:pt x="75" y="6"/>
                        </a:lnTo>
                        <a:lnTo>
                          <a:pt x="80" y="7"/>
                        </a:lnTo>
                        <a:lnTo>
                          <a:pt x="85" y="9"/>
                        </a:lnTo>
                        <a:lnTo>
                          <a:pt x="91" y="7"/>
                        </a:lnTo>
                        <a:lnTo>
                          <a:pt x="98" y="9"/>
                        </a:lnTo>
                        <a:lnTo>
                          <a:pt x="98" y="9"/>
                        </a:lnTo>
                        <a:lnTo>
                          <a:pt x="96" y="16"/>
                        </a:lnTo>
                        <a:lnTo>
                          <a:pt x="96" y="23"/>
                        </a:lnTo>
                        <a:lnTo>
                          <a:pt x="98" y="33"/>
                        </a:lnTo>
                        <a:lnTo>
                          <a:pt x="99" y="42"/>
                        </a:lnTo>
                        <a:lnTo>
                          <a:pt x="99" y="47"/>
                        </a:lnTo>
                        <a:lnTo>
                          <a:pt x="96" y="51"/>
                        </a:lnTo>
                        <a:lnTo>
                          <a:pt x="96" y="51"/>
                        </a:lnTo>
                        <a:lnTo>
                          <a:pt x="94" y="56"/>
                        </a:lnTo>
                        <a:lnTo>
                          <a:pt x="94" y="60"/>
                        </a:lnTo>
                        <a:lnTo>
                          <a:pt x="94" y="63"/>
                        </a:lnTo>
                        <a:lnTo>
                          <a:pt x="94" y="65"/>
                        </a:lnTo>
                        <a:lnTo>
                          <a:pt x="98" y="70"/>
                        </a:lnTo>
                        <a:lnTo>
                          <a:pt x="98" y="75"/>
                        </a:lnTo>
                        <a:lnTo>
                          <a:pt x="98" y="82"/>
                        </a:lnTo>
                        <a:lnTo>
                          <a:pt x="98" y="8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6" name="Freeform 2199">
                    <a:extLst>
                      <a:ext uri="{FF2B5EF4-FFF2-40B4-BE49-F238E27FC236}">
                        <a16:creationId xmlns:a16="http://schemas.microsoft.com/office/drawing/2014/main" id="{BCB447CD-BBEC-6FB2-05D9-EC0AD25A11E7}"/>
                      </a:ext>
                    </a:extLst>
                  </p:cNvPr>
                  <p:cNvSpPr>
                    <a:spLocks/>
                  </p:cNvSpPr>
                  <p:nvPr/>
                </p:nvSpPr>
                <p:spPr bwMode="auto">
                  <a:xfrm>
                    <a:off x="2680791" y="3620077"/>
                    <a:ext cx="88163" cy="69373"/>
                  </a:xfrm>
                  <a:custGeom>
                    <a:avLst/>
                    <a:gdLst/>
                    <a:ahLst/>
                    <a:cxnLst>
                      <a:cxn ang="0">
                        <a:pos x="4" y="9"/>
                      </a:cxn>
                      <a:cxn ang="0">
                        <a:pos x="2" y="23"/>
                      </a:cxn>
                      <a:cxn ang="0">
                        <a:pos x="5" y="42"/>
                      </a:cxn>
                      <a:cxn ang="0">
                        <a:pos x="2" y="51"/>
                      </a:cxn>
                      <a:cxn ang="0">
                        <a:pos x="0" y="56"/>
                      </a:cxn>
                      <a:cxn ang="0">
                        <a:pos x="0" y="63"/>
                      </a:cxn>
                      <a:cxn ang="0">
                        <a:pos x="4" y="70"/>
                      </a:cxn>
                      <a:cxn ang="0">
                        <a:pos x="4" y="82"/>
                      </a:cxn>
                      <a:cxn ang="0">
                        <a:pos x="7" y="89"/>
                      </a:cxn>
                      <a:cxn ang="0">
                        <a:pos x="14" y="96"/>
                      </a:cxn>
                      <a:cxn ang="0">
                        <a:pos x="19" y="94"/>
                      </a:cxn>
                      <a:cxn ang="0">
                        <a:pos x="26" y="84"/>
                      </a:cxn>
                      <a:cxn ang="0">
                        <a:pos x="31" y="75"/>
                      </a:cxn>
                      <a:cxn ang="0">
                        <a:pos x="42" y="66"/>
                      </a:cxn>
                      <a:cxn ang="0">
                        <a:pos x="45" y="70"/>
                      </a:cxn>
                      <a:cxn ang="0">
                        <a:pos x="47" y="75"/>
                      </a:cxn>
                      <a:cxn ang="0">
                        <a:pos x="56" y="73"/>
                      </a:cxn>
                      <a:cxn ang="0">
                        <a:pos x="65" y="70"/>
                      </a:cxn>
                      <a:cxn ang="0">
                        <a:pos x="75" y="65"/>
                      </a:cxn>
                      <a:cxn ang="0">
                        <a:pos x="99" y="66"/>
                      </a:cxn>
                      <a:cxn ang="0">
                        <a:pos x="108" y="72"/>
                      </a:cxn>
                      <a:cxn ang="0">
                        <a:pos x="113" y="72"/>
                      </a:cxn>
                      <a:cxn ang="0">
                        <a:pos x="120" y="68"/>
                      </a:cxn>
                      <a:cxn ang="0">
                        <a:pos x="122" y="61"/>
                      </a:cxn>
                      <a:cxn ang="0">
                        <a:pos x="120" y="53"/>
                      </a:cxn>
                      <a:cxn ang="0">
                        <a:pos x="110" y="44"/>
                      </a:cxn>
                      <a:cxn ang="0">
                        <a:pos x="99" y="40"/>
                      </a:cxn>
                      <a:cxn ang="0">
                        <a:pos x="91" y="40"/>
                      </a:cxn>
                      <a:cxn ang="0">
                        <a:pos x="84" y="37"/>
                      </a:cxn>
                      <a:cxn ang="0">
                        <a:pos x="85" y="33"/>
                      </a:cxn>
                      <a:cxn ang="0">
                        <a:pos x="89" y="33"/>
                      </a:cxn>
                      <a:cxn ang="0">
                        <a:pos x="96" y="30"/>
                      </a:cxn>
                      <a:cxn ang="0">
                        <a:pos x="91" y="26"/>
                      </a:cxn>
                      <a:cxn ang="0">
                        <a:pos x="80" y="28"/>
                      </a:cxn>
                      <a:cxn ang="0">
                        <a:pos x="72" y="26"/>
                      </a:cxn>
                      <a:cxn ang="0">
                        <a:pos x="68" y="19"/>
                      </a:cxn>
                      <a:cxn ang="0">
                        <a:pos x="65" y="13"/>
                      </a:cxn>
                      <a:cxn ang="0">
                        <a:pos x="61" y="13"/>
                      </a:cxn>
                      <a:cxn ang="0">
                        <a:pos x="52" y="13"/>
                      </a:cxn>
                      <a:cxn ang="0">
                        <a:pos x="35" y="2"/>
                      </a:cxn>
                      <a:cxn ang="0">
                        <a:pos x="28" y="2"/>
                      </a:cxn>
                      <a:cxn ang="0">
                        <a:pos x="25" y="4"/>
                      </a:cxn>
                      <a:cxn ang="0">
                        <a:pos x="14" y="4"/>
                      </a:cxn>
                      <a:cxn ang="0">
                        <a:pos x="7" y="6"/>
                      </a:cxn>
                    </a:cxnLst>
                    <a:rect l="0" t="0" r="r" b="b"/>
                    <a:pathLst>
                      <a:path w="122" h="96">
                        <a:moveTo>
                          <a:pt x="4" y="9"/>
                        </a:moveTo>
                        <a:lnTo>
                          <a:pt x="4" y="9"/>
                        </a:lnTo>
                        <a:lnTo>
                          <a:pt x="2" y="16"/>
                        </a:lnTo>
                        <a:lnTo>
                          <a:pt x="2" y="23"/>
                        </a:lnTo>
                        <a:lnTo>
                          <a:pt x="4" y="33"/>
                        </a:lnTo>
                        <a:lnTo>
                          <a:pt x="5" y="42"/>
                        </a:lnTo>
                        <a:lnTo>
                          <a:pt x="5" y="47"/>
                        </a:lnTo>
                        <a:lnTo>
                          <a:pt x="2" y="51"/>
                        </a:lnTo>
                        <a:lnTo>
                          <a:pt x="2" y="51"/>
                        </a:lnTo>
                        <a:lnTo>
                          <a:pt x="0" y="56"/>
                        </a:lnTo>
                        <a:lnTo>
                          <a:pt x="0" y="60"/>
                        </a:lnTo>
                        <a:lnTo>
                          <a:pt x="0" y="63"/>
                        </a:lnTo>
                        <a:lnTo>
                          <a:pt x="0" y="65"/>
                        </a:lnTo>
                        <a:lnTo>
                          <a:pt x="4" y="70"/>
                        </a:lnTo>
                        <a:lnTo>
                          <a:pt x="4" y="75"/>
                        </a:lnTo>
                        <a:lnTo>
                          <a:pt x="4" y="82"/>
                        </a:lnTo>
                        <a:lnTo>
                          <a:pt x="4" y="82"/>
                        </a:lnTo>
                        <a:lnTo>
                          <a:pt x="7" y="89"/>
                        </a:lnTo>
                        <a:lnTo>
                          <a:pt x="11" y="94"/>
                        </a:lnTo>
                        <a:lnTo>
                          <a:pt x="14" y="96"/>
                        </a:lnTo>
                        <a:lnTo>
                          <a:pt x="16" y="96"/>
                        </a:lnTo>
                        <a:lnTo>
                          <a:pt x="19" y="94"/>
                        </a:lnTo>
                        <a:lnTo>
                          <a:pt x="21" y="91"/>
                        </a:lnTo>
                        <a:lnTo>
                          <a:pt x="26" y="84"/>
                        </a:lnTo>
                        <a:lnTo>
                          <a:pt x="26" y="84"/>
                        </a:lnTo>
                        <a:lnTo>
                          <a:pt x="31" y="75"/>
                        </a:lnTo>
                        <a:lnTo>
                          <a:pt x="37" y="68"/>
                        </a:lnTo>
                        <a:lnTo>
                          <a:pt x="42" y="66"/>
                        </a:lnTo>
                        <a:lnTo>
                          <a:pt x="44" y="68"/>
                        </a:lnTo>
                        <a:lnTo>
                          <a:pt x="45" y="70"/>
                        </a:lnTo>
                        <a:lnTo>
                          <a:pt x="45" y="70"/>
                        </a:lnTo>
                        <a:lnTo>
                          <a:pt x="47" y="75"/>
                        </a:lnTo>
                        <a:lnTo>
                          <a:pt x="51" y="77"/>
                        </a:lnTo>
                        <a:lnTo>
                          <a:pt x="56" y="73"/>
                        </a:lnTo>
                        <a:lnTo>
                          <a:pt x="65" y="70"/>
                        </a:lnTo>
                        <a:lnTo>
                          <a:pt x="65" y="70"/>
                        </a:lnTo>
                        <a:lnTo>
                          <a:pt x="68" y="66"/>
                        </a:lnTo>
                        <a:lnTo>
                          <a:pt x="75" y="65"/>
                        </a:lnTo>
                        <a:lnTo>
                          <a:pt x="87" y="65"/>
                        </a:lnTo>
                        <a:lnTo>
                          <a:pt x="99" y="66"/>
                        </a:lnTo>
                        <a:lnTo>
                          <a:pt x="108" y="72"/>
                        </a:lnTo>
                        <a:lnTo>
                          <a:pt x="108" y="72"/>
                        </a:lnTo>
                        <a:lnTo>
                          <a:pt x="110" y="73"/>
                        </a:lnTo>
                        <a:lnTo>
                          <a:pt x="113" y="72"/>
                        </a:lnTo>
                        <a:lnTo>
                          <a:pt x="117" y="70"/>
                        </a:lnTo>
                        <a:lnTo>
                          <a:pt x="120" y="68"/>
                        </a:lnTo>
                        <a:lnTo>
                          <a:pt x="122" y="65"/>
                        </a:lnTo>
                        <a:lnTo>
                          <a:pt x="122" y="61"/>
                        </a:lnTo>
                        <a:lnTo>
                          <a:pt x="122" y="56"/>
                        </a:lnTo>
                        <a:lnTo>
                          <a:pt x="120" y="53"/>
                        </a:lnTo>
                        <a:lnTo>
                          <a:pt x="120" y="53"/>
                        </a:lnTo>
                        <a:lnTo>
                          <a:pt x="110" y="44"/>
                        </a:lnTo>
                        <a:lnTo>
                          <a:pt x="106" y="40"/>
                        </a:lnTo>
                        <a:lnTo>
                          <a:pt x="99" y="40"/>
                        </a:lnTo>
                        <a:lnTo>
                          <a:pt x="99" y="40"/>
                        </a:lnTo>
                        <a:lnTo>
                          <a:pt x="91" y="40"/>
                        </a:lnTo>
                        <a:lnTo>
                          <a:pt x="85" y="39"/>
                        </a:lnTo>
                        <a:lnTo>
                          <a:pt x="84" y="37"/>
                        </a:lnTo>
                        <a:lnTo>
                          <a:pt x="84" y="35"/>
                        </a:lnTo>
                        <a:lnTo>
                          <a:pt x="85" y="33"/>
                        </a:lnTo>
                        <a:lnTo>
                          <a:pt x="89" y="33"/>
                        </a:lnTo>
                        <a:lnTo>
                          <a:pt x="89" y="33"/>
                        </a:lnTo>
                        <a:lnTo>
                          <a:pt x="96" y="30"/>
                        </a:lnTo>
                        <a:lnTo>
                          <a:pt x="96" y="30"/>
                        </a:lnTo>
                        <a:lnTo>
                          <a:pt x="96" y="28"/>
                        </a:lnTo>
                        <a:lnTo>
                          <a:pt x="91" y="26"/>
                        </a:lnTo>
                        <a:lnTo>
                          <a:pt x="80" y="28"/>
                        </a:lnTo>
                        <a:lnTo>
                          <a:pt x="80" y="28"/>
                        </a:lnTo>
                        <a:lnTo>
                          <a:pt x="75" y="28"/>
                        </a:lnTo>
                        <a:lnTo>
                          <a:pt x="72" y="26"/>
                        </a:lnTo>
                        <a:lnTo>
                          <a:pt x="70" y="23"/>
                        </a:lnTo>
                        <a:lnTo>
                          <a:pt x="68" y="19"/>
                        </a:lnTo>
                        <a:lnTo>
                          <a:pt x="66" y="14"/>
                        </a:lnTo>
                        <a:lnTo>
                          <a:pt x="65" y="13"/>
                        </a:lnTo>
                        <a:lnTo>
                          <a:pt x="61" y="13"/>
                        </a:lnTo>
                        <a:lnTo>
                          <a:pt x="61" y="13"/>
                        </a:lnTo>
                        <a:lnTo>
                          <a:pt x="58" y="13"/>
                        </a:lnTo>
                        <a:lnTo>
                          <a:pt x="52" y="13"/>
                        </a:lnTo>
                        <a:lnTo>
                          <a:pt x="44" y="7"/>
                        </a:lnTo>
                        <a:lnTo>
                          <a:pt x="35" y="2"/>
                        </a:lnTo>
                        <a:lnTo>
                          <a:pt x="31" y="0"/>
                        </a:lnTo>
                        <a:lnTo>
                          <a:pt x="28" y="2"/>
                        </a:lnTo>
                        <a:lnTo>
                          <a:pt x="28" y="2"/>
                        </a:lnTo>
                        <a:lnTo>
                          <a:pt x="25" y="4"/>
                        </a:lnTo>
                        <a:lnTo>
                          <a:pt x="21" y="4"/>
                        </a:lnTo>
                        <a:lnTo>
                          <a:pt x="14" y="4"/>
                        </a:lnTo>
                        <a:lnTo>
                          <a:pt x="9" y="4"/>
                        </a:lnTo>
                        <a:lnTo>
                          <a:pt x="7" y="6"/>
                        </a:lnTo>
                        <a:lnTo>
                          <a:pt x="4"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7" name="Freeform 2200">
                    <a:extLst>
                      <a:ext uri="{FF2B5EF4-FFF2-40B4-BE49-F238E27FC236}">
                        <a16:creationId xmlns:a16="http://schemas.microsoft.com/office/drawing/2014/main" id="{C6E9F2BB-9413-4DB9-5299-2830A82F8FFB}"/>
                      </a:ext>
                    </a:extLst>
                  </p:cNvPr>
                  <p:cNvSpPr>
                    <a:spLocks/>
                  </p:cNvSpPr>
                  <p:nvPr/>
                </p:nvSpPr>
                <p:spPr bwMode="auto">
                  <a:xfrm>
                    <a:off x="2641767" y="3650452"/>
                    <a:ext cx="13008" cy="7226"/>
                  </a:xfrm>
                  <a:custGeom>
                    <a:avLst/>
                    <a:gdLst/>
                    <a:ahLst/>
                    <a:cxnLst>
                      <a:cxn ang="0">
                        <a:pos x="0" y="4"/>
                      </a:cxn>
                      <a:cxn ang="0">
                        <a:pos x="0" y="4"/>
                      </a:cxn>
                      <a:cxn ang="0">
                        <a:pos x="0" y="2"/>
                      </a:cxn>
                      <a:cxn ang="0">
                        <a:pos x="3" y="0"/>
                      </a:cxn>
                      <a:cxn ang="0">
                        <a:pos x="9" y="2"/>
                      </a:cxn>
                      <a:cxn ang="0">
                        <a:pos x="16" y="5"/>
                      </a:cxn>
                      <a:cxn ang="0">
                        <a:pos x="17" y="7"/>
                      </a:cxn>
                      <a:cxn ang="0">
                        <a:pos x="17" y="11"/>
                      </a:cxn>
                      <a:cxn ang="0">
                        <a:pos x="17" y="11"/>
                      </a:cxn>
                      <a:cxn ang="0">
                        <a:pos x="16" y="11"/>
                      </a:cxn>
                      <a:cxn ang="0">
                        <a:pos x="14" y="11"/>
                      </a:cxn>
                      <a:cxn ang="0">
                        <a:pos x="7" y="11"/>
                      </a:cxn>
                      <a:cxn ang="0">
                        <a:pos x="2" y="7"/>
                      </a:cxn>
                      <a:cxn ang="0">
                        <a:pos x="0" y="4"/>
                      </a:cxn>
                    </a:cxnLst>
                    <a:rect l="0" t="0" r="r" b="b"/>
                    <a:pathLst>
                      <a:path w="17" h="11">
                        <a:moveTo>
                          <a:pt x="0" y="4"/>
                        </a:moveTo>
                        <a:lnTo>
                          <a:pt x="0" y="4"/>
                        </a:lnTo>
                        <a:lnTo>
                          <a:pt x="0" y="2"/>
                        </a:lnTo>
                        <a:lnTo>
                          <a:pt x="3" y="0"/>
                        </a:lnTo>
                        <a:lnTo>
                          <a:pt x="9" y="2"/>
                        </a:lnTo>
                        <a:lnTo>
                          <a:pt x="16" y="5"/>
                        </a:lnTo>
                        <a:lnTo>
                          <a:pt x="17" y="7"/>
                        </a:lnTo>
                        <a:lnTo>
                          <a:pt x="17" y="11"/>
                        </a:lnTo>
                        <a:lnTo>
                          <a:pt x="17" y="11"/>
                        </a:lnTo>
                        <a:lnTo>
                          <a:pt x="16" y="11"/>
                        </a:lnTo>
                        <a:lnTo>
                          <a:pt x="14" y="11"/>
                        </a:lnTo>
                        <a:lnTo>
                          <a:pt x="7" y="11"/>
                        </a:lnTo>
                        <a:lnTo>
                          <a:pt x="2" y="7"/>
                        </a:lnTo>
                        <a:lnTo>
                          <a:pt x="0" y="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415" name="Freeform 2201">
                  <a:extLst>
                    <a:ext uri="{FF2B5EF4-FFF2-40B4-BE49-F238E27FC236}">
                      <a16:creationId xmlns:a16="http://schemas.microsoft.com/office/drawing/2014/main" id="{18F64359-4AC6-5B97-0488-BFE82E61F531}"/>
                    </a:ext>
                  </a:extLst>
                </p:cNvPr>
                <p:cNvSpPr>
                  <a:spLocks/>
                </p:cNvSpPr>
                <p:nvPr/>
              </p:nvSpPr>
              <p:spPr bwMode="auto">
                <a:xfrm>
                  <a:off x="4881846" y="2693387"/>
                  <a:ext cx="22906" cy="29955"/>
                </a:xfrm>
                <a:custGeom>
                  <a:avLst/>
                  <a:gdLst/>
                  <a:ahLst/>
                  <a:cxnLst>
                    <a:cxn ang="0">
                      <a:pos x="21" y="36"/>
                    </a:cxn>
                    <a:cxn ang="0">
                      <a:pos x="21" y="36"/>
                    </a:cxn>
                    <a:cxn ang="0">
                      <a:pos x="22" y="29"/>
                    </a:cxn>
                    <a:cxn ang="0">
                      <a:pos x="26" y="26"/>
                    </a:cxn>
                    <a:cxn ang="0">
                      <a:pos x="28" y="22"/>
                    </a:cxn>
                    <a:cxn ang="0">
                      <a:pos x="28" y="19"/>
                    </a:cxn>
                    <a:cxn ang="0">
                      <a:pos x="28" y="19"/>
                    </a:cxn>
                    <a:cxn ang="0">
                      <a:pos x="24" y="17"/>
                    </a:cxn>
                    <a:cxn ang="0">
                      <a:pos x="19" y="14"/>
                    </a:cxn>
                    <a:cxn ang="0">
                      <a:pos x="15" y="12"/>
                    </a:cxn>
                    <a:cxn ang="0">
                      <a:pos x="14" y="10"/>
                    </a:cxn>
                    <a:cxn ang="0">
                      <a:pos x="14" y="5"/>
                    </a:cxn>
                    <a:cxn ang="0">
                      <a:pos x="14" y="0"/>
                    </a:cxn>
                    <a:cxn ang="0">
                      <a:pos x="14" y="0"/>
                    </a:cxn>
                    <a:cxn ang="0">
                      <a:pos x="7" y="3"/>
                    </a:cxn>
                    <a:cxn ang="0">
                      <a:pos x="3" y="9"/>
                    </a:cxn>
                    <a:cxn ang="0">
                      <a:pos x="0" y="14"/>
                    </a:cxn>
                    <a:cxn ang="0">
                      <a:pos x="0" y="19"/>
                    </a:cxn>
                    <a:cxn ang="0">
                      <a:pos x="2" y="28"/>
                    </a:cxn>
                    <a:cxn ang="0">
                      <a:pos x="2" y="35"/>
                    </a:cxn>
                    <a:cxn ang="0">
                      <a:pos x="2" y="35"/>
                    </a:cxn>
                    <a:cxn ang="0">
                      <a:pos x="12" y="36"/>
                    </a:cxn>
                    <a:cxn ang="0">
                      <a:pos x="21" y="36"/>
                    </a:cxn>
                    <a:cxn ang="0">
                      <a:pos x="21" y="36"/>
                    </a:cxn>
                  </a:cxnLst>
                  <a:rect l="0" t="0" r="r" b="b"/>
                  <a:pathLst>
                    <a:path w="28" h="36">
                      <a:moveTo>
                        <a:pt x="21" y="36"/>
                      </a:moveTo>
                      <a:lnTo>
                        <a:pt x="21" y="36"/>
                      </a:lnTo>
                      <a:lnTo>
                        <a:pt x="22" y="29"/>
                      </a:lnTo>
                      <a:lnTo>
                        <a:pt x="26" y="26"/>
                      </a:lnTo>
                      <a:lnTo>
                        <a:pt x="28" y="22"/>
                      </a:lnTo>
                      <a:lnTo>
                        <a:pt x="28" y="19"/>
                      </a:lnTo>
                      <a:lnTo>
                        <a:pt x="28" y="19"/>
                      </a:lnTo>
                      <a:lnTo>
                        <a:pt x="24" y="17"/>
                      </a:lnTo>
                      <a:lnTo>
                        <a:pt x="19" y="14"/>
                      </a:lnTo>
                      <a:lnTo>
                        <a:pt x="15" y="12"/>
                      </a:lnTo>
                      <a:lnTo>
                        <a:pt x="14" y="10"/>
                      </a:lnTo>
                      <a:lnTo>
                        <a:pt x="14" y="5"/>
                      </a:lnTo>
                      <a:lnTo>
                        <a:pt x="14" y="0"/>
                      </a:lnTo>
                      <a:lnTo>
                        <a:pt x="14" y="0"/>
                      </a:lnTo>
                      <a:lnTo>
                        <a:pt x="7" y="3"/>
                      </a:lnTo>
                      <a:lnTo>
                        <a:pt x="3" y="9"/>
                      </a:lnTo>
                      <a:lnTo>
                        <a:pt x="0" y="14"/>
                      </a:lnTo>
                      <a:lnTo>
                        <a:pt x="0" y="19"/>
                      </a:lnTo>
                      <a:lnTo>
                        <a:pt x="2" y="28"/>
                      </a:lnTo>
                      <a:lnTo>
                        <a:pt x="2" y="35"/>
                      </a:lnTo>
                      <a:lnTo>
                        <a:pt x="2" y="35"/>
                      </a:lnTo>
                      <a:lnTo>
                        <a:pt x="12" y="36"/>
                      </a:lnTo>
                      <a:lnTo>
                        <a:pt x="21" y="36"/>
                      </a:lnTo>
                      <a:lnTo>
                        <a:pt x="21" y="3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6" name="Freeform 2202">
                  <a:extLst>
                    <a:ext uri="{FF2B5EF4-FFF2-40B4-BE49-F238E27FC236}">
                      <a16:creationId xmlns:a16="http://schemas.microsoft.com/office/drawing/2014/main" id="{5F8EA029-B618-B3C1-F370-9E035E33082C}"/>
                    </a:ext>
                  </a:extLst>
                </p:cNvPr>
                <p:cNvSpPr>
                  <a:spLocks/>
                </p:cNvSpPr>
                <p:nvPr/>
              </p:nvSpPr>
              <p:spPr bwMode="auto">
                <a:xfrm>
                  <a:off x="5709984" y="3301276"/>
                  <a:ext cx="42289" cy="61670"/>
                </a:xfrm>
                <a:custGeom>
                  <a:avLst/>
                  <a:gdLst/>
                  <a:ahLst/>
                  <a:cxnLst>
                    <a:cxn ang="0">
                      <a:pos x="17" y="66"/>
                    </a:cxn>
                    <a:cxn ang="0">
                      <a:pos x="15" y="65"/>
                    </a:cxn>
                    <a:cxn ang="0">
                      <a:pos x="14" y="73"/>
                    </a:cxn>
                    <a:cxn ang="0">
                      <a:pos x="10" y="75"/>
                    </a:cxn>
                    <a:cxn ang="0">
                      <a:pos x="0" y="73"/>
                    </a:cxn>
                    <a:cxn ang="0">
                      <a:pos x="3" y="65"/>
                    </a:cxn>
                    <a:cxn ang="0">
                      <a:pos x="8" y="56"/>
                    </a:cxn>
                    <a:cxn ang="0">
                      <a:pos x="12" y="45"/>
                    </a:cxn>
                    <a:cxn ang="0">
                      <a:pos x="17" y="35"/>
                    </a:cxn>
                    <a:cxn ang="0">
                      <a:pos x="17" y="26"/>
                    </a:cxn>
                    <a:cxn ang="0">
                      <a:pos x="17" y="21"/>
                    </a:cxn>
                    <a:cxn ang="0">
                      <a:pos x="24" y="12"/>
                    </a:cxn>
                    <a:cxn ang="0">
                      <a:pos x="29" y="5"/>
                    </a:cxn>
                    <a:cxn ang="0">
                      <a:pos x="29" y="0"/>
                    </a:cxn>
                    <a:cxn ang="0">
                      <a:pos x="38" y="2"/>
                    </a:cxn>
                    <a:cxn ang="0">
                      <a:pos x="41" y="0"/>
                    </a:cxn>
                    <a:cxn ang="0">
                      <a:pos x="43" y="0"/>
                    </a:cxn>
                    <a:cxn ang="0">
                      <a:pos x="45" y="5"/>
                    </a:cxn>
                    <a:cxn ang="0">
                      <a:pos x="43" y="7"/>
                    </a:cxn>
                    <a:cxn ang="0">
                      <a:pos x="48" y="12"/>
                    </a:cxn>
                    <a:cxn ang="0">
                      <a:pos x="54" y="23"/>
                    </a:cxn>
                    <a:cxn ang="0">
                      <a:pos x="52" y="26"/>
                    </a:cxn>
                    <a:cxn ang="0">
                      <a:pos x="43" y="32"/>
                    </a:cxn>
                    <a:cxn ang="0">
                      <a:pos x="41" y="35"/>
                    </a:cxn>
                    <a:cxn ang="0">
                      <a:pos x="43" y="39"/>
                    </a:cxn>
                    <a:cxn ang="0">
                      <a:pos x="45" y="40"/>
                    </a:cxn>
                    <a:cxn ang="0">
                      <a:pos x="34" y="40"/>
                    </a:cxn>
                    <a:cxn ang="0">
                      <a:pos x="33" y="42"/>
                    </a:cxn>
                    <a:cxn ang="0">
                      <a:pos x="29" y="45"/>
                    </a:cxn>
                    <a:cxn ang="0">
                      <a:pos x="31" y="49"/>
                    </a:cxn>
                    <a:cxn ang="0">
                      <a:pos x="33" y="51"/>
                    </a:cxn>
                    <a:cxn ang="0">
                      <a:pos x="26" y="59"/>
                    </a:cxn>
                    <a:cxn ang="0">
                      <a:pos x="17" y="66"/>
                    </a:cxn>
                  </a:cxnLst>
                  <a:rect l="0" t="0" r="r" b="b"/>
                  <a:pathLst>
                    <a:path w="54" h="75">
                      <a:moveTo>
                        <a:pt x="17" y="66"/>
                      </a:moveTo>
                      <a:lnTo>
                        <a:pt x="17" y="66"/>
                      </a:lnTo>
                      <a:lnTo>
                        <a:pt x="15" y="65"/>
                      </a:lnTo>
                      <a:lnTo>
                        <a:pt x="15" y="65"/>
                      </a:lnTo>
                      <a:lnTo>
                        <a:pt x="14" y="68"/>
                      </a:lnTo>
                      <a:lnTo>
                        <a:pt x="14" y="73"/>
                      </a:lnTo>
                      <a:lnTo>
                        <a:pt x="14" y="73"/>
                      </a:lnTo>
                      <a:lnTo>
                        <a:pt x="10" y="75"/>
                      </a:lnTo>
                      <a:lnTo>
                        <a:pt x="7" y="75"/>
                      </a:lnTo>
                      <a:lnTo>
                        <a:pt x="0" y="73"/>
                      </a:lnTo>
                      <a:lnTo>
                        <a:pt x="0" y="73"/>
                      </a:lnTo>
                      <a:lnTo>
                        <a:pt x="3" y="65"/>
                      </a:lnTo>
                      <a:lnTo>
                        <a:pt x="7" y="59"/>
                      </a:lnTo>
                      <a:lnTo>
                        <a:pt x="8" y="56"/>
                      </a:lnTo>
                      <a:lnTo>
                        <a:pt x="12" y="45"/>
                      </a:lnTo>
                      <a:lnTo>
                        <a:pt x="12" y="45"/>
                      </a:lnTo>
                      <a:lnTo>
                        <a:pt x="14" y="39"/>
                      </a:lnTo>
                      <a:lnTo>
                        <a:pt x="17" y="35"/>
                      </a:lnTo>
                      <a:lnTo>
                        <a:pt x="19" y="33"/>
                      </a:lnTo>
                      <a:lnTo>
                        <a:pt x="17" y="26"/>
                      </a:lnTo>
                      <a:lnTo>
                        <a:pt x="17" y="26"/>
                      </a:lnTo>
                      <a:lnTo>
                        <a:pt x="17" y="21"/>
                      </a:lnTo>
                      <a:lnTo>
                        <a:pt x="19" y="18"/>
                      </a:lnTo>
                      <a:lnTo>
                        <a:pt x="24" y="12"/>
                      </a:lnTo>
                      <a:lnTo>
                        <a:pt x="29" y="9"/>
                      </a:lnTo>
                      <a:lnTo>
                        <a:pt x="29" y="5"/>
                      </a:lnTo>
                      <a:lnTo>
                        <a:pt x="29" y="0"/>
                      </a:lnTo>
                      <a:lnTo>
                        <a:pt x="29" y="0"/>
                      </a:lnTo>
                      <a:lnTo>
                        <a:pt x="34" y="2"/>
                      </a:lnTo>
                      <a:lnTo>
                        <a:pt x="38" y="2"/>
                      </a:lnTo>
                      <a:lnTo>
                        <a:pt x="38" y="2"/>
                      </a:lnTo>
                      <a:lnTo>
                        <a:pt x="41" y="0"/>
                      </a:lnTo>
                      <a:lnTo>
                        <a:pt x="43" y="0"/>
                      </a:lnTo>
                      <a:lnTo>
                        <a:pt x="43" y="0"/>
                      </a:lnTo>
                      <a:lnTo>
                        <a:pt x="45" y="4"/>
                      </a:lnTo>
                      <a:lnTo>
                        <a:pt x="45" y="5"/>
                      </a:lnTo>
                      <a:lnTo>
                        <a:pt x="43" y="5"/>
                      </a:lnTo>
                      <a:lnTo>
                        <a:pt x="43" y="7"/>
                      </a:lnTo>
                      <a:lnTo>
                        <a:pt x="43" y="7"/>
                      </a:lnTo>
                      <a:lnTo>
                        <a:pt x="48" y="12"/>
                      </a:lnTo>
                      <a:lnTo>
                        <a:pt x="52" y="16"/>
                      </a:lnTo>
                      <a:lnTo>
                        <a:pt x="54" y="23"/>
                      </a:lnTo>
                      <a:lnTo>
                        <a:pt x="54" y="23"/>
                      </a:lnTo>
                      <a:lnTo>
                        <a:pt x="52" y="26"/>
                      </a:lnTo>
                      <a:lnTo>
                        <a:pt x="47" y="28"/>
                      </a:lnTo>
                      <a:lnTo>
                        <a:pt x="43" y="32"/>
                      </a:lnTo>
                      <a:lnTo>
                        <a:pt x="41" y="35"/>
                      </a:lnTo>
                      <a:lnTo>
                        <a:pt x="41" y="35"/>
                      </a:lnTo>
                      <a:lnTo>
                        <a:pt x="43" y="37"/>
                      </a:lnTo>
                      <a:lnTo>
                        <a:pt x="43" y="39"/>
                      </a:lnTo>
                      <a:lnTo>
                        <a:pt x="45" y="40"/>
                      </a:lnTo>
                      <a:lnTo>
                        <a:pt x="45" y="40"/>
                      </a:lnTo>
                      <a:lnTo>
                        <a:pt x="40" y="40"/>
                      </a:lnTo>
                      <a:lnTo>
                        <a:pt x="34" y="40"/>
                      </a:lnTo>
                      <a:lnTo>
                        <a:pt x="34" y="40"/>
                      </a:lnTo>
                      <a:lnTo>
                        <a:pt x="33" y="42"/>
                      </a:lnTo>
                      <a:lnTo>
                        <a:pt x="29" y="45"/>
                      </a:lnTo>
                      <a:lnTo>
                        <a:pt x="29" y="45"/>
                      </a:lnTo>
                      <a:lnTo>
                        <a:pt x="29" y="47"/>
                      </a:lnTo>
                      <a:lnTo>
                        <a:pt x="31" y="49"/>
                      </a:lnTo>
                      <a:lnTo>
                        <a:pt x="33" y="51"/>
                      </a:lnTo>
                      <a:lnTo>
                        <a:pt x="33" y="51"/>
                      </a:lnTo>
                      <a:lnTo>
                        <a:pt x="33" y="51"/>
                      </a:lnTo>
                      <a:lnTo>
                        <a:pt x="26" y="59"/>
                      </a:lnTo>
                      <a:lnTo>
                        <a:pt x="21" y="65"/>
                      </a:lnTo>
                      <a:lnTo>
                        <a:pt x="17" y="66"/>
                      </a:lnTo>
                      <a:lnTo>
                        <a:pt x="17" y="6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7" name="Freeform 2203">
                  <a:extLst>
                    <a:ext uri="{FF2B5EF4-FFF2-40B4-BE49-F238E27FC236}">
                      <a16:creationId xmlns:a16="http://schemas.microsoft.com/office/drawing/2014/main" id="{0746CA33-BD28-249B-601B-2E8A9B44662F}"/>
                    </a:ext>
                  </a:extLst>
                </p:cNvPr>
                <p:cNvSpPr>
                  <a:spLocks/>
                </p:cNvSpPr>
                <p:nvPr/>
              </p:nvSpPr>
              <p:spPr bwMode="auto">
                <a:xfrm>
                  <a:off x="5704700" y="3350613"/>
                  <a:ext cx="121579" cy="153294"/>
                </a:xfrm>
                <a:custGeom>
                  <a:avLst/>
                  <a:gdLst/>
                  <a:ahLst/>
                  <a:cxnLst>
                    <a:cxn ang="0">
                      <a:pos x="25" y="28"/>
                    </a:cxn>
                    <a:cxn ang="0">
                      <a:pos x="21" y="33"/>
                    </a:cxn>
                    <a:cxn ang="0">
                      <a:pos x="21" y="44"/>
                    </a:cxn>
                    <a:cxn ang="0">
                      <a:pos x="21" y="45"/>
                    </a:cxn>
                    <a:cxn ang="0">
                      <a:pos x="21" y="73"/>
                    </a:cxn>
                    <a:cxn ang="0">
                      <a:pos x="18" y="84"/>
                    </a:cxn>
                    <a:cxn ang="0">
                      <a:pos x="18" y="101"/>
                    </a:cxn>
                    <a:cxn ang="0">
                      <a:pos x="16" y="110"/>
                    </a:cxn>
                    <a:cxn ang="0">
                      <a:pos x="9" y="134"/>
                    </a:cxn>
                    <a:cxn ang="0">
                      <a:pos x="7" y="148"/>
                    </a:cxn>
                    <a:cxn ang="0">
                      <a:pos x="4" y="164"/>
                    </a:cxn>
                    <a:cxn ang="0">
                      <a:pos x="0" y="174"/>
                    </a:cxn>
                    <a:cxn ang="0">
                      <a:pos x="0" y="183"/>
                    </a:cxn>
                    <a:cxn ang="0">
                      <a:pos x="20" y="188"/>
                    </a:cxn>
                    <a:cxn ang="0">
                      <a:pos x="39" y="192"/>
                    </a:cxn>
                    <a:cxn ang="0">
                      <a:pos x="44" y="190"/>
                    </a:cxn>
                    <a:cxn ang="0">
                      <a:pos x="53" y="178"/>
                    </a:cxn>
                    <a:cxn ang="0">
                      <a:pos x="63" y="160"/>
                    </a:cxn>
                    <a:cxn ang="0">
                      <a:pos x="68" y="157"/>
                    </a:cxn>
                    <a:cxn ang="0">
                      <a:pos x="84" y="157"/>
                    </a:cxn>
                    <a:cxn ang="0">
                      <a:pos x="89" y="153"/>
                    </a:cxn>
                    <a:cxn ang="0">
                      <a:pos x="93" y="146"/>
                    </a:cxn>
                    <a:cxn ang="0">
                      <a:pos x="94" y="139"/>
                    </a:cxn>
                    <a:cxn ang="0">
                      <a:pos x="101" y="136"/>
                    </a:cxn>
                    <a:cxn ang="0">
                      <a:pos x="107" y="131"/>
                    </a:cxn>
                    <a:cxn ang="0">
                      <a:pos x="105" y="127"/>
                    </a:cxn>
                    <a:cxn ang="0">
                      <a:pos x="89" y="108"/>
                    </a:cxn>
                    <a:cxn ang="0">
                      <a:pos x="72" y="85"/>
                    </a:cxn>
                    <a:cxn ang="0">
                      <a:pos x="75" y="84"/>
                    </a:cxn>
                    <a:cxn ang="0">
                      <a:pos x="91" y="80"/>
                    </a:cxn>
                    <a:cxn ang="0">
                      <a:pos x="121" y="72"/>
                    </a:cxn>
                    <a:cxn ang="0">
                      <a:pos x="145" y="61"/>
                    </a:cxn>
                    <a:cxn ang="0">
                      <a:pos x="150" y="56"/>
                    </a:cxn>
                    <a:cxn ang="0">
                      <a:pos x="152" y="52"/>
                    </a:cxn>
                    <a:cxn ang="0">
                      <a:pos x="150" y="47"/>
                    </a:cxn>
                    <a:cxn ang="0">
                      <a:pos x="143" y="49"/>
                    </a:cxn>
                    <a:cxn ang="0">
                      <a:pos x="141" y="40"/>
                    </a:cxn>
                    <a:cxn ang="0">
                      <a:pos x="145" y="40"/>
                    </a:cxn>
                    <a:cxn ang="0">
                      <a:pos x="145" y="38"/>
                    </a:cxn>
                    <a:cxn ang="0">
                      <a:pos x="145" y="37"/>
                    </a:cxn>
                    <a:cxn ang="0">
                      <a:pos x="134" y="0"/>
                    </a:cxn>
                    <a:cxn ang="0">
                      <a:pos x="103" y="21"/>
                    </a:cxn>
                    <a:cxn ang="0">
                      <a:pos x="74" y="44"/>
                    </a:cxn>
                    <a:cxn ang="0">
                      <a:pos x="67" y="49"/>
                    </a:cxn>
                    <a:cxn ang="0">
                      <a:pos x="53" y="45"/>
                    </a:cxn>
                    <a:cxn ang="0">
                      <a:pos x="40" y="38"/>
                    </a:cxn>
                    <a:cxn ang="0">
                      <a:pos x="35" y="32"/>
                    </a:cxn>
                    <a:cxn ang="0">
                      <a:pos x="32" y="30"/>
                    </a:cxn>
                    <a:cxn ang="0">
                      <a:pos x="27" y="30"/>
                    </a:cxn>
                    <a:cxn ang="0">
                      <a:pos x="25" y="28"/>
                    </a:cxn>
                  </a:cxnLst>
                  <a:rect l="0" t="0" r="r" b="b"/>
                  <a:pathLst>
                    <a:path w="152" h="192">
                      <a:moveTo>
                        <a:pt x="25" y="28"/>
                      </a:moveTo>
                      <a:lnTo>
                        <a:pt x="25" y="28"/>
                      </a:lnTo>
                      <a:lnTo>
                        <a:pt x="23" y="30"/>
                      </a:lnTo>
                      <a:lnTo>
                        <a:pt x="21" y="33"/>
                      </a:lnTo>
                      <a:lnTo>
                        <a:pt x="21" y="44"/>
                      </a:lnTo>
                      <a:lnTo>
                        <a:pt x="21" y="44"/>
                      </a:lnTo>
                      <a:lnTo>
                        <a:pt x="21" y="45"/>
                      </a:lnTo>
                      <a:lnTo>
                        <a:pt x="21" y="45"/>
                      </a:lnTo>
                      <a:lnTo>
                        <a:pt x="21" y="63"/>
                      </a:lnTo>
                      <a:lnTo>
                        <a:pt x="21" y="73"/>
                      </a:lnTo>
                      <a:lnTo>
                        <a:pt x="18" y="84"/>
                      </a:lnTo>
                      <a:lnTo>
                        <a:pt x="18" y="84"/>
                      </a:lnTo>
                      <a:lnTo>
                        <a:pt x="18" y="92"/>
                      </a:lnTo>
                      <a:lnTo>
                        <a:pt x="18" y="101"/>
                      </a:lnTo>
                      <a:lnTo>
                        <a:pt x="18" y="101"/>
                      </a:lnTo>
                      <a:lnTo>
                        <a:pt x="16" y="110"/>
                      </a:lnTo>
                      <a:lnTo>
                        <a:pt x="13" y="120"/>
                      </a:lnTo>
                      <a:lnTo>
                        <a:pt x="9" y="134"/>
                      </a:lnTo>
                      <a:lnTo>
                        <a:pt x="7" y="148"/>
                      </a:lnTo>
                      <a:lnTo>
                        <a:pt x="7" y="148"/>
                      </a:lnTo>
                      <a:lnTo>
                        <a:pt x="6" y="153"/>
                      </a:lnTo>
                      <a:lnTo>
                        <a:pt x="4" y="164"/>
                      </a:lnTo>
                      <a:lnTo>
                        <a:pt x="0" y="174"/>
                      </a:lnTo>
                      <a:lnTo>
                        <a:pt x="0" y="174"/>
                      </a:lnTo>
                      <a:lnTo>
                        <a:pt x="0" y="179"/>
                      </a:lnTo>
                      <a:lnTo>
                        <a:pt x="0" y="183"/>
                      </a:lnTo>
                      <a:lnTo>
                        <a:pt x="0" y="183"/>
                      </a:lnTo>
                      <a:lnTo>
                        <a:pt x="20" y="188"/>
                      </a:lnTo>
                      <a:lnTo>
                        <a:pt x="32" y="190"/>
                      </a:lnTo>
                      <a:lnTo>
                        <a:pt x="39" y="192"/>
                      </a:lnTo>
                      <a:lnTo>
                        <a:pt x="39" y="192"/>
                      </a:lnTo>
                      <a:lnTo>
                        <a:pt x="44" y="190"/>
                      </a:lnTo>
                      <a:lnTo>
                        <a:pt x="47" y="186"/>
                      </a:lnTo>
                      <a:lnTo>
                        <a:pt x="53" y="178"/>
                      </a:lnTo>
                      <a:lnTo>
                        <a:pt x="58" y="167"/>
                      </a:lnTo>
                      <a:lnTo>
                        <a:pt x="63" y="160"/>
                      </a:lnTo>
                      <a:lnTo>
                        <a:pt x="63" y="160"/>
                      </a:lnTo>
                      <a:lnTo>
                        <a:pt x="68" y="157"/>
                      </a:lnTo>
                      <a:lnTo>
                        <a:pt x="77" y="157"/>
                      </a:lnTo>
                      <a:lnTo>
                        <a:pt x="84" y="157"/>
                      </a:lnTo>
                      <a:lnTo>
                        <a:pt x="89" y="153"/>
                      </a:lnTo>
                      <a:lnTo>
                        <a:pt x="89" y="153"/>
                      </a:lnTo>
                      <a:lnTo>
                        <a:pt x="91" y="150"/>
                      </a:lnTo>
                      <a:lnTo>
                        <a:pt x="93" y="146"/>
                      </a:lnTo>
                      <a:lnTo>
                        <a:pt x="94" y="143"/>
                      </a:lnTo>
                      <a:lnTo>
                        <a:pt x="94" y="139"/>
                      </a:lnTo>
                      <a:lnTo>
                        <a:pt x="94" y="139"/>
                      </a:lnTo>
                      <a:lnTo>
                        <a:pt x="101" y="136"/>
                      </a:lnTo>
                      <a:lnTo>
                        <a:pt x="105" y="132"/>
                      </a:lnTo>
                      <a:lnTo>
                        <a:pt x="107" y="131"/>
                      </a:lnTo>
                      <a:lnTo>
                        <a:pt x="107" y="131"/>
                      </a:lnTo>
                      <a:lnTo>
                        <a:pt x="105" y="127"/>
                      </a:lnTo>
                      <a:lnTo>
                        <a:pt x="101" y="122"/>
                      </a:lnTo>
                      <a:lnTo>
                        <a:pt x="89" y="108"/>
                      </a:lnTo>
                      <a:lnTo>
                        <a:pt x="77" y="94"/>
                      </a:lnTo>
                      <a:lnTo>
                        <a:pt x="72" y="85"/>
                      </a:lnTo>
                      <a:lnTo>
                        <a:pt x="72" y="85"/>
                      </a:lnTo>
                      <a:lnTo>
                        <a:pt x="75" y="84"/>
                      </a:lnTo>
                      <a:lnTo>
                        <a:pt x="80" y="82"/>
                      </a:lnTo>
                      <a:lnTo>
                        <a:pt x="91" y="80"/>
                      </a:lnTo>
                      <a:lnTo>
                        <a:pt x="91" y="80"/>
                      </a:lnTo>
                      <a:lnTo>
                        <a:pt x="121" y="72"/>
                      </a:lnTo>
                      <a:lnTo>
                        <a:pt x="138" y="65"/>
                      </a:lnTo>
                      <a:lnTo>
                        <a:pt x="145" y="61"/>
                      </a:lnTo>
                      <a:lnTo>
                        <a:pt x="150" y="56"/>
                      </a:lnTo>
                      <a:lnTo>
                        <a:pt x="150" y="56"/>
                      </a:lnTo>
                      <a:lnTo>
                        <a:pt x="152" y="52"/>
                      </a:lnTo>
                      <a:lnTo>
                        <a:pt x="152" y="52"/>
                      </a:lnTo>
                      <a:lnTo>
                        <a:pt x="152" y="49"/>
                      </a:lnTo>
                      <a:lnTo>
                        <a:pt x="150" y="47"/>
                      </a:lnTo>
                      <a:lnTo>
                        <a:pt x="143" y="49"/>
                      </a:lnTo>
                      <a:lnTo>
                        <a:pt x="143" y="49"/>
                      </a:lnTo>
                      <a:lnTo>
                        <a:pt x="141" y="40"/>
                      </a:lnTo>
                      <a:lnTo>
                        <a:pt x="141" y="40"/>
                      </a:lnTo>
                      <a:lnTo>
                        <a:pt x="143" y="40"/>
                      </a:lnTo>
                      <a:lnTo>
                        <a:pt x="145" y="40"/>
                      </a:lnTo>
                      <a:lnTo>
                        <a:pt x="145" y="40"/>
                      </a:lnTo>
                      <a:lnTo>
                        <a:pt x="145" y="38"/>
                      </a:lnTo>
                      <a:lnTo>
                        <a:pt x="145" y="37"/>
                      </a:lnTo>
                      <a:lnTo>
                        <a:pt x="145" y="37"/>
                      </a:lnTo>
                      <a:lnTo>
                        <a:pt x="134" y="0"/>
                      </a:lnTo>
                      <a:lnTo>
                        <a:pt x="134" y="0"/>
                      </a:lnTo>
                      <a:lnTo>
                        <a:pt x="103" y="21"/>
                      </a:lnTo>
                      <a:lnTo>
                        <a:pt x="103" y="21"/>
                      </a:lnTo>
                      <a:lnTo>
                        <a:pt x="84" y="37"/>
                      </a:lnTo>
                      <a:lnTo>
                        <a:pt x="74" y="44"/>
                      </a:lnTo>
                      <a:lnTo>
                        <a:pt x="67" y="49"/>
                      </a:lnTo>
                      <a:lnTo>
                        <a:pt x="67" y="49"/>
                      </a:lnTo>
                      <a:lnTo>
                        <a:pt x="60" y="49"/>
                      </a:lnTo>
                      <a:lnTo>
                        <a:pt x="53" y="45"/>
                      </a:lnTo>
                      <a:lnTo>
                        <a:pt x="40" y="38"/>
                      </a:lnTo>
                      <a:lnTo>
                        <a:pt x="40" y="38"/>
                      </a:lnTo>
                      <a:lnTo>
                        <a:pt x="37" y="35"/>
                      </a:lnTo>
                      <a:lnTo>
                        <a:pt x="35" y="32"/>
                      </a:lnTo>
                      <a:lnTo>
                        <a:pt x="35" y="32"/>
                      </a:lnTo>
                      <a:lnTo>
                        <a:pt x="32" y="30"/>
                      </a:lnTo>
                      <a:lnTo>
                        <a:pt x="28" y="30"/>
                      </a:lnTo>
                      <a:lnTo>
                        <a:pt x="27" y="30"/>
                      </a:lnTo>
                      <a:lnTo>
                        <a:pt x="25" y="28"/>
                      </a:lnTo>
                      <a:lnTo>
                        <a:pt x="25" y="2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418" name="Group 1017">
                  <a:extLst>
                    <a:ext uri="{FF2B5EF4-FFF2-40B4-BE49-F238E27FC236}">
                      <a16:creationId xmlns:a16="http://schemas.microsoft.com/office/drawing/2014/main" id="{BF7972B0-BB37-A5A9-7DA9-A538D51F09AC}"/>
                    </a:ext>
                  </a:extLst>
                </p:cNvPr>
                <p:cNvGrpSpPr/>
                <p:nvPr/>
              </p:nvGrpSpPr>
              <p:grpSpPr bwMode="auto">
                <a:xfrm>
                  <a:off x="5685317" y="3352377"/>
                  <a:ext cx="40526" cy="140960"/>
                  <a:chOff x="4951413" y="3219450"/>
                  <a:chExt cx="36512" cy="127000"/>
                </a:xfrm>
                <a:grpFill/>
              </p:grpSpPr>
              <p:sp>
                <p:nvSpPr>
                  <p:cNvPr id="453" name="Freeform 2205">
                    <a:extLst>
                      <a:ext uri="{FF2B5EF4-FFF2-40B4-BE49-F238E27FC236}">
                        <a16:creationId xmlns:a16="http://schemas.microsoft.com/office/drawing/2014/main" id="{17346190-031D-1577-CDF2-03E432703A0E}"/>
                      </a:ext>
                    </a:extLst>
                  </p:cNvPr>
                  <p:cNvSpPr>
                    <a:spLocks/>
                  </p:cNvSpPr>
                  <p:nvPr/>
                </p:nvSpPr>
                <p:spPr bwMode="auto">
                  <a:xfrm>
                    <a:off x="4951413" y="3219450"/>
                    <a:ext cx="36512" cy="127000"/>
                  </a:xfrm>
                  <a:custGeom>
                    <a:avLst/>
                    <a:gdLst/>
                    <a:ahLst/>
                    <a:cxnLst>
                      <a:cxn ang="0">
                        <a:pos x="45" y="41"/>
                      </a:cxn>
                      <a:cxn ang="0">
                        <a:pos x="45" y="40"/>
                      </a:cxn>
                      <a:cxn ang="0">
                        <a:pos x="47" y="26"/>
                      </a:cxn>
                      <a:cxn ang="0">
                        <a:pos x="49" y="24"/>
                      </a:cxn>
                      <a:cxn ang="0">
                        <a:pos x="51" y="19"/>
                      </a:cxn>
                      <a:cxn ang="0">
                        <a:pos x="51" y="12"/>
                      </a:cxn>
                      <a:cxn ang="0">
                        <a:pos x="51" y="7"/>
                      </a:cxn>
                      <a:cxn ang="0">
                        <a:pos x="51" y="3"/>
                      </a:cxn>
                      <a:cxn ang="0">
                        <a:pos x="49" y="3"/>
                      </a:cxn>
                      <a:cxn ang="0">
                        <a:pos x="47" y="3"/>
                      </a:cxn>
                      <a:cxn ang="0">
                        <a:pos x="47" y="1"/>
                      </a:cxn>
                      <a:cxn ang="0">
                        <a:pos x="45" y="0"/>
                      </a:cxn>
                      <a:cxn ang="0">
                        <a:pos x="44" y="8"/>
                      </a:cxn>
                      <a:cxn ang="0">
                        <a:pos x="40" y="10"/>
                      </a:cxn>
                      <a:cxn ang="0">
                        <a:pos x="30" y="8"/>
                      </a:cxn>
                      <a:cxn ang="0">
                        <a:pos x="17" y="45"/>
                      </a:cxn>
                      <a:cxn ang="0">
                        <a:pos x="9" y="76"/>
                      </a:cxn>
                      <a:cxn ang="0">
                        <a:pos x="10" y="78"/>
                      </a:cxn>
                      <a:cxn ang="0">
                        <a:pos x="7" y="85"/>
                      </a:cxn>
                      <a:cxn ang="0">
                        <a:pos x="2" y="94"/>
                      </a:cxn>
                      <a:cxn ang="0">
                        <a:pos x="0" y="95"/>
                      </a:cxn>
                      <a:cxn ang="0">
                        <a:pos x="12" y="134"/>
                      </a:cxn>
                      <a:cxn ang="0">
                        <a:pos x="24" y="170"/>
                      </a:cxn>
                      <a:cxn ang="0">
                        <a:pos x="28" y="160"/>
                      </a:cxn>
                      <a:cxn ang="0">
                        <a:pos x="31" y="144"/>
                      </a:cxn>
                      <a:cxn ang="0">
                        <a:pos x="33" y="130"/>
                      </a:cxn>
                      <a:cxn ang="0">
                        <a:pos x="40" y="106"/>
                      </a:cxn>
                      <a:cxn ang="0">
                        <a:pos x="42" y="97"/>
                      </a:cxn>
                      <a:cxn ang="0">
                        <a:pos x="42" y="80"/>
                      </a:cxn>
                      <a:cxn ang="0">
                        <a:pos x="40" y="85"/>
                      </a:cxn>
                      <a:cxn ang="0">
                        <a:pos x="30" y="88"/>
                      </a:cxn>
                      <a:cxn ang="0">
                        <a:pos x="23" y="88"/>
                      </a:cxn>
                      <a:cxn ang="0">
                        <a:pos x="21" y="85"/>
                      </a:cxn>
                      <a:cxn ang="0">
                        <a:pos x="23" y="81"/>
                      </a:cxn>
                      <a:cxn ang="0">
                        <a:pos x="30" y="73"/>
                      </a:cxn>
                      <a:cxn ang="0">
                        <a:pos x="31" y="68"/>
                      </a:cxn>
                      <a:cxn ang="0">
                        <a:pos x="30" y="66"/>
                      </a:cxn>
                      <a:cxn ang="0">
                        <a:pos x="24" y="66"/>
                      </a:cxn>
                      <a:cxn ang="0">
                        <a:pos x="26" y="66"/>
                      </a:cxn>
                      <a:cxn ang="0">
                        <a:pos x="28" y="64"/>
                      </a:cxn>
                      <a:cxn ang="0">
                        <a:pos x="26" y="54"/>
                      </a:cxn>
                      <a:cxn ang="0">
                        <a:pos x="28" y="38"/>
                      </a:cxn>
                      <a:cxn ang="0">
                        <a:pos x="31" y="34"/>
                      </a:cxn>
                      <a:cxn ang="0">
                        <a:pos x="37" y="36"/>
                      </a:cxn>
                      <a:cxn ang="0">
                        <a:pos x="45" y="41"/>
                      </a:cxn>
                    </a:cxnLst>
                    <a:rect l="0" t="0" r="r" b="b"/>
                    <a:pathLst>
                      <a:path w="51" h="174">
                        <a:moveTo>
                          <a:pt x="45" y="41"/>
                        </a:moveTo>
                        <a:lnTo>
                          <a:pt x="45" y="41"/>
                        </a:lnTo>
                        <a:lnTo>
                          <a:pt x="45" y="40"/>
                        </a:lnTo>
                        <a:lnTo>
                          <a:pt x="45" y="40"/>
                        </a:lnTo>
                        <a:lnTo>
                          <a:pt x="45" y="29"/>
                        </a:lnTo>
                        <a:lnTo>
                          <a:pt x="47" y="26"/>
                        </a:lnTo>
                        <a:lnTo>
                          <a:pt x="49" y="24"/>
                        </a:lnTo>
                        <a:lnTo>
                          <a:pt x="49" y="24"/>
                        </a:lnTo>
                        <a:lnTo>
                          <a:pt x="51" y="21"/>
                        </a:lnTo>
                        <a:lnTo>
                          <a:pt x="51" y="19"/>
                        </a:lnTo>
                        <a:lnTo>
                          <a:pt x="51" y="19"/>
                        </a:lnTo>
                        <a:lnTo>
                          <a:pt x="51" y="12"/>
                        </a:lnTo>
                        <a:lnTo>
                          <a:pt x="51" y="8"/>
                        </a:lnTo>
                        <a:lnTo>
                          <a:pt x="51" y="7"/>
                        </a:lnTo>
                        <a:lnTo>
                          <a:pt x="51" y="7"/>
                        </a:lnTo>
                        <a:lnTo>
                          <a:pt x="51" y="3"/>
                        </a:lnTo>
                        <a:lnTo>
                          <a:pt x="51" y="3"/>
                        </a:lnTo>
                        <a:lnTo>
                          <a:pt x="49" y="3"/>
                        </a:lnTo>
                        <a:lnTo>
                          <a:pt x="49" y="3"/>
                        </a:lnTo>
                        <a:lnTo>
                          <a:pt x="47" y="3"/>
                        </a:lnTo>
                        <a:lnTo>
                          <a:pt x="47" y="1"/>
                        </a:lnTo>
                        <a:lnTo>
                          <a:pt x="47" y="1"/>
                        </a:lnTo>
                        <a:lnTo>
                          <a:pt x="45" y="0"/>
                        </a:lnTo>
                        <a:lnTo>
                          <a:pt x="45" y="0"/>
                        </a:lnTo>
                        <a:lnTo>
                          <a:pt x="44" y="3"/>
                        </a:lnTo>
                        <a:lnTo>
                          <a:pt x="44" y="8"/>
                        </a:lnTo>
                        <a:lnTo>
                          <a:pt x="44" y="8"/>
                        </a:lnTo>
                        <a:lnTo>
                          <a:pt x="40" y="10"/>
                        </a:lnTo>
                        <a:lnTo>
                          <a:pt x="37" y="10"/>
                        </a:lnTo>
                        <a:lnTo>
                          <a:pt x="30" y="8"/>
                        </a:lnTo>
                        <a:lnTo>
                          <a:pt x="30" y="8"/>
                        </a:lnTo>
                        <a:lnTo>
                          <a:pt x="17" y="45"/>
                        </a:lnTo>
                        <a:lnTo>
                          <a:pt x="12" y="64"/>
                        </a:lnTo>
                        <a:lnTo>
                          <a:pt x="9" y="76"/>
                        </a:lnTo>
                        <a:lnTo>
                          <a:pt x="9" y="76"/>
                        </a:lnTo>
                        <a:lnTo>
                          <a:pt x="10" y="78"/>
                        </a:lnTo>
                        <a:lnTo>
                          <a:pt x="10" y="80"/>
                        </a:lnTo>
                        <a:lnTo>
                          <a:pt x="7" y="85"/>
                        </a:lnTo>
                        <a:lnTo>
                          <a:pt x="2" y="94"/>
                        </a:lnTo>
                        <a:lnTo>
                          <a:pt x="2" y="94"/>
                        </a:lnTo>
                        <a:lnTo>
                          <a:pt x="0" y="94"/>
                        </a:lnTo>
                        <a:lnTo>
                          <a:pt x="0" y="95"/>
                        </a:lnTo>
                        <a:lnTo>
                          <a:pt x="0" y="95"/>
                        </a:lnTo>
                        <a:lnTo>
                          <a:pt x="12" y="134"/>
                        </a:lnTo>
                        <a:lnTo>
                          <a:pt x="23" y="174"/>
                        </a:lnTo>
                        <a:lnTo>
                          <a:pt x="24" y="170"/>
                        </a:lnTo>
                        <a:lnTo>
                          <a:pt x="24" y="170"/>
                        </a:lnTo>
                        <a:lnTo>
                          <a:pt x="28" y="160"/>
                        </a:lnTo>
                        <a:lnTo>
                          <a:pt x="30" y="149"/>
                        </a:lnTo>
                        <a:lnTo>
                          <a:pt x="31" y="144"/>
                        </a:lnTo>
                        <a:lnTo>
                          <a:pt x="31" y="144"/>
                        </a:lnTo>
                        <a:lnTo>
                          <a:pt x="33" y="130"/>
                        </a:lnTo>
                        <a:lnTo>
                          <a:pt x="37" y="116"/>
                        </a:lnTo>
                        <a:lnTo>
                          <a:pt x="40" y="106"/>
                        </a:lnTo>
                        <a:lnTo>
                          <a:pt x="42" y="97"/>
                        </a:lnTo>
                        <a:lnTo>
                          <a:pt x="42" y="97"/>
                        </a:lnTo>
                        <a:lnTo>
                          <a:pt x="42" y="88"/>
                        </a:lnTo>
                        <a:lnTo>
                          <a:pt x="42" y="80"/>
                        </a:lnTo>
                        <a:lnTo>
                          <a:pt x="42" y="80"/>
                        </a:lnTo>
                        <a:lnTo>
                          <a:pt x="40" y="85"/>
                        </a:lnTo>
                        <a:lnTo>
                          <a:pt x="35" y="88"/>
                        </a:lnTo>
                        <a:lnTo>
                          <a:pt x="30" y="88"/>
                        </a:lnTo>
                        <a:lnTo>
                          <a:pt x="23" y="88"/>
                        </a:lnTo>
                        <a:lnTo>
                          <a:pt x="23" y="88"/>
                        </a:lnTo>
                        <a:lnTo>
                          <a:pt x="21" y="87"/>
                        </a:lnTo>
                        <a:lnTo>
                          <a:pt x="21" y="85"/>
                        </a:lnTo>
                        <a:lnTo>
                          <a:pt x="23" y="81"/>
                        </a:lnTo>
                        <a:lnTo>
                          <a:pt x="23" y="81"/>
                        </a:lnTo>
                        <a:lnTo>
                          <a:pt x="26" y="76"/>
                        </a:lnTo>
                        <a:lnTo>
                          <a:pt x="30" y="73"/>
                        </a:lnTo>
                        <a:lnTo>
                          <a:pt x="33" y="69"/>
                        </a:lnTo>
                        <a:lnTo>
                          <a:pt x="31" y="68"/>
                        </a:lnTo>
                        <a:lnTo>
                          <a:pt x="30" y="66"/>
                        </a:lnTo>
                        <a:lnTo>
                          <a:pt x="30" y="66"/>
                        </a:lnTo>
                        <a:lnTo>
                          <a:pt x="26" y="68"/>
                        </a:lnTo>
                        <a:lnTo>
                          <a:pt x="24" y="66"/>
                        </a:lnTo>
                        <a:lnTo>
                          <a:pt x="24" y="66"/>
                        </a:lnTo>
                        <a:lnTo>
                          <a:pt x="26" y="66"/>
                        </a:lnTo>
                        <a:lnTo>
                          <a:pt x="28" y="64"/>
                        </a:lnTo>
                        <a:lnTo>
                          <a:pt x="28" y="64"/>
                        </a:lnTo>
                        <a:lnTo>
                          <a:pt x="28" y="59"/>
                        </a:lnTo>
                        <a:lnTo>
                          <a:pt x="26" y="54"/>
                        </a:lnTo>
                        <a:lnTo>
                          <a:pt x="26" y="45"/>
                        </a:lnTo>
                        <a:lnTo>
                          <a:pt x="28" y="38"/>
                        </a:lnTo>
                        <a:lnTo>
                          <a:pt x="28" y="38"/>
                        </a:lnTo>
                        <a:lnTo>
                          <a:pt x="31" y="34"/>
                        </a:lnTo>
                        <a:lnTo>
                          <a:pt x="33" y="34"/>
                        </a:lnTo>
                        <a:lnTo>
                          <a:pt x="37" y="36"/>
                        </a:lnTo>
                        <a:lnTo>
                          <a:pt x="42" y="40"/>
                        </a:lnTo>
                        <a:lnTo>
                          <a:pt x="45" y="41"/>
                        </a:lnTo>
                        <a:lnTo>
                          <a:pt x="45" y="4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4" name="Freeform 2206">
                    <a:extLst>
                      <a:ext uri="{FF2B5EF4-FFF2-40B4-BE49-F238E27FC236}">
                        <a16:creationId xmlns:a16="http://schemas.microsoft.com/office/drawing/2014/main" id="{40E6B2A0-ABC6-98B9-011E-458F597D0C4A}"/>
                      </a:ext>
                    </a:extLst>
                  </p:cNvPr>
                  <p:cNvSpPr>
                    <a:spLocks/>
                  </p:cNvSpPr>
                  <p:nvPr/>
                </p:nvSpPr>
                <p:spPr bwMode="auto">
                  <a:xfrm>
                    <a:off x="4965700" y="3246438"/>
                    <a:ext cx="19050" cy="38100"/>
                  </a:xfrm>
                  <a:custGeom>
                    <a:avLst/>
                    <a:gdLst/>
                    <a:ahLst/>
                    <a:cxnLst>
                      <a:cxn ang="0">
                        <a:pos x="24" y="7"/>
                      </a:cxn>
                      <a:cxn ang="0">
                        <a:pos x="24" y="7"/>
                      </a:cxn>
                      <a:cxn ang="0">
                        <a:pos x="24" y="25"/>
                      </a:cxn>
                      <a:cxn ang="0">
                        <a:pos x="24" y="35"/>
                      </a:cxn>
                      <a:cxn ang="0">
                        <a:pos x="21" y="46"/>
                      </a:cxn>
                      <a:cxn ang="0">
                        <a:pos x="21" y="46"/>
                      </a:cxn>
                      <a:cxn ang="0">
                        <a:pos x="19" y="51"/>
                      </a:cxn>
                      <a:cxn ang="0">
                        <a:pos x="14" y="54"/>
                      </a:cxn>
                      <a:cxn ang="0">
                        <a:pos x="9" y="54"/>
                      </a:cxn>
                      <a:cxn ang="0">
                        <a:pos x="2" y="54"/>
                      </a:cxn>
                      <a:cxn ang="0">
                        <a:pos x="2" y="54"/>
                      </a:cxn>
                      <a:cxn ang="0">
                        <a:pos x="0" y="53"/>
                      </a:cxn>
                      <a:cxn ang="0">
                        <a:pos x="0" y="51"/>
                      </a:cxn>
                      <a:cxn ang="0">
                        <a:pos x="2" y="47"/>
                      </a:cxn>
                      <a:cxn ang="0">
                        <a:pos x="2" y="47"/>
                      </a:cxn>
                      <a:cxn ang="0">
                        <a:pos x="5" y="42"/>
                      </a:cxn>
                      <a:cxn ang="0">
                        <a:pos x="9" y="39"/>
                      </a:cxn>
                      <a:cxn ang="0">
                        <a:pos x="12" y="35"/>
                      </a:cxn>
                      <a:cxn ang="0">
                        <a:pos x="10" y="34"/>
                      </a:cxn>
                      <a:cxn ang="0">
                        <a:pos x="9" y="32"/>
                      </a:cxn>
                      <a:cxn ang="0">
                        <a:pos x="9" y="32"/>
                      </a:cxn>
                      <a:cxn ang="0">
                        <a:pos x="5" y="34"/>
                      </a:cxn>
                      <a:cxn ang="0">
                        <a:pos x="3" y="32"/>
                      </a:cxn>
                      <a:cxn ang="0">
                        <a:pos x="3" y="32"/>
                      </a:cxn>
                      <a:cxn ang="0">
                        <a:pos x="5" y="32"/>
                      </a:cxn>
                      <a:cxn ang="0">
                        <a:pos x="7" y="30"/>
                      </a:cxn>
                      <a:cxn ang="0">
                        <a:pos x="7" y="30"/>
                      </a:cxn>
                      <a:cxn ang="0">
                        <a:pos x="7" y="25"/>
                      </a:cxn>
                      <a:cxn ang="0">
                        <a:pos x="5" y="20"/>
                      </a:cxn>
                      <a:cxn ang="0">
                        <a:pos x="5" y="11"/>
                      </a:cxn>
                      <a:cxn ang="0">
                        <a:pos x="7" y="4"/>
                      </a:cxn>
                      <a:cxn ang="0">
                        <a:pos x="7" y="4"/>
                      </a:cxn>
                      <a:cxn ang="0">
                        <a:pos x="10" y="0"/>
                      </a:cxn>
                      <a:cxn ang="0">
                        <a:pos x="12" y="0"/>
                      </a:cxn>
                      <a:cxn ang="0">
                        <a:pos x="16" y="2"/>
                      </a:cxn>
                      <a:cxn ang="0">
                        <a:pos x="21" y="6"/>
                      </a:cxn>
                      <a:cxn ang="0">
                        <a:pos x="24" y="7"/>
                      </a:cxn>
                      <a:cxn ang="0">
                        <a:pos x="24" y="7"/>
                      </a:cxn>
                    </a:cxnLst>
                    <a:rect l="0" t="0" r="r" b="b"/>
                    <a:pathLst>
                      <a:path w="24" h="54">
                        <a:moveTo>
                          <a:pt x="24" y="7"/>
                        </a:moveTo>
                        <a:lnTo>
                          <a:pt x="24" y="7"/>
                        </a:lnTo>
                        <a:lnTo>
                          <a:pt x="24" y="25"/>
                        </a:lnTo>
                        <a:lnTo>
                          <a:pt x="24" y="35"/>
                        </a:lnTo>
                        <a:lnTo>
                          <a:pt x="21" y="46"/>
                        </a:lnTo>
                        <a:lnTo>
                          <a:pt x="21" y="46"/>
                        </a:lnTo>
                        <a:lnTo>
                          <a:pt x="19" y="51"/>
                        </a:lnTo>
                        <a:lnTo>
                          <a:pt x="14" y="54"/>
                        </a:lnTo>
                        <a:lnTo>
                          <a:pt x="9" y="54"/>
                        </a:lnTo>
                        <a:lnTo>
                          <a:pt x="2" y="54"/>
                        </a:lnTo>
                        <a:lnTo>
                          <a:pt x="2" y="54"/>
                        </a:lnTo>
                        <a:lnTo>
                          <a:pt x="0" y="53"/>
                        </a:lnTo>
                        <a:lnTo>
                          <a:pt x="0" y="51"/>
                        </a:lnTo>
                        <a:lnTo>
                          <a:pt x="2" y="47"/>
                        </a:lnTo>
                        <a:lnTo>
                          <a:pt x="2" y="47"/>
                        </a:lnTo>
                        <a:lnTo>
                          <a:pt x="5" y="42"/>
                        </a:lnTo>
                        <a:lnTo>
                          <a:pt x="9" y="39"/>
                        </a:lnTo>
                        <a:lnTo>
                          <a:pt x="12" y="35"/>
                        </a:lnTo>
                        <a:lnTo>
                          <a:pt x="10" y="34"/>
                        </a:lnTo>
                        <a:lnTo>
                          <a:pt x="9" y="32"/>
                        </a:lnTo>
                        <a:lnTo>
                          <a:pt x="9" y="32"/>
                        </a:lnTo>
                        <a:lnTo>
                          <a:pt x="5" y="34"/>
                        </a:lnTo>
                        <a:lnTo>
                          <a:pt x="3" y="32"/>
                        </a:lnTo>
                        <a:lnTo>
                          <a:pt x="3" y="32"/>
                        </a:lnTo>
                        <a:lnTo>
                          <a:pt x="5" y="32"/>
                        </a:lnTo>
                        <a:lnTo>
                          <a:pt x="7" y="30"/>
                        </a:lnTo>
                        <a:lnTo>
                          <a:pt x="7" y="30"/>
                        </a:lnTo>
                        <a:lnTo>
                          <a:pt x="7" y="25"/>
                        </a:lnTo>
                        <a:lnTo>
                          <a:pt x="5" y="20"/>
                        </a:lnTo>
                        <a:lnTo>
                          <a:pt x="5" y="11"/>
                        </a:lnTo>
                        <a:lnTo>
                          <a:pt x="7" y="4"/>
                        </a:lnTo>
                        <a:lnTo>
                          <a:pt x="7" y="4"/>
                        </a:lnTo>
                        <a:lnTo>
                          <a:pt x="10" y="0"/>
                        </a:lnTo>
                        <a:lnTo>
                          <a:pt x="12" y="0"/>
                        </a:lnTo>
                        <a:lnTo>
                          <a:pt x="16" y="2"/>
                        </a:lnTo>
                        <a:lnTo>
                          <a:pt x="21" y="6"/>
                        </a:lnTo>
                        <a:lnTo>
                          <a:pt x="24" y="7"/>
                        </a:lnTo>
                        <a:lnTo>
                          <a:pt x="24"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419" name="Freeform 2207">
                  <a:extLst>
                    <a:ext uri="{FF2B5EF4-FFF2-40B4-BE49-F238E27FC236}">
                      <a16:creationId xmlns:a16="http://schemas.microsoft.com/office/drawing/2014/main" id="{B672D0F9-0D5F-E4DB-3B34-8E20BBBD8F4F}"/>
                    </a:ext>
                  </a:extLst>
                </p:cNvPr>
                <p:cNvSpPr>
                  <a:spLocks/>
                </p:cNvSpPr>
                <p:nvPr/>
              </p:nvSpPr>
              <p:spPr bwMode="auto">
                <a:xfrm>
                  <a:off x="6148724" y="3613151"/>
                  <a:ext cx="24669" cy="58147"/>
                </a:xfrm>
                <a:custGeom>
                  <a:avLst/>
                  <a:gdLst/>
                  <a:ahLst/>
                  <a:cxnLst>
                    <a:cxn ang="0">
                      <a:pos x="18" y="70"/>
                    </a:cxn>
                    <a:cxn ang="0">
                      <a:pos x="18" y="70"/>
                    </a:cxn>
                    <a:cxn ang="0">
                      <a:pos x="18" y="72"/>
                    </a:cxn>
                    <a:cxn ang="0">
                      <a:pos x="14" y="72"/>
                    </a:cxn>
                    <a:cxn ang="0">
                      <a:pos x="14" y="72"/>
                    </a:cxn>
                    <a:cxn ang="0">
                      <a:pos x="7" y="68"/>
                    </a:cxn>
                    <a:cxn ang="0">
                      <a:pos x="0" y="63"/>
                    </a:cxn>
                    <a:cxn ang="0">
                      <a:pos x="0" y="63"/>
                    </a:cxn>
                    <a:cxn ang="0">
                      <a:pos x="2" y="35"/>
                    </a:cxn>
                    <a:cxn ang="0">
                      <a:pos x="4" y="27"/>
                    </a:cxn>
                    <a:cxn ang="0">
                      <a:pos x="7" y="16"/>
                    </a:cxn>
                    <a:cxn ang="0">
                      <a:pos x="7" y="16"/>
                    </a:cxn>
                    <a:cxn ang="0">
                      <a:pos x="11" y="4"/>
                    </a:cxn>
                    <a:cxn ang="0">
                      <a:pos x="14" y="0"/>
                    </a:cxn>
                    <a:cxn ang="0">
                      <a:pos x="16" y="0"/>
                    </a:cxn>
                    <a:cxn ang="0">
                      <a:pos x="19" y="2"/>
                    </a:cxn>
                    <a:cxn ang="0">
                      <a:pos x="19" y="2"/>
                    </a:cxn>
                    <a:cxn ang="0">
                      <a:pos x="23" y="6"/>
                    </a:cxn>
                    <a:cxn ang="0">
                      <a:pos x="28" y="13"/>
                    </a:cxn>
                    <a:cxn ang="0">
                      <a:pos x="28" y="20"/>
                    </a:cxn>
                    <a:cxn ang="0">
                      <a:pos x="26" y="25"/>
                    </a:cxn>
                    <a:cxn ang="0">
                      <a:pos x="26" y="25"/>
                    </a:cxn>
                    <a:cxn ang="0">
                      <a:pos x="26" y="28"/>
                    </a:cxn>
                    <a:cxn ang="0">
                      <a:pos x="26" y="32"/>
                    </a:cxn>
                    <a:cxn ang="0">
                      <a:pos x="28" y="37"/>
                    </a:cxn>
                    <a:cxn ang="0">
                      <a:pos x="30" y="41"/>
                    </a:cxn>
                    <a:cxn ang="0">
                      <a:pos x="30" y="46"/>
                    </a:cxn>
                    <a:cxn ang="0">
                      <a:pos x="30" y="46"/>
                    </a:cxn>
                    <a:cxn ang="0">
                      <a:pos x="28" y="60"/>
                    </a:cxn>
                    <a:cxn ang="0">
                      <a:pos x="24" y="65"/>
                    </a:cxn>
                    <a:cxn ang="0">
                      <a:pos x="23" y="67"/>
                    </a:cxn>
                    <a:cxn ang="0">
                      <a:pos x="21" y="68"/>
                    </a:cxn>
                    <a:cxn ang="0">
                      <a:pos x="21" y="68"/>
                    </a:cxn>
                    <a:cxn ang="0">
                      <a:pos x="18" y="68"/>
                    </a:cxn>
                    <a:cxn ang="0">
                      <a:pos x="18" y="68"/>
                    </a:cxn>
                    <a:cxn ang="0">
                      <a:pos x="18" y="70"/>
                    </a:cxn>
                    <a:cxn ang="0">
                      <a:pos x="18" y="70"/>
                    </a:cxn>
                  </a:cxnLst>
                  <a:rect l="0" t="0" r="r" b="b"/>
                  <a:pathLst>
                    <a:path w="30" h="72">
                      <a:moveTo>
                        <a:pt x="18" y="70"/>
                      </a:moveTo>
                      <a:lnTo>
                        <a:pt x="18" y="70"/>
                      </a:lnTo>
                      <a:lnTo>
                        <a:pt x="18" y="72"/>
                      </a:lnTo>
                      <a:lnTo>
                        <a:pt x="14" y="72"/>
                      </a:lnTo>
                      <a:lnTo>
                        <a:pt x="14" y="72"/>
                      </a:lnTo>
                      <a:lnTo>
                        <a:pt x="7" y="68"/>
                      </a:lnTo>
                      <a:lnTo>
                        <a:pt x="0" y="63"/>
                      </a:lnTo>
                      <a:lnTo>
                        <a:pt x="0" y="63"/>
                      </a:lnTo>
                      <a:lnTo>
                        <a:pt x="2" y="35"/>
                      </a:lnTo>
                      <a:lnTo>
                        <a:pt x="4" y="27"/>
                      </a:lnTo>
                      <a:lnTo>
                        <a:pt x="7" y="16"/>
                      </a:lnTo>
                      <a:lnTo>
                        <a:pt x="7" y="16"/>
                      </a:lnTo>
                      <a:lnTo>
                        <a:pt x="11" y="4"/>
                      </a:lnTo>
                      <a:lnTo>
                        <a:pt x="14" y="0"/>
                      </a:lnTo>
                      <a:lnTo>
                        <a:pt x="16" y="0"/>
                      </a:lnTo>
                      <a:lnTo>
                        <a:pt x="19" y="2"/>
                      </a:lnTo>
                      <a:lnTo>
                        <a:pt x="19" y="2"/>
                      </a:lnTo>
                      <a:lnTo>
                        <a:pt x="23" y="6"/>
                      </a:lnTo>
                      <a:lnTo>
                        <a:pt x="28" y="13"/>
                      </a:lnTo>
                      <a:lnTo>
                        <a:pt x="28" y="20"/>
                      </a:lnTo>
                      <a:lnTo>
                        <a:pt x="26" y="25"/>
                      </a:lnTo>
                      <a:lnTo>
                        <a:pt x="26" y="25"/>
                      </a:lnTo>
                      <a:lnTo>
                        <a:pt x="26" y="28"/>
                      </a:lnTo>
                      <a:lnTo>
                        <a:pt x="26" y="32"/>
                      </a:lnTo>
                      <a:lnTo>
                        <a:pt x="28" y="37"/>
                      </a:lnTo>
                      <a:lnTo>
                        <a:pt x="30" y="41"/>
                      </a:lnTo>
                      <a:lnTo>
                        <a:pt x="30" y="46"/>
                      </a:lnTo>
                      <a:lnTo>
                        <a:pt x="30" y="46"/>
                      </a:lnTo>
                      <a:lnTo>
                        <a:pt x="28" y="60"/>
                      </a:lnTo>
                      <a:lnTo>
                        <a:pt x="24" y="65"/>
                      </a:lnTo>
                      <a:lnTo>
                        <a:pt x="23" y="67"/>
                      </a:lnTo>
                      <a:lnTo>
                        <a:pt x="21" y="68"/>
                      </a:lnTo>
                      <a:lnTo>
                        <a:pt x="21" y="68"/>
                      </a:lnTo>
                      <a:lnTo>
                        <a:pt x="18" y="68"/>
                      </a:lnTo>
                      <a:lnTo>
                        <a:pt x="18" y="68"/>
                      </a:lnTo>
                      <a:lnTo>
                        <a:pt x="18" y="70"/>
                      </a:lnTo>
                      <a:lnTo>
                        <a:pt x="18" y="7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0" name="Freeform 2208">
                  <a:extLst>
                    <a:ext uri="{FF2B5EF4-FFF2-40B4-BE49-F238E27FC236}">
                      <a16:creationId xmlns:a16="http://schemas.microsoft.com/office/drawing/2014/main" id="{D23E6973-5A44-7473-FFC2-A831FD74C516}"/>
                    </a:ext>
                  </a:extLst>
                </p:cNvPr>
                <p:cNvSpPr>
                  <a:spLocks/>
                </p:cNvSpPr>
                <p:nvPr/>
              </p:nvSpPr>
              <p:spPr bwMode="auto">
                <a:xfrm>
                  <a:off x="6145201" y="3581437"/>
                  <a:ext cx="14097" cy="17620"/>
                </a:xfrm>
                <a:custGeom>
                  <a:avLst/>
                  <a:gdLst/>
                  <a:ahLst/>
                  <a:cxnLst>
                    <a:cxn ang="0">
                      <a:pos x="14" y="0"/>
                    </a:cxn>
                    <a:cxn ang="0">
                      <a:pos x="14" y="0"/>
                    </a:cxn>
                    <a:cxn ang="0">
                      <a:pos x="12" y="0"/>
                    </a:cxn>
                    <a:cxn ang="0">
                      <a:pos x="12" y="2"/>
                    </a:cxn>
                    <a:cxn ang="0">
                      <a:pos x="12" y="4"/>
                    </a:cxn>
                    <a:cxn ang="0">
                      <a:pos x="10" y="4"/>
                    </a:cxn>
                    <a:cxn ang="0">
                      <a:pos x="10" y="4"/>
                    </a:cxn>
                    <a:cxn ang="0">
                      <a:pos x="5" y="5"/>
                    </a:cxn>
                    <a:cxn ang="0">
                      <a:pos x="1" y="5"/>
                    </a:cxn>
                    <a:cxn ang="0">
                      <a:pos x="1" y="5"/>
                    </a:cxn>
                    <a:cxn ang="0">
                      <a:pos x="1" y="7"/>
                    </a:cxn>
                    <a:cxn ang="0">
                      <a:pos x="0" y="9"/>
                    </a:cxn>
                    <a:cxn ang="0">
                      <a:pos x="0" y="12"/>
                    </a:cxn>
                    <a:cxn ang="0">
                      <a:pos x="1" y="12"/>
                    </a:cxn>
                    <a:cxn ang="0">
                      <a:pos x="1" y="12"/>
                    </a:cxn>
                    <a:cxn ang="0">
                      <a:pos x="3" y="12"/>
                    </a:cxn>
                    <a:cxn ang="0">
                      <a:pos x="1" y="14"/>
                    </a:cxn>
                    <a:cxn ang="0">
                      <a:pos x="1" y="14"/>
                    </a:cxn>
                    <a:cxn ang="0">
                      <a:pos x="1" y="14"/>
                    </a:cxn>
                    <a:cxn ang="0">
                      <a:pos x="3" y="14"/>
                    </a:cxn>
                    <a:cxn ang="0">
                      <a:pos x="3" y="14"/>
                    </a:cxn>
                    <a:cxn ang="0">
                      <a:pos x="5" y="16"/>
                    </a:cxn>
                    <a:cxn ang="0">
                      <a:pos x="3" y="16"/>
                    </a:cxn>
                    <a:cxn ang="0">
                      <a:pos x="3" y="16"/>
                    </a:cxn>
                    <a:cxn ang="0">
                      <a:pos x="3" y="18"/>
                    </a:cxn>
                    <a:cxn ang="0">
                      <a:pos x="3" y="18"/>
                    </a:cxn>
                    <a:cxn ang="0">
                      <a:pos x="8" y="18"/>
                    </a:cxn>
                    <a:cxn ang="0">
                      <a:pos x="10" y="19"/>
                    </a:cxn>
                    <a:cxn ang="0">
                      <a:pos x="10" y="19"/>
                    </a:cxn>
                    <a:cxn ang="0">
                      <a:pos x="10" y="18"/>
                    </a:cxn>
                    <a:cxn ang="0">
                      <a:pos x="12" y="16"/>
                    </a:cxn>
                    <a:cxn ang="0">
                      <a:pos x="12" y="16"/>
                    </a:cxn>
                    <a:cxn ang="0">
                      <a:pos x="14" y="16"/>
                    </a:cxn>
                    <a:cxn ang="0">
                      <a:pos x="14" y="12"/>
                    </a:cxn>
                    <a:cxn ang="0">
                      <a:pos x="14" y="12"/>
                    </a:cxn>
                    <a:cxn ang="0">
                      <a:pos x="15" y="11"/>
                    </a:cxn>
                    <a:cxn ang="0">
                      <a:pos x="15" y="11"/>
                    </a:cxn>
                    <a:cxn ang="0">
                      <a:pos x="15" y="9"/>
                    </a:cxn>
                    <a:cxn ang="0">
                      <a:pos x="15" y="9"/>
                    </a:cxn>
                    <a:cxn ang="0">
                      <a:pos x="15" y="5"/>
                    </a:cxn>
                    <a:cxn ang="0">
                      <a:pos x="15" y="4"/>
                    </a:cxn>
                    <a:cxn ang="0">
                      <a:pos x="15" y="4"/>
                    </a:cxn>
                    <a:cxn ang="0">
                      <a:pos x="15" y="2"/>
                    </a:cxn>
                    <a:cxn ang="0">
                      <a:pos x="14" y="0"/>
                    </a:cxn>
                    <a:cxn ang="0">
                      <a:pos x="14" y="0"/>
                    </a:cxn>
                  </a:cxnLst>
                  <a:rect l="0" t="0" r="r" b="b"/>
                  <a:pathLst>
                    <a:path w="15" h="19">
                      <a:moveTo>
                        <a:pt x="14" y="0"/>
                      </a:moveTo>
                      <a:lnTo>
                        <a:pt x="14" y="0"/>
                      </a:lnTo>
                      <a:lnTo>
                        <a:pt x="12" y="0"/>
                      </a:lnTo>
                      <a:lnTo>
                        <a:pt x="12" y="2"/>
                      </a:lnTo>
                      <a:lnTo>
                        <a:pt x="12" y="4"/>
                      </a:lnTo>
                      <a:lnTo>
                        <a:pt x="10" y="4"/>
                      </a:lnTo>
                      <a:lnTo>
                        <a:pt x="10" y="4"/>
                      </a:lnTo>
                      <a:lnTo>
                        <a:pt x="5" y="5"/>
                      </a:lnTo>
                      <a:lnTo>
                        <a:pt x="1" y="5"/>
                      </a:lnTo>
                      <a:lnTo>
                        <a:pt x="1" y="5"/>
                      </a:lnTo>
                      <a:lnTo>
                        <a:pt x="1" y="7"/>
                      </a:lnTo>
                      <a:lnTo>
                        <a:pt x="0" y="9"/>
                      </a:lnTo>
                      <a:lnTo>
                        <a:pt x="0" y="12"/>
                      </a:lnTo>
                      <a:lnTo>
                        <a:pt x="1" y="12"/>
                      </a:lnTo>
                      <a:lnTo>
                        <a:pt x="1" y="12"/>
                      </a:lnTo>
                      <a:lnTo>
                        <a:pt x="3" y="12"/>
                      </a:lnTo>
                      <a:lnTo>
                        <a:pt x="1" y="14"/>
                      </a:lnTo>
                      <a:lnTo>
                        <a:pt x="1" y="14"/>
                      </a:lnTo>
                      <a:lnTo>
                        <a:pt x="1" y="14"/>
                      </a:lnTo>
                      <a:lnTo>
                        <a:pt x="3" y="14"/>
                      </a:lnTo>
                      <a:lnTo>
                        <a:pt x="3" y="14"/>
                      </a:lnTo>
                      <a:lnTo>
                        <a:pt x="5" y="16"/>
                      </a:lnTo>
                      <a:lnTo>
                        <a:pt x="3" y="16"/>
                      </a:lnTo>
                      <a:lnTo>
                        <a:pt x="3" y="16"/>
                      </a:lnTo>
                      <a:lnTo>
                        <a:pt x="3" y="18"/>
                      </a:lnTo>
                      <a:lnTo>
                        <a:pt x="3" y="18"/>
                      </a:lnTo>
                      <a:lnTo>
                        <a:pt x="8" y="18"/>
                      </a:lnTo>
                      <a:lnTo>
                        <a:pt x="10" y="19"/>
                      </a:lnTo>
                      <a:lnTo>
                        <a:pt x="10" y="19"/>
                      </a:lnTo>
                      <a:lnTo>
                        <a:pt x="10" y="18"/>
                      </a:lnTo>
                      <a:lnTo>
                        <a:pt x="12" y="16"/>
                      </a:lnTo>
                      <a:lnTo>
                        <a:pt x="12" y="16"/>
                      </a:lnTo>
                      <a:lnTo>
                        <a:pt x="14" y="16"/>
                      </a:lnTo>
                      <a:lnTo>
                        <a:pt x="14" y="12"/>
                      </a:lnTo>
                      <a:lnTo>
                        <a:pt x="14" y="12"/>
                      </a:lnTo>
                      <a:lnTo>
                        <a:pt x="15" y="11"/>
                      </a:lnTo>
                      <a:lnTo>
                        <a:pt x="15" y="11"/>
                      </a:lnTo>
                      <a:lnTo>
                        <a:pt x="15" y="9"/>
                      </a:lnTo>
                      <a:lnTo>
                        <a:pt x="15" y="9"/>
                      </a:lnTo>
                      <a:lnTo>
                        <a:pt x="15" y="5"/>
                      </a:lnTo>
                      <a:lnTo>
                        <a:pt x="15" y="4"/>
                      </a:lnTo>
                      <a:lnTo>
                        <a:pt x="15" y="4"/>
                      </a:lnTo>
                      <a:lnTo>
                        <a:pt x="15" y="2"/>
                      </a:lnTo>
                      <a:lnTo>
                        <a:pt x="14" y="0"/>
                      </a:lnTo>
                      <a:lnTo>
                        <a:pt x="14"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1" name="Freeform 2209">
                  <a:extLst>
                    <a:ext uri="{FF2B5EF4-FFF2-40B4-BE49-F238E27FC236}">
                      <a16:creationId xmlns:a16="http://schemas.microsoft.com/office/drawing/2014/main" id="{88715F32-0C3E-E416-C5AE-75E7709F878D}"/>
                    </a:ext>
                  </a:extLst>
                </p:cNvPr>
                <p:cNvSpPr>
                  <a:spLocks/>
                </p:cNvSpPr>
                <p:nvPr/>
              </p:nvSpPr>
              <p:spPr bwMode="auto">
                <a:xfrm>
                  <a:off x="6131103" y="3574386"/>
                  <a:ext cx="19383" cy="37003"/>
                </a:xfrm>
                <a:custGeom>
                  <a:avLst/>
                  <a:gdLst/>
                  <a:ahLst/>
                  <a:cxnLst>
                    <a:cxn ang="0">
                      <a:pos x="21" y="0"/>
                    </a:cxn>
                    <a:cxn ang="0">
                      <a:pos x="21" y="0"/>
                    </a:cxn>
                    <a:cxn ang="0">
                      <a:pos x="21" y="0"/>
                    </a:cxn>
                    <a:cxn ang="0">
                      <a:pos x="20" y="0"/>
                    </a:cxn>
                    <a:cxn ang="0">
                      <a:pos x="20" y="3"/>
                    </a:cxn>
                    <a:cxn ang="0">
                      <a:pos x="20" y="7"/>
                    </a:cxn>
                    <a:cxn ang="0">
                      <a:pos x="18" y="8"/>
                    </a:cxn>
                    <a:cxn ang="0">
                      <a:pos x="16" y="8"/>
                    </a:cxn>
                    <a:cxn ang="0">
                      <a:pos x="16" y="8"/>
                    </a:cxn>
                    <a:cxn ang="0">
                      <a:pos x="13" y="8"/>
                    </a:cxn>
                    <a:cxn ang="0">
                      <a:pos x="9" y="8"/>
                    </a:cxn>
                    <a:cxn ang="0">
                      <a:pos x="7" y="10"/>
                    </a:cxn>
                    <a:cxn ang="0">
                      <a:pos x="4" y="12"/>
                    </a:cxn>
                    <a:cxn ang="0">
                      <a:pos x="4" y="12"/>
                    </a:cxn>
                    <a:cxn ang="0">
                      <a:pos x="4" y="12"/>
                    </a:cxn>
                    <a:cxn ang="0">
                      <a:pos x="2" y="14"/>
                    </a:cxn>
                    <a:cxn ang="0">
                      <a:pos x="0" y="21"/>
                    </a:cxn>
                    <a:cxn ang="0">
                      <a:pos x="0" y="28"/>
                    </a:cxn>
                    <a:cxn ang="0">
                      <a:pos x="2" y="29"/>
                    </a:cxn>
                    <a:cxn ang="0">
                      <a:pos x="4" y="29"/>
                    </a:cxn>
                    <a:cxn ang="0">
                      <a:pos x="4" y="29"/>
                    </a:cxn>
                    <a:cxn ang="0">
                      <a:pos x="6" y="29"/>
                    </a:cxn>
                    <a:cxn ang="0">
                      <a:pos x="6" y="31"/>
                    </a:cxn>
                    <a:cxn ang="0">
                      <a:pos x="4" y="33"/>
                    </a:cxn>
                    <a:cxn ang="0">
                      <a:pos x="4" y="33"/>
                    </a:cxn>
                    <a:cxn ang="0">
                      <a:pos x="2" y="35"/>
                    </a:cxn>
                    <a:cxn ang="0">
                      <a:pos x="6" y="35"/>
                    </a:cxn>
                    <a:cxn ang="0">
                      <a:pos x="6" y="35"/>
                    </a:cxn>
                    <a:cxn ang="0">
                      <a:pos x="7" y="36"/>
                    </a:cxn>
                    <a:cxn ang="0">
                      <a:pos x="7" y="36"/>
                    </a:cxn>
                    <a:cxn ang="0">
                      <a:pos x="6" y="38"/>
                    </a:cxn>
                    <a:cxn ang="0">
                      <a:pos x="7" y="40"/>
                    </a:cxn>
                    <a:cxn ang="0">
                      <a:pos x="7" y="40"/>
                    </a:cxn>
                    <a:cxn ang="0">
                      <a:pos x="11" y="42"/>
                    </a:cxn>
                    <a:cxn ang="0">
                      <a:pos x="13" y="43"/>
                    </a:cxn>
                    <a:cxn ang="0">
                      <a:pos x="14" y="45"/>
                    </a:cxn>
                    <a:cxn ang="0">
                      <a:pos x="16" y="45"/>
                    </a:cxn>
                    <a:cxn ang="0">
                      <a:pos x="16" y="45"/>
                    </a:cxn>
                    <a:cxn ang="0">
                      <a:pos x="16" y="43"/>
                    </a:cxn>
                    <a:cxn ang="0">
                      <a:pos x="16" y="43"/>
                    </a:cxn>
                    <a:cxn ang="0">
                      <a:pos x="16" y="42"/>
                    </a:cxn>
                    <a:cxn ang="0">
                      <a:pos x="18" y="40"/>
                    </a:cxn>
                    <a:cxn ang="0">
                      <a:pos x="18" y="40"/>
                    </a:cxn>
                    <a:cxn ang="0">
                      <a:pos x="21" y="36"/>
                    </a:cxn>
                    <a:cxn ang="0">
                      <a:pos x="21" y="31"/>
                    </a:cxn>
                    <a:cxn ang="0">
                      <a:pos x="21" y="31"/>
                    </a:cxn>
                    <a:cxn ang="0">
                      <a:pos x="21" y="28"/>
                    </a:cxn>
                    <a:cxn ang="0">
                      <a:pos x="23" y="26"/>
                    </a:cxn>
                    <a:cxn ang="0">
                      <a:pos x="25" y="22"/>
                    </a:cxn>
                    <a:cxn ang="0">
                      <a:pos x="25" y="17"/>
                    </a:cxn>
                    <a:cxn ang="0">
                      <a:pos x="25" y="17"/>
                    </a:cxn>
                    <a:cxn ang="0">
                      <a:pos x="23" y="10"/>
                    </a:cxn>
                    <a:cxn ang="0">
                      <a:pos x="23" y="7"/>
                    </a:cxn>
                    <a:cxn ang="0">
                      <a:pos x="23" y="7"/>
                    </a:cxn>
                    <a:cxn ang="0">
                      <a:pos x="23" y="1"/>
                    </a:cxn>
                    <a:cxn ang="0">
                      <a:pos x="23" y="0"/>
                    </a:cxn>
                    <a:cxn ang="0">
                      <a:pos x="21" y="0"/>
                    </a:cxn>
                    <a:cxn ang="0">
                      <a:pos x="21" y="0"/>
                    </a:cxn>
                  </a:cxnLst>
                  <a:rect l="0" t="0" r="r" b="b"/>
                  <a:pathLst>
                    <a:path w="25" h="45">
                      <a:moveTo>
                        <a:pt x="21" y="0"/>
                      </a:moveTo>
                      <a:lnTo>
                        <a:pt x="21" y="0"/>
                      </a:lnTo>
                      <a:lnTo>
                        <a:pt x="21" y="0"/>
                      </a:lnTo>
                      <a:lnTo>
                        <a:pt x="20" y="0"/>
                      </a:lnTo>
                      <a:lnTo>
                        <a:pt x="20" y="3"/>
                      </a:lnTo>
                      <a:lnTo>
                        <a:pt x="20" y="7"/>
                      </a:lnTo>
                      <a:lnTo>
                        <a:pt x="18" y="8"/>
                      </a:lnTo>
                      <a:lnTo>
                        <a:pt x="16" y="8"/>
                      </a:lnTo>
                      <a:lnTo>
                        <a:pt x="16" y="8"/>
                      </a:lnTo>
                      <a:lnTo>
                        <a:pt x="13" y="8"/>
                      </a:lnTo>
                      <a:lnTo>
                        <a:pt x="9" y="8"/>
                      </a:lnTo>
                      <a:lnTo>
                        <a:pt x="7" y="10"/>
                      </a:lnTo>
                      <a:lnTo>
                        <a:pt x="4" y="12"/>
                      </a:lnTo>
                      <a:lnTo>
                        <a:pt x="4" y="12"/>
                      </a:lnTo>
                      <a:lnTo>
                        <a:pt x="4" y="12"/>
                      </a:lnTo>
                      <a:lnTo>
                        <a:pt x="2" y="14"/>
                      </a:lnTo>
                      <a:lnTo>
                        <a:pt x="0" y="21"/>
                      </a:lnTo>
                      <a:lnTo>
                        <a:pt x="0" y="28"/>
                      </a:lnTo>
                      <a:lnTo>
                        <a:pt x="2" y="29"/>
                      </a:lnTo>
                      <a:lnTo>
                        <a:pt x="4" y="29"/>
                      </a:lnTo>
                      <a:lnTo>
                        <a:pt x="4" y="29"/>
                      </a:lnTo>
                      <a:lnTo>
                        <a:pt x="6" y="29"/>
                      </a:lnTo>
                      <a:lnTo>
                        <a:pt x="6" y="31"/>
                      </a:lnTo>
                      <a:lnTo>
                        <a:pt x="4" y="33"/>
                      </a:lnTo>
                      <a:lnTo>
                        <a:pt x="4" y="33"/>
                      </a:lnTo>
                      <a:lnTo>
                        <a:pt x="2" y="35"/>
                      </a:lnTo>
                      <a:lnTo>
                        <a:pt x="6" y="35"/>
                      </a:lnTo>
                      <a:lnTo>
                        <a:pt x="6" y="35"/>
                      </a:lnTo>
                      <a:lnTo>
                        <a:pt x="7" y="36"/>
                      </a:lnTo>
                      <a:lnTo>
                        <a:pt x="7" y="36"/>
                      </a:lnTo>
                      <a:lnTo>
                        <a:pt x="6" y="38"/>
                      </a:lnTo>
                      <a:lnTo>
                        <a:pt x="7" y="40"/>
                      </a:lnTo>
                      <a:lnTo>
                        <a:pt x="7" y="40"/>
                      </a:lnTo>
                      <a:lnTo>
                        <a:pt x="11" y="42"/>
                      </a:lnTo>
                      <a:lnTo>
                        <a:pt x="13" y="43"/>
                      </a:lnTo>
                      <a:lnTo>
                        <a:pt x="14" y="45"/>
                      </a:lnTo>
                      <a:lnTo>
                        <a:pt x="16" y="45"/>
                      </a:lnTo>
                      <a:lnTo>
                        <a:pt x="16" y="45"/>
                      </a:lnTo>
                      <a:lnTo>
                        <a:pt x="16" y="43"/>
                      </a:lnTo>
                      <a:lnTo>
                        <a:pt x="16" y="43"/>
                      </a:lnTo>
                      <a:lnTo>
                        <a:pt x="16" y="42"/>
                      </a:lnTo>
                      <a:lnTo>
                        <a:pt x="18" y="40"/>
                      </a:lnTo>
                      <a:lnTo>
                        <a:pt x="18" y="40"/>
                      </a:lnTo>
                      <a:lnTo>
                        <a:pt x="21" y="36"/>
                      </a:lnTo>
                      <a:lnTo>
                        <a:pt x="21" y="31"/>
                      </a:lnTo>
                      <a:lnTo>
                        <a:pt x="21" y="31"/>
                      </a:lnTo>
                      <a:lnTo>
                        <a:pt x="21" y="28"/>
                      </a:lnTo>
                      <a:lnTo>
                        <a:pt x="23" y="26"/>
                      </a:lnTo>
                      <a:lnTo>
                        <a:pt x="25" y="22"/>
                      </a:lnTo>
                      <a:lnTo>
                        <a:pt x="25" y="17"/>
                      </a:lnTo>
                      <a:lnTo>
                        <a:pt x="25" y="17"/>
                      </a:lnTo>
                      <a:lnTo>
                        <a:pt x="23" y="10"/>
                      </a:lnTo>
                      <a:lnTo>
                        <a:pt x="23" y="7"/>
                      </a:lnTo>
                      <a:lnTo>
                        <a:pt x="23" y="7"/>
                      </a:lnTo>
                      <a:lnTo>
                        <a:pt x="23" y="1"/>
                      </a:lnTo>
                      <a:lnTo>
                        <a:pt x="23" y="0"/>
                      </a:lnTo>
                      <a:lnTo>
                        <a:pt x="21" y="0"/>
                      </a:lnTo>
                      <a:lnTo>
                        <a:pt x="2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422" name="Group 1021">
                  <a:extLst>
                    <a:ext uri="{FF2B5EF4-FFF2-40B4-BE49-F238E27FC236}">
                      <a16:creationId xmlns:a16="http://schemas.microsoft.com/office/drawing/2014/main" id="{DF59C174-138A-D0A2-E6F0-14BA02793E15}"/>
                    </a:ext>
                  </a:extLst>
                </p:cNvPr>
                <p:cNvGrpSpPr/>
                <p:nvPr/>
              </p:nvGrpSpPr>
              <p:grpSpPr bwMode="auto">
                <a:xfrm>
                  <a:off x="6159295" y="3604315"/>
                  <a:ext cx="151532" cy="137436"/>
                  <a:chOff x="5378450" y="3446463"/>
                  <a:chExt cx="136525" cy="123825"/>
                </a:xfrm>
                <a:grpFill/>
              </p:grpSpPr>
              <p:sp>
                <p:nvSpPr>
                  <p:cNvPr id="451" name="Freeform 2211">
                    <a:extLst>
                      <a:ext uri="{FF2B5EF4-FFF2-40B4-BE49-F238E27FC236}">
                        <a16:creationId xmlns:a16="http://schemas.microsoft.com/office/drawing/2014/main" id="{FCB0FB2E-3C4C-49C9-136F-BCA7A509AC97}"/>
                      </a:ext>
                    </a:extLst>
                  </p:cNvPr>
                  <p:cNvSpPr>
                    <a:spLocks/>
                  </p:cNvSpPr>
                  <p:nvPr/>
                </p:nvSpPr>
                <p:spPr bwMode="auto">
                  <a:xfrm>
                    <a:off x="5378450" y="3457575"/>
                    <a:ext cx="131763" cy="112713"/>
                  </a:xfrm>
                  <a:custGeom>
                    <a:avLst/>
                    <a:gdLst/>
                    <a:ahLst/>
                    <a:cxnLst>
                      <a:cxn ang="0">
                        <a:pos x="178" y="19"/>
                      </a:cxn>
                      <a:cxn ang="0">
                        <a:pos x="176" y="5"/>
                      </a:cxn>
                      <a:cxn ang="0">
                        <a:pos x="174" y="0"/>
                      </a:cxn>
                      <a:cxn ang="0">
                        <a:pos x="169" y="12"/>
                      </a:cxn>
                      <a:cxn ang="0">
                        <a:pos x="162" y="19"/>
                      </a:cxn>
                      <a:cxn ang="0">
                        <a:pos x="153" y="28"/>
                      </a:cxn>
                      <a:cxn ang="0">
                        <a:pos x="141" y="40"/>
                      </a:cxn>
                      <a:cxn ang="0">
                        <a:pos x="115" y="68"/>
                      </a:cxn>
                      <a:cxn ang="0">
                        <a:pos x="117" y="71"/>
                      </a:cxn>
                      <a:cxn ang="0">
                        <a:pos x="113" y="80"/>
                      </a:cxn>
                      <a:cxn ang="0">
                        <a:pos x="91" y="89"/>
                      </a:cxn>
                      <a:cxn ang="0">
                        <a:pos x="56" y="85"/>
                      </a:cxn>
                      <a:cxn ang="0">
                        <a:pos x="35" y="92"/>
                      </a:cxn>
                      <a:cxn ang="0">
                        <a:pos x="24" y="92"/>
                      </a:cxn>
                      <a:cxn ang="0">
                        <a:pos x="23" y="80"/>
                      </a:cxn>
                      <a:cxn ang="0">
                        <a:pos x="10" y="78"/>
                      </a:cxn>
                      <a:cxn ang="0">
                        <a:pos x="7" y="77"/>
                      </a:cxn>
                      <a:cxn ang="0">
                        <a:pos x="12" y="66"/>
                      </a:cxn>
                      <a:cxn ang="0">
                        <a:pos x="7" y="66"/>
                      </a:cxn>
                      <a:cxn ang="0">
                        <a:pos x="4" y="66"/>
                      </a:cxn>
                      <a:cxn ang="0">
                        <a:pos x="0" y="68"/>
                      </a:cxn>
                      <a:cxn ang="0">
                        <a:pos x="5" y="85"/>
                      </a:cxn>
                      <a:cxn ang="0">
                        <a:pos x="19" y="96"/>
                      </a:cxn>
                      <a:cxn ang="0">
                        <a:pos x="26" y="118"/>
                      </a:cxn>
                      <a:cxn ang="0">
                        <a:pos x="28" y="132"/>
                      </a:cxn>
                      <a:cxn ang="0">
                        <a:pos x="40" y="139"/>
                      </a:cxn>
                      <a:cxn ang="0">
                        <a:pos x="91" y="150"/>
                      </a:cxn>
                      <a:cxn ang="0">
                        <a:pos x="134" y="157"/>
                      </a:cxn>
                      <a:cxn ang="0">
                        <a:pos x="143" y="150"/>
                      </a:cxn>
                      <a:cxn ang="0">
                        <a:pos x="150" y="115"/>
                      </a:cxn>
                      <a:cxn ang="0">
                        <a:pos x="155" y="97"/>
                      </a:cxn>
                      <a:cxn ang="0">
                        <a:pos x="152" y="92"/>
                      </a:cxn>
                      <a:cxn ang="0">
                        <a:pos x="167" y="91"/>
                      </a:cxn>
                      <a:cxn ang="0">
                        <a:pos x="174" y="85"/>
                      </a:cxn>
                      <a:cxn ang="0">
                        <a:pos x="165" y="82"/>
                      </a:cxn>
                      <a:cxn ang="0">
                        <a:pos x="164" y="77"/>
                      </a:cxn>
                      <a:cxn ang="0">
                        <a:pos x="164" y="59"/>
                      </a:cxn>
                      <a:cxn ang="0">
                        <a:pos x="167" y="47"/>
                      </a:cxn>
                      <a:cxn ang="0">
                        <a:pos x="172" y="54"/>
                      </a:cxn>
                      <a:cxn ang="0">
                        <a:pos x="176" y="59"/>
                      </a:cxn>
                      <a:cxn ang="0">
                        <a:pos x="183" y="50"/>
                      </a:cxn>
                      <a:cxn ang="0">
                        <a:pos x="183" y="23"/>
                      </a:cxn>
                    </a:cxnLst>
                    <a:rect l="0" t="0" r="r" b="b"/>
                    <a:pathLst>
                      <a:path w="183" h="157">
                        <a:moveTo>
                          <a:pt x="181" y="19"/>
                        </a:moveTo>
                        <a:lnTo>
                          <a:pt x="181" y="19"/>
                        </a:lnTo>
                        <a:lnTo>
                          <a:pt x="178" y="19"/>
                        </a:lnTo>
                        <a:lnTo>
                          <a:pt x="178" y="17"/>
                        </a:lnTo>
                        <a:lnTo>
                          <a:pt x="176" y="12"/>
                        </a:lnTo>
                        <a:lnTo>
                          <a:pt x="176" y="5"/>
                        </a:lnTo>
                        <a:lnTo>
                          <a:pt x="176" y="2"/>
                        </a:lnTo>
                        <a:lnTo>
                          <a:pt x="174" y="0"/>
                        </a:lnTo>
                        <a:lnTo>
                          <a:pt x="174" y="0"/>
                        </a:lnTo>
                        <a:lnTo>
                          <a:pt x="171" y="10"/>
                        </a:lnTo>
                        <a:lnTo>
                          <a:pt x="169" y="12"/>
                        </a:lnTo>
                        <a:lnTo>
                          <a:pt x="169" y="12"/>
                        </a:lnTo>
                        <a:lnTo>
                          <a:pt x="167" y="12"/>
                        </a:lnTo>
                        <a:lnTo>
                          <a:pt x="165" y="12"/>
                        </a:lnTo>
                        <a:lnTo>
                          <a:pt x="162" y="19"/>
                        </a:lnTo>
                        <a:lnTo>
                          <a:pt x="162" y="19"/>
                        </a:lnTo>
                        <a:lnTo>
                          <a:pt x="158" y="24"/>
                        </a:lnTo>
                        <a:lnTo>
                          <a:pt x="153" y="28"/>
                        </a:lnTo>
                        <a:lnTo>
                          <a:pt x="148" y="31"/>
                        </a:lnTo>
                        <a:lnTo>
                          <a:pt x="141" y="40"/>
                        </a:lnTo>
                        <a:lnTo>
                          <a:pt x="141" y="40"/>
                        </a:lnTo>
                        <a:lnTo>
                          <a:pt x="134" y="49"/>
                        </a:lnTo>
                        <a:lnTo>
                          <a:pt x="125" y="57"/>
                        </a:lnTo>
                        <a:lnTo>
                          <a:pt x="115" y="68"/>
                        </a:lnTo>
                        <a:lnTo>
                          <a:pt x="115" y="68"/>
                        </a:lnTo>
                        <a:lnTo>
                          <a:pt x="115" y="70"/>
                        </a:lnTo>
                        <a:lnTo>
                          <a:pt x="117" y="71"/>
                        </a:lnTo>
                        <a:lnTo>
                          <a:pt x="117" y="73"/>
                        </a:lnTo>
                        <a:lnTo>
                          <a:pt x="113" y="80"/>
                        </a:lnTo>
                        <a:lnTo>
                          <a:pt x="113" y="80"/>
                        </a:lnTo>
                        <a:lnTo>
                          <a:pt x="106" y="87"/>
                        </a:lnTo>
                        <a:lnTo>
                          <a:pt x="99" y="89"/>
                        </a:lnTo>
                        <a:lnTo>
                          <a:pt x="91" y="89"/>
                        </a:lnTo>
                        <a:lnTo>
                          <a:pt x="82" y="89"/>
                        </a:lnTo>
                        <a:lnTo>
                          <a:pt x="64" y="85"/>
                        </a:lnTo>
                        <a:lnTo>
                          <a:pt x="56" y="85"/>
                        </a:lnTo>
                        <a:lnTo>
                          <a:pt x="47" y="87"/>
                        </a:lnTo>
                        <a:lnTo>
                          <a:pt x="47" y="87"/>
                        </a:lnTo>
                        <a:lnTo>
                          <a:pt x="35" y="92"/>
                        </a:lnTo>
                        <a:lnTo>
                          <a:pt x="26" y="94"/>
                        </a:lnTo>
                        <a:lnTo>
                          <a:pt x="24" y="94"/>
                        </a:lnTo>
                        <a:lnTo>
                          <a:pt x="24" y="92"/>
                        </a:lnTo>
                        <a:lnTo>
                          <a:pt x="23" y="85"/>
                        </a:lnTo>
                        <a:lnTo>
                          <a:pt x="23" y="85"/>
                        </a:lnTo>
                        <a:lnTo>
                          <a:pt x="23" y="80"/>
                        </a:lnTo>
                        <a:lnTo>
                          <a:pt x="19" y="78"/>
                        </a:lnTo>
                        <a:lnTo>
                          <a:pt x="16" y="80"/>
                        </a:lnTo>
                        <a:lnTo>
                          <a:pt x="10" y="78"/>
                        </a:lnTo>
                        <a:lnTo>
                          <a:pt x="10" y="78"/>
                        </a:lnTo>
                        <a:lnTo>
                          <a:pt x="7" y="78"/>
                        </a:lnTo>
                        <a:lnTo>
                          <a:pt x="7" y="77"/>
                        </a:lnTo>
                        <a:lnTo>
                          <a:pt x="7" y="73"/>
                        </a:lnTo>
                        <a:lnTo>
                          <a:pt x="10" y="68"/>
                        </a:lnTo>
                        <a:lnTo>
                          <a:pt x="12" y="66"/>
                        </a:lnTo>
                        <a:lnTo>
                          <a:pt x="12" y="66"/>
                        </a:lnTo>
                        <a:lnTo>
                          <a:pt x="10" y="66"/>
                        </a:lnTo>
                        <a:lnTo>
                          <a:pt x="7" y="66"/>
                        </a:lnTo>
                        <a:lnTo>
                          <a:pt x="5" y="68"/>
                        </a:lnTo>
                        <a:lnTo>
                          <a:pt x="4" y="66"/>
                        </a:lnTo>
                        <a:lnTo>
                          <a:pt x="4" y="66"/>
                        </a:lnTo>
                        <a:lnTo>
                          <a:pt x="4" y="68"/>
                        </a:lnTo>
                        <a:lnTo>
                          <a:pt x="0" y="68"/>
                        </a:lnTo>
                        <a:lnTo>
                          <a:pt x="0" y="68"/>
                        </a:lnTo>
                        <a:lnTo>
                          <a:pt x="0" y="75"/>
                        </a:lnTo>
                        <a:lnTo>
                          <a:pt x="0" y="80"/>
                        </a:lnTo>
                        <a:lnTo>
                          <a:pt x="5" y="85"/>
                        </a:lnTo>
                        <a:lnTo>
                          <a:pt x="12" y="91"/>
                        </a:lnTo>
                        <a:lnTo>
                          <a:pt x="12" y="91"/>
                        </a:lnTo>
                        <a:lnTo>
                          <a:pt x="19" y="96"/>
                        </a:lnTo>
                        <a:lnTo>
                          <a:pt x="23" y="101"/>
                        </a:lnTo>
                        <a:lnTo>
                          <a:pt x="24" y="108"/>
                        </a:lnTo>
                        <a:lnTo>
                          <a:pt x="26" y="118"/>
                        </a:lnTo>
                        <a:lnTo>
                          <a:pt x="26" y="118"/>
                        </a:lnTo>
                        <a:lnTo>
                          <a:pt x="26" y="129"/>
                        </a:lnTo>
                        <a:lnTo>
                          <a:pt x="28" y="132"/>
                        </a:lnTo>
                        <a:lnTo>
                          <a:pt x="30" y="136"/>
                        </a:lnTo>
                        <a:lnTo>
                          <a:pt x="33" y="138"/>
                        </a:lnTo>
                        <a:lnTo>
                          <a:pt x="40" y="139"/>
                        </a:lnTo>
                        <a:lnTo>
                          <a:pt x="63" y="143"/>
                        </a:lnTo>
                        <a:lnTo>
                          <a:pt x="63" y="143"/>
                        </a:lnTo>
                        <a:lnTo>
                          <a:pt x="91" y="150"/>
                        </a:lnTo>
                        <a:lnTo>
                          <a:pt x="117" y="155"/>
                        </a:lnTo>
                        <a:lnTo>
                          <a:pt x="125" y="157"/>
                        </a:lnTo>
                        <a:lnTo>
                          <a:pt x="134" y="157"/>
                        </a:lnTo>
                        <a:lnTo>
                          <a:pt x="139" y="155"/>
                        </a:lnTo>
                        <a:lnTo>
                          <a:pt x="143" y="150"/>
                        </a:lnTo>
                        <a:lnTo>
                          <a:pt x="143" y="150"/>
                        </a:lnTo>
                        <a:lnTo>
                          <a:pt x="143" y="138"/>
                        </a:lnTo>
                        <a:lnTo>
                          <a:pt x="145" y="129"/>
                        </a:lnTo>
                        <a:lnTo>
                          <a:pt x="150" y="115"/>
                        </a:lnTo>
                        <a:lnTo>
                          <a:pt x="150" y="115"/>
                        </a:lnTo>
                        <a:lnTo>
                          <a:pt x="155" y="99"/>
                        </a:lnTo>
                        <a:lnTo>
                          <a:pt x="155" y="97"/>
                        </a:lnTo>
                        <a:lnTo>
                          <a:pt x="153" y="96"/>
                        </a:lnTo>
                        <a:lnTo>
                          <a:pt x="153" y="96"/>
                        </a:lnTo>
                        <a:lnTo>
                          <a:pt x="152" y="92"/>
                        </a:lnTo>
                        <a:lnTo>
                          <a:pt x="155" y="92"/>
                        </a:lnTo>
                        <a:lnTo>
                          <a:pt x="167" y="91"/>
                        </a:lnTo>
                        <a:lnTo>
                          <a:pt x="167" y="91"/>
                        </a:lnTo>
                        <a:lnTo>
                          <a:pt x="172" y="89"/>
                        </a:lnTo>
                        <a:lnTo>
                          <a:pt x="174" y="87"/>
                        </a:lnTo>
                        <a:lnTo>
                          <a:pt x="174" y="85"/>
                        </a:lnTo>
                        <a:lnTo>
                          <a:pt x="171" y="84"/>
                        </a:lnTo>
                        <a:lnTo>
                          <a:pt x="165" y="82"/>
                        </a:lnTo>
                        <a:lnTo>
                          <a:pt x="165" y="82"/>
                        </a:lnTo>
                        <a:lnTo>
                          <a:pt x="162" y="82"/>
                        </a:lnTo>
                        <a:lnTo>
                          <a:pt x="162" y="80"/>
                        </a:lnTo>
                        <a:lnTo>
                          <a:pt x="164" y="77"/>
                        </a:lnTo>
                        <a:lnTo>
                          <a:pt x="164" y="70"/>
                        </a:lnTo>
                        <a:lnTo>
                          <a:pt x="164" y="70"/>
                        </a:lnTo>
                        <a:lnTo>
                          <a:pt x="164" y="59"/>
                        </a:lnTo>
                        <a:lnTo>
                          <a:pt x="165" y="50"/>
                        </a:lnTo>
                        <a:lnTo>
                          <a:pt x="167" y="49"/>
                        </a:lnTo>
                        <a:lnTo>
                          <a:pt x="167" y="47"/>
                        </a:lnTo>
                        <a:lnTo>
                          <a:pt x="171" y="49"/>
                        </a:lnTo>
                        <a:lnTo>
                          <a:pt x="172" y="54"/>
                        </a:lnTo>
                        <a:lnTo>
                          <a:pt x="172" y="54"/>
                        </a:lnTo>
                        <a:lnTo>
                          <a:pt x="174" y="61"/>
                        </a:lnTo>
                        <a:lnTo>
                          <a:pt x="176" y="61"/>
                        </a:lnTo>
                        <a:lnTo>
                          <a:pt x="176" y="59"/>
                        </a:lnTo>
                        <a:lnTo>
                          <a:pt x="178" y="56"/>
                        </a:lnTo>
                        <a:lnTo>
                          <a:pt x="181" y="52"/>
                        </a:lnTo>
                        <a:lnTo>
                          <a:pt x="183" y="50"/>
                        </a:lnTo>
                        <a:lnTo>
                          <a:pt x="183" y="50"/>
                        </a:lnTo>
                        <a:lnTo>
                          <a:pt x="183" y="30"/>
                        </a:lnTo>
                        <a:lnTo>
                          <a:pt x="183" y="23"/>
                        </a:lnTo>
                        <a:lnTo>
                          <a:pt x="181" y="19"/>
                        </a:lnTo>
                        <a:lnTo>
                          <a:pt x="181" y="19"/>
                        </a:lnTo>
                        <a:close/>
                      </a:path>
                    </a:pathLst>
                  </a:custGeom>
                  <a:grpFill/>
                  <a:ln w="2">
                    <a:noFill/>
                    <a:prstDash val="solid"/>
                    <a:round/>
                    <a:headEnd/>
                    <a:tailEnd/>
                  </a:ln>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2" name="Freeform 2212">
                    <a:extLst>
                      <a:ext uri="{FF2B5EF4-FFF2-40B4-BE49-F238E27FC236}">
                        <a16:creationId xmlns:a16="http://schemas.microsoft.com/office/drawing/2014/main" id="{B13E0296-C121-0E15-6FF4-2226F74E5C55}"/>
                      </a:ext>
                    </a:extLst>
                  </p:cNvPr>
                  <p:cNvSpPr>
                    <a:spLocks/>
                  </p:cNvSpPr>
                  <p:nvPr/>
                </p:nvSpPr>
                <p:spPr bwMode="auto">
                  <a:xfrm>
                    <a:off x="5505450" y="3446463"/>
                    <a:ext cx="9525" cy="25400"/>
                  </a:xfrm>
                  <a:custGeom>
                    <a:avLst/>
                    <a:gdLst/>
                    <a:ahLst/>
                    <a:cxnLst>
                      <a:cxn ang="0">
                        <a:pos x="7" y="33"/>
                      </a:cxn>
                      <a:cxn ang="0">
                        <a:pos x="7" y="33"/>
                      </a:cxn>
                      <a:cxn ang="0">
                        <a:pos x="4" y="33"/>
                      </a:cxn>
                      <a:cxn ang="0">
                        <a:pos x="4" y="31"/>
                      </a:cxn>
                      <a:cxn ang="0">
                        <a:pos x="2" y="26"/>
                      </a:cxn>
                      <a:cxn ang="0">
                        <a:pos x="2" y="19"/>
                      </a:cxn>
                      <a:cxn ang="0">
                        <a:pos x="2" y="16"/>
                      </a:cxn>
                      <a:cxn ang="0">
                        <a:pos x="0" y="14"/>
                      </a:cxn>
                      <a:cxn ang="0">
                        <a:pos x="0" y="14"/>
                      </a:cxn>
                      <a:cxn ang="0">
                        <a:pos x="2" y="7"/>
                      </a:cxn>
                      <a:cxn ang="0">
                        <a:pos x="4" y="7"/>
                      </a:cxn>
                      <a:cxn ang="0">
                        <a:pos x="7" y="9"/>
                      </a:cxn>
                      <a:cxn ang="0">
                        <a:pos x="7" y="9"/>
                      </a:cxn>
                      <a:cxn ang="0">
                        <a:pos x="9" y="9"/>
                      </a:cxn>
                      <a:cxn ang="0">
                        <a:pos x="9" y="9"/>
                      </a:cxn>
                      <a:cxn ang="0">
                        <a:pos x="9" y="5"/>
                      </a:cxn>
                      <a:cxn ang="0">
                        <a:pos x="9" y="2"/>
                      </a:cxn>
                      <a:cxn ang="0">
                        <a:pos x="9" y="0"/>
                      </a:cxn>
                      <a:cxn ang="0">
                        <a:pos x="11" y="0"/>
                      </a:cxn>
                      <a:cxn ang="0">
                        <a:pos x="11" y="0"/>
                      </a:cxn>
                      <a:cxn ang="0">
                        <a:pos x="14" y="2"/>
                      </a:cxn>
                      <a:cxn ang="0">
                        <a:pos x="14" y="2"/>
                      </a:cxn>
                      <a:cxn ang="0">
                        <a:pos x="14" y="7"/>
                      </a:cxn>
                      <a:cxn ang="0">
                        <a:pos x="12" y="12"/>
                      </a:cxn>
                      <a:cxn ang="0">
                        <a:pos x="12" y="17"/>
                      </a:cxn>
                      <a:cxn ang="0">
                        <a:pos x="12" y="17"/>
                      </a:cxn>
                      <a:cxn ang="0">
                        <a:pos x="12" y="21"/>
                      </a:cxn>
                      <a:cxn ang="0">
                        <a:pos x="9" y="24"/>
                      </a:cxn>
                      <a:cxn ang="0">
                        <a:pos x="7" y="30"/>
                      </a:cxn>
                      <a:cxn ang="0">
                        <a:pos x="7" y="33"/>
                      </a:cxn>
                      <a:cxn ang="0">
                        <a:pos x="7" y="33"/>
                      </a:cxn>
                    </a:cxnLst>
                    <a:rect l="0" t="0" r="r" b="b"/>
                    <a:pathLst>
                      <a:path w="14" h="33">
                        <a:moveTo>
                          <a:pt x="7" y="33"/>
                        </a:moveTo>
                        <a:lnTo>
                          <a:pt x="7" y="33"/>
                        </a:lnTo>
                        <a:lnTo>
                          <a:pt x="4" y="33"/>
                        </a:lnTo>
                        <a:lnTo>
                          <a:pt x="4" y="31"/>
                        </a:lnTo>
                        <a:lnTo>
                          <a:pt x="2" y="26"/>
                        </a:lnTo>
                        <a:lnTo>
                          <a:pt x="2" y="19"/>
                        </a:lnTo>
                        <a:lnTo>
                          <a:pt x="2" y="16"/>
                        </a:lnTo>
                        <a:lnTo>
                          <a:pt x="0" y="14"/>
                        </a:lnTo>
                        <a:lnTo>
                          <a:pt x="0" y="14"/>
                        </a:lnTo>
                        <a:lnTo>
                          <a:pt x="2" y="7"/>
                        </a:lnTo>
                        <a:lnTo>
                          <a:pt x="4" y="7"/>
                        </a:lnTo>
                        <a:lnTo>
                          <a:pt x="7" y="9"/>
                        </a:lnTo>
                        <a:lnTo>
                          <a:pt x="7" y="9"/>
                        </a:lnTo>
                        <a:lnTo>
                          <a:pt x="9" y="9"/>
                        </a:lnTo>
                        <a:lnTo>
                          <a:pt x="9" y="9"/>
                        </a:lnTo>
                        <a:lnTo>
                          <a:pt x="9" y="5"/>
                        </a:lnTo>
                        <a:lnTo>
                          <a:pt x="9" y="2"/>
                        </a:lnTo>
                        <a:lnTo>
                          <a:pt x="9" y="0"/>
                        </a:lnTo>
                        <a:lnTo>
                          <a:pt x="11" y="0"/>
                        </a:lnTo>
                        <a:lnTo>
                          <a:pt x="11" y="0"/>
                        </a:lnTo>
                        <a:lnTo>
                          <a:pt x="14" y="2"/>
                        </a:lnTo>
                        <a:lnTo>
                          <a:pt x="14" y="2"/>
                        </a:lnTo>
                        <a:lnTo>
                          <a:pt x="14" y="7"/>
                        </a:lnTo>
                        <a:lnTo>
                          <a:pt x="12" y="12"/>
                        </a:lnTo>
                        <a:lnTo>
                          <a:pt x="12" y="17"/>
                        </a:lnTo>
                        <a:lnTo>
                          <a:pt x="12" y="17"/>
                        </a:lnTo>
                        <a:lnTo>
                          <a:pt x="12" y="21"/>
                        </a:lnTo>
                        <a:lnTo>
                          <a:pt x="9" y="24"/>
                        </a:lnTo>
                        <a:lnTo>
                          <a:pt x="7" y="30"/>
                        </a:lnTo>
                        <a:lnTo>
                          <a:pt x="7" y="33"/>
                        </a:lnTo>
                        <a:lnTo>
                          <a:pt x="7"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423" name="Freeform 2213">
                  <a:extLst>
                    <a:ext uri="{FF2B5EF4-FFF2-40B4-BE49-F238E27FC236}">
                      <a16:creationId xmlns:a16="http://schemas.microsoft.com/office/drawing/2014/main" id="{EE1202FA-6F07-A5C9-1B93-1A4FCF153C14}"/>
                    </a:ext>
                  </a:extLst>
                </p:cNvPr>
                <p:cNvSpPr>
                  <a:spLocks/>
                </p:cNvSpPr>
                <p:nvPr/>
              </p:nvSpPr>
              <p:spPr bwMode="auto">
                <a:xfrm>
                  <a:off x="6032431" y="3470429"/>
                  <a:ext cx="52860" cy="56384"/>
                </a:xfrm>
                <a:custGeom>
                  <a:avLst/>
                  <a:gdLst/>
                  <a:ahLst/>
                  <a:cxnLst>
                    <a:cxn ang="0">
                      <a:pos x="66" y="70"/>
                    </a:cxn>
                    <a:cxn ang="0">
                      <a:pos x="66" y="70"/>
                    </a:cxn>
                    <a:cxn ang="0">
                      <a:pos x="38" y="70"/>
                    </a:cxn>
                    <a:cxn ang="0">
                      <a:pos x="38" y="70"/>
                    </a:cxn>
                    <a:cxn ang="0">
                      <a:pos x="36" y="64"/>
                    </a:cxn>
                    <a:cxn ang="0">
                      <a:pos x="35" y="59"/>
                    </a:cxn>
                    <a:cxn ang="0">
                      <a:pos x="33" y="54"/>
                    </a:cxn>
                    <a:cxn ang="0">
                      <a:pos x="31" y="49"/>
                    </a:cxn>
                    <a:cxn ang="0">
                      <a:pos x="31" y="49"/>
                    </a:cxn>
                    <a:cxn ang="0">
                      <a:pos x="26" y="49"/>
                    </a:cxn>
                    <a:cxn ang="0">
                      <a:pos x="16" y="47"/>
                    </a:cxn>
                    <a:cxn ang="0">
                      <a:pos x="0" y="45"/>
                    </a:cxn>
                    <a:cxn ang="0">
                      <a:pos x="0" y="45"/>
                    </a:cxn>
                    <a:cxn ang="0">
                      <a:pos x="3" y="42"/>
                    </a:cxn>
                    <a:cxn ang="0">
                      <a:pos x="5" y="36"/>
                    </a:cxn>
                    <a:cxn ang="0">
                      <a:pos x="10" y="24"/>
                    </a:cxn>
                    <a:cxn ang="0">
                      <a:pos x="16" y="12"/>
                    </a:cxn>
                    <a:cxn ang="0">
                      <a:pos x="17" y="7"/>
                    </a:cxn>
                    <a:cxn ang="0">
                      <a:pos x="21" y="3"/>
                    </a:cxn>
                    <a:cxn ang="0">
                      <a:pos x="21" y="3"/>
                    </a:cxn>
                    <a:cxn ang="0">
                      <a:pos x="24" y="2"/>
                    </a:cxn>
                    <a:cxn ang="0">
                      <a:pos x="28" y="0"/>
                    </a:cxn>
                    <a:cxn ang="0">
                      <a:pos x="35" y="0"/>
                    </a:cxn>
                    <a:cxn ang="0">
                      <a:pos x="47" y="5"/>
                    </a:cxn>
                    <a:cxn ang="0">
                      <a:pos x="47" y="5"/>
                    </a:cxn>
                    <a:cxn ang="0">
                      <a:pos x="54" y="21"/>
                    </a:cxn>
                    <a:cxn ang="0">
                      <a:pos x="54" y="23"/>
                    </a:cxn>
                    <a:cxn ang="0">
                      <a:pos x="54" y="23"/>
                    </a:cxn>
                    <a:cxn ang="0">
                      <a:pos x="47" y="23"/>
                    </a:cxn>
                    <a:cxn ang="0">
                      <a:pos x="43" y="24"/>
                    </a:cxn>
                    <a:cxn ang="0">
                      <a:pos x="42" y="28"/>
                    </a:cxn>
                    <a:cxn ang="0">
                      <a:pos x="42" y="28"/>
                    </a:cxn>
                    <a:cxn ang="0">
                      <a:pos x="40" y="31"/>
                    </a:cxn>
                    <a:cxn ang="0">
                      <a:pos x="40" y="33"/>
                    </a:cxn>
                    <a:cxn ang="0">
                      <a:pos x="45" y="33"/>
                    </a:cxn>
                    <a:cxn ang="0">
                      <a:pos x="50" y="35"/>
                    </a:cxn>
                    <a:cxn ang="0">
                      <a:pos x="54" y="38"/>
                    </a:cxn>
                    <a:cxn ang="0">
                      <a:pos x="54" y="42"/>
                    </a:cxn>
                    <a:cxn ang="0">
                      <a:pos x="54" y="42"/>
                    </a:cxn>
                    <a:cxn ang="0">
                      <a:pos x="56" y="49"/>
                    </a:cxn>
                    <a:cxn ang="0">
                      <a:pos x="59" y="54"/>
                    </a:cxn>
                    <a:cxn ang="0">
                      <a:pos x="63" y="59"/>
                    </a:cxn>
                    <a:cxn ang="0">
                      <a:pos x="66" y="70"/>
                    </a:cxn>
                    <a:cxn ang="0">
                      <a:pos x="66" y="70"/>
                    </a:cxn>
                  </a:cxnLst>
                  <a:rect l="0" t="0" r="r" b="b"/>
                  <a:pathLst>
                    <a:path w="66" h="70">
                      <a:moveTo>
                        <a:pt x="66" y="70"/>
                      </a:moveTo>
                      <a:lnTo>
                        <a:pt x="66" y="70"/>
                      </a:lnTo>
                      <a:lnTo>
                        <a:pt x="38" y="70"/>
                      </a:lnTo>
                      <a:lnTo>
                        <a:pt x="38" y="70"/>
                      </a:lnTo>
                      <a:lnTo>
                        <a:pt x="36" y="64"/>
                      </a:lnTo>
                      <a:lnTo>
                        <a:pt x="35" y="59"/>
                      </a:lnTo>
                      <a:lnTo>
                        <a:pt x="33" y="54"/>
                      </a:lnTo>
                      <a:lnTo>
                        <a:pt x="31" y="49"/>
                      </a:lnTo>
                      <a:lnTo>
                        <a:pt x="31" y="49"/>
                      </a:lnTo>
                      <a:lnTo>
                        <a:pt x="26" y="49"/>
                      </a:lnTo>
                      <a:lnTo>
                        <a:pt x="16" y="47"/>
                      </a:lnTo>
                      <a:lnTo>
                        <a:pt x="0" y="45"/>
                      </a:lnTo>
                      <a:lnTo>
                        <a:pt x="0" y="45"/>
                      </a:lnTo>
                      <a:lnTo>
                        <a:pt x="3" y="42"/>
                      </a:lnTo>
                      <a:lnTo>
                        <a:pt x="5" y="36"/>
                      </a:lnTo>
                      <a:lnTo>
                        <a:pt x="10" y="24"/>
                      </a:lnTo>
                      <a:lnTo>
                        <a:pt x="16" y="12"/>
                      </a:lnTo>
                      <a:lnTo>
                        <a:pt x="17" y="7"/>
                      </a:lnTo>
                      <a:lnTo>
                        <a:pt x="21" y="3"/>
                      </a:lnTo>
                      <a:lnTo>
                        <a:pt x="21" y="3"/>
                      </a:lnTo>
                      <a:lnTo>
                        <a:pt x="24" y="2"/>
                      </a:lnTo>
                      <a:lnTo>
                        <a:pt x="28" y="0"/>
                      </a:lnTo>
                      <a:lnTo>
                        <a:pt x="35" y="0"/>
                      </a:lnTo>
                      <a:lnTo>
                        <a:pt x="47" y="5"/>
                      </a:lnTo>
                      <a:lnTo>
                        <a:pt x="47" y="5"/>
                      </a:lnTo>
                      <a:lnTo>
                        <a:pt x="54" y="21"/>
                      </a:lnTo>
                      <a:lnTo>
                        <a:pt x="54" y="23"/>
                      </a:lnTo>
                      <a:lnTo>
                        <a:pt x="54" y="23"/>
                      </a:lnTo>
                      <a:lnTo>
                        <a:pt x="47" y="23"/>
                      </a:lnTo>
                      <a:lnTo>
                        <a:pt x="43" y="24"/>
                      </a:lnTo>
                      <a:lnTo>
                        <a:pt x="42" y="28"/>
                      </a:lnTo>
                      <a:lnTo>
                        <a:pt x="42" y="28"/>
                      </a:lnTo>
                      <a:lnTo>
                        <a:pt x="40" y="31"/>
                      </a:lnTo>
                      <a:lnTo>
                        <a:pt x="40" y="33"/>
                      </a:lnTo>
                      <a:lnTo>
                        <a:pt x="45" y="33"/>
                      </a:lnTo>
                      <a:lnTo>
                        <a:pt x="50" y="35"/>
                      </a:lnTo>
                      <a:lnTo>
                        <a:pt x="54" y="38"/>
                      </a:lnTo>
                      <a:lnTo>
                        <a:pt x="54" y="42"/>
                      </a:lnTo>
                      <a:lnTo>
                        <a:pt x="54" y="42"/>
                      </a:lnTo>
                      <a:lnTo>
                        <a:pt x="56" y="49"/>
                      </a:lnTo>
                      <a:lnTo>
                        <a:pt x="59" y="54"/>
                      </a:lnTo>
                      <a:lnTo>
                        <a:pt x="63" y="59"/>
                      </a:lnTo>
                      <a:lnTo>
                        <a:pt x="66" y="70"/>
                      </a:lnTo>
                      <a:lnTo>
                        <a:pt x="66" y="7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4" name="Freeform 2214">
                  <a:extLst>
                    <a:ext uri="{FF2B5EF4-FFF2-40B4-BE49-F238E27FC236}">
                      <a16:creationId xmlns:a16="http://schemas.microsoft.com/office/drawing/2014/main" id="{BB621F02-B9E5-40A0-12E1-156C18B984A7}"/>
                    </a:ext>
                  </a:extLst>
                </p:cNvPr>
                <p:cNvSpPr>
                  <a:spLocks/>
                </p:cNvSpPr>
                <p:nvPr/>
              </p:nvSpPr>
              <p:spPr bwMode="auto">
                <a:xfrm>
                  <a:off x="5532024" y="4550537"/>
                  <a:ext cx="58148" cy="63432"/>
                </a:xfrm>
                <a:custGeom>
                  <a:avLst/>
                  <a:gdLst/>
                  <a:ahLst/>
                  <a:cxnLst>
                    <a:cxn ang="0">
                      <a:pos x="7" y="71"/>
                    </a:cxn>
                    <a:cxn ang="0">
                      <a:pos x="7" y="71"/>
                    </a:cxn>
                    <a:cxn ang="0">
                      <a:pos x="11" y="66"/>
                    </a:cxn>
                    <a:cxn ang="0">
                      <a:pos x="14" y="66"/>
                    </a:cxn>
                    <a:cxn ang="0">
                      <a:pos x="18" y="67"/>
                    </a:cxn>
                    <a:cxn ang="0">
                      <a:pos x="19" y="71"/>
                    </a:cxn>
                    <a:cxn ang="0">
                      <a:pos x="19" y="71"/>
                    </a:cxn>
                    <a:cxn ang="0">
                      <a:pos x="19" y="73"/>
                    </a:cxn>
                    <a:cxn ang="0">
                      <a:pos x="21" y="74"/>
                    </a:cxn>
                    <a:cxn ang="0">
                      <a:pos x="28" y="76"/>
                    </a:cxn>
                    <a:cxn ang="0">
                      <a:pos x="30" y="74"/>
                    </a:cxn>
                    <a:cxn ang="0">
                      <a:pos x="33" y="73"/>
                    </a:cxn>
                    <a:cxn ang="0">
                      <a:pos x="37" y="69"/>
                    </a:cxn>
                    <a:cxn ang="0">
                      <a:pos x="37" y="66"/>
                    </a:cxn>
                    <a:cxn ang="0">
                      <a:pos x="37" y="66"/>
                    </a:cxn>
                    <a:cxn ang="0">
                      <a:pos x="39" y="57"/>
                    </a:cxn>
                    <a:cxn ang="0">
                      <a:pos x="40" y="53"/>
                    </a:cxn>
                    <a:cxn ang="0">
                      <a:pos x="42" y="53"/>
                    </a:cxn>
                    <a:cxn ang="0">
                      <a:pos x="44" y="57"/>
                    </a:cxn>
                    <a:cxn ang="0">
                      <a:pos x="44" y="57"/>
                    </a:cxn>
                    <a:cxn ang="0">
                      <a:pos x="47" y="59"/>
                    </a:cxn>
                    <a:cxn ang="0">
                      <a:pos x="49" y="57"/>
                    </a:cxn>
                    <a:cxn ang="0">
                      <a:pos x="54" y="55"/>
                    </a:cxn>
                    <a:cxn ang="0">
                      <a:pos x="63" y="55"/>
                    </a:cxn>
                    <a:cxn ang="0">
                      <a:pos x="63" y="55"/>
                    </a:cxn>
                    <a:cxn ang="0">
                      <a:pos x="68" y="57"/>
                    </a:cxn>
                    <a:cxn ang="0">
                      <a:pos x="70" y="55"/>
                    </a:cxn>
                    <a:cxn ang="0">
                      <a:pos x="72" y="52"/>
                    </a:cxn>
                    <a:cxn ang="0">
                      <a:pos x="72" y="43"/>
                    </a:cxn>
                    <a:cxn ang="0">
                      <a:pos x="70" y="31"/>
                    </a:cxn>
                    <a:cxn ang="0">
                      <a:pos x="70" y="31"/>
                    </a:cxn>
                    <a:cxn ang="0">
                      <a:pos x="68" y="19"/>
                    </a:cxn>
                    <a:cxn ang="0">
                      <a:pos x="65" y="12"/>
                    </a:cxn>
                    <a:cxn ang="0">
                      <a:pos x="61" y="6"/>
                    </a:cxn>
                    <a:cxn ang="0">
                      <a:pos x="58" y="0"/>
                    </a:cxn>
                    <a:cxn ang="0">
                      <a:pos x="58" y="0"/>
                    </a:cxn>
                    <a:cxn ang="0">
                      <a:pos x="54" y="3"/>
                    </a:cxn>
                    <a:cxn ang="0">
                      <a:pos x="51" y="8"/>
                    </a:cxn>
                    <a:cxn ang="0">
                      <a:pos x="45" y="13"/>
                    </a:cxn>
                    <a:cxn ang="0">
                      <a:pos x="42" y="17"/>
                    </a:cxn>
                    <a:cxn ang="0">
                      <a:pos x="42" y="17"/>
                    </a:cxn>
                    <a:cxn ang="0">
                      <a:pos x="40" y="17"/>
                    </a:cxn>
                    <a:cxn ang="0">
                      <a:pos x="39" y="17"/>
                    </a:cxn>
                    <a:cxn ang="0">
                      <a:pos x="39" y="13"/>
                    </a:cxn>
                    <a:cxn ang="0">
                      <a:pos x="37" y="12"/>
                    </a:cxn>
                    <a:cxn ang="0">
                      <a:pos x="35" y="12"/>
                    </a:cxn>
                    <a:cxn ang="0">
                      <a:pos x="33" y="12"/>
                    </a:cxn>
                    <a:cxn ang="0">
                      <a:pos x="28" y="13"/>
                    </a:cxn>
                    <a:cxn ang="0">
                      <a:pos x="28" y="13"/>
                    </a:cxn>
                    <a:cxn ang="0">
                      <a:pos x="18" y="22"/>
                    </a:cxn>
                    <a:cxn ang="0">
                      <a:pos x="12" y="29"/>
                    </a:cxn>
                    <a:cxn ang="0">
                      <a:pos x="11" y="34"/>
                    </a:cxn>
                    <a:cxn ang="0">
                      <a:pos x="11" y="40"/>
                    </a:cxn>
                    <a:cxn ang="0">
                      <a:pos x="12" y="45"/>
                    </a:cxn>
                    <a:cxn ang="0">
                      <a:pos x="12" y="48"/>
                    </a:cxn>
                    <a:cxn ang="0">
                      <a:pos x="7" y="52"/>
                    </a:cxn>
                    <a:cxn ang="0">
                      <a:pos x="7" y="52"/>
                    </a:cxn>
                    <a:cxn ang="0">
                      <a:pos x="2" y="57"/>
                    </a:cxn>
                    <a:cxn ang="0">
                      <a:pos x="0" y="60"/>
                    </a:cxn>
                    <a:cxn ang="0">
                      <a:pos x="0" y="62"/>
                    </a:cxn>
                    <a:cxn ang="0">
                      <a:pos x="7" y="71"/>
                    </a:cxn>
                    <a:cxn ang="0">
                      <a:pos x="7" y="71"/>
                    </a:cxn>
                  </a:cxnLst>
                  <a:rect l="0" t="0" r="r" b="b"/>
                  <a:pathLst>
                    <a:path w="72" h="76">
                      <a:moveTo>
                        <a:pt x="7" y="71"/>
                      </a:moveTo>
                      <a:lnTo>
                        <a:pt x="7" y="71"/>
                      </a:lnTo>
                      <a:lnTo>
                        <a:pt x="11" y="66"/>
                      </a:lnTo>
                      <a:lnTo>
                        <a:pt x="14" y="66"/>
                      </a:lnTo>
                      <a:lnTo>
                        <a:pt x="18" y="67"/>
                      </a:lnTo>
                      <a:lnTo>
                        <a:pt x="19" y="71"/>
                      </a:lnTo>
                      <a:lnTo>
                        <a:pt x="19" y="71"/>
                      </a:lnTo>
                      <a:lnTo>
                        <a:pt x="19" y="73"/>
                      </a:lnTo>
                      <a:lnTo>
                        <a:pt x="21" y="74"/>
                      </a:lnTo>
                      <a:lnTo>
                        <a:pt x="28" y="76"/>
                      </a:lnTo>
                      <a:lnTo>
                        <a:pt x="30" y="74"/>
                      </a:lnTo>
                      <a:lnTo>
                        <a:pt x="33" y="73"/>
                      </a:lnTo>
                      <a:lnTo>
                        <a:pt x="37" y="69"/>
                      </a:lnTo>
                      <a:lnTo>
                        <a:pt x="37" y="66"/>
                      </a:lnTo>
                      <a:lnTo>
                        <a:pt x="37" y="66"/>
                      </a:lnTo>
                      <a:lnTo>
                        <a:pt x="39" y="57"/>
                      </a:lnTo>
                      <a:lnTo>
                        <a:pt x="40" y="53"/>
                      </a:lnTo>
                      <a:lnTo>
                        <a:pt x="42" y="53"/>
                      </a:lnTo>
                      <a:lnTo>
                        <a:pt x="44" y="57"/>
                      </a:lnTo>
                      <a:lnTo>
                        <a:pt x="44" y="57"/>
                      </a:lnTo>
                      <a:lnTo>
                        <a:pt x="47" y="59"/>
                      </a:lnTo>
                      <a:lnTo>
                        <a:pt x="49" y="57"/>
                      </a:lnTo>
                      <a:lnTo>
                        <a:pt x="54" y="55"/>
                      </a:lnTo>
                      <a:lnTo>
                        <a:pt x="63" y="55"/>
                      </a:lnTo>
                      <a:lnTo>
                        <a:pt x="63" y="55"/>
                      </a:lnTo>
                      <a:lnTo>
                        <a:pt x="68" y="57"/>
                      </a:lnTo>
                      <a:lnTo>
                        <a:pt x="70" y="55"/>
                      </a:lnTo>
                      <a:lnTo>
                        <a:pt x="72" y="52"/>
                      </a:lnTo>
                      <a:lnTo>
                        <a:pt x="72" y="43"/>
                      </a:lnTo>
                      <a:lnTo>
                        <a:pt x="70" y="31"/>
                      </a:lnTo>
                      <a:lnTo>
                        <a:pt x="70" y="31"/>
                      </a:lnTo>
                      <a:lnTo>
                        <a:pt x="68" y="19"/>
                      </a:lnTo>
                      <a:lnTo>
                        <a:pt x="65" y="12"/>
                      </a:lnTo>
                      <a:lnTo>
                        <a:pt x="61" y="6"/>
                      </a:lnTo>
                      <a:lnTo>
                        <a:pt x="58" y="0"/>
                      </a:lnTo>
                      <a:lnTo>
                        <a:pt x="58" y="0"/>
                      </a:lnTo>
                      <a:lnTo>
                        <a:pt x="54" y="3"/>
                      </a:lnTo>
                      <a:lnTo>
                        <a:pt x="51" y="8"/>
                      </a:lnTo>
                      <a:lnTo>
                        <a:pt x="45" y="13"/>
                      </a:lnTo>
                      <a:lnTo>
                        <a:pt x="42" y="17"/>
                      </a:lnTo>
                      <a:lnTo>
                        <a:pt x="42" y="17"/>
                      </a:lnTo>
                      <a:lnTo>
                        <a:pt x="40" y="17"/>
                      </a:lnTo>
                      <a:lnTo>
                        <a:pt x="39" y="17"/>
                      </a:lnTo>
                      <a:lnTo>
                        <a:pt x="39" y="13"/>
                      </a:lnTo>
                      <a:lnTo>
                        <a:pt x="37" y="12"/>
                      </a:lnTo>
                      <a:lnTo>
                        <a:pt x="35" y="12"/>
                      </a:lnTo>
                      <a:lnTo>
                        <a:pt x="33" y="12"/>
                      </a:lnTo>
                      <a:lnTo>
                        <a:pt x="28" y="13"/>
                      </a:lnTo>
                      <a:lnTo>
                        <a:pt x="28" y="13"/>
                      </a:lnTo>
                      <a:lnTo>
                        <a:pt x="18" y="22"/>
                      </a:lnTo>
                      <a:lnTo>
                        <a:pt x="12" y="29"/>
                      </a:lnTo>
                      <a:lnTo>
                        <a:pt x="11" y="34"/>
                      </a:lnTo>
                      <a:lnTo>
                        <a:pt x="11" y="40"/>
                      </a:lnTo>
                      <a:lnTo>
                        <a:pt x="12" y="45"/>
                      </a:lnTo>
                      <a:lnTo>
                        <a:pt x="12" y="48"/>
                      </a:lnTo>
                      <a:lnTo>
                        <a:pt x="7" y="52"/>
                      </a:lnTo>
                      <a:lnTo>
                        <a:pt x="7" y="52"/>
                      </a:lnTo>
                      <a:lnTo>
                        <a:pt x="2" y="57"/>
                      </a:lnTo>
                      <a:lnTo>
                        <a:pt x="0" y="60"/>
                      </a:lnTo>
                      <a:lnTo>
                        <a:pt x="0" y="62"/>
                      </a:lnTo>
                      <a:lnTo>
                        <a:pt x="7" y="71"/>
                      </a:lnTo>
                      <a:lnTo>
                        <a:pt x="7" y="7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5" name="Freeform 2215">
                  <a:extLst>
                    <a:ext uri="{FF2B5EF4-FFF2-40B4-BE49-F238E27FC236}">
                      <a16:creationId xmlns:a16="http://schemas.microsoft.com/office/drawing/2014/main" id="{333E1E07-6D2B-22FD-30B0-0BF173A098FD}"/>
                    </a:ext>
                  </a:extLst>
                </p:cNvPr>
                <p:cNvSpPr>
                  <a:spLocks/>
                </p:cNvSpPr>
                <p:nvPr/>
              </p:nvSpPr>
              <p:spPr bwMode="auto">
                <a:xfrm>
                  <a:off x="5590168" y="5405109"/>
                  <a:ext cx="35241" cy="58146"/>
                </a:xfrm>
                <a:custGeom>
                  <a:avLst/>
                  <a:gdLst/>
                  <a:ahLst/>
                  <a:cxnLst>
                    <a:cxn ang="0">
                      <a:pos x="40" y="11"/>
                    </a:cxn>
                    <a:cxn ang="0">
                      <a:pos x="47" y="49"/>
                    </a:cxn>
                    <a:cxn ang="0">
                      <a:pos x="47" y="49"/>
                    </a:cxn>
                    <a:cxn ang="0">
                      <a:pos x="43" y="49"/>
                    </a:cxn>
                    <a:cxn ang="0">
                      <a:pos x="42" y="53"/>
                    </a:cxn>
                    <a:cxn ang="0">
                      <a:pos x="42" y="60"/>
                    </a:cxn>
                    <a:cxn ang="0">
                      <a:pos x="42" y="65"/>
                    </a:cxn>
                    <a:cxn ang="0">
                      <a:pos x="40" y="68"/>
                    </a:cxn>
                    <a:cxn ang="0">
                      <a:pos x="38" y="70"/>
                    </a:cxn>
                    <a:cxn ang="0">
                      <a:pos x="33" y="72"/>
                    </a:cxn>
                    <a:cxn ang="0">
                      <a:pos x="33" y="72"/>
                    </a:cxn>
                    <a:cxn ang="0">
                      <a:pos x="28" y="72"/>
                    </a:cxn>
                    <a:cxn ang="0">
                      <a:pos x="21" y="70"/>
                    </a:cxn>
                    <a:cxn ang="0">
                      <a:pos x="16" y="66"/>
                    </a:cxn>
                    <a:cxn ang="0">
                      <a:pos x="9" y="60"/>
                    </a:cxn>
                    <a:cxn ang="0">
                      <a:pos x="5" y="54"/>
                    </a:cxn>
                    <a:cxn ang="0">
                      <a:pos x="2" y="46"/>
                    </a:cxn>
                    <a:cxn ang="0">
                      <a:pos x="0" y="37"/>
                    </a:cxn>
                    <a:cxn ang="0">
                      <a:pos x="2" y="28"/>
                    </a:cxn>
                    <a:cxn ang="0">
                      <a:pos x="2" y="28"/>
                    </a:cxn>
                    <a:cxn ang="0">
                      <a:pos x="9" y="12"/>
                    </a:cxn>
                    <a:cxn ang="0">
                      <a:pos x="10" y="7"/>
                    </a:cxn>
                    <a:cxn ang="0">
                      <a:pos x="14" y="2"/>
                    </a:cxn>
                    <a:cxn ang="0">
                      <a:pos x="19" y="0"/>
                    </a:cxn>
                    <a:cxn ang="0">
                      <a:pos x="24" y="2"/>
                    </a:cxn>
                    <a:cxn ang="0">
                      <a:pos x="31" y="4"/>
                    </a:cxn>
                    <a:cxn ang="0">
                      <a:pos x="40" y="11"/>
                    </a:cxn>
                    <a:cxn ang="0">
                      <a:pos x="40" y="11"/>
                    </a:cxn>
                  </a:cxnLst>
                  <a:rect l="0" t="0" r="r" b="b"/>
                  <a:pathLst>
                    <a:path w="47" h="72">
                      <a:moveTo>
                        <a:pt x="40" y="11"/>
                      </a:moveTo>
                      <a:lnTo>
                        <a:pt x="47" y="49"/>
                      </a:lnTo>
                      <a:lnTo>
                        <a:pt x="47" y="49"/>
                      </a:lnTo>
                      <a:lnTo>
                        <a:pt x="43" y="49"/>
                      </a:lnTo>
                      <a:lnTo>
                        <a:pt x="42" y="53"/>
                      </a:lnTo>
                      <a:lnTo>
                        <a:pt x="42" y="60"/>
                      </a:lnTo>
                      <a:lnTo>
                        <a:pt x="42" y="65"/>
                      </a:lnTo>
                      <a:lnTo>
                        <a:pt x="40" y="68"/>
                      </a:lnTo>
                      <a:lnTo>
                        <a:pt x="38" y="70"/>
                      </a:lnTo>
                      <a:lnTo>
                        <a:pt x="33" y="72"/>
                      </a:lnTo>
                      <a:lnTo>
                        <a:pt x="33" y="72"/>
                      </a:lnTo>
                      <a:lnTo>
                        <a:pt x="28" y="72"/>
                      </a:lnTo>
                      <a:lnTo>
                        <a:pt x="21" y="70"/>
                      </a:lnTo>
                      <a:lnTo>
                        <a:pt x="16" y="66"/>
                      </a:lnTo>
                      <a:lnTo>
                        <a:pt x="9" y="60"/>
                      </a:lnTo>
                      <a:lnTo>
                        <a:pt x="5" y="54"/>
                      </a:lnTo>
                      <a:lnTo>
                        <a:pt x="2" y="46"/>
                      </a:lnTo>
                      <a:lnTo>
                        <a:pt x="0" y="37"/>
                      </a:lnTo>
                      <a:lnTo>
                        <a:pt x="2" y="28"/>
                      </a:lnTo>
                      <a:lnTo>
                        <a:pt x="2" y="28"/>
                      </a:lnTo>
                      <a:lnTo>
                        <a:pt x="9" y="12"/>
                      </a:lnTo>
                      <a:lnTo>
                        <a:pt x="10" y="7"/>
                      </a:lnTo>
                      <a:lnTo>
                        <a:pt x="14" y="2"/>
                      </a:lnTo>
                      <a:lnTo>
                        <a:pt x="19" y="0"/>
                      </a:lnTo>
                      <a:lnTo>
                        <a:pt x="24" y="2"/>
                      </a:lnTo>
                      <a:lnTo>
                        <a:pt x="31" y="4"/>
                      </a:lnTo>
                      <a:lnTo>
                        <a:pt x="40" y="11"/>
                      </a:lnTo>
                      <a:lnTo>
                        <a:pt x="4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6" name="Freeform 2216">
                  <a:extLst>
                    <a:ext uri="{FF2B5EF4-FFF2-40B4-BE49-F238E27FC236}">
                      <a16:creationId xmlns:a16="http://schemas.microsoft.com/office/drawing/2014/main" id="{F70AAC8B-8DC6-1B30-B6AB-E10C23B4C36B}"/>
                    </a:ext>
                  </a:extLst>
                </p:cNvPr>
                <p:cNvSpPr>
                  <a:spLocks/>
                </p:cNvSpPr>
                <p:nvPr/>
              </p:nvSpPr>
              <p:spPr bwMode="auto">
                <a:xfrm>
                  <a:off x="5484449" y="5507304"/>
                  <a:ext cx="65195" cy="77528"/>
                </a:xfrm>
                <a:custGeom>
                  <a:avLst/>
                  <a:gdLst/>
                  <a:ahLst/>
                  <a:cxnLst>
                    <a:cxn ang="0">
                      <a:pos x="25" y="93"/>
                    </a:cxn>
                    <a:cxn ang="0">
                      <a:pos x="25" y="93"/>
                    </a:cxn>
                    <a:cxn ang="0">
                      <a:pos x="12" y="79"/>
                    </a:cxn>
                    <a:cxn ang="0">
                      <a:pos x="4" y="65"/>
                    </a:cxn>
                    <a:cxn ang="0">
                      <a:pos x="2" y="58"/>
                    </a:cxn>
                    <a:cxn ang="0">
                      <a:pos x="0" y="53"/>
                    </a:cxn>
                    <a:cxn ang="0">
                      <a:pos x="2" y="46"/>
                    </a:cxn>
                    <a:cxn ang="0">
                      <a:pos x="6" y="39"/>
                    </a:cxn>
                    <a:cxn ang="0">
                      <a:pos x="6" y="39"/>
                    </a:cxn>
                    <a:cxn ang="0">
                      <a:pos x="19" y="23"/>
                    </a:cxn>
                    <a:cxn ang="0">
                      <a:pos x="35" y="9"/>
                    </a:cxn>
                    <a:cxn ang="0">
                      <a:pos x="42" y="4"/>
                    </a:cxn>
                    <a:cxn ang="0">
                      <a:pos x="49" y="0"/>
                    </a:cxn>
                    <a:cxn ang="0">
                      <a:pos x="56" y="0"/>
                    </a:cxn>
                    <a:cxn ang="0">
                      <a:pos x="59" y="4"/>
                    </a:cxn>
                    <a:cxn ang="0">
                      <a:pos x="59" y="4"/>
                    </a:cxn>
                    <a:cxn ang="0">
                      <a:pos x="68" y="13"/>
                    </a:cxn>
                    <a:cxn ang="0">
                      <a:pos x="77" y="20"/>
                    </a:cxn>
                    <a:cxn ang="0">
                      <a:pos x="80" y="23"/>
                    </a:cxn>
                    <a:cxn ang="0">
                      <a:pos x="82" y="30"/>
                    </a:cxn>
                    <a:cxn ang="0">
                      <a:pos x="82" y="35"/>
                    </a:cxn>
                    <a:cxn ang="0">
                      <a:pos x="79" y="44"/>
                    </a:cxn>
                    <a:cxn ang="0">
                      <a:pos x="79" y="44"/>
                    </a:cxn>
                    <a:cxn ang="0">
                      <a:pos x="75" y="53"/>
                    </a:cxn>
                    <a:cxn ang="0">
                      <a:pos x="70" y="60"/>
                    </a:cxn>
                    <a:cxn ang="0">
                      <a:pos x="65" y="65"/>
                    </a:cxn>
                    <a:cxn ang="0">
                      <a:pos x="58" y="68"/>
                    </a:cxn>
                    <a:cxn ang="0">
                      <a:pos x="47" y="75"/>
                    </a:cxn>
                    <a:cxn ang="0">
                      <a:pos x="44" y="79"/>
                    </a:cxn>
                    <a:cxn ang="0">
                      <a:pos x="39" y="84"/>
                    </a:cxn>
                    <a:cxn ang="0">
                      <a:pos x="39" y="84"/>
                    </a:cxn>
                    <a:cxn ang="0">
                      <a:pos x="35" y="91"/>
                    </a:cxn>
                    <a:cxn ang="0">
                      <a:pos x="32" y="96"/>
                    </a:cxn>
                    <a:cxn ang="0">
                      <a:pos x="28" y="96"/>
                    </a:cxn>
                    <a:cxn ang="0">
                      <a:pos x="25" y="93"/>
                    </a:cxn>
                    <a:cxn ang="0">
                      <a:pos x="25" y="93"/>
                    </a:cxn>
                  </a:cxnLst>
                  <a:rect l="0" t="0" r="r" b="b"/>
                  <a:pathLst>
                    <a:path w="82" h="96">
                      <a:moveTo>
                        <a:pt x="25" y="93"/>
                      </a:moveTo>
                      <a:lnTo>
                        <a:pt x="25" y="93"/>
                      </a:lnTo>
                      <a:lnTo>
                        <a:pt x="12" y="79"/>
                      </a:lnTo>
                      <a:lnTo>
                        <a:pt x="4" y="65"/>
                      </a:lnTo>
                      <a:lnTo>
                        <a:pt x="2" y="58"/>
                      </a:lnTo>
                      <a:lnTo>
                        <a:pt x="0" y="53"/>
                      </a:lnTo>
                      <a:lnTo>
                        <a:pt x="2" y="46"/>
                      </a:lnTo>
                      <a:lnTo>
                        <a:pt x="6" y="39"/>
                      </a:lnTo>
                      <a:lnTo>
                        <a:pt x="6" y="39"/>
                      </a:lnTo>
                      <a:lnTo>
                        <a:pt x="19" y="23"/>
                      </a:lnTo>
                      <a:lnTo>
                        <a:pt x="35" y="9"/>
                      </a:lnTo>
                      <a:lnTo>
                        <a:pt x="42" y="4"/>
                      </a:lnTo>
                      <a:lnTo>
                        <a:pt x="49" y="0"/>
                      </a:lnTo>
                      <a:lnTo>
                        <a:pt x="56" y="0"/>
                      </a:lnTo>
                      <a:lnTo>
                        <a:pt x="59" y="4"/>
                      </a:lnTo>
                      <a:lnTo>
                        <a:pt x="59" y="4"/>
                      </a:lnTo>
                      <a:lnTo>
                        <a:pt x="68" y="13"/>
                      </a:lnTo>
                      <a:lnTo>
                        <a:pt x="77" y="20"/>
                      </a:lnTo>
                      <a:lnTo>
                        <a:pt x="80" y="23"/>
                      </a:lnTo>
                      <a:lnTo>
                        <a:pt x="82" y="30"/>
                      </a:lnTo>
                      <a:lnTo>
                        <a:pt x="82" y="35"/>
                      </a:lnTo>
                      <a:lnTo>
                        <a:pt x="79" y="44"/>
                      </a:lnTo>
                      <a:lnTo>
                        <a:pt x="79" y="44"/>
                      </a:lnTo>
                      <a:lnTo>
                        <a:pt x="75" y="53"/>
                      </a:lnTo>
                      <a:lnTo>
                        <a:pt x="70" y="60"/>
                      </a:lnTo>
                      <a:lnTo>
                        <a:pt x="65" y="65"/>
                      </a:lnTo>
                      <a:lnTo>
                        <a:pt x="58" y="68"/>
                      </a:lnTo>
                      <a:lnTo>
                        <a:pt x="47" y="75"/>
                      </a:lnTo>
                      <a:lnTo>
                        <a:pt x="44" y="79"/>
                      </a:lnTo>
                      <a:lnTo>
                        <a:pt x="39" y="84"/>
                      </a:lnTo>
                      <a:lnTo>
                        <a:pt x="39" y="84"/>
                      </a:lnTo>
                      <a:lnTo>
                        <a:pt x="35" y="91"/>
                      </a:lnTo>
                      <a:lnTo>
                        <a:pt x="32" y="96"/>
                      </a:lnTo>
                      <a:lnTo>
                        <a:pt x="28" y="96"/>
                      </a:lnTo>
                      <a:lnTo>
                        <a:pt x="25" y="93"/>
                      </a:lnTo>
                      <a:lnTo>
                        <a:pt x="25" y="9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7" name="Freeform 2217">
                  <a:extLst>
                    <a:ext uri="{FF2B5EF4-FFF2-40B4-BE49-F238E27FC236}">
                      <a16:creationId xmlns:a16="http://schemas.microsoft.com/office/drawing/2014/main" id="{A297042F-869F-540E-4030-91A3356651D9}"/>
                    </a:ext>
                  </a:extLst>
                </p:cNvPr>
                <p:cNvSpPr>
                  <a:spLocks/>
                </p:cNvSpPr>
                <p:nvPr/>
              </p:nvSpPr>
              <p:spPr bwMode="auto">
                <a:xfrm>
                  <a:off x="5454495" y="3019356"/>
                  <a:ext cx="526839" cy="241394"/>
                </a:xfrm>
                <a:custGeom>
                  <a:avLst/>
                  <a:gdLst/>
                  <a:ahLst/>
                  <a:cxnLst>
                    <a:cxn ang="0">
                      <a:pos x="620" y="62"/>
                    </a:cxn>
                    <a:cxn ang="0">
                      <a:pos x="618" y="92"/>
                    </a:cxn>
                    <a:cxn ang="0">
                      <a:pos x="644" y="101"/>
                    </a:cxn>
                    <a:cxn ang="0">
                      <a:pos x="649" y="111"/>
                    </a:cxn>
                    <a:cxn ang="0">
                      <a:pos x="635" y="128"/>
                    </a:cxn>
                    <a:cxn ang="0">
                      <a:pos x="635" y="142"/>
                    </a:cxn>
                    <a:cxn ang="0">
                      <a:pos x="639" y="156"/>
                    </a:cxn>
                    <a:cxn ang="0">
                      <a:pos x="646" y="181"/>
                    </a:cxn>
                    <a:cxn ang="0">
                      <a:pos x="651" y="208"/>
                    </a:cxn>
                    <a:cxn ang="0">
                      <a:pos x="649" y="236"/>
                    </a:cxn>
                    <a:cxn ang="0">
                      <a:pos x="635" y="229"/>
                    </a:cxn>
                    <a:cxn ang="0">
                      <a:pos x="607" y="228"/>
                    </a:cxn>
                    <a:cxn ang="0">
                      <a:pos x="588" y="226"/>
                    </a:cxn>
                    <a:cxn ang="0">
                      <a:pos x="571" y="238"/>
                    </a:cxn>
                    <a:cxn ang="0">
                      <a:pos x="557" y="235"/>
                    </a:cxn>
                    <a:cxn ang="0">
                      <a:pos x="501" y="242"/>
                    </a:cxn>
                    <a:cxn ang="0">
                      <a:pos x="438" y="250"/>
                    </a:cxn>
                    <a:cxn ang="0">
                      <a:pos x="398" y="261"/>
                    </a:cxn>
                    <a:cxn ang="0">
                      <a:pos x="369" y="254"/>
                    </a:cxn>
                    <a:cxn ang="0">
                      <a:pos x="371" y="280"/>
                    </a:cxn>
                    <a:cxn ang="0">
                      <a:pos x="351" y="297"/>
                    </a:cxn>
                    <a:cxn ang="0">
                      <a:pos x="341" y="276"/>
                    </a:cxn>
                    <a:cxn ang="0">
                      <a:pos x="351" y="247"/>
                    </a:cxn>
                    <a:cxn ang="0">
                      <a:pos x="313" y="257"/>
                    </a:cxn>
                    <a:cxn ang="0">
                      <a:pos x="268" y="282"/>
                    </a:cxn>
                    <a:cxn ang="0">
                      <a:pos x="221" y="280"/>
                    </a:cxn>
                    <a:cxn ang="0">
                      <a:pos x="158" y="252"/>
                    </a:cxn>
                    <a:cxn ang="0">
                      <a:pos x="148" y="276"/>
                    </a:cxn>
                    <a:cxn ang="0">
                      <a:pos x="123" y="283"/>
                    </a:cxn>
                    <a:cxn ang="0">
                      <a:pos x="101" y="257"/>
                    </a:cxn>
                    <a:cxn ang="0">
                      <a:pos x="78" y="255"/>
                    </a:cxn>
                    <a:cxn ang="0">
                      <a:pos x="57" y="257"/>
                    </a:cxn>
                    <a:cxn ang="0">
                      <a:pos x="62" y="252"/>
                    </a:cxn>
                    <a:cxn ang="0">
                      <a:pos x="43" y="243"/>
                    </a:cxn>
                    <a:cxn ang="0">
                      <a:pos x="48" y="233"/>
                    </a:cxn>
                    <a:cxn ang="0">
                      <a:pos x="40" y="217"/>
                    </a:cxn>
                    <a:cxn ang="0">
                      <a:pos x="38" y="196"/>
                    </a:cxn>
                    <a:cxn ang="0">
                      <a:pos x="14" y="188"/>
                    </a:cxn>
                    <a:cxn ang="0">
                      <a:pos x="17" y="170"/>
                    </a:cxn>
                    <a:cxn ang="0">
                      <a:pos x="29" y="172"/>
                    </a:cxn>
                    <a:cxn ang="0">
                      <a:pos x="29" y="153"/>
                    </a:cxn>
                    <a:cxn ang="0">
                      <a:pos x="24" y="137"/>
                    </a:cxn>
                    <a:cxn ang="0">
                      <a:pos x="19" y="121"/>
                    </a:cxn>
                    <a:cxn ang="0">
                      <a:pos x="5" y="101"/>
                    </a:cxn>
                    <a:cxn ang="0">
                      <a:pos x="36" y="78"/>
                    </a:cxn>
                    <a:cxn ang="0">
                      <a:pos x="57" y="85"/>
                    </a:cxn>
                    <a:cxn ang="0">
                      <a:pos x="68" y="76"/>
                    </a:cxn>
                    <a:cxn ang="0">
                      <a:pos x="104" y="83"/>
                    </a:cxn>
                    <a:cxn ang="0">
                      <a:pos x="129" y="66"/>
                    </a:cxn>
                    <a:cxn ang="0">
                      <a:pos x="106" y="55"/>
                    </a:cxn>
                    <a:cxn ang="0">
                      <a:pos x="125" y="43"/>
                    </a:cxn>
                    <a:cxn ang="0">
                      <a:pos x="183" y="47"/>
                    </a:cxn>
                    <a:cxn ang="0">
                      <a:pos x="254" y="5"/>
                    </a:cxn>
                    <a:cxn ang="0">
                      <a:pos x="315" y="0"/>
                    </a:cxn>
                    <a:cxn ang="0">
                      <a:pos x="336" y="19"/>
                    </a:cxn>
                    <a:cxn ang="0">
                      <a:pos x="367" y="38"/>
                    </a:cxn>
                    <a:cxn ang="0">
                      <a:pos x="393" y="47"/>
                    </a:cxn>
                    <a:cxn ang="0">
                      <a:pos x="416" y="52"/>
                    </a:cxn>
                    <a:cxn ang="0">
                      <a:pos x="470" y="47"/>
                    </a:cxn>
                    <a:cxn ang="0">
                      <a:pos x="533" y="36"/>
                    </a:cxn>
                    <a:cxn ang="0">
                      <a:pos x="560" y="27"/>
                    </a:cxn>
                    <a:cxn ang="0">
                      <a:pos x="585" y="24"/>
                    </a:cxn>
                    <a:cxn ang="0">
                      <a:pos x="602" y="43"/>
                    </a:cxn>
                  </a:cxnLst>
                  <a:rect l="0" t="0" r="r" b="b"/>
                  <a:pathLst>
                    <a:path w="656" h="299">
                      <a:moveTo>
                        <a:pt x="611" y="47"/>
                      </a:moveTo>
                      <a:lnTo>
                        <a:pt x="611" y="47"/>
                      </a:lnTo>
                      <a:lnTo>
                        <a:pt x="609" y="47"/>
                      </a:lnTo>
                      <a:lnTo>
                        <a:pt x="609" y="47"/>
                      </a:lnTo>
                      <a:lnTo>
                        <a:pt x="609" y="50"/>
                      </a:lnTo>
                      <a:lnTo>
                        <a:pt x="609" y="50"/>
                      </a:lnTo>
                      <a:lnTo>
                        <a:pt x="616" y="57"/>
                      </a:lnTo>
                      <a:lnTo>
                        <a:pt x="620" y="62"/>
                      </a:lnTo>
                      <a:lnTo>
                        <a:pt x="620" y="67"/>
                      </a:lnTo>
                      <a:lnTo>
                        <a:pt x="620" y="67"/>
                      </a:lnTo>
                      <a:lnTo>
                        <a:pt x="616" y="76"/>
                      </a:lnTo>
                      <a:lnTo>
                        <a:pt x="614" y="80"/>
                      </a:lnTo>
                      <a:lnTo>
                        <a:pt x="614" y="85"/>
                      </a:lnTo>
                      <a:lnTo>
                        <a:pt x="614" y="85"/>
                      </a:lnTo>
                      <a:lnTo>
                        <a:pt x="616" y="88"/>
                      </a:lnTo>
                      <a:lnTo>
                        <a:pt x="618" y="92"/>
                      </a:lnTo>
                      <a:lnTo>
                        <a:pt x="618" y="92"/>
                      </a:lnTo>
                      <a:lnTo>
                        <a:pt x="616" y="94"/>
                      </a:lnTo>
                      <a:lnTo>
                        <a:pt x="616" y="95"/>
                      </a:lnTo>
                      <a:lnTo>
                        <a:pt x="616" y="95"/>
                      </a:lnTo>
                      <a:lnTo>
                        <a:pt x="625" y="97"/>
                      </a:lnTo>
                      <a:lnTo>
                        <a:pt x="632" y="99"/>
                      </a:lnTo>
                      <a:lnTo>
                        <a:pt x="640" y="101"/>
                      </a:lnTo>
                      <a:lnTo>
                        <a:pt x="644" y="101"/>
                      </a:lnTo>
                      <a:lnTo>
                        <a:pt x="647" y="104"/>
                      </a:lnTo>
                      <a:lnTo>
                        <a:pt x="647" y="104"/>
                      </a:lnTo>
                      <a:lnTo>
                        <a:pt x="656" y="114"/>
                      </a:lnTo>
                      <a:lnTo>
                        <a:pt x="656" y="114"/>
                      </a:lnTo>
                      <a:lnTo>
                        <a:pt x="654" y="114"/>
                      </a:lnTo>
                      <a:lnTo>
                        <a:pt x="653" y="114"/>
                      </a:lnTo>
                      <a:lnTo>
                        <a:pt x="653" y="114"/>
                      </a:lnTo>
                      <a:lnTo>
                        <a:pt x="649" y="111"/>
                      </a:lnTo>
                      <a:lnTo>
                        <a:pt x="647" y="111"/>
                      </a:lnTo>
                      <a:lnTo>
                        <a:pt x="646" y="113"/>
                      </a:lnTo>
                      <a:lnTo>
                        <a:pt x="646" y="114"/>
                      </a:lnTo>
                      <a:lnTo>
                        <a:pt x="644" y="121"/>
                      </a:lnTo>
                      <a:lnTo>
                        <a:pt x="644" y="127"/>
                      </a:lnTo>
                      <a:lnTo>
                        <a:pt x="644" y="127"/>
                      </a:lnTo>
                      <a:lnTo>
                        <a:pt x="640" y="128"/>
                      </a:lnTo>
                      <a:lnTo>
                        <a:pt x="635" y="128"/>
                      </a:lnTo>
                      <a:lnTo>
                        <a:pt x="632" y="128"/>
                      </a:lnTo>
                      <a:lnTo>
                        <a:pt x="630" y="128"/>
                      </a:lnTo>
                      <a:lnTo>
                        <a:pt x="630" y="130"/>
                      </a:lnTo>
                      <a:lnTo>
                        <a:pt x="630" y="130"/>
                      </a:lnTo>
                      <a:lnTo>
                        <a:pt x="630" y="134"/>
                      </a:lnTo>
                      <a:lnTo>
                        <a:pt x="634" y="135"/>
                      </a:lnTo>
                      <a:lnTo>
                        <a:pt x="635" y="139"/>
                      </a:lnTo>
                      <a:lnTo>
                        <a:pt x="635" y="142"/>
                      </a:lnTo>
                      <a:lnTo>
                        <a:pt x="635" y="142"/>
                      </a:lnTo>
                      <a:lnTo>
                        <a:pt x="634" y="148"/>
                      </a:lnTo>
                      <a:lnTo>
                        <a:pt x="634" y="148"/>
                      </a:lnTo>
                      <a:lnTo>
                        <a:pt x="635" y="151"/>
                      </a:lnTo>
                      <a:lnTo>
                        <a:pt x="637" y="153"/>
                      </a:lnTo>
                      <a:lnTo>
                        <a:pt x="639" y="154"/>
                      </a:lnTo>
                      <a:lnTo>
                        <a:pt x="639" y="156"/>
                      </a:lnTo>
                      <a:lnTo>
                        <a:pt x="639" y="156"/>
                      </a:lnTo>
                      <a:lnTo>
                        <a:pt x="639" y="165"/>
                      </a:lnTo>
                      <a:lnTo>
                        <a:pt x="639" y="175"/>
                      </a:lnTo>
                      <a:lnTo>
                        <a:pt x="639" y="175"/>
                      </a:lnTo>
                      <a:lnTo>
                        <a:pt x="640" y="177"/>
                      </a:lnTo>
                      <a:lnTo>
                        <a:pt x="642" y="177"/>
                      </a:lnTo>
                      <a:lnTo>
                        <a:pt x="644" y="177"/>
                      </a:lnTo>
                      <a:lnTo>
                        <a:pt x="646" y="181"/>
                      </a:lnTo>
                      <a:lnTo>
                        <a:pt x="646" y="181"/>
                      </a:lnTo>
                      <a:lnTo>
                        <a:pt x="644" y="186"/>
                      </a:lnTo>
                      <a:lnTo>
                        <a:pt x="640" y="191"/>
                      </a:lnTo>
                      <a:lnTo>
                        <a:pt x="637" y="195"/>
                      </a:lnTo>
                      <a:lnTo>
                        <a:pt x="635" y="200"/>
                      </a:lnTo>
                      <a:lnTo>
                        <a:pt x="635" y="200"/>
                      </a:lnTo>
                      <a:lnTo>
                        <a:pt x="644" y="203"/>
                      </a:lnTo>
                      <a:lnTo>
                        <a:pt x="647" y="207"/>
                      </a:lnTo>
                      <a:lnTo>
                        <a:pt x="651" y="208"/>
                      </a:lnTo>
                      <a:lnTo>
                        <a:pt x="651" y="208"/>
                      </a:lnTo>
                      <a:lnTo>
                        <a:pt x="649" y="219"/>
                      </a:lnTo>
                      <a:lnTo>
                        <a:pt x="651" y="222"/>
                      </a:lnTo>
                      <a:lnTo>
                        <a:pt x="654" y="228"/>
                      </a:lnTo>
                      <a:lnTo>
                        <a:pt x="656" y="235"/>
                      </a:lnTo>
                      <a:lnTo>
                        <a:pt x="656" y="235"/>
                      </a:lnTo>
                      <a:lnTo>
                        <a:pt x="653" y="235"/>
                      </a:lnTo>
                      <a:lnTo>
                        <a:pt x="649" y="236"/>
                      </a:lnTo>
                      <a:lnTo>
                        <a:pt x="649" y="236"/>
                      </a:lnTo>
                      <a:lnTo>
                        <a:pt x="637" y="243"/>
                      </a:lnTo>
                      <a:lnTo>
                        <a:pt x="637" y="243"/>
                      </a:lnTo>
                      <a:lnTo>
                        <a:pt x="637" y="242"/>
                      </a:lnTo>
                      <a:lnTo>
                        <a:pt x="635" y="240"/>
                      </a:lnTo>
                      <a:lnTo>
                        <a:pt x="637" y="235"/>
                      </a:lnTo>
                      <a:lnTo>
                        <a:pt x="637" y="229"/>
                      </a:lnTo>
                      <a:lnTo>
                        <a:pt x="635" y="229"/>
                      </a:lnTo>
                      <a:lnTo>
                        <a:pt x="632" y="228"/>
                      </a:lnTo>
                      <a:lnTo>
                        <a:pt x="632" y="228"/>
                      </a:lnTo>
                      <a:lnTo>
                        <a:pt x="628" y="228"/>
                      </a:lnTo>
                      <a:lnTo>
                        <a:pt x="625" y="231"/>
                      </a:lnTo>
                      <a:lnTo>
                        <a:pt x="621" y="233"/>
                      </a:lnTo>
                      <a:lnTo>
                        <a:pt x="614" y="231"/>
                      </a:lnTo>
                      <a:lnTo>
                        <a:pt x="614" y="231"/>
                      </a:lnTo>
                      <a:lnTo>
                        <a:pt x="607" y="228"/>
                      </a:lnTo>
                      <a:lnTo>
                        <a:pt x="602" y="226"/>
                      </a:lnTo>
                      <a:lnTo>
                        <a:pt x="599" y="224"/>
                      </a:lnTo>
                      <a:lnTo>
                        <a:pt x="599" y="224"/>
                      </a:lnTo>
                      <a:lnTo>
                        <a:pt x="595" y="226"/>
                      </a:lnTo>
                      <a:lnTo>
                        <a:pt x="595" y="226"/>
                      </a:lnTo>
                      <a:lnTo>
                        <a:pt x="592" y="228"/>
                      </a:lnTo>
                      <a:lnTo>
                        <a:pt x="592" y="228"/>
                      </a:lnTo>
                      <a:lnTo>
                        <a:pt x="588" y="226"/>
                      </a:lnTo>
                      <a:lnTo>
                        <a:pt x="588" y="226"/>
                      </a:lnTo>
                      <a:lnTo>
                        <a:pt x="587" y="224"/>
                      </a:lnTo>
                      <a:lnTo>
                        <a:pt x="587" y="224"/>
                      </a:lnTo>
                      <a:lnTo>
                        <a:pt x="585" y="226"/>
                      </a:lnTo>
                      <a:lnTo>
                        <a:pt x="585" y="226"/>
                      </a:lnTo>
                      <a:lnTo>
                        <a:pt x="578" y="233"/>
                      </a:lnTo>
                      <a:lnTo>
                        <a:pt x="571" y="238"/>
                      </a:lnTo>
                      <a:lnTo>
                        <a:pt x="571" y="238"/>
                      </a:lnTo>
                      <a:lnTo>
                        <a:pt x="571" y="235"/>
                      </a:lnTo>
                      <a:lnTo>
                        <a:pt x="571" y="231"/>
                      </a:lnTo>
                      <a:lnTo>
                        <a:pt x="571" y="231"/>
                      </a:lnTo>
                      <a:lnTo>
                        <a:pt x="567" y="229"/>
                      </a:lnTo>
                      <a:lnTo>
                        <a:pt x="567" y="228"/>
                      </a:lnTo>
                      <a:lnTo>
                        <a:pt x="566" y="228"/>
                      </a:lnTo>
                      <a:lnTo>
                        <a:pt x="566" y="228"/>
                      </a:lnTo>
                      <a:lnTo>
                        <a:pt x="557" y="235"/>
                      </a:lnTo>
                      <a:lnTo>
                        <a:pt x="545" y="238"/>
                      </a:lnTo>
                      <a:lnTo>
                        <a:pt x="545" y="238"/>
                      </a:lnTo>
                      <a:lnTo>
                        <a:pt x="538" y="238"/>
                      </a:lnTo>
                      <a:lnTo>
                        <a:pt x="531" y="238"/>
                      </a:lnTo>
                      <a:lnTo>
                        <a:pt x="522" y="236"/>
                      </a:lnTo>
                      <a:lnTo>
                        <a:pt x="515" y="238"/>
                      </a:lnTo>
                      <a:lnTo>
                        <a:pt x="515" y="238"/>
                      </a:lnTo>
                      <a:lnTo>
                        <a:pt x="501" y="242"/>
                      </a:lnTo>
                      <a:lnTo>
                        <a:pt x="489" y="249"/>
                      </a:lnTo>
                      <a:lnTo>
                        <a:pt x="475" y="255"/>
                      </a:lnTo>
                      <a:lnTo>
                        <a:pt x="468" y="257"/>
                      </a:lnTo>
                      <a:lnTo>
                        <a:pt x="459" y="259"/>
                      </a:lnTo>
                      <a:lnTo>
                        <a:pt x="459" y="259"/>
                      </a:lnTo>
                      <a:lnTo>
                        <a:pt x="451" y="257"/>
                      </a:lnTo>
                      <a:lnTo>
                        <a:pt x="444" y="255"/>
                      </a:lnTo>
                      <a:lnTo>
                        <a:pt x="438" y="250"/>
                      </a:lnTo>
                      <a:lnTo>
                        <a:pt x="432" y="247"/>
                      </a:lnTo>
                      <a:lnTo>
                        <a:pt x="432" y="247"/>
                      </a:lnTo>
                      <a:lnTo>
                        <a:pt x="428" y="247"/>
                      </a:lnTo>
                      <a:lnTo>
                        <a:pt x="423" y="247"/>
                      </a:lnTo>
                      <a:lnTo>
                        <a:pt x="414" y="252"/>
                      </a:lnTo>
                      <a:lnTo>
                        <a:pt x="405" y="257"/>
                      </a:lnTo>
                      <a:lnTo>
                        <a:pt x="398" y="261"/>
                      </a:lnTo>
                      <a:lnTo>
                        <a:pt x="398" y="261"/>
                      </a:lnTo>
                      <a:lnTo>
                        <a:pt x="393" y="259"/>
                      </a:lnTo>
                      <a:lnTo>
                        <a:pt x="390" y="259"/>
                      </a:lnTo>
                      <a:lnTo>
                        <a:pt x="388" y="259"/>
                      </a:lnTo>
                      <a:lnTo>
                        <a:pt x="388" y="259"/>
                      </a:lnTo>
                      <a:lnTo>
                        <a:pt x="379" y="254"/>
                      </a:lnTo>
                      <a:lnTo>
                        <a:pt x="371" y="250"/>
                      </a:lnTo>
                      <a:lnTo>
                        <a:pt x="371" y="250"/>
                      </a:lnTo>
                      <a:lnTo>
                        <a:pt x="369" y="254"/>
                      </a:lnTo>
                      <a:lnTo>
                        <a:pt x="367" y="261"/>
                      </a:lnTo>
                      <a:lnTo>
                        <a:pt x="369" y="271"/>
                      </a:lnTo>
                      <a:lnTo>
                        <a:pt x="369" y="271"/>
                      </a:lnTo>
                      <a:lnTo>
                        <a:pt x="371" y="275"/>
                      </a:lnTo>
                      <a:lnTo>
                        <a:pt x="372" y="276"/>
                      </a:lnTo>
                      <a:lnTo>
                        <a:pt x="372" y="278"/>
                      </a:lnTo>
                      <a:lnTo>
                        <a:pt x="372" y="278"/>
                      </a:lnTo>
                      <a:lnTo>
                        <a:pt x="371" y="280"/>
                      </a:lnTo>
                      <a:lnTo>
                        <a:pt x="367" y="280"/>
                      </a:lnTo>
                      <a:lnTo>
                        <a:pt x="362" y="280"/>
                      </a:lnTo>
                      <a:lnTo>
                        <a:pt x="362" y="280"/>
                      </a:lnTo>
                      <a:lnTo>
                        <a:pt x="357" y="289"/>
                      </a:lnTo>
                      <a:lnTo>
                        <a:pt x="355" y="296"/>
                      </a:lnTo>
                      <a:lnTo>
                        <a:pt x="353" y="299"/>
                      </a:lnTo>
                      <a:lnTo>
                        <a:pt x="353" y="299"/>
                      </a:lnTo>
                      <a:lnTo>
                        <a:pt x="351" y="297"/>
                      </a:lnTo>
                      <a:lnTo>
                        <a:pt x="350" y="296"/>
                      </a:lnTo>
                      <a:lnTo>
                        <a:pt x="346" y="294"/>
                      </a:lnTo>
                      <a:lnTo>
                        <a:pt x="346" y="294"/>
                      </a:lnTo>
                      <a:lnTo>
                        <a:pt x="348" y="289"/>
                      </a:lnTo>
                      <a:lnTo>
                        <a:pt x="346" y="285"/>
                      </a:lnTo>
                      <a:lnTo>
                        <a:pt x="341" y="278"/>
                      </a:lnTo>
                      <a:lnTo>
                        <a:pt x="341" y="278"/>
                      </a:lnTo>
                      <a:lnTo>
                        <a:pt x="341" y="276"/>
                      </a:lnTo>
                      <a:lnTo>
                        <a:pt x="341" y="273"/>
                      </a:lnTo>
                      <a:lnTo>
                        <a:pt x="346" y="269"/>
                      </a:lnTo>
                      <a:lnTo>
                        <a:pt x="353" y="262"/>
                      </a:lnTo>
                      <a:lnTo>
                        <a:pt x="355" y="259"/>
                      </a:lnTo>
                      <a:lnTo>
                        <a:pt x="355" y="254"/>
                      </a:lnTo>
                      <a:lnTo>
                        <a:pt x="355" y="254"/>
                      </a:lnTo>
                      <a:lnTo>
                        <a:pt x="353" y="247"/>
                      </a:lnTo>
                      <a:lnTo>
                        <a:pt x="351" y="247"/>
                      </a:lnTo>
                      <a:lnTo>
                        <a:pt x="350" y="247"/>
                      </a:lnTo>
                      <a:lnTo>
                        <a:pt x="343" y="250"/>
                      </a:lnTo>
                      <a:lnTo>
                        <a:pt x="332" y="261"/>
                      </a:lnTo>
                      <a:lnTo>
                        <a:pt x="332" y="261"/>
                      </a:lnTo>
                      <a:lnTo>
                        <a:pt x="327" y="264"/>
                      </a:lnTo>
                      <a:lnTo>
                        <a:pt x="322" y="264"/>
                      </a:lnTo>
                      <a:lnTo>
                        <a:pt x="318" y="261"/>
                      </a:lnTo>
                      <a:lnTo>
                        <a:pt x="313" y="257"/>
                      </a:lnTo>
                      <a:lnTo>
                        <a:pt x="310" y="254"/>
                      </a:lnTo>
                      <a:lnTo>
                        <a:pt x="303" y="254"/>
                      </a:lnTo>
                      <a:lnTo>
                        <a:pt x="296" y="257"/>
                      </a:lnTo>
                      <a:lnTo>
                        <a:pt x="287" y="266"/>
                      </a:lnTo>
                      <a:lnTo>
                        <a:pt x="287" y="266"/>
                      </a:lnTo>
                      <a:lnTo>
                        <a:pt x="280" y="275"/>
                      </a:lnTo>
                      <a:lnTo>
                        <a:pt x="273" y="278"/>
                      </a:lnTo>
                      <a:lnTo>
                        <a:pt x="268" y="282"/>
                      </a:lnTo>
                      <a:lnTo>
                        <a:pt x="264" y="283"/>
                      </a:lnTo>
                      <a:lnTo>
                        <a:pt x="254" y="285"/>
                      </a:lnTo>
                      <a:lnTo>
                        <a:pt x="242" y="289"/>
                      </a:lnTo>
                      <a:lnTo>
                        <a:pt x="242" y="289"/>
                      </a:lnTo>
                      <a:lnTo>
                        <a:pt x="235" y="290"/>
                      </a:lnTo>
                      <a:lnTo>
                        <a:pt x="230" y="289"/>
                      </a:lnTo>
                      <a:lnTo>
                        <a:pt x="226" y="285"/>
                      </a:lnTo>
                      <a:lnTo>
                        <a:pt x="221" y="280"/>
                      </a:lnTo>
                      <a:lnTo>
                        <a:pt x="214" y="273"/>
                      </a:lnTo>
                      <a:lnTo>
                        <a:pt x="207" y="266"/>
                      </a:lnTo>
                      <a:lnTo>
                        <a:pt x="196" y="259"/>
                      </a:lnTo>
                      <a:lnTo>
                        <a:pt x="184" y="252"/>
                      </a:lnTo>
                      <a:lnTo>
                        <a:pt x="184" y="252"/>
                      </a:lnTo>
                      <a:lnTo>
                        <a:pt x="172" y="249"/>
                      </a:lnTo>
                      <a:lnTo>
                        <a:pt x="163" y="249"/>
                      </a:lnTo>
                      <a:lnTo>
                        <a:pt x="158" y="252"/>
                      </a:lnTo>
                      <a:lnTo>
                        <a:pt x="156" y="255"/>
                      </a:lnTo>
                      <a:lnTo>
                        <a:pt x="156" y="268"/>
                      </a:lnTo>
                      <a:lnTo>
                        <a:pt x="156" y="273"/>
                      </a:lnTo>
                      <a:lnTo>
                        <a:pt x="155" y="276"/>
                      </a:lnTo>
                      <a:lnTo>
                        <a:pt x="155" y="276"/>
                      </a:lnTo>
                      <a:lnTo>
                        <a:pt x="151" y="278"/>
                      </a:lnTo>
                      <a:lnTo>
                        <a:pt x="149" y="278"/>
                      </a:lnTo>
                      <a:lnTo>
                        <a:pt x="148" y="276"/>
                      </a:lnTo>
                      <a:lnTo>
                        <a:pt x="146" y="276"/>
                      </a:lnTo>
                      <a:lnTo>
                        <a:pt x="142" y="276"/>
                      </a:lnTo>
                      <a:lnTo>
                        <a:pt x="139" y="278"/>
                      </a:lnTo>
                      <a:lnTo>
                        <a:pt x="134" y="282"/>
                      </a:lnTo>
                      <a:lnTo>
                        <a:pt x="134" y="282"/>
                      </a:lnTo>
                      <a:lnTo>
                        <a:pt x="132" y="283"/>
                      </a:lnTo>
                      <a:lnTo>
                        <a:pt x="127" y="285"/>
                      </a:lnTo>
                      <a:lnTo>
                        <a:pt x="123" y="283"/>
                      </a:lnTo>
                      <a:lnTo>
                        <a:pt x="120" y="282"/>
                      </a:lnTo>
                      <a:lnTo>
                        <a:pt x="111" y="275"/>
                      </a:lnTo>
                      <a:lnTo>
                        <a:pt x="108" y="269"/>
                      </a:lnTo>
                      <a:lnTo>
                        <a:pt x="106" y="264"/>
                      </a:lnTo>
                      <a:lnTo>
                        <a:pt x="106" y="264"/>
                      </a:lnTo>
                      <a:lnTo>
                        <a:pt x="104" y="259"/>
                      </a:lnTo>
                      <a:lnTo>
                        <a:pt x="102" y="257"/>
                      </a:lnTo>
                      <a:lnTo>
                        <a:pt x="101" y="257"/>
                      </a:lnTo>
                      <a:lnTo>
                        <a:pt x="99" y="257"/>
                      </a:lnTo>
                      <a:lnTo>
                        <a:pt x="95" y="259"/>
                      </a:lnTo>
                      <a:lnTo>
                        <a:pt x="92" y="259"/>
                      </a:lnTo>
                      <a:lnTo>
                        <a:pt x="89" y="255"/>
                      </a:lnTo>
                      <a:lnTo>
                        <a:pt x="89" y="255"/>
                      </a:lnTo>
                      <a:lnTo>
                        <a:pt x="85" y="254"/>
                      </a:lnTo>
                      <a:lnTo>
                        <a:pt x="82" y="254"/>
                      </a:lnTo>
                      <a:lnTo>
                        <a:pt x="78" y="255"/>
                      </a:lnTo>
                      <a:lnTo>
                        <a:pt x="75" y="257"/>
                      </a:lnTo>
                      <a:lnTo>
                        <a:pt x="69" y="262"/>
                      </a:lnTo>
                      <a:lnTo>
                        <a:pt x="68" y="262"/>
                      </a:lnTo>
                      <a:lnTo>
                        <a:pt x="68" y="261"/>
                      </a:lnTo>
                      <a:lnTo>
                        <a:pt x="68" y="261"/>
                      </a:lnTo>
                      <a:lnTo>
                        <a:pt x="68" y="257"/>
                      </a:lnTo>
                      <a:lnTo>
                        <a:pt x="64" y="257"/>
                      </a:lnTo>
                      <a:lnTo>
                        <a:pt x="57" y="257"/>
                      </a:lnTo>
                      <a:lnTo>
                        <a:pt x="50" y="259"/>
                      </a:lnTo>
                      <a:lnTo>
                        <a:pt x="47" y="259"/>
                      </a:lnTo>
                      <a:lnTo>
                        <a:pt x="45" y="257"/>
                      </a:lnTo>
                      <a:lnTo>
                        <a:pt x="45" y="257"/>
                      </a:lnTo>
                      <a:lnTo>
                        <a:pt x="45" y="255"/>
                      </a:lnTo>
                      <a:lnTo>
                        <a:pt x="45" y="254"/>
                      </a:lnTo>
                      <a:lnTo>
                        <a:pt x="54" y="254"/>
                      </a:lnTo>
                      <a:lnTo>
                        <a:pt x="62" y="252"/>
                      </a:lnTo>
                      <a:lnTo>
                        <a:pt x="66" y="250"/>
                      </a:lnTo>
                      <a:lnTo>
                        <a:pt x="69" y="247"/>
                      </a:lnTo>
                      <a:lnTo>
                        <a:pt x="69" y="247"/>
                      </a:lnTo>
                      <a:lnTo>
                        <a:pt x="71" y="243"/>
                      </a:lnTo>
                      <a:lnTo>
                        <a:pt x="69" y="243"/>
                      </a:lnTo>
                      <a:lnTo>
                        <a:pt x="59" y="243"/>
                      </a:lnTo>
                      <a:lnTo>
                        <a:pt x="47" y="245"/>
                      </a:lnTo>
                      <a:lnTo>
                        <a:pt x="43" y="243"/>
                      </a:lnTo>
                      <a:lnTo>
                        <a:pt x="40" y="242"/>
                      </a:lnTo>
                      <a:lnTo>
                        <a:pt x="40" y="242"/>
                      </a:lnTo>
                      <a:lnTo>
                        <a:pt x="38" y="238"/>
                      </a:lnTo>
                      <a:lnTo>
                        <a:pt x="40" y="236"/>
                      </a:lnTo>
                      <a:lnTo>
                        <a:pt x="43" y="236"/>
                      </a:lnTo>
                      <a:lnTo>
                        <a:pt x="48" y="236"/>
                      </a:lnTo>
                      <a:lnTo>
                        <a:pt x="48" y="235"/>
                      </a:lnTo>
                      <a:lnTo>
                        <a:pt x="48" y="233"/>
                      </a:lnTo>
                      <a:lnTo>
                        <a:pt x="48" y="233"/>
                      </a:lnTo>
                      <a:lnTo>
                        <a:pt x="48" y="229"/>
                      </a:lnTo>
                      <a:lnTo>
                        <a:pt x="47" y="228"/>
                      </a:lnTo>
                      <a:lnTo>
                        <a:pt x="43" y="226"/>
                      </a:lnTo>
                      <a:lnTo>
                        <a:pt x="40" y="226"/>
                      </a:lnTo>
                      <a:lnTo>
                        <a:pt x="40" y="222"/>
                      </a:lnTo>
                      <a:lnTo>
                        <a:pt x="40" y="222"/>
                      </a:lnTo>
                      <a:lnTo>
                        <a:pt x="40" y="217"/>
                      </a:lnTo>
                      <a:lnTo>
                        <a:pt x="38" y="214"/>
                      </a:lnTo>
                      <a:lnTo>
                        <a:pt x="36" y="210"/>
                      </a:lnTo>
                      <a:lnTo>
                        <a:pt x="40" y="203"/>
                      </a:lnTo>
                      <a:lnTo>
                        <a:pt x="40" y="203"/>
                      </a:lnTo>
                      <a:lnTo>
                        <a:pt x="42" y="200"/>
                      </a:lnTo>
                      <a:lnTo>
                        <a:pt x="42" y="198"/>
                      </a:lnTo>
                      <a:lnTo>
                        <a:pt x="40" y="196"/>
                      </a:lnTo>
                      <a:lnTo>
                        <a:pt x="38" y="196"/>
                      </a:lnTo>
                      <a:lnTo>
                        <a:pt x="31" y="195"/>
                      </a:lnTo>
                      <a:lnTo>
                        <a:pt x="29" y="193"/>
                      </a:lnTo>
                      <a:lnTo>
                        <a:pt x="26" y="191"/>
                      </a:lnTo>
                      <a:lnTo>
                        <a:pt x="26" y="191"/>
                      </a:lnTo>
                      <a:lnTo>
                        <a:pt x="24" y="188"/>
                      </a:lnTo>
                      <a:lnTo>
                        <a:pt x="21" y="189"/>
                      </a:lnTo>
                      <a:lnTo>
                        <a:pt x="19" y="189"/>
                      </a:lnTo>
                      <a:lnTo>
                        <a:pt x="14" y="188"/>
                      </a:lnTo>
                      <a:lnTo>
                        <a:pt x="14" y="188"/>
                      </a:lnTo>
                      <a:lnTo>
                        <a:pt x="10" y="184"/>
                      </a:lnTo>
                      <a:lnTo>
                        <a:pt x="8" y="179"/>
                      </a:lnTo>
                      <a:lnTo>
                        <a:pt x="10" y="170"/>
                      </a:lnTo>
                      <a:lnTo>
                        <a:pt x="10" y="167"/>
                      </a:lnTo>
                      <a:lnTo>
                        <a:pt x="14" y="165"/>
                      </a:lnTo>
                      <a:lnTo>
                        <a:pt x="15" y="167"/>
                      </a:lnTo>
                      <a:lnTo>
                        <a:pt x="17" y="170"/>
                      </a:lnTo>
                      <a:lnTo>
                        <a:pt x="17" y="170"/>
                      </a:lnTo>
                      <a:lnTo>
                        <a:pt x="21" y="175"/>
                      </a:lnTo>
                      <a:lnTo>
                        <a:pt x="22" y="179"/>
                      </a:lnTo>
                      <a:lnTo>
                        <a:pt x="26" y="179"/>
                      </a:lnTo>
                      <a:lnTo>
                        <a:pt x="29" y="179"/>
                      </a:lnTo>
                      <a:lnTo>
                        <a:pt x="31" y="177"/>
                      </a:lnTo>
                      <a:lnTo>
                        <a:pt x="31" y="174"/>
                      </a:lnTo>
                      <a:lnTo>
                        <a:pt x="29" y="172"/>
                      </a:lnTo>
                      <a:lnTo>
                        <a:pt x="24" y="168"/>
                      </a:lnTo>
                      <a:lnTo>
                        <a:pt x="24" y="168"/>
                      </a:lnTo>
                      <a:lnTo>
                        <a:pt x="21" y="167"/>
                      </a:lnTo>
                      <a:lnTo>
                        <a:pt x="21" y="163"/>
                      </a:lnTo>
                      <a:lnTo>
                        <a:pt x="26" y="160"/>
                      </a:lnTo>
                      <a:lnTo>
                        <a:pt x="31" y="154"/>
                      </a:lnTo>
                      <a:lnTo>
                        <a:pt x="31" y="154"/>
                      </a:lnTo>
                      <a:lnTo>
                        <a:pt x="29" y="153"/>
                      </a:lnTo>
                      <a:lnTo>
                        <a:pt x="29" y="153"/>
                      </a:lnTo>
                      <a:lnTo>
                        <a:pt x="26" y="153"/>
                      </a:lnTo>
                      <a:lnTo>
                        <a:pt x="24" y="151"/>
                      </a:lnTo>
                      <a:lnTo>
                        <a:pt x="26" y="148"/>
                      </a:lnTo>
                      <a:lnTo>
                        <a:pt x="26" y="142"/>
                      </a:lnTo>
                      <a:lnTo>
                        <a:pt x="26" y="139"/>
                      </a:lnTo>
                      <a:lnTo>
                        <a:pt x="24" y="137"/>
                      </a:lnTo>
                      <a:lnTo>
                        <a:pt x="24" y="137"/>
                      </a:lnTo>
                      <a:lnTo>
                        <a:pt x="22" y="134"/>
                      </a:lnTo>
                      <a:lnTo>
                        <a:pt x="22" y="130"/>
                      </a:lnTo>
                      <a:lnTo>
                        <a:pt x="26" y="125"/>
                      </a:lnTo>
                      <a:lnTo>
                        <a:pt x="28" y="121"/>
                      </a:lnTo>
                      <a:lnTo>
                        <a:pt x="28" y="120"/>
                      </a:lnTo>
                      <a:lnTo>
                        <a:pt x="26" y="120"/>
                      </a:lnTo>
                      <a:lnTo>
                        <a:pt x="19" y="121"/>
                      </a:lnTo>
                      <a:lnTo>
                        <a:pt x="19" y="121"/>
                      </a:lnTo>
                      <a:lnTo>
                        <a:pt x="8" y="125"/>
                      </a:lnTo>
                      <a:lnTo>
                        <a:pt x="1" y="125"/>
                      </a:lnTo>
                      <a:lnTo>
                        <a:pt x="1" y="123"/>
                      </a:lnTo>
                      <a:lnTo>
                        <a:pt x="0" y="121"/>
                      </a:lnTo>
                      <a:lnTo>
                        <a:pt x="1" y="111"/>
                      </a:lnTo>
                      <a:lnTo>
                        <a:pt x="1" y="111"/>
                      </a:lnTo>
                      <a:lnTo>
                        <a:pt x="3" y="104"/>
                      </a:lnTo>
                      <a:lnTo>
                        <a:pt x="5" y="101"/>
                      </a:lnTo>
                      <a:lnTo>
                        <a:pt x="8" y="101"/>
                      </a:lnTo>
                      <a:lnTo>
                        <a:pt x="12" y="95"/>
                      </a:lnTo>
                      <a:lnTo>
                        <a:pt x="12" y="95"/>
                      </a:lnTo>
                      <a:lnTo>
                        <a:pt x="17" y="88"/>
                      </a:lnTo>
                      <a:lnTo>
                        <a:pt x="22" y="83"/>
                      </a:lnTo>
                      <a:lnTo>
                        <a:pt x="28" y="80"/>
                      </a:lnTo>
                      <a:lnTo>
                        <a:pt x="33" y="78"/>
                      </a:lnTo>
                      <a:lnTo>
                        <a:pt x="36" y="78"/>
                      </a:lnTo>
                      <a:lnTo>
                        <a:pt x="40" y="80"/>
                      </a:lnTo>
                      <a:lnTo>
                        <a:pt x="43" y="81"/>
                      </a:lnTo>
                      <a:lnTo>
                        <a:pt x="45" y="83"/>
                      </a:lnTo>
                      <a:lnTo>
                        <a:pt x="45" y="83"/>
                      </a:lnTo>
                      <a:lnTo>
                        <a:pt x="47" y="85"/>
                      </a:lnTo>
                      <a:lnTo>
                        <a:pt x="48" y="87"/>
                      </a:lnTo>
                      <a:lnTo>
                        <a:pt x="54" y="87"/>
                      </a:lnTo>
                      <a:lnTo>
                        <a:pt x="57" y="85"/>
                      </a:lnTo>
                      <a:lnTo>
                        <a:pt x="57" y="83"/>
                      </a:lnTo>
                      <a:lnTo>
                        <a:pt x="55" y="80"/>
                      </a:lnTo>
                      <a:lnTo>
                        <a:pt x="55" y="80"/>
                      </a:lnTo>
                      <a:lnTo>
                        <a:pt x="55" y="78"/>
                      </a:lnTo>
                      <a:lnTo>
                        <a:pt x="55" y="76"/>
                      </a:lnTo>
                      <a:lnTo>
                        <a:pt x="61" y="74"/>
                      </a:lnTo>
                      <a:lnTo>
                        <a:pt x="68" y="74"/>
                      </a:lnTo>
                      <a:lnTo>
                        <a:pt x="68" y="76"/>
                      </a:lnTo>
                      <a:lnTo>
                        <a:pt x="68" y="78"/>
                      </a:lnTo>
                      <a:lnTo>
                        <a:pt x="68" y="78"/>
                      </a:lnTo>
                      <a:lnTo>
                        <a:pt x="69" y="80"/>
                      </a:lnTo>
                      <a:lnTo>
                        <a:pt x="73" y="81"/>
                      </a:lnTo>
                      <a:lnTo>
                        <a:pt x="85" y="85"/>
                      </a:lnTo>
                      <a:lnTo>
                        <a:pt x="97" y="85"/>
                      </a:lnTo>
                      <a:lnTo>
                        <a:pt x="104" y="83"/>
                      </a:lnTo>
                      <a:lnTo>
                        <a:pt x="104" y="83"/>
                      </a:lnTo>
                      <a:lnTo>
                        <a:pt x="104" y="80"/>
                      </a:lnTo>
                      <a:lnTo>
                        <a:pt x="102" y="78"/>
                      </a:lnTo>
                      <a:lnTo>
                        <a:pt x="97" y="76"/>
                      </a:lnTo>
                      <a:lnTo>
                        <a:pt x="95" y="74"/>
                      </a:lnTo>
                      <a:lnTo>
                        <a:pt x="97" y="73"/>
                      </a:lnTo>
                      <a:lnTo>
                        <a:pt x="115" y="69"/>
                      </a:lnTo>
                      <a:lnTo>
                        <a:pt x="115" y="69"/>
                      </a:lnTo>
                      <a:lnTo>
                        <a:pt x="129" y="66"/>
                      </a:lnTo>
                      <a:lnTo>
                        <a:pt x="129" y="66"/>
                      </a:lnTo>
                      <a:lnTo>
                        <a:pt x="127" y="66"/>
                      </a:lnTo>
                      <a:lnTo>
                        <a:pt x="120" y="64"/>
                      </a:lnTo>
                      <a:lnTo>
                        <a:pt x="116" y="62"/>
                      </a:lnTo>
                      <a:lnTo>
                        <a:pt x="113" y="60"/>
                      </a:lnTo>
                      <a:lnTo>
                        <a:pt x="113" y="60"/>
                      </a:lnTo>
                      <a:lnTo>
                        <a:pt x="109" y="57"/>
                      </a:lnTo>
                      <a:lnTo>
                        <a:pt x="106" y="55"/>
                      </a:lnTo>
                      <a:lnTo>
                        <a:pt x="104" y="54"/>
                      </a:lnTo>
                      <a:lnTo>
                        <a:pt x="106" y="50"/>
                      </a:lnTo>
                      <a:lnTo>
                        <a:pt x="106" y="50"/>
                      </a:lnTo>
                      <a:lnTo>
                        <a:pt x="108" y="45"/>
                      </a:lnTo>
                      <a:lnTo>
                        <a:pt x="111" y="41"/>
                      </a:lnTo>
                      <a:lnTo>
                        <a:pt x="116" y="41"/>
                      </a:lnTo>
                      <a:lnTo>
                        <a:pt x="125" y="43"/>
                      </a:lnTo>
                      <a:lnTo>
                        <a:pt x="125" y="43"/>
                      </a:lnTo>
                      <a:lnTo>
                        <a:pt x="136" y="45"/>
                      </a:lnTo>
                      <a:lnTo>
                        <a:pt x="142" y="43"/>
                      </a:lnTo>
                      <a:lnTo>
                        <a:pt x="149" y="43"/>
                      </a:lnTo>
                      <a:lnTo>
                        <a:pt x="160" y="45"/>
                      </a:lnTo>
                      <a:lnTo>
                        <a:pt x="160" y="45"/>
                      </a:lnTo>
                      <a:lnTo>
                        <a:pt x="170" y="48"/>
                      </a:lnTo>
                      <a:lnTo>
                        <a:pt x="177" y="48"/>
                      </a:lnTo>
                      <a:lnTo>
                        <a:pt x="183" y="47"/>
                      </a:lnTo>
                      <a:lnTo>
                        <a:pt x="186" y="41"/>
                      </a:lnTo>
                      <a:lnTo>
                        <a:pt x="186" y="41"/>
                      </a:lnTo>
                      <a:lnTo>
                        <a:pt x="191" y="36"/>
                      </a:lnTo>
                      <a:lnTo>
                        <a:pt x="202" y="27"/>
                      </a:lnTo>
                      <a:lnTo>
                        <a:pt x="217" y="17"/>
                      </a:lnTo>
                      <a:lnTo>
                        <a:pt x="242" y="6"/>
                      </a:lnTo>
                      <a:lnTo>
                        <a:pt x="242" y="6"/>
                      </a:lnTo>
                      <a:lnTo>
                        <a:pt x="254" y="5"/>
                      </a:lnTo>
                      <a:lnTo>
                        <a:pt x="264" y="3"/>
                      </a:lnTo>
                      <a:lnTo>
                        <a:pt x="275" y="3"/>
                      </a:lnTo>
                      <a:lnTo>
                        <a:pt x="282" y="5"/>
                      </a:lnTo>
                      <a:lnTo>
                        <a:pt x="296" y="6"/>
                      </a:lnTo>
                      <a:lnTo>
                        <a:pt x="303" y="5"/>
                      </a:lnTo>
                      <a:lnTo>
                        <a:pt x="310" y="1"/>
                      </a:lnTo>
                      <a:lnTo>
                        <a:pt x="310" y="1"/>
                      </a:lnTo>
                      <a:lnTo>
                        <a:pt x="315" y="0"/>
                      </a:lnTo>
                      <a:lnTo>
                        <a:pt x="317" y="0"/>
                      </a:lnTo>
                      <a:lnTo>
                        <a:pt x="318" y="3"/>
                      </a:lnTo>
                      <a:lnTo>
                        <a:pt x="318" y="8"/>
                      </a:lnTo>
                      <a:lnTo>
                        <a:pt x="320" y="13"/>
                      </a:lnTo>
                      <a:lnTo>
                        <a:pt x="322" y="17"/>
                      </a:lnTo>
                      <a:lnTo>
                        <a:pt x="327" y="19"/>
                      </a:lnTo>
                      <a:lnTo>
                        <a:pt x="336" y="19"/>
                      </a:lnTo>
                      <a:lnTo>
                        <a:pt x="336" y="19"/>
                      </a:lnTo>
                      <a:lnTo>
                        <a:pt x="344" y="17"/>
                      </a:lnTo>
                      <a:lnTo>
                        <a:pt x="350" y="19"/>
                      </a:lnTo>
                      <a:lnTo>
                        <a:pt x="353" y="22"/>
                      </a:lnTo>
                      <a:lnTo>
                        <a:pt x="355" y="27"/>
                      </a:lnTo>
                      <a:lnTo>
                        <a:pt x="357" y="33"/>
                      </a:lnTo>
                      <a:lnTo>
                        <a:pt x="360" y="36"/>
                      </a:lnTo>
                      <a:lnTo>
                        <a:pt x="362" y="38"/>
                      </a:lnTo>
                      <a:lnTo>
                        <a:pt x="367" y="38"/>
                      </a:lnTo>
                      <a:lnTo>
                        <a:pt x="367" y="38"/>
                      </a:lnTo>
                      <a:lnTo>
                        <a:pt x="376" y="34"/>
                      </a:lnTo>
                      <a:lnTo>
                        <a:pt x="378" y="34"/>
                      </a:lnTo>
                      <a:lnTo>
                        <a:pt x="379" y="36"/>
                      </a:lnTo>
                      <a:lnTo>
                        <a:pt x="383" y="40"/>
                      </a:lnTo>
                      <a:lnTo>
                        <a:pt x="386" y="43"/>
                      </a:lnTo>
                      <a:lnTo>
                        <a:pt x="393" y="47"/>
                      </a:lnTo>
                      <a:lnTo>
                        <a:pt x="393" y="47"/>
                      </a:lnTo>
                      <a:lnTo>
                        <a:pt x="398" y="48"/>
                      </a:lnTo>
                      <a:lnTo>
                        <a:pt x="402" y="50"/>
                      </a:lnTo>
                      <a:lnTo>
                        <a:pt x="404" y="48"/>
                      </a:lnTo>
                      <a:lnTo>
                        <a:pt x="405" y="47"/>
                      </a:lnTo>
                      <a:lnTo>
                        <a:pt x="405" y="45"/>
                      </a:lnTo>
                      <a:lnTo>
                        <a:pt x="407" y="45"/>
                      </a:lnTo>
                      <a:lnTo>
                        <a:pt x="416" y="52"/>
                      </a:lnTo>
                      <a:lnTo>
                        <a:pt x="416" y="52"/>
                      </a:lnTo>
                      <a:lnTo>
                        <a:pt x="419" y="55"/>
                      </a:lnTo>
                      <a:lnTo>
                        <a:pt x="423" y="55"/>
                      </a:lnTo>
                      <a:lnTo>
                        <a:pt x="430" y="57"/>
                      </a:lnTo>
                      <a:lnTo>
                        <a:pt x="437" y="55"/>
                      </a:lnTo>
                      <a:lnTo>
                        <a:pt x="445" y="52"/>
                      </a:lnTo>
                      <a:lnTo>
                        <a:pt x="454" y="48"/>
                      </a:lnTo>
                      <a:lnTo>
                        <a:pt x="463" y="47"/>
                      </a:lnTo>
                      <a:lnTo>
                        <a:pt x="470" y="47"/>
                      </a:lnTo>
                      <a:lnTo>
                        <a:pt x="479" y="50"/>
                      </a:lnTo>
                      <a:lnTo>
                        <a:pt x="479" y="50"/>
                      </a:lnTo>
                      <a:lnTo>
                        <a:pt x="482" y="52"/>
                      </a:lnTo>
                      <a:lnTo>
                        <a:pt x="487" y="54"/>
                      </a:lnTo>
                      <a:lnTo>
                        <a:pt x="496" y="54"/>
                      </a:lnTo>
                      <a:lnTo>
                        <a:pt x="506" y="52"/>
                      </a:lnTo>
                      <a:lnTo>
                        <a:pt x="515" y="47"/>
                      </a:lnTo>
                      <a:lnTo>
                        <a:pt x="533" y="36"/>
                      </a:lnTo>
                      <a:lnTo>
                        <a:pt x="543" y="29"/>
                      </a:lnTo>
                      <a:lnTo>
                        <a:pt x="543" y="29"/>
                      </a:lnTo>
                      <a:lnTo>
                        <a:pt x="548" y="31"/>
                      </a:lnTo>
                      <a:lnTo>
                        <a:pt x="552" y="31"/>
                      </a:lnTo>
                      <a:lnTo>
                        <a:pt x="552" y="29"/>
                      </a:lnTo>
                      <a:lnTo>
                        <a:pt x="557" y="27"/>
                      </a:lnTo>
                      <a:lnTo>
                        <a:pt x="557" y="27"/>
                      </a:lnTo>
                      <a:lnTo>
                        <a:pt x="560" y="27"/>
                      </a:lnTo>
                      <a:lnTo>
                        <a:pt x="567" y="29"/>
                      </a:lnTo>
                      <a:lnTo>
                        <a:pt x="573" y="31"/>
                      </a:lnTo>
                      <a:lnTo>
                        <a:pt x="576" y="31"/>
                      </a:lnTo>
                      <a:lnTo>
                        <a:pt x="576" y="31"/>
                      </a:lnTo>
                      <a:lnTo>
                        <a:pt x="580" y="24"/>
                      </a:lnTo>
                      <a:lnTo>
                        <a:pt x="580" y="24"/>
                      </a:lnTo>
                      <a:lnTo>
                        <a:pt x="581" y="22"/>
                      </a:lnTo>
                      <a:lnTo>
                        <a:pt x="585" y="24"/>
                      </a:lnTo>
                      <a:lnTo>
                        <a:pt x="597" y="34"/>
                      </a:lnTo>
                      <a:lnTo>
                        <a:pt x="597" y="34"/>
                      </a:lnTo>
                      <a:lnTo>
                        <a:pt x="599" y="36"/>
                      </a:lnTo>
                      <a:lnTo>
                        <a:pt x="600" y="38"/>
                      </a:lnTo>
                      <a:lnTo>
                        <a:pt x="600" y="38"/>
                      </a:lnTo>
                      <a:lnTo>
                        <a:pt x="600" y="41"/>
                      </a:lnTo>
                      <a:lnTo>
                        <a:pt x="602" y="43"/>
                      </a:lnTo>
                      <a:lnTo>
                        <a:pt x="602" y="43"/>
                      </a:lnTo>
                      <a:lnTo>
                        <a:pt x="604" y="43"/>
                      </a:lnTo>
                      <a:lnTo>
                        <a:pt x="606" y="43"/>
                      </a:lnTo>
                      <a:lnTo>
                        <a:pt x="607" y="43"/>
                      </a:lnTo>
                      <a:lnTo>
                        <a:pt x="609" y="45"/>
                      </a:lnTo>
                      <a:lnTo>
                        <a:pt x="609" y="45"/>
                      </a:lnTo>
                      <a:lnTo>
                        <a:pt x="611" y="47"/>
                      </a:lnTo>
                      <a:lnTo>
                        <a:pt x="611" y="47"/>
                      </a:lnTo>
                      <a:close/>
                    </a:path>
                  </a:pathLst>
                </a:custGeom>
                <a:solidFill>
                  <a:schemeClr val="bg1">
                    <a:lumMod val="85000"/>
                  </a:scheme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8" name="Freeform 2218">
                  <a:extLst>
                    <a:ext uri="{FF2B5EF4-FFF2-40B4-BE49-F238E27FC236}">
                      <a16:creationId xmlns:a16="http://schemas.microsoft.com/office/drawing/2014/main" id="{E0A8DAB7-2373-1474-81A6-4592D92F5E2B}"/>
                    </a:ext>
                  </a:extLst>
                </p:cNvPr>
                <p:cNvSpPr>
                  <a:spLocks/>
                </p:cNvSpPr>
                <p:nvPr/>
              </p:nvSpPr>
              <p:spPr bwMode="auto">
                <a:xfrm>
                  <a:off x="5627173" y="3264275"/>
                  <a:ext cx="63432" cy="40527"/>
                </a:xfrm>
                <a:custGeom>
                  <a:avLst/>
                  <a:gdLst/>
                  <a:ahLst/>
                  <a:cxnLst>
                    <a:cxn ang="0">
                      <a:pos x="3" y="42"/>
                    </a:cxn>
                    <a:cxn ang="0">
                      <a:pos x="3" y="42"/>
                    </a:cxn>
                    <a:cxn ang="0">
                      <a:pos x="0" y="32"/>
                    </a:cxn>
                    <a:cxn ang="0">
                      <a:pos x="0" y="30"/>
                    </a:cxn>
                    <a:cxn ang="0">
                      <a:pos x="3" y="30"/>
                    </a:cxn>
                    <a:cxn ang="0">
                      <a:pos x="3" y="30"/>
                    </a:cxn>
                    <a:cxn ang="0">
                      <a:pos x="7" y="30"/>
                    </a:cxn>
                    <a:cxn ang="0">
                      <a:pos x="8" y="26"/>
                    </a:cxn>
                    <a:cxn ang="0">
                      <a:pos x="12" y="25"/>
                    </a:cxn>
                    <a:cxn ang="0">
                      <a:pos x="17" y="25"/>
                    </a:cxn>
                    <a:cxn ang="0">
                      <a:pos x="17" y="25"/>
                    </a:cxn>
                    <a:cxn ang="0">
                      <a:pos x="21" y="25"/>
                    </a:cxn>
                    <a:cxn ang="0">
                      <a:pos x="22" y="23"/>
                    </a:cxn>
                    <a:cxn ang="0">
                      <a:pos x="22" y="19"/>
                    </a:cxn>
                    <a:cxn ang="0">
                      <a:pos x="24" y="18"/>
                    </a:cxn>
                    <a:cxn ang="0">
                      <a:pos x="26" y="16"/>
                    </a:cxn>
                    <a:cxn ang="0">
                      <a:pos x="27" y="16"/>
                    </a:cxn>
                    <a:cxn ang="0">
                      <a:pos x="34" y="16"/>
                    </a:cxn>
                    <a:cxn ang="0">
                      <a:pos x="34" y="16"/>
                    </a:cxn>
                    <a:cxn ang="0">
                      <a:pos x="41" y="18"/>
                    </a:cxn>
                    <a:cxn ang="0">
                      <a:pos x="47" y="16"/>
                    </a:cxn>
                    <a:cxn ang="0">
                      <a:pos x="59" y="12"/>
                    </a:cxn>
                    <a:cxn ang="0">
                      <a:pos x="69" y="7"/>
                    </a:cxn>
                    <a:cxn ang="0">
                      <a:pos x="74" y="2"/>
                    </a:cxn>
                    <a:cxn ang="0">
                      <a:pos x="74" y="2"/>
                    </a:cxn>
                    <a:cxn ang="0">
                      <a:pos x="78" y="0"/>
                    </a:cxn>
                    <a:cxn ang="0">
                      <a:pos x="78" y="2"/>
                    </a:cxn>
                    <a:cxn ang="0">
                      <a:pos x="76" y="5"/>
                    </a:cxn>
                    <a:cxn ang="0">
                      <a:pos x="71" y="11"/>
                    </a:cxn>
                    <a:cxn ang="0">
                      <a:pos x="71" y="11"/>
                    </a:cxn>
                    <a:cxn ang="0">
                      <a:pos x="64" y="16"/>
                    </a:cxn>
                    <a:cxn ang="0">
                      <a:pos x="59" y="19"/>
                    </a:cxn>
                    <a:cxn ang="0">
                      <a:pos x="59" y="25"/>
                    </a:cxn>
                    <a:cxn ang="0">
                      <a:pos x="62" y="28"/>
                    </a:cxn>
                    <a:cxn ang="0">
                      <a:pos x="62" y="28"/>
                    </a:cxn>
                    <a:cxn ang="0">
                      <a:pos x="64" y="32"/>
                    </a:cxn>
                    <a:cxn ang="0">
                      <a:pos x="64" y="32"/>
                    </a:cxn>
                    <a:cxn ang="0">
                      <a:pos x="59" y="33"/>
                    </a:cxn>
                    <a:cxn ang="0">
                      <a:pos x="54" y="33"/>
                    </a:cxn>
                    <a:cxn ang="0">
                      <a:pos x="50" y="35"/>
                    </a:cxn>
                    <a:cxn ang="0">
                      <a:pos x="48" y="39"/>
                    </a:cxn>
                    <a:cxn ang="0">
                      <a:pos x="48" y="39"/>
                    </a:cxn>
                    <a:cxn ang="0">
                      <a:pos x="45" y="40"/>
                    </a:cxn>
                    <a:cxn ang="0">
                      <a:pos x="43" y="44"/>
                    </a:cxn>
                    <a:cxn ang="0">
                      <a:pos x="36" y="45"/>
                    </a:cxn>
                    <a:cxn ang="0">
                      <a:pos x="31" y="47"/>
                    </a:cxn>
                    <a:cxn ang="0">
                      <a:pos x="29" y="47"/>
                    </a:cxn>
                    <a:cxn ang="0">
                      <a:pos x="27" y="49"/>
                    </a:cxn>
                    <a:cxn ang="0">
                      <a:pos x="27" y="49"/>
                    </a:cxn>
                    <a:cxn ang="0">
                      <a:pos x="27" y="51"/>
                    </a:cxn>
                    <a:cxn ang="0">
                      <a:pos x="26" y="51"/>
                    </a:cxn>
                    <a:cxn ang="0">
                      <a:pos x="22" y="49"/>
                    </a:cxn>
                    <a:cxn ang="0">
                      <a:pos x="17" y="49"/>
                    </a:cxn>
                    <a:cxn ang="0">
                      <a:pos x="17" y="49"/>
                    </a:cxn>
                    <a:cxn ang="0">
                      <a:pos x="12" y="49"/>
                    </a:cxn>
                    <a:cxn ang="0">
                      <a:pos x="8" y="47"/>
                    </a:cxn>
                    <a:cxn ang="0">
                      <a:pos x="5" y="45"/>
                    </a:cxn>
                    <a:cxn ang="0">
                      <a:pos x="3" y="42"/>
                    </a:cxn>
                    <a:cxn ang="0">
                      <a:pos x="3" y="42"/>
                    </a:cxn>
                  </a:cxnLst>
                  <a:rect l="0" t="0" r="r" b="b"/>
                  <a:pathLst>
                    <a:path w="78" h="51">
                      <a:moveTo>
                        <a:pt x="3" y="42"/>
                      </a:moveTo>
                      <a:lnTo>
                        <a:pt x="3" y="42"/>
                      </a:lnTo>
                      <a:lnTo>
                        <a:pt x="0" y="32"/>
                      </a:lnTo>
                      <a:lnTo>
                        <a:pt x="0" y="30"/>
                      </a:lnTo>
                      <a:lnTo>
                        <a:pt x="3" y="30"/>
                      </a:lnTo>
                      <a:lnTo>
                        <a:pt x="3" y="30"/>
                      </a:lnTo>
                      <a:lnTo>
                        <a:pt x="7" y="30"/>
                      </a:lnTo>
                      <a:lnTo>
                        <a:pt x="8" y="26"/>
                      </a:lnTo>
                      <a:lnTo>
                        <a:pt x="12" y="25"/>
                      </a:lnTo>
                      <a:lnTo>
                        <a:pt x="17" y="25"/>
                      </a:lnTo>
                      <a:lnTo>
                        <a:pt x="17" y="25"/>
                      </a:lnTo>
                      <a:lnTo>
                        <a:pt x="21" y="25"/>
                      </a:lnTo>
                      <a:lnTo>
                        <a:pt x="22" y="23"/>
                      </a:lnTo>
                      <a:lnTo>
                        <a:pt x="22" y="19"/>
                      </a:lnTo>
                      <a:lnTo>
                        <a:pt x="24" y="18"/>
                      </a:lnTo>
                      <a:lnTo>
                        <a:pt x="26" y="16"/>
                      </a:lnTo>
                      <a:lnTo>
                        <a:pt x="27" y="16"/>
                      </a:lnTo>
                      <a:lnTo>
                        <a:pt x="34" y="16"/>
                      </a:lnTo>
                      <a:lnTo>
                        <a:pt x="34" y="16"/>
                      </a:lnTo>
                      <a:lnTo>
                        <a:pt x="41" y="18"/>
                      </a:lnTo>
                      <a:lnTo>
                        <a:pt x="47" y="16"/>
                      </a:lnTo>
                      <a:lnTo>
                        <a:pt x="59" y="12"/>
                      </a:lnTo>
                      <a:lnTo>
                        <a:pt x="69" y="7"/>
                      </a:lnTo>
                      <a:lnTo>
                        <a:pt x="74" y="2"/>
                      </a:lnTo>
                      <a:lnTo>
                        <a:pt x="74" y="2"/>
                      </a:lnTo>
                      <a:lnTo>
                        <a:pt x="78" y="0"/>
                      </a:lnTo>
                      <a:lnTo>
                        <a:pt x="78" y="2"/>
                      </a:lnTo>
                      <a:lnTo>
                        <a:pt x="76" y="5"/>
                      </a:lnTo>
                      <a:lnTo>
                        <a:pt x="71" y="11"/>
                      </a:lnTo>
                      <a:lnTo>
                        <a:pt x="71" y="11"/>
                      </a:lnTo>
                      <a:lnTo>
                        <a:pt x="64" y="16"/>
                      </a:lnTo>
                      <a:lnTo>
                        <a:pt x="59" y="19"/>
                      </a:lnTo>
                      <a:lnTo>
                        <a:pt x="59" y="25"/>
                      </a:lnTo>
                      <a:lnTo>
                        <a:pt x="62" y="28"/>
                      </a:lnTo>
                      <a:lnTo>
                        <a:pt x="62" y="28"/>
                      </a:lnTo>
                      <a:lnTo>
                        <a:pt x="64" y="32"/>
                      </a:lnTo>
                      <a:lnTo>
                        <a:pt x="64" y="32"/>
                      </a:lnTo>
                      <a:lnTo>
                        <a:pt x="59" y="33"/>
                      </a:lnTo>
                      <a:lnTo>
                        <a:pt x="54" y="33"/>
                      </a:lnTo>
                      <a:lnTo>
                        <a:pt x="50" y="35"/>
                      </a:lnTo>
                      <a:lnTo>
                        <a:pt x="48" y="39"/>
                      </a:lnTo>
                      <a:lnTo>
                        <a:pt x="48" y="39"/>
                      </a:lnTo>
                      <a:lnTo>
                        <a:pt x="45" y="40"/>
                      </a:lnTo>
                      <a:lnTo>
                        <a:pt x="43" y="44"/>
                      </a:lnTo>
                      <a:lnTo>
                        <a:pt x="36" y="45"/>
                      </a:lnTo>
                      <a:lnTo>
                        <a:pt x="31" y="47"/>
                      </a:lnTo>
                      <a:lnTo>
                        <a:pt x="29" y="47"/>
                      </a:lnTo>
                      <a:lnTo>
                        <a:pt x="27" y="49"/>
                      </a:lnTo>
                      <a:lnTo>
                        <a:pt x="27" y="49"/>
                      </a:lnTo>
                      <a:lnTo>
                        <a:pt x="27" y="51"/>
                      </a:lnTo>
                      <a:lnTo>
                        <a:pt x="26" y="51"/>
                      </a:lnTo>
                      <a:lnTo>
                        <a:pt x="22" y="49"/>
                      </a:lnTo>
                      <a:lnTo>
                        <a:pt x="17" y="49"/>
                      </a:lnTo>
                      <a:lnTo>
                        <a:pt x="17" y="49"/>
                      </a:lnTo>
                      <a:lnTo>
                        <a:pt x="12" y="49"/>
                      </a:lnTo>
                      <a:lnTo>
                        <a:pt x="8" y="47"/>
                      </a:lnTo>
                      <a:lnTo>
                        <a:pt x="5" y="45"/>
                      </a:lnTo>
                      <a:lnTo>
                        <a:pt x="3" y="42"/>
                      </a:lnTo>
                      <a:lnTo>
                        <a:pt x="3" y="4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429" name="Group 1028">
                  <a:extLst>
                    <a:ext uri="{FF2B5EF4-FFF2-40B4-BE49-F238E27FC236}">
                      <a16:creationId xmlns:a16="http://schemas.microsoft.com/office/drawing/2014/main" id="{104917E0-CFB5-EB5A-6B83-5033BB1A3880}"/>
                    </a:ext>
                  </a:extLst>
                </p:cNvPr>
                <p:cNvGrpSpPr/>
                <p:nvPr/>
              </p:nvGrpSpPr>
              <p:grpSpPr bwMode="auto">
                <a:xfrm>
                  <a:off x="5285365" y="3031690"/>
                  <a:ext cx="229061" cy="260776"/>
                  <a:chOff x="4591050" y="2930525"/>
                  <a:chExt cx="206375" cy="234950"/>
                </a:xfrm>
                <a:grpFill/>
              </p:grpSpPr>
              <p:sp>
                <p:nvSpPr>
                  <p:cNvPr id="447" name="Freeform 2220">
                    <a:extLst>
                      <a:ext uri="{FF2B5EF4-FFF2-40B4-BE49-F238E27FC236}">
                        <a16:creationId xmlns:a16="http://schemas.microsoft.com/office/drawing/2014/main" id="{35EDBD1B-32CB-B155-0B74-658DF024D627}"/>
                      </a:ext>
                    </a:extLst>
                  </p:cNvPr>
                  <p:cNvSpPr>
                    <a:spLocks/>
                  </p:cNvSpPr>
                  <p:nvPr/>
                </p:nvSpPr>
                <p:spPr bwMode="auto">
                  <a:xfrm>
                    <a:off x="4679950" y="3140075"/>
                    <a:ext cx="69850" cy="25400"/>
                  </a:xfrm>
                  <a:custGeom>
                    <a:avLst/>
                    <a:gdLst/>
                    <a:ahLst/>
                    <a:cxnLst>
                      <a:cxn ang="0">
                        <a:pos x="0" y="16"/>
                      </a:cxn>
                      <a:cxn ang="0">
                        <a:pos x="0" y="16"/>
                      </a:cxn>
                      <a:cxn ang="0">
                        <a:pos x="0" y="9"/>
                      </a:cxn>
                      <a:cxn ang="0">
                        <a:pos x="2" y="7"/>
                      </a:cxn>
                      <a:cxn ang="0">
                        <a:pos x="3" y="5"/>
                      </a:cxn>
                      <a:cxn ang="0">
                        <a:pos x="5" y="2"/>
                      </a:cxn>
                      <a:cxn ang="0">
                        <a:pos x="5" y="2"/>
                      </a:cxn>
                      <a:cxn ang="0">
                        <a:pos x="7" y="0"/>
                      </a:cxn>
                      <a:cxn ang="0">
                        <a:pos x="7" y="0"/>
                      </a:cxn>
                      <a:cxn ang="0">
                        <a:pos x="10" y="2"/>
                      </a:cxn>
                      <a:cxn ang="0">
                        <a:pos x="14" y="5"/>
                      </a:cxn>
                      <a:cxn ang="0">
                        <a:pos x="16" y="5"/>
                      </a:cxn>
                      <a:cxn ang="0">
                        <a:pos x="17" y="5"/>
                      </a:cxn>
                      <a:cxn ang="0">
                        <a:pos x="17" y="5"/>
                      </a:cxn>
                      <a:cxn ang="0">
                        <a:pos x="19" y="3"/>
                      </a:cxn>
                      <a:cxn ang="0">
                        <a:pos x="21" y="3"/>
                      </a:cxn>
                      <a:cxn ang="0">
                        <a:pos x="24" y="9"/>
                      </a:cxn>
                      <a:cxn ang="0">
                        <a:pos x="26" y="12"/>
                      </a:cxn>
                      <a:cxn ang="0">
                        <a:pos x="30" y="14"/>
                      </a:cxn>
                      <a:cxn ang="0">
                        <a:pos x="33" y="12"/>
                      </a:cxn>
                      <a:cxn ang="0">
                        <a:pos x="33" y="12"/>
                      </a:cxn>
                      <a:cxn ang="0">
                        <a:pos x="40" y="12"/>
                      </a:cxn>
                      <a:cxn ang="0">
                        <a:pos x="45" y="12"/>
                      </a:cxn>
                      <a:cxn ang="0">
                        <a:pos x="54" y="14"/>
                      </a:cxn>
                      <a:cxn ang="0">
                        <a:pos x="61" y="16"/>
                      </a:cxn>
                      <a:cxn ang="0">
                        <a:pos x="64" y="16"/>
                      </a:cxn>
                      <a:cxn ang="0">
                        <a:pos x="70" y="16"/>
                      </a:cxn>
                      <a:cxn ang="0">
                        <a:pos x="70" y="16"/>
                      </a:cxn>
                      <a:cxn ang="0">
                        <a:pos x="75" y="16"/>
                      </a:cxn>
                      <a:cxn ang="0">
                        <a:pos x="77" y="17"/>
                      </a:cxn>
                      <a:cxn ang="0">
                        <a:pos x="78" y="21"/>
                      </a:cxn>
                      <a:cxn ang="0">
                        <a:pos x="78" y="24"/>
                      </a:cxn>
                      <a:cxn ang="0">
                        <a:pos x="80" y="24"/>
                      </a:cxn>
                      <a:cxn ang="0">
                        <a:pos x="83" y="23"/>
                      </a:cxn>
                      <a:cxn ang="0">
                        <a:pos x="83" y="23"/>
                      </a:cxn>
                      <a:cxn ang="0">
                        <a:pos x="89" y="19"/>
                      </a:cxn>
                      <a:cxn ang="0">
                        <a:pos x="94" y="19"/>
                      </a:cxn>
                      <a:cxn ang="0">
                        <a:pos x="96" y="21"/>
                      </a:cxn>
                      <a:cxn ang="0">
                        <a:pos x="97" y="23"/>
                      </a:cxn>
                      <a:cxn ang="0">
                        <a:pos x="97" y="24"/>
                      </a:cxn>
                      <a:cxn ang="0">
                        <a:pos x="94" y="28"/>
                      </a:cxn>
                      <a:cxn ang="0">
                        <a:pos x="90" y="30"/>
                      </a:cxn>
                      <a:cxn ang="0">
                        <a:pos x="83" y="30"/>
                      </a:cxn>
                      <a:cxn ang="0">
                        <a:pos x="83" y="30"/>
                      </a:cxn>
                      <a:cxn ang="0">
                        <a:pos x="70" y="31"/>
                      </a:cxn>
                      <a:cxn ang="0">
                        <a:pos x="59" y="33"/>
                      </a:cxn>
                      <a:cxn ang="0">
                        <a:pos x="49" y="33"/>
                      </a:cxn>
                      <a:cxn ang="0">
                        <a:pos x="43" y="31"/>
                      </a:cxn>
                      <a:cxn ang="0">
                        <a:pos x="40" y="30"/>
                      </a:cxn>
                      <a:cxn ang="0">
                        <a:pos x="40" y="30"/>
                      </a:cxn>
                      <a:cxn ang="0">
                        <a:pos x="33" y="24"/>
                      </a:cxn>
                      <a:cxn ang="0">
                        <a:pos x="26" y="23"/>
                      </a:cxn>
                      <a:cxn ang="0">
                        <a:pos x="14" y="21"/>
                      </a:cxn>
                      <a:cxn ang="0">
                        <a:pos x="3" y="21"/>
                      </a:cxn>
                      <a:cxn ang="0">
                        <a:pos x="2" y="19"/>
                      </a:cxn>
                      <a:cxn ang="0">
                        <a:pos x="0" y="16"/>
                      </a:cxn>
                      <a:cxn ang="0">
                        <a:pos x="0" y="16"/>
                      </a:cxn>
                    </a:cxnLst>
                    <a:rect l="0" t="0" r="r" b="b"/>
                    <a:pathLst>
                      <a:path w="97" h="33">
                        <a:moveTo>
                          <a:pt x="0" y="16"/>
                        </a:moveTo>
                        <a:lnTo>
                          <a:pt x="0" y="16"/>
                        </a:lnTo>
                        <a:lnTo>
                          <a:pt x="0" y="9"/>
                        </a:lnTo>
                        <a:lnTo>
                          <a:pt x="2" y="7"/>
                        </a:lnTo>
                        <a:lnTo>
                          <a:pt x="3" y="5"/>
                        </a:lnTo>
                        <a:lnTo>
                          <a:pt x="5" y="2"/>
                        </a:lnTo>
                        <a:lnTo>
                          <a:pt x="5" y="2"/>
                        </a:lnTo>
                        <a:lnTo>
                          <a:pt x="7" y="0"/>
                        </a:lnTo>
                        <a:lnTo>
                          <a:pt x="7" y="0"/>
                        </a:lnTo>
                        <a:lnTo>
                          <a:pt x="10" y="2"/>
                        </a:lnTo>
                        <a:lnTo>
                          <a:pt x="14" y="5"/>
                        </a:lnTo>
                        <a:lnTo>
                          <a:pt x="16" y="5"/>
                        </a:lnTo>
                        <a:lnTo>
                          <a:pt x="17" y="5"/>
                        </a:lnTo>
                        <a:lnTo>
                          <a:pt x="17" y="5"/>
                        </a:lnTo>
                        <a:lnTo>
                          <a:pt x="19" y="3"/>
                        </a:lnTo>
                        <a:lnTo>
                          <a:pt x="21" y="3"/>
                        </a:lnTo>
                        <a:lnTo>
                          <a:pt x="24" y="9"/>
                        </a:lnTo>
                        <a:lnTo>
                          <a:pt x="26" y="12"/>
                        </a:lnTo>
                        <a:lnTo>
                          <a:pt x="30" y="14"/>
                        </a:lnTo>
                        <a:lnTo>
                          <a:pt x="33" y="12"/>
                        </a:lnTo>
                        <a:lnTo>
                          <a:pt x="33" y="12"/>
                        </a:lnTo>
                        <a:lnTo>
                          <a:pt x="40" y="12"/>
                        </a:lnTo>
                        <a:lnTo>
                          <a:pt x="45" y="12"/>
                        </a:lnTo>
                        <a:lnTo>
                          <a:pt x="54" y="14"/>
                        </a:lnTo>
                        <a:lnTo>
                          <a:pt x="61" y="16"/>
                        </a:lnTo>
                        <a:lnTo>
                          <a:pt x="64" y="16"/>
                        </a:lnTo>
                        <a:lnTo>
                          <a:pt x="70" y="16"/>
                        </a:lnTo>
                        <a:lnTo>
                          <a:pt x="70" y="16"/>
                        </a:lnTo>
                        <a:lnTo>
                          <a:pt x="75" y="16"/>
                        </a:lnTo>
                        <a:lnTo>
                          <a:pt x="77" y="17"/>
                        </a:lnTo>
                        <a:lnTo>
                          <a:pt x="78" y="21"/>
                        </a:lnTo>
                        <a:lnTo>
                          <a:pt x="78" y="24"/>
                        </a:lnTo>
                        <a:lnTo>
                          <a:pt x="80" y="24"/>
                        </a:lnTo>
                        <a:lnTo>
                          <a:pt x="83" y="23"/>
                        </a:lnTo>
                        <a:lnTo>
                          <a:pt x="83" y="23"/>
                        </a:lnTo>
                        <a:lnTo>
                          <a:pt x="89" y="19"/>
                        </a:lnTo>
                        <a:lnTo>
                          <a:pt x="94" y="19"/>
                        </a:lnTo>
                        <a:lnTo>
                          <a:pt x="96" y="21"/>
                        </a:lnTo>
                        <a:lnTo>
                          <a:pt x="97" y="23"/>
                        </a:lnTo>
                        <a:lnTo>
                          <a:pt x="97" y="24"/>
                        </a:lnTo>
                        <a:lnTo>
                          <a:pt x="94" y="28"/>
                        </a:lnTo>
                        <a:lnTo>
                          <a:pt x="90" y="30"/>
                        </a:lnTo>
                        <a:lnTo>
                          <a:pt x="83" y="30"/>
                        </a:lnTo>
                        <a:lnTo>
                          <a:pt x="83" y="30"/>
                        </a:lnTo>
                        <a:lnTo>
                          <a:pt x="70" y="31"/>
                        </a:lnTo>
                        <a:lnTo>
                          <a:pt x="59" y="33"/>
                        </a:lnTo>
                        <a:lnTo>
                          <a:pt x="49" y="33"/>
                        </a:lnTo>
                        <a:lnTo>
                          <a:pt x="43" y="31"/>
                        </a:lnTo>
                        <a:lnTo>
                          <a:pt x="40" y="30"/>
                        </a:lnTo>
                        <a:lnTo>
                          <a:pt x="40" y="30"/>
                        </a:lnTo>
                        <a:lnTo>
                          <a:pt x="33" y="24"/>
                        </a:lnTo>
                        <a:lnTo>
                          <a:pt x="26" y="23"/>
                        </a:lnTo>
                        <a:lnTo>
                          <a:pt x="14" y="21"/>
                        </a:lnTo>
                        <a:lnTo>
                          <a:pt x="3" y="21"/>
                        </a:lnTo>
                        <a:lnTo>
                          <a:pt x="2" y="19"/>
                        </a:lnTo>
                        <a:lnTo>
                          <a:pt x="0" y="16"/>
                        </a:lnTo>
                        <a:lnTo>
                          <a:pt x="0"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8" name="Freeform 2221">
                    <a:extLst>
                      <a:ext uri="{FF2B5EF4-FFF2-40B4-BE49-F238E27FC236}">
                        <a16:creationId xmlns:a16="http://schemas.microsoft.com/office/drawing/2014/main" id="{EBB55FF7-2597-59BB-D516-8AD80FDC8731}"/>
                      </a:ext>
                    </a:extLst>
                  </p:cNvPr>
                  <p:cNvSpPr>
                    <a:spLocks noEditPoints="1"/>
                  </p:cNvSpPr>
                  <p:nvPr/>
                </p:nvSpPr>
                <p:spPr bwMode="auto">
                  <a:xfrm>
                    <a:off x="4591050" y="2930525"/>
                    <a:ext cx="166688" cy="185738"/>
                  </a:xfrm>
                  <a:custGeom>
                    <a:avLst/>
                    <a:gdLst/>
                    <a:ahLst/>
                    <a:cxnLst>
                      <a:cxn ang="0">
                        <a:pos x="115" y="134"/>
                      </a:cxn>
                      <a:cxn ang="0">
                        <a:pos x="143" y="150"/>
                      </a:cxn>
                      <a:cxn ang="0">
                        <a:pos x="157" y="176"/>
                      </a:cxn>
                      <a:cxn ang="0">
                        <a:pos x="139" y="164"/>
                      </a:cxn>
                      <a:cxn ang="0">
                        <a:pos x="118" y="148"/>
                      </a:cxn>
                      <a:cxn ang="0">
                        <a:pos x="10" y="166"/>
                      </a:cxn>
                      <a:cxn ang="0">
                        <a:pos x="19" y="167"/>
                      </a:cxn>
                      <a:cxn ang="0">
                        <a:pos x="21" y="176"/>
                      </a:cxn>
                      <a:cxn ang="0">
                        <a:pos x="31" y="44"/>
                      </a:cxn>
                      <a:cxn ang="0">
                        <a:pos x="30" y="61"/>
                      </a:cxn>
                      <a:cxn ang="0">
                        <a:pos x="19" y="80"/>
                      </a:cxn>
                      <a:cxn ang="0">
                        <a:pos x="10" y="92"/>
                      </a:cxn>
                      <a:cxn ang="0">
                        <a:pos x="7" y="115"/>
                      </a:cxn>
                      <a:cxn ang="0">
                        <a:pos x="24" y="133"/>
                      </a:cxn>
                      <a:cxn ang="0">
                        <a:pos x="30" y="138"/>
                      </a:cxn>
                      <a:cxn ang="0">
                        <a:pos x="37" y="167"/>
                      </a:cxn>
                      <a:cxn ang="0">
                        <a:pos x="59" y="162"/>
                      </a:cxn>
                      <a:cxn ang="0">
                        <a:pos x="85" y="164"/>
                      </a:cxn>
                      <a:cxn ang="0">
                        <a:pos x="110" y="174"/>
                      </a:cxn>
                      <a:cxn ang="0">
                        <a:pos x="78" y="173"/>
                      </a:cxn>
                      <a:cxn ang="0">
                        <a:pos x="54" y="173"/>
                      </a:cxn>
                      <a:cxn ang="0">
                        <a:pos x="40" y="183"/>
                      </a:cxn>
                      <a:cxn ang="0">
                        <a:pos x="42" y="199"/>
                      </a:cxn>
                      <a:cxn ang="0">
                        <a:pos x="52" y="218"/>
                      </a:cxn>
                      <a:cxn ang="0">
                        <a:pos x="64" y="237"/>
                      </a:cxn>
                      <a:cxn ang="0">
                        <a:pos x="78" y="237"/>
                      </a:cxn>
                      <a:cxn ang="0">
                        <a:pos x="87" y="242"/>
                      </a:cxn>
                      <a:cxn ang="0">
                        <a:pos x="104" y="254"/>
                      </a:cxn>
                      <a:cxn ang="0">
                        <a:pos x="94" y="209"/>
                      </a:cxn>
                      <a:cxn ang="0">
                        <a:pos x="104" y="207"/>
                      </a:cxn>
                      <a:cxn ang="0">
                        <a:pos x="120" y="209"/>
                      </a:cxn>
                      <a:cxn ang="0">
                        <a:pos x="108" y="197"/>
                      </a:cxn>
                      <a:cxn ang="0">
                        <a:pos x="118" y="180"/>
                      </a:cxn>
                      <a:cxn ang="0">
                        <a:pos x="139" y="197"/>
                      </a:cxn>
                      <a:cxn ang="0">
                        <a:pos x="139" y="176"/>
                      </a:cxn>
                      <a:cxn ang="0">
                        <a:pos x="124" y="160"/>
                      </a:cxn>
                      <a:cxn ang="0">
                        <a:pos x="104" y="146"/>
                      </a:cxn>
                      <a:cxn ang="0">
                        <a:pos x="101" y="133"/>
                      </a:cxn>
                      <a:cxn ang="0">
                        <a:pos x="104" y="119"/>
                      </a:cxn>
                      <a:cxn ang="0">
                        <a:pos x="111" y="126"/>
                      </a:cxn>
                      <a:cxn ang="0">
                        <a:pos x="87" y="77"/>
                      </a:cxn>
                      <a:cxn ang="0">
                        <a:pos x="99" y="56"/>
                      </a:cxn>
                      <a:cxn ang="0">
                        <a:pos x="110" y="72"/>
                      </a:cxn>
                      <a:cxn ang="0">
                        <a:pos x="124" y="89"/>
                      </a:cxn>
                      <a:cxn ang="0">
                        <a:pos x="118" y="73"/>
                      </a:cxn>
                      <a:cxn ang="0">
                        <a:pos x="139" y="84"/>
                      </a:cxn>
                      <a:cxn ang="0">
                        <a:pos x="143" y="75"/>
                      </a:cxn>
                      <a:cxn ang="0">
                        <a:pos x="136" y="65"/>
                      </a:cxn>
                      <a:cxn ang="0">
                        <a:pos x="129" y="52"/>
                      </a:cxn>
                      <a:cxn ang="0">
                        <a:pos x="155" y="40"/>
                      </a:cxn>
                      <a:cxn ang="0">
                        <a:pos x="178" y="39"/>
                      </a:cxn>
                      <a:cxn ang="0">
                        <a:pos x="207" y="44"/>
                      </a:cxn>
                      <a:cxn ang="0">
                        <a:pos x="219" y="28"/>
                      </a:cxn>
                      <a:cxn ang="0">
                        <a:pos x="219" y="2"/>
                      </a:cxn>
                      <a:cxn ang="0">
                        <a:pos x="212" y="18"/>
                      </a:cxn>
                      <a:cxn ang="0">
                        <a:pos x="179" y="23"/>
                      </a:cxn>
                      <a:cxn ang="0">
                        <a:pos x="164" y="18"/>
                      </a:cxn>
                      <a:cxn ang="0">
                        <a:pos x="148" y="11"/>
                      </a:cxn>
                      <a:cxn ang="0">
                        <a:pos x="120" y="18"/>
                      </a:cxn>
                      <a:cxn ang="0">
                        <a:pos x="101" y="19"/>
                      </a:cxn>
                      <a:cxn ang="0">
                        <a:pos x="77" y="30"/>
                      </a:cxn>
                      <a:cxn ang="0">
                        <a:pos x="57" y="40"/>
                      </a:cxn>
                    </a:cxnLst>
                    <a:rect l="0" t="0" r="r" b="b"/>
                    <a:pathLst>
                      <a:path w="230" h="256">
                        <a:moveTo>
                          <a:pt x="98" y="141"/>
                        </a:moveTo>
                        <a:lnTo>
                          <a:pt x="98" y="141"/>
                        </a:lnTo>
                        <a:lnTo>
                          <a:pt x="98" y="139"/>
                        </a:lnTo>
                        <a:lnTo>
                          <a:pt x="99" y="138"/>
                        </a:lnTo>
                        <a:lnTo>
                          <a:pt x="104" y="134"/>
                        </a:lnTo>
                        <a:lnTo>
                          <a:pt x="111" y="134"/>
                        </a:lnTo>
                        <a:lnTo>
                          <a:pt x="115" y="134"/>
                        </a:lnTo>
                        <a:lnTo>
                          <a:pt x="117" y="136"/>
                        </a:lnTo>
                        <a:lnTo>
                          <a:pt x="117" y="136"/>
                        </a:lnTo>
                        <a:lnTo>
                          <a:pt x="124" y="141"/>
                        </a:lnTo>
                        <a:lnTo>
                          <a:pt x="129" y="145"/>
                        </a:lnTo>
                        <a:lnTo>
                          <a:pt x="136" y="146"/>
                        </a:lnTo>
                        <a:lnTo>
                          <a:pt x="141" y="148"/>
                        </a:lnTo>
                        <a:lnTo>
                          <a:pt x="143" y="150"/>
                        </a:lnTo>
                        <a:lnTo>
                          <a:pt x="143" y="152"/>
                        </a:lnTo>
                        <a:lnTo>
                          <a:pt x="143" y="152"/>
                        </a:lnTo>
                        <a:lnTo>
                          <a:pt x="146" y="166"/>
                        </a:lnTo>
                        <a:lnTo>
                          <a:pt x="148" y="169"/>
                        </a:lnTo>
                        <a:lnTo>
                          <a:pt x="153" y="173"/>
                        </a:lnTo>
                        <a:lnTo>
                          <a:pt x="153" y="173"/>
                        </a:lnTo>
                        <a:lnTo>
                          <a:pt x="157" y="176"/>
                        </a:lnTo>
                        <a:lnTo>
                          <a:pt x="158" y="180"/>
                        </a:lnTo>
                        <a:lnTo>
                          <a:pt x="157" y="183"/>
                        </a:lnTo>
                        <a:lnTo>
                          <a:pt x="153" y="183"/>
                        </a:lnTo>
                        <a:lnTo>
                          <a:pt x="153" y="183"/>
                        </a:lnTo>
                        <a:lnTo>
                          <a:pt x="148" y="178"/>
                        </a:lnTo>
                        <a:lnTo>
                          <a:pt x="145" y="171"/>
                        </a:lnTo>
                        <a:lnTo>
                          <a:pt x="139" y="164"/>
                        </a:lnTo>
                        <a:lnTo>
                          <a:pt x="136" y="162"/>
                        </a:lnTo>
                        <a:lnTo>
                          <a:pt x="132" y="162"/>
                        </a:lnTo>
                        <a:lnTo>
                          <a:pt x="132" y="162"/>
                        </a:lnTo>
                        <a:lnTo>
                          <a:pt x="127" y="160"/>
                        </a:lnTo>
                        <a:lnTo>
                          <a:pt x="125" y="157"/>
                        </a:lnTo>
                        <a:lnTo>
                          <a:pt x="124" y="153"/>
                        </a:lnTo>
                        <a:lnTo>
                          <a:pt x="118" y="148"/>
                        </a:lnTo>
                        <a:lnTo>
                          <a:pt x="118" y="148"/>
                        </a:lnTo>
                        <a:lnTo>
                          <a:pt x="104" y="141"/>
                        </a:lnTo>
                        <a:lnTo>
                          <a:pt x="98" y="141"/>
                        </a:lnTo>
                        <a:lnTo>
                          <a:pt x="98" y="141"/>
                        </a:lnTo>
                        <a:close/>
                        <a:moveTo>
                          <a:pt x="10" y="169"/>
                        </a:moveTo>
                        <a:lnTo>
                          <a:pt x="10" y="169"/>
                        </a:lnTo>
                        <a:lnTo>
                          <a:pt x="10" y="166"/>
                        </a:lnTo>
                        <a:lnTo>
                          <a:pt x="12" y="164"/>
                        </a:lnTo>
                        <a:lnTo>
                          <a:pt x="14" y="164"/>
                        </a:lnTo>
                        <a:lnTo>
                          <a:pt x="16" y="162"/>
                        </a:lnTo>
                        <a:lnTo>
                          <a:pt x="16" y="162"/>
                        </a:lnTo>
                        <a:lnTo>
                          <a:pt x="17" y="160"/>
                        </a:lnTo>
                        <a:lnTo>
                          <a:pt x="17" y="164"/>
                        </a:lnTo>
                        <a:lnTo>
                          <a:pt x="19" y="167"/>
                        </a:lnTo>
                        <a:lnTo>
                          <a:pt x="23" y="171"/>
                        </a:lnTo>
                        <a:lnTo>
                          <a:pt x="23" y="171"/>
                        </a:lnTo>
                        <a:lnTo>
                          <a:pt x="24" y="174"/>
                        </a:lnTo>
                        <a:lnTo>
                          <a:pt x="24" y="176"/>
                        </a:lnTo>
                        <a:lnTo>
                          <a:pt x="24" y="178"/>
                        </a:lnTo>
                        <a:lnTo>
                          <a:pt x="21" y="176"/>
                        </a:lnTo>
                        <a:lnTo>
                          <a:pt x="21" y="176"/>
                        </a:lnTo>
                        <a:lnTo>
                          <a:pt x="17" y="174"/>
                        </a:lnTo>
                        <a:lnTo>
                          <a:pt x="14" y="174"/>
                        </a:lnTo>
                        <a:lnTo>
                          <a:pt x="10" y="173"/>
                        </a:lnTo>
                        <a:lnTo>
                          <a:pt x="10" y="169"/>
                        </a:lnTo>
                        <a:lnTo>
                          <a:pt x="10" y="169"/>
                        </a:lnTo>
                        <a:close/>
                        <a:moveTo>
                          <a:pt x="31" y="44"/>
                        </a:moveTo>
                        <a:lnTo>
                          <a:pt x="31" y="44"/>
                        </a:lnTo>
                        <a:lnTo>
                          <a:pt x="31" y="47"/>
                        </a:lnTo>
                        <a:lnTo>
                          <a:pt x="33" y="51"/>
                        </a:lnTo>
                        <a:lnTo>
                          <a:pt x="35" y="52"/>
                        </a:lnTo>
                        <a:lnTo>
                          <a:pt x="33" y="58"/>
                        </a:lnTo>
                        <a:lnTo>
                          <a:pt x="33" y="58"/>
                        </a:lnTo>
                        <a:lnTo>
                          <a:pt x="31" y="59"/>
                        </a:lnTo>
                        <a:lnTo>
                          <a:pt x="30" y="61"/>
                        </a:lnTo>
                        <a:lnTo>
                          <a:pt x="28" y="61"/>
                        </a:lnTo>
                        <a:lnTo>
                          <a:pt x="26" y="63"/>
                        </a:lnTo>
                        <a:lnTo>
                          <a:pt x="24" y="65"/>
                        </a:lnTo>
                        <a:lnTo>
                          <a:pt x="23" y="75"/>
                        </a:lnTo>
                        <a:lnTo>
                          <a:pt x="23" y="75"/>
                        </a:lnTo>
                        <a:lnTo>
                          <a:pt x="21" y="79"/>
                        </a:lnTo>
                        <a:lnTo>
                          <a:pt x="19" y="80"/>
                        </a:lnTo>
                        <a:lnTo>
                          <a:pt x="16" y="82"/>
                        </a:lnTo>
                        <a:lnTo>
                          <a:pt x="12" y="84"/>
                        </a:lnTo>
                        <a:lnTo>
                          <a:pt x="9" y="86"/>
                        </a:lnTo>
                        <a:lnTo>
                          <a:pt x="9" y="86"/>
                        </a:lnTo>
                        <a:lnTo>
                          <a:pt x="9" y="87"/>
                        </a:lnTo>
                        <a:lnTo>
                          <a:pt x="10" y="91"/>
                        </a:lnTo>
                        <a:lnTo>
                          <a:pt x="10" y="92"/>
                        </a:lnTo>
                        <a:lnTo>
                          <a:pt x="12" y="94"/>
                        </a:lnTo>
                        <a:lnTo>
                          <a:pt x="12" y="94"/>
                        </a:lnTo>
                        <a:lnTo>
                          <a:pt x="10" y="96"/>
                        </a:lnTo>
                        <a:lnTo>
                          <a:pt x="7" y="98"/>
                        </a:lnTo>
                        <a:lnTo>
                          <a:pt x="0" y="101"/>
                        </a:lnTo>
                        <a:lnTo>
                          <a:pt x="0" y="101"/>
                        </a:lnTo>
                        <a:lnTo>
                          <a:pt x="7" y="115"/>
                        </a:lnTo>
                        <a:lnTo>
                          <a:pt x="12" y="122"/>
                        </a:lnTo>
                        <a:lnTo>
                          <a:pt x="17" y="127"/>
                        </a:lnTo>
                        <a:lnTo>
                          <a:pt x="21" y="131"/>
                        </a:lnTo>
                        <a:lnTo>
                          <a:pt x="21" y="131"/>
                        </a:lnTo>
                        <a:lnTo>
                          <a:pt x="23" y="134"/>
                        </a:lnTo>
                        <a:lnTo>
                          <a:pt x="24" y="133"/>
                        </a:lnTo>
                        <a:lnTo>
                          <a:pt x="24" y="133"/>
                        </a:lnTo>
                        <a:lnTo>
                          <a:pt x="28" y="133"/>
                        </a:lnTo>
                        <a:lnTo>
                          <a:pt x="31" y="133"/>
                        </a:lnTo>
                        <a:lnTo>
                          <a:pt x="37" y="136"/>
                        </a:lnTo>
                        <a:lnTo>
                          <a:pt x="37" y="136"/>
                        </a:lnTo>
                        <a:lnTo>
                          <a:pt x="38" y="138"/>
                        </a:lnTo>
                        <a:lnTo>
                          <a:pt x="37" y="138"/>
                        </a:lnTo>
                        <a:lnTo>
                          <a:pt x="30" y="138"/>
                        </a:lnTo>
                        <a:lnTo>
                          <a:pt x="23" y="139"/>
                        </a:lnTo>
                        <a:lnTo>
                          <a:pt x="23" y="141"/>
                        </a:lnTo>
                        <a:lnTo>
                          <a:pt x="24" y="145"/>
                        </a:lnTo>
                        <a:lnTo>
                          <a:pt x="24" y="145"/>
                        </a:lnTo>
                        <a:lnTo>
                          <a:pt x="31" y="153"/>
                        </a:lnTo>
                        <a:lnTo>
                          <a:pt x="35" y="162"/>
                        </a:lnTo>
                        <a:lnTo>
                          <a:pt x="37" y="167"/>
                        </a:lnTo>
                        <a:lnTo>
                          <a:pt x="38" y="167"/>
                        </a:lnTo>
                        <a:lnTo>
                          <a:pt x="42" y="166"/>
                        </a:lnTo>
                        <a:lnTo>
                          <a:pt x="42" y="166"/>
                        </a:lnTo>
                        <a:lnTo>
                          <a:pt x="45" y="162"/>
                        </a:lnTo>
                        <a:lnTo>
                          <a:pt x="47" y="162"/>
                        </a:lnTo>
                        <a:lnTo>
                          <a:pt x="51" y="164"/>
                        </a:lnTo>
                        <a:lnTo>
                          <a:pt x="59" y="162"/>
                        </a:lnTo>
                        <a:lnTo>
                          <a:pt x="59" y="162"/>
                        </a:lnTo>
                        <a:lnTo>
                          <a:pt x="70" y="162"/>
                        </a:lnTo>
                        <a:lnTo>
                          <a:pt x="73" y="164"/>
                        </a:lnTo>
                        <a:lnTo>
                          <a:pt x="77" y="164"/>
                        </a:lnTo>
                        <a:lnTo>
                          <a:pt x="80" y="164"/>
                        </a:lnTo>
                        <a:lnTo>
                          <a:pt x="80" y="164"/>
                        </a:lnTo>
                        <a:lnTo>
                          <a:pt x="85" y="164"/>
                        </a:lnTo>
                        <a:lnTo>
                          <a:pt x="91" y="167"/>
                        </a:lnTo>
                        <a:lnTo>
                          <a:pt x="96" y="169"/>
                        </a:lnTo>
                        <a:lnTo>
                          <a:pt x="101" y="171"/>
                        </a:lnTo>
                        <a:lnTo>
                          <a:pt x="101" y="171"/>
                        </a:lnTo>
                        <a:lnTo>
                          <a:pt x="106" y="171"/>
                        </a:lnTo>
                        <a:lnTo>
                          <a:pt x="110" y="173"/>
                        </a:lnTo>
                        <a:lnTo>
                          <a:pt x="110" y="174"/>
                        </a:lnTo>
                        <a:lnTo>
                          <a:pt x="110" y="176"/>
                        </a:lnTo>
                        <a:lnTo>
                          <a:pt x="104" y="178"/>
                        </a:lnTo>
                        <a:lnTo>
                          <a:pt x="104" y="178"/>
                        </a:lnTo>
                        <a:lnTo>
                          <a:pt x="96" y="180"/>
                        </a:lnTo>
                        <a:lnTo>
                          <a:pt x="92" y="180"/>
                        </a:lnTo>
                        <a:lnTo>
                          <a:pt x="78" y="173"/>
                        </a:lnTo>
                        <a:lnTo>
                          <a:pt x="78" y="173"/>
                        </a:lnTo>
                        <a:lnTo>
                          <a:pt x="70" y="167"/>
                        </a:lnTo>
                        <a:lnTo>
                          <a:pt x="64" y="166"/>
                        </a:lnTo>
                        <a:lnTo>
                          <a:pt x="61" y="167"/>
                        </a:lnTo>
                        <a:lnTo>
                          <a:pt x="57" y="171"/>
                        </a:lnTo>
                        <a:lnTo>
                          <a:pt x="57" y="171"/>
                        </a:lnTo>
                        <a:lnTo>
                          <a:pt x="56" y="173"/>
                        </a:lnTo>
                        <a:lnTo>
                          <a:pt x="54" y="173"/>
                        </a:lnTo>
                        <a:lnTo>
                          <a:pt x="49" y="173"/>
                        </a:lnTo>
                        <a:lnTo>
                          <a:pt x="45" y="173"/>
                        </a:lnTo>
                        <a:lnTo>
                          <a:pt x="44" y="174"/>
                        </a:lnTo>
                        <a:lnTo>
                          <a:pt x="42" y="178"/>
                        </a:lnTo>
                        <a:lnTo>
                          <a:pt x="42" y="178"/>
                        </a:lnTo>
                        <a:lnTo>
                          <a:pt x="42" y="181"/>
                        </a:lnTo>
                        <a:lnTo>
                          <a:pt x="40" y="183"/>
                        </a:lnTo>
                        <a:lnTo>
                          <a:pt x="38" y="186"/>
                        </a:lnTo>
                        <a:lnTo>
                          <a:pt x="37" y="186"/>
                        </a:lnTo>
                        <a:lnTo>
                          <a:pt x="38" y="190"/>
                        </a:lnTo>
                        <a:lnTo>
                          <a:pt x="38" y="190"/>
                        </a:lnTo>
                        <a:lnTo>
                          <a:pt x="42" y="193"/>
                        </a:lnTo>
                        <a:lnTo>
                          <a:pt x="42" y="197"/>
                        </a:lnTo>
                        <a:lnTo>
                          <a:pt x="42" y="199"/>
                        </a:lnTo>
                        <a:lnTo>
                          <a:pt x="47" y="200"/>
                        </a:lnTo>
                        <a:lnTo>
                          <a:pt x="47" y="200"/>
                        </a:lnTo>
                        <a:lnTo>
                          <a:pt x="51" y="200"/>
                        </a:lnTo>
                        <a:lnTo>
                          <a:pt x="52" y="202"/>
                        </a:lnTo>
                        <a:lnTo>
                          <a:pt x="56" y="206"/>
                        </a:lnTo>
                        <a:lnTo>
                          <a:pt x="54" y="213"/>
                        </a:lnTo>
                        <a:lnTo>
                          <a:pt x="52" y="218"/>
                        </a:lnTo>
                        <a:lnTo>
                          <a:pt x="52" y="218"/>
                        </a:lnTo>
                        <a:lnTo>
                          <a:pt x="52" y="221"/>
                        </a:lnTo>
                        <a:lnTo>
                          <a:pt x="52" y="225"/>
                        </a:lnTo>
                        <a:lnTo>
                          <a:pt x="57" y="234"/>
                        </a:lnTo>
                        <a:lnTo>
                          <a:pt x="61" y="237"/>
                        </a:lnTo>
                        <a:lnTo>
                          <a:pt x="63" y="239"/>
                        </a:lnTo>
                        <a:lnTo>
                          <a:pt x="64" y="237"/>
                        </a:lnTo>
                        <a:lnTo>
                          <a:pt x="66" y="234"/>
                        </a:lnTo>
                        <a:lnTo>
                          <a:pt x="66" y="234"/>
                        </a:lnTo>
                        <a:lnTo>
                          <a:pt x="68" y="228"/>
                        </a:lnTo>
                        <a:lnTo>
                          <a:pt x="68" y="227"/>
                        </a:lnTo>
                        <a:lnTo>
                          <a:pt x="71" y="227"/>
                        </a:lnTo>
                        <a:lnTo>
                          <a:pt x="73" y="228"/>
                        </a:lnTo>
                        <a:lnTo>
                          <a:pt x="78" y="237"/>
                        </a:lnTo>
                        <a:lnTo>
                          <a:pt x="80" y="247"/>
                        </a:lnTo>
                        <a:lnTo>
                          <a:pt x="80" y="247"/>
                        </a:lnTo>
                        <a:lnTo>
                          <a:pt x="80" y="254"/>
                        </a:lnTo>
                        <a:lnTo>
                          <a:pt x="82" y="256"/>
                        </a:lnTo>
                        <a:lnTo>
                          <a:pt x="84" y="256"/>
                        </a:lnTo>
                        <a:lnTo>
                          <a:pt x="85" y="251"/>
                        </a:lnTo>
                        <a:lnTo>
                          <a:pt x="87" y="242"/>
                        </a:lnTo>
                        <a:lnTo>
                          <a:pt x="87" y="242"/>
                        </a:lnTo>
                        <a:lnTo>
                          <a:pt x="89" y="237"/>
                        </a:lnTo>
                        <a:lnTo>
                          <a:pt x="91" y="235"/>
                        </a:lnTo>
                        <a:lnTo>
                          <a:pt x="92" y="237"/>
                        </a:lnTo>
                        <a:lnTo>
                          <a:pt x="96" y="242"/>
                        </a:lnTo>
                        <a:lnTo>
                          <a:pt x="101" y="251"/>
                        </a:lnTo>
                        <a:lnTo>
                          <a:pt x="104" y="254"/>
                        </a:lnTo>
                        <a:lnTo>
                          <a:pt x="108" y="254"/>
                        </a:lnTo>
                        <a:lnTo>
                          <a:pt x="108" y="254"/>
                        </a:lnTo>
                        <a:lnTo>
                          <a:pt x="108" y="254"/>
                        </a:lnTo>
                        <a:lnTo>
                          <a:pt x="108" y="251"/>
                        </a:lnTo>
                        <a:lnTo>
                          <a:pt x="108" y="246"/>
                        </a:lnTo>
                        <a:lnTo>
                          <a:pt x="101" y="227"/>
                        </a:lnTo>
                        <a:lnTo>
                          <a:pt x="94" y="209"/>
                        </a:lnTo>
                        <a:lnTo>
                          <a:pt x="92" y="202"/>
                        </a:lnTo>
                        <a:lnTo>
                          <a:pt x="92" y="200"/>
                        </a:lnTo>
                        <a:lnTo>
                          <a:pt x="94" y="200"/>
                        </a:lnTo>
                        <a:lnTo>
                          <a:pt x="94" y="200"/>
                        </a:lnTo>
                        <a:lnTo>
                          <a:pt x="99" y="202"/>
                        </a:lnTo>
                        <a:lnTo>
                          <a:pt x="103" y="204"/>
                        </a:lnTo>
                        <a:lnTo>
                          <a:pt x="104" y="207"/>
                        </a:lnTo>
                        <a:lnTo>
                          <a:pt x="106" y="211"/>
                        </a:lnTo>
                        <a:lnTo>
                          <a:pt x="106" y="211"/>
                        </a:lnTo>
                        <a:lnTo>
                          <a:pt x="108" y="214"/>
                        </a:lnTo>
                        <a:lnTo>
                          <a:pt x="111" y="214"/>
                        </a:lnTo>
                        <a:lnTo>
                          <a:pt x="118" y="211"/>
                        </a:lnTo>
                        <a:lnTo>
                          <a:pt x="118" y="211"/>
                        </a:lnTo>
                        <a:lnTo>
                          <a:pt x="120" y="209"/>
                        </a:lnTo>
                        <a:lnTo>
                          <a:pt x="122" y="207"/>
                        </a:lnTo>
                        <a:lnTo>
                          <a:pt x="120" y="204"/>
                        </a:lnTo>
                        <a:lnTo>
                          <a:pt x="117" y="200"/>
                        </a:lnTo>
                        <a:lnTo>
                          <a:pt x="111" y="199"/>
                        </a:lnTo>
                        <a:lnTo>
                          <a:pt x="111" y="199"/>
                        </a:lnTo>
                        <a:lnTo>
                          <a:pt x="108" y="199"/>
                        </a:lnTo>
                        <a:lnTo>
                          <a:pt x="108" y="197"/>
                        </a:lnTo>
                        <a:lnTo>
                          <a:pt x="108" y="193"/>
                        </a:lnTo>
                        <a:lnTo>
                          <a:pt x="106" y="190"/>
                        </a:lnTo>
                        <a:lnTo>
                          <a:pt x="106" y="190"/>
                        </a:lnTo>
                        <a:lnTo>
                          <a:pt x="104" y="188"/>
                        </a:lnTo>
                        <a:lnTo>
                          <a:pt x="106" y="185"/>
                        </a:lnTo>
                        <a:lnTo>
                          <a:pt x="111" y="181"/>
                        </a:lnTo>
                        <a:lnTo>
                          <a:pt x="118" y="180"/>
                        </a:lnTo>
                        <a:lnTo>
                          <a:pt x="122" y="180"/>
                        </a:lnTo>
                        <a:lnTo>
                          <a:pt x="124" y="181"/>
                        </a:lnTo>
                        <a:lnTo>
                          <a:pt x="124" y="181"/>
                        </a:lnTo>
                        <a:lnTo>
                          <a:pt x="131" y="192"/>
                        </a:lnTo>
                        <a:lnTo>
                          <a:pt x="136" y="195"/>
                        </a:lnTo>
                        <a:lnTo>
                          <a:pt x="138" y="197"/>
                        </a:lnTo>
                        <a:lnTo>
                          <a:pt x="139" y="197"/>
                        </a:lnTo>
                        <a:lnTo>
                          <a:pt x="139" y="197"/>
                        </a:lnTo>
                        <a:lnTo>
                          <a:pt x="141" y="195"/>
                        </a:lnTo>
                        <a:lnTo>
                          <a:pt x="141" y="193"/>
                        </a:lnTo>
                        <a:lnTo>
                          <a:pt x="141" y="188"/>
                        </a:lnTo>
                        <a:lnTo>
                          <a:pt x="139" y="181"/>
                        </a:lnTo>
                        <a:lnTo>
                          <a:pt x="139" y="176"/>
                        </a:lnTo>
                        <a:lnTo>
                          <a:pt x="139" y="176"/>
                        </a:lnTo>
                        <a:lnTo>
                          <a:pt x="139" y="173"/>
                        </a:lnTo>
                        <a:lnTo>
                          <a:pt x="139" y="171"/>
                        </a:lnTo>
                        <a:lnTo>
                          <a:pt x="134" y="169"/>
                        </a:lnTo>
                        <a:lnTo>
                          <a:pt x="127" y="166"/>
                        </a:lnTo>
                        <a:lnTo>
                          <a:pt x="125" y="164"/>
                        </a:lnTo>
                        <a:lnTo>
                          <a:pt x="124" y="160"/>
                        </a:lnTo>
                        <a:lnTo>
                          <a:pt x="124" y="160"/>
                        </a:lnTo>
                        <a:lnTo>
                          <a:pt x="120" y="157"/>
                        </a:lnTo>
                        <a:lnTo>
                          <a:pt x="118" y="157"/>
                        </a:lnTo>
                        <a:lnTo>
                          <a:pt x="115" y="155"/>
                        </a:lnTo>
                        <a:lnTo>
                          <a:pt x="111" y="152"/>
                        </a:lnTo>
                        <a:lnTo>
                          <a:pt x="111" y="152"/>
                        </a:lnTo>
                        <a:lnTo>
                          <a:pt x="110" y="148"/>
                        </a:lnTo>
                        <a:lnTo>
                          <a:pt x="104" y="146"/>
                        </a:lnTo>
                        <a:lnTo>
                          <a:pt x="94" y="141"/>
                        </a:lnTo>
                        <a:lnTo>
                          <a:pt x="87" y="139"/>
                        </a:lnTo>
                        <a:lnTo>
                          <a:pt x="87" y="138"/>
                        </a:lnTo>
                        <a:lnTo>
                          <a:pt x="92" y="138"/>
                        </a:lnTo>
                        <a:lnTo>
                          <a:pt x="92" y="138"/>
                        </a:lnTo>
                        <a:lnTo>
                          <a:pt x="99" y="136"/>
                        </a:lnTo>
                        <a:lnTo>
                          <a:pt x="101" y="133"/>
                        </a:lnTo>
                        <a:lnTo>
                          <a:pt x="101" y="129"/>
                        </a:lnTo>
                        <a:lnTo>
                          <a:pt x="101" y="126"/>
                        </a:lnTo>
                        <a:lnTo>
                          <a:pt x="98" y="120"/>
                        </a:lnTo>
                        <a:lnTo>
                          <a:pt x="99" y="119"/>
                        </a:lnTo>
                        <a:lnTo>
                          <a:pt x="103" y="117"/>
                        </a:lnTo>
                        <a:lnTo>
                          <a:pt x="103" y="117"/>
                        </a:lnTo>
                        <a:lnTo>
                          <a:pt x="104" y="119"/>
                        </a:lnTo>
                        <a:lnTo>
                          <a:pt x="106" y="120"/>
                        </a:lnTo>
                        <a:lnTo>
                          <a:pt x="106" y="124"/>
                        </a:lnTo>
                        <a:lnTo>
                          <a:pt x="106" y="129"/>
                        </a:lnTo>
                        <a:lnTo>
                          <a:pt x="108" y="129"/>
                        </a:lnTo>
                        <a:lnTo>
                          <a:pt x="110" y="127"/>
                        </a:lnTo>
                        <a:lnTo>
                          <a:pt x="110" y="127"/>
                        </a:lnTo>
                        <a:lnTo>
                          <a:pt x="111" y="126"/>
                        </a:lnTo>
                        <a:lnTo>
                          <a:pt x="113" y="124"/>
                        </a:lnTo>
                        <a:lnTo>
                          <a:pt x="111" y="117"/>
                        </a:lnTo>
                        <a:lnTo>
                          <a:pt x="106" y="110"/>
                        </a:lnTo>
                        <a:lnTo>
                          <a:pt x="101" y="101"/>
                        </a:lnTo>
                        <a:lnTo>
                          <a:pt x="94" y="92"/>
                        </a:lnTo>
                        <a:lnTo>
                          <a:pt x="89" y="86"/>
                        </a:lnTo>
                        <a:lnTo>
                          <a:pt x="87" y="77"/>
                        </a:lnTo>
                        <a:lnTo>
                          <a:pt x="85" y="73"/>
                        </a:lnTo>
                        <a:lnTo>
                          <a:pt x="87" y="68"/>
                        </a:lnTo>
                        <a:lnTo>
                          <a:pt x="87" y="68"/>
                        </a:lnTo>
                        <a:lnTo>
                          <a:pt x="91" y="63"/>
                        </a:lnTo>
                        <a:lnTo>
                          <a:pt x="96" y="58"/>
                        </a:lnTo>
                        <a:lnTo>
                          <a:pt x="98" y="56"/>
                        </a:lnTo>
                        <a:lnTo>
                          <a:pt x="99" y="56"/>
                        </a:lnTo>
                        <a:lnTo>
                          <a:pt x="99" y="59"/>
                        </a:lnTo>
                        <a:lnTo>
                          <a:pt x="99" y="63"/>
                        </a:lnTo>
                        <a:lnTo>
                          <a:pt x="99" y="63"/>
                        </a:lnTo>
                        <a:lnTo>
                          <a:pt x="99" y="66"/>
                        </a:lnTo>
                        <a:lnTo>
                          <a:pt x="101" y="68"/>
                        </a:lnTo>
                        <a:lnTo>
                          <a:pt x="104" y="68"/>
                        </a:lnTo>
                        <a:lnTo>
                          <a:pt x="110" y="72"/>
                        </a:lnTo>
                        <a:lnTo>
                          <a:pt x="111" y="75"/>
                        </a:lnTo>
                        <a:lnTo>
                          <a:pt x="113" y="80"/>
                        </a:lnTo>
                        <a:lnTo>
                          <a:pt x="113" y="80"/>
                        </a:lnTo>
                        <a:lnTo>
                          <a:pt x="115" y="84"/>
                        </a:lnTo>
                        <a:lnTo>
                          <a:pt x="117" y="87"/>
                        </a:lnTo>
                        <a:lnTo>
                          <a:pt x="122" y="89"/>
                        </a:lnTo>
                        <a:lnTo>
                          <a:pt x="124" y="89"/>
                        </a:lnTo>
                        <a:lnTo>
                          <a:pt x="125" y="87"/>
                        </a:lnTo>
                        <a:lnTo>
                          <a:pt x="125" y="86"/>
                        </a:lnTo>
                        <a:lnTo>
                          <a:pt x="124" y="84"/>
                        </a:lnTo>
                        <a:lnTo>
                          <a:pt x="124" y="84"/>
                        </a:lnTo>
                        <a:lnTo>
                          <a:pt x="120" y="79"/>
                        </a:lnTo>
                        <a:lnTo>
                          <a:pt x="118" y="73"/>
                        </a:lnTo>
                        <a:lnTo>
                          <a:pt x="118" y="73"/>
                        </a:lnTo>
                        <a:lnTo>
                          <a:pt x="120" y="73"/>
                        </a:lnTo>
                        <a:lnTo>
                          <a:pt x="127" y="79"/>
                        </a:lnTo>
                        <a:lnTo>
                          <a:pt x="127" y="79"/>
                        </a:lnTo>
                        <a:lnTo>
                          <a:pt x="134" y="86"/>
                        </a:lnTo>
                        <a:lnTo>
                          <a:pt x="138" y="87"/>
                        </a:lnTo>
                        <a:lnTo>
                          <a:pt x="139" y="86"/>
                        </a:lnTo>
                        <a:lnTo>
                          <a:pt x="139" y="84"/>
                        </a:lnTo>
                        <a:lnTo>
                          <a:pt x="134" y="77"/>
                        </a:lnTo>
                        <a:lnTo>
                          <a:pt x="134" y="77"/>
                        </a:lnTo>
                        <a:lnTo>
                          <a:pt x="129" y="70"/>
                        </a:lnTo>
                        <a:lnTo>
                          <a:pt x="129" y="70"/>
                        </a:lnTo>
                        <a:lnTo>
                          <a:pt x="131" y="70"/>
                        </a:lnTo>
                        <a:lnTo>
                          <a:pt x="143" y="75"/>
                        </a:lnTo>
                        <a:lnTo>
                          <a:pt x="143" y="75"/>
                        </a:lnTo>
                        <a:lnTo>
                          <a:pt x="148" y="79"/>
                        </a:lnTo>
                        <a:lnTo>
                          <a:pt x="152" y="79"/>
                        </a:lnTo>
                        <a:lnTo>
                          <a:pt x="152" y="77"/>
                        </a:lnTo>
                        <a:lnTo>
                          <a:pt x="146" y="72"/>
                        </a:lnTo>
                        <a:lnTo>
                          <a:pt x="146" y="72"/>
                        </a:lnTo>
                        <a:lnTo>
                          <a:pt x="139" y="66"/>
                        </a:lnTo>
                        <a:lnTo>
                          <a:pt x="136" y="65"/>
                        </a:lnTo>
                        <a:lnTo>
                          <a:pt x="132" y="65"/>
                        </a:lnTo>
                        <a:lnTo>
                          <a:pt x="132" y="61"/>
                        </a:lnTo>
                        <a:lnTo>
                          <a:pt x="132" y="61"/>
                        </a:lnTo>
                        <a:lnTo>
                          <a:pt x="134" y="59"/>
                        </a:lnTo>
                        <a:lnTo>
                          <a:pt x="132" y="58"/>
                        </a:lnTo>
                        <a:lnTo>
                          <a:pt x="131" y="54"/>
                        </a:lnTo>
                        <a:lnTo>
                          <a:pt x="129" y="52"/>
                        </a:lnTo>
                        <a:lnTo>
                          <a:pt x="129" y="52"/>
                        </a:lnTo>
                        <a:lnTo>
                          <a:pt x="136" y="51"/>
                        </a:lnTo>
                        <a:lnTo>
                          <a:pt x="136" y="51"/>
                        </a:lnTo>
                        <a:lnTo>
                          <a:pt x="141" y="49"/>
                        </a:lnTo>
                        <a:lnTo>
                          <a:pt x="145" y="47"/>
                        </a:lnTo>
                        <a:lnTo>
                          <a:pt x="150" y="44"/>
                        </a:lnTo>
                        <a:lnTo>
                          <a:pt x="155" y="40"/>
                        </a:lnTo>
                        <a:lnTo>
                          <a:pt x="157" y="40"/>
                        </a:lnTo>
                        <a:lnTo>
                          <a:pt x="162" y="42"/>
                        </a:lnTo>
                        <a:lnTo>
                          <a:pt x="162" y="42"/>
                        </a:lnTo>
                        <a:lnTo>
                          <a:pt x="165" y="44"/>
                        </a:lnTo>
                        <a:lnTo>
                          <a:pt x="169" y="44"/>
                        </a:lnTo>
                        <a:lnTo>
                          <a:pt x="172" y="40"/>
                        </a:lnTo>
                        <a:lnTo>
                          <a:pt x="178" y="39"/>
                        </a:lnTo>
                        <a:lnTo>
                          <a:pt x="181" y="39"/>
                        </a:lnTo>
                        <a:lnTo>
                          <a:pt x="185" y="40"/>
                        </a:lnTo>
                        <a:lnTo>
                          <a:pt x="185" y="40"/>
                        </a:lnTo>
                        <a:lnTo>
                          <a:pt x="190" y="42"/>
                        </a:lnTo>
                        <a:lnTo>
                          <a:pt x="195" y="44"/>
                        </a:lnTo>
                        <a:lnTo>
                          <a:pt x="202" y="44"/>
                        </a:lnTo>
                        <a:lnTo>
                          <a:pt x="207" y="44"/>
                        </a:lnTo>
                        <a:lnTo>
                          <a:pt x="209" y="45"/>
                        </a:lnTo>
                        <a:lnTo>
                          <a:pt x="211" y="49"/>
                        </a:lnTo>
                        <a:lnTo>
                          <a:pt x="211" y="49"/>
                        </a:lnTo>
                        <a:lnTo>
                          <a:pt x="214" y="47"/>
                        </a:lnTo>
                        <a:lnTo>
                          <a:pt x="216" y="44"/>
                        </a:lnTo>
                        <a:lnTo>
                          <a:pt x="218" y="35"/>
                        </a:lnTo>
                        <a:lnTo>
                          <a:pt x="219" y="28"/>
                        </a:lnTo>
                        <a:lnTo>
                          <a:pt x="221" y="26"/>
                        </a:lnTo>
                        <a:lnTo>
                          <a:pt x="225" y="25"/>
                        </a:lnTo>
                        <a:lnTo>
                          <a:pt x="225" y="25"/>
                        </a:lnTo>
                        <a:lnTo>
                          <a:pt x="230" y="19"/>
                        </a:lnTo>
                        <a:lnTo>
                          <a:pt x="230" y="14"/>
                        </a:lnTo>
                        <a:lnTo>
                          <a:pt x="228" y="9"/>
                        </a:lnTo>
                        <a:lnTo>
                          <a:pt x="219" y="2"/>
                        </a:lnTo>
                        <a:lnTo>
                          <a:pt x="219" y="2"/>
                        </a:lnTo>
                        <a:lnTo>
                          <a:pt x="214" y="0"/>
                        </a:lnTo>
                        <a:lnTo>
                          <a:pt x="212" y="2"/>
                        </a:lnTo>
                        <a:lnTo>
                          <a:pt x="211" y="5"/>
                        </a:lnTo>
                        <a:lnTo>
                          <a:pt x="212" y="9"/>
                        </a:lnTo>
                        <a:lnTo>
                          <a:pt x="212" y="12"/>
                        </a:lnTo>
                        <a:lnTo>
                          <a:pt x="212" y="18"/>
                        </a:lnTo>
                        <a:lnTo>
                          <a:pt x="211" y="21"/>
                        </a:lnTo>
                        <a:lnTo>
                          <a:pt x="205" y="21"/>
                        </a:lnTo>
                        <a:lnTo>
                          <a:pt x="205" y="21"/>
                        </a:lnTo>
                        <a:lnTo>
                          <a:pt x="195" y="23"/>
                        </a:lnTo>
                        <a:lnTo>
                          <a:pt x="188" y="26"/>
                        </a:lnTo>
                        <a:lnTo>
                          <a:pt x="181" y="25"/>
                        </a:lnTo>
                        <a:lnTo>
                          <a:pt x="179" y="23"/>
                        </a:lnTo>
                        <a:lnTo>
                          <a:pt x="176" y="19"/>
                        </a:lnTo>
                        <a:lnTo>
                          <a:pt x="176" y="19"/>
                        </a:lnTo>
                        <a:lnTo>
                          <a:pt x="172" y="18"/>
                        </a:lnTo>
                        <a:lnTo>
                          <a:pt x="171" y="16"/>
                        </a:lnTo>
                        <a:lnTo>
                          <a:pt x="167" y="18"/>
                        </a:lnTo>
                        <a:lnTo>
                          <a:pt x="165" y="18"/>
                        </a:lnTo>
                        <a:lnTo>
                          <a:pt x="164" y="18"/>
                        </a:lnTo>
                        <a:lnTo>
                          <a:pt x="160" y="14"/>
                        </a:lnTo>
                        <a:lnTo>
                          <a:pt x="160" y="14"/>
                        </a:lnTo>
                        <a:lnTo>
                          <a:pt x="157" y="11"/>
                        </a:lnTo>
                        <a:lnTo>
                          <a:pt x="155" y="11"/>
                        </a:lnTo>
                        <a:lnTo>
                          <a:pt x="152" y="12"/>
                        </a:lnTo>
                        <a:lnTo>
                          <a:pt x="150" y="12"/>
                        </a:lnTo>
                        <a:lnTo>
                          <a:pt x="148" y="11"/>
                        </a:lnTo>
                        <a:lnTo>
                          <a:pt x="148" y="11"/>
                        </a:lnTo>
                        <a:lnTo>
                          <a:pt x="146" y="11"/>
                        </a:lnTo>
                        <a:lnTo>
                          <a:pt x="145" y="11"/>
                        </a:lnTo>
                        <a:lnTo>
                          <a:pt x="138" y="14"/>
                        </a:lnTo>
                        <a:lnTo>
                          <a:pt x="131" y="18"/>
                        </a:lnTo>
                        <a:lnTo>
                          <a:pt x="125" y="18"/>
                        </a:lnTo>
                        <a:lnTo>
                          <a:pt x="120" y="18"/>
                        </a:lnTo>
                        <a:lnTo>
                          <a:pt x="120" y="18"/>
                        </a:lnTo>
                        <a:lnTo>
                          <a:pt x="115" y="18"/>
                        </a:lnTo>
                        <a:lnTo>
                          <a:pt x="113" y="18"/>
                        </a:lnTo>
                        <a:lnTo>
                          <a:pt x="110" y="21"/>
                        </a:lnTo>
                        <a:lnTo>
                          <a:pt x="106" y="23"/>
                        </a:lnTo>
                        <a:lnTo>
                          <a:pt x="101" y="19"/>
                        </a:lnTo>
                        <a:lnTo>
                          <a:pt x="101" y="19"/>
                        </a:lnTo>
                        <a:lnTo>
                          <a:pt x="98" y="21"/>
                        </a:lnTo>
                        <a:lnTo>
                          <a:pt x="96" y="23"/>
                        </a:lnTo>
                        <a:lnTo>
                          <a:pt x="94" y="28"/>
                        </a:lnTo>
                        <a:lnTo>
                          <a:pt x="92" y="30"/>
                        </a:lnTo>
                        <a:lnTo>
                          <a:pt x="89" y="32"/>
                        </a:lnTo>
                        <a:lnTo>
                          <a:pt x="84" y="32"/>
                        </a:lnTo>
                        <a:lnTo>
                          <a:pt x="77" y="30"/>
                        </a:lnTo>
                        <a:lnTo>
                          <a:pt x="77" y="30"/>
                        </a:lnTo>
                        <a:lnTo>
                          <a:pt x="70" y="28"/>
                        </a:lnTo>
                        <a:lnTo>
                          <a:pt x="68" y="30"/>
                        </a:lnTo>
                        <a:lnTo>
                          <a:pt x="66" y="32"/>
                        </a:lnTo>
                        <a:lnTo>
                          <a:pt x="64" y="33"/>
                        </a:lnTo>
                        <a:lnTo>
                          <a:pt x="63" y="37"/>
                        </a:lnTo>
                        <a:lnTo>
                          <a:pt x="57" y="40"/>
                        </a:lnTo>
                        <a:lnTo>
                          <a:pt x="47" y="42"/>
                        </a:lnTo>
                        <a:lnTo>
                          <a:pt x="31" y="44"/>
                        </a:lnTo>
                        <a:lnTo>
                          <a:pt x="31" y="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9" name="Freeform 2222">
                    <a:extLst>
                      <a:ext uri="{FF2B5EF4-FFF2-40B4-BE49-F238E27FC236}">
                        <a16:creationId xmlns:a16="http://schemas.microsoft.com/office/drawing/2014/main" id="{51F19450-EECC-9083-7D1C-46D01A7B4A24}"/>
                      </a:ext>
                    </a:extLst>
                  </p:cNvPr>
                  <p:cNvSpPr>
                    <a:spLocks/>
                  </p:cNvSpPr>
                  <p:nvPr/>
                </p:nvSpPr>
                <p:spPr bwMode="auto">
                  <a:xfrm>
                    <a:off x="4783138" y="3114675"/>
                    <a:ext cx="14287" cy="19050"/>
                  </a:xfrm>
                  <a:custGeom>
                    <a:avLst/>
                    <a:gdLst/>
                    <a:ahLst/>
                    <a:cxnLst>
                      <a:cxn ang="0">
                        <a:pos x="4" y="27"/>
                      </a:cxn>
                      <a:cxn ang="0">
                        <a:pos x="4" y="27"/>
                      </a:cxn>
                      <a:cxn ang="0">
                        <a:pos x="2" y="23"/>
                      </a:cxn>
                      <a:cxn ang="0">
                        <a:pos x="2" y="20"/>
                      </a:cxn>
                      <a:cxn ang="0">
                        <a:pos x="2" y="18"/>
                      </a:cxn>
                      <a:cxn ang="0">
                        <a:pos x="2" y="14"/>
                      </a:cxn>
                      <a:cxn ang="0">
                        <a:pos x="2" y="14"/>
                      </a:cxn>
                      <a:cxn ang="0">
                        <a:pos x="0" y="13"/>
                      </a:cxn>
                      <a:cxn ang="0">
                        <a:pos x="2" y="9"/>
                      </a:cxn>
                      <a:cxn ang="0">
                        <a:pos x="7" y="4"/>
                      </a:cxn>
                      <a:cxn ang="0">
                        <a:pos x="14" y="0"/>
                      </a:cxn>
                      <a:cxn ang="0">
                        <a:pos x="18" y="0"/>
                      </a:cxn>
                      <a:cxn ang="0">
                        <a:pos x="20" y="0"/>
                      </a:cxn>
                      <a:cxn ang="0">
                        <a:pos x="20" y="0"/>
                      </a:cxn>
                      <a:cxn ang="0">
                        <a:pos x="20" y="2"/>
                      </a:cxn>
                      <a:cxn ang="0">
                        <a:pos x="20" y="6"/>
                      </a:cxn>
                      <a:cxn ang="0">
                        <a:pos x="14" y="16"/>
                      </a:cxn>
                      <a:cxn ang="0">
                        <a:pos x="9" y="25"/>
                      </a:cxn>
                      <a:cxn ang="0">
                        <a:pos x="6" y="27"/>
                      </a:cxn>
                      <a:cxn ang="0">
                        <a:pos x="4" y="27"/>
                      </a:cxn>
                      <a:cxn ang="0">
                        <a:pos x="4" y="27"/>
                      </a:cxn>
                    </a:cxnLst>
                    <a:rect l="0" t="0" r="r" b="b"/>
                    <a:pathLst>
                      <a:path w="20" h="27">
                        <a:moveTo>
                          <a:pt x="4" y="27"/>
                        </a:moveTo>
                        <a:lnTo>
                          <a:pt x="4" y="27"/>
                        </a:lnTo>
                        <a:lnTo>
                          <a:pt x="2" y="23"/>
                        </a:lnTo>
                        <a:lnTo>
                          <a:pt x="2" y="20"/>
                        </a:lnTo>
                        <a:lnTo>
                          <a:pt x="2" y="18"/>
                        </a:lnTo>
                        <a:lnTo>
                          <a:pt x="2" y="14"/>
                        </a:lnTo>
                        <a:lnTo>
                          <a:pt x="2" y="14"/>
                        </a:lnTo>
                        <a:lnTo>
                          <a:pt x="0" y="13"/>
                        </a:lnTo>
                        <a:lnTo>
                          <a:pt x="2" y="9"/>
                        </a:lnTo>
                        <a:lnTo>
                          <a:pt x="7" y="4"/>
                        </a:lnTo>
                        <a:lnTo>
                          <a:pt x="14" y="0"/>
                        </a:lnTo>
                        <a:lnTo>
                          <a:pt x="18" y="0"/>
                        </a:lnTo>
                        <a:lnTo>
                          <a:pt x="20" y="0"/>
                        </a:lnTo>
                        <a:lnTo>
                          <a:pt x="20" y="0"/>
                        </a:lnTo>
                        <a:lnTo>
                          <a:pt x="20" y="2"/>
                        </a:lnTo>
                        <a:lnTo>
                          <a:pt x="20" y="6"/>
                        </a:lnTo>
                        <a:lnTo>
                          <a:pt x="14" y="16"/>
                        </a:lnTo>
                        <a:lnTo>
                          <a:pt x="9" y="25"/>
                        </a:lnTo>
                        <a:lnTo>
                          <a:pt x="6" y="27"/>
                        </a:lnTo>
                        <a:lnTo>
                          <a:pt x="4" y="27"/>
                        </a:lnTo>
                        <a:lnTo>
                          <a:pt x="4" y="2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0" name="Freeform 2223">
                    <a:extLst>
                      <a:ext uri="{FF2B5EF4-FFF2-40B4-BE49-F238E27FC236}">
                        <a16:creationId xmlns:a16="http://schemas.microsoft.com/office/drawing/2014/main" id="{4C6B7292-04A4-04AA-7F3C-929799085178}"/>
                      </a:ext>
                    </a:extLst>
                  </p:cNvPr>
                  <p:cNvSpPr>
                    <a:spLocks/>
                  </p:cNvSpPr>
                  <p:nvPr/>
                </p:nvSpPr>
                <p:spPr bwMode="auto">
                  <a:xfrm>
                    <a:off x="4737100" y="3013075"/>
                    <a:ext cx="19050" cy="14288"/>
                  </a:xfrm>
                  <a:custGeom>
                    <a:avLst/>
                    <a:gdLst/>
                    <a:ahLst/>
                    <a:cxnLst>
                      <a:cxn ang="0">
                        <a:pos x="16" y="21"/>
                      </a:cxn>
                      <a:cxn ang="0">
                        <a:pos x="16" y="21"/>
                      </a:cxn>
                      <a:cxn ang="0">
                        <a:pos x="7" y="16"/>
                      </a:cxn>
                      <a:cxn ang="0">
                        <a:pos x="2" y="13"/>
                      </a:cxn>
                      <a:cxn ang="0">
                        <a:pos x="0" y="9"/>
                      </a:cxn>
                      <a:cxn ang="0">
                        <a:pos x="2" y="7"/>
                      </a:cxn>
                      <a:cxn ang="0">
                        <a:pos x="3" y="7"/>
                      </a:cxn>
                      <a:cxn ang="0">
                        <a:pos x="3" y="7"/>
                      </a:cxn>
                      <a:cxn ang="0">
                        <a:pos x="12" y="2"/>
                      </a:cxn>
                      <a:cxn ang="0">
                        <a:pos x="16" y="0"/>
                      </a:cxn>
                      <a:cxn ang="0">
                        <a:pos x="17" y="2"/>
                      </a:cxn>
                      <a:cxn ang="0">
                        <a:pos x="17" y="2"/>
                      </a:cxn>
                      <a:cxn ang="0">
                        <a:pos x="19" y="4"/>
                      </a:cxn>
                      <a:cxn ang="0">
                        <a:pos x="19" y="6"/>
                      </a:cxn>
                      <a:cxn ang="0">
                        <a:pos x="21" y="7"/>
                      </a:cxn>
                      <a:cxn ang="0">
                        <a:pos x="24" y="13"/>
                      </a:cxn>
                      <a:cxn ang="0">
                        <a:pos x="24" y="13"/>
                      </a:cxn>
                      <a:cxn ang="0">
                        <a:pos x="26" y="14"/>
                      </a:cxn>
                      <a:cxn ang="0">
                        <a:pos x="26" y="16"/>
                      </a:cxn>
                      <a:cxn ang="0">
                        <a:pos x="26" y="18"/>
                      </a:cxn>
                      <a:cxn ang="0">
                        <a:pos x="24" y="20"/>
                      </a:cxn>
                      <a:cxn ang="0">
                        <a:pos x="19" y="21"/>
                      </a:cxn>
                      <a:cxn ang="0">
                        <a:pos x="16" y="21"/>
                      </a:cxn>
                      <a:cxn ang="0">
                        <a:pos x="16" y="21"/>
                      </a:cxn>
                    </a:cxnLst>
                    <a:rect l="0" t="0" r="r" b="b"/>
                    <a:pathLst>
                      <a:path w="26" h="21">
                        <a:moveTo>
                          <a:pt x="16" y="21"/>
                        </a:moveTo>
                        <a:lnTo>
                          <a:pt x="16" y="21"/>
                        </a:lnTo>
                        <a:lnTo>
                          <a:pt x="7" y="16"/>
                        </a:lnTo>
                        <a:lnTo>
                          <a:pt x="2" y="13"/>
                        </a:lnTo>
                        <a:lnTo>
                          <a:pt x="0" y="9"/>
                        </a:lnTo>
                        <a:lnTo>
                          <a:pt x="2" y="7"/>
                        </a:lnTo>
                        <a:lnTo>
                          <a:pt x="3" y="7"/>
                        </a:lnTo>
                        <a:lnTo>
                          <a:pt x="3" y="7"/>
                        </a:lnTo>
                        <a:lnTo>
                          <a:pt x="12" y="2"/>
                        </a:lnTo>
                        <a:lnTo>
                          <a:pt x="16" y="0"/>
                        </a:lnTo>
                        <a:lnTo>
                          <a:pt x="17" y="2"/>
                        </a:lnTo>
                        <a:lnTo>
                          <a:pt x="17" y="2"/>
                        </a:lnTo>
                        <a:lnTo>
                          <a:pt x="19" y="4"/>
                        </a:lnTo>
                        <a:lnTo>
                          <a:pt x="19" y="6"/>
                        </a:lnTo>
                        <a:lnTo>
                          <a:pt x="21" y="7"/>
                        </a:lnTo>
                        <a:lnTo>
                          <a:pt x="24" y="13"/>
                        </a:lnTo>
                        <a:lnTo>
                          <a:pt x="24" y="13"/>
                        </a:lnTo>
                        <a:lnTo>
                          <a:pt x="26" y="14"/>
                        </a:lnTo>
                        <a:lnTo>
                          <a:pt x="26" y="16"/>
                        </a:lnTo>
                        <a:lnTo>
                          <a:pt x="26" y="18"/>
                        </a:lnTo>
                        <a:lnTo>
                          <a:pt x="24" y="20"/>
                        </a:lnTo>
                        <a:lnTo>
                          <a:pt x="19" y="21"/>
                        </a:lnTo>
                        <a:lnTo>
                          <a:pt x="16" y="21"/>
                        </a:lnTo>
                        <a:lnTo>
                          <a:pt x="1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430" name="Freeform 2224">
                  <a:extLst>
                    <a:ext uri="{FF2B5EF4-FFF2-40B4-BE49-F238E27FC236}">
                      <a16:creationId xmlns:a16="http://schemas.microsoft.com/office/drawing/2014/main" id="{01183B29-AE70-9C11-13BC-BD3B584EE045}"/>
                    </a:ext>
                  </a:extLst>
                </p:cNvPr>
                <p:cNvSpPr>
                  <a:spLocks/>
                </p:cNvSpPr>
                <p:nvPr/>
              </p:nvSpPr>
              <p:spPr bwMode="auto">
                <a:xfrm>
                  <a:off x="5415731" y="3177938"/>
                  <a:ext cx="15859" cy="17620"/>
                </a:xfrm>
                <a:custGeom>
                  <a:avLst/>
                  <a:gdLst/>
                  <a:ahLst/>
                  <a:cxnLst>
                    <a:cxn ang="0">
                      <a:pos x="0" y="0"/>
                    </a:cxn>
                    <a:cxn ang="0">
                      <a:pos x="0" y="0"/>
                    </a:cxn>
                    <a:cxn ang="0">
                      <a:pos x="2" y="0"/>
                    </a:cxn>
                    <a:cxn ang="0">
                      <a:pos x="3" y="0"/>
                    </a:cxn>
                    <a:cxn ang="0">
                      <a:pos x="7" y="5"/>
                    </a:cxn>
                    <a:cxn ang="0">
                      <a:pos x="12" y="11"/>
                    </a:cxn>
                    <a:cxn ang="0">
                      <a:pos x="16" y="16"/>
                    </a:cxn>
                    <a:cxn ang="0">
                      <a:pos x="16" y="16"/>
                    </a:cxn>
                    <a:cxn ang="0">
                      <a:pos x="19" y="19"/>
                    </a:cxn>
                    <a:cxn ang="0">
                      <a:pos x="17" y="23"/>
                    </a:cxn>
                    <a:cxn ang="0">
                      <a:pos x="16" y="21"/>
                    </a:cxn>
                    <a:cxn ang="0">
                      <a:pos x="12" y="18"/>
                    </a:cxn>
                    <a:cxn ang="0">
                      <a:pos x="12" y="18"/>
                    </a:cxn>
                    <a:cxn ang="0">
                      <a:pos x="3" y="7"/>
                    </a:cxn>
                    <a:cxn ang="0">
                      <a:pos x="0" y="4"/>
                    </a:cxn>
                    <a:cxn ang="0">
                      <a:pos x="0" y="0"/>
                    </a:cxn>
                    <a:cxn ang="0">
                      <a:pos x="0" y="0"/>
                    </a:cxn>
                  </a:cxnLst>
                  <a:rect l="0" t="0" r="r" b="b"/>
                  <a:pathLst>
                    <a:path w="19" h="23">
                      <a:moveTo>
                        <a:pt x="0" y="0"/>
                      </a:moveTo>
                      <a:lnTo>
                        <a:pt x="0" y="0"/>
                      </a:lnTo>
                      <a:lnTo>
                        <a:pt x="2" y="0"/>
                      </a:lnTo>
                      <a:lnTo>
                        <a:pt x="3" y="0"/>
                      </a:lnTo>
                      <a:lnTo>
                        <a:pt x="7" y="5"/>
                      </a:lnTo>
                      <a:lnTo>
                        <a:pt x="12" y="11"/>
                      </a:lnTo>
                      <a:lnTo>
                        <a:pt x="16" y="16"/>
                      </a:lnTo>
                      <a:lnTo>
                        <a:pt x="16" y="16"/>
                      </a:lnTo>
                      <a:lnTo>
                        <a:pt x="19" y="19"/>
                      </a:lnTo>
                      <a:lnTo>
                        <a:pt x="17" y="23"/>
                      </a:lnTo>
                      <a:lnTo>
                        <a:pt x="16" y="21"/>
                      </a:lnTo>
                      <a:lnTo>
                        <a:pt x="12" y="18"/>
                      </a:lnTo>
                      <a:lnTo>
                        <a:pt x="12" y="18"/>
                      </a:lnTo>
                      <a:lnTo>
                        <a:pt x="3" y="7"/>
                      </a:lnTo>
                      <a:lnTo>
                        <a:pt x="0" y="4"/>
                      </a:lnTo>
                      <a:lnTo>
                        <a:pt x="0" y="0"/>
                      </a:lnTo>
                      <a:lnTo>
                        <a:pt x="0"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1" name="Freeform 2225">
                  <a:extLst>
                    <a:ext uri="{FF2B5EF4-FFF2-40B4-BE49-F238E27FC236}">
                      <a16:creationId xmlns:a16="http://schemas.microsoft.com/office/drawing/2014/main" id="{A9CDB4F4-DE4E-E2B7-219E-EB66F02FBE94}"/>
                    </a:ext>
                  </a:extLst>
                </p:cNvPr>
                <p:cNvSpPr>
                  <a:spLocks/>
                </p:cNvSpPr>
                <p:nvPr/>
              </p:nvSpPr>
              <p:spPr bwMode="auto">
                <a:xfrm>
                  <a:off x="5297677" y="3008786"/>
                  <a:ext cx="70481" cy="58146"/>
                </a:xfrm>
                <a:custGeom>
                  <a:avLst/>
                  <a:gdLst/>
                  <a:ahLst/>
                  <a:cxnLst>
                    <a:cxn ang="0">
                      <a:pos x="3" y="21"/>
                    </a:cxn>
                    <a:cxn ang="0">
                      <a:pos x="3" y="32"/>
                    </a:cxn>
                    <a:cxn ang="0">
                      <a:pos x="2" y="37"/>
                    </a:cxn>
                    <a:cxn ang="0">
                      <a:pos x="0" y="40"/>
                    </a:cxn>
                    <a:cxn ang="0">
                      <a:pos x="2" y="44"/>
                    </a:cxn>
                    <a:cxn ang="0">
                      <a:pos x="2" y="47"/>
                    </a:cxn>
                    <a:cxn ang="0">
                      <a:pos x="2" y="54"/>
                    </a:cxn>
                    <a:cxn ang="0">
                      <a:pos x="10" y="68"/>
                    </a:cxn>
                    <a:cxn ang="0">
                      <a:pos x="14" y="68"/>
                    </a:cxn>
                    <a:cxn ang="0">
                      <a:pos x="16" y="67"/>
                    </a:cxn>
                    <a:cxn ang="0">
                      <a:pos x="17" y="72"/>
                    </a:cxn>
                    <a:cxn ang="0">
                      <a:pos x="33" y="70"/>
                    </a:cxn>
                    <a:cxn ang="0">
                      <a:pos x="49" y="65"/>
                    </a:cxn>
                    <a:cxn ang="0">
                      <a:pos x="52" y="60"/>
                    </a:cxn>
                    <a:cxn ang="0">
                      <a:pos x="56" y="56"/>
                    </a:cxn>
                    <a:cxn ang="0">
                      <a:pos x="63" y="58"/>
                    </a:cxn>
                    <a:cxn ang="0">
                      <a:pos x="75" y="60"/>
                    </a:cxn>
                    <a:cxn ang="0">
                      <a:pos x="80" y="56"/>
                    </a:cxn>
                    <a:cxn ang="0">
                      <a:pos x="84" y="49"/>
                    </a:cxn>
                    <a:cxn ang="0">
                      <a:pos x="87" y="47"/>
                    </a:cxn>
                    <a:cxn ang="0">
                      <a:pos x="87" y="37"/>
                    </a:cxn>
                    <a:cxn ang="0">
                      <a:pos x="85" y="21"/>
                    </a:cxn>
                    <a:cxn ang="0">
                      <a:pos x="82" y="16"/>
                    </a:cxn>
                    <a:cxn ang="0">
                      <a:pos x="71" y="9"/>
                    </a:cxn>
                    <a:cxn ang="0">
                      <a:pos x="66" y="0"/>
                    </a:cxn>
                    <a:cxn ang="0">
                      <a:pos x="54" y="2"/>
                    </a:cxn>
                    <a:cxn ang="0">
                      <a:pos x="40" y="4"/>
                    </a:cxn>
                    <a:cxn ang="0">
                      <a:pos x="33" y="4"/>
                    </a:cxn>
                    <a:cxn ang="0">
                      <a:pos x="26" y="7"/>
                    </a:cxn>
                    <a:cxn ang="0">
                      <a:pos x="17" y="9"/>
                    </a:cxn>
                    <a:cxn ang="0">
                      <a:pos x="10" y="14"/>
                    </a:cxn>
                    <a:cxn ang="0">
                      <a:pos x="9" y="21"/>
                    </a:cxn>
                    <a:cxn ang="0">
                      <a:pos x="3" y="21"/>
                    </a:cxn>
                  </a:cxnLst>
                  <a:rect l="0" t="0" r="r" b="b"/>
                  <a:pathLst>
                    <a:path w="87" h="72">
                      <a:moveTo>
                        <a:pt x="3" y="21"/>
                      </a:moveTo>
                      <a:lnTo>
                        <a:pt x="3" y="21"/>
                      </a:lnTo>
                      <a:lnTo>
                        <a:pt x="3" y="28"/>
                      </a:lnTo>
                      <a:lnTo>
                        <a:pt x="3" y="32"/>
                      </a:lnTo>
                      <a:lnTo>
                        <a:pt x="3" y="35"/>
                      </a:lnTo>
                      <a:lnTo>
                        <a:pt x="2" y="37"/>
                      </a:lnTo>
                      <a:lnTo>
                        <a:pt x="2" y="37"/>
                      </a:lnTo>
                      <a:lnTo>
                        <a:pt x="0" y="40"/>
                      </a:lnTo>
                      <a:lnTo>
                        <a:pt x="2" y="42"/>
                      </a:lnTo>
                      <a:lnTo>
                        <a:pt x="2" y="44"/>
                      </a:lnTo>
                      <a:lnTo>
                        <a:pt x="2" y="47"/>
                      </a:lnTo>
                      <a:lnTo>
                        <a:pt x="2" y="47"/>
                      </a:lnTo>
                      <a:lnTo>
                        <a:pt x="2" y="51"/>
                      </a:lnTo>
                      <a:lnTo>
                        <a:pt x="2" y="54"/>
                      </a:lnTo>
                      <a:lnTo>
                        <a:pt x="5" y="61"/>
                      </a:lnTo>
                      <a:lnTo>
                        <a:pt x="10" y="68"/>
                      </a:lnTo>
                      <a:lnTo>
                        <a:pt x="12" y="68"/>
                      </a:lnTo>
                      <a:lnTo>
                        <a:pt x="14" y="68"/>
                      </a:lnTo>
                      <a:lnTo>
                        <a:pt x="14" y="68"/>
                      </a:lnTo>
                      <a:lnTo>
                        <a:pt x="16" y="67"/>
                      </a:lnTo>
                      <a:lnTo>
                        <a:pt x="16" y="68"/>
                      </a:lnTo>
                      <a:lnTo>
                        <a:pt x="17" y="72"/>
                      </a:lnTo>
                      <a:lnTo>
                        <a:pt x="17" y="72"/>
                      </a:lnTo>
                      <a:lnTo>
                        <a:pt x="33" y="70"/>
                      </a:lnTo>
                      <a:lnTo>
                        <a:pt x="43" y="68"/>
                      </a:lnTo>
                      <a:lnTo>
                        <a:pt x="49" y="65"/>
                      </a:lnTo>
                      <a:lnTo>
                        <a:pt x="50" y="61"/>
                      </a:lnTo>
                      <a:lnTo>
                        <a:pt x="52" y="60"/>
                      </a:lnTo>
                      <a:lnTo>
                        <a:pt x="54" y="58"/>
                      </a:lnTo>
                      <a:lnTo>
                        <a:pt x="56" y="56"/>
                      </a:lnTo>
                      <a:lnTo>
                        <a:pt x="63" y="58"/>
                      </a:lnTo>
                      <a:lnTo>
                        <a:pt x="63" y="58"/>
                      </a:lnTo>
                      <a:lnTo>
                        <a:pt x="70" y="60"/>
                      </a:lnTo>
                      <a:lnTo>
                        <a:pt x="75" y="60"/>
                      </a:lnTo>
                      <a:lnTo>
                        <a:pt x="78" y="58"/>
                      </a:lnTo>
                      <a:lnTo>
                        <a:pt x="80" y="56"/>
                      </a:lnTo>
                      <a:lnTo>
                        <a:pt x="82" y="51"/>
                      </a:lnTo>
                      <a:lnTo>
                        <a:pt x="84" y="49"/>
                      </a:lnTo>
                      <a:lnTo>
                        <a:pt x="87" y="47"/>
                      </a:lnTo>
                      <a:lnTo>
                        <a:pt x="87" y="47"/>
                      </a:lnTo>
                      <a:lnTo>
                        <a:pt x="87" y="42"/>
                      </a:lnTo>
                      <a:lnTo>
                        <a:pt x="87" y="37"/>
                      </a:lnTo>
                      <a:lnTo>
                        <a:pt x="87" y="30"/>
                      </a:lnTo>
                      <a:lnTo>
                        <a:pt x="85" y="21"/>
                      </a:lnTo>
                      <a:lnTo>
                        <a:pt x="85" y="21"/>
                      </a:lnTo>
                      <a:lnTo>
                        <a:pt x="82" y="16"/>
                      </a:lnTo>
                      <a:lnTo>
                        <a:pt x="77" y="13"/>
                      </a:lnTo>
                      <a:lnTo>
                        <a:pt x="71" y="9"/>
                      </a:lnTo>
                      <a:lnTo>
                        <a:pt x="66" y="0"/>
                      </a:lnTo>
                      <a:lnTo>
                        <a:pt x="66" y="0"/>
                      </a:lnTo>
                      <a:lnTo>
                        <a:pt x="59" y="0"/>
                      </a:lnTo>
                      <a:lnTo>
                        <a:pt x="54" y="2"/>
                      </a:lnTo>
                      <a:lnTo>
                        <a:pt x="47" y="4"/>
                      </a:lnTo>
                      <a:lnTo>
                        <a:pt x="40" y="4"/>
                      </a:lnTo>
                      <a:lnTo>
                        <a:pt x="40" y="4"/>
                      </a:lnTo>
                      <a:lnTo>
                        <a:pt x="33" y="4"/>
                      </a:lnTo>
                      <a:lnTo>
                        <a:pt x="30" y="4"/>
                      </a:lnTo>
                      <a:lnTo>
                        <a:pt x="26" y="7"/>
                      </a:lnTo>
                      <a:lnTo>
                        <a:pt x="17" y="9"/>
                      </a:lnTo>
                      <a:lnTo>
                        <a:pt x="17" y="9"/>
                      </a:lnTo>
                      <a:lnTo>
                        <a:pt x="14" y="13"/>
                      </a:lnTo>
                      <a:lnTo>
                        <a:pt x="10" y="14"/>
                      </a:lnTo>
                      <a:lnTo>
                        <a:pt x="9" y="18"/>
                      </a:lnTo>
                      <a:lnTo>
                        <a:pt x="9" y="21"/>
                      </a:lnTo>
                      <a:lnTo>
                        <a:pt x="7" y="23"/>
                      </a:lnTo>
                      <a:lnTo>
                        <a:pt x="3" y="21"/>
                      </a:lnTo>
                      <a:lnTo>
                        <a:pt x="3"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2" name="Freeform 2226">
                  <a:extLst>
                    <a:ext uri="{FF2B5EF4-FFF2-40B4-BE49-F238E27FC236}">
                      <a16:creationId xmlns:a16="http://schemas.microsoft.com/office/drawing/2014/main" id="{CA774B30-3821-FDE7-E9E6-48E2302DD7DE}"/>
                    </a:ext>
                  </a:extLst>
                </p:cNvPr>
                <p:cNvSpPr>
                  <a:spLocks/>
                </p:cNvSpPr>
                <p:nvPr/>
              </p:nvSpPr>
              <p:spPr bwMode="auto">
                <a:xfrm>
                  <a:off x="5239531" y="2961212"/>
                  <a:ext cx="54622" cy="65195"/>
                </a:xfrm>
                <a:custGeom>
                  <a:avLst/>
                  <a:gdLst/>
                  <a:ahLst/>
                  <a:cxnLst>
                    <a:cxn ang="0">
                      <a:pos x="27" y="4"/>
                    </a:cxn>
                    <a:cxn ang="0">
                      <a:pos x="38" y="14"/>
                    </a:cxn>
                    <a:cxn ang="0">
                      <a:pos x="62" y="30"/>
                    </a:cxn>
                    <a:cxn ang="0">
                      <a:pos x="67" y="35"/>
                    </a:cxn>
                    <a:cxn ang="0">
                      <a:pos x="67" y="37"/>
                    </a:cxn>
                    <a:cxn ang="0">
                      <a:pos x="59" y="40"/>
                    </a:cxn>
                    <a:cxn ang="0">
                      <a:pos x="54" y="44"/>
                    </a:cxn>
                    <a:cxn ang="0">
                      <a:pos x="55" y="44"/>
                    </a:cxn>
                    <a:cxn ang="0">
                      <a:pos x="57" y="47"/>
                    </a:cxn>
                    <a:cxn ang="0">
                      <a:pos x="57" y="49"/>
                    </a:cxn>
                    <a:cxn ang="0">
                      <a:pos x="52" y="54"/>
                    </a:cxn>
                    <a:cxn ang="0">
                      <a:pos x="47" y="53"/>
                    </a:cxn>
                    <a:cxn ang="0">
                      <a:pos x="45" y="47"/>
                    </a:cxn>
                    <a:cxn ang="0">
                      <a:pos x="43" y="44"/>
                    </a:cxn>
                    <a:cxn ang="0">
                      <a:pos x="36" y="56"/>
                    </a:cxn>
                    <a:cxn ang="0">
                      <a:pos x="33" y="65"/>
                    </a:cxn>
                    <a:cxn ang="0">
                      <a:pos x="31" y="72"/>
                    </a:cxn>
                    <a:cxn ang="0">
                      <a:pos x="33" y="79"/>
                    </a:cxn>
                    <a:cxn ang="0">
                      <a:pos x="33" y="84"/>
                    </a:cxn>
                    <a:cxn ang="0">
                      <a:pos x="22" y="80"/>
                    </a:cxn>
                    <a:cxn ang="0">
                      <a:pos x="20" y="72"/>
                    </a:cxn>
                    <a:cxn ang="0">
                      <a:pos x="19" y="67"/>
                    </a:cxn>
                    <a:cxn ang="0">
                      <a:pos x="8" y="61"/>
                    </a:cxn>
                    <a:cxn ang="0">
                      <a:pos x="10" y="60"/>
                    </a:cxn>
                    <a:cxn ang="0">
                      <a:pos x="7" y="56"/>
                    </a:cxn>
                    <a:cxn ang="0">
                      <a:pos x="1" y="53"/>
                    </a:cxn>
                    <a:cxn ang="0">
                      <a:pos x="0" y="49"/>
                    </a:cxn>
                    <a:cxn ang="0">
                      <a:pos x="3" y="44"/>
                    </a:cxn>
                    <a:cxn ang="0">
                      <a:pos x="0" y="35"/>
                    </a:cxn>
                    <a:cxn ang="0">
                      <a:pos x="3" y="30"/>
                    </a:cxn>
                    <a:cxn ang="0">
                      <a:pos x="8" y="25"/>
                    </a:cxn>
                    <a:cxn ang="0">
                      <a:pos x="12" y="16"/>
                    </a:cxn>
                    <a:cxn ang="0">
                      <a:pos x="13" y="11"/>
                    </a:cxn>
                    <a:cxn ang="0">
                      <a:pos x="19" y="14"/>
                    </a:cxn>
                    <a:cxn ang="0">
                      <a:pos x="20" y="18"/>
                    </a:cxn>
                    <a:cxn ang="0">
                      <a:pos x="22" y="14"/>
                    </a:cxn>
                    <a:cxn ang="0">
                      <a:pos x="19" y="6"/>
                    </a:cxn>
                    <a:cxn ang="0">
                      <a:pos x="19" y="0"/>
                    </a:cxn>
                    <a:cxn ang="0">
                      <a:pos x="27" y="4"/>
                    </a:cxn>
                  </a:cxnLst>
                  <a:rect l="0" t="0" r="r" b="b"/>
                  <a:pathLst>
                    <a:path w="67" h="84">
                      <a:moveTo>
                        <a:pt x="27" y="4"/>
                      </a:moveTo>
                      <a:lnTo>
                        <a:pt x="27" y="4"/>
                      </a:lnTo>
                      <a:lnTo>
                        <a:pt x="33" y="9"/>
                      </a:lnTo>
                      <a:lnTo>
                        <a:pt x="38" y="14"/>
                      </a:lnTo>
                      <a:lnTo>
                        <a:pt x="50" y="23"/>
                      </a:lnTo>
                      <a:lnTo>
                        <a:pt x="62" y="30"/>
                      </a:lnTo>
                      <a:lnTo>
                        <a:pt x="66" y="33"/>
                      </a:lnTo>
                      <a:lnTo>
                        <a:pt x="67" y="35"/>
                      </a:lnTo>
                      <a:lnTo>
                        <a:pt x="67" y="35"/>
                      </a:lnTo>
                      <a:lnTo>
                        <a:pt x="67" y="37"/>
                      </a:lnTo>
                      <a:lnTo>
                        <a:pt x="64" y="39"/>
                      </a:lnTo>
                      <a:lnTo>
                        <a:pt x="59" y="40"/>
                      </a:lnTo>
                      <a:lnTo>
                        <a:pt x="54" y="42"/>
                      </a:lnTo>
                      <a:lnTo>
                        <a:pt x="54" y="44"/>
                      </a:lnTo>
                      <a:lnTo>
                        <a:pt x="55" y="44"/>
                      </a:lnTo>
                      <a:lnTo>
                        <a:pt x="55" y="44"/>
                      </a:lnTo>
                      <a:lnTo>
                        <a:pt x="57" y="46"/>
                      </a:lnTo>
                      <a:lnTo>
                        <a:pt x="57" y="47"/>
                      </a:lnTo>
                      <a:lnTo>
                        <a:pt x="55" y="47"/>
                      </a:lnTo>
                      <a:lnTo>
                        <a:pt x="57" y="49"/>
                      </a:lnTo>
                      <a:lnTo>
                        <a:pt x="57" y="49"/>
                      </a:lnTo>
                      <a:lnTo>
                        <a:pt x="52" y="54"/>
                      </a:lnTo>
                      <a:lnTo>
                        <a:pt x="50" y="54"/>
                      </a:lnTo>
                      <a:lnTo>
                        <a:pt x="47" y="53"/>
                      </a:lnTo>
                      <a:lnTo>
                        <a:pt x="45" y="47"/>
                      </a:lnTo>
                      <a:lnTo>
                        <a:pt x="45" y="47"/>
                      </a:lnTo>
                      <a:lnTo>
                        <a:pt x="45" y="46"/>
                      </a:lnTo>
                      <a:lnTo>
                        <a:pt x="43" y="44"/>
                      </a:lnTo>
                      <a:lnTo>
                        <a:pt x="40" y="49"/>
                      </a:lnTo>
                      <a:lnTo>
                        <a:pt x="36" y="56"/>
                      </a:lnTo>
                      <a:lnTo>
                        <a:pt x="33" y="65"/>
                      </a:lnTo>
                      <a:lnTo>
                        <a:pt x="33" y="65"/>
                      </a:lnTo>
                      <a:lnTo>
                        <a:pt x="29" y="68"/>
                      </a:lnTo>
                      <a:lnTo>
                        <a:pt x="31" y="72"/>
                      </a:lnTo>
                      <a:lnTo>
                        <a:pt x="33" y="75"/>
                      </a:lnTo>
                      <a:lnTo>
                        <a:pt x="33" y="79"/>
                      </a:lnTo>
                      <a:lnTo>
                        <a:pt x="33" y="84"/>
                      </a:lnTo>
                      <a:lnTo>
                        <a:pt x="33" y="84"/>
                      </a:lnTo>
                      <a:lnTo>
                        <a:pt x="26" y="82"/>
                      </a:lnTo>
                      <a:lnTo>
                        <a:pt x="22" y="80"/>
                      </a:lnTo>
                      <a:lnTo>
                        <a:pt x="22" y="77"/>
                      </a:lnTo>
                      <a:lnTo>
                        <a:pt x="20" y="72"/>
                      </a:lnTo>
                      <a:lnTo>
                        <a:pt x="20" y="72"/>
                      </a:lnTo>
                      <a:lnTo>
                        <a:pt x="19" y="67"/>
                      </a:lnTo>
                      <a:lnTo>
                        <a:pt x="15" y="63"/>
                      </a:lnTo>
                      <a:lnTo>
                        <a:pt x="8" y="61"/>
                      </a:lnTo>
                      <a:lnTo>
                        <a:pt x="8" y="61"/>
                      </a:lnTo>
                      <a:lnTo>
                        <a:pt x="10" y="60"/>
                      </a:lnTo>
                      <a:lnTo>
                        <a:pt x="10" y="58"/>
                      </a:lnTo>
                      <a:lnTo>
                        <a:pt x="7" y="56"/>
                      </a:lnTo>
                      <a:lnTo>
                        <a:pt x="3" y="54"/>
                      </a:lnTo>
                      <a:lnTo>
                        <a:pt x="1" y="53"/>
                      </a:lnTo>
                      <a:lnTo>
                        <a:pt x="0" y="49"/>
                      </a:lnTo>
                      <a:lnTo>
                        <a:pt x="0" y="49"/>
                      </a:lnTo>
                      <a:lnTo>
                        <a:pt x="3" y="47"/>
                      </a:lnTo>
                      <a:lnTo>
                        <a:pt x="3" y="44"/>
                      </a:lnTo>
                      <a:lnTo>
                        <a:pt x="1" y="40"/>
                      </a:lnTo>
                      <a:lnTo>
                        <a:pt x="0" y="35"/>
                      </a:lnTo>
                      <a:lnTo>
                        <a:pt x="0" y="33"/>
                      </a:lnTo>
                      <a:lnTo>
                        <a:pt x="3" y="30"/>
                      </a:lnTo>
                      <a:lnTo>
                        <a:pt x="3" y="30"/>
                      </a:lnTo>
                      <a:lnTo>
                        <a:pt x="8" y="25"/>
                      </a:lnTo>
                      <a:lnTo>
                        <a:pt x="10" y="20"/>
                      </a:lnTo>
                      <a:lnTo>
                        <a:pt x="12" y="16"/>
                      </a:lnTo>
                      <a:lnTo>
                        <a:pt x="13" y="11"/>
                      </a:lnTo>
                      <a:lnTo>
                        <a:pt x="13" y="11"/>
                      </a:lnTo>
                      <a:lnTo>
                        <a:pt x="17" y="13"/>
                      </a:lnTo>
                      <a:lnTo>
                        <a:pt x="19" y="14"/>
                      </a:lnTo>
                      <a:lnTo>
                        <a:pt x="19" y="18"/>
                      </a:lnTo>
                      <a:lnTo>
                        <a:pt x="20" y="18"/>
                      </a:lnTo>
                      <a:lnTo>
                        <a:pt x="20" y="18"/>
                      </a:lnTo>
                      <a:lnTo>
                        <a:pt x="22" y="14"/>
                      </a:lnTo>
                      <a:lnTo>
                        <a:pt x="20" y="13"/>
                      </a:lnTo>
                      <a:lnTo>
                        <a:pt x="19" y="6"/>
                      </a:lnTo>
                      <a:lnTo>
                        <a:pt x="17" y="2"/>
                      </a:lnTo>
                      <a:lnTo>
                        <a:pt x="19" y="0"/>
                      </a:lnTo>
                      <a:lnTo>
                        <a:pt x="22" y="2"/>
                      </a:lnTo>
                      <a:lnTo>
                        <a:pt x="27" y="4"/>
                      </a:lnTo>
                      <a:lnTo>
                        <a:pt x="27" y="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3" name="Freeform 2227">
                  <a:extLst>
                    <a:ext uri="{FF2B5EF4-FFF2-40B4-BE49-F238E27FC236}">
                      <a16:creationId xmlns:a16="http://schemas.microsoft.com/office/drawing/2014/main" id="{08E4CBF8-6D9A-D3F9-85EE-B292A68E6305}"/>
                    </a:ext>
                  </a:extLst>
                </p:cNvPr>
                <p:cNvSpPr>
                  <a:spLocks/>
                </p:cNvSpPr>
                <p:nvPr/>
              </p:nvSpPr>
              <p:spPr bwMode="auto">
                <a:xfrm>
                  <a:off x="5123239" y="3253702"/>
                  <a:ext cx="7048" cy="5286"/>
                </a:xfrm>
                <a:custGeom>
                  <a:avLst/>
                  <a:gdLst/>
                  <a:ahLst/>
                  <a:cxnLst>
                    <a:cxn ang="0">
                      <a:pos x="0" y="0"/>
                    </a:cxn>
                    <a:cxn ang="0">
                      <a:pos x="0" y="0"/>
                    </a:cxn>
                    <a:cxn ang="0">
                      <a:pos x="4" y="0"/>
                    </a:cxn>
                    <a:cxn ang="0">
                      <a:pos x="5" y="2"/>
                    </a:cxn>
                    <a:cxn ang="0">
                      <a:pos x="7" y="6"/>
                    </a:cxn>
                    <a:cxn ang="0">
                      <a:pos x="7" y="9"/>
                    </a:cxn>
                    <a:cxn ang="0">
                      <a:pos x="7" y="9"/>
                    </a:cxn>
                    <a:cxn ang="0">
                      <a:pos x="4" y="9"/>
                    </a:cxn>
                    <a:cxn ang="0">
                      <a:pos x="2" y="6"/>
                    </a:cxn>
                    <a:cxn ang="0">
                      <a:pos x="0" y="4"/>
                    </a:cxn>
                    <a:cxn ang="0">
                      <a:pos x="0" y="0"/>
                    </a:cxn>
                    <a:cxn ang="0">
                      <a:pos x="0" y="0"/>
                    </a:cxn>
                  </a:cxnLst>
                  <a:rect l="0" t="0" r="r" b="b"/>
                  <a:pathLst>
                    <a:path w="7" h="9">
                      <a:moveTo>
                        <a:pt x="0" y="0"/>
                      </a:moveTo>
                      <a:lnTo>
                        <a:pt x="0" y="0"/>
                      </a:lnTo>
                      <a:lnTo>
                        <a:pt x="4" y="0"/>
                      </a:lnTo>
                      <a:lnTo>
                        <a:pt x="5" y="2"/>
                      </a:lnTo>
                      <a:lnTo>
                        <a:pt x="7" y="6"/>
                      </a:lnTo>
                      <a:lnTo>
                        <a:pt x="7" y="9"/>
                      </a:lnTo>
                      <a:lnTo>
                        <a:pt x="7" y="9"/>
                      </a:lnTo>
                      <a:lnTo>
                        <a:pt x="4" y="9"/>
                      </a:lnTo>
                      <a:lnTo>
                        <a:pt x="2" y="6"/>
                      </a:lnTo>
                      <a:lnTo>
                        <a:pt x="0" y="4"/>
                      </a:lnTo>
                      <a:lnTo>
                        <a:pt x="0" y="0"/>
                      </a:lnTo>
                      <a:lnTo>
                        <a:pt x="0"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4" name="Freeform 2228">
                  <a:extLst>
                    <a:ext uri="{FF2B5EF4-FFF2-40B4-BE49-F238E27FC236}">
                      <a16:creationId xmlns:a16="http://schemas.microsoft.com/office/drawing/2014/main" id="{DD139DE1-7309-D8D4-28FB-FB5F0B898550}"/>
                    </a:ext>
                  </a:extLst>
                </p:cNvPr>
                <p:cNvSpPr>
                  <a:spLocks/>
                </p:cNvSpPr>
                <p:nvPr/>
              </p:nvSpPr>
              <p:spPr bwMode="auto">
                <a:xfrm>
                  <a:off x="5102093" y="2844918"/>
                  <a:ext cx="165629" cy="163867"/>
                </a:xfrm>
                <a:custGeom>
                  <a:avLst/>
                  <a:gdLst/>
                  <a:ahLst/>
                  <a:cxnLst>
                    <a:cxn ang="0">
                      <a:pos x="186" y="80"/>
                    </a:cxn>
                    <a:cxn ang="0">
                      <a:pos x="178" y="72"/>
                    </a:cxn>
                    <a:cxn ang="0">
                      <a:pos x="160" y="68"/>
                    </a:cxn>
                    <a:cxn ang="0">
                      <a:pos x="152" y="73"/>
                    </a:cxn>
                    <a:cxn ang="0">
                      <a:pos x="134" y="68"/>
                    </a:cxn>
                    <a:cxn ang="0">
                      <a:pos x="126" y="68"/>
                    </a:cxn>
                    <a:cxn ang="0">
                      <a:pos x="103" y="68"/>
                    </a:cxn>
                    <a:cxn ang="0">
                      <a:pos x="92" y="70"/>
                    </a:cxn>
                    <a:cxn ang="0">
                      <a:pos x="80" y="68"/>
                    </a:cxn>
                    <a:cxn ang="0">
                      <a:pos x="80" y="89"/>
                    </a:cxn>
                    <a:cxn ang="0">
                      <a:pos x="91" y="103"/>
                    </a:cxn>
                    <a:cxn ang="0">
                      <a:pos x="94" y="110"/>
                    </a:cxn>
                    <a:cxn ang="0">
                      <a:pos x="94" y="117"/>
                    </a:cxn>
                    <a:cxn ang="0">
                      <a:pos x="119" y="143"/>
                    </a:cxn>
                    <a:cxn ang="0">
                      <a:pos x="131" y="155"/>
                    </a:cxn>
                    <a:cxn ang="0">
                      <a:pos x="145" y="171"/>
                    </a:cxn>
                    <a:cxn ang="0">
                      <a:pos x="146" y="178"/>
                    </a:cxn>
                    <a:cxn ang="0">
                      <a:pos x="153" y="183"/>
                    </a:cxn>
                    <a:cxn ang="0">
                      <a:pos x="173" y="195"/>
                    </a:cxn>
                    <a:cxn ang="0">
                      <a:pos x="183" y="204"/>
                    </a:cxn>
                    <a:cxn ang="0">
                      <a:pos x="180" y="204"/>
                    </a:cxn>
                    <a:cxn ang="0">
                      <a:pos x="171" y="204"/>
                    </a:cxn>
                    <a:cxn ang="0">
                      <a:pos x="145" y="185"/>
                    </a:cxn>
                    <a:cxn ang="0">
                      <a:pos x="124" y="174"/>
                    </a:cxn>
                    <a:cxn ang="0">
                      <a:pos x="129" y="166"/>
                    </a:cxn>
                    <a:cxn ang="0">
                      <a:pos x="94" y="150"/>
                    </a:cxn>
                    <a:cxn ang="0">
                      <a:pos x="86" y="148"/>
                    </a:cxn>
                    <a:cxn ang="0">
                      <a:pos x="70" y="129"/>
                    </a:cxn>
                    <a:cxn ang="0">
                      <a:pos x="58" y="113"/>
                    </a:cxn>
                    <a:cxn ang="0">
                      <a:pos x="54" y="101"/>
                    </a:cxn>
                    <a:cxn ang="0">
                      <a:pos x="49" y="82"/>
                    </a:cxn>
                    <a:cxn ang="0">
                      <a:pos x="37" y="63"/>
                    </a:cxn>
                    <a:cxn ang="0">
                      <a:pos x="25" y="63"/>
                    </a:cxn>
                    <a:cxn ang="0">
                      <a:pos x="16" y="89"/>
                    </a:cxn>
                    <a:cxn ang="0">
                      <a:pos x="0" y="54"/>
                    </a:cxn>
                    <a:cxn ang="0">
                      <a:pos x="14" y="52"/>
                    </a:cxn>
                    <a:cxn ang="0">
                      <a:pos x="37" y="45"/>
                    </a:cxn>
                    <a:cxn ang="0">
                      <a:pos x="47" y="52"/>
                    </a:cxn>
                    <a:cxn ang="0">
                      <a:pos x="61" y="56"/>
                    </a:cxn>
                    <a:cxn ang="0">
                      <a:pos x="63" y="45"/>
                    </a:cxn>
                    <a:cxn ang="0">
                      <a:pos x="77" y="33"/>
                    </a:cxn>
                    <a:cxn ang="0">
                      <a:pos x="73" y="21"/>
                    </a:cxn>
                    <a:cxn ang="0">
                      <a:pos x="86" y="12"/>
                    </a:cxn>
                    <a:cxn ang="0">
                      <a:pos x="96" y="5"/>
                    </a:cxn>
                    <a:cxn ang="0">
                      <a:pos x="96" y="0"/>
                    </a:cxn>
                    <a:cxn ang="0">
                      <a:pos x="105" y="2"/>
                    </a:cxn>
                    <a:cxn ang="0">
                      <a:pos x="134" y="28"/>
                    </a:cxn>
                    <a:cxn ang="0">
                      <a:pos x="145" y="31"/>
                    </a:cxn>
                    <a:cxn ang="0">
                      <a:pos x="171" y="38"/>
                    </a:cxn>
                    <a:cxn ang="0">
                      <a:pos x="180" y="31"/>
                    </a:cxn>
                    <a:cxn ang="0">
                      <a:pos x="188" y="37"/>
                    </a:cxn>
                    <a:cxn ang="0">
                      <a:pos x="193" y="59"/>
                    </a:cxn>
                    <a:cxn ang="0">
                      <a:pos x="206" y="66"/>
                    </a:cxn>
                    <a:cxn ang="0">
                      <a:pos x="195" y="73"/>
                    </a:cxn>
                  </a:cxnLst>
                  <a:rect l="0" t="0" r="r" b="b"/>
                  <a:pathLst>
                    <a:path w="207" h="207">
                      <a:moveTo>
                        <a:pt x="193" y="82"/>
                      </a:moveTo>
                      <a:lnTo>
                        <a:pt x="193" y="82"/>
                      </a:lnTo>
                      <a:lnTo>
                        <a:pt x="188" y="82"/>
                      </a:lnTo>
                      <a:lnTo>
                        <a:pt x="186" y="80"/>
                      </a:lnTo>
                      <a:lnTo>
                        <a:pt x="183" y="77"/>
                      </a:lnTo>
                      <a:lnTo>
                        <a:pt x="181" y="72"/>
                      </a:lnTo>
                      <a:lnTo>
                        <a:pt x="180" y="72"/>
                      </a:lnTo>
                      <a:lnTo>
                        <a:pt x="178" y="72"/>
                      </a:lnTo>
                      <a:lnTo>
                        <a:pt x="178" y="72"/>
                      </a:lnTo>
                      <a:lnTo>
                        <a:pt x="173" y="72"/>
                      </a:lnTo>
                      <a:lnTo>
                        <a:pt x="167" y="70"/>
                      </a:lnTo>
                      <a:lnTo>
                        <a:pt x="160" y="68"/>
                      </a:lnTo>
                      <a:lnTo>
                        <a:pt x="157" y="70"/>
                      </a:lnTo>
                      <a:lnTo>
                        <a:pt x="155" y="72"/>
                      </a:lnTo>
                      <a:lnTo>
                        <a:pt x="155" y="72"/>
                      </a:lnTo>
                      <a:lnTo>
                        <a:pt x="152" y="73"/>
                      </a:lnTo>
                      <a:lnTo>
                        <a:pt x="148" y="73"/>
                      </a:lnTo>
                      <a:lnTo>
                        <a:pt x="143" y="72"/>
                      </a:lnTo>
                      <a:lnTo>
                        <a:pt x="136" y="68"/>
                      </a:lnTo>
                      <a:lnTo>
                        <a:pt x="134" y="68"/>
                      </a:lnTo>
                      <a:lnTo>
                        <a:pt x="131" y="68"/>
                      </a:lnTo>
                      <a:lnTo>
                        <a:pt x="131" y="68"/>
                      </a:lnTo>
                      <a:lnTo>
                        <a:pt x="129" y="68"/>
                      </a:lnTo>
                      <a:lnTo>
                        <a:pt x="126" y="68"/>
                      </a:lnTo>
                      <a:lnTo>
                        <a:pt x="117" y="66"/>
                      </a:lnTo>
                      <a:lnTo>
                        <a:pt x="108" y="65"/>
                      </a:lnTo>
                      <a:lnTo>
                        <a:pt x="106" y="66"/>
                      </a:lnTo>
                      <a:lnTo>
                        <a:pt x="103" y="68"/>
                      </a:lnTo>
                      <a:lnTo>
                        <a:pt x="103" y="68"/>
                      </a:lnTo>
                      <a:lnTo>
                        <a:pt x="98" y="77"/>
                      </a:lnTo>
                      <a:lnTo>
                        <a:pt x="96" y="75"/>
                      </a:lnTo>
                      <a:lnTo>
                        <a:pt x="92" y="70"/>
                      </a:lnTo>
                      <a:lnTo>
                        <a:pt x="92" y="70"/>
                      </a:lnTo>
                      <a:lnTo>
                        <a:pt x="87" y="66"/>
                      </a:lnTo>
                      <a:lnTo>
                        <a:pt x="84" y="66"/>
                      </a:lnTo>
                      <a:lnTo>
                        <a:pt x="80" y="68"/>
                      </a:lnTo>
                      <a:lnTo>
                        <a:pt x="79" y="72"/>
                      </a:lnTo>
                      <a:lnTo>
                        <a:pt x="77" y="82"/>
                      </a:lnTo>
                      <a:lnTo>
                        <a:pt x="79" y="85"/>
                      </a:lnTo>
                      <a:lnTo>
                        <a:pt x="80" y="89"/>
                      </a:lnTo>
                      <a:lnTo>
                        <a:pt x="80" y="89"/>
                      </a:lnTo>
                      <a:lnTo>
                        <a:pt x="86" y="92"/>
                      </a:lnTo>
                      <a:lnTo>
                        <a:pt x="87" y="98"/>
                      </a:lnTo>
                      <a:lnTo>
                        <a:pt x="91" y="103"/>
                      </a:lnTo>
                      <a:lnTo>
                        <a:pt x="92" y="106"/>
                      </a:lnTo>
                      <a:lnTo>
                        <a:pt x="92" y="106"/>
                      </a:lnTo>
                      <a:lnTo>
                        <a:pt x="94" y="108"/>
                      </a:lnTo>
                      <a:lnTo>
                        <a:pt x="94" y="110"/>
                      </a:lnTo>
                      <a:lnTo>
                        <a:pt x="92" y="113"/>
                      </a:lnTo>
                      <a:lnTo>
                        <a:pt x="91" y="115"/>
                      </a:lnTo>
                      <a:lnTo>
                        <a:pt x="94" y="117"/>
                      </a:lnTo>
                      <a:lnTo>
                        <a:pt x="94" y="117"/>
                      </a:lnTo>
                      <a:lnTo>
                        <a:pt x="96" y="117"/>
                      </a:lnTo>
                      <a:lnTo>
                        <a:pt x="101" y="120"/>
                      </a:lnTo>
                      <a:lnTo>
                        <a:pt x="110" y="131"/>
                      </a:lnTo>
                      <a:lnTo>
                        <a:pt x="119" y="143"/>
                      </a:lnTo>
                      <a:lnTo>
                        <a:pt x="126" y="148"/>
                      </a:lnTo>
                      <a:lnTo>
                        <a:pt x="126" y="148"/>
                      </a:lnTo>
                      <a:lnTo>
                        <a:pt x="129" y="152"/>
                      </a:lnTo>
                      <a:lnTo>
                        <a:pt x="131" y="155"/>
                      </a:lnTo>
                      <a:lnTo>
                        <a:pt x="133" y="160"/>
                      </a:lnTo>
                      <a:lnTo>
                        <a:pt x="136" y="164"/>
                      </a:lnTo>
                      <a:lnTo>
                        <a:pt x="136" y="164"/>
                      </a:lnTo>
                      <a:lnTo>
                        <a:pt x="145" y="171"/>
                      </a:lnTo>
                      <a:lnTo>
                        <a:pt x="146" y="174"/>
                      </a:lnTo>
                      <a:lnTo>
                        <a:pt x="146" y="176"/>
                      </a:lnTo>
                      <a:lnTo>
                        <a:pt x="146" y="176"/>
                      </a:lnTo>
                      <a:lnTo>
                        <a:pt x="146" y="178"/>
                      </a:lnTo>
                      <a:lnTo>
                        <a:pt x="148" y="178"/>
                      </a:lnTo>
                      <a:lnTo>
                        <a:pt x="150" y="179"/>
                      </a:lnTo>
                      <a:lnTo>
                        <a:pt x="153" y="183"/>
                      </a:lnTo>
                      <a:lnTo>
                        <a:pt x="153" y="183"/>
                      </a:lnTo>
                      <a:lnTo>
                        <a:pt x="157" y="186"/>
                      </a:lnTo>
                      <a:lnTo>
                        <a:pt x="162" y="190"/>
                      </a:lnTo>
                      <a:lnTo>
                        <a:pt x="173" y="195"/>
                      </a:lnTo>
                      <a:lnTo>
                        <a:pt x="173" y="195"/>
                      </a:lnTo>
                      <a:lnTo>
                        <a:pt x="174" y="199"/>
                      </a:lnTo>
                      <a:lnTo>
                        <a:pt x="176" y="200"/>
                      </a:lnTo>
                      <a:lnTo>
                        <a:pt x="180" y="202"/>
                      </a:lnTo>
                      <a:lnTo>
                        <a:pt x="183" y="204"/>
                      </a:lnTo>
                      <a:lnTo>
                        <a:pt x="183" y="206"/>
                      </a:lnTo>
                      <a:lnTo>
                        <a:pt x="181" y="207"/>
                      </a:lnTo>
                      <a:lnTo>
                        <a:pt x="181" y="207"/>
                      </a:lnTo>
                      <a:lnTo>
                        <a:pt x="180" y="204"/>
                      </a:lnTo>
                      <a:lnTo>
                        <a:pt x="174" y="204"/>
                      </a:lnTo>
                      <a:lnTo>
                        <a:pt x="174" y="204"/>
                      </a:lnTo>
                      <a:lnTo>
                        <a:pt x="171" y="204"/>
                      </a:lnTo>
                      <a:lnTo>
                        <a:pt x="171" y="204"/>
                      </a:lnTo>
                      <a:lnTo>
                        <a:pt x="167" y="199"/>
                      </a:lnTo>
                      <a:lnTo>
                        <a:pt x="160" y="192"/>
                      </a:lnTo>
                      <a:lnTo>
                        <a:pt x="153" y="188"/>
                      </a:lnTo>
                      <a:lnTo>
                        <a:pt x="145" y="185"/>
                      </a:lnTo>
                      <a:lnTo>
                        <a:pt x="145" y="185"/>
                      </a:lnTo>
                      <a:lnTo>
                        <a:pt x="129" y="178"/>
                      </a:lnTo>
                      <a:lnTo>
                        <a:pt x="124" y="174"/>
                      </a:lnTo>
                      <a:lnTo>
                        <a:pt x="124" y="174"/>
                      </a:lnTo>
                      <a:lnTo>
                        <a:pt x="127" y="174"/>
                      </a:lnTo>
                      <a:lnTo>
                        <a:pt x="139" y="178"/>
                      </a:lnTo>
                      <a:lnTo>
                        <a:pt x="139" y="178"/>
                      </a:lnTo>
                      <a:lnTo>
                        <a:pt x="129" y="166"/>
                      </a:lnTo>
                      <a:lnTo>
                        <a:pt x="117" y="157"/>
                      </a:lnTo>
                      <a:lnTo>
                        <a:pt x="106" y="152"/>
                      </a:lnTo>
                      <a:lnTo>
                        <a:pt x="101" y="150"/>
                      </a:lnTo>
                      <a:lnTo>
                        <a:pt x="94" y="150"/>
                      </a:lnTo>
                      <a:lnTo>
                        <a:pt x="94" y="150"/>
                      </a:lnTo>
                      <a:lnTo>
                        <a:pt x="87" y="150"/>
                      </a:lnTo>
                      <a:lnTo>
                        <a:pt x="86" y="150"/>
                      </a:lnTo>
                      <a:lnTo>
                        <a:pt x="86" y="148"/>
                      </a:lnTo>
                      <a:lnTo>
                        <a:pt x="82" y="141"/>
                      </a:lnTo>
                      <a:lnTo>
                        <a:pt x="77" y="136"/>
                      </a:lnTo>
                      <a:lnTo>
                        <a:pt x="70" y="129"/>
                      </a:lnTo>
                      <a:lnTo>
                        <a:pt x="70" y="129"/>
                      </a:lnTo>
                      <a:lnTo>
                        <a:pt x="61" y="122"/>
                      </a:lnTo>
                      <a:lnTo>
                        <a:pt x="58" y="119"/>
                      </a:lnTo>
                      <a:lnTo>
                        <a:pt x="58" y="115"/>
                      </a:lnTo>
                      <a:lnTo>
                        <a:pt x="58" y="113"/>
                      </a:lnTo>
                      <a:lnTo>
                        <a:pt x="59" y="112"/>
                      </a:lnTo>
                      <a:lnTo>
                        <a:pt x="59" y="110"/>
                      </a:lnTo>
                      <a:lnTo>
                        <a:pt x="59" y="106"/>
                      </a:lnTo>
                      <a:lnTo>
                        <a:pt x="54" y="101"/>
                      </a:lnTo>
                      <a:lnTo>
                        <a:pt x="54" y="101"/>
                      </a:lnTo>
                      <a:lnTo>
                        <a:pt x="51" y="96"/>
                      </a:lnTo>
                      <a:lnTo>
                        <a:pt x="49" y="91"/>
                      </a:lnTo>
                      <a:lnTo>
                        <a:pt x="49" y="82"/>
                      </a:lnTo>
                      <a:lnTo>
                        <a:pt x="47" y="79"/>
                      </a:lnTo>
                      <a:lnTo>
                        <a:pt x="47" y="75"/>
                      </a:lnTo>
                      <a:lnTo>
                        <a:pt x="42" y="70"/>
                      </a:lnTo>
                      <a:lnTo>
                        <a:pt x="37" y="63"/>
                      </a:lnTo>
                      <a:lnTo>
                        <a:pt x="37" y="63"/>
                      </a:lnTo>
                      <a:lnTo>
                        <a:pt x="32" y="61"/>
                      </a:lnTo>
                      <a:lnTo>
                        <a:pt x="28" y="61"/>
                      </a:lnTo>
                      <a:lnTo>
                        <a:pt x="25" y="63"/>
                      </a:lnTo>
                      <a:lnTo>
                        <a:pt x="23" y="66"/>
                      </a:lnTo>
                      <a:lnTo>
                        <a:pt x="18" y="87"/>
                      </a:lnTo>
                      <a:lnTo>
                        <a:pt x="18" y="87"/>
                      </a:lnTo>
                      <a:lnTo>
                        <a:pt x="16" y="89"/>
                      </a:lnTo>
                      <a:lnTo>
                        <a:pt x="12" y="87"/>
                      </a:lnTo>
                      <a:lnTo>
                        <a:pt x="7" y="79"/>
                      </a:lnTo>
                      <a:lnTo>
                        <a:pt x="2" y="65"/>
                      </a:lnTo>
                      <a:lnTo>
                        <a:pt x="0" y="54"/>
                      </a:lnTo>
                      <a:lnTo>
                        <a:pt x="0" y="54"/>
                      </a:lnTo>
                      <a:lnTo>
                        <a:pt x="0" y="52"/>
                      </a:lnTo>
                      <a:lnTo>
                        <a:pt x="0" y="52"/>
                      </a:lnTo>
                      <a:lnTo>
                        <a:pt x="14" y="52"/>
                      </a:lnTo>
                      <a:lnTo>
                        <a:pt x="23" y="51"/>
                      </a:lnTo>
                      <a:lnTo>
                        <a:pt x="30" y="49"/>
                      </a:lnTo>
                      <a:lnTo>
                        <a:pt x="33" y="47"/>
                      </a:lnTo>
                      <a:lnTo>
                        <a:pt x="37" y="45"/>
                      </a:lnTo>
                      <a:lnTo>
                        <a:pt x="40" y="47"/>
                      </a:lnTo>
                      <a:lnTo>
                        <a:pt x="40" y="47"/>
                      </a:lnTo>
                      <a:lnTo>
                        <a:pt x="45" y="52"/>
                      </a:lnTo>
                      <a:lnTo>
                        <a:pt x="47" y="52"/>
                      </a:lnTo>
                      <a:lnTo>
                        <a:pt x="49" y="51"/>
                      </a:lnTo>
                      <a:lnTo>
                        <a:pt x="52" y="51"/>
                      </a:lnTo>
                      <a:lnTo>
                        <a:pt x="52" y="51"/>
                      </a:lnTo>
                      <a:lnTo>
                        <a:pt x="61" y="56"/>
                      </a:lnTo>
                      <a:lnTo>
                        <a:pt x="63" y="54"/>
                      </a:lnTo>
                      <a:lnTo>
                        <a:pt x="63" y="51"/>
                      </a:lnTo>
                      <a:lnTo>
                        <a:pt x="63" y="51"/>
                      </a:lnTo>
                      <a:lnTo>
                        <a:pt x="63" y="45"/>
                      </a:lnTo>
                      <a:lnTo>
                        <a:pt x="65" y="42"/>
                      </a:lnTo>
                      <a:lnTo>
                        <a:pt x="68" y="38"/>
                      </a:lnTo>
                      <a:lnTo>
                        <a:pt x="73" y="37"/>
                      </a:lnTo>
                      <a:lnTo>
                        <a:pt x="77" y="33"/>
                      </a:lnTo>
                      <a:lnTo>
                        <a:pt x="77" y="33"/>
                      </a:lnTo>
                      <a:lnTo>
                        <a:pt x="77" y="30"/>
                      </a:lnTo>
                      <a:lnTo>
                        <a:pt x="75" y="25"/>
                      </a:lnTo>
                      <a:lnTo>
                        <a:pt x="73" y="21"/>
                      </a:lnTo>
                      <a:lnTo>
                        <a:pt x="73" y="18"/>
                      </a:lnTo>
                      <a:lnTo>
                        <a:pt x="73" y="18"/>
                      </a:lnTo>
                      <a:lnTo>
                        <a:pt x="77" y="14"/>
                      </a:lnTo>
                      <a:lnTo>
                        <a:pt x="86" y="12"/>
                      </a:lnTo>
                      <a:lnTo>
                        <a:pt x="92" y="9"/>
                      </a:lnTo>
                      <a:lnTo>
                        <a:pt x="96" y="7"/>
                      </a:lnTo>
                      <a:lnTo>
                        <a:pt x="96" y="7"/>
                      </a:lnTo>
                      <a:lnTo>
                        <a:pt x="96" y="5"/>
                      </a:lnTo>
                      <a:lnTo>
                        <a:pt x="96" y="4"/>
                      </a:lnTo>
                      <a:lnTo>
                        <a:pt x="96" y="2"/>
                      </a:lnTo>
                      <a:lnTo>
                        <a:pt x="96" y="0"/>
                      </a:lnTo>
                      <a:lnTo>
                        <a:pt x="96" y="0"/>
                      </a:lnTo>
                      <a:lnTo>
                        <a:pt x="98" y="0"/>
                      </a:lnTo>
                      <a:lnTo>
                        <a:pt x="101" y="0"/>
                      </a:lnTo>
                      <a:lnTo>
                        <a:pt x="105" y="2"/>
                      </a:lnTo>
                      <a:lnTo>
                        <a:pt x="105" y="2"/>
                      </a:lnTo>
                      <a:lnTo>
                        <a:pt x="115" y="9"/>
                      </a:lnTo>
                      <a:lnTo>
                        <a:pt x="124" y="14"/>
                      </a:lnTo>
                      <a:lnTo>
                        <a:pt x="131" y="23"/>
                      </a:lnTo>
                      <a:lnTo>
                        <a:pt x="134" y="28"/>
                      </a:lnTo>
                      <a:lnTo>
                        <a:pt x="134" y="30"/>
                      </a:lnTo>
                      <a:lnTo>
                        <a:pt x="138" y="30"/>
                      </a:lnTo>
                      <a:lnTo>
                        <a:pt x="138" y="30"/>
                      </a:lnTo>
                      <a:lnTo>
                        <a:pt x="145" y="31"/>
                      </a:lnTo>
                      <a:lnTo>
                        <a:pt x="153" y="35"/>
                      </a:lnTo>
                      <a:lnTo>
                        <a:pt x="162" y="38"/>
                      </a:lnTo>
                      <a:lnTo>
                        <a:pt x="167" y="40"/>
                      </a:lnTo>
                      <a:lnTo>
                        <a:pt x="171" y="38"/>
                      </a:lnTo>
                      <a:lnTo>
                        <a:pt x="171" y="38"/>
                      </a:lnTo>
                      <a:lnTo>
                        <a:pt x="176" y="37"/>
                      </a:lnTo>
                      <a:lnTo>
                        <a:pt x="178" y="33"/>
                      </a:lnTo>
                      <a:lnTo>
                        <a:pt x="180" y="31"/>
                      </a:lnTo>
                      <a:lnTo>
                        <a:pt x="185" y="31"/>
                      </a:lnTo>
                      <a:lnTo>
                        <a:pt x="185" y="31"/>
                      </a:lnTo>
                      <a:lnTo>
                        <a:pt x="188" y="33"/>
                      </a:lnTo>
                      <a:lnTo>
                        <a:pt x="188" y="37"/>
                      </a:lnTo>
                      <a:lnTo>
                        <a:pt x="190" y="45"/>
                      </a:lnTo>
                      <a:lnTo>
                        <a:pt x="192" y="54"/>
                      </a:lnTo>
                      <a:lnTo>
                        <a:pt x="193" y="59"/>
                      </a:lnTo>
                      <a:lnTo>
                        <a:pt x="193" y="59"/>
                      </a:lnTo>
                      <a:lnTo>
                        <a:pt x="200" y="63"/>
                      </a:lnTo>
                      <a:lnTo>
                        <a:pt x="204" y="65"/>
                      </a:lnTo>
                      <a:lnTo>
                        <a:pt x="207" y="65"/>
                      </a:lnTo>
                      <a:lnTo>
                        <a:pt x="206" y="66"/>
                      </a:lnTo>
                      <a:lnTo>
                        <a:pt x="206" y="66"/>
                      </a:lnTo>
                      <a:lnTo>
                        <a:pt x="204" y="68"/>
                      </a:lnTo>
                      <a:lnTo>
                        <a:pt x="200" y="70"/>
                      </a:lnTo>
                      <a:lnTo>
                        <a:pt x="195" y="73"/>
                      </a:lnTo>
                      <a:lnTo>
                        <a:pt x="193" y="77"/>
                      </a:lnTo>
                      <a:lnTo>
                        <a:pt x="193" y="82"/>
                      </a:lnTo>
                      <a:lnTo>
                        <a:pt x="193" y="8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5" name="Freeform 2229">
                  <a:extLst>
                    <a:ext uri="{FF2B5EF4-FFF2-40B4-BE49-F238E27FC236}">
                      <a16:creationId xmlns:a16="http://schemas.microsoft.com/office/drawing/2014/main" id="{062FAF62-5FBB-E046-849A-DA4780F22328}"/>
                    </a:ext>
                  </a:extLst>
                </p:cNvPr>
                <p:cNvSpPr>
                  <a:spLocks/>
                </p:cNvSpPr>
                <p:nvPr/>
              </p:nvSpPr>
              <p:spPr bwMode="auto">
                <a:xfrm>
                  <a:off x="4987566" y="2740959"/>
                  <a:ext cx="216726" cy="107482"/>
                </a:xfrm>
                <a:custGeom>
                  <a:avLst/>
                  <a:gdLst/>
                  <a:ahLst/>
                  <a:cxnLst>
                    <a:cxn ang="0">
                      <a:pos x="14" y="73"/>
                    </a:cxn>
                    <a:cxn ang="0">
                      <a:pos x="28" y="87"/>
                    </a:cxn>
                    <a:cxn ang="0">
                      <a:pos x="33" y="84"/>
                    </a:cxn>
                    <a:cxn ang="0">
                      <a:pos x="39" y="75"/>
                    </a:cxn>
                    <a:cxn ang="0">
                      <a:pos x="51" y="75"/>
                    </a:cxn>
                    <a:cxn ang="0">
                      <a:pos x="58" y="84"/>
                    </a:cxn>
                    <a:cxn ang="0">
                      <a:pos x="75" y="73"/>
                    </a:cxn>
                    <a:cxn ang="0">
                      <a:pos x="91" y="71"/>
                    </a:cxn>
                    <a:cxn ang="0">
                      <a:pos x="98" y="66"/>
                    </a:cxn>
                    <a:cxn ang="0">
                      <a:pos x="110" y="71"/>
                    </a:cxn>
                    <a:cxn ang="0">
                      <a:pos x="115" y="71"/>
                    </a:cxn>
                    <a:cxn ang="0">
                      <a:pos x="128" y="78"/>
                    </a:cxn>
                    <a:cxn ang="0">
                      <a:pos x="124" y="70"/>
                    </a:cxn>
                    <a:cxn ang="0">
                      <a:pos x="122" y="63"/>
                    </a:cxn>
                    <a:cxn ang="0">
                      <a:pos x="117" y="49"/>
                    </a:cxn>
                    <a:cxn ang="0">
                      <a:pos x="124" y="40"/>
                    </a:cxn>
                    <a:cxn ang="0">
                      <a:pos x="140" y="33"/>
                    </a:cxn>
                    <a:cxn ang="0">
                      <a:pos x="141" y="24"/>
                    </a:cxn>
                    <a:cxn ang="0">
                      <a:pos x="154" y="19"/>
                    </a:cxn>
                    <a:cxn ang="0">
                      <a:pos x="159" y="17"/>
                    </a:cxn>
                    <a:cxn ang="0">
                      <a:pos x="169" y="23"/>
                    </a:cxn>
                    <a:cxn ang="0">
                      <a:pos x="192" y="14"/>
                    </a:cxn>
                    <a:cxn ang="0">
                      <a:pos x="195" y="0"/>
                    </a:cxn>
                    <a:cxn ang="0">
                      <a:pos x="202" y="5"/>
                    </a:cxn>
                    <a:cxn ang="0">
                      <a:pos x="215" y="7"/>
                    </a:cxn>
                    <a:cxn ang="0">
                      <a:pos x="242" y="14"/>
                    </a:cxn>
                    <a:cxn ang="0">
                      <a:pos x="256" y="14"/>
                    </a:cxn>
                    <a:cxn ang="0">
                      <a:pos x="260" y="31"/>
                    </a:cxn>
                    <a:cxn ang="0">
                      <a:pos x="270" y="51"/>
                    </a:cxn>
                    <a:cxn ang="0">
                      <a:pos x="267" y="68"/>
                    </a:cxn>
                    <a:cxn ang="0">
                      <a:pos x="249" y="66"/>
                    </a:cxn>
                    <a:cxn ang="0">
                      <a:pos x="251" y="71"/>
                    </a:cxn>
                    <a:cxn ang="0">
                      <a:pos x="255" y="78"/>
                    </a:cxn>
                    <a:cxn ang="0">
                      <a:pos x="246" y="85"/>
                    </a:cxn>
                    <a:cxn ang="0">
                      <a:pos x="248" y="98"/>
                    </a:cxn>
                    <a:cxn ang="0">
                      <a:pos x="235" y="110"/>
                    </a:cxn>
                    <a:cxn ang="0">
                      <a:pos x="230" y="113"/>
                    </a:cxn>
                    <a:cxn ang="0">
                      <a:pos x="222" y="118"/>
                    </a:cxn>
                    <a:cxn ang="0">
                      <a:pos x="206" y="122"/>
                    </a:cxn>
                    <a:cxn ang="0">
                      <a:pos x="190" y="125"/>
                    </a:cxn>
                    <a:cxn ang="0">
                      <a:pos x="178" y="134"/>
                    </a:cxn>
                    <a:cxn ang="0">
                      <a:pos x="171" y="131"/>
                    </a:cxn>
                    <a:cxn ang="0">
                      <a:pos x="148" y="127"/>
                    </a:cxn>
                    <a:cxn ang="0">
                      <a:pos x="101" y="117"/>
                    </a:cxn>
                    <a:cxn ang="0">
                      <a:pos x="100" y="110"/>
                    </a:cxn>
                    <a:cxn ang="0">
                      <a:pos x="94" y="106"/>
                    </a:cxn>
                    <a:cxn ang="0">
                      <a:pos x="96" y="99"/>
                    </a:cxn>
                    <a:cxn ang="0">
                      <a:pos x="74" y="103"/>
                    </a:cxn>
                    <a:cxn ang="0">
                      <a:pos x="60" y="106"/>
                    </a:cxn>
                    <a:cxn ang="0">
                      <a:pos x="53" y="115"/>
                    </a:cxn>
                    <a:cxn ang="0">
                      <a:pos x="35" y="110"/>
                    </a:cxn>
                    <a:cxn ang="0">
                      <a:pos x="32" y="105"/>
                    </a:cxn>
                    <a:cxn ang="0">
                      <a:pos x="23" y="110"/>
                    </a:cxn>
                    <a:cxn ang="0">
                      <a:pos x="18" y="103"/>
                    </a:cxn>
                    <a:cxn ang="0">
                      <a:pos x="4" y="101"/>
                    </a:cxn>
                    <a:cxn ang="0">
                      <a:pos x="7" y="85"/>
                    </a:cxn>
                  </a:cxnLst>
                  <a:rect l="0" t="0" r="r" b="b"/>
                  <a:pathLst>
                    <a:path w="270" h="134">
                      <a:moveTo>
                        <a:pt x="4" y="77"/>
                      </a:moveTo>
                      <a:lnTo>
                        <a:pt x="4" y="77"/>
                      </a:lnTo>
                      <a:lnTo>
                        <a:pt x="9" y="73"/>
                      </a:lnTo>
                      <a:lnTo>
                        <a:pt x="14" y="73"/>
                      </a:lnTo>
                      <a:lnTo>
                        <a:pt x="18" y="75"/>
                      </a:lnTo>
                      <a:lnTo>
                        <a:pt x="21" y="78"/>
                      </a:lnTo>
                      <a:lnTo>
                        <a:pt x="25" y="85"/>
                      </a:lnTo>
                      <a:lnTo>
                        <a:pt x="28" y="87"/>
                      </a:lnTo>
                      <a:lnTo>
                        <a:pt x="30" y="87"/>
                      </a:lnTo>
                      <a:lnTo>
                        <a:pt x="30" y="87"/>
                      </a:lnTo>
                      <a:lnTo>
                        <a:pt x="33" y="85"/>
                      </a:lnTo>
                      <a:lnTo>
                        <a:pt x="33" y="84"/>
                      </a:lnTo>
                      <a:lnTo>
                        <a:pt x="35" y="78"/>
                      </a:lnTo>
                      <a:lnTo>
                        <a:pt x="35" y="75"/>
                      </a:lnTo>
                      <a:lnTo>
                        <a:pt x="37" y="73"/>
                      </a:lnTo>
                      <a:lnTo>
                        <a:pt x="39" y="75"/>
                      </a:lnTo>
                      <a:lnTo>
                        <a:pt x="39" y="75"/>
                      </a:lnTo>
                      <a:lnTo>
                        <a:pt x="44" y="75"/>
                      </a:lnTo>
                      <a:lnTo>
                        <a:pt x="47" y="75"/>
                      </a:lnTo>
                      <a:lnTo>
                        <a:pt x="51" y="75"/>
                      </a:lnTo>
                      <a:lnTo>
                        <a:pt x="53" y="80"/>
                      </a:lnTo>
                      <a:lnTo>
                        <a:pt x="53" y="80"/>
                      </a:lnTo>
                      <a:lnTo>
                        <a:pt x="54" y="82"/>
                      </a:lnTo>
                      <a:lnTo>
                        <a:pt x="58" y="84"/>
                      </a:lnTo>
                      <a:lnTo>
                        <a:pt x="63" y="82"/>
                      </a:lnTo>
                      <a:lnTo>
                        <a:pt x="68" y="78"/>
                      </a:lnTo>
                      <a:lnTo>
                        <a:pt x="75" y="73"/>
                      </a:lnTo>
                      <a:lnTo>
                        <a:pt x="75" y="73"/>
                      </a:lnTo>
                      <a:lnTo>
                        <a:pt x="79" y="71"/>
                      </a:lnTo>
                      <a:lnTo>
                        <a:pt x="82" y="70"/>
                      </a:lnTo>
                      <a:lnTo>
                        <a:pt x="87" y="71"/>
                      </a:lnTo>
                      <a:lnTo>
                        <a:pt x="91" y="71"/>
                      </a:lnTo>
                      <a:lnTo>
                        <a:pt x="94" y="71"/>
                      </a:lnTo>
                      <a:lnTo>
                        <a:pt x="96" y="68"/>
                      </a:lnTo>
                      <a:lnTo>
                        <a:pt x="96" y="68"/>
                      </a:lnTo>
                      <a:lnTo>
                        <a:pt x="98" y="66"/>
                      </a:lnTo>
                      <a:lnTo>
                        <a:pt x="100" y="66"/>
                      </a:lnTo>
                      <a:lnTo>
                        <a:pt x="103" y="68"/>
                      </a:lnTo>
                      <a:lnTo>
                        <a:pt x="108" y="70"/>
                      </a:lnTo>
                      <a:lnTo>
                        <a:pt x="110" y="71"/>
                      </a:lnTo>
                      <a:lnTo>
                        <a:pt x="112" y="71"/>
                      </a:lnTo>
                      <a:lnTo>
                        <a:pt x="112" y="71"/>
                      </a:lnTo>
                      <a:lnTo>
                        <a:pt x="114" y="70"/>
                      </a:lnTo>
                      <a:lnTo>
                        <a:pt x="115" y="71"/>
                      </a:lnTo>
                      <a:lnTo>
                        <a:pt x="119" y="77"/>
                      </a:lnTo>
                      <a:lnTo>
                        <a:pt x="124" y="80"/>
                      </a:lnTo>
                      <a:lnTo>
                        <a:pt x="126" y="80"/>
                      </a:lnTo>
                      <a:lnTo>
                        <a:pt x="128" y="78"/>
                      </a:lnTo>
                      <a:lnTo>
                        <a:pt x="128" y="78"/>
                      </a:lnTo>
                      <a:lnTo>
                        <a:pt x="129" y="75"/>
                      </a:lnTo>
                      <a:lnTo>
                        <a:pt x="128" y="73"/>
                      </a:lnTo>
                      <a:lnTo>
                        <a:pt x="124" y="70"/>
                      </a:lnTo>
                      <a:lnTo>
                        <a:pt x="121" y="66"/>
                      </a:lnTo>
                      <a:lnTo>
                        <a:pt x="121" y="64"/>
                      </a:lnTo>
                      <a:lnTo>
                        <a:pt x="122" y="63"/>
                      </a:lnTo>
                      <a:lnTo>
                        <a:pt x="122" y="63"/>
                      </a:lnTo>
                      <a:lnTo>
                        <a:pt x="124" y="61"/>
                      </a:lnTo>
                      <a:lnTo>
                        <a:pt x="124" y="58"/>
                      </a:lnTo>
                      <a:lnTo>
                        <a:pt x="121" y="54"/>
                      </a:lnTo>
                      <a:lnTo>
                        <a:pt x="117" y="49"/>
                      </a:lnTo>
                      <a:lnTo>
                        <a:pt x="117" y="45"/>
                      </a:lnTo>
                      <a:lnTo>
                        <a:pt x="121" y="42"/>
                      </a:lnTo>
                      <a:lnTo>
                        <a:pt x="121" y="42"/>
                      </a:lnTo>
                      <a:lnTo>
                        <a:pt x="124" y="40"/>
                      </a:lnTo>
                      <a:lnTo>
                        <a:pt x="128" y="38"/>
                      </a:lnTo>
                      <a:lnTo>
                        <a:pt x="133" y="37"/>
                      </a:lnTo>
                      <a:lnTo>
                        <a:pt x="138" y="35"/>
                      </a:lnTo>
                      <a:lnTo>
                        <a:pt x="140" y="33"/>
                      </a:lnTo>
                      <a:lnTo>
                        <a:pt x="140" y="30"/>
                      </a:lnTo>
                      <a:lnTo>
                        <a:pt x="140" y="30"/>
                      </a:lnTo>
                      <a:lnTo>
                        <a:pt x="141" y="26"/>
                      </a:lnTo>
                      <a:lnTo>
                        <a:pt x="141" y="24"/>
                      </a:lnTo>
                      <a:lnTo>
                        <a:pt x="147" y="24"/>
                      </a:lnTo>
                      <a:lnTo>
                        <a:pt x="148" y="24"/>
                      </a:lnTo>
                      <a:lnTo>
                        <a:pt x="150" y="23"/>
                      </a:lnTo>
                      <a:lnTo>
                        <a:pt x="154" y="19"/>
                      </a:lnTo>
                      <a:lnTo>
                        <a:pt x="154" y="14"/>
                      </a:lnTo>
                      <a:lnTo>
                        <a:pt x="154" y="14"/>
                      </a:lnTo>
                      <a:lnTo>
                        <a:pt x="157" y="16"/>
                      </a:lnTo>
                      <a:lnTo>
                        <a:pt x="159" y="17"/>
                      </a:lnTo>
                      <a:lnTo>
                        <a:pt x="161" y="21"/>
                      </a:lnTo>
                      <a:lnTo>
                        <a:pt x="161" y="23"/>
                      </a:lnTo>
                      <a:lnTo>
                        <a:pt x="162" y="24"/>
                      </a:lnTo>
                      <a:lnTo>
                        <a:pt x="169" y="23"/>
                      </a:lnTo>
                      <a:lnTo>
                        <a:pt x="169" y="23"/>
                      </a:lnTo>
                      <a:lnTo>
                        <a:pt x="187" y="17"/>
                      </a:lnTo>
                      <a:lnTo>
                        <a:pt x="190" y="16"/>
                      </a:lnTo>
                      <a:lnTo>
                        <a:pt x="192" y="14"/>
                      </a:lnTo>
                      <a:lnTo>
                        <a:pt x="194" y="10"/>
                      </a:lnTo>
                      <a:lnTo>
                        <a:pt x="194" y="7"/>
                      </a:lnTo>
                      <a:lnTo>
                        <a:pt x="194" y="7"/>
                      </a:lnTo>
                      <a:lnTo>
                        <a:pt x="195" y="0"/>
                      </a:lnTo>
                      <a:lnTo>
                        <a:pt x="195" y="0"/>
                      </a:lnTo>
                      <a:lnTo>
                        <a:pt x="197" y="2"/>
                      </a:lnTo>
                      <a:lnTo>
                        <a:pt x="201" y="4"/>
                      </a:lnTo>
                      <a:lnTo>
                        <a:pt x="202" y="5"/>
                      </a:lnTo>
                      <a:lnTo>
                        <a:pt x="206" y="5"/>
                      </a:lnTo>
                      <a:lnTo>
                        <a:pt x="206" y="5"/>
                      </a:lnTo>
                      <a:lnTo>
                        <a:pt x="211" y="5"/>
                      </a:lnTo>
                      <a:lnTo>
                        <a:pt x="215" y="7"/>
                      </a:lnTo>
                      <a:lnTo>
                        <a:pt x="225" y="10"/>
                      </a:lnTo>
                      <a:lnTo>
                        <a:pt x="234" y="14"/>
                      </a:lnTo>
                      <a:lnTo>
                        <a:pt x="239" y="16"/>
                      </a:lnTo>
                      <a:lnTo>
                        <a:pt x="242" y="14"/>
                      </a:lnTo>
                      <a:lnTo>
                        <a:pt x="242" y="14"/>
                      </a:lnTo>
                      <a:lnTo>
                        <a:pt x="246" y="12"/>
                      </a:lnTo>
                      <a:lnTo>
                        <a:pt x="249" y="12"/>
                      </a:lnTo>
                      <a:lnTo>
                        <a:pt x="256" y="14"/>
                      </a:lnTo>
                      <a:lnTo>
                        <a:pt x="263" y="19"/>
                      </a:lnTo>
                      <a:lnTo>
                        <a:pt x="263" y="19"/>
                      </a:lnTo>
                      <a:lnTo>
                        <a:pt x="262" y="26"/>
                      </a:lnTo>
                      <a:lnTo>
                        <a:pt x="260" y="31"/>
                      </a:lnTo>
                      <a:lnTo>
                        <a:pt x="260" y="35"/>
                      </a:lnTo>
                      <a:lnTo>
                        <a:pt x="262" y="38"/>
                      </a:lnTo>
                      <a:lnTo>
                        <a:pt x="270" y="51"/>
                      </a:lnTo>
                      <a:lnTo>
                        <a:pt x="270" y="51"/>
                      </a:lnTo>
                      <a:lnTo>
                        <a:pt x="269" y="56"/>
                      </a:lnTo>
                      <a:lnTo>
                        <a:pt x="269" y="63"/>
                      </a:lnTo>
                      <a:lnTo>
                        <a:pt x="269" y="66"/>
                      </a:lnTo>
                      <a:lnTo>
                        <a:pt x="267" y="68"/>
                      </a:lnTo>
                      <a:lnTo>
                        <a:pt x="267" y="68"/>
                      </a:lnTo>
                      <a:lnTo>
                        <a:pt x="267" y="68"/>
                      </a:lnTo>
                      <a:lnTo>
                        <a:pt x="255" y="68"/>
                      </a:lnTo>
                      <a:lnTo>
                        <a:pt x="249" y="66"/>
                      </a:lnTo>
                      <a:lnTo>
                        <a:pt x="246" y="68"/>
                      </a:lnTo>
                      <a:lnTo>
                        <a:pt x="246" y="68"/>
                      </a:lnTo>
                      <a:lnTo>
                        <a:pt x="248" y="70"/>
                      </a:lnTo>
                      <a:lnTo>
                        <a:pt x="251" y="71"/>
                      </a:lnTo>
                      <a:lnTo>
                        <a:pt x="255" y="73"/>
                      </a:lnTo>
                      <a:lnTo>
                        <a:pt x="255" y="75"/>
                      </a:lnTo>
                      <a:lnTo>
                        <a:pt x="255" y="78"/>
                      </a:lnTo>
                      <a:lnTo>
                        <a:pt x="255" y="78"/>
                      </a:lnTo>
                      <a:lnTo>
                        <a:pt x="251" y="80"/>
                      </a:lnTo>
                      <a:lnTo>
                        <a:pt x="249" y="82"/>
                      </a:lnTo>
                      <a:lnTo>
                        <a:pt x="246" y="82"/>
                      </a:lnTo>
                      <a:lnTo>
                        <a:pt x="246" y="85"/>
                      </a:lnTo>
                      <a:lnTo>
                        <a:pt x="246" y="85"/>
                      </a:lnTo>
                      <a:lnTo>
                        <a:pt x="246" y="92"/>
                      </a:lnTo>
                      <a:lnTo>
                        <a:pt x="248" y="96"/>
                      </a:lnTo>
                      <a:lnTo>
                        <a:pt x="248" y="98"/>
                      </a:lnTo>
                      <a:lnTo>
                        <a:pt x="248" y="98"/>
                      </a:lnTo>
                      <a:lnTo>
                        <a:pt x="248" y="98"/>
                      </a:lnTo>
                      <a:lnTo>
                        <a:pt x="235" y="110"/>
                      </a:lnTo>
                      <a:lnTo>
                        <a:pt x="235" y="110"/>
                      </a:lnTo>
                      <a:lnTo>
                        <a:pt x="232" y="110"/>
                      </a:lnTo>
                      <a:lnTo>
                        <a:pt x="230" y="111"/>
                      </a:lnTo>
                      <a:lnTo>
                        <a:pt x="230" y="113"/>
                      </a:lnTo>
                      <a:lnTo>
                        <a:pt x="230" y="113"/>
                      </a:lnTo>
                      <a:lnTo>
                        <a:pt x="230" y="118"/>
                      </a:lnTo>
                      <a:lnTo>
                        <a:pt x="230" y="120"/>
                      </a:lnTo>
                      <a:lnTo>
                        <a:pt x="222" y="118"/>
                      </a:lnTo>
                      <a:lnTo>
                        <a:pt x="222" y="118"/>
                      </a:lnTo>
                      <a:lnTo>
                        <a:pt x="218" y="118"/>
                      </a:lnTo>
                      <a:lnTo>
                        <a:pt x="215" y="120"/>
                      </a:lnTo>
                      <a:lnTo>
                        <a:pt x="213" y="122"/>
                      </a:lnTo>
                      <a:lnTo>
                        <a:pt x="206" y="122"/>
                      </a:lnTo>
                      <a:lnTo>
                        <a:pt x="206" y="122"/>
                      </a:lnTo>
                      <a:lnTo>
                        <a:pt x="199" y="122"/>
                      </a:lnTo>
                      <a:lnTo>
                        <a:pt x="194" y="122"/>
                      </a:lnTo>
                      <a:lnTo>
                        <a:pt x="190" y="125"/>
                      </a:lnTo>
                      <a:lnTo>
                        <a:pt x="185" y="131"/>
                      </a:lnTo>
                      <a:lnTo>
                        <a:pt x="185" y="131"/>
                      </a:lnTo>
                      <a:lnTo>
                        <a:pt x="180" y="134"/>
                      </a:lnTo>
                      <a:lnTo>
                        <a:pt x="178" y="134"/>
                      </a:lnTo>
                      <a:lnTo>
                        <a:pt x="176" y="131"/>
                      </a:lnTo>
                      <a:lnTo>
                        <a:pt x="175" y="131"/>
                      </a:lnTo>
                      <a:lnTo>
                        <a:pt x="171" y="131"/>
                      </a:lnTo>
                      <a:lnTo>
                        <a:pt x="171" y="131"/>
                      </a:lnTo>
                      <a:lnTo>
                        <a:pt x="166" y="132"/>
                      </a:lnTo>
                      <a:lnTo>
                        <a:pt x="162" y="131"/>
                      </a:lnTo>
                      <a:lnTo>
                        <a:pt x="157" y="129"/>
                      </a:lnTo>
                      <a:lnTo>
                        <a:pt x="148" y="127"/>
                      </a:lnTo>
                      <a:lnTo>
                        <a:pt x="148" y="127"/>
                      </a:lnTo>
                      <a:lnTo>
                        <a:pt x="126" y="124"/>
                      </a:lnTo>
                      <a:lnTo>
                        <a:pt x="110" y="120"/>
                      </a:lnTo>
                      <a:lnTo>
                        <a:pt x="101" y="117"/>
                      </a:lnTo>
                      <a:lnTo>
                        <a:pt x="100" y="115"/>
                      </a:lnTo>
                      <a:lnTo>
                        <a:pt x="100" y="111"/>
                      </a:lnTo>
                      <a:lnTo>
                        <a:pt x="100" y="111"/>
                      </a:lnTo>
                      <a:lnTo>
                        <a:pt x="100" y="110"/>
                      </a:lnTo>
                      <a:lnTo>
                        <a:pt x="98" y="108"/>
                      </a:lnTo>
                      <a:lnTo>
                        <a:pt x="96" y="108"/>
                      </a:lnTo>
                      <a:lnTo>
                        <a:pt x="94" y="106"/>
                      </a:lnTo>
                      <a:lnTo>
                        <a:pt x="94" y="106"/>
                      </a:lnTo>
                      <a:lnTo>
                        <a:pt x="96" y="103"/>
                      </a:lnTo>
                      <a:lnTo>
                        <a:pt x="98" y="101"/>
                      </a:lnTo>
                      <a:lnTo>
                        <a:pt x="98" y="99"/>
                      </a:lnTo>
                      <a:lnTo>
                        <a:pt x="96" y="99"/>
                      </a:lnTo>
                      <a:lnTo>
                        <a:pt x="87" y="101"/>
                      </a:lnTo>
                      <a:lnTo>
                        <a:pt x="87" y="101"/>
                      </a:lnTo>
                      <a:lnTo>
                        <a:pt x="81" y="103"/>
                      </a:lnTo>
                      <a:lnTo>
                        <a:pt x="74" y="103"/>
                      </a:lnTo>
                      <a:lnTo>
                        <a:pt x="68" y="103"/>
                      </a:lnTo>
                      <a:lnTo>
                        <a:pt x="63" y="103"/>
                      </a:lnTo>
                      <a:lnTo>
                        <a:pt x="63" y="103"/>
                      </a:lnTo>
                      <a:lnTo>
                        <a:pt x="60" y="106"/>
                      </a:lnTo>
                      <a:lnTo>
                        <a:pt x="58" y="110"/>
                      </a:lnTo>
                      <a:lnTo>
                        <a:pt x="56" y="113"/>
                      </a:lnTo>
                      <a:lnTo>
                        <a:pt x="53" y="115"/>
                      </a:lnTo>
                      <a:lnTo>
                        <a:pt x="53" y="115"/>
                      </a:lnTo>
                      <a:lnTo>
                        <a:pt x="49" y="115"/>
                      </a:lnTo>
                      <a:lnTo>
                        <a:pt x="46" y="113"/>
                      </a:lnTo>
                      <a:lnTo>
                        <a:pt x="42" y="110"/>
                      </a:lnTo>
                      <a:lnTo>
                        <a:pt x="35" y="110"/>
                      </a:lnTo>
                      <a:lnTo>
                        <a:pt x="35" y="110"/>
                      </a:lnTo>
                      <a:lnTo>
                        <a:pt x="33" y="105"/>
                      </a:lnTo>
                      <a:lnTo>
                        <a:pt x="33" y="103"/>
                      </a:lnTo>
                      <a:lnTo>
                        <a:pt x="32" y="105"/>
                      </a:lnTo>
                      <a:lnTo>
                        <a:pt x="28" y="108"/>
                      </a:lnTo>
                      <a:lnTo>
                        <a:pt x="25" y="110"/>
                      </a:lnTo>
                      <a:lnTo>
                        <a:pt x="23" y="110"/>
                      </a:lnTo>
                      <a:lnTo>
                        <a:pt x="23" y="110"/>
                      </a:lnTo>
                      <a:lnTo>
                        <a:pt x="20" y="110"/>
                      </a:lnTo>
                      <a:lnTo>
                        <a:pt x="20" y="108"/>
                      </a:lnTo>
                      <a:lnTo>
                        <a:pt x="18" y="105"/>
                      </a:lnTo>
                      <a:lnTo>
                        <a:pt x="18" y="103"/>
                      </a:lnTo>
                      <a:lnTo>
                        <a:pt x="14" y="101"/>
                      </a:lnTo>
                      <a:lnTo>
                        <a:pt x="11" y="101"/>
                      </a:lnTo>
                      <a:lnTo>
                        <a:pt x="4" y="101"/>
                      </a:lnTo>
                      <a:lnTo>
                        <a:pt x="4" y="101"/>
                      </a:lnTo>
                      <a:lnTo>
                        <a:pt x="2" y="101"/>
                      </a:lnTo>
                      <a:lnTo>
                        <a:pt x="0" y="99"/>
                      </a:lnTo>
                      <a:lnTo>
                        <a:pt x="4" y="92"/>
                      </a:lnTo>
                      <a:lnTo>
                        <a:pt x="7" y="85"/>
                      </a:lnTo>
                      <a:lnTo>
                        <a:pt x="7" y="80"/>
                      </a:lnTo>
                      <a:lnTo>
                        <a:pt x="4" y="77"/>
                      </a:lnTo>
                      <a:lnTo>
                        <a:pt x="4" y="7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436" name="Group 1035">
                  <a:extLst>
                    <a:ext uri="{FF2B5EF4-FFF2-40B4-BE49-F238E27FC236}">
                      <a16:creationId xmlns:a16="http://schemas.microsoft.com/office/drawing/2014/main" id="{CBD11BCD-EFF1-7A92-88B3-2B01F11B1041}"/>
                    </a:ext>
                  </a:extLst>
                </p:cNvPr>
                <p:cNvGrpSpPr/>
                <p:nvPr/>
              </p:nvGrpSpPr>
              <p:grpSpPr bwMode="auto">
                <a:xfrm>
                  <a:off x="5334680" y="2284604"/>
                  <a:ext cx="177963" cy="95148"/>
                  <a:chOff x="4635500" y="2257425"/>
                  <a:chExt cx="160338" cy="85725"/>
                </a:xfrm>
                <a:grpFill/>
              </p:grpSpPr>
              <p:sp>
                <p:nvSpPr>
                  <p:cNvPr id="444" name="Freeform 2231">
                    <a:extLst>
                      <a:ext uri="{FF2B5EF4-FFF2-40B4-BE49-F238E27FC236}">
                        <a16:creationId xmlns:a16="http://schemas.microsoft.com/office/drawing/2014/main" id="{E25D1365-42EE-2B77-2BF4-E90320AF7718}"/>
                      </a:ext>
                    </a:extLst>
                  </p:cNvPr>
                  <p:cNvSpPr>
                    <a:spLocks/>
                  </p:cNvSpPr>
                  <p:nvPr/>
                </p:nvSpPr>
                <p:spPr bwMode="auto">
                  <a:xfrm>
                    <a:off x="4676775" y="2257425"/>
                    <a:ext cx="119063" cy="85725"/>
                  </a:xfrm>
                  <a:custGeom>
                    <a:avLst/>
                    <a:gdLst/>
                    <a:ahLst/>
                    <a:cxnLst>
                      <a:cxn ang="0">
                        <a:pos x="30" y="99"/>
                      </a:cxn>
                      <a:cxn ang="0">
                        <a:pos x="51" y="90"/>
                      </a:cxn>
                      <a:cxn ang="0">
                        <a:pos x="63" y="87"/>
                      </a:cxn>
                      <a:cxn ang="0">
                        <a:pos x="70" y="90"/>
                      </a:cxn>
                      <a:cxn ang="0">
                        <a:pos x="81" y="99"/>
                      </a:cxn>
                      <a:cxn ang="0">
                        <a:pos x="89" y="101"/>
                      </a:cxn>
                      <a:cxn ang="0">
                        <a:pos x="94" y="104"/>
                      </a:cxn>
                      <a:cxn ang="0">
                        <a:pos x="103" y="115"/>
                      </a:cxn>
                      <a:cxn ang="0">
                        <a:pos x="110" y="118"/>
                      </a:cxn>
                      <a:cxn ang="0">
                        <a:pos x="115" y="116"/>
                      </a:cxn>
                      <a:cxn ang="0">
                        <a:pos x="124" y="115"/>
                      </a:cxn>
                      <a:cxn ang="0">
                        <a:pos x="133" y="118"/>
                      </a:cxn>
                      <a:cxn ang="0">
                        <a:pos x="138" y="116"/>
                      </a:cxn>
                      <a:cxn ang="0">
                        <a:pos x="141" y="109"/>
                      </a:cxn>
                      <a:cxn ang="0">
                        <a:pos x="150" y="102"/>
                      </a:cxn>
                      <a:cxn ang="0">
                        <a:pos x="152" y="99"/>
                      </a:cxn>
                      <a:cxn ang="0">
                        <a:pos x="147" y="89"/>
                      </a:cxn>
                      <a:cxn ang="0">
                        <a:pos x="141" y="78"/>
                      </a:cxn>
                      <a:cxn ang="0">
                        <a:pos x="143" y="75"/>
                      </a:cxn>
                      <a:cxn ang="0">
                        <a:pos x="145" y="71"/>
                      </a:cxn>
                      <a:cxn ang="0">
                        <a:pos x="141" y="59"/>
                      </a:cxn>
                      <a:cxn ang="0">
                        <a:pos x="140" y="52"/>
                      </a:cxn>
                      <a:cxn ang="0">
                        <a:pos x="141" y="45"/>
                      </a:cxn>
                      <a:cxn ang="0">
                        <a:pos x="148" y="38"/>
                      </a:cxn>
                      <a:cxn ang="0">
                        <a:pos x="152" y="29"/>
                      </a:cxn>
                      <a:cxn ang="0">
                        <a:pos x="154" y="24"/>
                      </a:cxn>
                      <a:cxn ang="0">
                        <a:pos x="162" y="19"/>
                      </a:cxn>
                      <a:cxn ang="0">
                        <a:pos x="164" y="15"/>
                      </a:cxn>
                      <a:cxn ang="0">
                        <a:pos x="161" y="10"/>
                      </a:cxn>
                      <a:cxn ang="0">
                        <a:pos x="152" y="14"/>
                      </a:cxn>
                      <a:cxn ang="0">
                        <a:pos x="133" y="14"/>
                      </a:cxn>
                      <a:cxn ang="0">
                        <a:pos x="122" y="10"/>
                      </a:cxn>
                      <a:cxn ang="0">
                        <a:pos x="105" y="3"/>
                      </a:cxn>
                      <a:cxn ang="0">
                        <a:pos x="81" y="0"/>
                      </a:cxn>
                      <a:cxn ang="0">
                        <a:pos x="75" y="0"/>
                      </a:cxn>
                      <a:cxn ang="0">
                        <a:pos x="70" y="1"/>
                      </a:cxn>
                      <a:cxn ang="0">
                        <a:pos x="68" y="7"/>
                      </a:cxn>
                      <a:cxn ang="0">
                        <a:pos x="60" y="8"/>
                      </a:cxn>
                      <a:cxn ang="0">
                        <a:pos x="47" y="7"/>
                      </a:cxn>
                      <a:cxn ang="0">
                        <a:pos x="27" y="12"/>
                      </a:cxn>
                      <a:cxn ang="0">
                        <a:pos x="21" y="17"/>
                      </a:cxn>
                      <a:cxn ang="0">
                        <a:pos x="20" y="19"/>
                      </a:cxn>
                      <a:cxn ang="0">
                        <a:pos x="11" y="22"/>
                      </a:cxn>
                      <a:cxn ang="0">
                        <a:pos x="4" y="28"/>
                      </a:cxn>
                      <a:cxn ang="0">
                        <a:pos x="2" y="33"/>
                      </a:cxn>
                      <a:cxn ang="0">
                        <a:pos x="0" y="48"/>
                      </a:cxn>
                      <a:cxn ang="0">
                        <a:pos x="4" y="61"/>
                      </a:cxn>
                      <a:cxn ang="0">
                        <a:pos x="9" y="68"/>
                      </a:cxn>
                      <a:cxn ang="0">
                        <a:pos x="16" y="76"/>
                      </a:cxn>
                      <a:cxn ang="0">
                        <a:pos x="25" y="76"/>
                      </a:cxn>
                      <a:cxn ang="0">
                        <a:pos x="30" y="75"/>
                      </a:cxn>
                      <a:cxn ang="0">
                        <a:pos x="39" y="73"/>
                      </a:cxn>
                      <a:cxn ang="0">
                        <a:pos x="30" y="99"/>
                      </a:cxn>
                    </a:cxnLst>
                    <a:rect l="0" t="0" r="r" b="b"/>
                    <a:pathLst>
                      <a:path w="164" h="118">
                        <a:moveTo>
                          <a:pt x="30" y="99"/>
                        </a:moveTo>
                        <a:lnTo>
                          <a:pt x="30" y="99"/>
                        </a:lnTo>
                        <a:lnTo>
                          <a:pt x="44" y="95"/>
                        </a:lnTo>
                        <a:lnTo>
                          <a:pt x="51" y="90"/>
                        </a:lnTo>
                        <a:lnTo>
                          <a:pt x="56" y="87"/>
                        </a:lnTo>
                        <a:lnTo>
                          <a:pt x="63" y="87"/>
                        </a:lnTo>
                        <a:lnTo>
                          <a:pt x="63" y="87"/>
                        </a:lnTo>
                        <a:lnTo>
                          <a:pt x="70" y="90"/>
                        </a:lnTo>
                        <a:lnTo>
                          <a:pt x="75" y="94"/>
                        </a:lnTo>
                        <a:lnTo>
                          <a:pt x="81" y="99"/>
                        </a:lnTo>
                        <a:lnTo>
                          <a:pt x="89" y="101"/>
                        </a:lnTo>
                        <a:lnTo>
                          <a:pt x="89" y="101"/>
                        </a:lnTo>
                        <a:lnTo>
                          <a:pt x="91" y="102"/>
                        </a:lnTo>
                        <a:lnTo>
                          <a:pt x="94" y="104"/>
                        </a:lnTo>
                        <a:lnTo>
                          <a:pt x="100" y="111"/>
                        </a:lnTo>
                        <a:lnTo>
                          <a:pt x="103" y="115"/>
                        </a:lnTo>
                        <a:lnTo>
                          <a:pt x="107" y="116"/>
                        </a:lnTo>
                        <a:lnTo>
                          <a:pt x="110" y="118"/>
                        </a:lnTo>
                        <a:lnTo>
                          <a:pt x="115" y="116"/>
                        </a:lnTo>
                        <a:lnTo>
                          <a:pt x="115" y="116"/>
                        </a:lnTo>
                        <a:lnTo>
                          <a:pt x="121" y="115"/>
                        </a:lnTo>
                        <a:lnTo>
                          <a:pt x="124" y="115"/>
                        </a:lnTo>
                        <a:lnTo>
                          <a:pt x="129" y="116"/>
                        </a:lnTo>
                        <a:lnTo>
                          <a:pt x="133" y="118"/>
                        </a:lnTo>
                        <a:lnTo>
                          <a:pt x="135" y="118"/>
                        </a:lnTo>
                        <a:lnTo>
                          <a:pt x="138" y="116"/>
                        </a:lnTo>
                        <a:lnTo>
                          <a:pt x="138" y="116"/>
                        </a:lnTo>
                        <a:lnTo>
                          <a:pt x="141" y="109"/>
                        </a:lnTo>
                        <a:lnTo>
                          <a:pt x="143" y="106"/>
                        </a:lnTo>
                        <a:lnTo>
                          <a:pt x="150" y="102"/>
                        </a:lnTo>
                        <a:lnTo>
                          <a:pt x="152" y="101"/>
                        </a:lnTo>
                        <a:lnTo>
                          <a:pt x="152" y="99"/>
                        </a:lnTo>
                        <a:lnTo>
                          <a:pt x="147" y="89"/>
                        </a:lnTo>
                        <a:lnTo>
                          <a:pt x="147" y="89"/>
                        </a:lnTo>
                        <a:lnTo>
                          <a:pt x="141" y="82"/>
                        </a:lnTo>
                        <a:lnTo>
                          <a:pt x="141" y="78"/>
                        </a:lnTo>
                        <a:lnTo>
                          <a:pt x="141" y="76"/>
                        </a:lnTo>
                        <a:lnTo>
                          <a:pt x="143" y="75"/>
                        </a:lnTo>
                        <a:lnTo>
                          <a:pt x="143" y="73"/>
                        </a:lnTo>
                        <a:lnTo>
                          <a:pt x="145" y="71"/>
                        </a:lnTo>
                        <a:lnTo>
                          <a:pt x="145" y="66"/>
                        </a:lnTo>
                        <a:lnTo>
                          <a:pt x="141" y="59"/>
                        </a:lnTo>
                        <a:lnTo>
                          <a:pt x="141" y="59"/>
                        </a:lnTo>
                        <a:lnTo>
                          <a:pt x="140" y="52"/>
                        </a:lnTo>
                        <a:lnTo>
                          <a:pt x="140" y="48"/>
                        </a:lnTo>
                        <a:lnTo>
                          <a:pt x="141" y="45"/>
                        </a:lnTo>
                        <a:lnTo>
                          <a:pt x="143" y="43"/>
                        </a:lnTo>
                        <a:lnTo>
                          <a:pt x="148" y="38"/>
                        </a:lnTo>
                        <a:lnTo>
                          <a:pt x="152" y="35"/>
                        </a:lnTo>
                        <a:lnTo>
                          <a:pt x="152" y="29"/>
                        </a:lnTo>
                        <a:lnTo>
                          <a:pt x="152" y="29"/>
                        </a:lnTo>
                        <a:lnTo>
                          <a:pt x="154" y="24"/>
                        </a:lnTo>
                        <a:lnTo>
                          <a:pt x="155" y="21"/>
                        </a:lnTo>
                        <a:lnTo>
                          <a:pt x="162" y="19"/>
                        </a:lnTo>
                        <a:lnTo>
                          <a:pt x="164" y="17"/>
                        </a:lnTo>
                        <a:lnTo>
                          <a:pt x="164" y="15"/>
                        </a:lnTo>
                        <a:lnTo>
                          <a:pt x="164" y="14"/>
                        </a:lnTo>
                        <a:lnTo>
                          <a:pt x="161" y="10"/>
                        </a:lnTo>
                        <a:lnTo>
                          <a:pt x="161" y="10"/>
                        </a:lnTo>
                        <a:lnTo>
                          <a:pt x="152" y="14"/>
                        </a:lnTo>
                        <a:lnTo>
                          <a:pt x="141" y="14"/>
                        </a:lnTo>
                        <a:lnTo>
                          <a:pt x="133" y="14"/>
                        </a:lnTo>
                        <a:lnTo>
                          <a:pt x="122" y="10"/>
                        </a:lnTo>
                        <a:lnTo>
                          <a:pt x="122" y="10"/>
                        </a:lnTo>
                        <a:lnTo>
                          <a:pt x="114" y="5"/>
                        </a:lnTo>
                        <a:lnTo>
                          <a:pt x="105" y="3"/>
                        </a:lnTo>
                        <a:lnTo>
                          <a:pt x="94" y="3"/>
                        </a:lnTo>
                        <a:lnTo>
                          <a:pt x="81" y="0"/>
                        </a:lnTo>
                        <a:lnTo>
                          <a:pt x="81" y="0"/>
                        </a:lnTo>
                        <a:lnTo>
                          <a:pt x="75" y="0"/>
                        </a:lnTo>
                        <a:lnTo>
                          <a:pt x="72" y="0"/>
                        </a:lnTo>
                        <a:lnTo>
                          <a:pt x="70" y="1"/>
                        </a:lnTo>
                        <a:lnTo>
                          <a:pt x="70" y="3"/>
                        </a:lnTo>
                        <a:lnTo>
                          <a:pt x="68" y="7"/>
                        </a:lnTo>
                        <a:lnTo>
                          <a:pt x="65" y="8"/>
                        </a:lnTo>
                        <a:lnTo>
                          <a:pt x="60" y="8"/>
                        </a:lnTo>
                        <a:lnTo>
                          <a:pt x="60" y="8"/>
                        </a:lnTo>
                        <a:lnTo>
                          <a:pt x="47" y="7"/>
                        </a:lnTo>
                        <a:lnTo>
                          <a:pt x="35" y="8"/>
                        </a:lnTo>
                        <a:lnTo>
                          <a:pt x="27" y="12"/>
                        </a:lnTo>
                        <a:lnTo>
                          <a:pt x="23" y="14"/>
                        </a:lnTo>
                        <a:lnTo>
                          <a:pt x="21" y="17"/>
                        </a:lnTo>
                        <a:lnTo>
                          <a:pt x="21" y="17"/>
                        </a:lnTo>
                        <a:lnTo>
                          <a:pt x="20" y="19"/>
                        </a:lnTo>
                        <a:lnTo>
                          <a:pt x="18" y="21"/>
                        </a:lnTo>
                        <a:lnTo>
                          <a:pt x="11" y="22"/>
                        </a:lnTo>
                        <a:lnTo>
                          <a:pt x="6" y="26"/>
                        </a:lnTo>
                        <a:lnTo>
                          <a:pt x="4" y="28"/>
                        </a:lnTo>
                        <a:lnTo>
                          <a:pt x="2" y="33"/>
                        </a:lnTo>
                        <a:lnTo>
                          <a:pt x="2" y="33"/>
                        </a:lnTo>
                        <a:lnTo>
                          <a:pt x="0" y="42"/>
                        </a:lnTo>
                        <a:lnTo>
                          <a:pt x="0" y="48"/>
                        </a:lnTo>
                        <a:lnTo>
                          <a:pt x="2" y="54"/>
                        </a:lnTo>
                        <a:lnTo>
                          <a:pt x="4" y="61"/>
                        </a:lnTo>
                        <a:lnTo>
                          <a:pt x="4" y="61"/>
                        </a:lnTo>
                        <a:lnTo>
                          <a:pt x="9" y="68"/>
                        </a:lnTo>
                        <a:lnTo>
                          <a:pt x="13" y="75"/>
                        </a:lnTo>
                        <a:lnTo>
                          <a:pt x="16" y="76"/>
                        </a:lnTo>
                        <a:lnTo>
                          <a:pt x="20" y="78"/>
                        </a:lnTo>
                        <a:lnTo>
                          <a:pt x="25" y="76"/>
                        </a:lnTo>
                        <a:lnTo>
                          <a:pt x="30" y="75"/>
                        </a:lnTo>
                        <a:lnTo>
                          <a:pt x="30" y="75"/>
                        </a:lnTo>
                        <a:lnTo>
                          <a:pt x="37" y="71"/>
                        </a:lnTo>
                        <a:lnTo>
                          <a:pt x="39" y="73"/>
                        </a:lnTo>
                        <a:lnTo>
                          <a:pt x="39" y="75"/>
                        </a:lnTo>
                        <a:lnTo>
                          <a:pt x="30" y="99"/>
                        </a:lnTo>
                        <a:lnTo>
                          <a:pt x="30" y="9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5" name="Freeform 2232">
                    <a:extLst>
                      <a:ext uri="{FF2B5EF4-FFF2-40B4-BE49-F238E27FC236}">
                        <a16:creationId xmlns:a16="http://schemas.microsoft.com/office/drawing/2014/main" id="{26EE8014-4F68-AD10-53FA-E96CE6D2140C}"/>
                      </a:ext>
                    </a:extLst>
                  </p:cNvPr>
                  <p:cNvSpPr>
                    <a:spLocks/>
                  </p:cNvSpPr>
                  <p:nvPr/>
                </p:nvSpPr>
                <p:spPr bwMode="auto">
                  <a:xfrm>
                    <a:off x="4635500" y="2298700"/>
                    <a:ext cx="38100" cy="28575"/>
                  </a:xfrm>
                  <a:custGeom>
                    <a:avLst/>
                    <a:gdLst/>
                    <a:ahLst/>
                    <a:cxnLst>
                      <a:cxn ang="0">
                        <a:pos x="10" y="38"/>
                      </a:cxn>
                      <a:cxn ang="0">
                        <a:pos x="10" y="38"/>
                      </a:cxn>
                      <a:cxn ang="0">
                        <a:pos x="7" y="38"/>
                      </a:cxn>
                      <a:cxn ang="0">
                        <a:pos x="5" y="37"/>
                      </a:cxn>
                      <a:cxn ang="0">
                        <a:pos x="7" y="35"/>
                      </a:cxn>
                      <a:cxn ang="0">
                        <a:pos x="9" y="33"/>
                      </a:cxn>
                      <a:cxn ang="0">
                        <a:pos x="9" y="33"/>
                      </a:cxn>
                      <a:cxn ang="0">
                        <a:pos x="12" y="30"/>
                      </a:cxn>
                      <a:cxn ang="0">
                        <a:pos x="12" y="26"/>
                      </a:cxn>
                      <a:cxn ang="0">
                        <a:pos x="7" y="25"/>
                      </a:cxn>
                      <a:cxn ang="0">
                        <a:pos x="7" y="25"/>
                      </a:cxn>
                      <a:cxn ang="0">
                        <a:pos x="2" y="21"/>
                      </a:cxn>
                      <a:cxn ang="0">
                        <a:pos x="0" y="19"/>
                      </a:cxn>
                      <a:cxn ang="0">
                        <a:pos x="2" y="18"/>
                      </a:cxn>
                      <a:cxn ang="0">
                        <a:pos x="5" y="16"/>
                      </a:cxn>
                      <a:cxn ang="0">
                        <a:pos x="5" y="16"/>
                      </a:cxn>
                      <a:cxn ang="0">
                        <a:pos x="5" y="16"/>
                      </a:cxn>
                      <a:cxn ang="0">
                        <a:pos x="5" y="14"/>
                      </a:cxn>
                      <a:cxn ang="0">
                        <a:pos x="3" y="11"/>
                      </a:cxn>
                      <a:cxn ang="0">
                        <a:pos x="2" y="9"/>
                      </a:cxn>
                      <a:cxn ang="0">
                        <a:pos x="2" y="7"/>
                      </a:cxn>
                      <a:cxn ang="0">
                        <a:pos x="3" y="7"/>
                      </a:cxn>
                      <a:cxn ang="0">
                        <a:pos x="3" y="7"/>
                      </a:cxn>
                      <a:cxn ang="0">
                        <a:pos x="5" y="7"/>
                      </a:cxn>
                      <a:cxn ang="0">
                        <a:pos x="9" y="9"/>
                      </a:cxn>
                      <a:cxn ang="0">
                        <a:pos x="10" y="11"/>
                      </a:cxn>
                      <a:cxn ang="0">
                        <a:pos x="12" y="9"/>
                      </a:cxn>
                      <a:cxn ang="0">
                        <a:pos x="12" y="9"/>
                      </a:cxn>
                      <a:cxn ang="0">
                        <a:pos x="16" y="4"/>
                      </a:cxn>
                      <a:cxn ang="0">
                        <a:pos x="21" y="0"/>
                      </a:cxn>
                      <a:cxn ang="0">
                        <a:pos x="26" y="0"/>
                      </a:cxn>
                      <a:cxn ang="0">
                        <a:pos x="28" y="2"/>
                      </a:cxn>
                      <a:cxn ang="0">
                        <a:pos x="28" y="2"/>
                      </a:cxn>
                      <a:cxn ang="0">
                        <a:pos x="31" y="2"/>
                      </a:cxn>
                      <a:cxn ang="0">
                        <a:pos x="35" y="2"/>
                      </a:cxn>
                      <a:cxn ang="0">
                        <a:pos x="40" y="4"/>
                      </a:cxn>
                      <a:cxn ang="0">
                        <a:pos x="45" y="5"/>
                      </a:cxn>
                      <a:cxn ang="0">
                        <a:pos x="45" y="5"/>
                      </a:cxn>
                      <a:cxn ang="0">
                        <a:pos x="54" y="9"/>
                      </a:cxn>
                      <a:cxn ang="0">
                        <a:pos x="54" y="11"/>
                      </a:cxn>
                      <a:cxn ang="0">
                        <a:pos x="52" y="11"/>
                      </a:cxn>
                      <a:cxn ang="0">
                        <a:pos x="52" y="11"/>
                      </a:cxn>
                      <a:cxn ang="0">
                        <a:pos x="50" y="11"/>
                      </a:cxn>
                      <a:cxn ang="0">
                        <a:pos x="49" y="11"/>
                      </a:cxn>
                      <a:cxn ang="0">
                        <a:pos x="47" y="11"/>
                      </a:cxn>
                      <a:cxn ang="0">
                        <a:pos x="45" y="12"/>
                      </a:cxn>
                      <a:cxn ang="0">
                        <a:pos x="45" y="12"/>
                      </a:cxn>
                      <a:cxn ang="0">
                        <a:pos x="40" y="18"/>
                      </a:cxn>
                      <a:cxn ang="0">
                        <a:pos x="33" y="21"/>
                      </a:cxn>
                      <a:cxn ang="0">
                        <a:pos x="28" y="23"/>
                      </a:cxn>
                      <a:cxn ang="0">
                        <a:pos x="24" y="23"/>
                      </a:cxn>
                      <a:cxn ang="0">
                        <a:pos x="24" y="23"/>
                      </a:cxn>
                      <a:cxn ang="0">
                        <a:pos x="23" y="23"/>
                      </a:cxn>
                      <a:cxn ang="0">
                        <a:pos x="21" y="23"/>
                      </a:cxn>
                      <a:cxn ang="0">
                        <a:pos x="17" y="26"/>
                      </a:cxn>
                      <a:cxn ang="0">
                        <a:pos x="14" y="35"/>
                      </a:cxn>
                      <a:cxn ang="0">
                        <a:pos x="14" y="35"/>
                      </a:cxn>
                      <a:cxn ang="0">
                        <a:pos x="12" y="38"/>
                      </a:cxn>
                      <a:cxn ang="0">
                        <a:pos x="10" y="38"/>
                      </a:cxn>
                      <a:cxn ang="0">
                        <a:pos x="10" y="38"/>
                      </a:cxn>
                    </a:cxnLst>
                    <a:rect l="0" t="0" r="r" b="b"/>
                    <a:pathLst>
                      <a:path w="54" h="38">
                        <a:moveTo>
                          <a:pt x="10" y="38"/>
                        </a:moveTo>
                        <a:lnTo>
                          <a:pt x="10" y="38"/>
                        </a:lnTo>
                        <a:lnTo>
                          <a:pt x="7" y="38"/>
                        </a:lnTo>
                        <a:lnTo>
                          <a:pt x="5" y="37"/>
                        </a:lnTo>
                        <a:lnTo>
                          <a:pt x="7" y="35"/>
                        </a:lnTo>
                        <a:lnTo>
                          <a:pt x="9" y="33"/>
                        </a:lnTo>
                        <a:lnTo>
                          <a:pt x="9" y="33"/>
                        </a:lnTo>
                        <a:lnTo>
                          <a:pt x="12" y="30"/>
                        </a:lnTo>
                        <a:lnTo>
                          <a:pt x="12" y="26"/>
                        </a:lnTo>
                        <a:lnTo>
                          <a:pt x="7" y="25"/>
                        </a:lnTo>
                        <a:lnTo>
                          <a:pt x="7" y="25"/>
                        </a:lnTo>
                        <a:lnTo>
                          <a:pt x="2" y="21"/>
                        </a:lnTo>
                        <a:lnTo>
                          <a:pt x="0" y="19"/>
                        </a:lnTo>
                        <a:lnTo>
                          <a:pt x="2" y="18"/>
                        </a:lnTo>
                        <a:lnTo>
                          <a:pt x="5" y="16"/>
                        </a:lnTo>
                        <a:lnTo>
                          <a:pt x="5" y="16"/>
                        </a:lnTo>
                        <a:lnTo>
                          <a:pt x="5" y="16"/>
                        </a:lnTo>
                        <a:lnTo>
                          <a:pt x="5" y="14"/>
                        </a:lnTo>
                        <a:lnTo>
                          <a:pt x="3" y="11"/>
                        </a:lnTo>
                        <a:lnTo>
                          <a:pt x="2" y="9"/>
                        </a:lnTo>
                        <a:lnTo>
                          <a:pt x="2" y="7"/>
                        </a:lnTo>
                        <a:lnTo>
                          <a:pt x="3" y="7"/>
                        </a:lnTo>
                        <a:lnTo>
                          <a:pt x="3" y="7"/>
                        </a:lnTo>
                        <a:lnTo>
                          <a:pt x="5" y="7"/>
                        </a:lnTo>
                        <a:lnTo>
                          <a:pt x="9" y="9"/>
                        </a:lnTo>
                        <a:lnTo>
                          <a:pt x="10" y="11"/>
                        </a:lnTo>
                        <a:lnTo>
                          <a:pt x="12" y="9"/>
                        </a:lnTo>
                        <a:lnTo>
                          <a:pt x="12" y="9"/>
                        </a:lnTo>
                        <a:lnTo>
                          <a:pt x="16" y="4"/>
                        </a:lnTo>
                        <a:lnTo>
                          <a:pt x="21" y="0"/>
                        </a:lnTo>
                        <a:lnTo>
                          <a:pt x="26" y="0"/>
                        </a:lnTo>
                        <a:lnTo>
                          <a:pt x="28" y="2"/>
                        </a:lnTo>
                        <a:lnTo>
                          <a:pt x="28" y="2"/>
                        </a:lnTo>
                        <a:lnTo>
                          <a:pt x="31" y="2"/>
                        </a:lnTo>
                        <a:lnTo>
                          <a:pt x="35" y="2"/>
                        </a:lnTo>
                        <a:lnTo>
                          <a:pt x="40" y="4"/>
                        </a:lnTo>
                        <a:lnTo>
                          <a:pt x="45" y="5"/>
                        </a:lnTo>
                        <a:lnTo>
                          <a:pt x="45" y="5"/>
                        </a:lnTo>
                        <a:lnTo>
                          <a:pt x="54" y="9"/>
                        </a:lnTo>
                        <a:lnTo>
                          <a:pt x="54" y="11"/>
                        </a:lnTo>
                        <a:lnTo>
                          <a:pt x="52" y="11"/>
                        </a:lnTo>
                        <a:lnTo>
                          <a:pt x="52" y="11"/>
                        </a:lnTo>
                        <a:lnTo>
                          <a:pt x="50" y="11"/>
                        </a:lnTo>
                        <a:lnTo>
                          <a:pt x="49" y="11"/>
                        </a:lnTo>
                        <a:lnTo>
                          <a:pt x="47" y="11"/>
                        </a:lnTo>
                        <a:lnTo>
                          <a:pt x="45" y="12"/>
                        </a:lnTo>
                        <a:lnTo>
                          <a:pt x="45" y="12"/>
                        </a:lnTo>
                        <a:lnTo>
                          <a:pt x="40" y="18"/>
                        </a:lnTo>
                        <a:lnTo>
                          <a:pt x="33" y="21"/>
                        </a:lnTo>
                        <a:lnTo>
                          <a:pt x="28" y="23"/>
                        </a:lnTo>
                        <a:lnTo>
                          <a:pt x="24" y="23"/>
                        </a:lnTo>
                        <a:lnTo>
                          <a:pt x="24" y="23"/>
                        </a:lnTo>
                        <a:lnTo>
                          <a:pt x="23" y="23"/>
                        </a:lnTo>
                        <a:lnTo>
                          <a:pt x="21" y="23"/>
                        </a:lnTo>
                        <a:lnTo>
                          <a:pt x="17" y="26"/>
                        </a:lnTo>
                        <a:lnTo>
                          <a:pt x="14" y="35"/>
                        </a:lnTo>
                        <a:lnTo>
                          <a:pt x="14" y="35"/>
                        </a:lnTo>
                        <a:lnTo>
                          <a:pt x="12" y="38"/>
                        </a:lnTo>
                        <a:lnTo>
                          <a:pt x="10" y="38"/>
                        </a:lnTo>
                        <a:lnTo>
                          <a:pt x="10"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6" name="Freeform 2233">
                    <a:extLst>
                      <a:ext uri="{FF2B5EF4-FFF2-40B4-BE49-F238E27FC236}">
                        <a16:creationId xmlns:a16="http://schemas.microsoft.com/office/drawing/2014/main" id="{10FE4328-7444-EDAC-E848-CDFB3A547629}"/>
                      </a:ext>
                    </a:extLst>
                  </p:cNvPr>
                  <p:cNvSpPr>
                    <a:spLocks/>
                  </p:cNvSpPr>
                  <p:nvPr/>
                </p:nvSpPr>
                <p:spPr bwMode="auto">
                  <a:xfrm>
                    <a:off x="4640263" y="2281238"/>
                    <a:ext cx="26987" cy="14287"/>
                  </a:xfrm>
                  <a:custGeom>
                    <a:avLst/>
                    <a:gdLst/>
                    <a:ahLst/>
                    <a:cxnLst>
                      <a:cxn ang="0">
                        <a:pos x="19" y="21"/>
                      </a:cxn>
                      <a:cxn ang="0">
                        <a:pos x="19" y="21"/>
                      </a:cxn>
                      <a:cxn ang="0">
                        <a:pos x="17" y="21"/>
                      </a:cxn>
                      <a:cxn ang="0">
                        <a:pos x="16" y="19"/>
                      </a:cxn>
                      <a:cxn ang="0">
                        <a:pos x="16" y="15"/>
                      </a:cxn>
                      <a:cxn ang="0">
                        <a:pos x="14" y="12"/>
                      </a:cxn>
                      <a:cxn ang="0">
                        <a:pos x="12" y="10"/>
                      </a:cxn>
                      <a:cxn ang="0">
                        <a:pos x="10" y="10"/>
                      </a:cxn>
                      <a:cxn ang="0">
                        <a:pos x="10" y="10"/>
                      </a:cxn>
                      <a:cxn ang="0">
                        <a:pos x="2" y="9"/>
                      </a:cxn>
                      <a:cxn ang="0">
                        <a:pos x="0" y="9"/>
                      </a:cxn>
                      <a:cxn ang="0">
                        <a:pos x="2" y="7"/>
                      </a:cxn>
                      <a:cxn ang="0">
                        <a:pos x="2" y="7"/>
                      </a:cxn>
                      <a:cxn ang="0">
                        <a:pos x="5" y="5"/>
                      </a:cxn>
                      <a:cxn ang="0">
                        <a:pos x="10" y="5"/>
                      </a:cxn>
                      <a:cxn ang="0">
                        <a:pos x="14" y="5"/>
                      </a:cxn>
                      <a:cxn ang="0">
                        <a:pos x="19" y="2"/>
                      </a:cxn>
                      <a:cxn ang="0">
                        <a:pos x="19" y="2"/>
                      </a:cxn>
                      <a:cxn ang="0">
                        <a:pos x="21" y="0"/>
                      </a:cxn>
                      <a:cxn ang="0">
                        <a:pos x="24" y="0"/>
                      </a:cxn>
                      <a:cxn ang="0">
                        <a:pos x="31" y="7"/>
                      </a:cxn>
                      <a:cxn ang="0">
                        <a:pos x="31" y="7"/>
                      </a:cxn>
                      <a:cxn ang="0">
                        <a:pos x="35" y="10"/>
                      </a:cxn>
                      <a:cxn ang="0">
                        <a:pos x="36" y="12"/>
                      </a:cxn>
                      <a:cxn ang="0">
                        <a:pos x="35" y="14"/>
                      </a:cxn>
                      <a:cxn ang="0">
                        <a:pos x="33" y="14"/>
                      </a:cxn>
                      <a:cxn ang="0">
                        <a:pos x="33" y="14"/>
                      </a:cxn>
                      <a:cxn ang="0">
                        <a:pos x="31" y="14"/>
                      </a:cxn>
                      <a:cxn ang="0">
                        <a:pos x="31" y="15"/>
                      </a:cxn>
                      <a:cxn ang="0">
                        <a:pos x="30" y="15"/>
                      </a:cxn>
                      <a:cxn ang="0">
                        <a:pos x="28" y="15"/>
                      </a:cxn>
                      <a:cxn ang="0">
                        <a:pos x="28" y="15"/>
                      </a:cxn>
                      <a:cxn ang="0">
                        <a:pos x="26" y="15"/>
                      </a:cxn>
                      <a:cxn ang="0">
                        <a:pos x="24" y="19"/>
                      </a:cxn>
                      <a:cxn ang="0">
                        <a:pos x="23" y="21"/>
                      </a:cxn>
                      <a:cxn ang="0">
                        <a:pos x="19" y="21"/>
                      </a:cxn>
                      <a:cxn ang="0">
                        <a:pos x="19" y="21"/>
                      </a:cxn>
                    </a:cxnLst>
                    <a:rect l="0" t="0" r="r" b="b"/>
                    <a:pathLst>
                      <a:path w="36" h="21">
                        <a:moveTo>
                          <a:pt x="19" y="21"/>
                        </a:moveTo>
                        <a:lnTo>
                          <a:pt x="19" y="21"/>
                        </a:lnTo>
                        <a:lnTo>
                          <a:pt x="17" y="21"/>
                        </a:lnTo>
                        <a:lnTo>
                          <a:pt x="16" y="19"/>
                        </a:lnTo>
                        <a:lnTo>
                          <a:pt x="16" y="15"/>
                        </a:lnTo>
                        <a:lnTo>
                          <a:pt x="14" y="12"/>
                        </a:lnTo>
                        <a:lnTo>
                          <a:pt x="12" y="10"/>
                        </a:lnTo>
                        <a:lnTo>
                          <a:pt x="10" y="10"/>
                        </a:lnTo>
                        <a:lnTo>
                          <a:pt x="10" y="10"/>
                        </a:lnTo>
                        <a:lnTo>
                          <a:pt x="2" y="9"/>
                        </a:lnTo>
                        <a:lnTo>
                          <a:pt x="0" y="9"/>
                        </a:lnTo>
                        <a:lnTo>
                          <a:pt x="2" y="7"/>
                        </a:lnTo>
                        <a:lnTo>
                          <a:pt x="2" y="7"/>
                        </a:lnTo>
                        <a:lnTo>
                          <a:pt x="5" y="5"/>
                        </a:lnTo>
                        <a:lnTo>
                          <a:pt x="10" y="5"/>
                        </a:lnTo>
                        <a:lnTo>
                          <a:pt x="14" y="5"/>
                        </a:lnTo>
                        <a:lnTo>
                          <a:pt x="19" y="2"/>
                        </a:lnTo>
                        <a:lnTo>
                          <a:pt x="19" y="2"/>
                        </a:lnTo>
                        <a:lnTo>
                          <a:pt x="21" y="0"/>
                        </a:lnTo>
                        <a:lnTo>
                          <a:pt x="24" y="0"/>
                        </a:lnTo>
                        <a:lnTo>
                          <a:pt x="31" y="7"/>
                        </a:lnTo>
                        <a:lnTo>
                          <a:pt x="31" y="7"/>
                        </a:lnTo>
                        <a:lnTo>
                          <a:pt x="35" y="10"/>
                        </a:lnTo>
                        <a:lnTo>
                          <a:pt x="36" y="12"/>
                        </a:lnTo>
                        <a:lnTo>
                          <a:pt x="35" y="14"/>
                        </a:lnTo>
                        <a:lnTo>
                          <a:pt x="33" y="14"/>
                        </a:lnTo>
                        <a:lnTo>
                          <a:pt x="33" y="14"/>
                        </a:lnTo>
                        <a:lnTo>
                          <a:pt x="31" y="14"/>
                        </a:lnTo>
                        <a:lnTo>
                          <a:pt x="31" y="15"/>
                        </a:lnTo>
                        <a:lnTo>
                          <a:pt x="30" y="15"/>
                        </a:lnTo>
                        <a:lnTo>
                          <a:pt x="28" y="15"/>
                        </a:lnTo>
                        <a:lnTo>
                          <a:pt x="28" y="15"/>
                        </a:lnTo>
                        <a:lnTo>
                          <a:pt x="26" y="15"/>
                        </a:lnTo>
                        <a:lnTo>
                          <a:pt x="24" y="19"/>
                        </a:lnTo>
                        <a:lnTo>
                          <a:pt x="23" y="21"/>
                        </a:lnTo>
                        <a:lnTo>
                          <a:pt x="19" y="21"/>
                        </a:lnTo>
                        <a:lnTo>
                          <a:pt x="19"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437" name="Freeform 2234">
                  <a:extLst>
                    <a:ext uri="{FF2B5EF4-FFF2-40B4-BE49-F238E27FC236}">
                      <a16:creationId xmlns:a16="http://schemas.microsoft.com/office/drawing/2014/main" id="{FECFF1C2-26EB-B1C3-3B02-2AFCD319B8D0}"/>
                    </a:ext>
                  </a:extLst>
                </p:cNvPr>
                <p:cNvSpPr>
                  <a:spLocks/>
                </p:cNvSpPr>
                <p:nvPr/>
              </p:nvSpPr>
              <p:spPr bwMode="auto">
                <a:xfrm>
                  <a:off x="5981336" y="3109220"/>
                  <a:ext cx="38764" cy="35240"/>
                </a:xfrm>
                <a:custGeom>
                  <a:avLst/>
                  <a:gdLst/>
                  <a:ahLst/>
                  <a:cxnLst>
                    <a:cxn ang="0">
                      <a:pos x="0" y="3"/>
                    </a:cxn>
                    <a:cxn ang="0">
                      <a:pos x="0" y="3"/>
                    </a:cxn>
                    <a:cxn ang="0">
                      <a:pos x="4" y="2"/>
                    </a:cxn>
                    <a:cxn ang="0">
                      <a:pos x="9" y="0"/>
                    </a:cxn>
                    <a:cxn ang="0">
                      <a:pos x="9" y="0"/>
                    </a:cxn>
                    <a:cxn ang="0">
                      <a:pos x="12" y="0"/>
                    </a:cxn>
                    <a:cxn ang="0">
                      <a:pos x="12" y="2"/>
                    </a:cxn>
                    <a:cxn ang="0">
                      <a:pos x="12" y="7"/>
                    </a:cxn>
                    <a:cxn ang="0">
                      <a:pos x="12" y="10"/>
                    </a:cxn>
                    <a:cxn ang="0">
                      <a:pos x="14" y="10"/>
                    </a:cxn>
                    <a:cxn ang="0">
                      <a:pos x="14" y="10"/>
                    </a:cxn>
                    <a:cxn ang="0">
                      <a:pos x="14" y="10"/>
                    </a:cxn>
                    <a:cxn ang="0">
                      <a:pos x="19" y="9"/>
                    </a:cxn>
                    <a:cxn ang="0">
                      <a:pos x="19" y="10"/>
                    </a:cxn>
                    <a:cxn ang="0">
                      <a:pos x="21" y="12"/>
                    </a:cxn>
                    <a:cxn ang="0">
                      <a:pos x="23" y="14"/>
                    </a:cxn>
                    <a:cxn ang="0">
                      <a:pos x="23" y="14"/>
                    </a:cxn>
                    <a:cxn ang="0">
                      <a:pos x="26" y="12"/>
                    </a:cxn>
                    <a:cxn ang="0">
                      <a:pos x="28" y="10"/>
                    </a:cxn>
                    <a:cxn ang="0">
                      <a:pos x="31" y="10"/>
                    </a:cxn>
                    <a:cxn ang="0">
                      <a:pos x="33" y="9"/>
                    </a:cxn>
                    <a:cxn ang="0">
                      <a:pos x="33" y="9"/>
                    </a:cxn>
                    <a:cxn ang="0">
                      <a:pos x="35" y="10"/>
                    </a:cxn>
                    <a:cxn ang="0">
                      <a:pos x="37" y="10"/>
                    </a:cxn>
                    <a:cxn ang="0">
                      <a:pos x="37" y="14"/>
                    </a:cxn>
                    <a:cxn ang="0">
                      <a:pos x="35" y="17"/>
                    </a:cxn>
                    <a:cxn ang="0">
                      <a:pos x="35" y="19"/>
                    </a:cxn>
                    <a:cxn ang="0">
                      <a:pos x="35" y="19"/>
                    </a:cxn>
                    <a:cxn ang="0">
                      <a:pos x="40" y="23"/>
                    </a:cxn>
                    <a:cxn ang="0">
                      <a:pos x="42" y="23"/>
                    </a:cxn>
                    <a:cxn ang="0">
                      <a:pos x="44" y="24"/>
                    </a:cxn>
                    <a:cxn ang="0">
                      <a:pos x="44" y="24"/>
                    </a:cxn>
                    <a:cxn ang="0">
                      <a:pos x="44" y="30"/>
                    </a:cxn>
                    <a:cxn ang="0">
                      <a:pos x="44" y="35"/>
                    </a:cxn>
                    <a:cxn ang="0">
                      <a:pos x="49" y="43"/>
                    </a:cxn>
                    <a:cxn ang="0">
                      <a:pos x="49" y="43"/>
                    </a:cxn>
                    <a:cxn ang="0">
                      <a:pos x="45" y="43"/>
                    </a:cxn>
                    <a:cxn ang="0">
                      <a:pos x="38" y="42"/>
                    </a:cxn>
                    <a:cxn ang="0">
                      <a:pos x="38" y="42"/>
                    </a:cxn>
                    <a:cxn ang="0">
                      <a:pos x="30" y="40"/>
                    </a:cxn>
                    <a:cxn ang="0">
                      <a:pos x="25" y="37"/>
                    </a:cxn>
                    <a:cxn ang="0">
                      <a:pos x="14" y="26"/>
                    </a:cxn>
                    <a:cxn ang="0">
                      <a:pos x="7" y="16"/>
                    </a:cxn>
                    <a:cxn ang="0">
                      <a:pos x="0" y="3"/>
                    </a:cxn>
                    <a:cxn ang="0">
                      <a:pos x="0" y="3"/>
                    </a:cxn>
                  </a:cxnLst>
                  <a:rect l="0" t="0" r="r" b="b"/>
                  <a:pathLst>
                    <a:path w="49" h="43">
                      <a:moveTo>
                        <a:pt x="0" y="3"/>
                      </a:moveTo>
                      <a:lnTo>
                        <a:pt x="0" y="3"/>
                      </a:lnTo>
                      <a:lnTo>
                        <a:pt x="4" y="2"/>
                      </a:lnTo>
                      <a:lnTo>
                        <a:pt x="9" y="0"/>
                      </a:lnTo>
                      <a:lnTo>
                        <a:pt x="9" y="0"/>
                      </a:lnTo>
                      <a:lnTo>
                        <a:pt x="12" y="0"/>
                      </a:lnTo>
                      <a:lnTo>
                        <a:pt x="12" y="2"/>
                      </a:lnTo>
                      <a:lnTo>
                        <a:pt x="12" y="7"/>
                      </a:lnTo>
                      <a:lnTo>
                        <a:pt x="12" y="10"/>
                      </a:lnTo>
                      <a:lnTo>
                        <a:pt x="14" y="10"/>
                      </a:lnTo>
                      <a:lnTo>
                        <a:pt x="14" y="10"/>
                      </a:lnTo>
                      <a:lnTo>
                        <a:pt x="14" y="10"/>
                      </a:lnTo>
                      <a:lnTo>
                        <a:pt x="19" y="9"/>
                      </a:lnTo>
                      <a:lnTo>
                        <a:pt x="19" y="10"/>
                      </a:lnTo>
                      <a:lnTo>
                        <a:pt x="21" y="12"/>
                      </a:lnTo>
                      <a:lnTo>
                        <a:pt x="23" y="14"/>
                      </a:lnTo>
                      <a:lnTo>
                        <a:pt x="23" y="14"/>
                      </a:lnTo>
                      <a:lnTo>
                        <a:pt x="26" y="12"/>
                      </a:lnTo>
                      <a:lnTo>
                        <a:pt x="28" y="10"/>
                      </a:lnTo>
                      <a:lnTo>
                        <a:pt x="31" y="10"/>
                      </a:lnTo>
                      <a:lnTo>
                        <a:pt x="33" y="9"/>
                      </a:lnTo>
                      <a:lnTo>
                        <a:pt x="33" y="9"/>
                      </a:lnTo>
                      <a:lnTo>
                        <a:pt x="35" y="10"/>
                      </a:lnTo>
                      <a:lnTo>
                        <a:pt x="37" y="10"/>
                      </a:lnTo>
                      <a:lnTo>
                        <a:pt x="37" y="14"/>
                      </a:lnTo>
                      <a:lnTo>
                        <a:pt x="35" y="17"/>
                      </a:lnTo>
                      <a:lnTo>
                        <a:pt x="35" y="19"/>
                      </a:lnTo>
                      <a:lnTo>
                        <a:pt x="35" y="19"/>
                      </a:lnTo>
                      <a:lnTo>
                        <a:pt x="40" y="23"/>
                      </a:lnTo>
                      <a:lnTo>
                        <a:pt x="42" y="23"/>
                      </a:lnTo>
                      <a:lnTo>
                        <a:pt x="44" y="24"/>
                      </a:lnTo>
                      <a:lnTo>
                        <a:pt x="44" y="24"/>
                      </a:lnTo>
                      <a:lnTo>
                        <a:pt x="44" y="30"/>
                      </a:lnTo>
                      <a:lnTo>
                        <a:pt x="44" y="35"/>
                      </a:lnTo>
                      <a:lnTo>
                        <a:pt x="49" y="43"/>
                      </a:lnTo>
                      <a:lnTo>
                        <a:pt x="49" y="43"/>
                      </a:lnTo>
                      <a:lnTo>
                        <a:pt x="45" y="43"/>
                      </a:lnTo>
                      <a:lnTo>
                        <a:pt x="38" y="42"/>
                      </a:lnTo>
                      <a:lnTo>
                        <a:pt x="38" y="42"/>
                      </a:lnTo>
                      <a:lnTo>
                        <a:pt x="30" y="40"/>
                      </a:lnTo>
                      <a:lnTo>
                        <a:pt x="25" y="37"/>
                      </a:lnTo>
                      <a:lnTo>
                        <a:pt x="14" y="26"/>
                      </a:lnTo>
                      <a:lnTo>
                        <a:pt x="7" y="16"/>
                      </a:lnTo>
                      <a:lnTo>
                        <a:pt x="0" y="3"/>
                      </a:lnTo>
                      <a:lnTo>
                        <a:pt x="0"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438" name="Group 1037">
                  <a:extLst>
                    <a:ext uri="{FF2B5EF4-FFF2-40B4-BE49-F238E27FC236}">
                      <a16:creationId xmlns:a16="http://schemas.microsoft.com/office/drawing/2014/main" id="{A97AFC6B-97A3-95F9-15B5-C4A2779815E4}"/>
                    </a:ext>
                  </a:extLst>
                </p:cNvPr>
                <p:cNvGrpSpPr/>
                <p:nvPr/>
              </p:nvGrpSpPr>
              <p:grpSpPr bwMode="auto">
                <a:xfrm>
                  <a:off x="4947038" y="2369179"/>
                  <a:ext cx="128627" cy="146247"/>
                  <a:chOff x="4286250" y="2333625"/>
                  <a:chExt cx="115888" cy="131763"/>
                </a:xfrm>
                <a:grpFill/>
              </p:grpSpPr>
              <p:sp>
                <p:nvSpPr>
                  <p:cNvPr id="439" name="Freeform 2236">
                    <a:extLst>
                      <a:ext uri="{FF2B5EF4-FFF2-40B4-BE49-F238E27FC236}">
                        <a16:creationId xmlns:a16="http://schemas.microsoft.com/office/drawing/2014/main" id="{C8687802-3705-A229-2661-A62602249594}"/>
                      </a:ext>
                    </a:extLst>
                  </p:cNvPr>
                  <p:cNvSpPr>
                    <a:spLocks/>
                  </p:cNvSpPr>
                  <p:nvPr/>
                </p:nvSpPr>
                <p:spPr bwMode="auto">
                  <a:xfrm>
                    <a:off x="4286250" y="2333625"/>
                    <a:ext cx="74613" cy="117475"/>
                  </a:xfrm>
                  <a:custGeom>
                    <a:avLst/>
                    <a:gdLst/>
                    <a:ahLst/>
                    <a:cxnLst>
                      <a:cxn ang="0">
                        <a:pos x="26" y="157"/>
                      </a:cxn>
                      <a:cxn ang="0">
                        <a:pos x="43" y="158"/>
                      </a:cxn>
                      <a:cxn ang="0">
                        <a:pos x="52" y="155"/>
                      </a:cxn>
                      <a:cxn ang="0">
                        <a:pos x="55" y="158"/>
                      </a:cxn>
                      <a:cxn ang="0">
                        <a:pos x="61" y="157"/>
                      </a:cxn>
                      <a:cxn ang="0">
                        <a:pos x="64" y="157"/>
                      </a:cxn>
                      <a:cxn ang="0">
                        <a:pos x="69" y="155"/>
                      </a:cxn>
                      <a:cxn ang="0">
                        <a:pos x="64" y="148"/>
                      </a:cxn>
                      <a:cxn ang="0">
                        <a:pos x="54" y="148"/>
                      </a:cxn>
                      <a:cxn ang="0">
                        <a:pos x="50" y="144"/>
                      </a:cxn>
                      <a:cxn ang="0">
                        <a:pos x="57" y="137"/>
                      </a:cxn>
                      <a:cxn ang="0">
                        <a:pos x="55" y="134"/>
                      </a:cxn>
                      <a:cxn ang="0">
                        <a:pos x="54" y="127"/>
                      </a:cxn>
                      <a:cxn ang="0">
                        <a:pos x="52" y="124"/>
                      </a:cxn>
                      <a:cxn ang="0">
                        <a:pos x="61" y="118"/>
                      </a:cxn>
                      <a:cxn ang="0">
                        <a:pos x="61" y="115"/>
                      </a:cxn>
                      <a:cxn ang="0">
                        <a:pos x="66" y="113"/>
                      </a:cxn>
                      <a:cxn ang="0">
                        <a:pos x="66" y="106"/>
                      </a:cxn>
                      <a:cxn ang="0">
                        <a:pos x="66" y="103"/>
                      </a:cxn>
                      <a:cxn ang="0">
                        <a:pos x="75" y="104"/>
                      </a:cxn>
                      <a:cxn ang="0">
                        <a:pos x="76" y="99"/>
                      </a:cxn>
                      <a:cxn ang="0">
                        <a:pos x="78" y="82"/>
                      </a:cxn>
                      <a:cxn ang="0">
                        <a:pos x="83" y="80"/>
                      </a:cxn>
                      <a:cxn ang="0">
                        <a:pos x="81" y="87"/>
                      </a:cxn>
                      <a:cxn ang="0">
                        <a:pos x="87" y="90"/>
                      </a:cxn>
                      <a:cxn ang="0">
                        <a:pos x="90" y="87"/>
                      </a:cxn>
                      <a:cxn ang="0">
                        <a:pos x="94" y="87"/>
                      </a:cxn>
                      <a:cxn ang="0">
                        <a:pos x="101" y="75"/>
                      </a:cxn>
                      <a:cxn ang="0">
                        <a:pos x="95" y="68"/>
                      </a:cxn>
                      <a:cxn ang="0">
                        <a:pos x="81" y="66"/>
                      </a:cxn>
                      <a:cxn ang="0">
                        <a:pos x="80" y="63"/>
                      </a:cxn>
                      <a:cxn ang="0">
                        <a:pos x="80" y="54"/>
                      </a:cxn>
                      <a:cxn ang="0">
                        <a:pos x="78" y="47"/>
                      </a:cxn>
                      <a:cxn ang="0">
                        <a:pos x="83" y="33"/>
                      </a:cxn>
                      <a:cxn ang="0">
                        <a:pos x="87" y="26"/>
                      </a:cxn>
                      <a:cxn ang="0">
                        <a:pos x="85" y="14"/>
                      </a:cxn>
                      <a:cxn ang="0">
                        <a:pos x="87" y="5"/>
                      </a:cxn>
                      <a:cxn ang="0">
                        <a:pos x="88" y="0"/>
                      </a:cxn>
                      <a:cxn ang="0">
                        <a:pos x="83" y="3"/>
                      </a:cxn>
                      <a:cxn ang="0">
                        <a:pos x="71" y="9"/>
                      </a:cxn>
                      <a:cxn ang="0">
                        <a:pos x="59" y="21"/>
                      </a:cxn>
                      <a:cxn ang="0">
                        <a:pos x="41" y="33"/>
                      </a:cxn>
                      <a:cxn ang="0">
                        <a:pos x="24" y="35"/>
                      </a:cxn>
                      <a:cxn ang="0">
                        <a:pos x="8" y="47"/>
                      </a:cxn>
                      <a:cxn ang="0">
                        <a:pos x="0" y="78"/>
                      </a:cxn>
                      <a:cxn ang="0">
                        <a:pos x="1" y="101"/>
                      </a:cxn>
                      <a:cxn ang="0">
                        <a:pos x="1" y="115"/>
                      </a:cxn>
                      <a:cxn ang="0">
                        <a:pos x="1" y="122"/>
                      </a:cxn>
                      <a:cxn ang="0">
                        <a:pos x="8" y="127"/>
                      </a:cxn>
                      <a:cxn ang="0">
                        <a:pos x="12" y="124"/>
                      </a:cxn>
                      <a:cxn ang="0">
                        <a:pos x="17" y="127"/>
                      </a:cxn>
                      <a:cxn ang="0">
                        <a:pos x="21" y="137"/>
                      </a:cxn>
                      <a:cxn ang="0">
                        <a:pos x="15" y="139"/>
                      </a:cxn>
                      <a:cxn ang="0">
                        <a:pos x="14" y="143"/>
                      </a:cxn>
                      <a:cxn ang="0">
                        <a:pos x="17" y="144"/>
                      </a:cxn>
                      <a:cxn ang="0">
                        <a:pos x="19" y="155"/>
                      </a:cxn>
                    </a:cxnLst>
                    <a:rect l="0" t="0" r="r" b="b"/>
                    <a:pathLst>
                      <a:path w="101" h="160">
                        <a:moveTo>
                          <a:pt x="19" y="155"/>
                        </a:moveTo>
                        <a:lnTo>
                          <a:pt x="19" y="155"/>
                        </a:lnTo>
                        <a:lnTo>
                          <a:pt x="26" y="157"/>
                        </a:lnTo>
                        <a:lnTo>
                          <a:pt x="33" y="157"/>
                        </a:lnTo>
                        <a:lnTo>
                          <a:pt x="33" y="157"/>
                        </a:lnTo>
                        <a:lnTo>
                          <a:pt x="43" y="158"/>
                        </a:lnTo>
                        <a:lnTo>
                          <a:pt x="48" y="160"/>
                        </a:lnTo>
                        <a:lnTo>
                          <a:pt x="48" y="160"/>
                        </a:lnTo>
                        <a:lnTo>
                          <a:pt x="52" y="155"/>
                        </a:lnTo>
                        <a:lnTo>
                          <a:pt x="54" y="155"/>
                        </a:lnTo>
                        <a:lnTo>
                          <a:pt x="54" y="157"/>
                        </a:lnTo>
                        <a:lnTo>
                          <a:pt x="55" y="158"/>
                        </a:lnTo>
                        <a:lnTo>
                          <a:pt x="55" y="158"/>
                        </a:lnTo>
                        <a:lnTo>
                          <a:pt x="59" y="158"/>
                        </a:lnTo>
                        <a:lnTo>
                          <a:pt x="61" y="157"/>
                        </a:lnTo>
                        <a:lnTo>
                          <a:pt x="62" y="157"/>
                        </a:lnTo>
                        <a:lnTo>
                          <a:pt x="64" y="157"/>
                        </a:lnTo>
                        <a:lnTo>
                          <a:pt x="64" y="157"/>
                        </a:lnTo>
                        <a:lnTo>
                          <a:pt x="66" y="158"/>
                        </a:lnTo>
                        <a:lnTo>
                          <a:pt x="69" y="157"/>
                        </a:lnTo>
                        <a:lnTo>
                          <a:pt x="69" y="155"/>
                        </a:lnTo>
                        <a:lnTo>
                          <a:pt x="69" y="153"/>
                        </a:lnTo>
                        <a:lnTo>
                          <a:pt x="64" y="148"/>
                        </a:lnTo>
                        <a:lnTo>
                          <a:pt x="64" y="148"/>
                        </a:lnTo>
                        <a:lnTo>
                          <a:pt x="59" y="146"/>
                        </a:lnTo>
                        <a:lnTo>
                          <a:pt x="55" y="148"/>
                        </a:lnTo>
                        <a:lnTo>
                          <a:pt x="54" y="148"/>
                        </a:lnTo>
                        <a:lnTo>
                          <a:pt x="50" y="146"/>
                        </a:lnTo>
                        <a:lnTo>
                          <a:pt x="50" y="146"/>
                        </a:lnTo>
                        <a:lnTo>
                          <a:pt x="50" y="144"/>
                        </a:lnTo>
                        <a:lnTo>
                          <a:pt x="50" y="143"/>
                        </a:lnTo>
                        <a:lnTo>
                          <a:pt x="54" y="141"/>
                        </a:lnTo>
                        <a:lnTo>
                          <a:pt x="57" y="137"/>
                        </a:lnTo>
                        <a:lnTo>
                          <a:pt x="57" y="136"/>
                        </a:lnTo>
                        <a:lnTo>
                          <a:pt x="55" y="134"/>
                        </a:lnTo>
                        <a:lnTo>
                          <a:pt x="55" y="134"/>
                        </a:lnTo>
                        <a:lnTo>
                          <a:pt x="54" y="132"/>
                        </a:lnTo>
                        <a:lnTo>
                          <a:pt x="54" y="129"/>
                        </a:lnTo>
                        <a:lnTo>
                          <a:pt x="54" y="127"/>
                        </a:lnTo>
                        <a:lnTo>
                          <a:pt x="52" y="124"/>
                        </a:lnTo>
                        <a:lnTo>
                          <a:pt x="52" y="124"/>
                        </a:lnTo>
                        <a:lnTo>
                          <a:pt x="52" y="124"/>
                        </a:lnTo>
                        <a:lnTo>
                          <a:pt x="52" y="122"/>
                        </a:lnTo>
                        <a:lnTo>
                          <a:pt x="57" y="120"/>
                        </a:lnTo>
                        <a:lnTo>
                          <a:pt x="61" y="118"/>
                        </a:lnTo>
                        <a:lnTo>
                          <a:pt x="62" y="117"/>
                        </a:lnTo>
                        <a:lnTo>
                          <a:pt x="61" y="115"/>
                        </a:lnTo>
                        <a:lnTo>
                          <a:pt x="61" y="115"/>
                        </a:lnTo>
                        <a:lnTo>
                          <a:pt x="61" y="115"/>
                        </a:lnTo>
                        <a:lnTo>
                          <a:pt x="62" y="113"/>
                        </a:lnTo>
                        <a:lnTo>
                          <a:pt x="66" y="113"/>
                        </a:lnTo>
                        <a:lnTo>
                          <a:pt x="68" y="110"/>
                        </a:lnTo>
                        <a:lnTo>
                          <a:pt x="68" y="108"/>
                        </a:lnTo>
                        <a:lnTo>
                          <a:pt x="66" y="106"/>
                        </a:lnTo>
                        <a:lnTo>
                          <a:pt x="66" y="106"/>
                        </a:lnTo>
                        <a:lnTo>
                          <a:pt x="64" y="103"/>
                        </a:lnTo>
                        <a:lnTo>
                          <a:pt x="66" y="103"/>
                        </a:lnTo>
                        <a:lnTo>
                          <a:pt x="71" y="104"/>
                        </a:lnTo>
                        <a:lnTo>
                          <a:pt x="73" y="104"/>
                        </a:lnTo>
                        <a:lnTo>
                          <a:pt x="75" y="104"/>
                        </a:lnTo>
                        <a:lnTo>
                          <a:pt x="75" y="104"/>
                        </a:lnTo>
                        <a:lnTo>
                          <a:pt x="76" y="103"/>
                        </a:lnTo>
                        <a:lnTo>
                          <a:pt x="76" y="99"/>
                        </a:lnTo>
                        <a:lnTo>
                          <a:pt x="75" y="90"/>
                        </a:lnTo>
                        <a:lnTo>
                          <a:pt x="76" y="83"/>
                        </a:lnTo>
                        <a:lnTo>
                          <a:pt x="78" y="82"/>
                        </a:lnTo>
                        <a:lnTo>
                          <a:pt x="80" y="80"/>
                        </a:lnTo>
                        <a:lnTo>
                          <a:pt x="80" y="80"/>
                        </a:lnTo>
                        <a:lnTo>
                          <a:pt x="83" y="80"/>
                        </a:lnTo>
                        <a:lnTo>
                          <a:pt x="83" y="82"/>
                        </a:lnTo>
                        <a:lnTo>
                          <a:pt x="81" y="85"/>
                        </a:lnTo>
                        <a:lnTo>
                          <a:pt x="81" y="87"/>
                        </a:lnTo>
                        <a:lnTo>
                          <a:pt x="83" y="89"/>
                        </a:lnTo>
                        <a:lnTo>
                          <a:pt x="83" y="89"/>
                        </a:lnTo>
                        <a:lnTo>
                          <a:pt x="87" y="90"/>
                        </a:lnTo>
                        <a:lnTo>
                          <a:pt x="88" y="89"/>
                        </a:lnTo>
                        <a:lnTo>
                          <a:pt x="88" y="87"/>
                        </a:lnTo>
                        <a:lnTo>
                          <a:pt x="90" y="87"/>
                        </a:lnTo>
                        <a:lnTo>
                          <a:pt x="90" y="87"/>
                        </a:lnTo>
                        <a:lnTo>
                          <a:pt x="92" y="87"/>
                        </a:lnTo>
                        <a:lnTo>
                          <a:pt x="94" y="87"/>
                        </a:lnTo>
                        <a:lnTo>
                          <a:pt x="95" y="85"/>
                        </a:lnTo>
                        <a:lnTo>
                          <a:pt x="101" y="75"/>
                        </a:lnTo>
                        <a:lnTo>
                          <a:pt x="101" y="75"/>
                        </a:lnTo>
                        <a:lnTo>
                          <a:pt x="101" y="71"/>
                        </a:lnTo>
                        <a:lnTo>
                          <a:pt x="101" y="70"/>
                        </a:lnTo>
                        <a:lnTo>
                          <a:pt x="95" y="68"/>
                        </a:lnTo>
                        <a:lnTo>
                          <a:pt x="85" y="68"/>
                        </a:lnTo>
                        <a:lnTo>
                          <a:pt x="85" y="68"/>
                        </a:lnTo>
                        <a:lnTo>
                          <a:pt x="81" y="66"/>
                        </a:lnTo>
                        <a:lnTo>
                          <a:pt x="78" y="66"/>
                        </a:lnTo>
                        <a:lnTo>
                          <a:pt x="78" y="64"/>
                        </a:lnTo>
                        <a:lnTo>
                          <a:pt x="80" y="63"/>
                        </a:lnTo>
                        <a:lnTo>
                          <a:pt x="80" y="63"/>
                        </a:lnTo>
                        <a:lnTo>
                          <a:pt x="81" y="57"/>
                        </a:lnTo>
                        <a:lnTo>
                          <a:pt x="80" y="54"/>
                        </a:lnTo>
                        <a:lnTo>
                          <a:pt x="78" y="50"/>
                        </a:lnTo>
                        <a:lnTo>
                          <a:pt x="78" y="47"/>
                        </a:lnTo>
                        <a:lnTo>
                          <a:pt x="78" y="47"/>
                        </a:lnTo>
                        <a:lnTo>
                          <a:pt x="80" y="38"/>
                        </a:lnTo>
                        <a:lnTo>
                          <a:pt x="81" y="35"/>
                        </a:lnTo>
                        <a:lnTo>
                          <a:pt x="83" y="33"/>
                        </a:lnTo>
                        <a:lnTo>
                          <a:pt x="83" y="33"/>
                        </a:lnTo>
                        <a:lnTo>
                          <a:pt x="85" y="30"/>
                        </a:lnTo>
                        <a:lnTo>
                          <a:pt x="87" y="26"/>
                        </a:lnTo>
                        <a:lnTo>
                          <a:pt x="87" y="21"/>
                        </a:lnTo>
                        <a:lnTo>
                          <a:pt x="85" y="14"/>
                        </a:lnTo>
                        <a:lnTo>
                          <a:pt x="85" y="14"/>
                        </a:lnTo>
                        <a:lnTo>
                          <a:pt x="83" y="10"/>
                        </a:lnTo>
                        <a:lnTo>
                          <a:pt x="83" y="9"/>
                        </a:lnTo>
                        <a:lnTo>
                          <a:pt x="87" y="5"/>
                        </a:lnTo>
                        <a:lnTo>
                          <a:pt x="88" y="2"/>
                        </a:lnTo>
                        <a:lnTo>
                          <a:pt x="88" y="0"/>
                        </a:lnTo>
                        <a:lnTo>
                          <a:pt x="88" y="0"/>
                        </a:lnTo>
                        <a:lnTo>
                          <a:pt x="88" y="0"/>
                        </a:lnTo>
                        <a:lnTo>
                          <a:pt x="85" y="0"/>
                        </a:lnTo>
                        <a:lnTo>
                          <a:pt x="83" y="3"/>
                        </a:lnTo>
                        <a:lnTo>
                          <a:pt x="78" y="5"/>
                        </a:lnTo>
                        <a:lnTo>
                          <a:pt x="71" y="9"/>
                        </a:lnTo>
                        <a:lnTo>
                          <a:pt x="71" y="9"/>
                        </a:lnTo>
                        <a:lnTo>
                          <a:pt x="68" y="9"/>
                        </a:lnTo>
                        <a:lnTo>
                          <a:pt x="64" y="12"/>
                        </a:lnTo>
                        <a:lnTo>
                          <a:pt x="59" y="21"/>
                        </a:lnTo>
                        <a:lnTo>
                          <a:pt x="54" y="26"/>
                        </a:lnTo>
                        <a:lnTo>
                          <a:pt x="48" y="30"/>
                        </a:lnTo>
                        <a:lnTo>
                          <a:pt x="41" y="33"/>
                        </a:lnTo>
                        <a:lnTo>
                          <a:pt x="33" y="33"/>
                        </a:lnTo>
                        <a:lnTo>
                          <a:pt x="33" y="33"/>
                        </a:lnTo>
                        <a:lnTo>
                          <a:pt x="24" y="35"/>
                        </a:lnTo>
                        <a:lnTo>
                          <a:pt x="17" y="36"/>
                        </a:lnTo>
                        <a:lnTo>
                          <a:pt x="12" y="42"/>
                        </a:lnTo>
                        <a:lnTo>
                          <a:pt x="8" y="47"/>
                        </a:lnTo>
                        <a:lnTo>
                          <a:pt x="5" y="54"/>
                        </a:lnTo>
                        <a:lnTo>
                          <a:pt x="3" y="61"/>
                        </a:lnTo>
                        <a:lnTo>
                          <a:pt x="0" y="78"/>
                        </a:lnTo>
                        <a:lnTo>
                          <a:pt x="0" y="78"/>
                        </a:lnTo>
                        <a:lnTo>
                          <a:pt x="0" y="92"/>
                        </a:lnTo>
                        <a:lnTo>
                          <a:pt x="1" y="101"/>
                        </a:lnTo>
                        <a:lnTo>
                          <a:pt x="3" y="108"/>
                        </a:lnTo>
                        <a:lnTo>
                          <a:pt x="1" y="115"/>
                        </a:lnTo>
                        <a:lnTo>
                          <a:pt x="1" y="115"/>
                        </a:lnTo>
                        <a:lnTo>
                          <a:pt x="0" y="120"/>
                        </a:lnTo>
                        <a:lnTo>
                          <a:pt x="0" y="122"/>
                        </a:lnTo>
                        <a:lnTo>
                          <a:pt x="1" y="122"/>
                        </a:lnTo>
                        <a:lnTo>
                          <a:pt x="5" y="124"/>
                        </a:lnTo>
                        <a:lnTo>
                          <a:pt x="5" y="124"/>
                        </a:lnTo>
                        <a:lnTo>
                          <a:pt x="8" y="127"/>
                        </a:lnTo>
                        <a:lnTo>
                          <a:pt x="8" y="125"/>
                        </a:lnTo>
                        <a:lnTo>
                          <a:pt x="10" y="122"/>
                        </a:lnTo>
                        <a:lnTo>
                          <a:pt x="12" y="124"/>
                        </a:lnTo>
                        <a:lnTo>
                          <a:pt x="12" y="124"/>
                        </a:lnTo>
                        <a:lnTo>
                          <a:pt x="15" y="127"/>
                        </a:lnTo>
                        <a:lnTo>
                          <a:pt x="17" y="127"/>
                        </a:lnTo>
                        <a:lnTo>
                          <a:pt x="21" y="131"/>
                        </a:lnTo>
                        <a:lnTo>
                          <a:pt x="21" y="137"/>
                        </a:lnTo>
                        <a:lnTo>
                          <a:pt x="21" y="137"/>
                        </a:lnTo>
                        <a:lnTo>
                          <a:pt x="21" y="143"/>
                        </a:lnTo>
                        <a:lnTo>
                          <a:pt x="17" y="141"/>
                        </a:lnTo>
                        <a:lnTo>
                          <a:pt x="15" y="139"/>
                        </a:lnTo>
                        <a:lnTo>
                          <a:pt x="15" y="139"/>
                        </a:lnTo>
                        <a:lnTo>
                          <a:pt x="14" y="143"/>
                        </a:lnTo>
                        <a:lnTo>
                          <a:pt x="14" y="143"/>
                        </a:lnTo>
                        <a:lnTo>
                          <a:pt x="14" y="146"/>
                        </a:lnTo>
                        <a:lnTo>
                          <a:pt x="15" y="146"/>
                        </a:lnTo>
                        <a:lnTo>
                          <a:pt x="17" y="144"/>
                        </a:lnTo>
                        <a:lnTo>
                          <a:pt x="19" y="144"/>
                        </a:lnTo>
                        <a:lnTo>
                          <a:pt x="19" y="144"/>
                        </a:lnTo>
                        <a:lnTo>
                          <a:pt x="19" y="155"/>
                        </a:lnTo>
                        <a:lnTo>
                          <a:pt x="19" y="15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0" name="Freeform 2237">
                    <a:extLst>
                      <a:ext uri="{FF2B5EF4-FFF2-40B4-BE49-F238E27FC236}">
                        <a16:creationId xmlns:a16="http://schemas.microsoft.com/office/drawing/2014/main" id="{8E83E506-F95D-1D92-FCE0-BDB12D5A7A6E}"/>
                      </a:ext>
                    </a:extLst>
                  </p:cNvPr>
                  <p:cNvSpPr>
                    <a:spLocks/>
                  </p:cNvSpPr>
                  <p:nvPr/>
                </p:nvSpPr>
                <p:spPr bwMode="auto">
                  <a:xfrm>
                    <a:off x="4329113" y="2420938"/>
                    <a:ext cx="28575" cy="19050"/>
                  </a:xfrm>
                  <a:custGeom>
                    <a:avLst/>
                    <a:gdLst/>
                    <a:ahLst/>
                    <a:cxnLst>
                      <a:cxn ang="0">
                        <a:pos x="38" y="25"/>
                      </a:cxn>
                      <a:cxn ang="0">
                        <a:pos x="38" y="25"/>
                      </a:cxn>
                      <a:cxn ang="0">
                        <a:pos x="33" y="28"/>
                      </a:cxn>
                      <a:cxn ang="0">
                        <a:pos x="28" y="30"/>
                      </a:cxn>
                      <a:cxn ang="0">
                        <a:pos x="19" y="28"/>
                      </a:cxn>
                      <a:cxn ang="0">
                        <a:pos x="19" y="28"/>
                      </a:cxn>
                      <a:cxn ang="0">
                        <a:pos x="16" y="26"/>
                      </a:cxn>
                      <a:cxn ang="0">
                        <a:pos x="14" y="25"/>
                      </a:cxn>
                      <a:cxn ang="0">
                        <a:pos x="16" y="23"/>
                      </a:cxn>
                      <a:cxn ang="0">
                        <a:pos x="14" y="23"/>
                      </a:cxn>
                      <a:cxn ang="0">
                        <a:pos x="14" y="23"/>
                      </a:cxn>
                      <a:cxn ang="0">
                        <a:pos x="12" y="23"/>
                      </a:cxn>
                      <a:cxn ang="0">
                        <a:pos x="11" y="23"/>
                      </a:cxn>
                      <a:cxn ang="0">
                        <a:pos x="11" y="23"/>
                      </a:cxn>
                      <a:cxn ang="0">
                        <a:pos x="9" y="21"/>
                      </a:cxn>
                      <a:cxn ang="0">
                        <a:pos x="9" y="21"/>
                      </a:cxn>
                      <a:cxn ang="0">
                        <a:pos x="5" y="14"/>
                      </a:cxn>
                      <a:cxn ang="0">
                        <a:pos x="2" y="9"/>
                      </a:cxn>
                      <a:cxn ang="0">
                        <a:pos x="2" y="9"/>
                      </a:cxn>
                      <a:cxn ang="0">
                        <a:pos x="0" y="7"/>
                      </a:cxn>
                      <a:cxn ang="0">
                        <a:pos x="0" y="4"/>
                      </a:cxn>
                      <a:cxn ang="0">
                        <a:pos x="2" y="4"/>
                      </a:cxn>
                      <a:cxn ang="0">
                        <a:pos x="5" y="4"/>
                      </a:cxn>
                      <a:cxn ang="0">
                        <a:pos x="5" y="4"/>
                      </a:cxn>
                      <a:cxn ang="0">
                        <a:pos x="9" y="4"/>
                      </a:cxn>
                      <a:cxn ang="0">
                        <a:pos x="14" y="2"/>
                      </a:cxn>
                      <a:cxn ang="0">
                        <a:pos x="19" y="0"/>
                      </a:cxn>
                      <a:cxn ang="0">
                        <a:pos x="23" y="0"/>
                      </a:cxn>
                      <a:cxn ang="0">
                        <a:pos x="23" y="0"/>
                      </a:cxn>
                      <a:cxn ang="0">
                        <a:pos x="30" y="4"/>
                      </a:cxn>
                      <a:cxn ang="0">
                        <a:pos x="31" y="4"/>
                      </a:cxn>
                      <a:cxn ang="0">
                        <a:pos x="31" y="2"/>
                      </a:cxn>
                      <a:cxn ang="0">
                        <a:pos x="31" y="2"/>
                      </a:cxn>
                      <a:cxn ang="0">
                        <a:pos x="31" y="0"/>
                      </a:cxn>
                      <a:cxn ang="0">
                        <a:pos x="35" y="2"/>
                      </a:cxn>
                      <a:cxn ang="0">
                        <a:pos x="37" y="4"/>
                      </a:cxn>
                      <a:cxn ang="0">
                        <a:pos x="37" y="7"/>
                      </a:cxn>
                      <a:cxn ang="0">
                        <a:pos x="37" y="7"/>
                      </a:cxn>
                      <a:cxn ang="0">
                        <a:pos x="37" y="11"/>
                      </a:cxn>
                      <a:cxn ang="0">
                        <a:pos x="38" y="16"/>
                      </a:cxn>
                      <a:cxn ang="0">
                        <a:pos x="40" y="21"/>
                      </a:cxn>
                      <a:cxn ang="0">
                        <a:pos x="38" y="23"/>
                      </a:cxn>
                      <a:cxn ang="0">
                        <a:pos x="38" y="25"/>
                      </a:cxn>
                      <a:cxn ang="0">
                        <a:pos x="38" y="25"/>
                      </a:cxn>
                    </a:cxnLst>
                    <a:rect l="0" t="0" r="r" b="b"/>
                    <a:pathLst>
                      <a:path w="40" h="30">
                        <a:moveTo>
                          <a:pt x="38" y="25"/>
                        </a:moveTo>
                        <a:lnTo>
                          <a:pt x="38" y="25"/>
                        </a:lnTo>
                        <a:lnTo>
                          <a:pt x="33" y="28"/>
                        </a:lnTo>
                        <a:lnTo>
                          <a:pt x="28" y="30"/>
                        </a:lnTo>
                        <a:lnTo>
                          <a:pt x="19" y="28"/>
                        </a:lnTo>
                        <a:lnTo>
                          <a:pt x="19" y="28"/>
                        </a:lnTo>
                        <a:lnTo>
                          <a:pt x="16" y="26"/>
                        </a:lnTo>
                        <a:lnTo>
                          <a:pt x="14" y="25"/>
                        </a:lnTo>
                        <a:lnTo>
                          <a:pt x="16" y="23"/>
                        </a:lnTo>
                        <a:lnTo>
                          <a:pt x="14" y="23"/>
                        </a:lnTo>
                        <a:lnTo>
                          <a:pt x="14" y="23"/>
                        </a:lnTo>
                        <a:lnTo>
                          <a:pt x="12" y="23"/>
                        </a:lnTo>
                        <a:lnTo>
                          <a:pt x="11" y="23"/>
                        </a:lnTo>
                        <a:lnTo>
                          <a:pt x="11" y="23"/>
                        </a:lnTo>
                        <a:lnTo>
                          <a:pt x="9" y="21"/>
                        </a:lnTo>
                        <a:lnTo>
                          <a:pt x="9" y="21"/>
                        </a:lnTo>
                        <a:lnTo>
                          <a:pt x="5" y="14"/>
                        </a:lnTo>
                        <a:lnTo>
                          <a:pt x="2" y="9"/>
                        </a:lnTo>
                        <a:lnTo>
                          <a:pt x="2" y="9"/>
                        </a:lnTo>
                        <a:lnTo>
                          <a:pt x="0" y="7"/>
                        </a:lnTo>
                        <a:lnTo>
                          <a:pt x="0" y="4"/>
                        </a:lnTo>
                        <a:lnTo>
                          <a:pt x="2" y="4"/>
                        </a:lnTo>
                        <a:lnTo>
                          <a:pt x="5" y="4"/>
                        </a:lnTo>
                        <a:lnTo>
                          <a:pt x="5" y="4"/>
                        </a:lnTo>
                        <a:lnTo>
                          <a:pt x="9" y="4"/>
                        </a:lnTo>
                        <a:lnTo>
                          <a:pt x="14" y="2"/>
                        </a:lnTo>
                        <a:lnTo>
                          <a:pt x="19" y="0"/>
                        </a:lnTo>
                        <a:lnTo>
                          <a:pt x="23" y="0"/>
                        </a:lnTo>
                        <a:lnTo>
                          <a:pt x="23" y="0"/>
                        </a:lnTo>
                        <a:lnTo>
                          <a:pt x="30" y="4"/>
                        </a:lnTo>
                        <a:lnTo>
                          <a:pt x="31" y="4"/>
                        </a:lnTo>
                        <a:lnTo>
                          <a:pt x="31" y="2"/>
                        </a:lnTo>
                        <a:lnTo>
                          <a:pt x="31" y="2"/>
                        </a:lnTo>
                        <a:lnTo>
                          <a:pt x="31" y="0"/>
                        </a:lnTo>
                        <a:lnTo>
                          <a:pt x="35" y="2"/>
                        </a:lnTo>
                        <a:lnTo>
                          <a:pt x="37" y="4"/>
                        </a:lnTo>
                        <a:lnTo>
                          <a:pt x="37" y="7"/>
                        </a:lnTo>
                        <a:lnTo>
                          <a:pt x="37" y="7"/>
                        </a:lnTo>
                        <a:lnTo>
                          <a:pt x="37" y="11"/>
                        </a:lnTo>
                        <a:lnTo>
                          <a:pt x="38" y="16"/>
                        </a:lnTo>
                        <a:lnTo>
                          <a:pt x="40" y="21"/>
                        </a:lnTo>
                        <a:lnTo>
                          <a:pt x="38" y="23"/>
                        </a:lnTo>
                        <a:lnTo>
                          <a:pt x="38" y="25"/>
                        </a:lnTo>
                        <a:lnTo>
                          <a:pt x="38"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1" name="Freeform 2238">
                    <a:extLst>
                      <a:ext uri="{FF2B5EF4-FFF2-40B4-BE49-F238E27FC236}">
                        <a16:creationId xmlns:a16="http://schemas.microsoft.com/office/drawing/2014/main" id="{C953E0B0-14E3-811B-EB2C-CCFA6527AB74}"/>
                      </a:ext>
                    </a:extLst>
                  </p:cNvPr>
                  <p:cNvSpPr>
                    <a:spLocks/>
                  </p:cNvSpPr>
                  <p:nvPr/>
                </p:nvSpPr>
                <p:spPr bwMode="auto">
                  <a:xfrm>
                    <a:off x="4357688" y="2398713"/>
                    <a:ext cx="44450" cy="61912"/>
                  </a:xfrm>
                  <a:custGeom>
                    <a:avLst/>
                    <a:gdLst/>
                    <a:ahLst/>
                    <a:cxnLst>
                      <a:cxn ang="0">
                        <a:pos x="40" y="85"/>
                      </a:cxn>
                      <a:cxn ang="0">
                        <a:pos x="38" y="80"/>
                      </a:cxn>
                      <a:cxn ang="0">
                        <a:pos x="37" y="73"/>
                      </a:cxn>
                      <a:cxn ang="0">
                        <a:pos x="32" y="68"/>
                      </a:cxn>
                      <a:cxn ang="0">
                        <a:pos x="33" y="64"/>
                      </a:cxn>
                      <a:cxn ang="0">
                        <a:pos x="33" y="62"/>
                      </a:cxn>
                      <a:cxn ang="0">
                        <a:pos x="28" y="59"/>
                      </a:cxn>
                      <a:cxn ang="0">
                        <a:pos x="26" y="57"/>
                      </a:cxn>
                      <a:cxn ang="0">
                        <a:pos x="30" y="57"/>
                      </a:cxn>
                      <a:cxn ang="0">
                        <a:pos x="32" y="54"/>
                      </a:cxn>
                      <a:cxn ang="0">
                        <a:pos x="30" y="50"/>
                      </a:cxn>
                      <a:cxn ang="0">
                        <a:pos x="26" y="50"/>
                      </a:cxn>
                      <a:cxn ang="0">
                        <a:pos x="23" y="50"/>
                      </a:cxn>
                      <a:cxn ang="0">
                        <a:pos x="16" y="50"/>
                      </a:cxn>
                      <a:cxn ang="0">
                        <a:pos x="14" y="48"/>
                      </a:cxn>
                      <a:cxn ang="0">
                        <a:pos x="12" y="45"/>
                      </a:cxn>
                      <a:cxn ang="0">
                        <a:pos x="9" y="43"/>
                      </a:cxn>
                      <a:cxn ang="0">
                        <a:pos x="11" y="42"/>
                      </a:cxn>
                      <a:cxn ang="0">
                        <a:pos x="11" y="36"/>
                      </a:cxn>
                      <a:cxn ang="0">
                        <a:pos x="9" y="31"/>
                      </a:cxn>
                      <a:cxn ang="0">
                        <a:pos x="9" y="31"/>
                      </a:cxn>
                      <a:cxn ang="0">
                        <a:pos x="5" y="26"/>
                      </a:cxn>
                      <a:cxn ang="0">
                        <a:pos x="0" y="22"/>
                      </a:cxn>
                      <a:cxn ang="0">
                        <a:pos x="2" y="21"/>
                      </a:cxn>
                      <a:cxn ang="0">
                        <a:pos x="9" y="21"/>
                      </a:cxn>
                      <a:cxn ang="0">
                        <a:pos x="19" y="19"/>
                      </a:cxn>
                      <a:cxn ang="0">
                        <a:pos x="21" y="15"/>
                      </a:cxn>
                      <a:cxn ang="0">
                        <a:pos x="19" y="10"/>
                      </a:cxn>
                      <a:cxn ang="0">
                        <a:pos x="14" y="8"/>
                      </a:cxn>
                      <a:cxn ang="0">
                        <a:pos x="16" y="7"/>
                      </a:cxn>
                      <a:cxn ang="0">
                        <a:pos x="21" y="8"/>
                      </a:cxn>
                      <a:cxn ang="0">
                        <a:pos x="30" y="10"/>
                      </a:cxn>
                      <a:cxn ang="0">
                        <a:pos x="32" y="8"/>
                      </a:cxn>
                      <a:cxn ang="0">
                        <a:pos x="32" y="19"/>
                      </a:cxn>
                      <a:cxn ang="0">
                        <a:pos x="32" y="22"/>
                      </a:cxn>
                      <a:cxn ang="0">
                        <a:pos x="35" y="24"/>
                      </a:cxn>
                      <a:cxn ang="0">
                        <a:pos x="37" y="21"/>
                      </a:cxn>
                      <a:cxn ang="0">
                        <a:pos x="38" y="12"/>
                      </a:cxn>
                      <a:cxn ang="0">
                        <a:pos x="38" y="10"/>
                      </a:cxn>
                      <a:cxn ang="0">
                        <a:pos x="42" y="3"/>
                      </a:cxn>
                      <a:cxn ang="0">
                        <a:pos x="52" y="0"/>
                      </a:cxn>
                      <a:cxn ang="0">
                        <a:pos x="61" y="3"/>
                      </a:cxn>
                      <a:cxn ang="0">
                        <a:pos x="61" y="8"/>
                      </a:cxn>
                      <a:cxn ang="0">
                        <a:pos x="61" y="12"/>
                      </a:cxn>
                      <a:cxn ang="0">
                        <a:pos x="59" y="26"/>
                      </a:cxn>
                      <a:cxn ang="0">
                        <a:pos x="56" y="29"/>
                      </a:cxn>
                      <a:cxn ang="0">
                        <a:pos x="51" y="31"/>
                      </a:cxn>
                      <a:cxn ang="0">
                        <a:pos x="47" y="36"/>
                      </a:cxn>
                      <a:cxn ang="0">
                        <a:pos x="51" y="40"/>
                      </a:cxn>
                      <a:cxn ang="0">
                        <a:pos x="58" y="45"/>
                      </a:cxn>
                      <a:cxn ang="0">
                        <a:pos x="52" y="48"/>
                      </a:cxn>
                      <a:cxn ang="0">
                        <a:pos x="45" y="52"/>
                      </a:cxn>
                      <a:cxn ang="0">
                        <a:pos x="45" y="55"/>
                      </a:cxn>
                      <a:cxn ang="0">
                        <a:pos x="45" y="59"/>
                      </a:cxn>
                      <a:cxn ang="0">
                        <a:pos x="44" y="62"/>
                      </a:cxn>
                      <a:cxn ang="0">
                        <a:pos x="40" y="62"/>
                      </a:cxn>
                      <a:cxn ang="0">
                        <a:pos x="37" y="64"/>
                      </a:cxn>
                      <a:cxn ang="0">
                        <a:pos x="42" y="66"/>
                      </a:cxn>
                      <a:cxn ang="0">
                        <a:pos x="45" y="71"/>
                      </a:cxn>
                      <a:cxn ang="0">
                        <a:pos x="44" y="75"/>
                      </a:cxn>
                      <a:cxn ang="0">
                        <a:pos x="42" y="82"/>
                      </a:cxn>
                      <a:cxn ang="0">
                        <a:pos x="42" y="85"/>
                      </a:cxn>
                      <a:cxn ang="0">
                        <a:pos x="40" y="85"/>
                      </a:cxn>
                    </a:cxnLst>
                    <a:rect l="0" t="0" r="r" b="b"/>
                    <a:pathLst>
                      <a:path w="63" h="85">
                        <a:moveTo>
                          <a:pt x="40" y="85"/>
                        </a:moveTo>
                        <a:lnTo>
                          <a:pt x="40" y="85"/>
                        </a:lnTo>
                        <a:lnTo>
                          <a:pt x="38" y="82"/>
                        </a:lnTo>
                        <a:lnTo>
                          <a:pt x="38" y="80"/>
                        </a:lnTo>
                        <a:lnTo>
                          <a:pt x="38" y="76"/>
                        </a:lnTo>
                        <a:lnTo>
                          <a:pt x="37" y="73"/>
                        </a:lnTo>
                        <a:lnTo>
                          <a:pt x="37" y="73"/>
                        </a:lnTo>
                        <a:lnTo>
                          <a:pt x="32" y="68"/>
                        </a:lnTo>
                        <a:lnTo>
                          <a:pt x="32" y="66"/>
                        </a:lnTo>
                        <a:lnTo>
                          <a:pt x="33" y="64"/>
                        </a:lnTo>
                        <a:lnTo>
                          <a:pt x="33" y="64"/>
                        </a:lnTo>
                        <a:lnTo>
                          <a:pt x="33" y="62"/>
                        </a:lnTo>
                        <a:lnTo>
                          <a:pt x="32" y="61"/>
                        </a:lnTo>
                        <a:lnTo>
                          <a:pt x="28" y="59"/>
                        </a:lnTo>
                        <a:lnTo>
                          <a:pt x="26" y="57"/>
                        </a:lnTo>
                        <a:lnTo>
                          <a:pt x="26" y="57"/>
                        </a:lnTo>
                        <a:lnTo>
                          <a:pt x="28" y="57"/>
                        </a:lnTo>
                        <a:lnTo>
                          <a:pt x="30" y="57"/>
                        </a:lnTo>
                        <a:lnTo>
                          <a:pt x="32" y="57"/>
                        </a:lnTo>
                        <a:lnTo>
                          <a:pt x="32" y="54"/>
                        </a:lnTo>
                        <a:lnTo>
                          <a:pt x="32" y="54"/>
                        </a:lnTo>
                        <a:lnTo>
                          <a:pt x="30" y="50"/>
                        </a:lnTo>
                        <a:lnTo>
                          <a:pt x="28" y="50"/>
                        </a:lnTo>
                        <a:lnTo>
                          <a:pt x="26" y="50"/>
                        </a:lnTo>
                        <a:lnTo>
                          <a:pt x="23" y="50"/>
                        </a:lnTo>
                        <a:lnTo>
                          <a:pt x="23" y="50"/>
                        </a:lnTo>
                        <a:lnTo>
                          <a:pt x="19" y="50"/>
                        </a:lnTo>
                        <a:lnTo>
                          <a:pt x="16" y="50"/>
                        </a:lnTo>
                        <a:lnTo>
                          <a:pt x="14" y="50"/>
                        </a:lnTo>
                        <a:lnTo>
                          <a:pt x="14" y="48"/>
                        </a:lnTo>
                        <a:lnTo>
                          <a:pt x="14" y="48"/>
                        </a:lnTo>
                        <a:lnTo>
                          <a:pt x="12" y="45"/>
                        </a:lnTo>
                        <a:lnTo>
                          <a:pt x="11" y="43"/>
                        </a:lnTo>
                        <a:lnTo>
                          <a:pt x="9" y="43"/>
                        </a:lnTo>
                        <a:lnTo>
                          <a:pt x="11" y="42"/>
                        </a:lnTo>
                        <a:lnTo>
                          <a:pt x="11" y="42"/>
                        </a:lnTo>
                        <a:lnTo>
                          <a:pt x="12" y="38"/>
                        </a:lnTo>
                        <a:lnTo>
                          <a:pt x="11" y="36"/>
                        </a:lnTo>
                        <a:lnTo>
                          <a:pt x="9" y="35"/>
                        </a:lnTo>
                        <a:lnTo>
                          <a:pt x="9" y="31"/>
                        </a:lnTo>
                        <a:lnTo>
                          <a:pt x="9" y="31"/>
                        </a:lnTo>
                        <a:lnTo>
                          <a:pt x="9" y="31"/>
                        </a:lnTo>
                        <a:lnTo>
                          <a:pt x="9" y="29"/>
                        </a:lnTo>
                        <a:lnTo>
                          <a:pt x="5" y="26"/>
                        </a:lnTo>
                        <a:lnTo>
                          <a:pt x="0" y="24"/>
                        </a:lnTo>
                        <a:lnTo>
                          <a:pt x="0" y="22"/>
                        </a:lnTo>
                        <a:lnTo>
                          <a:pt x="2" y="21"/>
                        </a:lnTo>
                        <a:lnTo>
                          <a:pt x="2" y="21"/>
                        </a:lnTo>
                        <a:lnTo>
                          <a:pt x="5" y="21"/>
                        </a:lnTo>
                        <a:lnTo>
                          <a:pt x="9" y="21"/>
                        </a:lnTo>
                        <a:lnTo>
                          <a:pt x="14" y="21"/>
                        </a:lnTo>
                        <a:lnTo>
                          <a:pt x="19" y="19"/>
                        </a:lnTo>
                        <a:lnTo>
                          <a:pt x="19" y="19"/>
                        </a:lnTo>
                        <a:lnTo>
                          <a:pt x="21" y="15"/>
                        </a:lnTo>
                        <a:lnTo>
                          <a:pt x="23" y="14"/>
                        </a:lnTo>
                        <a:lnTo>
                          <a:pt x="19" y="10"/>
                        </a:lnTo>
                        <a:lnTo>
                          <a:pt x="16" y="8"/>
                        </a:lnTo>
                        <a:lnTo>
                          <a:pt x="14" y="8"/>
                        </a:lnTo>
                        <a:lnTo>
                          <a:pt x="16" y="7"/>
                        </a:lnTo>
                        <a:lnTo>
                          <a:pt x="16" y="7"/>
                        </a:lnTo>
                        <a:lnTo>
                          <a:pt x="18" y="7"/>
                        </a:lnTo>
                        <a:lnTo>
                          <a:pt x="21" y="8"/>
                        </a:lnTo>
                        <a:lnTo>
                          <a:pt x="26" y="10"/>
                        </a:lnTo>
                        <a:lnTo>
                          <a:pt x="30" y="10"/>
                        </a:lnTo>
                        <a:lnTo>
                          <a:pt x="30" y="10"/>
                        </a:lnTo>
                        <a:lnTo>
                          <a:pt x="32" y="8"/>
                        </a:lnTo>
                        <a:lnTo>
                          <a:pt x="33" y="10"/>
                        </a:lnTo>
                        <a:lnTo>
                          <a:pt x="32" y="19"/>
                        </a:lnTo>
                        <a:lnTo>
                          <a:pt x="32" y="19"/>
                        </a:lnTo>
                        <a:lnTo>
                          <a:pt x="32" y="22"/>
                        </a:lnTo>
                        <a:lnTo>
                          <a:pt x="33" y="24"/>
                        </a:lnTo>
                        <a:lnTo>
                          <a:pt x="35" y="24"/>
                        </a:lnTo>
                        <a:lnTo>
                          <a:pt x="37" y="21"/>
                        </a:lnTo>
                        <a:lnTo>
                          <a:pt x="37" y="21"/>
                        </a:lnTo>
                        <a:lnTo>
                          <a:pt x="38" y="14"/>
                        </a:lnTo>
                        <a:lnTo>
                          <a:pt x="38" y="12"/>
                        </a:lnTo>
                        <a:lnTo>
                          <a:pt x="38" y="10"/>
                        </a:lnTo>
                        <a:lnTo>
                          <a:pt x="38" y="10"/>
                        </a:lnTo>
                        <a:lnTo>
                          <a:pt x="38" y="7"/>
                        </a:lnTo>
                        <a:lnTo>
                          <a:pt x="42" y="3"/>
                        </a:lnTo>
                        <a:lnTo>
                          <a:pt x="47" y="1"/>
                        </a:lnTo>
                        <a:lnTo>
                          <a:pt x="52" y="0"/>
                        </a:lnTo>
                        <a:lnTo>
                          <a:pt x="52" y="0"/>
                        </a:lnTo>
                        <a:lnTo>
                          <a:pt x="61" y="3"/>
                        </a:lnTo>
                        <a:lnTo>
                          <a:pt x="63" y="5"/>
                        </a:lnTo>
                        <a:lnTo>
                          <a:pt x="61" y="8"/>
                        </a:lnTo>
                        <a:lnTo>
                          <a:pt x="61" y="8"/>
                        </a:lnTo>
                        <a:lnTo>
                          <a:pt x="61" y="12"/>
                        </a:lnTo>
                        <a:lnTo>
                          <a:pt x="61" y="19"/>
                        </a:lnTo>
                        <a:lnTo>
                          <a:pt x="59" y="26"/>
                        </a:lnTo>
                        <a:lnTo>
                          <a:pt x="58" y="28"/>
                        </a:lnTo>
                        <a:lnTo>
                          <a:pt x="56" y="29"/>
                        </a:lnTo>
                        <a:lnTo>
                          <a:pt x="56" y="29"/>
                        </a:lnTo>
                        <a:lnTo>
                          <a:pt x="51" y="31"/>
                        </a:lnTo>
                        <a:lnTo>
                          <a:pt x="47" y="33"/>
                        </a:lnTo>
                        <a:lnTo>
                          <a:pt x="47" y="36"/>
                        </a:lnTo>
                        <a:lnTo>
                          <a:pt x="51" y="40"/>
                        </a:lnTo>
                        <a:lnTo>
                          <a:pt x="51" y="40"/>
                        </a:lnTo>
                        <a:lnTo>
                          <a:pt x="56" y="43"/>
                        </a:lnTo>
                        <a:lnTo>
                          <a:pt x="58" y="45"/>
                        </a:lnTo>
                        <a:lnTo>
                          <a:pt x="56" y="47"/>
                        </a:lnTo>
                        <a:lnTo>
                          <a:pt x="52" y="48"/>
                        </a:lnTo>
                        <a:lnTo>
                          <a:pt x="52" y="48"/>
                        </a:lnTo>
                        <a:lnTo>
                          <a:pt x="45" y="52"/>
                        </a:lnTo>
                        <a:lnTo>
                          <a:pt x="45" y="54"/>
                        </a:lnTo>
                        <a:lnTo>
                          <a:pt x="45" y="55"/>
                        </a:lnTo>
                        <a:lnTo>
                          <a:pt x="45" y="55"/>
                        </a:lnTo>
                        <a:lnTo>
                          <a:pt x="45" y="59"/>
                        </a:lnTo>
                        <a:lnTo>
                          <a:pt x="45" y="61"/>
                        </a:lnTo>
                        <a:lnTo>
                          <a:pt x="44" y="62"/>
                        </a:lnTo>
                        <a:lnTo>
                          <a:pt x="40" y="62"/>
                        </a:lnTo>
                        <a:lnTo>
                          <a:pt x="40" y="62"/>
                        </a:lnTo>
                        <a:lnTo>
                          <a:pt x="38" y="62"/>
                        </a:lnTo>
                        <a:lnTo>
                          <a:pt x="37" y="64"/>
                        </a:lnTo>
                        <a:lnTo>
                          <a:pt x="42" y="66"/>
                        </a:lnTo>
                        <a:lnTo>
                          <a:pt x="42" y="66"/>
                        </a:lnTo>
                        <a:lnTo>
                          <a:pt x="45" y="69"/>
                        </a:lnTo>
                        <a:lnTo>
                          <a:pt x="45" y="71"/>
                        </a:lnTo>
                        <a:lnTo>
                          <a:pt x="44" y="75"/>
                        </a:lnTo>
                        <a:lnTo>
                          <a:pt x="44" y="75"/>
                        </a:lnTo>
                        <a:lnTo>
                          <a:pt x="42" y="78"/>
                        </a:lnTo>
                        <a:lnTo>
                          <a:pt x="42" y="82"/>
                        </a:lnTo>
                        <a:lnTo>
                          <a:pt x="42" y="85"/>
                        </a:lnTo>
                        <a:lnTo>
                          <a:pt x="42" y="85"/>
                        </a:lnTo>
                        <a:lnTo>
                          <a:pt x="40" y="85"/>
                        </a:lnTo>
                        <a:lnTo>
                          <a:pt x="40" y="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2" name="Freeform 2239">
                    <a:extLst>
                      <a:ext uri="{FF2B5EF4-FFF2-40B4-BE49-F238E27FC236}">
                        <a16:creationId xmlns:a16="http://schemas.microsoft.com/office/drawing/2014/main" id="{005F174B-6F76-FBF3-3C52-63A63DF54724}"/>
                      </a:ext>
                    </a:extLst>
                  </p:cNvPr>
                  <p:cNvSpPr>
                    <a:spLocks/>
                  </p:cNvSpPr>
                  <p:nvPr/>
                </p:nvSpPr>
                <p:spPr bwMode="auto">
                  <a:xfrm>
                    <a:off x="4391025" y="2439988"/>
                    <a:ext cx="7938" cy="6350"/>
                  </a:xfrm>
                  <a:custGeom>
                    <a:avLst/>
                    <a:gdLst/>
                    <a:ahLst/>
                    <a:cxnLst>
                      <a:cxn ang="0">
                        <a:pos x="2" y="3"/>
                      </a:cxn>
                      <a:cxn ang="0">
                        <a:pos x="2" y="3"/>
                      </a:cxn>
                      <a:cxn ang="0">
                        <a:pos x="6" y="0"/>
                      </a:cxn>
                      <a:cxn ang="0">
                        <a:pos x="9" y="0"/>
                      </a:cxn>
                      <a:cxn ang="0">
                        <a:pos x="13" y="2"/>
                      </a:cxn>
                      <a:cxn ang="0">
                        <a:pos x="13" y="2"/>
                      </a:cxn>
                      <a:cxn ang="0">
                        <a:pos x="13" y="2"/>
                      </a:cxn>
                      <a:cxn ang="0">
                        <a:pos x="13" y="3"/>
                      </a:cxn>
                      <a:cxn ang="0">
                        <a:pos x="7" y="7"/>
                      </a:cxn>
                      <a:cxn ang="0">
                        <a:pos x="2" y="7"/>
                      </a:cxn>
                      <a:cxn ang="0">
                        <a:pos x="0" y="7"/>
                      </a:cxn>
                      <a:cxn ang="0">
                        <a:pos x="2" y="3"/>
                      </a:cxn>
                    </a:cxnLst>
                    <a:rect l="0" t="0" r="r" b="b"/>
                    <a:pathLst>
                      <a:path w="13" h="7">
                        <a:moveTo>
                          <a:pt x="2" y="3"/>
                        </a:moveTo>
                        <a:lnTo>
                          <a:pt x="2" y="3"/>
                        </a:lnTo>
                        <a:lnTo>
                          <a:pt x="6" y="0"/>
                        </a:lnTo>
                        <a:lnTo>
                          <a:pt x="9" y="0"/>
                        </a:lnTo>
                        <a:lnTo>
                          <a:pt x="13" y="2"/>
                        </a:lnTo>
                        <a:lnTo>
                          <a:pt x="13" y="2"/>
                        </a:lnTo>
                        <a:lnTo>
                          <a:pt x="13" y="2"/>
                        </a:lnTo>
                        <a:lnTo>
                          <a:pt x="13" y="3"/>
                        </a:lnTo>
                        <a:lnTo>
                          <a:pt x="7" y="7"/>
                        </a:lnTo>
                        <a:lnTo>
                          <a:pt x="2" y="7"/>
                        </a:lnTo>
                        <a:lnTo>
                          <a:pt x="0" y="7"/>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3" name="Freeform 2240">
                    <a:extLst>
                      <a:ext uri="{FF2B5EF4-FFF2-40B4-BE49-F238E27FC236}">
                        <a16:creationId xmlns:a16="http://schemas.microsoft.com/office/drawing/2014/main" id="{C7404B47-7AF5-6E21-CCA0-3B66C8623F43}"/>
                      </a:ext>
                    </a:extLst>
                  </p:cNvPr>
                  <p:cNvSpPr>
                    <a:spLocks/>
                  </p:cNvSpPr>
                  <p:nvPr/>
                </p:nvSpPr>
                <p:spPr bwMode="auto">
                  <a:xfrm>
                    <a:off x="4362450" y="2460625"/>
                    <a:ext cx="7938" cy="4763"/>
                  </a:xfrm>
                  <a:custGeom>
                    <a:avLst/>
                    <a:gdLst/>
                    <a:ahLst/>
                    <a:cxnLst>
                      <a:cxn ang="0">
                        <a:pos x="0" y="0"/>
                      </a:cxn>
                      <a:cxn ang="0">
                        <a:pos x="0" y="0"/>
                      </a:cxn>
                      <a:cxn ang="0">
                        <a:pos x="4" y="0"/>
                      </a:cxn>
                      <a:cxn ang="0">
                        <a:pos x="7" y="0"/>
                      </a:cxn>
                      <a:cxn ang="0">
                        <a:pos x="9" y="2"/>
                      </a:cxn>
                      <a:cxn ang="0">
                        <a:pos x="11" y="5"/>
                      </a:cxn>
                      <a:cxn ang="0">
                        <a:pos x="11" y="5"/>
                      </a:cxn>
                      <a:cxn ang="0">
                        <a:pos x="7" y="5"/>
                      </a:cxn>
                      <a:cxn ang="0">
                        <a:pos x="4" y="5"/>
                      </a:cxn>
                      <a:cxn ang="0">
                        <a:pos x="0" y="2"/>
                      </a:cxn>
                      <a:cxn ang="0">
                        <a:pos x="0" y="2"/>
                      </a:cxn>
                      <a:cxn ang="0">
                        <a:pos x="0" y="0"/>
                      </a:cxn>
                    </a:cxnLst>
                    <a:rect l="0" t="0" r="r" b="b"/>
                    <a:pathLst>
                      <a:path w="11" h="5">
                        <a:moveTo>
                          <a:pt x="0" y="0"/>
                        </a:moveTo>
                        <a:lnTo>
                          <a:pt x="0" y="0"/>
                        </a:lnTo>
                        <a:lnTo>
                          <a:pt x="4" y="0"/>
                        </a:lnTo>
                        <a:lnTo>
                          <a:pt x="7" y="0"/>
                        </a:lnTo>
                        <a:lnTo>
                          <a:pt x="9" y="2"/>
                        </a:lnTo>
                        <a:lnTo>
                          <a:pt x="11" y="5"/>
                        </a:lnTo>
                        <a:lnTo>
                          <a:pt x="11" y="5"/>
                        </a:lnTo>
                        <a:lnTo>
                          <a:pt x="7" y="5"/>
                        </a:lnTo>
                        <a:lnTo>
                          <a:pt x="4" y="5"/>
                        </a:lnTo>
                        <a:lnTo>
                          <a:pt x="0" y="2"/>
                        </a:lnTo>
                        <a:lnTo>
                          <a:pt x="0" y="2"/>
                        </a:lnTo>
                        <a:lnTo>
                          <a:pt x="0" y="0"/>
                        </a:lnTo>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grpSp>
          <p:sp>
            <p:nvSpPr>
              <p:cNvPr id="11" name="Oval 10">
                <a:extLst>
                  <a:ext uri="{FF2B5EF4-FFF2-40B4-BE49-F238E27FC236}">
                    <a16:creationId xmlns:a16="http://schemas.microsoft.com/office/drawing/2014/main" id="{75C5C1AD-649B-987F-0733-707765A5BEE7}"/>
                  </a:ext>
                </a:extLst>
              </p:cNvPr>
              <p:cNvSpPr/>
              <p:nvPr/>
            </p:nvSpPr>
            <p:spPr>
              <a:xfrm>
                <a:off x="3494245" y="2669143"/>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Oval 11">
                <a:extLst>
                  <a:ext uri="{FF2B5EF4-FFF2-40B4-BE49-F238E27FC236}">
                    <a16:creationId xmlns:a16="http://schemas.microsoft.com/office/drawing/2014/main" id="{54938C45-1BB2-B23B-939F-27509BB44C34}"/>
                  </a:ext>
                </a:extLst>
              </p:cNvPr>
              <p:cNvSpPr/>
              <p:nvPr/>
            </p:nvSpPr>
            <p:spPr>
              <a:xfrm>
                <a:off x="3459717" y="2643663"/>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Oval 12">
                <a:extLst>
                  <a:ext uri="{FF2B5EF4-FFF2-40B4-BE49-F238E27FC236}">
                    <a16:creationId xmlns:a16="http://schemas.microsoft.com/office/drawing/2014/main" id="{410D707F-D328-FE0C-C3C5-6F8A3EF188A2}"/>
                  </a:ext>
                </a:extLst>
              </p:cNvPr>
              <p:cNvSpPr/>
              <p:nvPr/>
            </p:nvSpPr>
            <p:spPr>
              <a:xfrm>
                <a:off x="3468051" y="2577939"/>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Oval 13">
                <a:extLst>
                  <a:ext uri="{FF2B5EF4-FFF2-40B4-BE49-F238E27FC236}">
                    <a16:creationId xmlns:a16="http://schemas.microsoft.com/office/drawing/2014/main" id="{164B5A18-E217-D18D-D985-B3249A2CA489}"/>
                  </a:ext>
                </a:extLst>
              </p:cNvPr>
              <p:cNvSpPr/>
              <p:nvPr/>
            </p:nvSpPr>
            <p:spPr>
              <a:xfrm>
                <a:off x="3539965" y="2990850"/>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Oval 14">
                <a:extLst>
                  <a:ext uri="{FF2B5EF4-FFF2-40B4-BE49-F238E27FC236}">
                    <a16:creationId xmlns:a16="http://schemas.microsoft.com/office/drawing/2014/main" id="{7CC8E176-3D4D-7D3C-4028-EC832B37C1C0}"/>
                  </a:ext>
                </a:extLst>
              </p:cNvPr>
              <p:cNvSpPr/>
              <p:nvPr/>
            </p:nvSpPr>
            <p:spPr>
              <a:xfrm>
                <a:off x="3629026" y="2974182"/>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Oval 15">
                <a:extLst>
                  <a:ext uri="{FF2B5EF4-FFF2-40B4-BE49-F238E27FC236}">
                    <a16:creationId xmlns:a16="http://schemas.microsoft.com/office/drawing/2014/main" id="{CAF8B502-E7C3-F3B7-3738-E2896AFA8AC1}"/>
                  </a:ext>
                </a:extLst>
              </p:cNvPr>
              <p:cNvSpPr/>
              <p:nvPr/>
            </p:nvSpPr>
            <p:spPr>
              <a:xfrm>
                <a:off x="3740944" y="2905125"/>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Oval 16">
                <a:extLst>
                  <a:ext uri="{FF2B5EF4-FFF2-40B4-BE49-F238E27FC236}">
                    <a16:creationId xmlns:a16="http://schemas.microsoft.com/office/drawing/2014/main" id="{1441FDD0-FC2D-8BE0-2C0C-17774CDA27E9}"/>
                  </a:ext>
                </a:extLst>
              </p:cNvPr>
              <p:cNvSpPr/>
              <p:nvPr/>
            </p:nvSpPr>
            <p:spPr>
              <a:xfrm>
                <a:off x="3844529" y="2739865"/>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Oval 18">
                <a:extLst>
                  <a:ext uri="{FF2B5EF4-FFF2-40B4-BE49-F238E27FC236}">
                    <a16:creationId xmlns:a16="http://schemas.microsoft.com/office/drawing/2014/main" id="{9D6E3D9E-7A2C-63F2-C3B0-604F3B286B36}"/>
                  </a:ext>
                </a:extLst>
              </p:cNvPr>
              <p:cNvSpPr/>
              <p:nvPr/>
            </p:nvSpPr>
            <p:spPr>
              <a:xfrm>
                <a:off x="3810001" y="2712720"/>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Oval 19">
                <a:extLst>
                  <a:ext uri="{FF2B5EF4-FFF2-40B4-BE49-F238E27FC236}">
                    <a16:creationId xmlns:a16="http://schemas.microsoft.com/office/drawing/2014/main" id="{271882C2-C6C5-7722-C060-29801F0D5D71}"/>
                  </a:ext>
                </a:extLst>
              </p:cNvPr>
              <p:cNvSpPr/>
              <p:nvPr/>
            </p:nvSpPr>
            <p:spPr>
              <a:xfrm>
                <a:off x="6988968" y="3325653"/>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2" name="Oval 31">
                <a:extLst>
                  <a:ext uri="{FF2B5EF4-FFF2-40B4-BE49-F238E27FC236}">
                    <a16:creationId xmlns:a16="http://schemas.microsoft.com/office/drawing/2014/main" id="{368736E7-14E1-EF09-F05C-877ACB7DC98C}"/>
                  </a:ext>
                </a:extLst>
              </p:cNvPr>
              <p:cNvSpPr/>
              <p:nvPr/>
            </p:nvSpPr>
            <p:spPr>
              <a:xfrm>
                <a:off x="5946571" y="2383027"/>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3" name="Oval 32">
                <a:extLst>
                  <a:ext uri="{FF2B5EF4-FFF2-40B4-BE49-F238E27FC236}">
                    <a16:creationId xmlns:a16="http://schemas.microsoft.com/office/drawing/2014/main" id="{E0538D75-59D6-D2EE-B584-0E3963423316}"/>
                  </a:ext>
                </a:extLst>
              </p:cNvPr>
              <p:cNvSpPr/>
              <p:nvPr/>
            </p:nvSpPr>
            <p:spPr>
              <a:xfrm>
                <a:off x="5707733" y="2419588"/>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4" name="Oval 33">
                <a:extLst>
                  <a:ext uri="{FF2B5EF4-FFF2-40B4-BE49-F238E27FC236}">
                    <a16:creationId xmlns:a16="http://schemas.microsoft.com/office/drawing/2014/main" id="{CD8FA5B5-A417-976D-F781-CDE8727B2E04}"/>
                  </a:ext>
                </a:extLst>
              </p:cNvPr>
              <p:cNvSpPr/>
              <p:nvPr/>
            </p:nvSpPr>
            <p:spPr>
              <a:xfrm>
                <a:off x="5513418" y="2409344"/>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9" name="Oval 38">
                <a:extLst>
                  <a:ext uri="{FF2B5EF4-FFF2-40B4-BE49-F238E27FC236}">
                    <a16:creationId xmlns:a16="http://schemas.microsoft.com/office/drawing/2014/main" id="{33D53954-7752-2B83-9257-9EC50E594494}"/>
                  </a:ext>
                </a:extLst>
              </p:cNvPr>
              <p:cNvSpPr/>
              <p:nvPr/>
            </p:nvSpPr>
            <p:spPr>
              <a:xfrm>
                <a:off x="5570815" y="2396486"/>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0" name="Oval 39">
                <a:extLst>
                  <a:ext uri="{FF2B5EF4-FFF2-40B4-BE49-F238E27FC236}">
                    <a16:creationId xmlns:a16="http://schemas.microsoft.com/office/drawing/2014/main" id="{46D23F92-8182-07B4-9615-18390C138754}"/>
                  </a:ext>
                </a:extLst>
              </p:cNvPr>
              <p:cNvSpPr/>
              <p:nvPr/>
            </p:nvSpPr>
            <p:spPr>
              <a:xfrm>
                <a:off x="5530562" y="2476254"/>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1" name="Oval 40">
                <a:extLst>
                  <a:ext uri="{FF2B5EF4-FFF2-40B4-BE49-F238E27FC236}">
                    <a16:creationId xmlns:a16="http://schemas.microsoft.com/office/drawing/2014/main" id="{61687C24-6235-4BED-4C34-BAD3521C890A}"/>
                  </a:ext>
                </a:extLst>
              </p:cNvPr>
              <p:cNvSpPr/>
              <p:nvPr/>
            </p:nvSpPr>
            <p:spPr>
              <a:xfrm>
                <a:off x="5594389" y="2455302"/>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2" name="Oval 41">
                <a:extLst>
                  <a:ext uri="{FF2B5EF4-FFF2-40B4-BE49-F238E27FC236}">
                    <a16:creationId xmlns:a16="http://schemas.microsoft.com/office/drawing/2014/main" id="{9B1FE180-B6B9-2B8D-3851-770941220E7C}"/>
                  </a:ext>
                </a:extLst>
              </p:cNvPr>
              <p:cNvSpPr/>
              <p:nvPr/>
            </p:nvSpPr>
            <p:spPr>
              <a:xfrm>
                <a:off x="5556750" y="2520778"/>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3" name="Oval 42">
                <a:extLst>
                  <a:ext uri="{FF2B5EF4-FFF2-40B4-BE49-F238E27FC236}">
                    <a16:creationId xmlns:a16="http://schemas.microsoft.com/office/drawing/2014/main" id="{BB5DD468-5785-6946-9325-D86C7308900D}"/>
                  </a:ext>
                </a:extLst>
              </p:cNvPr>
              <p:cNvSpPr/>
              <p:nvPr/>
            </p:nvSpPr>
            <p:spPr>
              <a:xfrm>
                <a:off x="5607359" y="2506739"/>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4" name="Oval 43">
                <a:extLst>
                  <a:ext uri="{FF2B5EF4-FFF2-40B4-BE49-F238E27FC236}">
                    <a16:creationId xmlns:a16="http://schemas.microsoft.com/office/drawing/2014/main" id="{37200AFA-60CC-E397-2489-0B7CD8A7F523}"/>
                  </a:ext>
                </a:extLst>
              </p:cNvPr>
              <p:cNvSpPr/>
              <p:nvPr/>
            </p:nvSpPr>
            <p:spPr>
              <a:xfrm>
                <a:off x="5661529" y="2536733"/>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5" name="Oval 44">
                <a:extLst>
                  <a:ext uri="{FF2B5EF4-FFF2-40B4-BE49-F238E27FC236}">
                    <a16:creationId xmlns:a16="http://schemas.microsoft.com/office/drawing/2014/main" id="{0AA8A781-B6F1-F89C-B2B7-B539307E3369}"/>
                  </a:ext>
                </a:extLst>
              </p:cNvPr>
              <p:cNvSpPr/>
              <p:nvPr/>
            </p:nvSpPr>
            <p:spPr>
              <a:xfrm>
                <a:off x="5613903" y="2592704"/>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7" name="Oval 46">
                <a:extLst>
                  <a:ext uri="{FF2B5EF4-FFF2-40B4-BE49-F238E27FC236}">
                    <a16:creationId xmlns:a16="http://schemas.microsoft.com/office/drawing/2014/main" id="{F932733A-5B28-E1A6-CC7B-CF9B11CBB4B7}"/>
                  </a:ext>
                </a:extLst>
              </p:cNvPr>
              <p:cNvSpPr/>
              <p:nvPr/>
            </p:nvSpPr>
            <p:spPr>
              <a:xfrm>
                <a:off x="5692830" y="2592704"/>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 name="Oval 47">
                <a:extLst>
                  <a:ext uri="{FF2B5EF4-FFF2-40B4-BE49-F238E27FC236}">
                    <a16:creationId xmlns:a16="http://schemas.microsoft.com/office/drawing/2014/main" id="{C476029F-CA45-7E29-9442-ACEC18C3E104}"/>
                  </a:ext>
                </a:extLst>
              </p:cNvPr>
              <p:cNvSpPr/>
              <p:nvPr/>
            </p:nvSpPr>
            <p:spPr>
              <a:xfrm>
                <a:off x="5492112" y="2202769"/>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9" name="Oval 48">
                <a:extLst>
                  <a:ext uri="{FF2B5EF4-FFF2-40B4-BE49-F238E27FC236}">
                    <a16:creationId xmlns:a16="http://schemas.microsoft.com/office/drawing/2014/main" id="{77B0724F-CF30-BE2E-E8FC-B78AECFD3435}"/>
                  </a:ext>
                </a:extLst>
              </p:cNvPr>
              <p:cNvSpPr/>
              <p:nvPr/>
            </p:nvSpPr>
            <p:spPr>
              <a:xfrm>
                <a:off x="6524624" y="2101691"/>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0" name="Oval 49">
                <a:extLst>
                  <a:ext uri="{FF2B5EF4-FFF2-40B4-BE49-F238E27FC236}">
                    <a16:creationId xmlns:a16="http://schemas.microsoft.com/office/drawing/2014/main" id="{D62B3599-A207-63FA-508E-4256C504BA2E}"/>
                  </a:ext>
                </a:extLst>
              </p:cNvPr>
              <p:cNvSpPr/>
              <p:nvPr/>
            </p:nvSpPr>
            <p:spPr>
              <a:xfrm>
                <a:off x="5513426" y="2738200"/>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1" name="Oval 50">
                <a:extLst>
                  <a:ext uri="{FF2B5EF4-FFF2-40B4-BE49-F238E27FC236}">
                    <a16:creationId xmlns:a16="http://schemas.microsoft.com/office/drawing/2014/main" id="{3FCE6CD0-2824-063D-E8F6-C477EF51CA1A}"/>
                  </a:ext>
                </a:extLst>
              </p:cNvPr>
              <p:cNvSpPr/>
              <p:nvPr/>
            </p:nvSpPr>
            <p:spPr>
              <a:xfrm>
                <a:off x="5895969" y="2643662"/>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2" name="Oval 51">
                <a:extLst>
                  <a:ext uri="{FF2B5EF4-FFF2-40B4-BE49-F238E27FC236}">
                    <a16:creationId xmlns:a16="http://schemas.microsoft.com/office/drawing/2014/main" id="{02F8E962-A959-6036-32AB-B22ADE5B8109}"/>
                  </a:ext>
                </a:extLst>
              </p:cNvPr>
              <p:cNvSpPr/>
              <p:nvPr/>
            </p:nvSpPr>
            <p:spPr>
              <a:xfrm>
                <a:off x="5869774" y="2603655"/>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3" name="Oval 52">
                <a:extLst>
                  <a:ext uri="{FF2B5EF4-FFF2-40B4-BE49-F238E27FC236}">
                    <a16:creationId xmlns:a16="http://schemas.microsoft.com/office/drawing/2014/main" id="{1DCF5742-B183-AB01-1586-5B191D209AEA}"/>
                  </a:ext>
                </a:extLst>
              </p:cNvPr>
              <p:cNvSpPr/>
              <p:nvPr/>
            </p:nvSpPr>
            <p:spPr>
              <a:xfrm>
                <a:off x="5759958" y="2512928"/>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4" name="Oval 53">
                <a:extLst>
                  <a:ext uri="{FF2B5EF4-FFF2-40B4-BE49-F238E27FC236}">
                    <a16:creationId xmlns:a16="http://schemas.microsoft.com/office/drawing/2014/main" id="{6A5832D7-0581-8506-F936-4B81AD14E5B3}"/>
                  </a:ext>
                </a:extLst>
              </p:cNvPr>
              <p:cNvSpPr/>
              <p:nvPr/>
            </p:nvSpPr>
            <p:spPr>
              <a:xfrm>
                <a:off x="5821077" y="2470294"/>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5" name="Oval 54">
                <a:extLst>
                  <a:ext uri="{FF2B5EF4-FFF2-40B4-BE49-F238E27FC236}">
                    <a16:creationId xmlns:a16="http://schemas.microsoft.com/office/drawing/2014/main" id="{60B5EA65-A79F-BC48-49BA-6A5077AE7EB5}"/>
                  </a:ext>
                </a:extLst>
              </p:cNvPr>
              <p:cNvSpPr/>
              <p:nvPr/>
            </p:nvSpPr>
            <p:spPr>
              <a:xfrm>
                <a:off x="5792857" y="2427193"/>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6" name="Oval 55">
                <a:extLst>
                  <a:ext uri="{FF2B5EF4-FFF2-40B4-BE49-F238E27FC236}">
                    <a16:creationId xmlns:a16="http://schemas.microsoft.com/office/drawing/2014/main" id="{5F315775-DD74-D850-3F9E-A3BEC7B7E3CC}"/>
                  </a:ext>
                </a:extLst>
              </p:cNvPr>
              <p:cNvSpPr/>
              <p:nvPr/>
            </p:nvSpPr>
            <p:spPr>
              <a:xfrm>
                <a:off x="5861441" y="2437682"/>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7" name="Oval 56">
                <a:extLst>
                  <a:ext uri="{FF2B5EF4-FFF2-40B4-BE49-F238E27FC236}">
                    <a16:creationId xmlns:a16="http://schemas.microsoft.com/office/drawing/2014/main" id="{F851908C-3420-D5E1-EB88-0F9903CCE149}"/>
                  </a:ext>
                </a:extLst>
              </p:cNvPr>
              <p:cNvSpPr/>
              <p:nvPr/>
            </p:nvSpPr>
            <p:spPr>
              <a:xfrm>
                <a:off x="5761887" y="2295767"/>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8" name="Oval 57">
                <a:extLst>
                  <a:ext uri="{FF2B5EF4-FFF2-40B4-BE49-F238E27FC236}">
                    <a16:creationId xmlns:a16="http://schemas.microsoft.com/office/drawing/2014/main" id="{BF6A626F-EDAE-B61F-F021-377F0BD0A7DC}"/>
                  </a:ext>
                </a:extLst>
              </p:cNvPr>
              <p:cNvSpPr/>
              <p:nvPr/>
            </p:nvSpPr>
            <p:spPr>
              <a:xfrm>
                <a:off x="5790058" y="2359820"/>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9" name="Oval 58">
                <a:extLst>
                  <a:ext uri="{FF2B5EF4-FFF2-40B4-BE49-F238E27FC236}">
                    <a16:creationId xmlns:a16="http://schemas.microsoft.com/office/drawing/2014/main" id="{CA52B0BC-EBCB-3A99-4A7C-B64FEF6DB553}"/>
                  </a:ext>
                </a:extLst>
              </p:cNvPr>
              <p:cNvSpPr/>
              <p:nvPr/>
            </p:nvSpPr>
            <p:spPr>
              <a:xfrm>
                <a:off x="3115867" y="3360181"/>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0" name="Oval 59">
                <a:extLst>
                  <a:ext uri="{FF2B5EF4-FFF2-40B4-BE49-F238E27FC236}">
                    <a16:creationId xmlns:a16="http://schemas.microsoft.com/office/drawing/2014/main" id="{A6DA3F4D-B34F-622C-77C3-3BD0EA5FD77E}"/>
                  </a:ext>
                </a:extLst>
              </p:cNvPr>
              <p:cNvSpPr/>
              <p:nvPr/>
            </p:nvSpPr>
            <p:spPr>
              <a:xfrm>
                <a:off x="3856197" y="3945968"/>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1" name="Oval 60">
                <a:extLst>
                  <a:ext uri="{FF2B5EF4-FFF2-40B4-BE49-F238E27FC236}">
                    <a16:creationId xmlns:a16="http://schemas.microsoft.com/office/drawing/2014/main" id="{EC53C82A-6440-80F9-36AC-E013EB26958A}"/>
                  </a:ext>
                </a:extLst>
              </p:cNvPr>
              <p:cNvSpPr/>
              <p:nvPr/>
            </p:nvSpPr>
            <p:spPr>
              <a:xfrm>
                <a:off x="4614864" y="4955378"/>
                <a:ext cx="83111" cy="8311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2" name="Oval 61">
                <a:extLst>
                  <a:ext uri="{FF2B5EF4-FFF2-40B4-BE49-F238E27FC236}">
                    <a16:creationId xmlns:a16="http://schemas.microsoft.com/office/drawing/2014/main" id="{9C2B5417-B799-46FB-2FA8-AFFBCD1B6508}"/>
                  </a:ext>
                </a:extLst>
              </p:cNvPr>
              <p:cNvSpPr/>
              <p:nvPr/>
            </p:nvSpPr>
            <p:spPr>
              <a:xfrm>
                <a:off x="4520806" y="4941329"/>
                <a:ext cx="83110" cy="8311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3" name="Oval 62">
                <a:extLst>
                  <a:ext uri="{FF2B5EF4-FFF2-40B4-BE49-F238E27FC236}">
                    <a16:creationId xmlns:a16="http://schemas.microsoft.com/office/drawing/2014/main" id="{1149CF6A-AB70-6131-40A3-EF7A7422FE5B}"/>
                  </a:ext>
                </a:extLst>
              </p:cNvPr>
              <p:cNvSpPr/>
              <p:nvPr/>
            </p:nvSpPr>
            <p:spPr>
              <a:xfrm>
                <a:off x="4314829" y="5427224"/>
                <a:ext cx="83110" cy="8311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4" name="Oval 63">
                <a:extLst>
                  <a:ext uri="{FF2B5EF4-FFF2-40B4-BE49-F238E27FC236}">
                    <a16:creationId xmlns:a16="http://schemas.microsoft.com/office/drawing/2014/main" id="{FA80E3AD-0E5C-03C5-B5C9-B793AD7EC6EB}"/>
                  </a:ext>
                </a:extLst>
              </p:cNvPr>
              <p:cNvSpPr/>
              <p:nvPr/>
            </p:nvSpPr>
            <p:spPr>
              <a:xfrm>
                <a:off x="4661773" y="4791788"/>
                <a:ext cx="83111" cy="8311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5" name="Oval 64">
                <a:extLst>
                  <a:ext uri="{FF2B5EF4-FFF2-40B4-BE49-F238E27FC236}">
                    <a16:creationId xmlns:a16="http://schemas.microsoft.com/office/drawing/2014/main" id="{086CCF14-F571-C0E1-6747-CD381A681AFF}"/>
                  </a:ext>
                </a:extLst>
              </p:cNvPr>
              <p:cNvSpPr/>
              <p:nvPr/>
            </p:nvSpPr>
            <p:spPr>
              <a:xfrm>
                <a:off x="4761785" y="4828697"/>
                <a:ext cx="83111" cy="8311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6" name="Oval 65">
                <a:extLst>
                  <a:ext uri="{FF2B5EF4-FFF2-40B4-BE49-F238E27FC236}">
                    <a16:creationId xmlns:a16="http://schemas.microsoft.com/office/drawing/2014/main" id="{E23FAE9C-0355-0A06-281B-42AC9C31624A}"/>
                  </a:ext>
                </a:extLst>
              </p:cNvPr>
              <p:cNvSpPr/>
              <p:nvPr/>
            </p:nvSpPr>
            <p:spPr>
              <a:xfrm>
                <a:off x="8752046" y="3348511"/>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7" name="Oval 66">
                <a:extLst>
                  <a:ext uri="{FF2B5EF4-FFF2-40B4-BE49-F238E27FC236}">
                    <a16:creationId xmlns:a16="http://schemas.microsoft.com/office/drawing/2014/main" id="{B7D7F8FA-1725-B6A5-99B0-2CA432367905}"/>
                  </a:ext>
                </a:extLst>
              </p:cNvPr>
              <p:cNvSpPr/>
              <p:nvPr/>
            </p:nvSpPr>
            <p:spPr>
              <a:xfrm>
                <a:off x="8821103" y="3059907"/>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8" name="Oval 67">
                <a:extLst>
                  <a:ext uri="{FF2B5EF4-FFF2-40B4-BE49-F238E27FC236}">
                    <a16:creationId xmlns:a16="http://schemas.microsoft.com/office/drawing/2014/main" id="{7D72AE88-D5E5-E76D-BF2D-35B4A08F4514}"/>
                  </a:ext>
                </a:extLst>
              </p:cNvPr>
              <p:cNvSpPr/>
              <p:nvPr/>
            </p:nvSpPr>
            <p:spPr>
              <a:xfrm>
                <a:off x="8752045" y="3008710"/>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9" name="Oval 68">
                <a:extLst>
                  <a:ext uri="{FF2B5EF4-FFF2-40B4-BE49-F238E27FC236}">
                    <a16:creationId xmlns:a16="http://schemas.microsoft.com/office/drawing/2014/main" id="{1FC1D529-BBE4-73E3-9639-408092FB8E7D}"/>
                  </a:ext>
                </a:extLst>
              </p:cNvPr>
              <p:cNvSpPr/>
              <p:nvPr/>
            </p:nvSpPr>
            <p:spPr>
              <a:xfrm>
                <a:off x="9149714" y="2520777"/>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Oval 69">
                <a:extLst>
                  <a:ext uri="{FF2B5EF4-FFF2-40B4-BE49-F238E27FC236}">
                    <a16:creationId xmlns:a16="http://schemas.microsoft.com/office/drawing/2014/main" id="{E2519D28-A98E-43E5-1EA2-80EE54AC3B4F}"/>
                  </a:ext>
                </a:extLst>
              </p:cNvPr>
              <p:cNvSpPr/>
              <p:nvPr/>
            </p:nvSpPr>
            <p:spPr>
              <a:xfrm>
                <a:off x="9115185" y="2437682"/>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1" name="Oval 70">
                <a:extLst>
                  <a:ext uri="{FF2B5EF4-FFF2-40B4-BE49-F238E27FC236}">
                    <a16:creationId xmlns:a16="http://schemas.microsoft.com/office/drawing/2014/main" id="{19079DF2-2971-7803-7D1E-3FCA7B13531B}"/>
                  </a:ext>
                </a:extLst>
              </p:cNvPr>
              <p:cNvSpPr/>
              <p:nvPr/>
            </p:nvSpPr>
            <p:spPr>
              <a:xfrm>
                <a:off x="8380571" y="3672361"/>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2" name="Oval 71">
                <a:extLst>
                  <a:ext uri="{FF2B5EF4-FFF2-40B4-BE49-F238E27FC236}">
                    <a16:creationId xmlns:a16="http://schemas.microsoft.com/office/drawing/2014/main" id="{0C5D73A9-BBFC-0548-A2B3-E1D742D0E01A}"/>
                  </a:ext>
                </a:extLst>
              </p:cNvPr>
              <p:cNvSpPr/>
              <p:nvPr/>
            </p:nvSpPr>
            <p:spPr>
              <a:xfrm>
                <a:off x="7620952" y="3527105"/>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Oval 72">
                <a:extLst>
                  <a:ext uri="{FF2B5EF4-FFF2-40B4-BE49-F238E27FC236}">
                    <a16:creationId xmlns:a16="http://schemas.microsoft.com/office/drawing/2014/main" id="{6A2A03BA-1319-BDA4-43BD-CB82470C3C1C}"/>
                  </a:ext>
                </a:extLst>
              </p:cNvPr>
              <p:cNvSpPr/>
              <p:nvPr/>
            </p:nvSpPr>
            <p:spPr>
              <a:xfrm>
                <a:off x="7718583" y="3527105"/>
                <a:ext cx="77750" cy="77750"/>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6" name="Oval 5">
              <a:extLst>
                <a:ext uri="{FF2B5EF4-FFF2-40B4-BE49-F238E27FC236}">
                  <a16:creationId xmlns:a16="http://schemas.microsoft.com/office/drawing/2014/main" id="{5C178E5F-257B-8133-E4EB-01C1ADD344CB}"/>
                </a:ext>
              </a:extLst>
            </p:cNvPr>
            <p:cNvSpPr/>
            <p:nvPr/>
          </p:nvSpPr>
          <p:spPr>
            <a:xfrm>
              <a:off x="8331340" y="2999279"/>
              <a:ext cx="76184" cy="6832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Oval 6">
              <a:extLst>
                <a:ext uri="{FF2B5EF4-FFF2-40B4-BE49-F238E27FC236}">
                  <a16:creationId xmlns:a16="http://schemas.microsoft.com/office/drawing/2014/main" id="{6B7124D9-238E-C622-B229-3C066651AD22}"/>
                </a:ext>
              </a:extLst>
            </p:cNvPr>
            <p:cNvSpPr/>
            <p:nvPr/>
          </p:nvSpPr>
          <p:spPr>
            <a:xfrm>
              <a:off x="10889726" y="3310660"/>
              <a:ext cx="76184" cy="6832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Oval 7">
              <a:extLst>
                <a:ext uri="{FF2B5EF4-FFF2-40B4-BE49-F238E27FC236}">
                  <a16:creationId xmlns:a16="http://schemas.microsoft.com/office/drawing/2014/main" id="{0AADF600-8FD9-02E0-89C3-162550819B54}"/>
                </a:ext>
              </a:extLst>
            </p:cNvPr>
            <p:cNvSpPr/>
            <p:nvPr/>
          </p:nvSpPr>
          <p:spPr>
            <a:xfrm>
              <a:off x="10911951" y="3126553"/>
              <a:ext cx="76184" cy="6832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Oval 8">
              <a:extLst>
                <a:ext uri="{FF2B5EF4-FFF2-40B4-BE49-F238E27FC236}">
                  <a16:creationId xmlns:a16="http://schemas.microsoft.com/office/drawing/2014/main" id="{26BE55FF-409B-54A2-307C-5AE8C3DA8D35}"/>
                </a:ext>
              </a:extLst>
            </p:cNvPr>
            <p:cNvSpPr/>
            <p:nvPr/>
          </p:nvSpPr>
          <p:spPr>
            <a:xfrm>
              <a:off x="10889726" y="3382072"/>
              <a:ext cx="76184" cy="68321"/>
            </a:xfrm>
            <a:prstGeom prst="ellipse">
              <a:avLst/>
            </a:prstGeom>
            <a:solidFill>
              <a:srgbClr val="347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632" name="TextBox 631">
            <a:extLst>
              <a:ext uri="{FF2B5EF4-FFF2-40B4-BE49-F238E27FC236}">
                <a16:creationId xmlns:a16="http://schemas.microsoft.com/office/drawing/2014/main" id="{100E35CE-F4F7-0E8F-6734-415001D5CE8A}"/>
              </a:ext>
            </a:extLst>
          </p:cNvPr>
          <p:cNvSpPr txBox="1"/>
          <p:nvPr/>
        </p:nvSpPr>
        <p:spPr>
          <a:xfrm>
            <a:off x="7226874" y="1294646"/>
            <a:ext cx="4438920" cy="338554"/>
          </a:xfrm>
          <a:prstGeom prst="rect">
            <a:avLst/>
          </a:prstGeom>
          <a:noFill/>
        </p:spPr>
        <p:txBody>
          <a:bodyPr wrap="square" lIns="91440" tIns="45720" rIns="91440" bIns="45720" rtlCol="0" anchor="t">
            <a:spAutoFit/>
          </a:bodyPr>
          <a:lstStyle/>
          <a:p>
            <a:pPr marL="0" marR="0" lvl="1"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FY 2024 Net Sales by Ship To Destination</a:t>
            </a:r>
            <a:endParaRPr kumimoji="0" lang="en-US" sz="2800" b="1" i="0" u="none" strike="noStrike" kern="1200" cap="none" spc="0" normalizeH="0" baseline="0" noProof="0">
              <a:ln>
                <a:noFill/>
              </a:ln>
              <a:solidFill>
                <a:prstClr val="black"/>
              </a:solidFill>
              <a:effectLst/>
              <a:uLnTx/>
              <a:uFillTx/>
              <a:latin typeface="Arial"/>
              <a:ea typeface="+mn-ea"/>
              <a:cs typeface="+mn-cs"/>
            </a:endParaRPr>
          </a:p>
        </p:txBody>
      </p:sp>
      <p:grpSp>
        <p:nvGrpSpPr>
          <p:cNvPr id="633" name="Group 632">
            <a:extLst>
              <a:ext uri="{FF2B5EF4-FFF2-40B4-BE49-F238E27FC236}">
                <a16:creationId xmlns:a16="http://schemas.microsoft.com/office/drawing/2014/main" id="{F49B611B-CA27-10D1-5E53-1EEE1F7011ED}"/>
              </a:ext>
            </a:extLst>
          </p:cNvPr>
          <p:cNvGrpSpPr/>
          <p:nvPr/>
        </p:nvGrpSpPr>
        <p:grpSpPr>
          <a:xfrm>
            <a:off x="10159507" y="2188982"/>
            <a:ext cx="849593" cy="1023446"/>
            <a:chOff x="9212394" y="1899514"/>
            <a:chExt cx="674571" cy="812609"/>
          </a:xfrm>
        </p:grpSpPr>
        <p:sp>
          <p:nvSpPr>
            <p:cNvPr id="634" name="Freeform 14">
              <a:extLst>
                <a:ext uri="{FF2B5EF4-FFF2-40B4-BE49-F238E27FC236}">
                  <a16:creationId xmlns:a16="http://schemas.microsoft.com/office/drawing/2014/main" id="{366B2019-FFCA-1356-7E00-BD83F5EAE88B}"/>
                </a:ext>
              </a:extLst>
            </p:cNvPr>
            <p:cNvSpPr>
              <a:spLocks noEditPoints="1"/>
            </p:cNvSpPr>
            <p:nvPr/>
          </p:nvSpPr>
          <p:spPr bwMode="auto">
            <a:xfrm>
              <a:off x="9259478" y="1899514"/>
              <a:ext cx="580402" cy="812609"/>
            </a:xfrm>
            <a:custGeom>
              <a:avLst/>
              <a:gdLst>
                <a:gd name="T0" fmla="*/ 309 w 309"/>
                <a:gd name="T1" fmla="*/ 155 h 441"/>
                <a:gd name="T2" fmla="*/ 155 w 309"/>
                <a:gd name="T3" fmla="*/ 0 h 441"/>
                <a:gd name="T4" fmla="*/ 0 w 309"/>
                <a:gd name="T5" fmla="*/ 155 h 441"/>
                <a:gd name="T6" fmla="*/ 53 w 309"/>
                <a:gd name="T7" fmla="*/ 271 h 441"/>
                <a:gd name="T8" fmla="*/ 52 w 309"/>
                <a:gd name="T9" fmla="*/ 270 h 441"/>
                <a:gd name="T10" fmla="*/ 54 w 309"/>
                <a:gd name="T11" fmla="*/ 272 h 441"/>
                <a:gd name="T12" fmla="*/ 63 w 309"/>
                <a:gd name="T13" fmla="*/ 279 h 441"/>
                <a:gd name="T14" fmla="*/ 155 w 309"/>
                <a:gd name="T15" fmla="*/ 441 h 441"/>
                <a:gd name="T16" fmla="*/ 246 w 309"/>
                <a:gd name="T17" fmla="*/ 279 h 441"/>
                <a:gd name="T18" fmla="*/ 256 w 309"/>
                <a:gd name="T19" fmla="*/ 272 h 441"/>
                <a:gd name="T20" fmla="*/ 257 w 309"/>
                <a:gd name="T21" fmla="*/ 270 h 441"/>
                <a:gd name="T22" fmla="*/ 257 w 309"/>
                <a:gd name="T23" fmla="*/ 271 h 441"/>
                <a:gd name="T24" fmla="*/ 309 w 309"/>
                <a:gd name="T25" fmla="*/ 155 h 441"/>
                <a:gd name="T26" fmla="*/ 155 w 309"/>
                <a:gd name="T27" fmla="*/ 268 h 441"/>
                <a:gd name="T28" fmla="*/ 42 w 309"/>
                <a:gd name="T29" fmla="*/ 155 h 441"/>
                <a:gd name="T30" fmla="*/ 155 w 309"/>
                <a:gd name="T31" fmla="*/ 42 h 441"/>
                <a:gd name="T32" fmla="*/ 268 w 309"/>
                <a:gd name="T33" fmla="*/ 155 h 441"/>
                <a:gd name="T34" fmla="*/ 155 w 309"/>
                <a:gd name="T35" fmla="*/ 26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441">
                  <a:moveTo>
                    <a:pt x="309" y="155"/>
                  </a:moveTo>
                  <a:cubicBezTo>
                    <a:pt x="309" y="69"/>
                    <a:pt x="240" y="0"/>
                    <a:pt x="155" y="0"/>
                  </a:cubicBezTo>
                  <a:cubicBezTo>
                    <a:pt x="69" y="0"/>
                    <a:pt x="0" y="69"/>
                    <a:pt x="0" y="155"/>
                  </a:cubicBezTo>
                  <a:cubicBezTo>
                    <a:pt x="0" y="201"/>
                    <a:pt x="20" y="242"/>
                    <a:pt x="53" y="271"/>
                  </a:cubicBezTo>
                  <a:cubicBezTo>
                    <a:pt x="52" y="270"/>
                    <a:pt x="52" y="270"/>
                    <a:pt x="52" y="270"/>
                  </a:cubicBezTo>
                  <a:cubicBezTo>
                    <a:pt x="53" y="271"/>
                    <a:pt x="53" y="271"/>
                    <a:pt x="54" y="272"/>
                  </a:cubicBezTo>
                  <a:cubicBezTo>
                    <a:pt x="57" y="274"/>
                    <a:pt x="60" y="277"/>
                    <a:pt x="63" y="279"/>
                  </a:cubicBezTo>
                  <a:cubicBezTo>
                    <a:pt x="148" y="350"/>
                    <a:pt x="155" y="440"/>
                    <a:pt x="155" y="441"/>
                  </a:cubicBezTo>
                  <a:cubicBezTo>
                    <a:pt x="155" y="440"/>
                    <a:pt x="161" y="350"/>
                    <a:pt x="246" y="279"/>
                  </a:cubicBezTo>
                  <a:cubicBezTo>
                    <a:pt x="250" y="277"/>
                    <a:pt x="253" y="274"/>
                    <a:pt x="256" y="272"/>
                  </a:cubicBezTo>
                  <a:cubicBezTo>
                    <a:pt x="256" y="271"/>
                    <a:pt x="257" y="271"/>
                    <a:pt x="257" y="270"/>
                  </a:cubicBezTo>
                  <a:cubicBezTo>
                    <a:pt x="257" y="271"/>
                    <a:pt x="257" y="271"/>
                    <a:pt x="257" y="271"/>
                  </a:cubicBezTo>
                  <a:cubicBezTo>
                    <a:pt x="289" y="242"/>
                    <a:pt x="309" y="201"/>
                    <a:pt x="309" y="155"/>
                  </a:cubicBezTo>
                  <a:close/>
                  <a:moveTo>
                    <a:pt x="155" y="268"/>
                  </a:moveTo>
                  <a:cubicBezTo>
                    <a:pt x="92" y="268"/>
                    <a:pt x="42" y="217"/>
                    <a:pt x="42" y="155"/>
                  </a:cubicBezTo>
                  <a:cubicBezTo>
                    <a:pt x="42" y="92"/>
                    <a:pt x="92" y="42"/>
                    <a:pt x="155" y="42"/>
                  </a:cubicBezTo>
                  <a:cubicBezTo>
                    <a:pt x="217" y="42"/>
                    <a:pt x="268" y="92"/>
                    <a:pt x="268" y="155"/>
                  </a:cubicBezTo>
                  <a:cubicBezTo>
                    <a:pt x="268" y="217"/>
                    <a:pt x="217" y="268"/>
                    <a:pt x="155" y="26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35" name="Oval 634">
              <a:extLst>
                <a:ext uri="{FF2B5EF4-FFF2-40B4-BE49-F238E27FC236}">
                  <a16:creationId xmlns:a16="http://schemas.microsoft.com/office/drawing/2014/main" id="{EF7ACD92-E95A-055B-7043-F53F8034A5D3}"/>
                </a:ext>
              </a:extLst>
            </p:cNvPr>
            <p:cNvSpPr/>
            <p:nvPr/>
          </p:nvSpPr>
          <p:spPr>
            <a:xfrm>
              <a:off x="9315213" y="1950441"/>
              <a:ext cx="468933" cy="46406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36" name="TextBox 635">
              <a:extLst>
                <a:ext uri="{FF2B5EF4-FFF2-40B4-BE49-F238E27FC236}">
                  <a16:creationId xmlns:a16="http://schemas.microsoft.com/office/drawing/2014/main" id="{0EE96056-ACD2-12A5-F4CB-9EEFFAE6208C}"/>
                </a:ext>
              </a:extLst>
            </p:cNvPr>
            <p:cNvSpPr txBox="1"/>
            <p:nvPr/>
          </p:nvSpPr>
          <p:spPr>
            <a:xfrm>
              <a:off x="9212394" y="2023037"/>
              <a:ext cx="674571" cy="3176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579F8E"/>
                  </a:solidFill>
                  <a:effectLst/>
                  <a:uLnTx/>
                  <a:uFillTx/>
                  <a:latin typeface="Arial" panose="020B0604020202020204"/>
                  <a:ea typeface="+mn-ea"/>
                  <a:cs typeface="+mn-cs"/>
                </a:rPr>
                <a:t>11%</a:t>
              </a:r>
            </a:p>
          </p:txBody>
        </p:sp>
      </p:grpSp>
      <p:grpSp>
        <p:nvGrpSpPr>
          <p:cNvPr id="637" name="Group 636">
            <a:extLst>
              <a:ext uri="{FF2B5EF4-FFF2-40B4-BE49-F238E27FC236}">
                <a16:creationId xmlns:a16="http://schemas.microsoft.com/office/drawing/2014/main" id="{0F196754-7F3B-35E4-55B3-45D40C785827}"/>
              </a:ext>
            </a:extLst>
          </p:cNvPr>
          <p:cNvGrpSpPr/>
          <p:nvPr/>
        </p:nvGrpSpPr>
        <p:grpSpPr>
          <a:xfrm>
            <a:off x="8926573" y="1806868"/>
            <a:ext cx="849592" cy="1023444"/>
            <a:chOff x="8427958" y="1770639"/>
            <a:chExt cx="674571" cy="812609"/>
          </a:xfrm>
        </p:grpSpPr>
        <p:sp>
          <p:nvSpPr>
            <p:cNvPr id="638" name="Freeform 14">
              <a:extLst>
                <a:ext uri="{FF2B5EF4-FFF2-40B4-BE49-F238E27FC236}">
                  <a16:creationId xmlns:a16="http://schemas.microsoft.com/office/drawing/2014/main" id="{A63F5836-4622-5865-D56D-9E0832E7B3D7}"/>
                </a:ext>
              </a:extLst>
            </p:cNvPr>
            <p:cNvSpPr>
              <a:spLocks noEditPoints="1"/>
            </p:cNvSpPr>
            <p:nvPr/>
          </p:nvSpPr>
          <p:spPr bwMode="auto">
            <a:xfrm>
              <a:off x="8479221" y="1770639"/>
              <a:ext cx="580402" cy="812609"/>
            </a:xfrm>
            <a:custGeom>
              <a:avLst/>
              <a:gdLst>
                <a:gd name="T0" fmla="*/ 309 w 309"/>
                <a:gd name="T1" fmla="*/ 155 h 441"/>
                <a:gd name="T2" fmla="*/ 155 w 309"/>
                <a:gd name="T3" fmla="*/ 0 h 441"/>
                <a:gd name="T4" fmla="*/ 0 w 309"/>
                <a:gd name="T5" fmla="*/ 155 h 441"/>
                <a:gd name="T6" fmla="*/ 53 w 309"/>
                <a:gd name="T7" fmla="*/ 271 h 441"/>
                <a:gd name="T8" fmla="*/ 52 w 309"/>
                <a:gd name="T9" fmla="*/ 270 h 441"/>
                <a:gd name="T10" fmla="*/ 54 w 309"/>
                <a:gd name="T11" fmla="*/ 272 h 441"/>
                <a:gd name="T12" fmla="*/ 63 w 309"/>
                <a:gd name="T13" fmla="*/ 279 h 441"/>
                <a:gd name="T14" fmla="*/ 155 w 309"/>
                <a:gd name="T15" fmla="*/ 441 h 441"/>
                <a:gd name="T16" fmla="*/ 246 w 309"/>
                <a:gd name="T17" fmla="*/ 279 h 441"/>
                <a:gd name="T18" fmla="*/ 256 w 309"/>
                <a:gd name="T19" fmla="*/ 272 h 441"/>
                <a:gd name="T20" fmla="*/ 257 w 309"/>
                <a:gd name="T21" fmla="*/ 270 h 441"/>
                <a:gd name="T22" fmla="*/ 257 w 309"/>
                <a:gd name="T23" fmla="*/ 271 h 441"/>
                <a:gd name="T24" fmla="*/ 309 w 309"/>
                <a:gd name="T25" fmla="*/ 155 h 441"/>
                <a:gd name="T26" fmla="*/ 155 w 309"/>
                <a:gd name="T27" fmla="*/ 268 h 441"/>
                <a:gd name="T28" fmla="*/ 42 w 309"/>
                <a:gd name="T29" fmla="*/ 155 h 441"/>
                <a:gd name="T30" fmla="*/ 155 w 309"/>
                <a:gd name="T31" fmla="*/ 42 h 441"/>
                <a:gd name="T32" fmla="*/ 268 w 309"/>
                <a:gd name="T33" fmla="*/ 155 h 441"/>
                <a:gd name="T34" fmla="*/ 155 w 309"/>
                <a:gd name="T35" fmla="*/ 26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441">
                  <a:moveTo>
                    <a:pt x="309" y="155"/>
                  </a:moveTo>
                  <a:cubicBezTo>
                    <a:pt x="309" y="69"/>
                    <a:pt x="240" y="0"/>
                    <a:pt x="155" y="0"/>
                  </a:cubicBezTo>
                  <a:cubicBezTo>
                    <a:pt x="69" y="0"/>
                    <a:pt x="0" y="69"/>
                    <a:pt x="0" y="155"/>
                  </a:cubicBezTo>
                  <a:cubicBezTo>
                    <a:pt x="0" y="201"/>
                    <a:pt x="20" y="242"/>
                    <a:pt x="53" y="271"/>
                  </a:cubicBezTo>
                  <a:cubicBezTo>
                    <a:pt x="52" y="270"/>
                    <a:pt x="52" y="270"/>
                    <a:pt x="52" y="270"/>
                  </a:cubicBezTo>
                  <a:cubicBezTo>
                    <a:pt x="53" y="271"/>
                    <a:pt x="53" y="271"/>
                    <a:pt x="54" y="272"/>
                  </a:cubicBezTo>
                  <a:cubicBezTo>
                    <a:pt x="57" y="274"/>
                    <a:pt x="60" y="277"/>
                    <a:pt x="63" y="279"/>
                  </a:cubicBezTo>
                  <a:cubicBezTo>
                    <a:pt x="148" y="350"/>
                    <a:pt x="155" y="440"/>
                    <a:pt x="155" y="441"/>
                  </a:cubicBezTo>
                  <a:cubicBezTo>
                    <a:pt x="155" y="440"/>
                    <a:pt x="161" y="350"/>
                    <a:pt x="246" y="279"/>
                  </a:cubicBezTo>
                  <a:cubicBezTo>
                    <a:pt x="250" y="277"/>
                    <a:pt x="253" y="274"/>
                    <a:pt x="256" y="272"/>
                  </a:cubicBezTo>
                  <a:cubicBezTo>
                    <a:pt x="256" y="271"/>
                    <a:pt x="257" y="271"/>
                    <a:pt x="257" y="270"/>
                  </a:cubicBezTo>
                  <a:cubicBezTo>
                    <a:pt x="257" y="271"/>
                    <a:pt x="257" y="271"/>
                    <a:pt x="257" y="271"/>
                  </a:cubicBezTo>
                  <a:cubicBezTo>
                    <a:pt x="289" y="242"/>
                    <a:pt x="309" y="201"/>
                    <a:pt x="309" y="155"/>
                  </a:cubicBezTo>
                  <a:close/>
                  <a:moveTo>
                    <a:pt x="155" y="268"/>
                  </a:moveTo>
                  <a:cubicBezTo>
                    <a:pt x="92" y="268"/>
                    <a:pt x="42" y="217"/>
                    <a:pt x="42" y="155"/>
                  </a:cubicBezTo>
                  <a:cubicBezTo>
                    <a:pt x="42" y="92"/>
                    <a:pt x="92" y="42"/>
                    <a:pt x="155" y="42"/>
                  </a:cubicBezTo>
                  <a:cubicBezTo>
                    <a:pt x="217" y="42"/>
                    <a:pt x="268" y="92"/>
                    <a:pt x="268" y="155"/>
                  </a:cubicBezTo>
                  <a:cubicBezTo>
                    <a:pt x="268" y="217"/>
                    <a:pt x="217" y="268"/>
                    <a:pt x="155" y="26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39" name="Oval 638">
              <a:extLst>
                <a:ext uri="{FF2B5EF4-FFF2-40B4-BE49-F238E27FC236}">
                  <a16:creationId xmlns:a16="http://schemas.microsoft.com/office/drawing/2014/main" id="{754181B3-122A-5970-3DD8-C1CAB7B4FC9A}"/>
                </a:ext>
              </a:extLst>
            </p:cNvPr>
            <p:cNvSpPr/>
            <p:nvPr/>
          </p:nvSpPr>
          <p:spPr>
            <a:xfrm>
              <a:off x="8534956" y="1823314"/>
              <a:ext cx="468933" cy="46406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40" name="TextBox 639">
              <a:extLst>
                <a:ext uri="{FF2B5EF4-FFF2-40B4-BE49-F238E27FC236}">
                  <a16:creationId xmlns:a16="http://schemas.microsoft.com/office/drawing/2014/main" id="{8A67F4E3-6946-0693-C67A-FC42463E5A02}"/>
                </a:ext>
              </a:extLst>
            </p:cNvPr>
            <p:cNvSpPr txBox="1"/>
            <p:nvPr/>
          </p:nvSpPr>
          <p:spPr>
            <a:xfrm>
              <a:off x="8427958" y="1900813"/>
              <a:ext cx="674571" cy="3176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579F8E"/>
                  </a:solidFill>
                  <a:effectLst/>
                  <a:uLnTx/>
                  <a:uFillTx/>
                  <a:latin typeface="Arial" panose="020B0604020202020204"/>
                  <a:ea typeface="+mn-ea"/>
                  <a:cs typeface="+mn-cs"/>
                </a:rPr>
                <a:t>49%</a:t>
              </a:r>
            </a:p>
          </p:txBody>
        </p:sp>
      </p:grpSp>
      <p:grpSp>
        <p:nvGrpSpPr>
          <p:cNvPr id="641" name="Group 640">
            <a:extLst>
              <a:ext uri="{FF2B5EF4-FFF2-40B4-BE49-F238E27FC236}">
                <a16:creationId xmlns:a16="http://schemas.microsoft.com/office/drawing/2014/main" id="{EE7B051D-950F-92E6-D444-0BA5AF4A01CB}"/>
              </a:ext>
            </a:extLst>
          </p:cNvPr>
          <p:cNvGrpSpPr/>
          <p:nvPr/>
        </p:nvGrpSpPr>
        <p:grpSpPr>
          <a:xfrm>
            <a:off x="7409156" y="2029601"/>
            <a:ext cx="848083" cy="1021627"/>
            <a:chOff x="7159750" y="1837734"/>
            <a:chExt cx="674571" cy="812609"/>
          </a:xfrm>
        </p:grpSpPr>
        <p:sp>
          <p:nvSpPr>
            <p:cNvPr id="642" name="Freeform 14">
              <a:extLst>
                <a:ext uri="{FF2B5EF4-FFF2-40B4-BE49-F238E27FC236}">
                  <a16:creationId xmlns:a16="http://schemas.microsoft.com/office/drawing/2014/main" id="{179125B9-F406-BB73-DE22-8287131677AE}"/>
                </a:ext>
              </a:extLst>
            </p:cNvPr>
            <p:cNvSpPr>
              <a:spLocks noEditPoints="1"/>
            </p:cNvSpPr>
            <p:nvPr/>
          </p:nvSpPr>
          <p:spPr bwMode="auto">
            <a:xfrm>
              <a:off x="7201711" y="1837734"/>
              <a:ext cx="580402" cy="812609"/>
            </a:xfrm>
            <a:custGeom>
              <a:avLst/>
              <a:gdLst>
                <a:gd name="T0" fmla="*/ 309 w 309"/>
                <a:gd name="T1" fmla="*/ 155 h 441"/>
                <a:gd name="T2" fmla="*/ 155 w 309"/>
                <a:gd name="T3" fmla="*/ 0 h 441"/>
                <a:gd name="T4" fmla="*/ 0 w 309"/>
                <a:gd name="T5" fmla="*/ 155 h 441"/>
                <a:gd name="T6" fmla="*/ 53 w 309"/>
                <a:gd name="T7" fmla="*/ 271 h 441"/>
                <a:gd name="T8" fmla="*/ 52 w 309"/>
                <a:gd name="T9" fmla="*/ 270 h 441"/>
                <a:gd name="T10" fmla="*/ 54 w 309"/>
                <a:gd name="T11" fmla="*/ 272 h 441"/>
                <a:gd name="T12" fmla="*/ 63 w 309"/>
                <a:gd name="T13" fmla="*/ 279 h 441"/>
                <a:gd name="T14" fmla="*/ 155 w 309"/>
                <a:gd name="T15" fmla="*/ 441 h 441"/>
                <a:gd name="T16" fmla="*/ 246 w 309"/>
                <a:gd name="T17" fmla="*/ 279 h 441"/>
                <a:gd name="T18" fmla="*/ 256 w 309"/>
                <a:gd name="T19" fmla="*/ 272 h 441"/>
                <a:gd name="T20" fmla="*/ 257 w 309"/>
                <a:gd name="T21" fmla="*/ 270 h 441"/>
                <a:gd name="T22" fmla="*/ 257 w 309"/>
                <a:gd name="T23" fmla="*/ 271 h 441"/>
                <a:gd name="T24" fmla="*/ 309 w 309"/>
                <a:gd name="T25" fmla="*/ 155 h 441"/>
                <a:gd name="T26" fmla="*/ 155 w 309"/>
                <a:gd name="T27" fmla="*/ 268 h 441"/>
                <a:gd name="T28" fmla="*/ 42 w 309"/>
                <a:gd name="T29" fmla="*/ 155 h 441"/>
                <a:gd name="T30" fmla="*/ 155 w 309"/>
                <a:gd name="T31" fmla="*/ 42 h 441"/>
                <a:gd name="T32" fmla="*/ 268 w 309"/>
                <a:gd name="T33" fmla="*/ 155 h 441"/>
                <a:gd name="T34" fmla="*/ 155 w 309"/>
                <a:gd name="T35" fmla="*/ 26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441">
                  <a:moveTo>
                    <a:pt x="309" y="155"/>
                  </a:moveTo>
                  <a:cubicBezTo>
                    <a:pt x="309" y="69"/>
                    <a:pt x="240" y="0"/>
                    <a:pt x="155" y="0"/>
                  </a:cubicBezTo>
                  <a:cubicBezTo>
                    <a:pt x="69" y="0"/>
                    <a:pt x="0" y="69"/>
                    <a:pt x="0" y="155"/>
                  </a:cubicBezTo>
                  <a:cubicBezTo>
                    <a:pt x="0" y="201"/>
                    <a:pt x="20" y="242"/>
                    <a:pt x="53" y="271"/>
                  </a:cubicBezTo>
                  <a:cubicBezTo>
                    <a:pt x="52" y="270"/>
                    <a:pt x="52" y="270"/>
                    <a:pt x="52" y="270"/>
                  </a:cubicBezTo>
                  <a:cubicBezTo>
                    <a:pt x="53" y="271"/>
                    <a:pt x="53" y="271"/>
                    <a:pt x="54" y="272"/>
                  </a:cubicBezTo>
                  <a:cubicBezTo>
                    <a:pt x="57" y="274"/>
                    <a:pt x="60" y="277"/>
                    <a:pt x="63" y="279"/>
                  </a:cubicBezTo>
                  <a:cubicBezTo>
                    <a:pt x="148" y="350"/>
                    <a:pt x="155" y="440"/>
                    <a:pt x="155" y="441"/>
                  </a:cubicBezTo>
                  <a:cubicBezTo>
                    <a:pt x="155" y="440"/>
                    <a:pt x="161" y="350"/>
                    <a:pt x="246" y="279"/>
                  </a:cubicBezTo>
                  <a:cubicBezTo>
                    <a:pt x="250" y="277"/>
                    <a:pt x="253" y="274"/>
                    <a:pt x="256" y="272"/>
                  </a:cubicBezTo>
                  <a:cubicBezTo>
                    <a:pt x="256" y="271"/>
                    <a:pt x="257" y="271"/>
                    <a:pt x="257" y="270"/>
                  </a:cubicBezTo>
                  <a:cubicBezTo>
                    <a:pt x="257" y="271"/>
                    <a:pt x="257" y="271"/>
                    <a:pt x="257" y="271"/>
                  </a:cubicBezTo>
                  <a:cubicBezTo>
                    <a:pt x="289" y="242"/>
                    <a:pt x="309" y="201"/>
                    <a:pt x="309" y="155"/>
                  </a:cubicBezTo>
                  <a:close/>
                  <a:moveTo>
                    <a:pt x="155" y="268"/>
                  </a:moveTo>
                  <a:cubicBezTo>
                    <a:pt x="92" y="268"/>
                    <a:pt x="42" y="217"/>
                    <a:pt x="42" y="155"/>
                  </a:cubicBezTo>
                  <a:cubicBezTo>
                    <a:pt x="42" y="92"/>
                    <a:pt x="92" y="42"/>
                    <a:pt x="155" y="42"/>
                  </a:cubicBezTo>
                  <a:cubicBezTo>
                    <a:pt x="217" y="42"/>
                    <a:pt x="268" y="92"/>
                    <a:pt x="268" y="155"/>
                  </a:cubicBezTo>
                  <a:cubicBezTo>
                    <a:pt x="268" y="217"/>
                    <a:pt x="217" y="268"/>
                    <a:pt x="155" y="26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43" name="Oval 642">
              <a:extLst>
                <a:ext uri="{FF2B5EF4-FFF2-40B4-BE49-F238E27FC236}">
                  <a16:creationId xmlns:a16="http://schemas.microsoft.com/office/drawing/2014/main" id="{9C37F604-4BD9-6D41-8075-A0221A0D731E}"/>
                </a:ext>
              </a:extLst>
            </p:cNvPr>
            <p:cNvSpPr/>
            <p:nvPr/>
          </p:nvSpPr>
          <p:spPr>
            <a:xfrm>
              <a:off x="7257446" y="1890408"/>
              <a:ext cx="468933" cy="46406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44" name="TextBox 643">
              <a:extLst>
                <a:ext uri="{FF2B5EF4-FFF2-40B4-BE49-F238E27FC236}">
                  <a16:creationId xmlns:a16="http://schemas.microsoft.com/office/drawing/2014/main" id="{34E2C3E6-478E-252A-03E0-5E368056CA71}"/>
                </a:ext>
              </a:extLst>
            </p:cNvPr>
            <p:cNvSpPr txBox="1"/>
            <p:nvPr/>
          </p:nvSpPr>
          <p:spPr>
            <a:xfrm>
              <a:off x="7159750" y="1964507"/>
              <a:ext cx="674571" cy="3182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579F8E"/>
                  </a:solidFill>
                  <a:effectLst/>
                  <a:uLnTx/>
                  <a:uFillTx/>
                  <a:latin typeface="Arial" panose="020B0604020202020204"/>
                  <a:ea typeface="+mn-ea"/>
                  <a:cs typeface="+mn-cs"/>
                </a:rPr>
                <a:t>32%</a:t>
              </a:r>
            </a:p>
          </p:txBody>
        </p:sp>
      </p:grpSp>
      <p:grpSp>
        <p:nvGrpSpPr>
          <p:cNvPr id="645" name="Group 644">
            <a:extLst>
              <a:ext uri="{FF2B5EF4-FFF2-40B4-BE49-F238E27FC236}">
                <a16:creationId xmlns:a16="http://schemas.microsoft.com/office/drawing/2014/main" id="{FF092CBA-15EB-3D08-99FE-DE485163E8FB}"/>
              </a:ext>
            </a:extLst>
          </p:cNvPr>
          <p:cNvGrpSpPr/>
          <p:nvPr/>
        </p:nvGrpSpPr>
        <p:grpSpPr>
          <a:xfrm>
            <a:off x="8061155" y="2844547"/>
            <a:ext cx="848083" cy="1021627"/>
            <a:chOff x="7638387" y="2616889"/>
            <a:chExt cx="674571" cy="812609"/>
          </a:xfrm>
        </p:grpSpPr>
        <p:sp>
          <p:nvSpPr>
            <p:cNvPr id="646" name="Freeform 14">
              <a:extLst>
                <a:ext uri="{FF2B5EF4-FFF2-40B4-BE49-F238E27FC236}">
                  <a16:creationId xmlns:a16="http://schemas.microsoft.com/office/drawing/2014/main" id="{BD396A13-CEA0-46A9-0BF6-9B86694C10CE}"/>
                </a:ext>
              </a:extLst>
            </p:cNvPr>
            <p:cNvSpPr>
              <a:spLocks noEditPoints="1"/>
            </p:cNvSpPr>
            <p:nvPr/>
          </p:nvSpPr>
          <p:spPr bwMode="auto">
            <a:xfrm>
              <a:off x="7685471" y="2616889"/>
              <a:ext cx="580402" cy="812609"/>
            </a:xfrm>
            <a:custGeom>
              <a:avLst/>
              <a:gdLst>
                <a:gd name="T0" fmla="*/ 309 w 309"/>
                <a:gd name="T1" fmla="*/ 155 h 441"/>
                <a:gd name="T2" fmla="*/ 155 w 309"/>
                <a:gd name="T3" fmla="*/ 0 h 441"/>
                <a:gd name="T4" fmla="*/ 0 w 309"/>
                <a:gd name="T5" fmla="*/ 155 h 441"/>
                <a:gd name="T6" fmla="*/ 53 w 309"/>
                <a:gd name="T7" fmla="*/ 271 h 441"/>
                <a:gd name="T8" fmla="*/ 52 w 309"/>
                <a:gd name="T9" fmla="*/ 270 h 441"/>
                <a:gd name="T10" fmla="*/ 54 w 309"/>
                <a:gd name="T11" fmla="*/ 272 h 441"/>
                <a:gd name="T12" fmla="*/ 63 w 309"/>
                <a:gd name="T13" fmla="*/ 279 h 441"/>
                <a:gd name="T14" fmla="*/ 155 w 309"/>
                <a:gd name="T15" fmla="*/ 441 h 441"/>
                <a:gd name="T16" fmla="*/ 246 w 309"/>
                <a:gd name="T17" fmla="*/ 279 h 441"/>
                <a:gd name="T18" fmla="*/ 256 w 309"/>
                <a:gd name="T19" fmla="*/ 272 h 441"/>
                <a:gd name="T20" fmla="*/ 257 w 309"/>
                <a:gd name="T21" fmla="*/ 270 h 441"/>
                <a:gd name="T22" fmla="*/ 257 w 309"/>
                <a:gd name="T23" fmla="*/ 271 h 441"/>
                <a:gd name="T24" fmla="*/ 309 w 309"/>
                <a:gd name="T25" fmla="*/ 155 h 441"/>
                <a:gd name="T26" fmla="*/ 155 w 309"/>
                <a:gd name="T27" fmla="*/ 268 h 441"/>
                <a:gd name="T28" fmla="*/ 42 w 309"/>
                <a:gd name="T29" fmla="*/ 155 h 441"/>
                <a:gd name="T30" fmla="*/ 155 w 309"/>
                <a:gd name="T31" fmla="*/ 42 h 441"/>
                <a:gd name="T32" fmla="*/ 268 w 309"/>
                <a:gd name="T33" fmla="*/ 155 h 441"/>
                <a:gd name="T34" fmla="*/ 155 w 309"/>
                <a:gd name="T35" fmla="*/ 26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441">
                  <a:moveTo>
                    <a:pt x="309" y="155"/>
                  </a:moveTo>
                  <a:cubicBezTo>
                    <a:pt x="309" y="69"/>
                    <a:pt x="240" y="0"/>
                    <a:pt x="155" y="0"/>
                  </a:cubicBezTo>
                  <a:cubicBezTo>
                    <a:pt x="69" y="0"/>
                    <a:pt x="0" y="69"/>
                    <a:pt x="0" y="155"/>
                  </a:cubicBezTo>
                  <a:cubicBezTo>
                    <a:pt x="0" y="201"/>
                    <a:pt x="20" y="242"/>
                    <a:pt x="53" y="271"/>
                  </a:cubicBezTo>
                  <a:cubicBezTo>
                    <a:pt x="52" y="270"/>
                    <a:pt x="52" y="270"/>
                    <a:pt x="52" y="270"/>
                  </a:cubicBezTo>
                  <a:cubicBezTo>
                    <a:pt x="53" y="271"/>
                    <a:pt x="53" y="271"/>
                    <a:pt x="54" y="272"/>
                  </a:cubicBezTo>
                  <a:cubicBezTo>
                    <a:pt x="57" y="274"/>
                    <a:pt x="60" y="277"/>
                    <a:pt x="63" y="279"/>
                  </a:cubicBezTo>
                  <a:cubicBezTo>
                    <a:pt x="148" y="350"/>
                    <a:pt x="155" y="440"/>
                    <a:pt x="155" y="441"/>
                  </a:cubicBezTo>
                  <a:cubicBezTo>
                    <a:pt x="155" y="440"/>
                    <a:pt x="161" y="350"/>
                    <a:pt x="246" y="279"/>
                  </a:cubicBezTo>
                  <a:cubicBezTo>
                    <a:pt x="250" y="277"/>
                    <a:pt x="253" y="274"/>
                    <a:pt x="256" y="272"/>
                  </a:cubicBezTo>
                  <a:cubicBezTo>
                    <a:pt x="256" y="271"/>
                    <a:pt x="257" y="271"/>
                    <a:pt x="257" y="270"/>
                  </a:cubicBezTo>
                  <a:cubicBezTo>
                    <a:pt x="257" y="271"/>
                    <a:pt x="257" y="271"/>
                    <a:pt x="257" y="271"/>
                  </a:cubicBezTo>
                  <a:cubicBezTo>
                    <a:pt x="289" y="242"/>
                    <a:pt x="309" y="201"/>
                    <a:pt x="309" y="155"/>
                  </a:cubicBezTo>
                  <a:close/>
                  <a:moveTo>
                    <a:pt x="155" y="268"/>
                  </a:moveTo>
                  <a:cubicBezTo>
                    <a:pt x="92" y="268"/>
                    <a:pt x="42" y="217"/>
                    <a:pt x="42" y="155"/>
                  </a:cubicBezTo>
                  <a:cubicBezTo>
                    <a:pt x="42" y="92"/>
                    <a:pt x="92" y="42"/>
                    <a:pt x="155" y="42"/>
                  </a:cubicBezTo>
                  <a:cubicBezTo>
                    <a:pt x="217" y="42"/>
                    <a:pt x="268" y="92"/>
                    <a:pt x="268" y="155"/>
                  </a:cubicBezTo>
                  <a:cubicBezTo>
                    <a:pt x="268" y="217"/>
                    <a:pt x="217" y="268"/>
                    <a:pt x="155" y="26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47" name="Oval 646">
              <a:extLst>
                <a:ext uri="{FF2B5EF4-FFF2-40B4-BE49-F238E27FC236}">
                  <a16:creationId xmlns:a16="http://schemas.microsoft.com/office/drawing/2014/main" id="{DF761F09-FC15-6FDD-BE5E-B96B91F897B7}"/>
                </a:ext>
              </a:extLst>
            </p:cNvPr>
            <p:cNvSpPr/>
            <p:nvPr/>
          </p:nvSpPr>
          <p:spPr>
            <a:xfrm>
              <a:off x="7741206" y="2669563"/>
              <a:ext cx="468933" cy="46406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C70CD"/>
                </a:solidFill>
                <a:effectLst/>
                <a:uLnTx/>
                <a:uFillTx/>
                <a:latin typeface="Arial" panose="020B0604020202020204"/>
                <a:ea typeface="+mn-ea"/>
                <a:cs typeface="+mn-cs"/>
              </a:endParaRPr>
            </a:p>
          </p:txBody>
        </p:sp>
        <p:sp>
          <p:nvSpPr>
            <p:cNvPr id="648" name="TextBox 647">
              <a:extLst>
                <a:ext uri="{FF2B5EF4-FFF2-40B4-BE49-F238E27FC236}">
                  <a16:creationId xmlns:a16="http://schemas.microsoft.com/office/drawing/2014/main" id="{D63E88B9-1B07-11BE-365D-3C3DA3E10907}"/>
                </a:ext>
              </a:extLst>
            </p:cNvPr>
            <p:cNvSpPr txBox="1"/>
            <p:nvPr/>
          </p:nvSpPr>
          <p:spPr>
            <a:xfrm>
              <a:off x="7638387" y="2743703"/>
              <a:ext cx="674571" cy="3182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579F8E"/>
                  </a:solidFill>
                  <a:effectLst/>
                  <a:uLnTx/>
                  <a:uFillTx/>
                  <a:latin typeface="Arial" panose="020B0604020202020204"/>
                  <a:ea typeface="+mn-ea"/>
                  <a:cs typeface="+mn-cs"/>
                </a:rPr>
                <a:t>8%</a:t>
              </a:r>
            </a:p>
          </p:txBody>
        </p:sp>
      </p:grpSp>
      <p:sp>
        <p:nvSpPr>
          <p:cNvPr id="649" name="Content Placeholder 2">
            <a:extLst>
              <a:ext uri="{FF2B5EF4-FFF2-40B4-BE49-F238E27FC236}">
                <a16:creationId xmlns:a16="http://schemas.microsoft.com/office/drawing/2014/main" id="{FB8FB512-73CD-109B-5BF3-586F860F9F61}"/>
              </a:ext>
            </a:extLst>
          </p:cNvPr>
          <p:cNvSpPr txBox="1">
            <a:spLocks/>
          </p:cNvSpPr>
          <p:nvPr/>
        </p:nvSpPr>
        <p:spPr>
          <a:xfrm>
            <a:off x="6726382" y="4795803"/>
            <a:ext cx="5249974" cy="1509935"/>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gnificant history and global presence enables us to build </a:t>
            </a:r>
            <a:r>
              <a:rPr kumimoji="0" lang="en-US" sz="1600" b="1" i="0" u="none" strike="noStrike" kern="1200" cap="none" spc="0" normalizeH="0" baseline="0" noProof="0">
                <a:ln>
                  <a:noFill/>
                </a:ln>
                <a:solidFill>
                  <a:srgbClr val="34715A"/>
                </a:solidFill>
                <a:effectLst/>
                <a:uLnTx/>
                <a:uFillTx/>
                <a:latin typeface="Arial" panose="020B0604020202020204" pitchFamily="34" charset="0"/>
                <a:ea typeface="+mn-ea"/>
                <a:cs typeface="Arial" panose="020B0604020202020204" pitchFamily="34" charset="0"/>
              </a:rPr>
              <a:t>solid and lasting credibility </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ith regional and global powerhouse customers </a:t>
            </a:r>
            <a:endPar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ver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000</a:t>
            </a:r>
            <a:r>
              <a:rPr kumimoji="0" lang="en-US" sz="1400" b="0" i="0" u="none" strike="noStrike" kern="1200" cap="none" spc="0" normalizeH="0" baseline="0" noProof="0">
                <a:ln>
                  <a:noFill/>
                </a:ln>
                <a:solidFill>
                  <a:srgbClr val="117F68"/>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stomers worldwide</a:t>
            </a:r>
            <a:endParaRPr kumimoji="0" lang="en-US" sz="1400" b="0" i="0" u="none" strike="noStrike" kern="1200" cap="none" spc="0" normalizeH="0" baseline="0" noProof="0">
              <a:ln>
                <a:noFill/>
              </a:ln>
              <a:solidFill>
                <a:srgbClr val="34715A"/>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ny of the world’s leading brand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243388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682652B-DA2C-4562-AAEE-7434AC474C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7" name="Objet 6" hidden="1">
                        <a:extLst>
                          <a:ext uri="{FF2B5EF4-FFF2-40B4-BE49-F238E27FC236}">
                            <a16:creationId xmlns:a16="http://schemas.microsoft.com/office/drawing/2014/main" id="{C682652B-DA2C-4562-AAEE-7434AC474C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80073"/>
          </a:xfrm>
          <a:prstGeom prst="rect">
            <a:avLst/>
          </a:prstGeom>
        </p:spPr>
      </p:pic>
      <p:sp>
        <p:nvSpPr>
          <p:cNvPr id="40" name="Ellipse 90">
            <a:extLst>
              <a:ext uri="{FF2B5EF4-FFF2-40B4-BE49-F238E27FC236}">
                <a16:creationId xmlns:a16="http://schemas.microsoft.com/office/drawing/2014/main" id="{307119F8-840C-4A93-A4ED-D0DBBCF5E4BC}"/>
              </a:ext>
            </a:extLst>
          </p:cNvPr>
          <p:cNvSpPr/>
          <p:nvPr/>
        </p:nvSpPr>
        <p:spPr>
          <a:xfrm>
            <a:off x="8240743" y="4069537"/>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41" name="Ellipse 89">
            <a:extLst>
              <a:ext uri="{FF2B5EF4-FFF2-40B4-BE49-F238E27FC236}">
                <a16:creationId xmlns:a16="http://schemas.microsoft.com/office/drawing/2014/main" id="{0007E9EF-3D59-478A-9C83-0D7E08E38E7D}"/>
              </a:ext>
            </a:extLst>
          </p:cNvPr>
          <p:cNvSpPr/>
          <p:nvPr/>
        </p:nvSpPr>
        <p:spPr>
          <a:xfrm>
            <a:off x="5787450" y="4476684"/>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42" name="Ellipse 88">
            <a:extLst>
              <a:ext uri="{FF2B5EF4-FFF2-40B4-BE49-F238E27FC236}">
                <a16:creationId xmlns:a16="http://schemas.microsoft.com/office/drawing/2014/main" id="{2E9DC28B-AB8A-41AA-A35D-5D50BC1AD601}"/>
              </a:ext>
            </a:extLst>
          </p:cNvPr>
          <p:cNvSpPr/>
          <p:nvPr/>
        </p:nvSpPr>
        <p:spPr>
          <a:xfrm>
            <a:off x="5784219" y="3642985"/>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43" name="Ellipse 87">
            <a:extLst>
              <a:ext uri="{FF2B5EF4-FFF2-40B4-BE49-F238E27FC236}">
                <a16:creationId xmlns:a16="http://schemas.microsoft.com/office/drawing/2014/main" id="{36F09530-7D1F-4A87-9BDF-D51A29AA0459}"/>
              </a:ext>
            </a:extLst>
          </p:cNvPr>
          <p:cNvSpPr/>
          <p:nvPr/>
        </p:nvSpPr>
        <p:spPr>
          <a:xfrm>
            <a:off x="6248400" y="3000585"/>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pic>
        <p:nvPicPr>
          <p:cNvPr id="47" name="Imagem 3" descr="image003">
            <a:extLst>
              <a:ext uri="{FF2B5EF4-FFF2-40B4-BE49-F238E27FC236}">
                <a16:creationId xmlns:a16="http://schemas.microsoft.com/office/drawing/2014/main" id="{4FA7CEFE-3BDB-4290-B4C8-18346109B510}"/>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40927" y="2931951"/>
            <a:ext cx="699988" cy="126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36">
            <a:extLst>
              <a:ext uri="{FF2B5EF4-FFF2-40B4-BE49-F238E27FC236}">
                <a16:creationId xmlns:a16="http://schemas.microsoft.com/office/drawing/2014/main" id="{3EE3898E-216F-4099-A2BA-24A2AF35631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1"/>
          <a:stretch/>
        </p:blipFill>
        <p:spPr>
          <a:xfrm>
            <a:off x="387560" y="1715874"/>
            <a:ext cx="439865" cy="903512"/>
          </a:xfrm>
          <a:prstGeom prst="rect">
            <a:avLst/>
          </a:prstGeom>
        </p:spPr>
      </p:pic>
      <p:pic>
        <p:nvPicPr>
          <p:cNvPr id="50" name="Picture 2" descr="Clear Eyes Pure Relief for Dry Eyes, 0.34 oz Per Bottle (2 Bottles)">
            <a:extLst>
              <a:ext uri="{FF2B5EF4-FFF2-40B4-BE49-F238E27FC236}">
                <a16:creationId xmlns:a16="http://schemas.microsoft.com/office/drawing/2014/main" id="{3956B70B-F36E-4877-8325-347FF47DD21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432411" y="1789083"/>
            <a:ext cx="520006" cy="897044"/>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48">
            <a:extLst>
              <a:ext uri="{FF2B5EF4-FFF2-40B4-BE49-F238E27FC236}">
                <a16:creationId xmlns:a16="http://schemas.microsoft.com/office/drawing/2014/main" id="{305FCEFC-8E72-41DD-BBCB-C7FD71FE4A4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701904" y="3198301"/>
            <a:ext cx="572591" cy="989322"/>
          </a:xfrm>
          <a:prstGeom prst="rect">
            <a:avLst/>
          </a:prstGeom>
          <a:ln>
            <a:noFill/>
          </a:ln>
        </p:spPr>
      </p:pic>
      <p:pic>
        <p:nvPicPr>
          <p:cNvPr id="80" name="Image 1">
            <a:extLst>
              <a:ext uri="{FF2B5EF4-FFF2-40B4-BE49-F238E27FC236}">
                <a16:creationId xmlns:a16="http://schemas.microsoft.com/office/drawing/2014/main" id="{8350EC9C-CEE7-424D-9024-76CA0579881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210041" y="3181416"/>
            <a:ext cx="488493" cy="1002292"/>
          </a:xfrm>
          <a:prstGeom prst="rect">
            <a:avLst/>
          </a:prstGeom>
          <a:ln>
            <a:noFill/>
          </a:ln>
        </p:spPr>
      </p:pic>
      <p:pic>
        <p:nvPicPr>
          <p:cNvPr id="83" name="Picture 52">
            <a:extLst>
              <a:ext uri="{FF2B5EF4-FFF2-40B4-BE49-F238E27FC236}">
                <a16:creationId xmlns:a16="http://schemas.microsoft.com/office/drawing/2014/main" id="{EDF9D3D8-C086-47A5-AC3A-E4A66D642E2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242945" y="3333045"/>
            <a:ext cx="509715" cy="853185"/>
          </a:xfrm>
          <a:prstGeom prst="rect">
            <a:avLst/>
          </a:prstGeom>
          <a:ln>
            <a:noFill/>
          </a:ln>
        </p:spPr>
      </p:pic>
      <p:pic>
        <p:nvPicPr>
          <p:cNvPr id="84" name="Picture 46">
            <a:extLst>
              <a:ext uri="{FF2B5EF4-FFF2-40B4-BE49-F238E27FC236}">
                <a16:creationId xmlns:a16="http://schemas.microsoft.com/office/drawing/2014/main" id="{B3BE5C25-664B-4EB5-A77B-83DBB618B03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27685" t="28763" r="56600" b="29812"/>
          <a:stretch/>
        </p:blipFill>
        <p:spPr>
          <a:xfrm>
            <a:off x="3283158" y="3205898"/>
            <a:ext cx="408687" cy="1009456"/>
          </a:xfrm>
          <a:prstGeom prst="rect">
            <a:avLst/>
          </a:prstGeom>
        </p:spPr>
      </p:pic>
      <p:pic>
        <p:nvPicPr>
          <p:cNvPr id="92" name="Picture 47">
            <a:extLst>
              <a:ext uri="{FF2B5EF4-FFF2-40B4-BE49-F238E27FC236}">
                <a16:creationId xmlns:a16="http://schemas.microsoft.com/office/drawing/2014/main" id="{92190E24-1FE2-4EA2-9B62-88D18C644DC7}"/>
              </a:ext>
            </a:extLst>
          </p:cNvPr>
          <p:cNvPicPr/>
          <p:nvPr/>
        </p:nvPicPr>
        <p:blipFill rotWithShape="1">
          <a:blip r:embed="rId14" cstate="print">
            <a:extLst>
              <a:ext uri="{28A0092B-C50C-407E-A947-70E740481C1C}">
                <a14:useLocalDpi xmlns:a14="http://schemas.microsoft.com/office/drawing/2010/main"/>
              </a:ext>
            </a:extLst>
          </a:blip>
          <a:srcRect/>
          <a:stretch/>
        </p:blipFill>
        <p:spPr bwMode="auto">
          <a:xfrm>
            <a:off x="2775917" y="3172501"/>
            <a:ext cx="458954" cy="983860"/>
          </a:xfrm>
          <a:prstGeom prst="rect">
            <a:avLst/>
          </a:prstGeom>
          <a:noFill/>
          <a:ln>
            <a:noFill/>
          </a:ln>
        </p:spPr>
      </p:pic>
      <p:pic>
        <p:nvPicPr>
          <p:cNvPr id="101" name="Image 27">
            <a:extLst>
              <a:ext uri="{FF2B5EF4-FFF2-40B4-BE49-F238E27FC236}">
                <a16:creationId xmlns:a16="http://schemas.microsoft.com/office/drawing/2014/main" id="{34CE8E87-BD84-4632-8031-7C7205E354FA}"/>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21476" y="4321649"/>
            <a:ext cx="312572" cy="1171137"/>
          </a:xfrm>
          <a:prstGeom prst="rect">
            <a:avLst/>
          </a:prstGeom>
          <a:ln>
            <a:noFill/>
          </a:ln>
        </p:spPr>
      </p:pic>
      <p:pic>
        <p:nvPicPr>
          <p:cNvPr id="103" name="Picture 42">
            <a:extLst>
              <a:ext uri="{FF2B5EF4-FFF2-40B4-BE49-F238E27FC236}">
                <a16:creationId xmlns:a16="http://schemas.microsoft.com/office/drawing/2014/main" id="{F33060FA-54CE-4794-9882-E99A8DC1B7E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flipH="1">
            <a:off x="896875" y="4268249"/>
            <a:ext cx="419673" cy="1276318"/>
          </a:xfrm>
          <a:prstGeom prst="rect">
            <a:avLst/>
          </a:prstGeom>
          <a:ln>
            <a:noFill/>
          </a:ln>
        </p:spPr>
      </p:pic>
      <p:sp>
        <p:nvSpPr>
          <p:cNvPr id="105" name="Forme libre : forme 80">
            <a:extLst>
              <a:ext uri="{FF2B5EF4-FFF2-40B4-BE49-F238E27FC236}">
                <a16:creationId xmlns:a16="http://schemas.microsoft.com/office/drawing/2014/main" id="{347D3B0A-6FFE-4A74-A680-C901891EA29D}"/>
              </a:ext>
            </a:extLst>
          </p:cNvPr>
          <p:cNvSpPr/>
          <p:nvPr/>
        </p:nvSpPr>
        <p:spPr>
          <a:xfrm>
            <a:off x="428263" y="2709340"/>
            <a:ext cx="5903089" cy="370390"/>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106" name="Forme libre : forme 84">
            <a:extLst>
              <a:ext uri="{FF2B5EF4-FFF2-40B4-BE49-F238E27FC236}">
                <a16:creationId xmlns:a16="http://schemas.microsoft.com/office/drawing/2014/main" id="{F1DA2924-FB4C-4194-BDCC-9BD869EDAB8A}"/>
              </a:ext>
            </a:extLst>
          </p:cNvPr>
          <p:cNvSpPr/>
          <p:nvPr/>
        </p:nvSpPr>
        <p:spPr>
          <a:xfrm flipV="1">
            <a:off x="428264" y="3728633"/>
            <a:ext cx="5433522" cy="507368"/>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107" name="Forme libre : forme 85">
            <a:extLst>
              <a:ext uri="{FF2B5EF4-FFF2-40B4-BE49-F238E27FC236}">
                <a16:creationId xmlns:a16="http://schemas.microsoft.com/office/drawing/2014/main" id="{9F9D4753-C116-4DEB-A52B-4732F08BAE3D}"/>
              </a:ext>
            </a:extLst>
          </p:cNvPr>
          <p:cNvSpPr/>
          <p:nvPr/>
        </p:nvSpPr>
        <p:spPr>
          <a:xfrm flipV="1">
            <a:off x="428263" y="4575666"/>
            <a:ext cx="5433523" cy="957051"/>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108" name="Forme libre : forme 86">
            <a:extLst>
              <a:ext uri="{FF2B5EF4-FFF2-40B4-BE49-F238E27FC236}">
                <a16:creationId xmlns:a16="http://schemas.microsoft.com/office/drawing/2014/main" id="{D3A3E0DD-5371-48B2-910B-E96DC80602F5}"/>
              </a:ext>
            </a:extLst>
          </p:cNvPr>
          <p:cNvSpPr/>
          <p:nvPr/>
        </p:nvSpPr>
        <p:spPr>
          <a:xfrm flipV="1">
            <a:off x="428263" y="4142003"/>
            <a:ext cx="7892777" cy="2529858"/>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53" name="TextBox 3">
            <a:extLst>
              <a:ext uri="{FF2B5EF4-FFF2-40B4-BE49-F238E27FC236}">
                <a16:creationId xmlns:a16="http://schemas.microsoft.com/office/drawing/2014/main" id="{6A49B26D-3C6E-4951-A666-C67D5E89F246}"/>
              </a:ext>
            </a:extLst>
          </p:cNvPr>
          <p:cNvSpPr txBox="1"/>
          <p:nvPr/>
        </p:nvSpPr>
        <p:spPr>
          <a:xfrm>
            <a:off x="11215358" y="6593228"/>
            <a:ext cx="633742" cy="246221"/>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646D0F-F010-48AE-9FF1-8999C7245DEC}" type="slidenum">
              <a:rPr kumimoji="0" lang="fr-FR" sz="1000" b="0" i="0" u="none" strike="noStrike" kern="1200" cap="none" spc="0" normalizeH="0" baseline="0" noProof="0" smtClean="0">
                <a:ln>
                  <a:noFill/>
                </a:ln>
                <a:solidFill>
                  <a:srgbClr val="000000"/>
                </a:solidFill>
                <a:effectLst/>
                <a:uLnTx/>
                <a:uFillTx/>
                <a:latin typeface="Arial"/>
                <a:ea typeface="+mn-ea"/>
                <a:cs typeface="+mn-cs"/>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0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6" name="Rectangle 5"/>
          <p:cNvSpPr/>
          <p:nvPr/>
        </p:nvSpPr>
        <p:spPr>
          <a:xfrm>
            <a:off x="325408" y="358279"/>
            <a:ext cx="12831792"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a:ea typeface="+mn-ea"/>
                <a:cs typeface="+mn-cs"/>
              </a:rPr>
              <a:t>Millions of People Around the World Use our Products Every Day</a:t>
            </a:r>
            <a:endParaRPr kumimoji="0" lang="en-US" sz="18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endParaRPr>
          </a:p>
        </p:txBody>
      </p:sp>
      <p:pic>
        <p:nvPicPr>
          <p:cNvPr id="44" name="Picture 43" descr="A yellow bottle with a white label&#10;&#10;Description automatically generated">
            <a:extLst>
              <a:ext uri="{FF2B5EF4-FFF2-40B4-BE49-F238E27FC236}">
                <a16:creationId xmlns:a16="http://schemas.microsoft.com/office/drawing/2014/main" id="{ECF5CEA8-A035-B5BB-1BE1-ECF11D976FCA}"/>
              </a:ext>
            </a:extLst>
          </p:cNvPr>
          <p:cNvPicPr>
            <a:picLocks noChangeAspect="1"/>
          </p:cNvPicPr>
          <p:nvPr/>
        </p:nvPicPr>
        <p:blipFill>
          <a:blip r:embed="rId17"/>
          <a:stretch>
            <a:fillRect/>
          </a:stretch>
        </p:blipFill>
        <p:spPr>
          <a:xfrm>
            <a:off x="580733" y="1598586"/>
            <a:ext cx="1137789" cy="1137789"/>
          </a:xfrm>
          <a:prstGeom prst="rect">
            <a:avLst/>
          </a:prstGeom>
        </p:spPr>
      </p:pic>
      <p:pic>
        <p:nvPicPr>
          <p:cNvPr id="54" name="Picture 5">
            <a:extLst>
              <a:ext uri="{FF2B5EF4-FFF2-40B4-BE49-F238E27FC236}">
                <a16:creationId xmlns:a16="http://schemas.microsoft.com/office/drawing/2014/main" id="{F14AF938-58D5-FDC5-CDE2-4468965183E1}"/>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673961" y="2791698"/>
            <a:ext cx="465962" cy="1472750"/>
          </a:xfrm>
          <a:prstGeom prst="rect">
            <a:avLst/>
          </a:prstGeom>
        </p:spPr>
      </p:pic>
      <p:pic>
        <p:nvPicPr>
          <p:cNvPr id="55" name="Picture 42">
            <a:extLst>
              <a:ext uri="{FF2B5EF4-FFF2-40B4-BE49-F238E27FC236}">
                <a16:creationId xmlns:a16="http://schemas.microsoft.com/office/drawing/2014/main" id="{99FAC071-CDCC-C1DC-9A73-75019C925095}"/>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85520" y="2844882"/>
            <a:ext cx="560347" cy="1329471"/>
          </a:xfrm>
          <a:prstGeom prst="rect">
            <a:avLst/>
          </a:prstGeom>
        </p:spPr>
      </p:pic>
      <p:pic>
        <p:nvPicPr>
          <p:cNvPr id="56" name="Picture 3" descr="A picture containing toiletry&#10;&#10;Description automatically generated">
            <a:extLst>
              <a:ext uri="{FF2B5EF4-FFF2-40B4-BE49-F238E27FC236}">
                <a16:creationId xmlns:a16="http://schemas.microsoft.com/office/drawing/2014/main" id="{82A20611-B378-6C52-D682-DE01C6A8CD45}"/>
              </a:ext>
            </a:extLst>
          </p:cNvPr>
          <p:cNvPicPr>
            <a:picLocks noChangeAspect="1"/>
          </p:cNvPicPr>
          <p:nvPr/>
        </p:nvPicPr>
        <p:blipFill rotWithShape="1">
          <a:blip r:embed="rId20"/>
          <a:srcRect l="15784" t="4633" r="18175" b="4992"/>
          <a:stretch/>
        </p:blipFill>
        <p:spPr>
          <a:xfrm>
            <a:off x="489293" y="5544438"/>
            <a:ext cx="486067" cy="1129257"/>
          </a:xfrm>
          <a:prstGeom prst="rect">
            <a:avLst/>
          </a:prstGeom>
        </p:spPr>
      </p:pic>
      <p:pic>
        <p:nvPicPr>
          <p:cNvPr id="58" name="Imagen 2" descr="Pack de 12 Produit Ménager WC La Croix 5 en 1 Gel Désinfectant Javel ...">
            <a:extLst>
              <a:ext uri="{FF2B5EF4-FFF2-40B4-BE49-F238E27FC236}">
                <a16:creationId xmlns:a16="http://schemas.microsoft.com/office/drawing/2014/main" id="{D3A05008-40EE-DC9D-0383-273E1C6D5B7E}"/>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32323" t="-257" r="31286"/>
          <a:stretch/>
        </p:blipFill>
        <p:spPr bwMode="auto">
          <a:xfrm>
            <a:off x="1913655" y="4281403"/>
            <a:ext cx="436948" cy="120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9" descr="Reginato Fratelli store. ACE LAVATRICE DETERSIVO LIQUIDO PROFESSIONAL COLOR  63 LAVAGGI ML 3,465">
            <a:extLst>
              <a:ext uri="{FF2B5EF4-FFF2-40B4-BE49-F238E27FC236}">
                <a16:creationId xmlns:a16="http://schemas.microsoft.com/office/drawing/2014/main" id="{D4B5262E-451C-5A7A-47D7-EA3D068905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466092" y="4330912"/>
            <a:ext cx="561588" cy="110812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a:extLst>
              <a:ext uri="{FF2B5EF4-FFF2-40B4-BE49-F238E27FC236}">
                <a16:creationId xmlns:a16="http://schemas.microsoft.com/office/drawing/2014/main" id="{4350E3A6-ED99-78CE-0BBF-59305EBC93E9}"/>
              </a:ext>
            </a:extLst>
          </p:cNvPr>
          <p:cNvPicPr>
            <a:picLocks noChangeAspect="1" noChangeArrowheads="1"/>
          </p:cNvPicPr>
          <p:nvPr/>
        </p:nvPicPr>
        <p:blipFill rotWithShape="1">
          <a:blip r:embed="rId23" cstate="print">
            <a:extLst>
              <a:ext uri="{28A0092B-C50C-407E-A947-70E740481C1C}">
                <a14:useLocalDpi xmlns:a14="http://schemas.microsoft.com/office/drawing/2010/main"/>
              </a:ext>
            </a:extLst>
          </a:blip>
          <a:srcRect r="55771"/>
          <a:stretch/>
        </p:blipFill>
        <p:spPr bwMode="auto">
          <a:xfrm>
            <a:off x="1392652" y="4282229"/>
            <a:ext cx="361845" cy="1202941"/>
          </a:xfrm>
          <a:prstGeom prst="rect">
            <a:avLst/>
          </a:prstGeom>
          <a:noFill/>
          <a:extLst>
            <a:ext uri="{909E8E84-426E-40DD-AFC4-6F175D3DCCD1}">
              <a14:hiddenFill xmlns:a14="http://schemas.microsoft.com/office/drawing/2010/main">
                <a:solidFill>
                  <a:srgbClr val="FFFFFF"/>
                </a:solidFill>
              </a14:hiddenFill>
            </a:ext>
          </a:extLst>
        </p:spPr>
      </p:pic>
      <p:pic>
        <p:nvPicPr>
          <p:cNvPr id="64" name="Image 5">
            <a:extLst>
              <a:ext uri="{FF2B5EF4-FFF2-40B4-BE49-F238E27FC236}">
                <a16:creationId xmlns:a16="http://schemas.microsoft.com/office/drawing/2014/main" id="{8382BF5A-3994-9FC7-ACDA-B914702D432C}"/>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2003217" y="1732486"/>
            <a:ext cx="751290" cy="893190"/>
          </a:xfrm>
          <a:prstGeom prst="rect">
            <a:avLst/>
          </a:prstGeom>
        </p:spPr>
      </p:pic>
      <p:pic>
        <p:nvPicPr>
          <p:cNvPr id="65" name="Imagem 47">
            <a:extLst>
              <a:ext uri="{FF2B5EF4-FFF2-40B4-BE49-F238E27FC236}">
                <a16:creationId xmlns:a16="http://schemas.microsoft.com/office/drawing/2014/main" id="{71F93120-2A4B-85CB-7CE9-6787546C4432}"/>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43125" t="38889" r="40156" b="13611"/>
          <a:stretch/>
        </p:blipFill>
        <p:spPr>
          <a:xfrm>
            <a:off x="1791612" y="5544438"/>
            <a:ext cx="704715" cy="1110341"/>
          </a:xfrm>
          <a:prstGeom prst="rect">
            <a:avLst/>
          </a:prstGeom>
        </p:spPr>
      </p:pic>
      <p:pic>
        <p:nvPicPr>
          <p:cNvPr id="66" name="Picture 65">
            <a:extLst>
              <a:ext uri="{FF2B5EF4-FFF2-40B4-BE49-F238E27FC236}">
                <a16:creationId xmlns:a16="http://schemas.microsoft.com/office/drawing/2014/main" id="{9ACDA13A-B725-5063-8A98-50A363D8659E}"/>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36390" y="5633032"/>
            <a:ext cx="747524" cy="1021747"/>
          </a:xfrm>
          <a:prstGeom prst="rect">
            <a:avLst/>
          </a:prstGeom>
        </p:spPr>
      </p:pic>
      <p:pic>
        <p:nvPicPr>
          <p:cNvPr id="67" name="Picture 2" descr="Amazon.com : SMARTWATER GLACEAU ENHANCED SPORT BOTTLE DRINKING 700 ML :  Bottled Drinking Water : Grocery &amp; Gourmet Food">
            <a:extLst>
              <a:ext uri="{FF2B5EF4-FFF2-40B4-BE49-F238E27FC236}">
                <a16:creationId xmlns:a16="http://schemas.microsoft.com/office/drawing/2014/main" id="{2E80EDA3-D9DC-312A-7803-B3397D2E77F0}"/>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36509" t="1223" r="36840" b="1880"/>
          <a:stretch/>
        </p:blipFill>
        <p:spPr bwMode="auto">
          <a:xfrm>
            <a:off x="4271751" y="5591491"/>
            <a:ext cx="287702" cy="104602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024335CD-A82F-3FA0-9CD2-EE12C3AC80AA}"/>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4289137" y="5591377"/>
            <a:ext cx="1065653" cy="1044828"/>
          </a:xfrm>
          <a:prstGeom prst="rect">
            <a:avLst/>
          </a:prstGeom>
        </p:spPr>
      </p:pic>
      <p:pic>
        <p:nvPicPr>
          <p:cNvPr id="69" name="Imagem 53">
            <a:extLst>
              <a:ext uri="{FF2B5EF4-FFF2-40B4-BE49-F238E27FC236}">
                <a16:creationId xmlns:a16="http://schemas.microsoft.com/office/drawing/2014/main" id="{4AF872D3-BF86-8728-8A41-C188660DB440}"/>
              </a:ext>
            </a:extLst>
          </p:cNvPr>
          <p:cNvPicPr>
            <a:picLocks noChangeAspect="1"/>
          </p:cNvPicPr>
          <p:nvPr/>
        </p:nvPicPr>
        <p:blipFill rotWithShape="1">
          <a:blip r:embed="rId29" cstate="print">
            <a:extLst>
              <a:ext uri="{28A0092B-C50C-407E-A947-70E740481C1C}">
                <a14:useLocalDpi xmlns:a14="http://schemas.microsoft.com/office/drawing/2010/main" val="0"/>
              </a:ext>
            </a:extLst>
          </a:blip>
          <a:srcRect l="26780" t="52935" r="58085" b="4852"/>
          <a:stretch/>
        </p:blipFill>
        <p:spPr>
          <a:xfrm>
            <a:off x="2527442" y="5513852"/>
            <a:ext cx="773963" cy="1208376"/>
          </a:xfrm>
          <a:prstGeom prst="rect">
            <a:avLst/>
          </a:prstGeom>
        </p:spPr>
      </p:pic>
      <p:pic>
        <p:nvPicPr>
          <p:cNvPr id="70" name="Picture 69">
            <a:extLst>
              <a:ext uri="{FF2B5EF4-FFF2-40B4-BE49-F238E27FC236}">
                <a16:creationId xmlns:a16="http://schemas.microsoft.com/office/drawing/2014/main" id="{0737EB05-6E9B-C7FE-DC03-9D299C93B237}"/>
              </a:ext>
            </a:extLst>
          </p:cNvPr>
          <p:cNvPicPr>
            <a:picLocks noChangeAspect="1"/>
          </p:cNvPicPr>
          <p:nvPr/>
        </p:nvPicPr>
        <p:blipFill rotWithShape="1">
          <a:blip r:embed="rId30"/>
          <a:srcRect l="17787" r="21641" b="4956"/>
          <a:stretch/>
        </p:blipFill>
        <p:spPr>
          <a:xfrm>
            <a:off x="3797214" y="5561700"/>
            <a:ext cx="279639" cy="1075816"/>
          </a:xfrm>
          <a:prstGeom prst="rect">
            <a:avLst/>
          </a:prstGeom>
        </p:spPr>
      </p:pic>
      <p:pic>
        <p:nvPicPr>
          <p:cNvPr id="71" name="图片 1"/>
          <p:cNvPicPr>
            <a:picLocks noChangeAspect="1"/>
          </p:cNvPicPr>
          <p:nvPr/>
        </p:nvPicPr>
        <p:blipFill rotWithShape="1">
          <a:blip r:embed="rId31" cstate="print">
            <a:extLst>
              <a:ext uri="{28A0092B-C50C-407E-A947-70E740481C1C}">
                <a14:useLocalDpi xmlns:a14="http://schemas.microsoft.com/office/drawing/2010/main" val="0"/>
              </a:ext>
            </a:extLst>
          </a:blip>
          <a:srcRect l="15464" r="9317" b="10983"/>
          <a:stretch/>
        </p:blipFill>
        <p:spPr>
          <a:xfrm>
            <a:off x="2808236" y="1604351"/>
            <a:ext cx="883609" cy="1045703"/>
          </a:xfrm>
          <a:prstGeom prst="rect">
            <a:avLst/>
          </a:prstGeom>
        </p:spPr>
      </p:pic>
      <p:pic>
        <p:nvPicPr>
          <p:cNvPr id="72" name="Picture 71" descr="A close-up of a syringe&#10;&#10;Description automatically generated">
            <a:extLst>
              <a:ext uri="{FF2B5EF4-FFF2-40B4-BE49-F238E27FC236}">
                <a16:creationId xmlns:a16="http://schemas.microsoft.com/office/drawing/2014/main" id="{39E56E76-00E6-ECCF-DA45-8DA9198E6A4E}"/>
              </a:ext>
            </a:extLst>
          </p:cNvPr>
          <p:cNvPicPr>
            <a:picLocks noChangeAspect="1"/>
          </p:cNvPicPr>
          <p:nvPr/>
        </p:nvPicPr>
        <p:blipFill rotWithShape="1">
          <a:blip r:embed="rId32"/>
          <a:srcRect r="10369" b="18345"/>
          <a:stretch/>
        </p:blipFill>
        <p:spPr>
          <a:xfrm>
            <a:off x="3583119" y="2093607"/>
            <a:ext cx="1242881" cy="537834"/>
          </a:xfrm>
          <a:prstGeom prst="rect">
            <a:avLst/>
          </a:prstGeom>
        </p:spPr>
      </p:pic>
      <p:pic>
        <p:nvPicPr>
          <p:cNvPr id="46" name="Picture 79" descr="A picture containing graphical user interface&#10;&#10;Description automatically generated">
            <a:extLst>
              <a:ext uri="{FF2B5EF4-FFF2-40B4-BE49-F238E27FC236}">
                <a16:creationId xmlns:a16="http://schemas.microsoft.com/office/drawing/2014/main" id="{D9FAE95E-DCEE-5BE3-9C36-000ABC5164A4}"/>
              </a:ext>
            </a:extLst>
          </p:cNvPr>
          <p:cNvPicPr>
            <a:picLocks noChangeAspect="1"/>
          </p:cNvPicPr>
          <p:nvPr/>
        </p:nvPicPr>
        <p:blipFill rotWithShape="1">
          <a:blip r:embed="rId33"/>
          <a:srcRect l="43761" r="21881" b="8390"/>
          <a:stretch/>
        </p:blipFill>
        <p:spPr>
          <a:xfrm>
            <a:off x="4161889" y="1556453"/>
            <a:ext cx="701040" cy="677037"/>
          </a:xfrm>
          <a:prstGeom prst="rect">
            <a:avLst/>
          </a:prstGeom>
        </p:spPr>
      </p:pic>
      <p:pic>
        <p:nvPicPr>
          <p:cNvPr id="73" name="Picture 5" descr="A picture containing text, indoor, food, beverage&#10;&#10;Description automatically generated">
            <a:extLst>
              <a:ext uri="{FF2B5EF4-FFF2-40B4-BE49-F238E27FC236}">
                <a16:creationId xmlns:a16="http://schemas.microsoft.com/office/drawing/2014/main" id="{E13A87C8-CBEB-4B55-0E93-3A436B76D720}"/>
              </a:ext>
            </a:extLst>
          </p:cNvPr>
          <p:cNvPicPr>
            <a:picLocks noChangeAspect="1"/>
          </p:cNvPicPr>
          <p:nvPr/>
        </p:nvPicPr>
        <p:blipFill>
          <a:blip r:embed="rId34"/>
          <a:stretch>
            <a:fillRect/>
          </a:stretch>
        </p:blipFill>
        <p:spPr>
          <a:xfrm>
            <a:off x="3106766" y="4301002"/>
            <a:ext cx="660889" cy="1146322"/>
          </a:xfrm>
          <a:prstGeom prst="rect">
            <a:avLst/>
          </a:prstGeom>
        </p:spPr>
      </p:pic>
      <p:pic>
        <p:nvPicPr>
          <p:cNvPr id="74" name="Picture 27">
            <a:extLst>
              <a:ext uri="{FF2B5EF4-FFF2-40B4-BE49-F238E27FC236}">
                <a16:creationId xmlns:a16="http://schemas.microsoft.com/office/drawing/2014/main" id="{3736E080-CED1-3EC3-594E-78F8C620B638}"/>
              </a:ext>
            </a:extLst>
          </p:cNvPr>
          <p:cNvPicPr>
            <a:picLocks noChangeAspect="1"/>
          </p:cNvPicPr>
          <p:nvPr/>
        </p:nvPicPr>
        <p:blipFill>
          <a:blip r:embed="rId35"/>
          <a:stretch>
            <a:fillRect/>
          </a:stretch>
        </p:blipFill>
        <p:spPr>
          <a:xfrm>
            <a:off x="2947237" y="5615657"/>
            <a:ext cx="1110006" cy="1000638"/>
          </a:xfrm>
          <a:prstGeom prst="rect">
            <a:avLst/>
          </a:prstGeom>
        </p:spPr>
      </p:pic>
    </p:spTree>
    <p:extLst>
      <p:ext uri="{BB962C8B-B14F-4D97-AF65-F5344CB8AC3E}">
        <p14:creationId xmlns:p14="http://schemas.microsoft.com/office/powerpoint/2010/main" val="542732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7"/>
          <p:cNvSpPr>
            <a:spLocks noGrp="1"/>
          </p:cNvSpPr>
          <p:nvPr>
            <p:ph type="sldNum" sz="quarter" idx="12"/>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6C35B-3386-41F6-9405-71C3AC13EAE0}"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0D4E66CE-620C-ADDA-0D32-17058036EA6B}"/>
              </a:ext>
            </a:extLst>
          </p:cNvPr>
          <p:cNvSpPr txBox="1"/>
          <p:nvPr/>
        </p:nvSpPr>
        <p:spPr>
          <a:xfrm>
            <a:off x="356535" y="913695"/>
            <a:ext cx="4590115" cy="29546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Setting the stage…</a:t>
            </a:r>
          </a:p>
          <a:p>
            <a:pPr marL="285750" indent="-285750">
              <a:buFont typeface="Arial" panose="020B0604020202020204" pitchFamily="34" charset="0"/>
              <a:buChar char="•"/>
            </a:pPr>
            <a:r>
              <a:rPr lang="en-US" dirty="0"/>
              <a:t>A user comes to you with a </a:t>
            </a:r>
            <a:r>
              <a:rPr lang="en-US" b="1" dirty="0"/>
              <a:t>problem</a:t>
            </a:r>
            <a:r>
              <a:rPr lang="en-US" dirty="0"/>
              <a:t>—and the </a:t>
            </a:r>
            <a:r>
              <a:rPr lang="en-US" b="1" dirty="0"/>
              <a:t>perfect solution </a:t>
            </a:r>
            <a:r>
              <a:rPr lang="en-US" dirty="0"/>
              <a:t>already in mind. </a:t>
            </a:r>
          </a:p>
          <a:p>
            <a:pPr marL="285750" indent="-285750">
              <a:buFont typeface="Arial" panose="020B0604020202020204" pitchFamily="34" charset="0"/>
              <a:buChar char="•"/>
            </a:pPr>
            <a:r>
              <a:rPr lang="en-US" dirty="0"/>
              <a:t>They hand over a </a:t>
            </a:r>
            <a:r>
              <a:rPr lang="en-US" b="1" dirty="0"/>
              <a:t>massive specification document</a:t>
            </a:r>
            <a:r>
              <a:rPr lang="en-US" dirty="0"/>
              <a:t>, fully detailed and polished. </a:t>
            </a:r>
          </a:p>
          <a:p>
            <a:pPr marL="285750" indent="-285750">
              <a:buFont typeface="Arial" panose="020B0604020202020204" pitchFamily="34" charset="0"/>
              <a:buChar char="•"/>
            </a:pPr>
            <a:r>
              <a:rPr lang="en-US" dirty="0"/>
              <a:t>You pass it to your developers. </a:t>
            </a:r>
          </a:p>
          <a:p>
            <a:pPr marL="285750" indent="-285750">
              <a:buFont typeface="Arial" panose="020B0604020202020204" pitchFamily="34" charset="0"/>
              <a:buChar char="•"/>
            </a:pPr>
            <a:r>
              <a:rPr lang="en-US" b="1" dirty="0"/>
              <a:t>3–6 months later</a:t>
            </a:r>
            <a:r>
              <a:rPr lang="en-US" dirty="0"/>
              <a:t>, the application is built and handed over to the users.</a:t>
            </a:r>
          </a:p>
        </p:txBody>
      </p:sp>
      <p:pic>
        <p:nvPicPr>
          <p:cNvPr id="3" name="Picture 2">
            <a:extLst>
              <a:ext uri="{FF2B5EF4-FFF2-40B4-BE49-F238E27FC236}">
                <a16:creationId xmlns:a16="http://schemas.microsoft.com/office/drawing/2014/main" id="{D104A0E0-2349-CA16-4D0F-12D2862ECB3D}"/>
              </a:ext>
            </a:extLst>
          </p:cNvPr>
          <p:cNvPicPr>
            <a:picLocks noChangeAspect="1"/>
          </p:cNvPicPr>
          <p:nvPr/>
        </p:nvPicPr>
        <p:blipFill>
          <a:blip r:embed="rId2"/>
          <a:stretch>
            <a:fillRect/>
          </a:stretch>
        </p:blipFill>
        <p:spPr>
          <a:xfrm>
            <a:off x="5199287" y="1218707"/>
            <a:ext cx="6636178" cy="4420586"/>
          </a:xfrm>
          <a:prstGeom prst="rect">
            <a:avLst/>
          </a:prstGeom>
        </p:spPr>
      </p:pic>
      <p:sp>
        <p:nvSpPr>
          <p:cNvPr id="4" name="TextBox 3">
            <a:extLst>
              <a:ext uri="{FF2B5EF4-FFF2-40B4-BE49-F238E27FC236}">
                <a16:creationId xmlns:a16="http://schemas.microsoft.com/office/drawing/2014/main" id="{9DA44F46-6862-940B-AFC4-77EE9662AB6A}"/>
              </a:ext>
            </a:extLst>
          </p:cNvPr>
          <p:cNvSpPr txBox="1"/>
          <p:nvPr/>
        </p:nvSpPr>
        <p:spPr>
          <a:xfrm>
            <a:off x="426027" y="4104409"/>
            <a:ext cx="4447309" cy="1870364"/>
          </a:xfrm>
          <a:prstGeom prst="rect">
            <a:avLst/>
          </a:prstGeom>
          <a:noFill/>
        </p:spPr>
        <p:txBody>
          <a:bodyPr wrap="square" rtlCol="0">
            <a:spAutoFit/>
          </a:bodyPr>
          <a:lstStyle/>
          <a:p>
            <a:r>
              <a:rPr lang="en-US" sz="2400" b="1" dirty="0">
                <a:solidFill>
                  <a:prstClr val="black"/>
                </a:solidFill>
              </a:rPr>
              <a:t>Then What Happens?</a:t>
            </a:r>
          </a:p>
          <a:p>
            <a:pPr marL="285750" lvl="0" indent="-285750">
              <a:buFont typeface="Arial" panose="020B0604020202020204" pitchFamily="34" charset="0"/>
              <a:buChar char="•"/>
            </a:pPr>
            <a:r>
              <a:rPr lang="en-US" dirty="0"/>
              <a:t>Maybe it goes live… maybe it doesn’t.</a:t>
            </a:r>
          </a:p>
          <a:p>
            <a:pPr marL="285750" lvl="0" indent="-285750">
              <a:buFont typeface="Arial" panose="020B0604020202020204" pitchFamily="34" charset="0"/>
              <a:buChar char="•"/>
            </a:pPr>
            <a:r>
              <a:rPr lang="en-US" dirty="0"/>
              <a:t>Either way, the result is the same: </a:t>
            </a:r>
          </a:p>
          <a:p>
            <a:pPr marL="742950" lvl="1" indent="-285750">
              <a:buFont typeface="Arial" panose="020B0604020202020204" pitchFamily="34" charset="0"/>
              <a:buChar char="•"/>
            </a:pPr>
            <a:r>
              <a:rPr lang="en-US" b="1" dirty="0"/>
              <a:t>Users complain.</a:t>
            </a:r>
          </a:p>
          <a:p>
            <a:pPr marL="742950" lvl="1" indent="-285750">
              <a:buFont typeface="Arial" panose="020B0604020202020204" pitchFamily="34" charset="0"/>
              <a:buChar char="•"/>
            </a:pPr>
            <a:r>
              <a:rPr lang="en-US" b="1" dirty="0"/>
              <a:t>It’s barely used.</a:t>
            </a:r>
          </a:p>
          <a:p>
            <a:pPr marL="742950" lvl="1" indent="-285750">
              <a:buFont typeface="Arial" panose="020B0604020202020204" pitchFamily="34" charset="0"/>
              <a:buChar char="•"/>
            </a:pPr>
            <a:r>
              <a:rPr lang="en-US" b="1" u="sng" dirty="0"/>
              <a:t>The application fails.</a:t>
            </a:r>
            <a:endParaRPr lang="en-US" dirty="0"/>
          </a:p>
        </p:txBody>
      </p:sp>
    </p:spTree>
    <p:extLst>
      <p:ext uri="{BB962C8B-B14F-4D97-AF65-F5344CB8AC3E}">
        <p14:creationId xmlns:p14="http://schemas.microsoft.com/office/powerpoint/2010/main" val="1737844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26" name="Picture 2" descr="This Is Fine Wallpapers - Wallpaper Cave">
            <a:extLst>
              <a:ext uri="{FF2B5EF4-FFF2-40B4-BE49-F238E27FC236}">
                <a16:creationId xmlns:a16="http://schemas.microsoft.com/office/drawing/2014/main" id="{1E945132-54DC-7FAC-7E37-7543658D82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203" y="13335"/>
            <a:ext cx="11618198" cy="6535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5715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204540"/>
            <a:ext cx="9217152" cy="452432"/>
          </a:xfrm>
        </p:spPr>
        <p:txBody>
          <a:bodyPr/>
          <a:lstStyle/>
          <a:p>
            <a:r>
              <a:rPr lang="en-US" sz="2600" dirty="0"/>
              <a:t>Why Does This Keep Happening? </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CC1F7237-E427-EAB6-FA8C-344B96FA0F4F}"/>
              </a:ext>
            </a:extLst>
          </p:cNvPr>
          <p:cNvSpPr txBox="1"/>
          <p:nvPr/>
        </p:nvSpPr>
        <p:spPr>
          <a:xfrm>
            <a:off x="6096000" y="925029"/>
            <a:ext cx="5909553" cy="4801314"/>
          </a:xfrm>
          <a:prstGeom prst="rect">
            <a:avLst/>
          </a:prstGeom>
          <a:noFill/>
        </p:spPr>
        <p:txBody>
          <a:bodyPr wrap="square">
            <a:spAutoFit/>
          </a:bodyPr>
          <a:lstStyle/>
          <a:p>
            <a:r>
              <a:rPr lang="en-US" b="1" dirty="0"/>
              <a:t>Symptom Fixation:</a:t>
            </a:r>
          </a:p>
          <a:p>
            <a:pPr marL="285750" indent="-285750">
              <a:buFont typeface="Arial" panose="020B0604020202020204" pitchFamily="34" charset="0"/>
              <a:buChar char="•"/>
            </a:pPr>
            <a:r>
              <a:rPr lang="en-US" dirty="0"/>
              <a:t>End users often focus on visible symptoms instead of uncovering the root cause.</a:t>
            </a:r>
          </a:p>
          <a:p>
            <a:r>
              <a:rPr lang="en-US" b="1" dirty="0"/>
              <a:t>Narrow Perspective:</a:t>
            </a:r>
          </a:p>
          <a:p>
            <a:pPr marL="285750" indent="-285750">
              <a:buFont typeface="Arial" panose="020B0604020202020204" pitchFamily="34" charset="0"/>
              <a:buChar char="•"/>
            </a:pPr>
            <a:r>
              <a:rPr lang="en-US" dirty="0"/>
              <a:t>Key users closest to the issue may ignore broader needs or perspectives of less familiar users.</a:t>
            </a:r>
          </a:p>
          <a:p>
            <a:r>
              <a:rPr lang="en-US" b="1" dirty="0"/>
              <a:t>Developer Limitations:</a:t>
            </a:r>
          </a:p>
          <a:p>
            <a:pPr marL="285750" indent="-285750">
              <a:buFont typeface="Arial" panose="020B0604020202020204" pitchFamily="34" charset="0"/>
              <a:buChar char="•"/>
            </a:pPr>
            <a:r>
              <a:rPr lang="en-US" dirty="0"/>
              <a:t>Developers do their best—but most are not trained in UX or UI design, leading to functional but frustrating experiences.</a:t>
            </a:r>
          </a:p>
          <a:p>
            <a:r>
              <a:rPr lang="en-US" b="1" dirty="0"/>
              <a:t>Lack of Iteration:</a:t>
            </a:r>
          </a:p>
          <a:p>
            <a:pPr marL="285750" indent="-285750">
              <a:buFont typeface="Arial" panose="020B0604020202020204" pitchFamily="34" charset="0"/>
              <a:buChar char="•"/>
            </a:pPr>
            <a:r>
              <a:rPr lang="en-US" dirty="0"/>
              <a:t>Traditional processes aim for perfect upfront design, leaving little room for feedback and adjustment.</a:t>
            </a:r>
          </a:p>
          <a:p>
            <a:r>
              <a:rPr lang="en-US" b="1" dirty="0"/>
              <a:t>Visual Gap:</a:t>
            </a:r>
          </a:p>
          <a:p>
            <a:pPr marL="285750" indent="-285750">
              <a:buFont typeface="Arial" panose="020B0604020202020204" pitchFamily="34" charset="0"/>
              <a:buChar char="•"/>
            </a:pPr>
            <a:r>
              <a:rPr lang="en-US" dirty="0"/>
              <a:t>Users often need to see something tangible—a prototype or mockup—to fully conceptualize the solution and provide meaningful feedback.</a:t>
            </a:r>
          </a:p>
        </p:txBody>
      </p:sp>
      <p:sp>
        <p:nvSpPr>
          <p:cNvPr id="6" name="TextBox 5">
            <a:extLst>
              <a:ext uri="{FF2B5EF4-FFF2-40B4-BE49-F238E27FC236}">
                <a16:creationId xmlns:a16="http://schemas.microsoft.com/office/drawing/2014/main" id="{F88643F9-FB6F-4026-2DB1-0850EED9D564}"/>
              </a:ext>
            </a:extLst>
          </p:cNvPr>
          <p:cNvSpPr txBox="1"/>
          <p:nvPr/>
        </p:nvSpPr>
        <p:spPr>
          <a:xfrm>
            <a:off x="673100" y="5994400"/>
            <a:ext cx="10737850" cy="369332"/>
          </a:xfrm>
          <a:prstGeom prst="rect">
            <a:avLst/>
          </a:prstGeom>
          <a:noFill/>
        </p:spPr>
        <p:txBody>
          <a:bodyPr wrap="square" rtlCol="0">
            <a:spAutoFit/>
          </a:bodyPr>
          <a:lstStyle/>
          <a:p>
            <a:pPr algn="ctr"/>
            <a:r>
              <a:rPr lang="en-US" i="1" dirty="0"/>
              <a:t>What if there was a way to uncover real problems, validate ideas early, and design with confidence?</a:t>
            </a:r>
          </a:p>
        </p:txBody>
      </p:sp>
      <p:pic>
        <p:nvPicPr>
          <p:cNvPr id="3" name="Picture 2">
            <a:extLst>
              <a:ext uri="{FF2B5EF4-FFF2-40B4-BE49-F238E27FC236}">
                <a16:creationId xmlns:a16="http://schemas.microsoft.com/office/drawing/2014/main" id="{7980A502-7DF7-3C54-BF93-61D42BAFF863}"/>
              </a:ext>
            </a:extLst>
          </p:cNvPr>
          <p:cNvPicPr>
            <a:picLocks noChangeAspect="1"/>
          </p:cNvPicPr>
          <p:nvPr/>
        </p:nvPicPr>
        <p:blipFill>
          <a:blip r:embed="rId4"/>
          <a:stretch>
            <a:fillRect/>
          </a:stretch>
        </p:blipFill>
        <p:spPr>
          <a:xfrm>
            <a:off x="234950" y="1473073"/>
            <a:ext cx="5715000" cy="3705225"/>
          </a:xfrm>
          <a:prstGeom prst="rect">
            <a:avLst/>
          </a:prstGeom>
        </p:spPr>
      </p:pic>
    </p:spTree>
    <p:extLst>
      <p:ext uri="{BB962C8B-B14F-4D97-AF65-F5344CB8AC3E}">
        <p14:creationId xmlns:p14="http://schemas.microsoft.com/office/powerpoint/2010/main" val="5102531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2020 Aptar PPT Template_16x9_wide_Aug2020_Final.pptx  -  Read-Only" id="{C86B1283-3411-4EEC-B751-79D96988A87E}" vid="{23000270-90BD-4722-AB3A-ECDFD3FAD77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rame">
  <a:themeElements>
    <a:clrScheme name="Custom 5">
      <a:dk1>
        <a:srgbClr val="3F3F3F"/>
      </a:dk1>
      <a:lt1>
        <a:srgbClr val="FFFFFF"/>
      </a:lt1>
      <a:dk2>
        <a:srgbClr val="455F51"/>
      </a:dk2>
      <a:lt2>
        <a:srgbClr val="BFBFBF"/>
      </a:lt2>
      <a:accent1>
        <a:srgbClr val="117F68"/>
      </a:accent1>
      <a:accent2>
        <a:srgbClr val="8AB833"/>
      </a:accent2>
      <a:accent3>
        <a:srgbClr val="C0CF3A"/>
      </a:accent3>
      <a:accent4>
        <a:srgbClr val="029676"/>
      </a:accent4>
      <a:accent5>
        <a:srgbClr val="4AB5C4"/>
      </a:accent5>
      <a:accent6>
        <a:srgbClr val="0989B1"/>
      </a:accent6>
      <a:hlink>
        <a:srgbClr val="117F68"/>
      </a:hlink>
      <a:folHlink>
        <a:srgbClr val="8B8B8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2020 Aptar PPT Template_16x9_wide_Aug2020_Final.pptx  -  Read-Only" id="{C86B1283-3411-4EEC-B751-79D96988A87E}" vid="{E2E72C86-CE51-45BB-A577-E6807455EDC3}"/>
    </a:ext>
  </a:extLst>
</a:theme>
</file>

<file path=ppt/theme/theme3.xml><?xml version="1.0" encoding="utf-8"?>
<a:theme xmlns:a="http://schemas.openxmlformats.org/drawingml/2006/main" name="1_Office Theme">
  <a:themeElements>
    <a:clrScheme name="Custom 1">
      <a:dk1>
        <a:sysClr val="windowText" lastClr="000000"/>
      </a:dk1>
      <a:lt1>
        <a:srgbClr val="FFFFFF"/>
      </a:lt1>
      <a:dk2>
        <a:srgbClr val="808183"/>
      </a:dk2>
      <a:lt2>
        <a:srgbClr val="34715A"/>
      </a:lt2>
      <a:accent1>
        <a:srgbClr val="34715A"/>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ptar 1 -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Custom 7">
      <a:dk1>
        <a:sysClr val="windowText" lastClr="000000"/>
      </a:dk1>
      <a:lt1>
        <a:sysClr val="window" lastClr="FFFFFF"/>
      </a:lt1>
      <a:dk2>
        <a:srgbClr val="34715A"/>
      </a:dk2>
      <a:lt2>
        <a:srgbClr val="E3DED1"/>
      </a:lt2>
      <a:accent1>
        <a:srgbClr val="34715A"/>
      </a:accent1>
      <a:accent2>
        <a:srgbClr val="86A795"/>
      </a:accent2>
      <a:accent3>
        <a:srgbClr val="D6E1DB"/>
      </a:accent3>
      <a:accent4>
        <a:srgbClr val="34715A"/>
      </a:accent4>
      <a:accent5>
        <a:srgbClr val="33473C"/>
      </a:accent5>
      <a:accent6>
        <a:srgbClr val="86A795"/>
      </a:accent6>
      <a:hlink>
        <a:srgbClr val="34715A"/>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DE3EFE420C764B82EBA7503ADD094B" ma:contentTypeVersion="10" ma:contentTypeDescription="Create a new document." ma:contentTypeScope="" ma:versionID="ba54358900b6692c9d666695ab96ca85">
  <xsd:schema xmlns:xsd="http://www.w3.org/2001/XMLSchema" xmlns:xs="http://www.w3.org/2001/XMLSchema" xmlns:p="http://schemas.microsoft.com/office/2006/metadata/properties" xmlns:ns2="fc60aec1-ed77-4d4d-9698-8da13568cf3f" xmlns:ns3="c1ea2f4e-9bc6-43a8-9858-2906f566ff87" targetNamespace="http://schemas.microsoft.com/office/2006/metadata/properties" ma:root="true" ma:fieldsID="e3e2405f3d3ad671c839ecac7c757fd0" ns2:_="" ns3:_="">
    <xsd:import namespace="fc60aec1-ed77-4d4d-9698-8da13568cf3f"/>
    <xsd:import namespace="c1ea2f4e-9bc6-43a8-9858-2906f566ff8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60aec1-ed77-4d4d-9698-8da13568cf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8a6a496-6407-4884-be31-4a5ff89e9cb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ea2f4e-9bc6-43a8-9858-2906f566ff8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c7a4026-b190-467c-8a3b-59e3488b1df7}" ma:internalName="TaxCatchAll" ma:showField="CatchAllData" ma:web="c1ea2f4e-9bc6-43a8-9858-2906f566ff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60aec1-ed77-4d4d-9698-8da13568cf3f">
      <Terms xmlns="http://schemas.microsoft.com/office/infopath/2007/PartnerControls"/>
    </lcf76f155ced4ddcb4097134ff3c332f>
    <TaxCatchAll xmlns="c1ea2f4e-9bc6-43a8-9858-2906f566ff87" xsi:nil="true"/>
  </documentManagement>
</p:properties>
</file>

<file path=customXml/itemProps1.xml><?xml version="1.0" encoding="utf-8"?>
<ds:datastoreItem xmlns:ds="http://schemas.openxmlformats.org/officeDocument/2006/customXml" ds:itemID="{1F912A9F-D9B2-4288-9936-D759D17B8F39}">
  <ds:schemaRefs>
    <ds:schemaRef ds:uri="http://schemas.microsoft.com/sharepoint/v3/contenttype/forms"/>
  </ds:schemaRefs>
</ds:datastoreItem>
</file>

<file path=customXml/itemProps2.xml><?xml version="1.0" encoding="utf-8"?>
<ds:datastoreItem xmlns:ds="http://schemas.openxmlformats.org/officeDocument/2006/customXml" ds:itemID="{D7120024-F89A-4339-9623-0FFE8C1255F6}"/>
</file>

<file path=customXml/itemProps3.xml><?xml version="1.0" encoding="utf-8"?>
<ds:datastoreItem xmlns:ds="http://schemas.openxmlformats.org/officeDocument/2006/customXml" ds:itemID="{2BA8BD10-3AB0-414C-9E86-D837DBBA8DEA}">
  <ds:schemaRefs>
    <ds:schemaRef ds:uri="2f72b1a1-a116-4426-857d-966237c93d29"/>
    <ds:schemaRef ds:uri="http://schemas.microsoft.com/office/2006/metadata/properties"/>
    <ds:schemaRef ds:uri="4c3c15be-15dc-4ae6-b2cc-b81738116b4e"/>
    <ds:schemaRef ds:uri="http://www.w3.org/XML/1998/namespace"/>
    <ds:schemaRef ds:uri="http://schemas.microsoft.com/office/2006/documentManagement/types"/>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Corporate</Template>
  <TotalTime>0</TotalTime>
  <Words>1642</Words>
  <Application>Microsoft Office PowerPoint</Application>
  <PresentationFormat>Widescreen</PresentationFormat>
  <Paragraphs>234</Paragraphs>
  <Slides>20</Slides>
  <Notes>10</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2</vt:i4>
      </vt:variant>
      <vt:variant>
        <vt:lpstr>Slide Titles</vt:lpstr>
      </vt:variant>
      <vt:variant>
        <vt:i4>20</vt:i4>
      </vt:variant>
    </vt:vector>
  </HeadingPairs>
  <TitlesOfParts>
    <vt:vector size="40" baseType="lpstr">
      <vt:lpstr>Aptos</vt:lpstr>
      <vt:lpstr>Arial</vt:lpstr>
      <vt:lpstr>Calibri</vt:lpstr>
      <vt:lpstr>Calibri Light</vt:lpstr>
      <vt:lpstr>Courier New</vt:lpstr>
      <vt:lpstr>Gill Sans MT</vt:lpstr>
      <vt:lpstr>Helvetica</vt:lpstr>
      <vt:lpstr>Webdings</vt:lpstr>
      <vt:lpstr>Wingdings</vt:lpstr>
      <vt:lpstr>Wingdings 2</vt:lpstr>
      <vt:lpstr>Office Theme</vt:lpstr>
      <vt:lpstr>2_Frame</vt:lpstr>
      <vt:lpstr>1_Office Theme</vt:lpstr>
      <vt:lpstr>Aptar 1 - Master</vt:lpstr>
      <vt:lpstr>2_Office Theme</vt:lpstr>
      <vt:lpstr>3_Office Theme</vt:lpstr>
      <vt:lpstr>4_Office Theme</vt:lpstr>
      <vt:lpstr>9_Office Theme</vt:lpstr>
      <vt:lpstr>think-cell Slide</vt:lpstr>
      <vt:lpstr>Diapositiv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Does This Keep Happening? </vt:lpstr>
      <vt:lpstr>Lean UX: Core Values</vt:lpstr>
      <vt:lpstr>Why Does it Work to Solve Problems?</vt:lpstr>
      <vt:lpstr>PowerPoint Presentation</vt:lpstr>
      <vt:lpstr>What Does it Actually Look Like?</vt:lpstr>
      <vt:lpstr>Practical Tips for Lean UX Success</vt:lpstr>
      <vt:lpstr>How to Win Buy-In for Lean UX</vt:lpstr>
      <vt:lpstr>PowerPoint Presentation</vt:lpstr>
      <vt:lpstr>PowerPoint Presentation</vt:lpstr>
      <vt:lpstr>Questions?  Feel Free to Reach Out!</vt:lpstr>
      <vt:lpstr>Disclaim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ssler, Derek</dc:creator>
  <cp:lastModifiedBy>Bressler, Derek</cp:lastModifiedBy>
  <cp:revision>65</cp:revision>
  <dcterms:created xsi:type="dcterms:W3CDTF">2022-02-22T13:01:46Z</dcterms:created>
  <dcterms:modified xsi:type="dcterms:W3CDTF">2025-12-04T19: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DE3EFE420C764B82EBA7503ADD094B</vt:lpwstr>
  </property>
</Properties>
</file>